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5" r:id="rId2"/>
  </p:sldMasterIdLst>
  <p:notesMasterIdLst>
    <p:notesMasterId r:id="rId51"/>
  </p:notesMasterIdLst>
  <p:sldIdLst>
    <p:sldId id="379" r:id="rId3"/>
    <p:sldId id="259" r:id="rId4"/>
    <p:sldId id="265" r:id="rId5"/>
    <p:sldId id="268" r:id="rId6"/>
    <p:sldId id="262" r:id="rId7"/>
    <p:sldId id="269" r:id="rId8"/>
    <p:sldId id="283" r:id="rId9"/>
    <p:sldId id="292" r:id="rId10"/>
    <p:sldId id="295" r:id="rId11"/>
    <p:sldId id="299" r:id="rId12"/>
    <p:sldId id="307" r:id="rId13"/>
    <p:sldId id="317" r:id="rId14"/>
    <p:sldId id="321" r:id="rId15"/>
    <p:sldId id="322" r:id="rId16"/>
    <p:sldId id="323" r:id="rId17"/>
    <p:sldId id="326" r:id="rId18"/>
    <p:sldId id="330" r:id="rId19"/>
    <p:sldId id="331" r:id="rId20"/>
    <p:sldId id="333" r:id="rId21"/>
    <p:sldId id="334" r:id="rId22"/>
    <p:sldId id="335" r:id="rId23"/>
    <p:sldId id="341" r:id="rId24"/>
    <p:sldId id="344" r:id="rId25"/>
    <p:sldId id="346" r:id="rId26"/>
    <p:sldId id="347" r:id="rId27"/>
    <p:sldId id="348" r:id="rId28"/>
    <p:sldId id="350" r:id="rId29"/>
    <p:sldId id="351" r:id="rId30"/>
    <p:sldId id="352" r:id="rId31"/>
    <p:sldId id="353" r:id="rId32"/>
    <p:sldId id="354" r:id="rId33"/>
    <p:sldId id="357" r:id="rId34"/>
    <p:sldId id="358" r:id="rId35"/>
    <p:sldId id="359" r:id="rId36"/>
    <p:sldId id="360" r:id="rId37"/>
    <p:sldId id="361" r:id="rId38"/>
    <p:sldId id="362" r:id="rId39"/>
    <p:sldId id="363" r:id="rId40"/>
    <p:sldId id="364" r:id="rId41"/>
    <p:sldId id="365" r:id="rId42"/>
    <p:sldId id="366" r:id="rId43"/>
    <p:sldId id="367" r:id="rId44"/>
    <p:sldId id="368" r:id="rId45"/>
    <p:sldId id="369" r:id="rId46"/>
    <p:sldId id="370" r:id="rId47"/>
    <p:sldId id="371" r:id="rId48"/>
    <p:sldId id="373" r:id="rId49"/>
    <p:sldId id="374" r:id="rId50"/>
  </p:sldIdLst>
  <p:sldSz cx="9144000" cy="6858000" type="screen4x3"/>
  <p:notesSz cx="6858000" cy="9144000"/>
  <p:custDataLst>
    <p:tags r:id="rId5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516" autoAdjust="0"/>
    <p:restoredTop sz="94660"/>
  </p:normalViewPr>
  <p:slideViewPr>
    <p:cSldViewPr>
      <p:cViewPr varScale="1">
        <p:scale>
          <a:sx n="81" d="100"/>
          <a:sy n="81" d="100"/>
        </p:scale>
        <p:origin x="1752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tableStyles" Target="tableStyles.xml"/><Relationship Id="rId8" Type="http://schemas.openxmlformats.org/officeDocument/2006/relationships/slide" Target="slides/slide6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image" Target="../media/image5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40C87-F145-4A2D-8EA2-129A9C3DA49F}" type="datetimeFigureOut">
              <a:rPr lang="en-US" smtClean="0"/>
              <a:t>1/1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37F236-2CD3-478D-95A8-09380BC9AE2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65203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323A142-4E3F-4FAD-AB79-F72050B915EB}" type="datetime1">
              <a:rPr lang="en-US" smtClean="0"/>
              <a:t>1/16/20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6611E-B935-47DE-996F-C272FBE23AA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9752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A58D4860-42C6-4FD7-96AA-01F45AA4C460}" type="slidenum">
              <a:rPr sz="1200" noProof="1"/>
              <a:pPr algn="r" eaLnBrk="1" hangingPunct="1"/>
              <a:t>24</a:t>
            </a:fld>
            <a:endParaRPr lang="es-AR" sz="1200" noProof="1"/>
          </a:p>
        </p:txBody>
      </p:sp>
      <p:sp>
        <p:nvSpPr>
          <p:cNvPr id="29699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824" tIns="47416" rIns="94824" bIns="47416" anchor="b"/>
          <a:lstStyle>
            <a:lvl1pPr defTabSz="9477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477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477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477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477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A106FE17-406C-4EF5-A8FA-603307AA546B}" type="slidenum">
              <a:rPr lang="en-GB" sz="1300"/>
              <a:pPr algn="r" eaLnBrk="1" hangingPunct="1"/>
              <a:t>24</a:t>
            </a:fld>
            <a:endParaRPr lang="en-GB" sz="1300"/>
          </a:p>
        </p:txBody>
      </p:sp>
      <p:sp>
        <p:nvSpPr>
          <p:cNvPr id="2970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2970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4824" tIns="47416" rIns="94824" bIns="47416"/>
          <a:lstStyle/>
          <a:p>
            <a:pPr eaLnBrk="1" hangingPunct="1"/>
            <a:endParaRPr lang="es-AR" noProof="1" smtClean="0"/>
          </a:p>
        </p:txBody>
      </p:sp>
    </p:spTree>
    <p:extLst>
      <p:ext uri="{BB962C8B-B14F-4D97-AF65-F5344CB8AC3E}">
        <p14:creationId xmlns:p14="http://schemas.microsoft.com/office/powerpoint/2010/main" val="11526781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AD41129A-D9D5-4CB7-9314-0FB51DB3738F}" type="slidenum">
              <a:rPr sz="1200" noProof="1"/>
              <a:pPr algn="r" eaLnBrk="1" hangingPunct="1"/>
              <a:t>25</a:t>
            </a:fld>
            <a:endParaRPr lang="es-AR" sz="1200" noProof="1"/>
          </a:p>
        </p:txBody>
      </p:sp>
      <p:sp>
        <p:nvSpPr>
          <p:cNvPr id="30723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824" tIns="47416" rIns="94824" bIns="47416" anchor="b"/>
          <a:lstStyle>
            <a:lvl1pPr defTabSz="9477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477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477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477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477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627B7ECA-0965-4917-A195-9FC015FD5FB2}" type="slidenum">
              <a:rPr lang="en-GB" sz="1300"/>
              <a:pPr algn="r" eaLnBrk="1" hangingPunct="1"/>
              <a:t>25</a:t>
            </a:fld>
            <a:endParaRPr lang="en-GB" sz="1300"/>
          </a:p>
        </p:txBody>
      </p:sp>
      <p:sp>
        <p:nvSpPr>
          <p:cNvPr id="3072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072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4824" tIns="47416" rIns="94824" bIns="47416"/>
          <a:lstStyle/>
          <a:p>
            <a:pPr eaLnBrk="1" hangingPunct="1"/>
            <a:endParaRPr lang="es-AR" noProof="1" smtClean="0"/>
          </a:p>
        </p:txBody>
      </p:sp>
    </p:spTree>
    <p:extLst>
      <p:ext uri="{BB962C8B-B14F-4D97-AF65-F5344CB8AC3E}">
        <p14:creationId xmlns:p14="http://schemas.microsoft.com/office/powerpoint/2010/main" val="18822123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C181E39B-2E80-4B75-B5A6-F53F0AC11FAB}" type="slidenum">
              <a:rPr/>
              <a:pPr eaLnBrk="1" hangingPunct="1"/>
              <a:t>29</a:t>
            </a:fld>
            <a:endParaRPr lang="es-AR"/>
          </a:p>
        </p:txBody>
      </p:sp>
      <p:sp>
        <p:nvSpPr>
          <p:cNvPr id="31747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5450B002-1231-4001-B22F-99697CCA5F43}" type="slidenum">
              <a:rPr sz="1200" noProof="1"/>
              <a:pPr algn="r" eaLnBrk="1" hangingPunct="1"/>
              <a:t>29</a:t>
            </a:fld>
            <a:endParaRPr lang="es-AR" sz="1200" noProof="1"/>
          </a:p>
        </p:txBody>
      </p:sp>
      <p:sp>
        <p:nvSpPr>
          <p:cNvPr id="31748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824" tIns="47416" rIns="94824" bIns="47416" anchor="b"/>
          <a:lstStyle>
            <a:lvl1pPr defTabSz="9477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477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477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477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477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41B3D0C8-0537-4A29-842A-CF779A53EF47}" type="slidenum">
              <a:rPr lang="en-GB" sz="1300"/>
              <a:pPr algn="r" eaLnBrk="1" hangingPunct="1"/>
              <a:t>29</a:t>
            </a:fld>
            <a:endParaRPr lang="en-GB" sz="1300"/>
          </a:p>
        </p:txBody>
      </p:sp>
      <p:sp>
        <p:nvSpPr>
          <p:cNvPr id="3174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175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4824" tIns="47416" rIns="94824" bIns="47416"/>
          <a:lstStyle/>
          <a:p>
            <a:pPr eaLnBrk="1" hangingPunct="1"/>
            <a:endParaRPr lang="es-AR" smtClean="0"/>
          </a:p>
        </p:txBody>
      </p:sp>
    </p:spTree>
    <p:extLst>
      <p:ext uri="{BB962C8B-B14F-4D97-AF65-F5344CB8AC3E}">
        <p14:creationId xmlns:p14="http://schemas.microsoft.com/office/powerpoint/2010/main" val="20525410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326E4A81-D426-4064-807A-6CBD3E844743}" type="slidenum">
              <a:rPr/>
              <a:pPr eaLnBrk="1" hangingPunct="1"/>
              <a:t>34</a:t>
            </a:fld>
            <a:endParaRPr lang="es-AR"/>
          </a:p>
        </p:txBody>
      </p:sp>
      <p:sp>
        <p:nvSpPr>
          <p:cNvPr id="34819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4820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s-AR" smtClean="0"/>
          </a:p>
        </p:txBody>
      </p:sp>
    </p:spTree>
    <p:extLst>
      <p:ext uri="{BB962C8B-B14F-4D97-AF65-F5344CB8AC3E}">
        <p14:creationId xmlns:p14="http://schemas.microsoft.com/office/powerpoint/2010/main" val="40837106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DFBA8B76-C16C-4F11-9B42-7B1FDEBFEC2F}" type="slidenum">
              <a:rPr/>
              <a:pPr eaLnBrk="1" hangingPunct="1"/>
              <a:t>36</a:t>
            </a:fld>
            <a:endParaRPr lang="es-AR"/>
          </a:p>
        </p:txBody>
      </p:sp>
      <p:sp>
        <p:nvSpPr>
          <p:cNvPr id="35843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s-AR" smtClean="0"/>
          </a:p>
        </p:txBody>
      </p:sp>
    </p:spTree>
    <p:extLst>
      <p:ext uri="{BB962C8B-B14F-4D97-AF65-F5344CB8AC3E}">
        <p14:creationId xmlns:p14="http://schemas.microsoft.com/office/powerpoint/2010/main" val="42654899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6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46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32461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B2FE8D2D-989B-4D57-B2CA-ACC4795142DC}" type="slidenum">
              <a:rPr lang="en-US" smtClean="0"/>
              <a:pPr/>
              <a:t>48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9418890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55BA58-60DC-4E8D-B5BE-95262F60FFD6}" type="datetimeFigureOut">
              <a:rPr lang="en-US" smtClean="0"/>
              <a:t>1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7B740-BC7C-414A-B3F4-2018DCDBDA93}" type="slidenum">
              <a:rPr lang="en-US" smtClean="0"/>
              <a:t>‹Nº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99072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55BA58-60DC-4E8D-B5BE-95262F60FFD6}" type="datetimeFigureOut">
              <a:rPr lang="en-US" smtClean="0"/>
              <a:t>1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7B740-BC7C-414A-B3F4-2018DCDBDA93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8380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55BA58-60DC-4E8D-B5BE-95262F60FFD6}" type="datetimeFigureOut">
              <a:rPr lang="en-US" smtClean="0"/>
              <a:t>1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7B740-BC7C-414A-B3F4-2018DCDBDA93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95373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276600" y="6359570"/>
            <a:ext cx="2590800" cy="3651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200" kern="120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7086600" y="6329407"/>
            <a:ext cx="1788886" cy="395288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lang="en-US" sz="1200" kern="1200" dirty="0" smtClean="0">
                <a:solidFill>
                  <a:srgbClr val="A6A6A6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NAME OF PRESENTER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0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5C11E9-EA40-D54F-953A-82A4C72DAAAD}" type="slidenum">
              <a:rPr lang="en-US" smtClean="0"/>
              <a:pPr/>
              <a:t>‹Nº›</a:t>
            </a:fld>
            <a:r>
              <a:rPr lang="en-US" dirty="0" smtClean="0"/>
              <a:t> 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1338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‹Nº›</a:t>
            </a:fld>
            <a:r>
              <a:rPr lang="en-US" dirty="0" smtClean="0"/>
              <a:t>|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>
            <p:custDataLst>
              <p:tags r:id="rId1"/>
            </p:custDataLst>
          </p:nvPr>
        </p:nvCxnSpPr>
        <p:spPr>
          <a:xfrm>
            <a:off x="3348567" y="1136829"/>
            <a:ext cx="2328333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2454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‹Nº›</a:t>
            </a:fld>
            <a:r>
              <a:rPr lang="en-US" dirty="0" smtClean="0"/>
              <a:t>|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>
            <p:custDataLst>
              <p:tags r:id="rId2"/>
            </p:custDataLst>
          </p:nvPr>
        </p:nvCxnSpPr>
        <p:spPr>
          <a:xfrm>
            <a:off x="3348567" y="1136829"/>
            <a:ext cx="232833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90489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‹Nº›</a:t>
            </a:fld>
            <a:r>
              <a:rPr lang="en-US" dirty="0" smtClean="0"/>
              <a:t>|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>
            <p:custDataLst>
              <p:tags r:id="rId2"/>
            </p:custDataLst>
          </p:nvPr>
        </p:nvCxnSpPr>
        <p:spPr>
          <a:xfrm>
            <a:off x="3348567" y="1136829"/>
            <a:ext cx="2328333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19991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1658" y="762000"/>
            <a:ext cx="4267200" cy="3048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600" cap="all" baseline="0">
                <a:solidFill>
                  <a:srgbClr val="595959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 smtClean="0"/>
              <a:t>THIS IS EXAMPLE TEX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11658" y="274638"/>
            <a:ext cx="8527542" cy="48736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200">
                <a:solidFill>
                  <a:srgbClr val="595959"/>
                </a:solidFill>
                <a:latin typeface="Calibri Light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www.domainname.com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Logo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101D46F-57A9-43DB-8B55-C38BE2226748}" type="slidenum">
              <a:rPr lang="en-US" smtClean="0"/>
              <a:pPr/>
              <a:t>‹Nº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77642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63939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52384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F7B3C63B-FFA9-4FE8-BE2C-150ADE3A5231}" type="datetime1">
              <a:rPr lang="en-US"/>
              <a:pPr/>
              <a:t>1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10B88AE4-3EEE-47CF-9342-500000C96335}" type="slidenum">
              <a:rPr lang="en-US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448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55BA58-60DC-4E8D-B5BE-95262F60FFD6}" type="datetimeFigureOut">
              <a:rPr lang="en-US" smtClean="0"/>
              <a:t>1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7B740-BC7C-414A-B3F4-2018DCDBDA93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414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73283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00038" y="58738"/>
            <a:ext cx="8520112" cy="10001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50748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AR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05AD4C-8F67-473A-9D1A-D4EBB0B10516}" type="datetimeFigureOut">
              <a:rPr lang="es-AR"/>
              <a:pPr>
                <a:defRPr/>
              </a:pPr>
              <a:t>16/1/2023</a:t>
            </a:fld>
            <a:endParaRPr lang="es-AR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5B7DD1-2F1F-41D5-947E-D07413FD332F}" type="slidenum">
              <a:rPr lang="es-AR"/>
              <a:pPr>
                <a:defRPr/>
              </a:pPr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8418419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55BA58-60DC-4E8D-B5BE-95262F60FFD6}" type="datetimeFigureOut">
              <a:rPr lang="en-US" smtClean="0"/>
              <a:t>1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7B740-BC7C-414A-B3F4-2018DCDBDA93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0356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55BA58-60DC-4E8D-B5BE-95262F60FFD6}" type="datetimeFigureOut">
              <a:rPr lang="en-US" smtClean="0"/>
              <a:t>1/1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7B740-BC7C-414A-B3F4-2018DCDBDA93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5059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55BA58-60DC-4E8D-B5BE-95262F60FFD6}" type="datetimeFigureOut">
              <a:rPr lang="en-US" smtClean="0"/>
              <a:t>1/16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7B740-BC7C-414A-B3F4-2018DCDBDA93}" type="slidenum">
              <a:rPr lang="en-US" smtClean="0"/>
              <a:t>‹Nº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67911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55BA58-60DC-4E8D-B5BE-95262F60FFD6}" type="datetimeFigureOut">
              <a:rPr lang="en-US" smtClean="0"/>
              <a:t>1/1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7B740-BC7C-414A-B3F4-2018DCDBDA93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0465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55BA58-60DC-4E8D-B5BE-95262F60FFD6}" type="datetimeFigureOut">
              <a:rPr lang="en-US" smtClean="0"/>
              <a:t>1/16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7B740-BC7C-414A-B3F4-2018DCDBDA93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120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55BA58-60DC-4E8D-B5BE-95262F60FFD6}" type="datetimeFigureOut">
              <a:rPr lang="en-US" smtClean="0"/>
              <a:t>1/1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7B740-BC7C-414A-B3F4-2018DCDBDA93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7616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55BA58-60DC-4E8D-B5BE-95262F60FFD6}" type="datetimeFigureOut">
              <a:rPr lang="en-US" smtClean="0"/>
              <a:t>1/1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7B740-BC7C-414A-B3F4-2018DCDBDA93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262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55BA58-60DC-4E8D-B5BE-95262F60FFD6}" type="datetimeFigureOut">
              <a:rPr lang="en-US" smtClean="0"/>
              <a:t>1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47B740-BC7C-414A-B3F4-2018DCDBDA93}" type="slidenum">
              <a:rPr lang="en-US" smtClean="0"/>
              <a:t>‹Nº›</a:t>
            </a:fld>
            <a:endParaRPr lang="en-US"/>
          </a:p>
        </p:txBody>
      </p:sp>
    </p:spTree>
    <p:custDataLst>
      <p:tags r:id="rId15"/>
    </p:custDataLst>
    <p:extLst>
      <p:ext uri="{BB962C8B-B14F-4D97-AF65-F5344CB8AC3E}">
        <p14:creationId xmlns:p14="http://schemas.microsoft.com/office/powerpoint/2010/main" val="2706057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>
          <a:xfrm>
            <a:off x="-114856" y="0"/>
            <a:ext cx="9271556" cy="6858000"/>
            <a:chOff x="-114856" y="0"/>
            <a:chExt cx="9271556" cy="6858000"/>
          </a:xfrm>
        </p:grpSpPr>
        <p:sp>
          <p:nvSpPr>
            <p:cNvPr id="14" name="Rectangle 13"/>
            <p:cNvSpPr/>
            <p:nvPr userDrawn="1">
              <p:custDataLst>
                <p:tags r:id="rId12"/>
              </p:custDataLst>
            </p:nvPr>
          </p:nvSpPr>
          <p:spPr>
            <a:xfrm>
              <a:off x="0" y="0"/>
              <a:ext cx="9156700" cy="6858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782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grpSp>
          <p:nvGrpSpPr>
            <p:cNvPr id="15" name="Group 14"/>
            <p:cNvGrpSpPr/>
            <p:nvPr userDrawn="1">
              <p:custDataLst>
                <p:tags r:id="rId13"/>
              </p:custDataLst>
            </p:nvPr>
          </p:nvGrpSpPr>
          <p:grpSpPr>
            <a:xfrm>
              <a:off x="0" y="0"/>
              <a:ext cx="9156700" cy="6858000"/>
              <a:chOff x="0" y="0"/>
              <a:chExt cx="9156700" cy="6858000"/>
            </a:xfrm>
          </p:grpSpPr>
          <p:sp>
            <p:nvSpPr>
              <p:cNvPr id="16" name="Rectangle 15"/>
              <p:cNvSpPr/>
              <p:nvPr userDrawn="1"/>
            </p:nvSpPr>
            <p:spPr>
              <a:xfrm>
                <a:off x="0" y="0"/>
                <a:ext cx="9144000" cy="685800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1000">
                    <a:schemeClr val="bg1">
                      <a:lumMod val="95000"/>
                    </a:schemeClr>
                  </a:gs>
                </a:gsLst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17" name="Rectangle 16"/>
              <p:cNvSpPr/>
              <p:nvPr userDrawn="1"/>
            </p:nvSpPr>
            <p:spPr>
              <a:xfrm>
                <a:off x="12700" y="3848100"/>
                <a:ext cx="9144000" cy="3008313"/>
              </a:xfrm>
              <a:prstGeom prst="rect">
                <a:avLst/>
              </a:prstGeom>
              <a:solidFill>
                <a:schemeClr val="bg1">
                  <a:lumMod val="95000"/>
                  <a:alpha val="49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</p:grpSp>
        <p:cxnSp>
          <p:nvCxnSpPr>
            <p:cNvPr id="18" name="Straight Connector 17"/>
            <p:cNvCxnSpPr/>
            <p:nvPr userDrawn="1">
              <p:custDataLst>
                <p:tags r:id="rId14"/>
              </p:custDataLst>
            </p:nvPr>
          </p:nvCxnSpPr>
          <p:spPr>
            <a:xfrm>
              <a:off x="-114856" y="3554413"/>
              <a:ext cx="9254067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lumMod val="95000"/>
                      <a:alpha val="0"/>
                    </a:schemeClr>
                  </a:gs>
                  <a:gs pos="53000">
                    <a:schemeClr val="bg1">
                      <a:lumMod val="95000"/>
                    </a:schemeClr>
                  </a:gs>
                  <a:gs pos="100000">
                    <a:schemeClr val="bg1">
                      <a:lumMod val="95000"/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40005" dist="19939" dir="5400000" sx="102000" sy="102000" algn="tl" rotWithShape="0">
                <a:srgbClr val="000000">
                  <a:alpha val="16000"/>
                </a:srgbClr>
              </a:outerShdw>
              <a:softEdge rad="12700"/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00825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PRESENTER NAM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COMPANY NAM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2125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CE8A1A-EF06-42BD-8183-7D22FECA910D}" type="slidenum">
              <a:rPr lang="en-US" smtClean="0"/>
              <a:pPr/>
              <a:t>‹Nº›</a:t>
            </a:fld>
            <a:r>
              <a:rPr lang="en-US" dirty="0" smtClean="0"/>
              <a:t>|</a:t>
            </a:r>
            <a:endParaRPr lang="en-US" dirty="0"/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4082986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10" Type="http://schemas.openxmlformats.org/officeDocument/2006/relationships/image" Target="../media/image16.jpeg"/><Relationship Id="rId4" Type="http://schemas.openxmlformats.org/officeDocument/2006/relationships/image" Target="../media/image10.png"/><Relationship Id="rId9" Type="http://schemas.openxmlformats.org/officeDocument/2006/relationships/image" Target="../media/image15.jpeg"/><Relationship Id="rId1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3" Type="http://schemas.openxmlformats.org/officeDocument/2006/relationships/tags" Target="../tags/tag31.xml"/><Relationship Id="rId21" Type="http://schemas.openxmlformats.org/officeDocument/2006/relationships/tags" Target="../tags/tag49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image" Target="../media/image3.emf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oleObject" Target="../embeddings/oleObject4.bin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slideLayout" Target="../slideLayouts/slideLayout16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.v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tags" Target="../tags/tag54.xml"/><Relationship Id="rId10" Type="http://schemas.openxmlformats.org/officeDocument/2006/relationships/tags" Target="../tags/tag59.xml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image" Target="../media/image3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17" Type="http://schemas.openxmlformats.org/officeDocument/2006/relationships/image" Target="../media/image37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6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png"/><Relationship Id="rId18" Type="http://schemas.openxmlformats.org/officeDocument/2006/relationships/image" Target="../media/image53.png"/><Relationship Id="rId26" Type="http://schemas.openxmlformats.org/officeDocument/2006/relationships/image" Target="../media/image61.png"/><Relationship Id="rId3" Type="http://schemas.openxmlformats.org/officeDocument/2006/relationships/image" Target="../media/image38.png"/><Relationship Id="rId21" Type="http://schemas.openxmlformats.org/officeDocument/2006/relationships/image" Target="../media/image56.png"/><Relationship Id="rId7" Type="http://schemas.openxmlformats.org/officeDocument/2006/relationships/image" Target="../media/image42.png"/><Relationship Id="rId12" Type="http://schemas.openxmlformats.org/officeDocument/2006/relationships/image" Target="../media/image47.png"/><Relationship Id="rId17" Type="http://schemas.openxmlformats.org/officeDocument/2006/relationships/image" Target="../media/image52.png"/><Relationship Id="rId25" Type="http://schemas.openxmlformats.org/officeDocument/2006/relationships/image" Target="../media/image60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51.png"/><Relationship Id="rId20" Type="http://schemas.openxmlformats.org/officeDocument/2006/relationships/image" Target="../media/image55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41.png"/><Relationship Id="rId11" Type="http://schemas.openxmlformats.org/officeDocument/2006/relationships/image" Target="../media/image46.png"/><Relationship Id="rId24" Type="http://schemas.openxmlformats.org/officeDocument/2006/relationships/image" Target="../media/image59.png"/><Relationship Id="rId5" Type="http://schemas.openxmlformats.org/officeDocument/2006/relationships/image" Target="../media/image40.png"/><Relationship Id="rId15" Type="http://schemas.openxmlformats.org/officeDocument/2006/relationships/image" Target="../media/image50.png"/><Relationship Id="rId23" Type="http://schemas.openxmlformats.org/officeDocument/2006/relationships/image" Target="../media/image58.png"/><Relationship Id="rId28" Type="http://schemas.openxmlformats.org/officeDocument/2006/relationships/image" Target="../media/image63.png"/><Relationship Id="rId10" Type="http://schemas.openxmlformats.org/officeDocument/2006/relationships/image" Target="../media/image45.png"/><Relationship Id="rId19" Type="http://schemas.openxmlformats.org/officeDocument/2006/relationships/image" Target="../media/image54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Relationship Id="rId14" Type="http://schemas.openxmlformats.org/officeDocument/2006/relationships/image" Target="../media/image49.png"/><Relationship Id="rId22" Type="http://schemas.openxmlformats.org/officeDocument/2006/relationships/image" Target="../media/image57.png"/><Relationship Id="rId27" Type="http://schemas.openxmlformats.org/officeDocument/2006/relationships/image" Target="../media/image6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0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0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0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9.xml"/><Relationship Id="rId7" Type="http://schemas.openxmlformats.org/officeDocument/2006/relationships/image" Target="../media/image3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2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Hoja_de_c_lculo_de_Microsoft_Excel_97-20033.xls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6.png"/><Relationship Id="rId2" Type="http://schemas.openxmlformats.org/officeDocument/2006/relationships/tags" Target="../tags/tag2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Hoja_de_c_lculo_de_Microsoft_Excel_97-20032.xls"/><Relationship Id="rId5" Type="http://schemas.openxmlformats.org/officeDocument/2006/relationships/image" Target="../media/image5.png"/><Relationship Id="rId4" Type="http://schemas.openxmlformats.org/officeDocument/2006/relationships/oleObject" Target="../embeddings/Hoja_de_c_lculo_de_Microsoft_Excel_97-20031.xls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o 2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22530" name="Picture 2" descr="https://s-media-cache-ak0.pinimg.com/originals/92/25/04/9225040dc309e3f6eba9b4a57b0f3f43.jpg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3216"/>
            <a:stretch/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Imagen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200" y="2362200"/>
              <a:ext cx="2055796" cy="684093"/>
            </a:xfrm>
            <a:prstGeom prst="rect">
              <a:avLst/>
            </a:prstGeom>
          </p:spPr>
        </p:pic>
      </p:grpSp>
      <p:sp>
        <p:nvSpPr>
          <p:cNvPr id="2" name="Rectángulo 1"/>
          <p:cNvSpPr/>
          <p:nvPr/>
        </p:nvSpPr>
        <p:spPr>
          <a:xfrm>
            <a:off x="0" y="5638800"/>
            <a:ext cx="9144000" cy="1219200"/>
          </a:xfrm>
          <a:prstGeom prst="rect">
            <a:avLst/>
          </a:prstGeom>
          <a:solidFill>
            <a:schemeClr val="tx1">
              <a:alpha val="4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5" name="CuadroTexto 4"/>
          <p:cNvSpPr txBox="1"/>
          <p:nvPr/>
        </p:nvSpPr>
        <p:spPr>
          <a:xfrm>
            <a:off x="152400" y="5657671"/>
            <a:ext cx="493115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AR" sz="5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Demi Cond" panose="020B0706030402020204" pitchFamily="34" charset="0"/>
              </a:rPr>
              <a:t>SLIDES </a:t>
            </a:r>
            <a:r>
              <a:rPr lang="es-AR" sz="5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Demi Cond" panose="020B0706030402020204" pitchFamily="34" charset="0"/>
              </a:rPr>
              <a:t>PARA USAR</a:t>
            </a:r>
            <a:endParaRPr lang="es-AR" sz="5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Franklin Gothic Demi Cond" panose="020B0706030402020204" pitchFamily="34" charset="0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1143000" y="6320135"/>
            <a:ext cx="43156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AR" sz="2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" panose="020B0602030504020204" pitchFamily="34" charset="0"/>
              </a:rPr>
              <a:t>en tu próxima presentación</a:t>
            </a:r>
            <a:endParaRPr lang="es-AR" sz="2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" panose="020B0602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9907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ktangel 54"/>
          <p:cNvSpPr>
            <a:spLocks noChangeArrowheads="1"/>
          </p:cNvSpPr>
          <p:nvPr/>
        </p:nvSpPr>
        <p:spPr bwMode="auto">
          <a:xfrm>
            <a:off x="3643086" y="1676400"/>
            <a:ext cx="20574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801688">
              <a:spcBef>
                <a:spcPct val="20000"/>
              </a:spcBef>
            </a:pPr>
            <a:r>
              <a:rPr lang="en-US" sz="1200" noProof="1" smtClean="0">
                <a:solidFill>
                  <a:srgbClr val="080808"/>
                </a:solidFill>
                <a:latin typeface="Calibri" pitchFamily="-112" charset="0"/>
                <a:cs typeface="Arial" charset="0"/>
              </a:rPr>
              <a:t>This </a:t>
            </a:r>
            <a:r>
              <a:rPr lang="en-US" sz="1200" noProof="1">
                <a:solidFill>
                  <a:srgbClr val="080808"/>
                </a:solidFill>
                <a:latin typeface="Calibri" pitchFamily="-112" charset="0"/>
                <a:cs typeface="Arial" charset="0"/>
              </a:rPr>
              <a:t>is an example text. Go ahead and replace it with </a:t>
            </a:r>
            <a:r>
              <a:rPr lang="en-US" sz="1200" noProof="1" smtClean="0">
                <a:solidFill>
                  <a:srgbClr val="080808"/>
                </a:solidFill>
                <a:latin typeface="Calibri" pitchFamily="-112" charset="0"/>
                <a:cs typeface="Arial" charset="0"/>
              </a:rPr>
              <a:t>your </a:t>
            </a:r>
            <a:r>
              <a:rPr lang="en-US" sz="1200" noProof="1">
                <a:solidFill>
                  <a:srgbClr val="080808"/>
                </a:solidFill>
                <a:latin typeface="Calibri" pitchFamily="-112" charset="0"/>
                <a:cs typeface="Arial" charset="0"/>
              </a:rPr>
              <a:t>own text</a:t>
            </a:r>
            <a:r>
              <a:rPr lang="en-US" sz="1200" noProof="1" smtClean="0">
                <a:solidFill>
                  <a:srgbClr val="080808"/>
                </a:solidFill>
                <a:latin typeface="Calibri" pitchFamily="-112" charset="0"/>
                <a:cs typeface="Arial" charset="0"/>
              </a:rPr>
              <a:t>.</a:t>
            </a:r>
            <a:endParaRPr lang="en-US" sz="1200" noProof="1">
              <a:solidFill>
                <a:srgbClr val="080808"/>
              </a:solidFill>
              <a:latin typeface="Calibri" pitchFamily="-112" charset="0"/>
              <a:cs typeface="Arial" charset="0"/>
            </a:endParaRPr>
          </a:p>
        </p:txBody>
      </p:sp>
      <p:sp>
        <p:nvSpPr>
          <p:cNvPr id="72" name="Rektangel 54"/>
          <p:cNvSpPr>
            <a:spLocks noChangeArrowheads="1"/>
          </p:cNvSpPr>
          <p:nvPr/>
        </p:nvSpPr>
        <p:spPr bwMode="auto">
          <a:xfrm>
            <a:off x="3657600" y="2362200"/>
            <a:ext cx="20574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801688">
              <a:spcBef>
                <a:spcPct val="20000"/>
              </a:spcBef>
            </a:pPr>
            <a:r>
              <a:rPr lang="en-US" sz="1200" noProof="1" smtClean="0">
                <a:solidFill>
                  <a:srgbClr val="080808"/>
                </a:solidFill>
                <a:latin typeface="Calibri" pitchFamily="-112" charset="0"/>
                <a:cs typeface="Arial" charset="0"/>
              </a:rPr>
              <a:t>This </a:t>
            </a:r>
            <a:r>
              <a:rPr lang="en-US" sz="1200" noProof="1">
                <a:solidFill>
                  <a:srgbClr val="080808"/>
                </a:solidFill>
                <a:latin typeface="Calibri" pitchFamily="-112" charset="0"/>
                <a:cs typeface="Arial" charset="0"/>
              </a:rPr>
              <a:t>is an example text. Go ahead and replace it with </a:t>
            </a:r>
            <a:r>
              <a:rPr lang="en-US" sz="1200" noProof="1" smtClean="0">
                <a:solidFill>
                  <a:srgbClr val="080808"/>
                </a:solidFill>
                <a:latin typeface="Calibri" pitchFamily="-112" charset="0"/>
                <a:cs typeface="Arial" charset="0"/>
              </a:rPr>
              <a:t>your </a:t>
            </a:r>
            <a:r>
              <a:rPr lang="en-US" sz="1200" noProof="1">
                <a:solidFill>
                  <a:srgbClr val="080808"/>
                </a:solidFill>
                <a:latin typeface="Calibri" pitchFamily="-112" charset="0"/>
                <a:cs typeface="Arial" charset="0"/>
              </a:rPr>
              <a:t>own text</a:t>
            </a:r>
            <a:r>
              <a:rPr lang="en-US" sz="1200" noProof="1" smtClean="0">
                <a:solidFill>
                  <a:srgbClr val="080808"/>
                </a:solidFill>
                <a:latin typeface="Calibri" pitchFamily="-112" charset="0"/>
                <a:cs typeface="Arial" charset="0"/>
              </a:rPr>
              <a:t>.</a:t>
            </a:r>
            <a:endParaRPr lang="en-US" sz="1200" noProof="1">
              <a:solidFill>
                <a:srgbClr val="080808"/>
              </a:solidFill>
              <a:latin typeface="Calibri" pitchFamily="-112" charset="0"/>
              <a:cs typeface="Arial" charset="0"/>
            </a:endParaRPr>
          </a:p>
        </p:txBody>
      </p:sp>
      <p:grpSp>
        <p:nvGrpSpPr>
          <p:cNvPr id="81" name="Group 80"/>
          <p:cNvGrpSpPr/>
          <p:nvPr/>
        </p:nvGrpSpPr>
        <p:grpSpPr>
          <a:xfrm>
            <a:off x="1293813" y="1711325"/>
            <a:ext cx="6554787" cy="4232275"/>
            <a:chOff x="379413" y="1524000"/>
            <a:chExt cx="6554787" cy="4232275"/>
          </a:xfrm>
        </p:grpSpPr>
        <p:grpSp>
          <p:nvGrpSpPr>
            <p:cNvPr id="30" name="Group 52"/>
            <p:cNvGrpSpPr>
              <a:grpSpLocks/>
            </p:cNvGrpSpPr>
            <p:nvPr/>
          </p:nvGrpSpPr>
          <p:grpSpPr bwMode="auto">
            <a:xfrm>
              <a:off x="2919413" y="4406900"/>
              <a:ext cx="1951037" cy="1349375"/>
              <a:chOff x="3284445" y="3929066"/>
              <a:chExt cx="1950366" cy="1348700"/>
            </a:xfrm>
          </p:grpSpPr>
          <p:grpSp>
            <p:nvGrpSpPr>
              <p:cNvPr id="32" name="Gruppe 199"/>
              <p:cNvGrpSpPr>
                <a:grpSpLocks/>
              </p:cNvGrpSpPr>
              <p:nvPr/>
            </p:nvGrpSpPr>
            <p:grpSpPr bwMode="auto">
              <a:xfrm>
                <a:off x="3284445" y="3929064"/>
                <a:ext cx="1950366" cy="1348699"/>
                <a:chOff x="2636520" y="2831704"/>
                <a:chExt cx="1919605" cy="1330208"/>
              </a:xfrm>
            </p:grpSpPr>
            <p:sp>
              <p:nvSpPr>
                <p:cNvPr id="35" name="Ellipse 59"/>
                <p:cNvSpPr/>
                <p:nvPr/>
              </p:nvSpPr>
              <p:spPr bwMode="auto">
                <a:xfrm>
                  <a:off x="2636520" y="3774026"/>
                  <a:ext cx="1919605" cy="387886"/>
                </a:xfrm>
                <a:prstGeom prst="ellipse">
                  <a:avLst/>
                </a:prstGeom>
                <a:gradFill flip="none" rotWithShape="1">
                  <a:gsLst>
                    <a:gs pos="24000">
                      <a:sysClr val="windowText" lastClr="000000">
                        <a:alpha val="22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da-DK">
                    <a:solidFill>
                      <a:srgbClr val="FFFFFF"/>
                    </a:solidFill>
                    <a:latin typeface="Calibri" pitchFamily="34" charset="0"/>
                    <a:ea typeface="ＭＳ Ｐゴシック" charset="-128"/>
                  </a:endParaRPr>
                </a:p>
              </p:txBody>
            </p:sp>
            <p:grpSp>
              <p:nvGrpSpPr>
                <p:cNvPr id="36" name="Gruppe 91"/>
                <p:cNvGrpSpPr>
                  <a:grpSpLocks/>
                </p:cNvGrpSpPr>
                <p:nvPr/>
              </p:nvGrpSpPr>
              <p:grpSpPr bwMode="auto">
                <a:xfrm>
                  <a:off x="2976833" y="2831704"/>
                  <a:ext cx="1198924" cy="1187339"/>
                  <a:chOff x="1071835" y="2920232"/>
                  <a:chExt cx="1427572" cy="1413777"/>
                </a:xfrm>
              </p:grpSpPr>
              <p:sp>
                <p:nvSpPr>
                  <p:cNvPr id="37" name="Ellipse 44"/>
                  <p:cNvSpPr/>
                  <p:nvPr/>
                </p:nvSpPr>
                <p:spPr bwMode="auto">
                  <a:xfrm rot="21052097">
                    <a:off x="1085755" y="2920232"/>
                    <a:ext cx="1413652" cy="1413777"/>
                  </a:xfrm>
                  <a:prstGeom prst="ellipse">
                    <a:avLst/>
                  </a:prstGeom>
                  <a:solidFill>
                    <a:schemeClr val="bg1">
                      <a:lumMod val="75000"/>
                    </a:schemeClr>
                  </a:solidFill>
                  <a:ln w="9525" cap="flat" cmpd="sng" algn="ctr">
                    <a:noFill/>
                    <a:prstDash val="solid"/>
                  </a:ln>
                  <a:effectLst>
                    <a:innerShdw blurRad="190500" dist="114300" dir="5640000">
                      <a:srgbClr val="000000">
                        <a:alpha val="37000"/>
                      </a:srgbClr>
                    </a:innerShdw>
                  </a:effectLst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>
                      <a:solidFill>
                        <a:srgbClr val="FFFFFF"/>
                      </a:solidFill>
                      <a:latin typeface="Calibri" pitchFamily="34" charset="0"/>
                      <a:ea typeface="ＭＳ Ｐゴシック" charset="-128"/>
                    </a:endParaRPr>
                  </a:p>
                </p:txBody>
              </p:sp>
              <p:sp>
                <p:nvSpPr>
                  <p:cNvPr id="38" name="Ellipse 45"/>
                  <p:cNvSpPr>
                    <a:spLocks noChangeArrowheads="1"/>
                  </p:cNvSpPr>
                  <p:nvPr/>
                </p:nvSpPr>
                <p:spPr bwMode="auto">
                  <a:xfrm>
                    <a:off x="1286549" y="2951056"/>
                    <a:ext cx="1026905" cy="765865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FFFCF9">
                          <a:alpha val="76999"/>
                        </a:srgbClr>
                      </a:gs>
                      <a:gs pos="100000">
                        <a:srgbClr val="FFFFFF">
                          <a:alpha val="0"/>
                        </a:srgbClr>
                      </a:gs>
                    </a:gsLst>
                    <a:lin ang="5400000"/>
                  </a:gradFill>
                  <a:ln w="9525">
                    <a:noFill/>
                    <a:round/>
                    <a:headEnd/>
                    <a:tailEnd/>
                  </a:ln>
                </p:spPr>
                <p:txBody>
                  <a:bodyPr anchor="ctr"/>
                  <a:lstStyle/>
                  <a:p>
                    <a:pPr algn="ctr"/>
                    <a:endParaRPr lang="da-DK">
                      <a:solidFill>
                        <a:srgbClr val="FFFFFF"/>
                      </a:solidFill>
                      <a:latin typeface="Calibri" pitchFamily="-65" charset="0"/>
                    </a:endParaRPr>
                  </a:p>
                </p:txBody>
              </p:sp>
              <p:sp>
                <p:nvSpPr>
                  <p:cNvPr id="47" name="Måne 63"/>
                  <p:cNvSpPr/>
                  <p:nvPr/>
                </p:nvSpPr>
                <p:spPr bwMode="auto">
                  <a:xfrm rot="16552097">
                    <a:off x="1446797" y="3308471"/>
                    <a:ext cx="622393" cy="1372317"/>
                  </a:xfrm>
                  <a:prstGeom prst="moon">
                    <a:avLst>
                      <a:gd name="adj" fmla="val 18952"/>
                    </a:avLst>
                  </a:prstGeom>
                  <a:gradFill flip="none" rotWithShape="1">
                    <a:gsLst>
                      <a:gs pos="24000">
                        <a:sysClr val="windowText" lastClr="000000">
                          <a:alpha val="24000"/>
                        </a:sysClr>
                      </a:gs>
                      <a:gs pos="100000">
                        <a:sysClr val="window" lastClr="FFFFFF">
                          <a:alpha val="0"/>
                        </a:sys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>
                      <a:solidFill>
                        <a:srgbClr val="FFFFFF"/>
                      </a:solidFill>
                      <a:latin typeface="Calibri" pitchFamily="34" charset="0"/>
                      <a:ea typeface="ＭＳ Ｐゴシック" charset="-128"/>
                    </a:endParaRPr>
                  </a:p>
                </p:txBody>
              </p:sp>
            </p:grpSp>
          </p:grpSp>
          <p:sp>
            <p:nvSpPr>
              <p:cNvPr id="34" name="TextBox 11"/>
              <p:cNvSpPr txBox="1">
                <a:spLocks noChangeArrowheads="1"/>
              </p:cNvSpPr>
              <p:nvPr/>
            </p:nvSpPr>
            <p:spPr bwMode="auto">
              <a:xfrm>
                <a:off x="4038248" y="4105522"/>
                <a:ext cx="422275" cy="76944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en-US" sz="4400" b="1">
                    <a:latin typeface="Calibri" pitchFamily="-65" charset="0"/>
                  </a:rPr>
                  <a:t>1</a:t>
                </a:r>
              </a:p>
            </p:txBody>
          </p:sp>
        </p:grpSp>
        <p:grpSp>
          <p:nvGrpSpPr>
            <p:cNvPr id="52" name="Group 49"/>
            <p:cNvGrpSpPr>
              <a:grpSpLocks/>
            </p:cNvGrpSpPr>
            <p:nvPr/>
          </p:nvGrpSpPr>
          <p:grpSpPr bwMode="auto">
            <a:xfrm>
              <a:off x="1495425" y="3006725"/>
              <a:ext cx="1949450" cy="1347788"/>
              <a:chOff x="1879215" y="2756822"/>
              <a:chExt cx="1950366" cy="1348700"/>
            </a:xfrm>
          </p:grpSpPr>
          <p:grpSp>
            <p:nvGrpSpPr>
              <p:cNvPr id="53" name="Group 24"/>
              <p:cNvGrpSpPr>
                <a:grpSpLocks/>
              </p:cNvGrpSpPr>
              <p:nvPr/>
            </p:nvGrpSpPr>
            <p:grpSpPr bwMode="auto">
              <a:xfrm>
                <a:off x="1879215" y="2756822"/>
                <a:ext cx="1950366" cy="1348700"/>
                <a:chOff x="2041140" y="2216424"/>
                <a:chExt cx="1950366" cy="1348700"/>
              </a:xfrm>
            </p:grpSpPr>
            <p:sp>
              <p:nvSpPr>
                <p:cNvPr id="55" name="Ellipse 59"/>
                <p:cNvSpPr/>
                <p:nvPr/>
              </p:nvSpPr>
              <p:spPr bwMode="auto">
                <a:xfrm>
                  <a:off x="2041140" y="3171846"/>
                  <a:ext cx="1950366" cy="393278"/>
                </a:xfrm>
                <a:prstGeom prst="ellipse">
                  <a:avLst/>
                </a:prstGeom>
                <a:gradFill flip="none" rotWithShape="1">
                  <a:gsLst>
                    <a:gs pos="24000">
                      <a:sysClr val="windowText" lastClr="000000">
                        <a:alpha val="22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da-DK">
                    <a:solidFill>
                      <a:srgbClr val="FFFFFF"/>
                    </a:solidFill>
                    <a:latin typeface="Calibri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56" name="Ellipse 44"/>
                <p:cNvSpPr/>
                <p:nvPr/>
              </p:nvSpPr>
              <p:spPr bwMode="auto">
                <a:xfrm rot="21052097">
                  <a:off x="2398784" y="2216424"/>
                  <a:ext cx="1206258" cy="1203845"/>
                </a:xfrm>
                <a:prstGeom prst="ellipse">
                  <a:avLst/>
                </a:prstGeom>
                <a:solidFill>
                  <a:schemeClr val="tx2">
                    <a:lumMod val="75000"/>
                  </a:schemeClr>
                </a:solidFill>
                <a:ln w="9525" cap="flat" cmpd="sng" algn="ctr">
                  <a:solidFill>
                    <a:srgbClr val="4F950F"/>
                  </a:solidFill>
                  <a:prstDash val="solid"/>
                </a:ln>
                <a:effectLst>
                  <a:innerShdw blurRad="190500" dist="114300" dir="5640000">
                    <a:srgbClr val="000000">
                      <a:alpha val="37000"/>
                    </a:srgbClr>
                  </a:innerShdw>
                </a:effectLst>
              </p:spPr>
              <p:txBody>
                <a:bodyPr anchor="ctr"/>
                <a:lstStyle/>
                <a:p>
                  <a:pPr algn="ctr">
                    <a:defRPr/>
                  </a:pPr>
                  <a:endParaRPr lang="da-DK">
                    <a:solidFill>
                      <a:srgbClr val="FFFFFF"/>
                    </a:solidFill>
                    <a:latin typeface="Calibri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57" name="Ellipse 45"/>
                <p:cNvSpPr>
                  <a:spLocks noChangeArrowheads="1"/>
                </p:cNvSpPr>
                <p:nvPr/>
              </p:nvSpPr>
              <p:spPr bwMode="auto">
                <a:xfrm>
                  <a:off x="2570120" y="2242671"/>
                  <a:ext cx="876250" cy="652142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FFFCF9">
                        <a:alpha val="76999"/>
                      </a:srgbClr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anchor="ctr"/>
                <a:lstStyle/>
                <a:p>
                  <a:pPr algn="ctr"/>
                  <a:endParaRPr lang="da-DK">
                    <a:solidFill>
                      <a:srgbClr val="FFFFFF"/>
                    </a:solidFill>
                    <a:latin typeface="Calibri" pitchFamily="-65" charset="0"/>
                  </a:endParaRPr>
                </a:p>
              </p:txBody>
            </p:sp>
            <p:sp>
              <p:nvSpPr>
                <p:cNvPr id="58" name="Måne 63"/>
                <p:cNvSpPr/>
                <p:nvPr/>
              </p:nvSpPr>
              <p:spPr bwMode="auto">
                <a:xfrm rot="16552097">
                  <a:off x="2707413" y="2545790"/>
                  <a:ext cx="529974" cy="1170987"/>
                </a:xfrm>
                <a:prstGeom prst="moon">
                  <a:avLst>
                    <a:gd name="adj" fmla="val 18952"/>
                  </a:avLst>
                </a:prstGeom>
                <a:gradFill flip="none" rotWithShape="1">
                  <a:gsLst>
                    <a:gs pos="24000">
                      <a:sysClr val="windowText" lastClr="000000">
                        <a:alpha val="24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da-DK">
                    <a:solidFill>
                      <a:srgbClr val="FFFFFF"/>
                    </a:solidFill>
                    <a:latin typeface="Calibri" pitchFamily="34" charset="0"/>
                    <a:ea typeface="ＭＳ Ｐゴシック" charset="-128"/>
                  </a:endParaRPr>
                </a:p>
              </p:txBody>
            </p:sp>
          </p:grpSp>
          <p:sp>
            <p:nvSpPr>
              <p:cNvPr id="54" name="TextBox 44"/>
              <p:cNvSpPr txBox="1">
                <a:spLocks noChangeArrowheads="1"/>
              </p:cNvSpPr>
              <p:nvPr/>
            </p:nvSpPr>
            <p:spPr bwMode="auto">
              <a:xfrm>
                <a:off x="2609808" y="2933278"/>
                <a:ext cx="422275" cy="76944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en-US" sz="4400" b="1" dirty="0">
                    <a:solidFill>
                      <a:schemeClr val="bg1"/>
                    </a:solidFill>
                    <a:latin typeface="Calibri" pitchFamily="-65" charset="0"/>
                  </a:rPr>
                  <a:t>2</a:t>
                </a:r>
              </a:p>
            </p:txBody>
          </p:sp>
        </p:grpSp>
        <p:grpSp>
          <p:nvGrpSpPr>
            <p:cNvPr id="59" name="Group 48"/>
            <p:cNvGrpSpPr>
              <a:grpSpLocks/>
            </p:cNvGrpSpPr>
            <p:nvPr/>
          </p:nvGrpSpPr>
          <p:grpSpPr bwMode="auto">
            <a:xfrm>
              <a:off x="4083050" y="3006725"/>
              <a:ext cx="1951038" cy="1347788"/>
              <a:chOff x="4401030" y="2756822"/>
              <a:chExt cx="1950366" cy="1348700"/>
            </a:xfrm>
          </p:grpSpPr>
          <p:grpSp>
            <p:nvGrpSpPr>
              <p:cNvPr id="60" name="Group 30"/>
              <p:cNvGrpSpPr>
                <a:grpSpLocks/>
              </p:cNvGrpSpPr>
              <p:nvPr/>
            </p:nvGrpSpPr>
            <p:grpSpPr bwMode="auto">
              <a:xfrm>
                <a:off x="4401030" y="2756822"/>
                <a:ext cx="1950366" cy="1348700"/>
                <a:chOff x="3669915" y="2216424"/>
                <a:chExt cx="1950366" cy="1348700"/>
              </a:xfrm>
            </p:grpSpPr>
            <p:sp>
              <p:nvSpPr>
                <p:cNvPr id="62" name="Ellipse 59"/>
                <p:cNvSpPr/>
                <p:nvPr/>
              </p:nvSpPr>
              <p:spPr bwMode="auto">
                <a:xfrm>
                  <a:off x="3669915" y="3171846"/>
                  <a:ext cx="1950366" cy="393278"/>
                </a:xfrm>
                <a:prstGeom prst="ellipse">
                  <a:avLst/>
                </a:prstGeom>
                <a:gradFill flip="none" rotWithShape="1">
                  <a:gsLst>
                    <a:gs pos="24000">
                      <a:sysClr val="windowText" lastClr="000000">
                        <a:alpha val="22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da-DK">
                    <a:solidFill>
                      <a:srgbClr val="FFFFFF"/>
                    </a:solidFill>
                    <a:latin typeface="Calibri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63" name="Ellipse 44"/>
                <p:cNvSpPr/>
                <p:nvPr/>
              </p:nvSpPr>
              <p:spPr bwMode="auto">
                <a:xfrm rot="21052097">
                  <a:off x="4027559" y="2216424"/>
                  <a:ext cx="1206258" cy="1203845"/>
                </a:xfrm>
                <a:prstGeom prst="ellipse">
                  <a:avLst/>
                </a:prstGeom>
                <a:solidFill>
                  <a:srgbClr val="B80E18"/>
                </a:solidFill>
                <a:ln w="9525" cap="flat" cmpd="sng" algn="ctr">
                  <a:noFill/>
                  <a:prstDash val="solid"/>
                </a:ln>
                <a:effectLst>
                  <a:innerShdw blurRad="190500" dist="114300" dir="5640000">
                    <a:srgbClr val="000000">
                      <a:alpha val="37000"/>
                    </a:srgbClr>
                  </a:innerShdw>
                </a:effectLst>
              </p:spPr>
              <p:txBody>
                <a:bodyPr anchor="ctr"/>
                <a:lstStyle/>
                <a:p>
                  <a:pPr algn="ctr">
                    <a:defRPr/>
                  </a:pPr>
                  <a:endParaRPr lang="da-DK">
                    <a:solidFill>
                      <a:srgbClr val="FFFFFF"/>
                    </a:solidFill>
                    <a:latin typeface="Calibri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64" name="Ellipse 45"/>
                <p:cNvSpPr>
                  <a:spLocks noChangeArrowheads="1"/>
                </p:cNvSpPr>
                <p:nvPr/>
              </p:nvSpPr>
              <p:spPr bwMode="auto">
                <a:xfrm>
                  <a:off x="4198895" y="2242671"/>
                  <a:ext cx="876250" cy="652142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FFFCF9">
                        <a:alpha val="76999"/>
                      </a:srgbClr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anchor="ctr"/>
                <a:lstStyle/>
                <a:p>
                  <a:pPr algn="ctr"/>
                  <a:endParaRPr lang="da-DK">
                    <a:solidFill>
                      <a:srgbClr val="FFFFFF"/>
                    </a:solidFill>
                    <a:latin typeface="Calibri" pitchFamily="-65" charset="0"/>
                  </a:endParaRPr>
                </a:p>
              </p:txBody>
            </p:sp>
            <p:sp>
              <p:nvSpPr>
                <p:cNvPr id="65" name="Måne 63"/>
                <p:cNvSpPr/>
                <p:nvPr/>
              </p:nvSpPr>
              <p:spPr bwMode="auto">
                <a:xfrm rot="16552097">
                  <a:off x="4336188" y="2545790"/>
                  <a:ext cx="529974" cy="1170987"/>
                </a:xfrm>
                <a:prstGeom prst="moon">
                  <a:avLst>
                    <a:gd name="adj" fmla="val 18952"/>
                  </a:avLst>
                </a:prstGeom>
                <a:gradFill flip="none" rotWithShape="1">
                  <a:gsLst>
                    <a:gs pos="24000">
                      <a:sysClr val="windowText" lastClr="000000">
                        <a:alpha val="24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da-DK">
                    <a:solidFill>
                      <a:srgbClr val="FFFFFF"/>
                    </a:solidFill>
                    <a:latin typeface="Calibri" pitchFamily="34" charset="0"/>
                    <a:ea typeface="ＭＳ Ｐゴシック" charset="-128"/>
                  </a:endParaRPr>
                </a:p>
              </p:txBody>
            </p:sp>
          </p:grpSp>
          <p:sp>
            <p:nvSpPr>
              <p:cNvPr id="61" name="TextBox 45"/>
              <p:cNvSpPr txBox="1">
                <a:spLocks noChangeArrowheads="1"/>
              </p:cNvSpPr>
              <p:nvPr/>
            </p:nvSpPr>
            <p:spPr bwMode="auto">
              <a:xfrm>
                <a:off x="5134202" y="2933278"/>
                <a:ext cx="422275" cy="76944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en-US" sz="4400" b="1">
                    <a:latin typeface="Calibri" pitchFamily="-65" charset="0"/>
                  </a:rPr>
                  <a:t>3</a:t>
                </a:r>
              </a:p>
            </p:txBody>
          </p:sp>
        </p:grpSp>
        <p:grpSp>
          <p:nvGrpSpPr>
            <p:cNvPr id="66" name="Group 53"/>
            <p:cNvGrpSpPr>
              <a:grpSpLocks/>
            </p:cNvGrpSpPr>
            <p:nvPr/>
          </p:nvGrpSpPr>
          <p:grpSpPr bwMode="auto">
            <a:xfrm>
              <a:off x="379413" y="1524000"/>
              <a:ext cx="1951037" cy="1349375"/>
              <a:chOff x="745260" y="884314"/>
              <a:chExt cx="1950366" cy="1348700"/>
            </a:xfrm>
          </p:grpSpPr>
          <p:sp>
            <p:nvSpPr>
              <p:cNvPr id="67" name="Ellipse 59"/>
              <p:cNvSpPr/>
              <p:nvPr/>
            </p:nvSpPr>
            <p:spPr bwMode="auto">
              <a:xfrm>
                <a:off x="745260" y="1839736"/>
                <a:ext cx="1950366" cy="393278"/>
              </a:xfrm>
              <a:prstGeom prst="ellipse">
                <a:avLst/>
              </a:prstGeom>
              <a:gradFill flip="none" rotWithShape="1">
                <a:gsLst>
                  <a:gs pos="24000">
                    <a:sysClr val="windowText" lastClr="000000">
                      <a:alpha val="22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da-DK">
                  <a:solidFill>
                    <a:srgbClr val="FFFFFF"/>
                  </a:solidFill>
                  <a:latin typeface="Calibri" pitchFamily="34" charset="0"/>
                  <a:ea typeface="ＭＳ Ｐゴシック" charset="-128"/>
                </a:endParaRPr>
              </a:p>
            </p:txBody>
          </p:sp>
          <p:sp>
            <p:nvSpPr>
              <p:cNvPr id="68" name="Ellipse 44"/>
              <p:cNvSpPr/>
              <p:nvPr/>
            </p:nvSpPr>
            <p:spPr bwMode="auto">
              <a:xfrm rot="21052097">
                <a:off x="1102904" y="884314"/>
                <a:ext cx="1206258" cy="1203845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 w="9525" cap="flat" cmpd="sng" algn="ctr">
                <a:solidFill>
                  <a:schemeClr val="accent5">
                    <a:lumMod val="50000"/>
                  </a:schemeClr>
                </a:solidFill>
                <a:prstDash val="solid"/>
              </a:ln>
              <a:effectLst>
                <a:innerShdw blurRad="190500" dist="114300" dir="5640000">
                  <a:srgbClr val="000000">
                    <a:alpha val="37000"/>
                  </a:srgbClr>
                </a:inn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da-DK">
                  <a:solidFill>
                    <a:srgbClr val="FFFFFF"/>
                  </a:solidFill>
                  <a:latin typeface="Calibri" pitchFamily="34" charset="0"/>
                  <a:ea typeface="ＭＳ Ｐゴシック" charset="-128"/>
                </a:endParaRPr>
              </a:p>
            </p:txBody>
          </p:sp>
          <p:sp>
            <p:nvSpPr>
              <p:cNvPr id="69" name="Ellipse 45"/>
              <p:cNvSpPr>
                <a:spLocks noChangeArrowheads="1"/>
              </p:cNvSpPr>
              <p:nvPr/>
            </p:nvSpPr>
            <p:spPr bwMode="auto">
              <a:xfrm>
                <a:off x="1274240" y="910561"/>
                <a:ext cx="876250" cy="652142"/>
              </a:xfrm>
              <a:prstGeom prst="ellipse">
                <a:avLst/>
              </a:prstGeom>
              <a:gradFill rotWithShape="1">
                <a:gsLst>
                  <a:gs pos="0">
                    <a:srgbClr val="FFFCF9">
                      <a:alpha val="76999"/>
                    </a:srgbClr>
                  </a:gs>
                  <a:gs pos="100000">
                    <a:srgbClr val="FFFFFF">
                      <a:alpha val="0"/>
                    </a:srgbClr>
                  </a:gs>
                </a:gsLst>
                <a:lin ang="5400000"/>
              </a:gra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da-DK">
                  <a:solidFill>
                    <a:srgbClr val="FFFFFF"/>
                  </a:solidFill>
                  <a:latin typeface="Calibri" pitchFamily="-65" charset="0"/>
                </a:endParaRPr>
              </a:p>
            </p:txBody>
          </p:sp>
          <p:sp>
            <p:nvSpPr>
              <p:cNvPr id="71" name="Måne 63"/>
              <p:cNvSpPr/>
              <p:nvPr/>
            </p:nvSpPr>
            <p:spPr bwMode="auto">
              <a:xfrm rot="16552097">
                <a:off x="1411533" y="1213680"/>
                <a:ext cx="529974" cy="1170987"/>
              </a:xfrm>
              <a:prstGeom prst="moon">
                <a:avLst>
                  <a:gd name="adj" fmla="val 18952"/>
                </a:avLst>
              </a:prstGeom>
              <a:gradFill flip="none" rotWithShape="1">
                <a:gsLst>
                  <a:gs pos="24000">
                    <a:sysClr val="windowText" lastClr="000000">
                      <a:alpha val="24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da-DK">
                  <a:solidFill>
                    <a:srgbClr val="FFFFFF"/>
                  </a:solidFill>
                  <a:latin typeface="Calibri" pitchFamily="34" charset="0"/>
                  <a:ea typeface="ＭＳ Ｐゴシック" charset="-128"/>
                </a:endParaRPr>
              </a:p>
            </p:txBody>
          </p:sp>
          <p:sp>
            <p:nvSpPr>
              <p:cNvPr id="73" name="TextBox 46"/>
              <p:cNvSpPr txBox="1">
                <a:spLocks noChangeArrowheads="1"/>
              </p:cNvSpPr>
              <p:nvPr/>
            </p:nvSpPr>
            <p:spPr bwMode="auto">
              <a:xfrm>
                <a:off x="1483048" y="1058963"/>
                <a:ext cx="422275" cy="76944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en-US" sz="4400" b="1">
                    <a:latin typeface="Calibri" pitchFamily="-65" charset="0"/>
                  </a:rPr>
                  <a:t>4</a:t>
                </a:r>
              </a:p>
            </p:txBody>
          </p:sp>
        </p:grpSp>
        <p:grpSp>
          <p:nvGrpSpPr>
            <p:cNvPr id="74" name="Group 50"/>
            <p:cNvGrpSpPr>
              <a:grpSpLocks/>
            </p:cNvGrpSpPr>
            <p:nvPr/>
          </p:nvGrpSpPr>
          <p:grpSpPr bwMode="auto">
            <a:xfrm>
              <a:off x="4983163" y="1524000"/>
              <a:ext cx="1951037" cy="1349375"/>
              <a:chOff x="5077633" y="1046239"/>
              <a:chExt cx="1950366" cy="1348700"/>
            </a:xfrm>
          </p:grpSpPr>
          <p:grpSp>
            <p:nvGrpSpPr>
              <p:cNvPr id="75" name="Group 42"/>
              <p:cNvGrpSpPr>
                <a:grpSpLocks/>
              </p:cNvGrpSpPr>
              <p:nvPr/>
            </p:nvGrpSpPr>
            <p:grpSpPr bwMode="auto">
              <a:xfrm>
                <a:off x="5077633" y="1046239"/>
                <a:ext cx="1950366" cy="1348700"/>
                <a:chOff x="6984615" y="2243138"/>
                <a:chExt cx="1950366" cy="1348700"/>
              </a:xfrm>
            </p:grpSpPr>
            <p:sp>
              <p:nvSpPr>
                <p:cNvPr id="77" name="Ellipse 59"/>
                <p:cNvSpPr/>
                <p:nvPr/>
              </p:nvSpPr>
              <p:spPr bwMode="auto">
                <a:xfrm>
                  <a:off x="6984615" y="3198560"/>
                  <a:ext cx="1950366" cy="393278"/>
                </a:xfrm>
                <a:prstGeom prst="ellipse">
                  <a:avLst/>
                </a:prstGeom>
                <a:gradFill flip="none" rotWithShape="1">
                  <a:gsLst>
                    <a:gs pos="24000">
                      <a:sysClr val="windowText" lastClr="000000">
                        <a:alpha val="22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da-DK">
                    <a:solidFill>
                      <a:srgbClr val="FFFFFF"/>
                    </a:solidFill>
                    <a:latin typeface="Calibri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78" name="Ellipse 44"/>
                <p:cNvSpPr/>
                <p:nvPr/>
              </p:nvSpPr>
              <p:spPr bwMode="auto">
                <a:xfrm rot="21052097">
                  <a:off x="7399409" y="2243138"/>
                  <a:ext cx="1206258" cy="1203845"/>
                </a:xfrm>
                <a:prstGeom prst="ellipse">
                  <a:avLst/>
                </a:prstGeom>
                <a:solidFill>
                  <a:srgbClr val="2A9B18"/>
                </a:solidFill>
                <a:ln w="9525" cap="flat" cmpd="sng" algn="ctr">
                  <a:noFill/>
                  <a:prstDash val="solid"/>
                </a:ln>
                <a:effectLst>
                  <a:innerShdw blurRad="190500" dist="114300" dir="5640000">
                    <a:srgbClr val="000000">
                      <a:alpha val="37000"/>
                    </a:srgbClr>
                  </a:innerShdw>
                </a:effectLst>
              </p:spPr>
              <p:txBody>
                <a:bodyPr anchor="ctr"/>
                <a:lstStyle/>
                <a:p>
                  <a:pPr algn="ctr">
                    <a:defRPr/>
                  </a:pPr>
                  <a:endParaRPr lang="da-DK">
                    <a:solidFill>
                      <a:srgbClr val="FFFFFF"/>
                    </a:solidFill>
                    <a:latin typeface="Calibri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79" name="Ellipse 45"/>
                <p:cNvSpPr>
                  <a:spLocks noChangeArrowheads="1"/>
                </p:cNvSpPr>
                <p:nvPr/>
              </p:nvSpPr>
              <p:spPr bwMode="auto">
                <a:xfrm>
                  <a:off x="7541384" y="2269385"/>
                  <a:ext cx="876250" cy="652142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FFFCF9">
                        <a:alpha val="76999"/>
                      </a:srgbClr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anchor="ctr"/>
                <a:lstStyle/>
                <a:p>
                  <a:pPr algn="ctr"/>
                  <a:endParaRPr lang="da-DK">
                    <a:solidFill>
                      <a:srgbClr val="FFFFFF"/>
                    </a:solidFill>
                    <a:latin typeface="Calibri" pitchFamily="-65" charset="0"/>
                  </a:endParaRPr>
                </a:p>
              </p:txBody>
            </p:sp>
            <p:sp>
              <p:nvSpPr>
                <p:cNvPr id="80" name="Måne 63"/>
                <p:cNvSpPr/>
                <p:nvPr/>
              </p:nvSpPr>
              <p:spPr bwMode="auto">
                <a:xfrm rot="16552097">
                  <a:off x="7650888" y="2572504"/>
                  <a:ext cx="529974" cy="1170987"/>
                </a:xfrm>
                <a:prstGeom prst="moon">
                  <a:avLst>
                    <a:gd name="adj" fmla="val 18952"/>
                  </a:avLst>
                </a:prstGeom>
                <a:gradFill flip="none" rotWithShape="1">
                  <a:gsLst>
                    <a:gs pos="24000">
                      <a:sysClr val="windowText" lastClr="000000">
                        <a:alpha val="24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da-DK">
                    <a:solidFill>
                      <a:srgbClr val="FFFFFF"/>
                    </a:solidFill>
                    <a:latin typeface="Calibri" pitchFamily="34" charset="0"/>
                    <a:ea typeface="ＭＳ Ｐゴシック" charset="-128"/>
                  </a:endParaRPr>
                </a:p>
              </p:txBody>
            </p:sp>
          </p:grpSp>
          <p:sp>
            <p:nvSpPr>
              <p:cNvPr id="76" name="TextBox 47"/>
              <p:cNvSpPr txBox="1">
                <a:spLocks noChangeArrowheads="1"/>
              </p:cNvSpPr>
              <p:nvPr/>
            </p:nvSpPr>
            <p:spPr bwMode="auto">
              <a:xfrm>
                <a:off x="5859856" y="1222695"/>
                <a:ext cx="422275" cy="76944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en-US" sz="4400" b="1">
                    <a:latin typeface="Calibri" pitchFamily="-65" charset="0"/>
                  </a:rPr>
                  <a:t>5</a:t>
                </a:r>
              </a:p>
            </p:txBody>
          </p:sp>
        </p:grpSp>
      </p:grpSp>
      <p:grpSp>
        <p:nvGrpSpPr>
          <p:cNvPr id="82" name="Group 81"/>
          <p:cNvGrpSpPr/>
          <p:nvPr/>
        </p:nvGrpSpPr>
        <p:grpSpPr>
          <a:xfrm rot="21075881">
            <a:off x="6237139" y="3499070"/>
            <a:ext cx="2080352" cy="2017563"/>
            <a:chOff x="5277710" y="2809226"/>
            <a:chExt cx="3070952" cy="2978265"/>
          </a:xfrm>
        </p:grpSpPr>
        <p:sp>
          <p:nvSpPr>
            <p:cNvPr id="83" name="Freeform 7"/>
            <p:cNvSpPr>
              <a:spLocks/>
            </p:cNvSpPr>
            <p:nvPr/>
          </p:nvSpPr>
          <p:spPr bwMode="auto">
            <a:xfrm rot="455585">
              <a:off x="5277710" y="2809226"/>
              <a:ext cx="3070952" cy="2978265"/>
            </a:xfrm>
            <a:custGeom>
              <a:avLst/>
              <a:gdLst>
                <a:gd name="T0" fmla="*/ 3419938 w 1153"/>
                <a:gd name="T1" fmla="*/ 449447 h 985"/>
                <a:gd name="T2" fmla="*/ 3419938 w 1153"/>
                <a:gd name="T3" fmla="*/ 449447 h 985"/>
                <a:gd name="T4" fmla="*/ 3531043 w 1153"/>
                <a:gd name="T5" fmla="*/ 954089 h 985"/>
                <a:gd name="T6" fmla="*/ 3725477 w 1153"/>
                <a:gd name="T7" fmla="*/ 1821443 h 985"/>
                <a:gd name="T8" fmla="*/ 4003238 w 1153"/>
                <a:gd name="T9" fmla="*/ 3008141 h 985"/>
                <a:gd name="T10" fmla="*/ 624963 w 1153"/>
                <a:gd name="T11" fmla="*/ 3883380 h 985"/>
                <a:gd name="T12" fmla="*/ 624963 w 1153"/>
                <a:gd name="T13" fmla="*/ 3883380 h 985"/>
                <a:gd name="T14" fmla="*/ 361090 w 1153"/>
                <a:gd name="T15" fmla="*/ 2732165 h 985"/>
                <a:gd name="T16" fmla="*/ 166657 w 1153"/>
                <a:gd name="T17" fmla="*/ 1884524 h 985"/>
                <a:gd name="T18" fmla="*/ 55552 w 1153"/>
                <a:gd name="T19" fmla="*/ 1371996 h 985"/>
                <a:gd name="T20" fmla="*/ 55552 w 1153"/>
                <a:gd name="T21" fmla="*/ 1371996 h 985"/>
                <a:gd name="T22" fmla="*/ 20832 w 1153"/>
                <a:gd name="T23" fmla="*/ 1166985 h 985"/>
                <a:gd name="T24" fmla="*/ 6944 w 1153"/>
                <a:gd name="T25" fmla="*/ 993514 h 985"/>
                <a:gd name="T26" fmla="*/ 0 w 1153"/>
                <a:gd name="T27" fmla="*/ 827929 h 985"/>
                <a:gd name="T28" fmla="*/ 3350498 w 1153"/>
                <a:gd name="T29" fmla="*/ 0 h 985"/>
                <a:gd name="T30" fmla="*/ 3350498 w 1153"/>
                <a:gd name="T31" fmla="*/ 0 h 985"/>
                <a:gd name="T32" fmla="*/ 3371330 w 1153"/>
                <a:gd name="T33" fmla="*/ 141931 h 985"/>
                <a:gd name="T34" fmla="*/ 3392162 w 1153"/>
                <a:gd name="T35" fmla="*/ 283861 h 985"/>
                <a:gd name="T36" fmla="*/ 3419938 w 1153"/>
                <a:gd name="T37" fmla="*/ 449447 h 985"/>
                <a:gd name="T38" fmla="*/ 3419938 w 1153"/>
                <a:gd name="T39" fmla="*/ 449447 h 98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153"/>
                <a:gd name="T61" fmla="*/ 0 h 985"/>
                <a:gd name="T62" fmla="*/ 1153 w 1153"/>
                <a:gd name="T63" fmla="*/ 985 h 98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153" h="985">
                  <a:moveTo>
                    <a:pt x="985" y="114"/>
                  </a:moveTo>
                  <a:lnTo>
                    <a:pt x="985" y="114"/>
                  </a:lnTo>
                  <a:lnTo>
                    <a:pt x="1017" y="242"/>
                  </a:lnTo>
                  <a:lnTo>
                    <a:pt x="1073" y="462"/>
                  </a:lnTo>
                  <a:lnTo>
                    <a:pt x="1153" y="763"/>
                  </a:lnTo>
                  <a:lnTo>
                    <a:pt x="180" y="985"/>
                  </a:lnTo>
                  <a:lnTo>
                    <a:pt x="104" y="693"/>
                  </a:lnTo>
                  <a:lnTo>
                    <a:pt x="48" y="478"/>
                  </a:lnTo>
                  <a:lnTo>
                    <a:pt x="16" y="348"/>
                  </a:lnTo>
                  <a:lnTo>
                    <a:pt x="6" y="296"/>
                  </a:lnTo>
                  <a:lnTo>
                    <a:pt x="2" y="252"/>
                  </a:lnTo>
                  <a:lnTo>
                    <a:pt x="0" y="210"/>
                  </a:lnTo>
                  <a:lnTo>
                    <a:pt x="965" y="0"/>
                  </a:lnTo>
                  <a:lnTo>
                    <a:pt x="971" y="36"/>
                  </a:lnTo>
                  <a:lnTo>
                    <a:pt x="977" y="72"/>
                  </a:lnTo>
                  <a:lnTo>
                    <a:pt x="985" y="114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8600000" scaled="0"/>
            </a:gradFill>
            <a:ln w="9525">
              <a:noFill/>
              <a:round/>
              <a:headEnd/>
              <a:tailEnd/>
            </a:ln>
            <a:effectLst>
              <a:outerShdw blurRad="63500" dist="38100" dir="5400000" algn="t" rotWithShape="0">
                <a:srgbClr val="000000">
                  <a:alpha val="39998"/>
                </a:srgb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sz="1200">
                <a:ea typeface="ＭＳ Ｐゴシック" charset="-128"/>
              </a:endParaRPr>
            </a:p>
          </p:txBody>
        </p:sp>
        <p:pic>
          <p:nvPicPr>
            <p:cNvPr id="84" name="Picture 3" descr="pin3.pn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 rot="3174538">
              <a:off x="6496958" y="2872608"/>
              <a:ext cx="340763" cy="2957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85" name="Gruppe 69"/>
            <p:cNvGrpSpPr>
              <a:grpSpLocks/>
            </p:cNvGrpSpPr>
            <p:nvPr/>
          </p:nvGrpSpPr>
          <p:grpSpPr bwMode="auto">
            <a:xfrm rot="3174538">
              <a:off x="6507181" y="2858296"/>
              <a:ext cx="290329" cy="290329"/>
              <a:chOff x="6985496" y="4742888"/>
              <a:chExt cx="1340936" cy="1335810"/>
            </a:xfrm>
          </p:grpSpPr>
          <p:sp>
            <p:nvSpPr>
              <p:cNvPr id="87" name="Ellipse 101"/>
              <p:cNvSpPr/>
              <p:nvPr/>
            </p:nvSpPr>
            <p:spPr bwMode="auto">
              <a:xfrm>
                <a:off x="6990733" y="4742888"/>
                <a:ext cx="1335699" cy="1335810"/>
              </a:xfrm>
              <a:prstGeom prst="ellipse">
                <a:avLst/>
              </a:prstGeom>
              <a:solidFill>
                <a:schemeClr val="bg2">
                  <a:lumMod val="10000"/>
                </a:schemeClr>
              </a:solidFill>
              <a:ln w="9525" cap="flat" cmpd="sng" algn="ctr">
                <a:noFill/>
                <a:prstDash val="solid"/>
              </a:ln>
              <a:effectLst>
                <a:innerShdw blurRad="190500" dist="114300" dir="5700000">
                  <a:srgbClr val="000000">
                    <a:alpha val="37000"/>
                  </a:srgbClr>
                </a:inn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US" sz="1200">
                  <a:solidFill>
                    <a:srgbClr val="FFFFFF"/>
                  </a:solidFill>
                  <a:latin typeface="Calibri" pitchFamily="34" charset="0"/>
                  <a:ea typeface="ＭＳ Ｐゴシック" charset="-128"/>
                </a:endParaRPr>
              </a:p>
            </p:txBody>
          </p:sp>
          <p:sp>
            <p:nvSpPr>
              <p:cNvPr id="88" name="Måne 64"/>
              <p:cNvSpPr/>
              <p:nvPr/>
            </p:nvSpPr>
            <p:spPr bwMode="auto">
              <a:xfrm rot="16552097">
                <a:off x="7295809" y="5110022"/>
                <a:ext cx="645832" cy="1266457"/>
              </a:xfrm>
              <a:prstGeom prst="moon">
                <a:avLst>
                  <a:gd name="adj" fmla="val 18952"/>
                </a:avLst>
              </a:prstGeom>
              <a:gradFill flip="none" rotWithShape="1">
                <a:gsLst>
                  <a:gs pos="24000">
                    <a:sysClr val="windowText" lastClr="000000">
                      <a:alpha val="24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sz="1200">
                  <a:solidFill>
                    <a:srgbClr val="FFFFFF"/>
                  </a:solidFill>
                  <a:latin typeface="Calibri" pitchFamily="34" charset="0"/>
                  <a:ea typeface="ＭＳ Ｐゴシック" charset="-128"/>
                </a:endParaRPr>
              </a:p>
            </p:txBody>
          </p:sp>
          <p:sp>
            <p:nvSpPr>
              <p:cNvPr id="89" name="Ellipse 103"/>
              <p:cNvSpPr>
                <a:spLocks noChangeArrowheads="1"/>
              </p:cNvSpPr>
              <p:nvPr/>
            </p:nvSpPr>
            <p:spPr bwMode="auto">
              <a:xfrm rot="-2768832">
                <a:off x="7015539" y="4907366"/>
                <a:ext cx="980245" cy="717169"/>
              </a:xfrm>
              <a:prstGeom prst="ellipse">
                <a:avLst/>
              </a:prstGeom>
              <a:gradFill rotWithShape="1">
                <a:gsLst>
                  <a:gs pos="0">
                    <a:srgbClr val="FFFFFF">
                      <a:alpha val="76999"/>
                    </a:srgbClr>
                  </a:gs>
                  <a:gs pos="100000">
                    <a:srgbClr val="8EB4E3">
                      <a:alpha val="0"/>
                    </a:srgbClr>
                  </a:gs>
                </a:gsLst>
                <a:lin ang="5400000"/>
              </a:gra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en-US" sz="1200">
                  <a:solidFill>
                    <a:srgbClr val="FFFFFF"/>
                  </a:solidFill>
                  <a:latin typeface="Calibri" pitchFamily="-65" charset="0"/>
                </a:endParaRPr>
              </a:p>
            </p:txBody>
          </p:sp>
        </p:grpSp>
        <p:sp>
          <p:nvSpPr>
            <p:cNvPr id="86" name="Rektangel 25"/>
            <p:cNvSpPr>
              <a:spLocks noChangeArrowheads="1"/>
            </p:cNvSpPr>
            <p:nvPr/>
          </p:nvSpPr>
          <p:spPr bwMode="auto">
            <a:xfrm rot="21196969">
              <a:off x="5893808" y="3496238"/>
              <a:ext cx="1825124" cy="16083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801688">
                <a:spcBef>
                  <a:spcPct val="20000"/>
                </a:spcBef>
              </a:pPr>
              <a:r>
                <a:rPr lang="en-US" sz="1200" b="1" noProof="1">
                  <a:solidFill>
                    <a:srgbClr val="151616"/>
                  </a:solidFill>
                  <a:latin typeface="Calibri" pitchFamily="-65" charset="0"/>
                  <a:cs typeface="Arial" charset="0"/>
                </a:rPr>
                <a:t>Example text.</a:t>
              </a:r>
            </a:p>
            <a:p>
              <a:pPr defTabSz="801688">
                <a:spcBef>
                  <a:spcPct val="20000"/>
                </a:spcBef>
              </a:pPr>
              <a:endParaRPr lang="en-US" sz="1200" b="1" noProof="1">
                <a:solidFill>
                  <a:srgbClr val="151616"/>
                </a:solidFill>
                <a:latin typeface="Calibri" pitchFamily="-65" charset="0"/>
                <a:cs typeface="Arial" charset="0"/>
              </a:endParaRPr>
            </a:p>
            <a:p>
              <a:pPr defTabSz="801688">
                <a:spcBef>
                  <a:spcPct val="20000"/>
                </a:spcBef>
                <a:buFont typeface="Arial" charset="0"/>
                <a:buChar char="•"/>
              </a:pPr>
              <a:r>
                <a:rPr lang="en-US" sz="1200" noProof="1">
                  <a:solidFill>
                    <a:srgbClr val="151616"/>
                  </a:solidFill>
                  <a:latin typeface="Calibri" pitchFamily="-65" charset="0"/>
                  <a:cs typeface="Arial" charset="0"/>
                </a:rPr>
                <a:t>Go ahead an replace  it with your own text.</a:t>
              </a:r>
              <a:r>
                <a:rPr lang="en-US" sz="1200" b="1" noProof="1">
                  <a:solidFill>
                    <a:srgbClr val="151616"/>
                  </a:solidFill>
                  <a:latin typeface="Calibri" pitchFamily="-65" charset="0"/>
                  <a:cs typeface="Arial" charset="0"/>
                </a:rPr>
                <a:t> </a:t>
              </a:r>
            </a:p>
          </p:txBody>
        </p:sp>
      </p:grp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Replace this text</a:t>
            </a:r>
          </a:p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10</a:t>
            </a:fld>
            <a:r>
              <a:rPr lang="en-US" smtClean="0"/>
              <a:t>|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NN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07139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458" name="Picture 7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50" y="2246313"/>
            <a:ext cx="9156700" cy="2316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16386" name="Kombinationstegning 8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8550" y="3590925"/>
            <a:ext cx="1804988" cy="1309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Rectangle 66"/>
          <p:cNvSpPr/>
          <p:nvPr/>
        </p:nvSpPr>
        <p:spPr>
          <a:xfrm>
            <a:off x="0" y="4724400"/>
            <a:ext cx="9159875" cy="292100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b-NO">
              <a:solidFill>
                <a:srgbClr val="FFFFFF"/>
              </a:solidFill>
              <a:ea typeface="ＭＳ Ｐゴシック" charset="0"/>
              <a:cs typeface="ＭＳ Ｐゴシック" charset="0"/>
            </a:endParaRPr>
          </a:p>
        </p:txBody>
      </p:sp>
      <p:grpSp>
        <p:nvGrpSpPr>
          <p:cNvPr id="16388" name="Group 67"/>
          <p:cNvGrpSpPr>
            <a:grpSpLocks/>
          </p:cNvGrpSpPr>
          <p:nvPr/>
        </p:nvGrpSpPr>
        <p:grpSpPr bwMode="auto">
          <a:xfrm>
            <a:off x="687388" y="4678363"/>
            <a:ext cx="80962" cy="385762"/>
            <a:chOff x="687388" y="4678363"/>
            <a:chExt cx="80962" cy="385762"/>
          </a:xfrm>
        </p:grpSpPr>
        <p:sp>
          <p:nvSpPr>
            <p:cNvPr id="69" name="Rectangle 68"/>
            <p:cNvSpPr/>
            <p:nvPr/>
          </p:nvSpPr>
          <p:spPr bwMode="auto">
            <a:xfrm rot="2700000">
              <a:off x="687388" y="4983163"/>
              <a:ext cx="80962" cy="80962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70" name="Rectangle 69"/>
            <p:cNvSpPr/>
            <p:nvPr/>
          </p:nvSpPr>
          <p:spPr bwMode="auto">
            <a:xfrm rot="2700000">
              <a:off x="687388" y="4678363"/>
              <a:ext cx="80962" cy="8096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grpSp>
        <p:nvGrpSpPr>
          <p:cNvPr id="16389" name="Group 70"/>
          <p:cNvGrpSpPr>
            <a:grpSpLocks/>
          </p:cNvGrpSpPr>
          <p:nvPr/>
        </p:nvGrpSpPr>
        <p:grpSpPr bwMode="auto">
          <a:xfrm>
            <a:off x="3443288" y="4678363"/>
            <a:ext cx="80962" cy="385762"/>
            <a:chOff x="3443288" y="4678363"/>
            <a:chExt cx="80962" cy="385762"/>
          </a:xfrm>
        </p:grpSpPr>
        <p:sp>
          <p:nvSpPr>
            <p:cNvPr id="72" name="Rectangle 71"/>
            <p:cNvSpPr/>
            <p:nvPr/>
          </p:nvSpPr>
          <p:spPr bwMode="auto">
            <a:xfrm rot="2700000">
              <a:off x="3443288" y="4983163"/>
              <a:ext cx="80962" cy="80962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73" name="Rectangle 72"/>
            <p:cNvSpPr/>
            <p:nvPr/>
          </p:nvSpPr>
          <p:spPr bwMode="auto">
            <a:xfrm rot="2700000">
              <a:off x="3443288" y="4678363"/>
              <a:ext cx="80962" cy="8096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grpSp>
        <p:nvGrpSpPr>
          <p:cNvPr id="16390" name="Group 73"/>
          <p:cNvGrpSpPr>
            <a:grpSpLocks/>
          </p:cNvGrpSpPr>
          <p:nvPr/>
        </p:nvGrpSpPr>
        <p:grpSpPr bwMode="auto">
          <a:xfrm>
            <a:off x="6186488" y="4678363"/>
            <a:ext cx="80962" cy="385762"/>
            <a:chOff x="6186488" y="4678363"/>
            <a:chExt cx="80962" cy="385762"/>
          </a:xfrm>
        </p:grpSpPr>
        <p:sp>
          <p:nvSpPr>
            <p:cNvPr id="75" name="Rectangle 74"/>
            <p:cNvSpPr/>
            <p:nvPr/>
          </p:nvSpPr>
          <p:spPr bwMode="auto">
            <a:xfrm rot="2700000">
              <a:off x="6186488" y="4983163"/>
              <a:ext cx="80962" cy="80962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76" name="Rectangle 75"/>
            <p:cNvSpPr/>
            <p:nvPr/>
          </p:nvSpPr>
          <p:spPr bwMode="auto">
            <a:xfrm rot="2700000">
              <a:off x="6186488" y="4678363"/>
              <a:ext cx="80962" cy="8096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sp>
        <p:nvSpPr>
          <p:cNvPr id="77" name="TextBox 76"/>
          <p:cNvSpPr txBox="1"/>
          <p:nvPr/>
        </p:nvSpPr>
        <p:spPr>
          <a:xfrm>
            <a:off x="1233488" y="4718050"/>
            <a:ext cx="1158875" cy="2762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>
              <a:defRPr/>
            </a:pPr>
            <a:r>
              <a:rPr lang="nb-NO" sz="1200" b="1" smtClean="0">
                <a:solidFill>
                  <a:schemeClr val="bg1"/>
                </a:solidFill>
                <a:latin typeface="Calibri" charset="0"/>
              </a:rPr>
              <a:t>EXAMPLE TEXT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3976688" y="4718050"/>
            <a:ext cx="1158875" cy="2762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>
              <a:defRPr/>
            </a:pPr>
            <a:r>
              <a:rPr lang="nb-NO" sz="1200" b="1" smtClean="0">
                <a:solidFill>
                  <a:schemeClr val="bg1"/>
                </a:solidFill>
                <a:latin typeface="Calibri" charset="0"/>
              </a:rPr>
              <a:t>EXAMPLE TEXT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6732588" y="4718050"/>
            <a:ext cx="1158875" cy="2762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>
              <a:defRPr/>
            </a:pPr>
            <a:r>
              <a:rPr lang="nb-NO" sz="1200" b="1" smtClean="0">
                <a:solidFill>
                  <a:schemeClr val="bg1"/>
                </a:solidFill>
                <a:latin typeface="Calibri" charset="0"/>
              </a:rPr>
              <a:t>EXAMPLE TEXT</a:t>
            </a:r>
          </a:p>
        </p:txBody>
      </p:sp>
      <p:sp>
        <p:nvSpPr>
          <p:cNvPr id="6" name="Rounded Rectangle 5"/>
          <p:cNvSpPr>
            <a:spLocks noChangeArrowheads="1"/>
          </p:cNvSpPr>
          <p:nvPr/>
        </p:nvSpPr>
        <p:spPr bwMode="auto">
          <a:xfrm>
            <a:off x="3556000" y="1054100"/>
            <a:ext cx="1981200" cy="2552700"/>
          </a:xfrm>
          <a:prstGeom prst="roundRect">
            <a:avLst>
              <a:gd name="adj" fmla="val 8667"/>
            </a:avLst>
          </a:prstGeom>
          <a:gradFill rotWithShape="1">
            <a:gsLst>
              <a:gs pos="0">
                <a:srgbClr val="800000"/>
              </a:gs>
              <a:gs pos="80000">
                <a:srgbClr val="FF0000"/>
              </a:gs>
              <a:gs pos="100000">
                <a:srgbClr val="800000"/>
              </a:gs>
            </a:gsLst>
            <a:lin ang="5400000"/>
          </a:gradFill>
          <a:ln w="9525">
            <a:solidFill>
              <a:srgbClr val="800000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defTabSz="914400">
              <a:defRPr/>
            </a:pPr>
            <a:endParaRPr lang="nb-NO">
              <a:solidFill>
                <a:srgbClr val="FFFFFF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3556000" y="1054100"/>
            <a:ext cx="1981200" cy="2565400"/>
          </a:xfrm>
          <a:prstGeom prst="roundRect">
            <a:avLst>
              <a:gd name="adj" fmla="val 8667"/>
            </a:avLst>
          </a:prstGeom>
          <a:gradFill rotWithShape="1">
            <a:gsLst>
              <a:gs pos="19000">
                <a:srgbClr val="800000"/>
              </a:gs>
              <a:gs pos="100000">
                <a:srgbClr val="800000"/>
              </a:gs>
              <a:gs pos="96000">
                <a:srgbClr val="F50736"/>
              </a:gs>
            </a:gsLst>
            <a:lin ang="16200000" scaled="0"/>
          </a:gradFill>
          <a:ln w="9525" cap="flat" cmpd="sng" algn="ctr">
            <a:solidFill>
              <a:srgbClr val="1F497D">
                <a:lumMod val="50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  <a:softEdge rad="76200"/>
          </a:effec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defTabSz="914400" eaLnBrk="1" hangingPunct="1">
              <a:defRPr/>
            </a:pPr>
            <a:endParaRPr lang="nb-NO" sz="1800" smtClean="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16398" name="Rounded Rectangle 7"/>
          <p:cNvSpPr>
            <a:spLocks noChangeArrowheads="1"/>
          </p:cNvSpPr>
          <p:nvPr/>
        </p:nvSpPr>
        <p:spPr bwMode="auto">
          <a:xfrm>
            <a:off x="3530600" y="1054100"/>
            <a:ext cx="2006600" cy="1473200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FFFFFF">
                  <a:alpha val="3999"/>
                </a:srgbClr>
              </a:gs>
              <a:gs pos="100000">
                <a:srgbClr val="FFFFFF">
                  <a:alpha val="15999"/>
                </a:srgbClr>
              </a:gs>
            </a:gsLst>
            <a:lin ang="540000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914400" eaLnBrk="1" hangingPunct="1"/>
            <a:endParaRPr lang="nb-NO" altLang="en-US" sz="18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3530600" y="1320800"/>
            <a:ext cx="2006600" cy="830263"/>
          </a:xfrm>
          <a:prstGeom prst="rect">
            <a:avLst/>
          </a:prstGeom>
          <a:noFill/>
          <a:ln>
            <a:noFill/>
          </a:ln>
          <a:effectLst>
            <a:outerShdw blurRad="50800" dist="38100" dir="2700000" rotWithShape="0">
              <a:srgbClr val="808080">
                <a:alpha val="42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defTabSz="914400" eaLnBrk="1" hangingPunct="1">
              <a:defRPr/>
            </a:pPr>
            <a:r>
              <a:rPr lang="en-US" sz="4800" b="1" dirty="0" smtClean="0">
                <a:solidFill>
                  <a:srgbClr val="FFFFFF"/>
                </a:solidFill>
                <a:latin typeface="Calibri" charset="0"/>
              </a:rPr>
              <a:t>2023</a:t>
            </a:r>
            <a:endParaRPr lang="en-US" sz="4800" b="1" dirty="0" smtClean="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16400" name="Rektangel 52"/>
          <p:cNvSpPr>
            <a:spLocks noChangeArrowheads="1"/>
          </p:cNvSpPr>
          <p:nvPr/>
        </p:nvSpPr>
        <p:spPr bwMode="auto">
          <a:xfrm>
            <a:off x="3892550" y="2146300"/>
            <a:ext cx="1300163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400" noProof="1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This is an example text. </a:t>
            </a:r>
          </a:p>
        </p:txBody>
      </p:sp>
      <p:sp>
        <p:nvSpPr>
          <p:cNvPr id="16401" name="TextBox 54"/>
          <p:cNvSpPr txBox="1">
            <a:spLocks noChangeArrowheads="1"/>
          </p:cNvSpPr>
          <p:nvPr/>
        </p:nvSpPr>
        <p:spPr bwMode="auto">
          <a:xfrm>
            <a:off x="314325" y="377825"/>
            <a:ext cx="32670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altLang="en-US" sz="1500" b="1">
                <a:solidFill>
                  <a:srgbClr val="262626"/>
                </a:solidFill>
                <a:latin typeface="Calibri" pitchFamily="34" charset="0"/>
              </a:rPr>
              <a:t>TIMELINE </a:t>
            </a:r>
            <a:r>
              <a:rPr lang="nb-NO" altLang="en-US" sz="1500">
                <a:solidFill>
                  <a:srgbClr val="262626"/>
                </a:solidFill>
                <a:latin typeface="Calibri" pitchFamily="34" charset="0"/>
              </a:rPr>
              <a:t>FIVE YEAR PLAN</a:t>
            </a:r>
            <a:endParaRPr lang="en-GB" altLang="en-US" sz="1500">
              <a:solidFill>
                <a:srgbClr val="262626"/>
              </a:solidFill>
              <a:latin typeface="Calibri" pitchFamily="34" charset="0"/>
            </a:endParaRPr>
          </a:p>
        </p:txBody>
      </p:sp>
      <p:sp>
        <p:nvSpPr>
          <p:cNvPr id="16402" name="TextBox 43"/>
          <p:cNvSpPr txBox="1">
            <a:spLocks noChangeArrowheads="1"/>
          </p:cNvSpPr>
          <p:nvPr/>
        </p:nvSpPr>
        <p:spPr bwMode="auto">
          <a:xfrm>
            <a:off x="314325" y="600075"/>
            <a:ext cx="181610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1300" b="1">
                <a:solidFill>
                  <a:srgbClr val="000000"/>
                </a:solidFill>
                <a:latin typeface="Calibri" pitchFamily="34" charset="0"/>
              </a:rPr>
              <a:t>Sub headline</a:t>
            </a:r>
          </a:p>
        </p:txBody>
      </p:sp>
      <p:sp>
        <p:nvSpPr>
          <p:cNvPr id="16403" name="Rectangle 13"/>
          <p:cNvSpPr>
            <a:spLocks noChangeArrowheads="1"/>
          </p:cNvSpPr>
          <p:nvPr/>
        </p:nvSpPr>
        <p:spPr bwMode="auto">
          <a:xfrm>
            <a:off x="0" y="4991100"/>
            <a:ext cx="9144000" cy="1866900"/>
          </a:xfrm>
          <a:prstGeom prst="rect">
            <a:avLst/>
          </a:prstGeom>
          <a:solidFill>
            <a:srgbClr val="BFBF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914400" eaLnBrk="1" hangingPunct="1"/>
            <a:endParaRPr lang="nb-NO" altLang="en-US" sz="18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6404" name="Rectangle 4"/>
          <p:cNvSpPr>
            <a:spLocks noChangeArrowheads="1"/>
          </p:cNvSpPr>
          <p:nvPr/>
        </p:nvSpPr>
        <p:spPr bwMode="gray">
          <a:xfrm>
            <a:off x="874713" y="6264275"/>
            <a:ext cx="153828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1000">
                <a:solidFill>
                  <a:srgbClr val="171717"/>
                </a:solidFill>
                <a:latin typeface="Calibri" pitchFamily="34" charset="0"/>
              </a:rPr>
              <a:t>Your own footer</a:t>
            </a:r>
          </a:p>
        </p:txBody>
      </p:sp>
      <p:sp>
        <p:nvSpPr>
          <p:cNvPr id="16405" name="Rectangle 4"/>
          <p:cNvSpPr>
            <a:spLocks noChangeArrowheads="1"/>
          </p:cNvSpPr>
          <p:nvPr/>
        </p:nvSpPr>
        <p:spPr bwMode="gray">
          <a:xfrm>
            <a:off x="6767513" y="6264275"/>
            <a:ext cx="153828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altLang="en-US" sz="1000">
                <a:solidFill>
                  <a:srgbClr val="171717"/>
                </a:solidFill>
                <a:latin typeface="Calibri" pitchFamily="34" charset="0"/>
              </a:rPr>
              <a:t>Your Logo</a:t>
            </a:r>
          </a:p>
        </p:txBody>
      </p:sp>
      <p:sp>
        <p:nvSpPr>
          <p:cNvPr id="16406" name="Rektangel 52"/>
          <p:cNvSpPr>
            <a:spLocks noChangeArrowheads="1"/>
          </p:cNvSpPr>
          <p:nvPr/>
        </p:nvSpPr>
        <p:spPr bwMode="auto">
          <a:xfrm>
            <a:off x="627063" y="5121275"/>
            <a:ext cx="1195387" cy="1103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2000" b="1" noProof="1">
                <a:solidFill>
                  <a:srgbClr val="151616"/>
                </a:solidFill>
                <a:latin typeface="Calibri" pitchFamily="34" charset="0"/>
                <a:cs typeface="Arial" pitchFamily="34" charset="0"/>
              </a:rPr>
              <a:t>01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1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This is an example text. Add your own text. </a:t>
            </a:r>
          </a:p>
        </p:txBody>
      </p:sp>
      <p:sp>
        <p:nvSpPr>
          <p:cNvPr id="21" name="TextBox 20"/>
          <p:cNvSpPr txBox="1"/>
          <p:nvPr/>
        </p:nvSpPr>
        <p:spPr>
          <a:xfrm rot="16200000">
            <a:off x="1119188" y="5556250"/>
            <a:ext cx="1158875" cy="2762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>
              <a:defRPr/>
            </a:pPr>
            <a:r>
              <a:rPr lang="nb-NO" sz="1200" b="1" smtClean="0">
                <a:solidFill>
                  <a:srgbClr val="151616"/>
                </a:solidFill>
                <a:latin typeface="Calibri" charset="0"/>
              </a:rPr>
              <a:t>EXAMPLE TEXT</a:t>
            </a:r>
          </a:p>
        </p:txBody>
      </p:sp>
      <p:sp>
        <p:nvSpPr>
          <p:cNvPr id="16408" name="Rektangel 52"/>
          <p:cNvSpPr>
            <a:spLocks noChangeArrowheads="1"/>
          </p:cNvSpPr>
          <p:nvPr/>
        </p:nvSpPr>
        <p:spPr bwMode="auto">
          <a:xfrm>
            <a:off x="3382963" y="5121275"/>
            <a:ext cx="1195387" cy="1103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2000" b="1" noProof="1">
                <a:solidFill>
                  <a:srgbClr val="151616"/>
                </a:solidFill>
                <a:latin typeface="Calibri" pitchFamily="34" charset="0"/>
                <a:cs typeface="Arial" pitchFamily="34" charset="0"/>
              </a:rPr>
              <a:t>02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1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This is an example text. Add your own text. </a:t>
            </a:r>
          </a:p>
        </p:txBody>
      </p:sp>
      <p:sp>
        <p:nvSpPr>
          <p:cNvPr id="26" name="TextBox 25"/>
          <p:cNvSpPr txBox="1"/>
          <p:nvPr/>
        </p:nvSpPr>
        <p:spPr>
          <a:xfrm rot="16200000">
            <a:off x="3875088" y="5556250"/>
            <a:ext cx="1158875" cy="2762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>
              <a:defRPr/>
            </a:pPr>
            <a:r>
              <a:rPr lang="nb-NO" sz="1200" b="1" smtClean="0">
                <a:solidFill>
                  <a:srgbClr val="151616"/>
                </a:solidFill>
                <a:latin typeface="Calibri" charset="0"/>
              </a:rPr>
              <a:t>EXAMPLE TEXT</a:t>
            </a:r>
          </a:p>
        </p:txBody>
      </p:sp>
      <p:sp>
        <p:nvSpPr>
          <p:cNvPr id="16410" name="Rektangel 52"/>
          <p:cNvSpPr>
            <a:spLocks noChangeArrowheads="1"/>
          </p:cNvSpPr>
          <p:nvPr/>
        </p:nvSpPr>
        <p:spPr bwMode="auto">
          <a:xfrm>
            <a:off x="6126163" y="5121275"/>
            <a:ext cx="1195387" cy="1103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801688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2000" b="1" noProof="1">
                <a:solidFill>
                  <a:srgbClr val="151616"/>
                </a:solidFill>
                <a:latin typeface="Calibri" pitchFamily="34" charset="0"/>
                <a:cs typeface="Arial" pitchFamily="34" charset="0"/>
              </a:rPr>
              <a:t>03</a:t>
            </a:r>
          </a:p>
          <a:p>
            <a:pPr eaLnBrk="1" hangingPunct="1">
              <a:spcBef>
                <a:spcPct val="20000"/>
              </a:spcBef>
            </a:pPr>
            <a:r>
              <a:rPr lang="en-US" altLang="en-US" sz="11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This is an example text. Add your own text. </a:t>
            </a:r>
          </a:p>
        </p:txBody>
      </p:sp>
      <p:sp>
        <p:nvSpPr>
          <p:cNvPr id="31" name="TextBox 30"/>
          <p:cNvSpPr txBox="1"/>
          <p:nvPr/>
        </p:nvSpPr>
        <p:spPr>
          <a:xfrm rot="16200000">
            <a:off x="6618288" y="5556250"/>
            <a:ext cx="1158875" cy="2762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>
              <a:defRPr/>
            </a:pPr>
            <a:r>
              <a:rPr lang="nb-NO" sz="1200" b="1" smtClean="0">
                <a:solidFill>
                  <a:srgbClr val="151616"/>
                </a:solidFill>
                <a:latin typeface="Calibri" charset="0"/>
              </a:rPr>
              <a:t>EXAMPLE TEXT</a:t>
            </a:r>
          </a:p>
        </p:txBody>
      </p:sp>
      <p:sp>
        <p:nvSpPr>
          <p:cNvPr id="46" name="Trapezoid 45"/>
          <p:cNvSpPr>
            <a:spLocks/>
          </p:cNvSpPr>
          <p:nvPr/>
        </p:nvSpPr>
        <p:spPr bwMode="auto">
          <a:xfrm rot="5400000">
            <a:off x="5137150" y="1682750"/>
            <a:ext cx="2179638" cy="1328738"/>
          </a:xfrm>
          <a:custGeom>
            <a:avLst/>
            <a:gdLst>
              <a:gd name="T0" fmla="*/ 0 w 2179638"/>
              <a:gd name="T1" fmla="*/ 1328738 h 1328738"/>
              <a:gd name="T2" fmla="*/ 332185 w 2179638"/>
              <a:gd name="T3" fmla="*/ 0 h 1328738"/>
              <a:gd name="T4" fmla="*/ 1847454 w 2179638"/>
              <a:gd name="T5" fmla="*/ 0 h 1328738"/>
              <a:gd name="T6" fmla="*/ 2179638 w 2179638"/>
              <a:gd name="T7" fmla="*/ 1328738 h 1328738"/>
              <a:gd name="T8" fmla="*/ 0 w 2179638"/>
              <a:gd name="T9" fmla="*/ 1328738 h 132873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79638" h="1328738">
                <a:moveTo>
                  <a:pt x="0" y="1328738"/>
                </a:moveTo>
                <a:lnTo>
                  <a:pt x="332185" y="0"/>
                </a:lnTo>
                <a:lnTo>
                  <a:pt x="1847454" y="0"/>
                </a:lnTo>
                <a:lnTo>
                  <a:pt x="2179638" y="1328738"/>
                </a:lnTo>
                <a:lnTo>
                  <a:pt x="0" y="1328738"/>
                </a:lnTo>
                <a:close/>
              </a:path>
            </a:pathLst>
          </a:custGeom>
          <a:solidFill>
            <a:srgbClr val="696C6F"/>
          </a:solidFill>
          <a:ln w="9525" cap="flat" cmpd="sng">
            <a:solidFill>
              <a:srgbClr val="A0A2A4"/>
            </a:solidFill>
            <a:prstDash val="solid"/>
            <a:round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endParaRPr lang="en-US"/>
          </a:p>
        </p:txBody>
      </p:sp>
      <p:sp>
        <p:nvSpPr>
          <p:cNvPr id="48" name="Trapezoid 47"/>
          <p:cNvSpPr/>
          <p:nvPr/>
        </p:nvSpPr>
        <p:spPr>
          <a:xfrm rot="5400000">
            <a:off x="5137867" y="1695475"/>
            <a:ext cx="2178469" cy="1329003"/>
          </a:xfrm>
          <a:prstGeom prst="trapezoid">
            <a:avLst/>
          </a:prstGeom>
          <a:gradFill>
            <a:gsLst>
              <a:gs pos="0">
                <a:schemeClr val="tx2">
                  <a:lumMod val="75000"/>
                </a:schemeClr>
              </a:gs>
              <a:gs pos="100000">
                <a:schemeClr val="tx2">
                  <a:lumMod val="90000"/>
                </a:schemeClr>
              </a:gs>
            </a:gsLst>
            <a:lin ang="54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  <a:softEdge rad="508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>
              <a:defRPr/>
            </a:pPr>
            <a:endParaRPr lang="nb-NO" sz="1800" smtClean="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49" name="TextBox 48"/>
          <p:cNvSpPr txBox="1">
            <a:spLocks noChangeArrowheads="1"/>
          </p:cNvSpPr>
          <p:nvPr/>
        </p:nvSpPr>
        <p:spPr bwMode="auto">
          <a:xfrm>
            <a:off x="5594350" y="1663700"/>
            <a:ext cx="1289050" cy="70802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rotWithShape="0">
              <a:srgbClr val="808080">
                <a:alpha val="42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defTabSz="914400" eaLnBrk="1" hangingPunct="1">
              <a:defRPr/>
            </a:pPr>
            <a:r>
              <a:rPr lang="en-US" sz="4000" b="1" dirty="0" smtClean="0">
                <a:solidFill>
                  <a:srgbClr val="FFFFFF"/>
                </a:solidFill>
                <a:latin typeface="Calibri" charset="0"/>
              </a:rPr>
              <a:t>2</a:t>
            </a:r>
            <a:r>
              <a:rPr lang="en-US" sz="3600" b="1" dirty="0" smtClean="0">
                <a:solidFill>
                  <a:srgbClr val="FFFFFF"/>
                </a:solidFill>
                <a:latin typeface="Calibri" charset="0"/>
              </a:rPr>
              <a:t>0</a:t>
            </a:r>
            <a:r>
              <a:rPr lang="en-US" sz="3200" b="1" dirty="0" smtClean="0">
                <a:solidFill>
                  <a:srgbClr val="FFFFFF"/>
                </a:solidFill>
                <a:latin typeface="Calibri" charset="0"/>
              </a:rPr>
              <a:t>2</a:t>
            </a:r>
            <a:r>
              <a:rPr lang="en-US" sz="2800" b="1" dirty="0">
                <a:solidFill>
                  <a:srgbClr val="FFFFFF"/>
                </a:solidFill>
                <a:latin typeface="Calibri" charset="0"/>
              </a:rPr>
              <a:t>4</a:t>
            </a:r>
            <a:endParaRPr lang="en-US" sz="2800" b="1" dirty="0" smtClean="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53" name="Trapezoid 52"/>
          <p:cNvSpPr>
            <a:spLocks noChangeArrowheads="1"/>
          </p:cNvSpPr>
          <p:nvPr/>
        </p:nvSpPr>
        <p:spPr bwMode="auto">
          <a:xfrm rot="16200000" flipH="1">
            <a:off x="1771650" y="1682750"/>
            <a:ext cx="2179638" cy="1328738"/>
          </a:xfrm>
          <a:custGeom>
            <a:avLst/>
            <a:gdLst>
              <a:gd name="T0" fmla="*/ 1089819 w 2179002"/>
              <a:gd name="T1" fmla="*/ 0 h 1329004"/>
              <a:gd name="T2" fmla="*/ 166174 w 2179002"/>
              <a:gd name="T3" fmla="*/ 664369 h 1329004"/>
              <a:gd name="T4" fmla="*/ 1089819 w 2179002"/>
              <a:gd name="T5" fmla="*/ 1328738 h 1329004"/>
              <a:gd name="T6" fmla="*/ 2013465 w 2179002"/>
              <a:gd name="T7" fmla="*/ 664369 h 1329004"/>
              <a:gd name="T8" fmla="*/ 0 60000 65536"/>
              <a:gd name="T9" fmla="*/ 0 60000 65536"/>
              <a:gd name="T10" fmla="*/ 0 60000 65536"/>
              <a:gd name="T11" fmla="*/ 0 60000 65536"/>
              <a:gd name="T12" fmla="*/ 221501 w 2179002"/>
              <a:gd name="T13" fmla="*/ 135096 h 1329004"/>
              <a:gd name="T14" fmla="*/ 1957501 w 2179002"/>
              <a:gd name="T15" fmla="*/ 1329004 h 132900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79002" h="1329004">
                <a:moveTo>
                  <a:pt x="0" y="1329004"/>
                </a:moveTo>
                <a:lnTo>
                  <a:pt x="332251" y="0"/>
                </a:lnTo>
                <a:lnTo>
                  <a:pt x="1846751" y="0"/>
                </a:lnTo>
                <a:lnTo>
                  <a:pt x="2179002" y="1329004"/>
                </a:lnTo>
                <a:lnTo>
                  <a:pt x="0" y="1329004"/>
                </a:lnTo>
                <a:close/>
              </a:path>
            </a:pathLst>
          </a:custGeom>
          <a:solidFill>
            <a:srgbClr val="696C6F"/>
          </a:solidFill>
          <a:ln w="9525">
            <a:solidFill>
              <a:srgbClr val="A0A2A4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vert="eaVert" anchor="ctr"/>
          <a:lstStyle/>
          <a:p>
            <a:endParaRPr lang="en-US"/>
          </a:p>
        </p:txBody>
      </p:sp>
      <p:grpSp>
        <p:nvGrpSpPr>
          <p:cNvPr id="16418" name="Trapezoid 53"/>
          <p:cNvGrpSpPr>
            <a:grpSpLocks/>
          </p:cNvGrpSpPr>
          <p:nvPr/>
        </p:nvGrpSpPr>
        <p:grpSpPr bwMode="auto">
          <a:xfrm>
            <a:off x="2146300" y="1243013"/>
            <a:ext cx="1425575" cy="2281237"/>
            <a:chOff x="2145792" y="1243584"/>
            <a:chExt cx="1426464" cy="2279904"/>
          </a:xfrm>
        </p:grpSpPr>
        <p:pic>
          <p:nvPicPr>
            <p:cNvPr id="16444" name="Trapezoid 53"/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45792" y="1243584"/>
              <a:ext cx="1426464" cy="22799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445" name="Text Box 65"/>
            <p:cNvSpPr txBox="1">
              <a:spLocks noChangeArrowheads="1"/>
            </p:cNvSpPr>
            <p:nvPr/>
          </p:nvSpPr>
          <p:spPr bwMode="auto">
            <a:xfrm rot="-5400000">
              <a:off x="2060891" y="1762705"/>
              <a:ext cx="1736193" cy="11937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endParaRPr lang="nb-NO" altLang="en-US" sz="180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sp>
        <p:nvSpPr>
          <p:cNvPr id="56" name="TextBox 55"/>
          <p:cNvSpPr txBox="1">
            <a:spLocks noChangeArrowheads="1"/>
          </p:cNvSpPr>
          <p:nvPr/>
        </p:nvSpPr>
        <p:spPr bwMode="auto">
          <a:xfrm>
            <a:off x="2209800" y="1663700"/>
            <a:ext cx="1320800" cy="70788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rotWithShape="0">
              <a:srgbClr val="808080">
                <a:alpha val="42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defTabSz="914400" eaLnBrk="1" hangingPunct="1">
              <a:defRPr/>
            </a:pPr>
            <a:r>
              <a:rPr lang="en-US" sz="2800" b="1" dirty="0" smtClean="0">
                <a:solidFill>
                  <a:srgbClr val="FFFFFF"/>
                </a:solidFill>
                <a:latin typeface="Calibri" charset="0"/>
              </a:rPr>
              <a:t>2</a:t>
            </a:r>
            <a:r>
              <a:rPr lang="en-US" sz="3200" b="1" dirty="0" smtClean="0">
                <a:solidFill>
                  <a:srgbClr val="FFFFFF"/>
                </a:solidFill>
                <a:latin typeface="Calibri" charset="0"/>
              </a:rPr>
              <a:t>0</a:t>
            </a:r>
            <a:r>
              <a:rPr lang="en-US" sz="3600" b="1" dirty="0">
                <a:solidFill>
                  <a:srgbClr val="FFFFFF"/>
                </a:solidFill>
                <a:latin typeface="Calibri" charset="0"/>
              </a:rPr>
              <a:t>2</a:t>
            </a:r>
            <a:r>
              <a:rPr lang="en-US" sz="4000" b="1" dirty="0" smtClean="0">
                <a:solidFill>
                  <a:srgbClr val="FFFFFF"/>
                </a:solidFill>
                <a:latin typeface="Calibri" charset="0"/>
              </a:rPr>
              <a:t>2</a:t>
            </a:r>
            <a:endParaRPr lang="en-US" sz="4000" b="1" dirty="0" smtClean="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58" name="Trapezoid 57"/>
          <p:cNvSpPr>
            <a:spLocks noChangeArrowheads="1"/>
          </p:cNvSpPr>
          <p:nvPr/>
        </p:nvSpPr>
        <p:spPr bwMode="auto">
          <a:xfrm rot="16200000" flipH="1">
            <a:off x="969169" y="1886744"/>
            <a:ext cx="1487488" cy="908050"/>
          </a:xfrm>
          <a:custGeom>
            <a:avLst/>
            <a:gdLst>
              <a:gd name="T0" fmla="*/ 743744 w 1487304"/>
              <a:gd name="T1" fmla="*/ 0 h 908314"/>
              <a:gd name="T2" fmla="*/ 113553 w 1487304"/>
              <a:gd name="T3" fmla="*/ 454025 h 908314"/>
              <a:gd name="T4" fmla="*/ 743744 w 1487304"/>
              <a:gd name="T5" fmla="*/ 908050 h 908314"/>
              <a:gd name="T6" fmla="*/ 1373935 w 1487304"/>
              <a:gd name="T7" fmla="*/ 454025 h 908314"/>
              <a:gd name="T8" fmla="*/ 0 60000 65536"/>
              <a:gd name="T9" fmla="*/ 0 60000 65536"/>
              <a:gd name="T10" fmla="*/ 0 60000 65536"/>
              <a:gd name="T11" fmla="*/ 0 60000 65536"/>
              <a:gd name="T12" fmla="*/ 151386 w 1487304"/>
              <a:gd name="T13" fmla="*/ 92453 h 908314"/>
              <a:gd name="T14" fmla="*/ 1335918 w 1487304"/>
              <a:gd name="T15" fmla="*/ 908314 h 90831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87304" h="908314">
                <a:moveTo>
                  <a:pt x="0" y="908314"/>
                </a:moveTo>
                <a:lnTo>
                  <a:pt x="227079" y="0"/>
                </a:lnTo>
                <a:lnTo>
                  <a:pt x="1260226" y="0"/>
                </a:lnTo>
                <a:lnTo>
                  <a:pt x="1487304" y="908314"/>
                </a:lnTo>
                <a:lnTo>
                  <a:pt x="0" y="908314"/>
                </a:lnTo>
                <a:close/>
              </a:path>
            </a:pathLst>
          </a:custGeom>
          <a:solidFill>
            <a:srgbClr val="696C6F"/>
          </a:solidFill>
          <a:ln w="9525">
            <a:solidFill>
              <a:srgbClr val="A0A2A4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vert="eaVert" anchor="ctr"/>
          <a:lstStyle/>
          <a:p>
            <a:endParaRPr lang="en-US"/>
          </a:p>
        </p:txBody>
      </p:sp>
      <p:grpSp>
        <p:nvGrpSpPr>
          <p:cNvPr id="16421" name="Trapezoid 58"/>
          <p:cNvGrpSpPr>
            <a:grpSpLocks/>
          </p:cNvGrpSpPr>
          <p:nvPr/>
        </p:nvGrpSpPr>
        <p:grpSpPr bwMode="auto">
          <a:xfrm>
            <a:off x="1212850" y="1579563"/>
            <a:ext cx="1000125" cy="1584325"/>
            <a:chOff x="1213104" y="1578864"/>
            <a:chExt cx="999744" cy="1584960"/>
          </a:xfrm>
        </p:grpSpPr>
        <p:pic>
          <p:nvPicPr>
            <p:cNvPr id="16442" name="Trapezoid 58"/>
            <p:cNvPicPr>
              <a:picLocks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3104" y="1578864"/>
              <a:ext cx="999744" cy="1584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443" name="Text Box 60"/>
            <p:cNvSpPr txBox="1">
              <a:spLocks noChangeArrowheads="1"/>
            </p:cNvSpPr>
            <p:nvPr/>
          </p:nvSpPr>
          <p:spPr bwMode="auto">
            <a:xfrm rot="-5400000">
              <a:off x="1166463" y="1942155"/>
              <a:ext cx="1185678" cy="8152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endParaRPr lang="nb-NO" altLang="en-US" sz="180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sp>
        <p:nvSpPr>
          <p:cNvPr id="63" name="Trapezoid 62"/>
          <p:cNvSpPr>
            <a:spLocks noChangeArrowheads="1"/>
          </p:cNvSpPr>
          <p:nvPr/>
        </p:nvSpPr>
        <p:spPr bwMode="auto">
          <a:xfrm rot="16200000" flipH="1">
            <a:off x="423863" y="2030413"/>
            <a:ext cx="1008062" cy="614362"/>
          </a:xfrm>
          <a:custGeom>
            <a:avLst/>
            <a:gdLst>
              <a:gd name="T0" fmla="*/ 504031 w 1008148"/>
              <a:gd name="T1" fmla="*/ 0 h 614942"/>
              <a:gd name="T2" fmla="*/ 76861 w 1008148"/>
              <a:gd name="T3" fmla="*/ 307181 h 614942"/>
              <a:gd name="T4" fmla="*/ 504031 w 1008148"/>
              <a:gd name="T5" fmla="*/ 614362 h 614942"/>
              <a:gd name="T6" fmla="*/ 931201 w 1008148"/>
              <a:gd name="T7" fmla="*/ 307181 h 614942"/>
              <a:gd name="T8" fmla="*/ 0 60000 65536"/>
              <a:gd name="T9" fmla="*/ 0 60000 65536"/>
              <a:gd name="T10" fmla="*/ 0 60000 65536"/>
              <a:gd name="T11" fmla="*/ 0 60000 65536"/>
              <a:gd name="T12" fmla="*/ 102490 w 1008148"/>
              <a:gd name="T13" fmla="*/ 62516 h 614942"/>
              <a:gd name="T14" fmla="*/ 905658 w 1008148"/>
              <a:gd name="T15" fmla="*/ 614942 h 61494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008148" h="614942">
                <a:moveTo>
                  <a:pt x="0" y="614942"/>
                </a:moveTo>
                <a:lnTo>
                  <a:pt x="153736" y="0"/>
                </a:lnTo>
                <a:lnTo>
                  <a:pt x="854413" y="0"/>
                </a:lnTo>
                <a:lnTo>
                  <a:pt x="1008148" y="614942"/>
                </a:lnTo>
                <a:lnTo>
                  <a:pt x="0" y="614942"/>
                </a:lnTo>
                <a:close/>
              </a:path>
            </a:pathLst>
          </a:custGeom>
          <a:solidFill>
            <a:srgbClr val="353637"/>
          </a:solidFill>
          <a:ln w="9525">
            <a:solidFill>
              <a:srgbClr val="A0A2A4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vert="eaVert" anchor="ctr"/>
          <a:lstStyle/>
          <a:p>
            <a:endParaRPr lang="en-US"/>
          </a:p>
        </p:txBody>
      </p:sp>
      <p:grpSp>
        <p:nvGrpSpPr>
          <p:cNvPr id="16423" name="Trapezoid 63"/>
          <p:cNvGrpSpPr>
            <a:grpSpLocks/>
          </p:cNvGrpSpPr>
          <p:nvPr/>
        </p:nvGrpSpPr>
        <p:grpSpPr bwMode="auto">
          <a:xfrm>
            <a:off x="573088" y="1816100"/>
            <a:ext cx="712787" cy="1103313"/>
            <a:chOff x="573024" y="1816608"/>
            <a:chExt cx="713232" cy="1103376"/>
          </a:xfrm>
        </p:grpSpPr>
        <p:pic>
          <p:nvPicPr>
            <p:cNvPr id="16440" name="Trapezoid 63"/>
            <p:cNvPicPr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3024" y="1816608"/>
              <a:ext cx="713232" cy="11033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441" name="Text Box 55"/>
            <p:cNvSpPr txBox="1">
              <a:spLocks noChangeArrowheads="1"/>
            </p:cNvSpPr>
            <p:nvPr/>
          </p:nvSpPr>
          <p:spPr bwMode="auto">
            <a:xfrm rot="-5400000">
              <a:off x="557572" y="2067300"/>
              <a:ext cx="802711" cy="55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endParaRPr lang="nb-NO" altLang="en-US" sz="180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sp>
        <p:nvSpPr>
          <p:cNvPr id="66" name="TextBox 65"/>
          <p:cNvSpPr txBox="1">
            <a:spLocks noChangeArrowheads="1"/>
          </p:cNvSpPr>
          <p:nvPr/>
        </p:nvSpPr>
        <p:spPr bwMode="auto">
          <a:xfrm flipH="1">
            <a:off x="623888" y="2051050"/>
            <a:ext cx="596900" cy="338554"/>
          </a:xfrm>
          <a:prstGeom prst="rect">
            <a:avLst/>
          </a:prstGeom>
          <a:noFill/>
          <a:ln>
            <a:noFill/>
          </a:ln>
          <a:effectLst>
            <a:outerShdw blurRad="50800" dist="38100" dir="2700000" rotWithShape="0">
              <a:srgbClr val="808080">
                <a:alpha val="42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defTabSz="914400" eaLnBrk="1" hangingPunct="1">
              <a:defRPr/>
            </a:pPr>
            <a:r>
              <a:rPr lang="en-US" sz="900" b="1" dirty="0" smtClean="0">
                <a:solidFill>
                  <a:srgbClr val="FFFFFF"/>
                </a:solidFill>
                <a:latin typeface="Calibri" charset="0"/>
              </a:rPr>
              <a:t>2</a:t>
            </a:r>
            <a:r>
              <a:rPr lang="en-US" sz="1000" b="1" dirty="0" smtClean="0">
                <a:solidFill>
                  <a:srgbClr val="FFFFFF"/>
                </a:solidFill>
                <a:latin typeface="Calibri" charset="0"/>
              </a:rPr>
              <a:t>0</a:t>
            </a:r>
            <a:r>
              <a:rPr lang="en-US" sz="1200" b="1" dirty="0">
                <a:solidFill>
                  <a:srgbClr val="FFFFFF"/>
                </a:solidFill>
                <a:latin typeface="Calibri" charset="0"/>
              </a:rPr>
              <a:t>2</a:t>
            </a:r>
            <a:r>
              <a:rPr lang="en-US" sz="1600" b="1" dirty="0" smtClean="0">
                <a:solidFill>
                  <a:srgbClr val="FFFFFF"/>
                </a:solidFill>
                <a:latin typeface="Calibri" charset="0"/>
              </a:rPr>
              <a:t>0</a:t>
            </a:r>
            <a:endParaRPr lang="en-US" sz="1600" b="1" dirty="0" smtClean="0">
              <a:solidFill>
                <a:srgbClr val="FFFFFF"/>
              </a:solidFill>
              <a:latin typeface="Calibri" charset="0"/>
            </a:endParaRPr>
          </a:p>
        </p:txBody>
      </p:sp>
      <p:grpSp>
        <p:nvGrpSpPr>
          <p:cNvPr id="16425" name="Group 80"/>
          <p:cNvGrpSpPr>
            <a:grpSpLocks/>
          </p:cNvGrpSpPr>
          <p:nvPr/>
        </p:nvGrpSpPr>
        <p:grpSpPr bwMode="auto">
          <a:xfrm>
            <a:off x="4606925" y="5180013"/>
            <a:ext cx="917575" cy="917575"/>
            <a:chOff x="4606925" y="5180013"/>
            <a:chExt cx="917575" cy="917575"/>
          </a:xfrm>
        </p:grpSpPr>
        <p:sp>
          <p:nvSpPr>
            <p:cNvPr id="82" name="Rektangel 40"/>
            <p:cNvSpPr>
              <a:spLocks noChangeArrowheads="1"/>
            </p:cNvSpPr>
            <p:nvPr/>
          </p:nvSpPr>
          <p:spPr bwMode="auto">
            <a:xfrm rot="46371">
              <a:off x="4606925" y="5180013"/>
              <a:ext cx="917575" cy="91757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25400">
              <a:noFill/>
              <a:miter lim="800000"/>
              <a:headEnd/>
              <a:tailEnd/>
            </a:ln>
            <a:effectLst>
              <a:outerShdw blurRad="63500" dist="25400" dir="2700000" algn="tl" rotWithShape="0">
                <a:srgbClr val="D7D8D9">
                  <a:lumMod val="50000"/>
                  <a:alpha val="39999"/>
                </a:srgbClr>
              </a:outerShdw>
              <a:reflection stA="50000" endPos="18000" dist="12700" dir="5400000" sy="-100000" algn="bl" rotWithShape="0"/>
            </a:effectLst>
          </p:spPr>
          <p:txBody>
            <a:bodyPr anchor="ctr"/>
            <a:lstStyle/>
            <a:p>
              <a:pPr indent="-342900" algn="ctr" defTabSz="914400" fontAlgn="auto">
                <a:spcBef>
                  <a:spcPts val="0"/>
                </a:spcBef>
                <a:spcAft>
                  <a:spcPts val="0"/>
                </a:spcAft>
                <a:buFont typeface="Calibri" pitchFamily="-108" charset="0"/>
                <a:buAutoNum type="arabicPeriod"/>
                <a:defRPr/>
              </a:pPr>
              <a:endParaRPr kern="0" noProof="1">
                <a:solidFill>
                  <a:srgbClr val="FFFFFF"/>
                </a:solidFill>
                <a:latin typeface="Calibri" pitchFamily="-108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pic>
          <p:nvPicPr>
            <p:cNvPr id="16439" name="Picture 82" descr="tandhjul.jp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489" t="7114" r="7327" b="7172"/>
            <a:stretch>
              <a:fillRect/>
            </a:stretch>
          </p:blipFill>
          <p:spPr bwMode="auto">
            <a:xfrm>
              <a:off x="4647319" y="5181600"/>
              <a:ext cx="837265" cy="6977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6426" name="Group 32"/>
          <p:cNvGrpSpPr>
            <a:grpSpLocks/>
          </p:cNvGrpSpPr>
          <p:nvPr/>
        </p:nvGrpSpPr>
        <p:grpSpPr bwMode="auto">
          <a:xfrm rot="-510152">
            <a:off x="1851025" y="5180013"/>
            <a:ext cx="917575" cy="917575"/>
            <a:chOff x="4623030" y="1962332"/>
            <a:chExt cx="3449408" cy="3447883"/>
          </a:xfrm>
        </p:grpSpPr>
        <p:sp>
          <p:nvSpPr>
            <p:cNvPr id="85" name="Rektangel 40"/>
            <p:cNvSpPr>
              <a:spLocks noChangeArrowheads="1"/>
            </p:cNvSpPr>
            <p:nvPr/>
          </p:nvSpPr>
          <p:spPr bwMode="auto">
            <a:xfrm rot="556523">
              <a:off x="4623030" y="1962332"/>
              <a:ext cx="3449408" cy="3447883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25400">
              <a:noFill/>
              <a:miter lim="800000"/>
              <a:headEnd/>
              <a:tailEnd/>
            </a:ln>
            <a:effectLst>
              <a:outerShdw blurRad="63500" dist="25400" dir="2700000" algn="tl" rotWithShape="0">
                <a:srgbClr val="D7D8D9">
                  <a:lumMod val="50000"/>
                  <a:alpha val="39999"/>
                </a:srgbClr>
              </a:outerShdw>
              <a:reflection stA="50000" endPos="18000" dist="12700" dir="5400000" sy="-100000" algn="bl" rotWithShape="0"/>
            </a:effectLst>
          </p:spPr>
          <p:txBody>
            <a:bodyPr anchor="ctr"/>
            <a:lstStyle/>
            <a:p>
              <a:pPr indent="-342900" algn="ctr" defTabSz="914400" fontAlgn="auto">
                <a:spcBef>
                  <a:spcPts val="0"/>
                </a:spcBef>
                <a:spcAft>
                  <a:spcPts val="0"/>
                </a:spcAft>
                <a:buFont typeface="Calibri" pitchFamily="-108" charset="0"/>
                <a:buAutoNum type="arabicPeriod"/>
                <a:defRPr/>
              </a:pPr>
              <a:endParaRPr kern="0" noProof="1">
                <a:solidFill>
                  <a:srgbClr val="FFFFFF"/>
                </a:solidFill>
                <a:latin typeface="Calibri" pitchFamily="-108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pic>
          <p:nvPicPr>
            <p:cNvPr id="16437" name="Picture 52" descr="dreamstime_4353371l.jp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27900">
              <a:off x="4838824" y="2117259"/>
              <a:ext cx="3181349" cy="2230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6427" name="Group 86"/>
          <p:cNvGrpSpPr>
            <a:grpSpLocks/>
          </p:cNvGrpSpPr>
          <p:nvPr/>
        </p:nvGrpSpPr>
        <p:grpSpPr bwMode="auto">
          <a:xfrm>
            <a:off x="7350125" y="5180013"/>
            <a:ext cx="917575" cy="917575"/>
            <a:chOff x="7350125" y="5180013"/>
            <a:chExt cx="917575" cy="917575"/>
          </a:xfrm>
        </p:grpSpPr>
        <p:sp>
          <p:nvSpPr>
            <p:cNvPr id="88" name="Rektangel 40"/>
            <p:cNvSpPr>
              <a:spLocks noChangeArrowheads="1"/>
            </p:cNvSpPr>
            <p:nvPr/>
          </p:nvSpPr>
          <p:spPr bwMode="auto">
            <a:xfrm rot="46371">
              <a:off x="7350125" y="5180013"/>
              <a:ext cx="917575" cy="91757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25400">
              <a:noFill/>
              <a:miter lim="800000"/>
              <a:headEnd/>
              <a:tailEnd/>
            </a:ln>
            <a:effectLst>
              <a:outerShdw blurRad="63500" dist="25400" dir="2700000" algn="tl" rotWithShape="0">
                <a:srgbClr val="D7D8D9">
                  <a:lumMod val="50000"/>
                  <a:alpha val="39999"/>
                </a:srgbClr>
              </a:outerShdw>
              <a:reflection stA="50000" endPos="18000" dist="12700" dir="5400000" sy="-100000" algn="bl" rotWithShape="0"/>
            </a:effectLst>
          </p:spPr>
          <p:txBody>
            <a:bodyPr anchor="ctr"/>
            <a:lstStyle/>
            <a:p>
              <a:pPr indent="-342900" algn="ctr" defTabSz="914400" fontAlgn="auto">
                <a:spcBef>
                  <a:spcPts val="0"/>
                </a:spcBef>
                <a:spcAft>
                  <a:spcPts val="0"/>
                </a:spcAft>
                <a:buFont typeface="Calibri" pitchFamily="-108" charset="0"/>
                <a:buAutoNum type="arabicPeriod"/>
                <a:defRPr/>
              </a:pPr>
              <a:endParaRPr kern="0" noProof="1">
                <a:solidFill>
                  <a:srgbClr val="FFFFFF"/>
                </a:solidFill>
                <a:latin typeface="Calibri" pitchFamily="-108" charset="0"/>
                <a:ea typeface="ＭＳ Ｐゴシック" pitchFamily="-108" charset="-128"/>
                <a:cs typeface="ＭＳ Ｐゴシック" pitchFamily="-108" charset="-128"/>
              </a:endParaRPr>
            </a:p>
          </p:txBody>
        </p:sp>
        <p:pic>
          <p:nvPicPr>
            <p:cNvPr id="16435" name="Billede 5" descr="dreamstime_Green Energy.jpg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287" t="34862" r="46667" b="49715"/>
            <a:stretch>
              <a:fillRect/>
            </a:stretch>
          </p:blipFill>
          <p:spPr bwMode="auto">
            <a:xfrm>
              <a:off x="7391400" y="5232400"/>
              <a:ext cx="825500" cy="635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0" name="TextBox 89"/>
          <p:cNvSpPr txBox="1">
            <a:spLocks noChangeArrowheads="1"/>
          </p:cNvSpPr>
          <p:nvPr/>
        </p:nvSpPr>
        <p:spPr bwMode="auto">
          <a:xfrm>
            <a:off x="1282700" y="1879600"/>
            <a:ext cx="850900" cy="52322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rotWithShape="0">
              <a:srgbClr val="808080">
                <a:alpha val="42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defTabSz="914400" eaLnBrk="1" hangingPunct="1"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Calibri" charset="0"/>
              </a:rPr>
              <a:t>2</a:t>
            </a:r>
            <a:r>
              <a:rPr lang="en-US" sz="2000" b="1" dirty="0" smtClean="0">
                <a:solidFill>
                  <a:srgbClr val="FFFFFF"/>
                </a:solidFill>
                <a:latin typeface="Calibri" charset="0"/>
              </a:rPr>
              <a:t>0</a:t>
            </a:r>
            <a:r>
              <a:rPr lang="en-US" b="1" dirty="0">
                <a:solidFill>
                  <a:srgbClr val="FFFFFF"/>
                </a:solidFill>
                <a:latin typeface="Calibri" charset="0"/>
              </a:rPr>
              <a:t>2</a:t>
            </a:r>
            <a:r>
              <a:rPr lang="en-US" sz="2800" b="1" dirty="0" smtClean="0">
                <a:solidFill>
                  <a:srgbClr val="FFFFFF"/>
                </a:solidFill>
                <a:latin typeface="Calibri" charset="0"/>
              </a:rPr>
              <a:t>1</a:t>
            </a:r>
            <a:endParaRPr lang="en-US" sz="2800" b="1" dirty="0" smtClean="0">
              <a:solidFill>
                <a:srgbClr val="FFFFFF"/>
              </a:solidFill>
              <a:latin typeface="Calibri" charset="0"/>
            </a:endParaRPr>
          </a:p>
        </p:txBody>
      </p:sp>
      <p:pic>
        <p:nvPicPr>
          <p:cNvPr id="16459" name="Picture 7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2674938"/>
            <a:ext cx="628650" cy="1049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16460" name="Picture 76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4600" y="2847975"/>
            <a:ext cx="920750" cy="15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16461" name="Picture 77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513" y="3090863"/>
            <a:ext cx="1341437" cy="2219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16462" name="Picture 78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6950" y="3584575"/>
            <a:ext cx="1993900" cy="260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16463" name="Picture 79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1013" y="3090863"/>
            <a:ext cx="1335087" cy="2219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58463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3631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btitle 3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>
                <a:solidFill>
                  <a:srgbClr val="000000"/>
                </a:solidFill>
              </a:rPr>
              <a:t>Replace this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pPr/>
              <a:t>12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rgbClr val="000000"/>
                </a:solidFill>
              </a:rPr>
              <a:t>CALENDAR </a:t>
            </a:r>
            <a:r>
              <a:rPr lang="en-US" dirty="0" smtClean="0">
                <a:solidFill>
                  <a:srgbClr val="000000"/>
                </a:solidFill>
              </a:rPr>
              <a:t>2023</a:t>
            </a:r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458633" y="1981617"/>
            <a:ext cx="8226734" cy="3435771"/>
            <a:chOff x="582151" y="1981617"/>
            <a:chExt cx="8226734" cy="3435771"/>
          </a:xfrm>
        </p:grpSpPr>
        <p:grpSp>
          <p:nvGrpSpPr>
            <p:cNvPr id="12" name="Group 11"/>
            <p:cNvGrpSpPr/>
            <p:nvPr>
              <p:custDataLst>
                <p:tags r:id="rId9"/>
              </p:custDataLst>
            </p:nvPr>
          </p:nvGrpSpPr>
          <p:grpSpPr>
            <a:xfrm>
              <a:off x="4089120" y="2051881"/>
              <a:ext cx="4719765" cy="3355983"/>
              <a:chOff x="4089120" y="2051881"/>
              <a:chExt cx="4719765" cy="3355983"/>
            </a:xfrm>
          </p:grpSpPr>
          <p:sp>
            <p:nvSpPr>
              <p:cNvPr id="80" name="Snip Single Corner Rectangle 79"/>
              <p:cNvSpPr/>
              <p:nvPr>
                <p:custDataLst>
                  <p:tags r:id="rId19"/>
                </p:custDataLst>
              </p:nvPr>
            </p:nvSpPr>
            <p:spPr>
              <a:xfrm flipV="1">
                <a:off x="4089120" y="2051881"/>
                <a:ext cx="4719765" cy="3355981"/>
              </a:xfrm>
              <a:prstGeom prst="snip1Rect">
                <a:avLst>
                  <a:gd name="adj" fmla="val 24335"/>
                </a:avLst>
              </a:prstGeom>
              <a:solidFill>
                <a:srgbClr val="D5D5D5">
                  <a:alpha val="70000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200" dirty="0">
                  <a:solidFill>
                    <a:schemeClr val="bg1"/>
                  </a:solidFill>
                  <a:latin typeface="Calibri" panose="020F0502020204030204" pitchFamily="34" charset="0"/>
                  <a:cs typeface="Calibri" pitchFamily="34" charset="0"/>
                </a:endParaRPr>
              </a:p>
            </p:txBody>
          </p:sp>
          <p:sp>
            <p:nvSpPr>
              <p:cNvPr id="81" name="Right Triangle 80"/>
              <p:cNvSpPr/>
              <p:nvPr>
                <p:custDataLst>
                  <p:tags r:id="rId20"/>
                </p:custDataLst>
              </p:nvPr>
            </p:nvSpPr>
            <p:spPr>
              <a:xfrm flipH="1">
                <a:off x="7113602" y="4598306"/>
                <a:ext cx="875863" cy="809558"/>
              </a:xfrm>
              <a:prstGeom prst="rtTriangle">
                <a:avLst/>
              </a:prstGeom>
              <a:solidFill>
                <a:srgbClr val="000000">
                  <a:alpha val="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Calibri" panose="020F0502020204030204" pitchFamily="34" charset="0"/>
                  <a:cs typeface="Calibri" pitchFamily="34" charset="0"/>
                </a:endParaRPr>
              </a:p>
            </p:txBody>
          </p:sp>
          <p:sp>
            <p:nvSpPr>
              <p:cNvPr id="82" name="Right Triangle 81"/>
              <p:cNvSpPr/>
              <p:nvPr>
                <p:custDataLst>
                  <p:tags r:id="rId21"/>
                </p:custDataLst>
              </p:nvPr>
            </p:nvSpPr>
            <p:spPr>
              <a:xfrm rot="5400000">
                <a:off x="7989464" y="4588442"/>
                <a:ext cx="819421" cy="819421"/>
              </a:xfrm>
              <a:prstGeom prst="rtTriangl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Calibri" panose="020F0502020204030204" pitchFamily="34" charset="0"/>
                  <a:cs typeface="Calibri" pitchFamily="34" charset="0"/>
                </a:endParaRPr>
              </a:p>
            </p:txBody>
          </p:sp>
        </p:grpSp>
        <p:grpSp>
          <p:nvGrpSpPr>
            <p:cNvPr id="7" name="Group 6"/>
            <p:cNvGrpSpPr/>
            <p:nvPr>
              <p:custDataLst>
                <p:tags r:id="rId10"/>
              </p:custDataLst>
            </p:nvPr>
          </p:nvGrpSpPr>
          <p:grpSpPr>
            <a:xfrm>
              <a:off x="582151" y="2051880"/>
              <a:ext cx="3373603" cy="3365508"/>
              <a:chOff x="582151" y="2051880"/>
              <a:chExt cx="3373603" cy="3365508"/>
            </a:xfrm>
          </p:grpSpPr>
          <p:sp>
            <p:nvSpPr>
              <p:cNvPr id="83" name="Snip Single Corner Rectangle 82"/>
              <p:cNvSpPr/>
              <p:nvPr/>
            </p:nvSpPr>
            <p:spPr>
              <a:xfrm flipV="1">
                <a:off x="582151" y="2051880"/>
                <a:ext cx="3361175" cy="3355981"/>
              </a:xfrm>
              <a:prstGeom prst="snip1Rect">
                <a:avLst>
                  <a:gd name="adj" fmla="val 24335"/>
                </a:avLst>
              </a:prstGeom>
              <a:solidFill>
                <a:srgbClr val="0D65AC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200" dirty="0">
                  <a:solidFill>
                    <a:schemeClr val="bg1"/>
                  </a:solidFill>
                  <a:latin typeface="Calibri" panose="020F0502020204030204" pitchFamily="34" charset="0"/>
                  <a:cs typeface="Calibri" pitchFamily="34" charset="0"/>
                </a:endParaRPr>
              </a:p>
            </p:txBody>
          </p:sp>
          <p:sp>
            <p:nvSpPr>
              <p:cNvPr id="126" name="Right Triangle 125"/>
              <p:cNvSpPr/>
              <p:nvPr/>
            </p:nvSpPr>
            <p:spPr>
              <a:xfrm flipH="1">
                <a:off x="2321706" y="4588442"/>
                <a:ext cx="810810" cy="810810"/>
              </a:xfrm>
              <a:prstGeom prst="rtTriangle">
                <a:avLst/>
              </a:prstGeom>
              <a:solidFill>
                <a:srgbClr val="000000">
                  <a:alpha val="1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Calibri" panose="020F0502020204030204" pitchFamily="34" charset="0"/>
                  <a:cs typeface="Calibri" pitchFamily="34" charset="0"/>
                </a:endParaRPr>
              </a:p>
            </p:txBody>
          </p:sp>
          <p:sp>
            <p:nvSpPr>
              <p:cNvPr id="84" name="Right Triangle 83"/>
              <p:cNvSpPr/>
              <p:nvPr/>
            </p:nvSpPr>
            <p:spPr>
              <a:xfrm rot="5400000">
                <a:off x="3136333" y="4597967"/>
                <a:ext cx="819421" cy="819421"/>
              </a:xfrm>
              <a:prstGeom prst="rtTriangle">
                <a:avLst/>
              </a:prstGeom>
              <a:solidFill>
                <a:srgbClr val="D5D5D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Calibri" panose="020F0502020204030204" pitchFamily="34" charset="0"/>
                  <a:cs typeface="Calibri" pitchFamily="34" charset="0"/>
                </a:endParaRPr>
              </a:p>
            </p:txBody>
          </p:sp>
        </p:grpSp>
        <p:sp>
          <p:nvSpPr>
            <p:cNvPr id="231" name="Rectangle 230"/>
            <p:cNvSpPr/>
            <p:nvPr>
              <p:custDataLst>
                <p:tags r:id="rId11"/>
              </p:custDataLst>
            </p:nvPr>
          </p:nvSpPr>
          <p:spPr>
            <a:xfrm>
              <a:off x="4571999" y="3369047"/>
              <a:ext cx="3568589" cy="18004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Wingdings 3" pitchFamily="18" charset="2"/>
                <a:buChar char="}"/>
              </a:pPr>
              <a:r>
                <a:rPr lang="en-US" sz="1200" b="1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itchFamily="34" charset="0"/>
                </a:rPr>
                <a:t>Lorem</a:t>
              </a:r>
              <a:r>
                <a:rPr lang="en-US" sz="12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itchFamily="34" charset="0"/>
                </a:rPr>
                <a:t> </a:t>
              </a:r>
              <a:r>
                <a:rPr lang="en-US" sz="1200" b="1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itchFamily="34" charset="0"/>
                </a:rPr>
                <a:t>Ipsum</a:t>
              </a:r>
              <a:r>
                <a:rPr lang="en-US" sz="1200" dirty="0">
                  <a:solidFill>
                    <a:srgbClr val="000000"/>
                  </a:solidFill>
                  <a:latin typeface="Calibri" panose="020F0502020204030204" pitchFamily="34" charset="0"/>
                  <a:cs typeface="Calibri" pitchFamily="34" charset="0"/>
                </a:rPr>
                <a:t> is simply dummy text of the printing and typesetting</a:t>
              </a:r>
            </a:p>
            <a:p>
              <a:pPr marL="171450" indent="-171450"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Wingdings 3" pitchFamily="18" charset="2"/>
                <a:buChar char="}"/>
              </a:pPr>
              <a:r>
                <a:rPr lang="en-US" sz="1200" b="1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itchFamily="34" charset="0"/>
                </a:rPr>
                <a:t>Lorem</a:t>
              </a:r>
              <a:r>
                <a:rPr lang="en-US" sz="12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itchFamily="34" charset="0"/>
                </a:rPr>
                <a:t> </a:t>
              </a:r>
              <a:r>
                <a:rPr lang="en-US" sz="1200" b="1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itchFamily="34" charset="0"/>
                </a:rPr>
                <a:t>Ipsum</a:t>
              </a:r>
              <a:r>
                <a:rPr lang="en-US" sz="1200" dirty="0">
                  <a:solidFill>
                    <a:srgbClr val="000000"/>
                  </a:solidFill>
                  <a:latin typeface="Calibri" panose="020F0502020204030204" pitchFamily="34" charset="0"/>
                  <a:cs typeface="Calibri" pitchFamily="34" charset="0"/>
                </a:rPr>
                <a:t> is simply dummy text of the printing and typesetting</a:t>
              </a:r>
            </a:p>
            <a:p>
              <a:pPr marL="171450" indent="-171450"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Wingdings 3" pitchFamily="18" charset="2"/>
                <a:buChar char="}"/>
              </a:pPr>
              <a:r>
                <a:rPr lang="en-US" sz="1200" b="1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itchFamily="34" charset="0"/>
                </a:rPr>
                <a:t>Lorem</a:t>
              </a:r>
              <a:r>
                <a:rPr lang="en-US" sz="12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itchFamily="34" charset="0"/>
                </a:rPr>
                <a:t> </a:t>
              </a:r>
              <a:r>
                <a:rPr lang="en-US" sz="1200" b="1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itchFamily="34" charset="0"/>
                </a:rPr>
                <a:t>Ipsum</a:t>
              </a:r>
              <a:r>
                <a:rPr lang="en-US" sz="1200" dirty="0">
                  <a:solidFill>
                    <a:srgbClr val="000000"/>
                  </a:solidFill>
                  <a:latin typeface="Calibri" panose="020F0502020204030204" pitchFamily="34" charset="0"/>
                  <a:cs typeface="Calibri" pitchFamily="34" charset="0"/>
                </a:rPr>
                <a:t> is simply dummy text of the printing and typesetting</a:t>
              </a:r>
            </a:p>
            <a:p>
              <a:pPr marL="171450" indent="-171450"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Wingdings 3" pitchFamily="18" charset="2"/>
                <a:buChar char="}"/>
              </a:pPr>
              <a:r>
                <a:rPr lang="en-US" sz="1200" b="1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itchFamily="34" charset="0"/>
                </a:rPr>
                <a:t>Lorem</a:t>
              </a:r>
              <a:r>
                <a:rPr lang="en-US" sz="1200" b="1" dirty="0">
                  <a:solidFill>
                    <a:srgbClr val="000000"/>
                  </a:solidFill>
                  <a:latin typeface="Calibri" panose="020F0502020204030204" pitchFamily="34" charset="0"/>
                  <a:cs typeface="Calibri" pitchFamily="34" charset="0"/>
                </a:rPr>
                <a:t> </a:t>
              </a:r>
              <a:r>
                <a:rPr lang="en-US" sz="1200" b="1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itchFamily="34" charset="0"/>
                </a:rPr>
                <a:t>Ipsum</a:t>
              </a:r>
              <a:r>
                <a:rPr lang="en-US" sz="1200" dirty="0">
                  <a:solidFill>
                    <a:srgbClr val="000000"/>
                  </a:solidFill>
                  <a:latin typeface="Calibri" panose="020F0502020204030204" pitchFamily="34" charset="0"/>
                  <a:cs typeface="Calibri" pitchFamily="34" charset="0"/>
                </a:rPr>
                <a:t> is simply dummy text of the printing and </a:t>
              </a:r>
              <a:r>
                <a:rPr lang="en-US" sz="12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itchFamily="34" charset="0"/>
                </a:rPr>
                <a:t>typesetting</a:t>
              </a:r>
              <a:endParaRPr lang="en-US" sz="1200" dirty="0">
                <a:solidFill>
                  <a:srgbClr val="000000"/>
                </a:solidFill>
                <a:latin typeface="Calibri" panose="020F0502020204030204" pitchFamily="34" charset="0"/>
                <a:cs typeface="Calibri" pitchFamily="34" charset="0"/>
              </a:endParaRPr>
            </a:p>
          </p:txBody>
        </p:sp>
        <p:sp>
          <p:nvSpPr>
            <p:cNvPr id="229" name="Rectangle 228"/>
            <p:cNvSpPr/>
            <p:nvPr>
              <p:custDataLst>
                <p:tags r:id="rId12"/>
              </p:custDataLst>
            </p:nvPr>
          </p:nvSpPr>
          <p:spPr>
            <a:xfrm>
              <a:off x="5109546" y="2392608"/>
              <a:ext cx="3557420" cy="745560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0" tIns="91440" rIns="182880" bIns="91440" rtlCol="0" anchor="ctr"/>
            <a:lstStyle/>
            <a:p>
              <a:r>
                <a:rPr lang="en-US" sz="1200" dirty="0" smtClean="0">
                  <a:latin typeface="Calibri" panose="020F0502020204030204" pitchFamily="34" charset="0"/>
                  <a:cs typeface="Calibri" pitchFamily="34" charset="0"/>
                </a:rPr>
                <a:t>“</a:t>
              </a:r>
              <a:r>
                <a:rPr lang="en-US" sz="1200" b="1" dirty="0" err="1">
                  <a:latin typeface="Calibri" panose="020F0502020204030204" pitchFamily="34" charset="0"/>
                  <a:cs typeface="Calibri" pitchFamily="34" charset="0"/>
                </a:rPr>
                <a:t>Lorem</a:t>
              </a:r>
              <a:r>
                <a:rPr lang="en-US" sz="1200" b="1" dirty="0">
                  <a:latin typeface="Calibri" panose="020F0502020204030204" pitchFamily="34" charset="0"/>
                  <a:cs typeface="Calibri" pitchFamily="34" charset="0"/>
                </a:rPr>
                <a:t> </a:t>
              </a:r>
              <a:r>
                <a:rPr lang="en-US" sz="1200" b="1" dirty="0" err="1">
                  <a:latin typeface="Calibri" panose="020F0502020204030204" pitchFamily="34" charset="0"/>
                  <a:cs typeface="Calibri" pitchFamily="34" charset="0"/>
                </a:rPr>
                <a:t>Ipsum</a:t>
              </a:r>
              <a:r>
                <a:rPr lang="en-US" sz="1200" b="1" dirty="0">
                  <a:latin typeface="Calibri" panose="020F0502020204030204" pitchFamily="34" charset="0"/>
                  <a:cs typeface="Calibri" pitchFamily="34" charset="0"/>
                </a:rPr>
                <a:t> </a:t>
              </a:r>
              <a:r>
                <a:rPr lang="en-US" sz="1200" dirty="0">
                  <a:latin typeface="Calibri" panose="020F0502020204030204" pitchFamily="34" charset="0"/>
                  <a:cs typeface="Calibri" pitchFamily="34" charset="0"/>
                </a:rPr>
                <a:t>is simply dummy text of the printing and typesetting. </a:t>
              </a:r>
              <a:r>
                <a:rPr lang="en-US" sz="1200" b="1" dirty="0" err="1">
                  <a:latin typeface="Calibri" panose="020F0502020204030204" pitchFamily="34" charset="0"/>
                  <a:cs typeface="Calibri" pitchFamily="34" charset="0"/>
                </a:rPr>
                <a:t>Lorem</a:t>
              </a:r>
              <a:r>
                <a:rPr lang="en-US" sz="1200" b="1" dirty="0">
                  <a:latin typeface="Calibri" panose="020F0502020204030204" pitchFamily="34" charset="0"/>
                  <a:cs typeface="Calibri" pitchFamily="34" charset="0"/>
                </a:rPr>
                <a:t> </a:t>
              </a:r>
              <a:r>
                <a:rPr lang="en-US" sz="1200" b="1" dirty="0" err="1">
                  <a:latin typeface="Calibri" panose="020F0502020204030204" pitchFamily="34" charset="0"/>
                  <a:cs typeface="Calibri" pitchFamily="34" charset="0"/>
                </a:rPr>
                <a:t>Ipsum</a:t>
              </a:r>
              <a:r>
                <a:rPr lang="en-US" sz="1200" b="1" dirty="0">
                  <a:latin typeface="Calibri" panose="020F0502020204030204" pitchFamily="34" charset="0"/>
                  <a:cs typeface="Calibri" pitchFamily="34" charset="0"/>
                </a:rPr>
                <a:t> </a:t>
              </a:r>
              <a:r>
                <a:rPr lang="en-US" sz="1200" dirty="0">
                  <a:latin typeface="Calibri" panose="020F0502020204030204" pitchFamily="34" charset="0"/>
                  <a:cs typeface="Calibri" pitchFamily="34" charset="0"/>
                </a:rPr>
                <a:t>is simply dummy text of the printing and </a:t>
              </a:r>
              <a:r>
                <a:rPr lang="en-US" sz="1200" dirty="0" smtClean="0">
                  <a:latin typeface="Calibri" panose="020F0502020204030204" pitchFamily="34" charset="0"/>
                  <a:cs typeface="Calibri" pitchFamily="34" charset="0"/>
                </a:rPr>
                <a:t>typesetting.”</a:t>
              </a:r>
              <a:endParaRPr lang="en-US" sz="1200" dirty="0">
                <a:latin typeface="Calibri" panose="020F0502020204030204" pitchFamily="34" charset="0"/>
                <a:cs typeface="Calibri" pitchFamily="34" charset="0"/>
              </a:endParaRPr>
            </a:p>
          </p:txBody>
        </p:sp>
        <p:sp>
          <p:nvSpPr>
            <p:cNvPr id="226" name="Oval 225"/>
            <p:cNvSpPr/>
            <p:nvPr>
              <p:custDataLst>
                <p:tags r:id="rId13"/>
              </p:custDataLst>
            </p:nvPr>
          </p:nvSpPr>
          <p:spPr>
            <a:xfrm>
              <a:off x="1275462" y="3469774"/>
              <a:ext cx="316701" cy="31670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libri" panose="020F0502020204030204" pitchFamily="34" charset="0"/>
                <a:cs typeface="Calibri" pitchFamily="34" charset="0"/>
              </a:endParaRPr>
            </a:p>
          </p:txBody>
        </p:sp>
        <p:grpSp>
          <p:nvGrpSpPr>
            <p:cNvPr id="11" name="Group 10"/>
            <p:cNvGrpSpPr/>
            <p:nvPr>
              <p:custDataLst>
                <p:tags r:id="rId14"/>
              </p:custDataLst>
            </p:nvPr>
          </p:nvGrpSpPr>
          <p:grpSpPr>
            <a:xfrm>
              <a:off x="1271471" y="2105617"/>
              <a:ext cx="1982534" cy="250502"/>
              <a:chOff x="1425388" y="2440205"/>
              <a:chExt cx="1682847" cy="212635"/>
            </a:xfrm>
          </p:grpSpPr>
          <p:sp>
            <p:nvSpPr>
              <p:cNvPr id="9" name="Oval 8"/>
              <p:cNvSpPr/>
              <p:nvPr/>
            </p:nvSpPr>
            <p:spPr>
              <a:xfrm>
                <a:off x="1425388" y="2440205"/>
                <a:ext cx="212635" cy="21263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Calibri" panose="020F0502020204030204" pitchFamily="34" charset="0"/>
                  <a:cs typeface="Calibri" pitchFamily="34" charset="0"/>
                </a:endParaRPr>
              </a:p>
            </p:txBody>
          </p:sp>
          <p:sp>
            <p:nvSpPr>
              <p:cNvPr id="127" name="Oval 126"/>
              <p:cNvSpPr/>
              <p:nvPr/>
            </p:nvSpPr>
            <p:spPr>
              <a:xfrm>
                <a:off x="2895600" y="2440205"/>
                <a:ext cx="212635" cy="21263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Calibri" panose="020F0502020204030204" pitchFamily="34" charset="0"/>
                  <a:cs typeface="Calibri" pitchFamily="34" charset="0"/>
                </a:endParaRPr>
              </a:p>
            </p:txBody>
          </p:sp>
        </p:grpSp>
        <p:grpSp>
          <p:nvGrpSpPr>
            <p:cNvPr id="14" name="Group 13"/>
            <p:cNvGrpSpPr/>
            <p:nvPr>
              <p:custDataLst>
                <p:tags r:id="rId15"/>
              </p:custDataLst>
            </p:nvPr>
          </p:nvGrpSpPr>
          <p:grpSpPr>
            <a:xfrm>
              <a:off x="1337068" y="1981617"/>
              <a:ext cx="1851340" cy="276102"/>
              <a:chOff x="1562660" y="2190695"/>
              <a:chExt cx="1571485" cy="283582"/>
            </a:xfrm>
          </p:grpSpPr>
          <p:sp>
            <p:nvSpPr>
              <p:cNvPr id="13" name="Rectangle 12"/>
              <p:cNvSpPr/>
              <p:nvPr/>
            </p:nvSpPr>
            <p:spPr>
              <a:xfrm>
                <a:off x="1562660" y="2190695"/>
                <a:ext cx="106317" cy="283582"/>
              </a:xfrm>
              <a:prstGeom prst="rect">
                <a:avLst/>
              </a:prstGeom>
              <a:solidFill>
                <a:srgbClr val="BFBFBF"/>
              </a:solidFill>
              <a:ln>
                <a:noFill/>
              </a:ln>
              <a:effectLst>
                <a:innerShdw dist="38100" dir="5400000">
                  <a:prstClr val="black">
                    <a:alpha val="20000"/>
                  </a:prstClr>
                </a:inn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200">
                  <a:solidFill>
                    <a:schemeClr val="bg1"/>
                  </a:solidFill>
                  <a:latin typeface="Calibri" panose="020F0502020204030204" pitchFamily="34" charset="0"/>
                  <a:cs typeface="Calibri" pitchFamily="34" charset="0"/>
                </a:endParaRPr>
              </a:p>
            </p:txBody>
          </p:sp>
          <p:sp>
            <p:nvSpPr>
              <p:cNvPr id="128" name="Rectangle 127"/>
              <p:cNvSpPr/>
              <p:nvPr/>
            </p:nvSpPr>
            <p:spPr>
              <a:xfrm>
                <a:off x="3027828" y="2190695"/>
                <a:ext cx="106317" cy="283582"/>
              </a:xfrm>
              <a:prstGeom prst="rect">
                <a:avLst/>
              </a:prstGeom>
              <a:solidFill>
                <a:srgbClr val="BFBFBF"/>
              </a:solidFill>
              <a:ln>
                <a:noFill/>
              </a:ln>
              <a:effectLst>
                <a:innerShdw dist="38100" dir="5400000">
                  <a:prstClr val="black">
                    <a:alpha val="20000"/>
                  </a:prstClr>
                </a:inn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200">
                  <a:solidFill>
                    <a:schemeClr val="bg1"/>
                  </a:solidFill>
                  <a:latin typeface="Calibri" panose="020F0502020204030204" pitchFamily="34" charset="0"/>
                  <a:cs typeface="Calibri" pitchFamily="34" charset="0"/>
                </a:endParaRPr>
              </a:p>
            </p:txBody>
          </p:sp>
        </p:grpSp>
        <p:grpSp>
          <p:nvGrpSpPr>
            <p:cNvPr id="31" name="Group 30"/>
            <p:cNvGrpSpPr/>
            <p:nvPr>
              <p:custDataLst>
                <p:tags r:id="rId16"/>
              </p:custDataLst>
            </p:nvPr>
          </p:nvGrpSpPr>
          <p:grpSpPr>
            <a:xfrm>
              <a:off x="802312" y="2356119"/>
              <a:ext cx="2920853" cy="2455564"/>
              <a:chOff x="802312" y="2356119"/>
              <a:chExt cx="2920853" cy="2455564"/>
            </a:xfrm>
          </p:grpSpPr>
          <p:grpSp>
            <p:nvGrpSpPr>
              <p:cNvPr id="199" name="Group 198"/>
              <p:cNvGrpSpPr/>
              <p:nvPr/>
            </p:nvGrpSpPr>
            <p:grpSpPr>
              <a:xfrm>
                <a:off x="802312" y="4530904"/>
                <a:ext cx="2813581" cy="280779"/>
                <a:chOff x="836737" y="4376723"/>
                <a:chExt cx="2813581" cy="280779"/>
              </a:xfrm>
            </p:grpSpPr>
            <p:sp>
              <p:nvSpPr>
                <p:cNvPr id="200" name="Rectangle 199"/>
                <p:cNvSpPr/>
                <p:nvPr/>
              </p:nvSpPr>
              <p:spPr>
                <a:xfrm>
                  <a:off x="836737" y="4376723"/>
                  <a:ext cx="373718" cy="28077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201" name="Rectangle 200"/>
                <p:cNvSpPr/>
                <p:nvPr/>
              </p:nvSpPr>
              <p:spPr>
                <a:xfrm>
                  <a:off x="1239422" y="4376723"/>
                  <a:ext cx="373718" cy="28077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202" name="Rectangle 201"/>
                <p:cNvSpPr/>
                <p:nvPr/>
              </p:nvSpPr>
              <p:spPr>
                <a:xfrm>
                  <a:off x="1642107" y="4376723"/>
                  <a:ext cx="373718" cy="28077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203" name="Rectangle 202"/>
                <p:cNvSpPr/>
                <p:nvPr/>
              </p:nvSpPr>
              <p:spPr>
                <a:xfrm>
                  <a:off x="2044792" y="4376723"/>
                  <a:ext cx="373718" cy="28077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204" name="Rectangle 203"/>
                <p:cNvSpPr/>
                <p:nvPr/>
              </p:nvSpPr>
              <p:spPr>
                <a:xfrm>
                  <a:off x="2447477" y="4376723"/>
                  <a:ext cx="373718" cy="28077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205" name="Rectangle 204"/>
                <p:cNvSpPr/>
                <p:nvPr/>
              </p:nvSpPr>
              <p:spPr>
                <a:xfrm>
                  <a:off x="2850162" y="4376723"/>
                  <a:ext cx="373718" cy="28077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206" name="Rectangle 205"/>
                <p:cNvSpPr/>
                <p:nvPr/>
              </p:nvSpPr>
              <p:spPr>
                <a:xfrm>
                  <a:off x="3276600" y="4376723"/>
                  <a:ext cx="373718" cy="28077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itchFamily="34" charset="0"/>
                  </a:endParaRPr>
                </a:p>
              </p:txBody>
            </p:sp>
          </p:grpSp>
          <p:grpSp>
            <p:nvGrpSpPr>
              <p:cNvPr id="30" name="Group 29"/>
              <p:cNvGrpSpPr/>
              <p:nvPr/>
            </p:nvGrpSpPr>
            <p:grpSpPr>
              <a:xfrm>
                <a:off x="802312" y="2356119"/>
                <a:ext cx="2920853" cy="2104587"/>
                <a:chOff x="802312" y="2356119"/>
                <a:chExt cx="2920853" cy="2104587"/>
              </a:xfrm>
            </p:grpSpPr>
            <p:sp>
              <p:nvSpPr>
                <p:cNvPr id="161" name="TextBox 160"/>
                <p:cNvSpPr txBox="1"/>
                <p:nvPr/>
              </p:nvSpPr>
              <p:spPr>
                <a:xfrm>
                  <a:off x="884776" y="2356119"/>
                  <a:ext cx="288862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rtlCol="0">
                  <a:spAutoFit/>
                </a:bodyPr>
                <a:lstStyle/>
                <a:p>
                  <a:r>
                    <a:rPr lang="en-US" dirty="0" smtClean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rPr>
                    <a:t>S</a:t>
                  </a:r>
                  <a:endParaRPr lang="en-US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162" name="TextBox 161"/>
                <p:cNvSpPr txBox="1"/>
                <p:nvPr/>
              </p:nvSpPr>
              <p:spPr>
                <a:xfrm>
                  <a:off x="1247386" y="2356119"/>
                  <a:ext cx="380232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rtlCol="0">
                  <a:spAutoFit/>
                </a:bodyPr>
                <a:lstStyle/>
                <a:p>
                  <a:r>
                    <a:rPr lang="en-US" dirty="0" smtClean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rPr>
                    <a:t>M</a:t>
                  </a:r>
                  <a:endParaRPr lang="en-US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163" name="TextBox 162"/>
                <p:cNvSpPr txBox="1"/>
                <p:nvPr/>
              </p:nvSpPr>
              <p:spPr>
                <a:xfrm>
                  <a:off x="1686940" y="2356119"/>
                  <a:ext cx="296876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rtlCol="0">
                  <a:spAutoFit/>
                </a:bodyPr>
                <a:lstStyle/>
                <a:p>
                  <a:r>
                    <a:rPr lang="en-US" dirty="0" smtClean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rPr>
                    <a:t>T</a:t>
                  </a:r>
                  <a:endParaRPr lang="en-US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164" name="TextBox 163"/>
                <p:cNvSpPr txBox="1"/>
                <p:nvPr/>
              </p:nvSpPr>
              <p:spPr>
                <a:xfrm>
                  <a:off x="2048748" y="2356119"/>
                  <a:ext cx="388248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rtlCol="0">
                  <a:spAutoFit/>
                </a:bodyPr>
                <a:lstStyle/>
                <a:p>
                  <a:r>
                    <a:rPr lang="en-US" dirty="0" smtClean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rPr>
                    <a:t>W</a:t>
                  </a:r>
                  <a:endParaRPr lang="en-US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itchFamily="34" charset="0"/>
                  </a:endParaRPr>
                </a:p>
              </p:txBody>
            </p:sp>
            <p:sp>
              <p:nvSpPr>
                <p:cNvPr id="165" name="TextBox 164"/>
                <p:cNvSpPr txBox="1"/>
                <p:nvPr/>
              </p:nvSpPr>
              <p:spPr>
                <a:xfrm>
                  <a:off x="2492310" y="2356119"/>
                  <a:ext cx="296876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rtlCol="0">
                  <a:spAutoFit/>
                </a:bodyPr>
                <a:lstStyle/>
                <a:p>
                  <a:r>
                    <a:rPr lang="en-US" dirty="0" smtClean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rPr>
                    <a:t>T</a:t>
                  </a:r>
                  <a:endParaRPr lang="en-US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itchFamily="34" charset="0"/>
                  </a:endParaRPr>
                </a:p>
              </p:txBody>
            </p:sp>
            <p:grpSp>
              <p:nvGrpSpPr>
                <p:cNvPr id="27" name="Group 26"/>
                <p:cNvGrpSpPr/>
                <p:nvPr/>
              </p:nvGrpSpPr>
              <p:grpSpPr>
                <a:xfrm>
                  <a:off x="836737" y="4179927"/>
                  <a:ext cx="2813581" cy="280779"/>
                  <a:chOff x="836737" y="4376723"/>
                  <a:chExt cx="2813581" cy="280779"/>
                </a:xfrm>
              </p:grpSpPr>
              <p:sp>
                <p:nvSpPr>
                  <p:cNvPr id="130" name="Rectangle 129"/>
                  <p:cNvSpPr/>
                  <p:nvPr/>
                </p:nvSpPr>
                <p:spPr>
                  <a:xfrm>
                    <a:off x="836737" y="43767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26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31" name="Rectangle 130"/>
                  <p:cNvSpPr/>
                  <p:nvPr/>
                </p:nvSpPr>
                <p:spPr>
                  <a:xfrm>
                    <a:off x="1239422" y="43767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27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32" name="Rectangle 131"/>
                  <p:cNvSpPr/>
                  <p:nvPr/>
                </p:nvSpPr>
                <p:spPr>
                  <a:xfrm>
                    <a:off x="1642107" y="43767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28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33" name="Rectangle 132"/>
                  <p:cNvSpPr/>
                  <p:nvPr/>
                </p:nvSpPr>
                <p:spPr>
                  <a:xfrm>
                    <a:off x="2044792" y="43767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29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34" name="Rectangle 133"/>
                  <p:cNvSpPr/>
                  <p:nvPr/>
                </p:nvSpPr>
                <p:spPr>
                  <a:xfrm>
                    <a:off x="2447477" y="43767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30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35" name="Rectangle 134"/>
                  <p:cNvSpPr/>
                  <p:nvPr/>
                </p:nvSpPr>
                <p:spPr>
                  <a:xfrm>
                    <a:off x="2850162" y="43767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31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84" name="Rectangle 183"/>
                  <p:cNvSpPr/>
                  <p:nvPr/>
                </p:nvSpPr>
                <p:spPr>
                  <a:xfrm>
                    <a:off x="3276600" y="43767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</p:grpSp>
            <p:sp>
              <p:nvSpPr>
                <p:cNvPr id="166" name="TextBox 165"/>
                <p:cNvSpPr txBox="1"/>
                <p:nvPr/>
              </p:nvSpPr>
              <p:spPr>
                <a:xfrm>
                  <a:off x="2897399" y="2356119"/>
                  <a:ext cx="290464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rtlCol="0">
                  <a:spAutoFit/>
                </a:bodyPr>
                <a:lstStyle/>
                <a:p>
                  <a:r>
                    <a:rPr lang="en-US" dirty="0" smtClean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rPr>
                    <a:t>F</a:t>
                  </a:r>
                  <a:endParaRPr lang="en-US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itchFamily="34" charset="0"/>
                  </a:endParaRPr>
                </a:p>
              </p:txBody>
            </p:sp>
            <p:grpSp>
              <p:nvGrpSpPr>
                <p:cNvPr id="23" name="Group 22"/>
                <p:cNvGrpSpPr/>
                <p:nvPr/>
              </p:nvGrpSpPr>
              <p:grpSpPr>
                <a:xfrm>
                  <a:off x="2044792" y="2776027"/>
                  <a:ext cx="1581772" cy="280779"/>
                  <a:chOff x="2044792" y="2817123"/>
                  <a:chExt cx="1581772" cy="280779"/>
                </a:xfrm>
              </p:grpSpPr>
              <p:sp>
                <p:nvSpPr>
                  <p:cNvPr id="136" name="Rectangle 135"/>
                  <p:cNvSpPr/>
                  <p:nvPr/>
                </p:nvSpPr>
                <p:spPr>
                  <a:xfrm>
                    <a:off x="2044792" y="28171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01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37" name="Rectangle 136"/>
                  <p:cNvSpPr/>
                  <p:nvPr/>
                </p:nvSpPr>
                <p:spPr>
                  <a:xfrm>
                    <a:off x="2447477" y="28171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02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38" name="Rectangle 137"/>
                  <p:cNvSpPr/>
                  <p:nvPr/>
                </p:nvSpPr>
                <p:spPr>
                  <a:xfrm>
                    <a:off x="2850162" y="28171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03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39" name="Rectangle 138"/>
                  <p:cNvSpPr/>
                  <p:nvPr/>
                </p:nvSpPr>
                <p:spPr>
                  <a:xfrm>
                    <a:off x="3252846" y="28171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04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</p:grpSp>
            <p:grpSp>
              <p:nvGrpSpPr>
                <p:cNvPr id="24" name="Group 23"/>
                <p:cNvGrpSpPr/>
                <p:nvPr/>
              </p:nvGrpSpPr>
              <p:grpSpPr>
                <a:xfrm>
                  <a:off x="836737" y="3127002"/>
                  <a:ext cx="2789827" cy="280779"/>
                  <a:chOff x="836737" y="3207023"/>
                  <a:chExt cx="2789827" cy="280779"/>
                </a:xfrm>
              </p:grpSpPr>
              <p:sp>
                <p:nvSpPr>
                  <p:cNvPr id="140" name="Rectangle 139"/>
                  <p:cNvSpPr/>
                  <p:nvPr/>
                </p:nvSpPr>
                <p:spPr>
                  <a:xfrm>
                    <a:off x="836737" y="32070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05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41" name="Rectangle 140"/>
                  <p:cNvSpPr/>
                  <p:nvPr/>
                </p:nvSpPr>
                <p:spPr>
                  <a:xfrm>
                    <a:off x="1239422" y="32070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06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42" name="Rectangle 141"/>
                  <p:cNvSpPr/>
                  <p:nvPr/>
                </p:nvSpPr>
                <p:spPr>
                  <a:xfrm>
                    <a:off x="1642107" y="32070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07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43" name="Rectangle 142"/>
                  <p:cNvSpPr/>
                  <p:nvPr/>
                </p:nvSpPr>
                <p:spPr>
                  <a:xfrm>
                    <a:off x="2044792" y="32070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08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44" name="Rectangle 143"/>
                  <p:cNvSpPr/>
                  <p:nvPr/>
                </p:nvSpPr>
                <p:spPr>
                  <a:xfrm>
                    <a:off x="2447477" y="32070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09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45" name="Rectangle 144"/>
                  <p:cNvSpPr/>
                  <p:nvPr/>
                </p:nvSpPr>
                <p:spPr>
                  <a:xfrm>
                    <a:off x="2850162" y="32070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10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46" name="Rectangle 145"/>
                  <p:cNvSpPr/>
                  <p:nvPr/>
                </p:nvSpPr>
                <p:spPr>
                  <a:xfrm>
                    <a:off x="3252846" y="32070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11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</p:grpSp>
            <p:grpSp>
              <p:nvGrpSpPr>
                <p:cNvPr id="25" name="Group 24"/>
                <p:cNvGrpSpPr/>
                <p:nvPr/>
              </p:nvGrpSpPr>
              <p:grpSpPr>
                <a:xfrm>
                  <a:off x="836737" y="3477977"/>
                  <a:ext cx="2789827" cy="280779"/>
                  <a:chOff x="836737" y="3596923"/>
                  <a:chExt cx="2789827" cy="280779"/>
                </a:xfrm>
              </p:grpSpPr>
              <p:sp>
                <p:nvSpPr>
                  <p:cNvPr id="147" name="Rectangle 146"/>
                  <p:cNvSpPr/>
                  <p:nvPr/>
                </p:nvSpPr>
                <p:spPr>
                  <a:xfrm>
                    <a:off x="836737" y="35969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12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48" name="Rectangle 147"/>
                  <p:cNvSpPr/>
                  <p:nvPr/>
                </p:nvSpPr>
                <p:spPr>
                  <a:xfrm>
                    <a:off x="1239422" y="35969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CE202A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13</a:t>
                    </a:r>
                    <a:endParaRPr lang="en-US" sz="1400" dirty="0">
                      <a:solidFill>
                        <a:srgbClr val="CE202A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49" name="Rectangle 148"/>
                  <p:cNvSpPr/>
                  <p:nvPr/>
                </p:nvSpPr>
                <p:spPr>
                  <a:xfrm>
                    <a:off x="1642107" y="35969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14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50" name="Rectangle 149"/>
                  <p:cNvSpPr/>
                  <p:nvPr/>
                </p:nvSpPr>
                <p:spPr>
                  <a:xfrm>
                    <a:off x="2044792" y="35969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>
                    <a:innerShdw dist="38100" dir="5400000">
                      <a:prstClr val="black">
                        <a:alpha val="20000"/>
                      </a:prstClr>
                    </a:innerShdw>
                  </a:effectLst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15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51" name="Rectangle 150"/>
                  <p:cNvSpPr/>
                  <p:nvPr/>
                </p:nvSpPr>
                <p:spPr>
                  <a:xfrm>
                    <a:off x="2447477" y="35969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16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52" name="Rectangle 151"/>
                  <p:cNvSpPr/>
                  <p:nvPr/>
                </p:nvSpPr>
                <p:spPr>
                  <a:xfrm>
                    <a:off x="2850162" y="35969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17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53" name="Rectangle 152"/>
                  <p:cNvSpPr/>
                  <p:nvPr/>
                </p:nvSpPr>
                <p:spPr>
                  <a:xfrm>
                    <a:off x="3252846" y="35969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18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</p:grpSp>
            <p:grpSp>
              <p:nvGrpSpPr>
                <p:cNvPr id="26" name="Group 25"/>
                <p:cNvGrpSpPr/>
                <p:nvPr/>
              </p:nvGrpSpPr>
              <p:grpSpPr>
                <a:xfrm>
                  <a:off x="836737" y="3828952"/>
                  <a:ext cx="2789827" cy="280779"/>
                  <a:chOff x="836737" y="3986823"/>
                  <a:chExt cx="2789827" cy="280779"/>
                </a:xfrm>
              </p:grpSpPr>
              <p:sp>
                <p:nvSpPr>
                  <p:cNvPr id="154" name="Rectangle 153"/>
                  <p:cNvSpPr/>
                  <p:nvPr/>
                </p:nvSpPr>
                <p:spPr>
                  <a:xfrm>
                    <a:off x="836737" y="39868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19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55" name="Rectangle 154"/>
                  <p:cNvSpPr/>
                  <p:nvPr/>
                </p:nvSpPr>
                <p:spPr>
                  <a:xfrm>
                    <a:off x="1239422" y="39868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20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56" name="Rectangle 155"/>
                  <p:cNvSpPr/>
                  <p:nvPr/>
                </p:nvSpPr>
                <p:spPr>
                  <a:xfrm>
                    <a:off x="1642107" y="39868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21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57" name="Rectangle 156"/>
                  <p:cNvSpPr/>
                  <p:nvPr/>
                </p:nvSpPr>
                <p:spPr>
                  <a:xfrm>
                    <a:off x="2044792" y="39868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22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58" name="Rectangle 157"/>
                  <p:cNvSpPr/>
                  <p:nvPr/>
                </p:nvSpPr>
                <p:spPr>
                  <a:xfrm>
                    <a:off x="2447477" y="39868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23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59" name="Rectangle 158"/>
                  <p:cNvSpPr/>
                  <p:nvPr/>
                </p:nvSpPr>
                <p:spPr>
                  <a:xfrm>
                    <a:off x="2850162" y="39868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24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  <p:sp>
                <p:nvSpPr>
                  <p:cNvPr id="160" name="Rectangle 159"/>
                  <p:cNvSpPr/>
                  <p:nvPr/>
                </p:nvSpPr>
                <p:spPr>
                  <a:xfrm>
                    <a:off x="3252846" y="3986823"/>
                    <a:ext cx="373718" cy="280779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rgbClr val="FFFFFF"/>
                        </a:solidFill>
                        <a:latin typeface="Calibri" panose="020F0502020204030204" pitchFamily="34" charset="0"/>
                        <a:cs typeface="Calibri" pitchFamily="34" charset="0"/>
                      </a:rPr>
                      <a:t>25</a:t>
                    </a:r>
                    <a:endParaRPr lang="en-US" sz="1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endParaRPr>
                  </a:p>
                </p:txBody>
              </p:sp>
            </p:grpSp>
            <p:sp>
              <p:nvSpPr>
                <p:cNvPr id="167" name="TextBox 166"/>
                <p:cNvSpPr txBox="1"/>
                <p:nvPr/>
              </p:nvSpPr>
              <p:spPr>
                <a:xfrm>
                  <a:off x="3300885" y="2356119"/>
                  <a:ext cx="288862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rtlCol="0">
                  <a:spAutoFit/>
                </a:bodyPr>
                <a:lstStyle/>
                <a:p>
                  <a:r>
                    <a:rPr lang="en-US" dirty="0" smtClean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itchFamily="34" charset="0"/>
                    </a:rPr>
                    <a:t>S</a:t>
                  </a:r>
                  <a:endParaRPr lang="en-US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itchFamily="34" charset="0"/>
                  </a:endParaRPr>
                </a:p>
              </p:txBody>
            </p:sp>
            <p:cxnSp>
              <p:nvCxnSpPr>
                <p:cNvPr id="29" name="Straight Connector 28"/>
                <p:cNvCxnSpPr/>
                <p:nvPr/>
              </p:nvCxnSpPr>
              <p:spPr>
                <a:xfrm>
                  <a:off x="802312" y="2755479"/>
                  <a:ext cx="2920853" cy="0"/>
                </a:xfrm>
                <a:prstGeom prst="line">
                  <a:avLst/>
                </a:prstGeom>
                <a:ln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28" name="Oval 227"/>
            <p:cNvSpPr/>
            <p:nvPr>
              <p:custDataLst>
                <p:tags r:id="rId17"/>
              </p:custDataLst>
            </p:nvPr>
          </p:nvSpPr>
          <p:spPr>
            <a:xfrm>
              <a:off x="4242547" y="2230868"/>
              <a:ext cx="1069041" cy="1069041"/>
            </a:xfrm>
            <a:prstGeom prst="ellipse">
              <a:avLst/>
            </a:prstGeom>
            <a:solidFill>
              <a:srgbClr val="CE2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4000" dirty="0">
                  <a:solidFill>
                    <a:srgbClr val="FFFFFF"/>
                  </a:solidFill>
                  <a:latin typeface="Calibri" panose="020F0502020204030204" pitchFamily="34" charset="0"/>
                  <a:cs typeface="Calibri" pitchFamily="34" charset="0"/>
                </a:rPr>
                <a:t>13</a:t>
              </a:r>
              <a:endParaRPr lang="en-US" sz="4000" dirty="0">
                <a:latin typeface="Calibri" panose="020F0502020204030204" pitchFamily="34" charset="0"/>
                <a:cs typeface="Calibri" pitchFamily="34" charset="0"/>
              </a:endParaRPr>
            </a:p>
            <a:p>
              <a:pPr algn="ctr"/>
              <a:r>
                <a:rPr lang="en-US" sz="1200" dirty="0" smtClean="0">
                  <a:latin typeface="Calibri" panose="020F0502020204030204" pitchFamily="34" charset="0"/>
                  <a:cs typeface="Calibri" pitchFamily="34" charset="0"/>
                </a:rPr>
                <a:t>Monday</a:t>
              </a:r>
              <a:endParaRPr lang="en-US" sz="1200" dirty="0">
                <a:latin typeface="Calibri" panose="020F0502020204030204" pitchFamily="34" charset="0"/>
                <a:cs typeface="Calibri" pitchFamily="34" charset="0"/>
              </a:endParaRPr>
            </a:p>
          </p:txBody>
        </p:sp>
        <p:sp>
          <p:nvSpPr>
            <p:cNvPr id="212" name="TextBox 211"/>
            <p:cNvSpPr txBox="1"/>
            <p:nvPr>
              <p:custDataLst>
                <p:tags r:id="rId18"/>
              </p:custDataLst>
            </p:nvPr>
          </p:nvSpPr>
          <p:spPr>
            <a:xfrm>
              <a:off x="700569" y="4719084"/>
              <a:ext cx="1473865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200" dirty="0" smtClean="0">
                  <a:solidFill>
                    <a:srgbClr val="FFFFFF"/>
                  </a:solidFill>
                  <a:latin typeface="Calibri" panose="020F0502020204030204" pitchFamily="34" charset="0"/>
                  <a:cs typeface="Calibri" pitchFamily="34" charset="0"/>
                </a:rPr>
                <a:t>January</a:t>
              </a:r>
              <a:endParaRPr lang="en-US" sz="3200" dirty="0">
                <a:solidFill>
                  <a:srgbClr val="FFFFFF"/>
                </a:solidFill>
                <a:latin typeface="Calibri" panose="020F0502020204030204" pitchFamily="34" charset="0"/>
                <a:cs typeface="Calibri" pitchFamily="34" charset="0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358782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48" name="Group 68"/>
          <p:cNvGrpSpPr>
            <a:grpSpLocks/>
          </p:cNvGrpSpPr>
          <p:nvPr/>
        </p:nvGrpSpPr>
        <p:grpSpPr bwMode="auto">
          <a:xfrm>
            <a:off x="865188" y="1412875"/>
            <a:ext cx="7186612" cy="3359150"/>
            <a:chOff x="865308" y="1412871"/>
            <a:chExt cx="7186492" cy="3359491"/>
          </a:xfrm>
        </p:grpSpPr>
        <p:sp>
          <p:nvSpPr>
            <p:cNvPr id="68" name="Freeform 67"/>
            <p:cNvSpPr/>
            <p:nvPr/>
          </p:nvSpPr>
          <p:spPr>
            <a:xfrm>
              <a:off x="3556075" y="2071751"/>
              <a:ext cx="4495725" cy="1263778"/>
            </a:xfrm>
            <a:custGeom>
              <a:avLst/>
              <a:gdLst>
                <a:gd name="connsiteX0" fmla="*/ 2963333 w 4495800"/>
                <a:gd name="connsiteY0" fmla="*/ 11289 h 1264356"/>
                <a:gd name="connsiteX1" fmla="*/ 3911600 w 4495800"/>
                <a:gd name="connsiteY1" fmla="*/ 11289 h 1264356"/>
                <a:gd name="connsiteX2" fmla="*/ 4368800 w 4495800"/>
                <a:gd name="connsiteY2" fmla="*/ 79022 h 1264356"/>
                <a:gd name="connsiteX3" fmla="*/ 4402667 w 4495800"/>
                <a:gd name="connsiteY3" fmla="*/ 282222 h 1264356"/>
                <a:gd name="connsiteX4" fmla="*/ 3810000 w 4495800"/>
                <a:gd name="connsiteY4" fmla="*/ 434622 h 1264356"/>
                <a:gd name="connsiteX5" fmla="*/ 1727200 w 4495800"/>
                <a:gd name="connsiteY5" fmla="*/ 620889 h 1264356"/>
                <a:gd name="connsiteX6" fmla="*/ 0 w 4495800"/>
                <a:gd name="connsiteY6" fmla="*/ 1264356 h 1264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95800" h="1264356">
                  <a:moveTo>
                    <a:pt x="2963333" y="11289"/>
                  </a:moveTo>
                  <a:cubicBezTo>
                    <a:pt x="3320344" y="5644"/>
                    <a:pt x="3677356" y="0"/>
                    <a:pt x="3911600" y="11289"/>
                  </a:cubicBezTo>
                  <a:cubicBezTo>
                    <a:pt x="4145845" y="22578"/>
                    <a:pt x="4286956" y="33867"/>
                    <a:pt x="4368800" y="79022"/>
                  </a:cubicBezTo>
                  <a:cubicBezTo>
                    <a:pt x="4450645" y="124178"/>
                    <a:pt x="4495800" y="222955"/>
                    <a:pt x="4402667" y="282222"/>
                  </a:cubicBezTo>
                  <a:cubicBezTo>
                    <a:pt x="4309534" y="341489"/>
                    <a:pt x="4255911" y="378178"/>
                    <a:pt x="3810000" y="434622"/>
                  </a:cubicBezTo>
                  <a:cubicBezTo>
                    <a:pt x="3364089" y="491067"/>
                    <a:pt x="2362200" y="482600"/>
                    <a:pt x="1727200" y="620889"/>
                  </a:cubicBezTo>
                  <a:cubicBezTo>
                    <a:pt x="1092200" y="759178"/>
                    <a:pt x="546100" y="1011767"/>
                    <a:pt x="0" y="1264356"/>
                  </a:cubicBezTo>
                </a:path>
              </a:pathLst>
            </a:custGeom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 lang="en-US">
                <a:ea typeface="ＭＳ Ｐゴシック" pitchFamily="34" charset="-128"/>
              </a:endParaRPr>
            </a:p>
          </p:txBody>
        </p:sp>
        <p:grpSp>
          <p:nvGrpSpPr>
            <p:cNvPr id="14351" name="Group 59"/>
            <p:cNvGrpSpPr>
              <a:grpSpLocks/>
            </p:cNvGrpSpPr>
            <p:nvPr/>
          </p:nvGrpSpPr>
          <p:grpSpPr bwMode="auto">
            <a:xfrm>
              <a:off x="865308" y="1412871"/>
              <a:ext cx="6140449" cy="3359491"/>
              <a:chOff x="865308" y="1412871"/>
              <a:chExt cx="6140449" cy="3359491"/>
            </a:xfrm>
          </p:grpSpPr>
          <p:grpSp>
            <p:nvGrpSpPr>
              <p:cNvPr id="14352" name="Group 58"/>
              <p:cNvGrpSpPr>
                <a:grpSpLocks/>
              </p:cNvGrpSpPr>
              <p:nvPr/>
            </p:nvGrpSpPr>
            <p:grpSpPr bwMode="auto">
              <a:xfrm>
                <a:off x="865308" y="1412871"/>
                <a:ext cx="6140449" cy="3284577"/>
                <a:chOff x="762001" y="1412871"/>
                <a:chExt cx="6140449" cy="3284577"/>
              </a:xfrm>
            </p:grpSpPr>
            <p:sp>
              <p:nvSpPr>
                <p:cNvPr id="14" name="Ellipse 98"/>
                <p:cNvSpPr/>
                <p:nvPr/>
              </p:nvSpPr>
              <p:spPr bwMode="auto">
                <a:xfrm>
                  <a:off x="1406782" y="4474364"/>
                  <a:ext cx="2012436" cy="223084"/>
                </a:xfrm>
                <a:prstGeom prst="ellipse">
                  <a:avLst/>
                </a:prstGeom>
                <a:gradFill flip="none" rotWithShape="1">
                  <a:gsLst>
                    <a:gs pos="100000">
                      <a:srgbClr val="FFFFFF">
                        <a:alpha val="0"/>
                      </a:srgbClr>
                    </a:gs>
                    <a:gs pos="0">
                      <a:srgbClr val="E6E6E6">
                        <a:lumMod val="10000"/>
                        <a:alpha val="76000"/>
                      </a:srgb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/>
                  <a:endParaRPr lang="en-US" sz="1800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28" name="TextBox 27"/>
                <p:cNvSpPr txBox="1"/>
                <p:nvPr/>
              </p:nvSpPr>
              <p:spPr>
                <a:xfrm>
                  <a:off x="762001" y="1412871"/>
                  <a:ext cx="6140449" cy="1200451"/>
                </a:xfrm>
                <a:prstGeom prst="rect">
                  <a:avLst/>
                </a:prstGeom>
                <a:noFill/>
                <a:effectLst>
                  <a:reflection stA="50000" endPos="75000" dir="5400000" sy="-100000" algn="bl" rotWithShape="0"/>
                </a:effectLst>
              </p:spPr>
              <p:txBody>
                <a:bodyPr>
                  <a:sp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nb-NO" sz="7200" b="1" dirty="0">
                      <a:solidFill>
                        <a:schemeClr val="accent1">
                          <a:lumMod val="75000"/>
                        </a:schemeClr>
                      </a:solidFill>
                      <a:effectLst>
                        <a:reflection stA="0" endPos="0" dir="5400000" sy="-100000" algn="bl" rotWithShape="0"/>
                      </a:effectLst>
                      <a:latin typeface="+mn-lt"/>
                      <a:ea typeface="+mn-ea"/>
                    </a:rPr>
                    <a:t>SOCIAL MEDIA</a:t>
                  </a:r>
                </a:p>
              </p:txBody>
            </p:sp>
          </p:grpSp>
          <p:grpSp>
            <p:nvGrpSpPr>
              <p:cNvPr id="14353" name="Group 53"/>
              <p:cNvGrpSpPr>
                <a:grpSpLocks/>
              </p:cNvGrpSpPr>
              <p:nvPr/>
            </p:nvGrpSpPr>
            <p:grpSpPr bwMode="auto">
              <a:xfrm rot="7079068">
                <a:off x="1739899" y="2882650"/>
                <a:ext cx="1889378" cy="1890046"/>
                <a:chOff x="7169337" y="2825023"/>
                <a:chExt cx="1270935" cy="1271385"/>
              </a:xfrm>
            </p:grpSpPr>
            <p:sp>
              <p:nvSpPr>
                <p:cNvPr id="17" name="Freeform 45"/>
                <p:cNvSpPr>
                  <a:spLocks/>
                </p:cNvSpPr>
                <p:nvPr/>
              </p:nvSpPr>
              <p:spPr bwMode="auto">
                <a:xfrm rot="20768252">
                  <a:off x="7172656" y="2827401"/>
                  <a:ext cx="1220475" cy="1269007"/>
                </a:xfrm>
                <a:custGeom>
                  <a:avLst/>
                  <a:gdLst/>
                  <a:ahLst/>
                  <a:cxnLst>
                    <a:cxn ang="0">
                      <a:pos x="872" y="218"/>
                    </a:cxn>
                    <a:cxn ang="0">
                      <a:pos x="964" y="328"/>
                    </a:cxn>
                    <a:cxn ang="0">
                      <a:pos x="1054" y="450"/>
                    </a:cxn>
                    <a:cxn ang="0">
                      <a:pos x="1134" y="580"/>
                    </a:cxn>
                    <a:cxn ang="0">
                      <a:pos x="1168" y="646"/>
                    </a:cxn>
                    <a:cxn ang="0">
                      <a:pos x="1196" y="712"/>
                    </a:cxn>
                    <a:cxn ang="0">
                      <a:pos x="1216" y="778"/>
                    </a:cxn>
                    <a:cxn ang="0">
                      <a:pos x="1228" y="844"/>
                    </a:cxn>
                    <a:cxn ang="0">
                      <a:pos x="1232" y="908"/>
                    </a:cxn>
                    <a:cxn ang="0">
                      <a:pos x="1226" y="972"/>
                    </a:cxn>
                    <a:cxn ang="0">
                      <a:pos x="1208" y="1034"/>
                    </a:cxn>
                    <a:cxn ang="0">
                      <a:pos x="1176" y="1094"/>
                    </a:cxn>
                    <a:cxn ang="0">
                      <a:pos x="1132" y="1150"/>
                    </a:cxn>
                    <a:cxn ang="0">
                      <a:pos x="1072" y="1204"/>
                    </a:cxn>
                    <a:cxn ang="0">
                      <a:pos x="1044" y="1224"/>
                    </a:cxn>
                    <a:cxn ang="0">
                      <a:pos x="984" y="1256"/>
                    </a:cxn>
                    <a:cxn ang="0">
                      <a:pos x="922" y="1274"/>
                    </a:cxn>
                    <a:cxn ang="0">
                      <a:pos x="860" y="1282"/>
                    </a:cxn>
                    <a:cxn ang="0">
                      <a:pos x="798" y="1278"/>
                    </a:cxn>
                    <a:cxn ang="0">
                      <a:pos x="734" y="1264"/>
                    </a:cxn>
                    <a:cxn ang="0">
                      <a:pos x="672" y="1242"/>
                    </a:cxn>
                    <a:cxn ang="0">
                      <a:pos x="608" y="1214"/>
                    </a:cxn>
                    <a:cxn ang="0">
                      <a:pos x="548" y="1178"/>
                    </a:cxn>
                    <a:cxn ang="0">
                      <a:pos x="456" y="1114"/>
                    </a:cxn>
                    <a:cxn ang="0">
                      <a:pos x="342" y="1018"/>
                    </a:cxn>
                    <a:cxn ang="0">
                      <a:pos x="238" y="912"/>
                    </a:cxn>
                    <a:cxn ang="0">
                      <a:pos x="148" y="808"/>
                    </a:cxn>
                    <a:cxn ang="0">
                      <a:pos x="126" y="782"/>
                    </a:cxn>
                    <a:cxn ang="0">
                      <a:pos x="90" y="730"/>
                    </a:cxn>
                    <a:cxn ang="0">
                      <a:pos x="60" y="678"/>
                    </a:cxn>
                    <a:cxn ang="0">
                      <a:pos x="36" y="630"/>
                    </a:cxn>
                    <a:cxn ang="0">
                      <a:pos x="18" y="580"/>
                    </a:cxn>
                    <a:cxn ang="0">
                      <a:pos x="6" y="532"/>
                    </a:cxn>
                    <a:cxn ang="0">
                      <a:pos x="0" y="486"/>
                    </a:cxn>
                    <a:cxn ang="0">
                      <a:pos x="0" y="442"/>
                    </a:cxn>
                    <a:cxn ang="0">
                      <a:pos x="6" y="398"/>
                    </a:cxn>
                    <a:cxn ang="0">
                      <a:pos x="16" y="356"/>
                    </a:cxn>
                    <a:cxn ang="0">
                      <a:pos x="40" y="294"/>
                    </a:cxn>
                    <a:cxn ang="0">
                      <a:pos x="86" y="218"/>
                    </a:cxn>
                    <a:cxn ang="0">
                      <a:pos x="150" y="148"/>
                    </a:cxn>
                    <a:cxn ang="0">
                      <a:pos x="186" y="116"/>
                    </a:cxn>
                    <a:cxn ang="0">
                      <a:pos x="268" y="60"/>
                    </a:cxn>
                    <a:cxn ang="0">
                      <a:pos x="352" y="22"/>
                    </a:cxn>
                    <a:cxn ang="0">
                      <a:pos x="416" y="4"/>
                    </a:cxn>
                    <a:cxn ang="0">
                      <a:pos x="458" y="0"/>
                    </a:cxn>
                    <a:cxn ang="0">
                      <a:pos x="502" y="0"/>
                    </a:cxn>
                    <a:cxn ang="0">
                      <a:pos x="546" y="4"/>
                    </a:cxn>
                    <a:cxn ang="0">
                      <a:pos x="590" y="14"/>
                    </a:cxn>
                    <a:cxn ang="0">
                      <a:pos x="634" y="30"/>
                    </a:cxn>
                    <a:cxn ang="0">
                      <a:pos x="678" y="52"/>
                    </a:cxn>
                    <a:cxn ang="0">
                      <a:pos x="722" y="78"/>
                    </a:cxn>
                    <a:cxn ang="0">
                      <a:pos x="786" y="130"/>
                    </a:cxn>
                    <a:cxn ang="0">
                      <a:pos x="872" y="218"/>
                    </a:cxn>
                  </a:cxnLst>
                  <a:rect l="0" t="0" r="r" b="b"/>
                  <a:pathLst>
                    <a:path w="1232" h="1282">
                      <a:moveTo>
                        <a:pt x="872" y="218"/>
                      </a:moveTo>
                      <a:lnTo>
                        <a:pt x="872" y="218"/>
                      </a:lnTo>
                      <a:lnTo>
                        <a:pt x="918" y="272"/>
                      </a:lnTo>
                      <a:lnTo>
                        <a:pt x="964" y="328"/>
                      </a:lnTo>
                      <a:lnTo>
                        <a:pt x="1008" y="388"/>
                      </a:lnTo>
                      <a:lnTo>
                        <a:pt x="1054" y="450"/>
                      </a:lnTo>
                      <a:lnTo>
                        <a:pt x="1096" y="514"/>
                      </a:lnTo>
                      <a:lnTo>
                        <a:pt x="1134" y="580"/>
                      </a:lnTo>
                      <a:lnTo>
                        <a:pt x="1152" y="612"/>
                      </a:lnTo>
                      <a:lnTo>
                        <a:pt x="1168" y="646"/>
                      </a:lnTo>
                      <a:lnTo>
                        <a:pt x="1182" y="678"/>
                      </a:lnTo>
                      <a:lnTo>
                        <a:pt x="1196" y="712"/>
                      </a:lnTo>
                      <a:lnTo>
                        <a:pt x="1206" y="744"/>
                      </a:lnTo>
                      <a:lnTo>
                        <a:pt x="1216" y="778"/>
                      </a:lnTo>
                      <a:lnTo>
                        <a:pt x="1224" y="812"/>
                      </a:lnTo>
                      <a:lnTo>
                        <a:pt x="1228" y="844"/>
                      </a:lnTo>
                      <a:lnTo>
                        <a:pt x="1232" y="876"/>
                      </a:lnTo>
                      <a:lnTo>
                        <a:pt x="1232" y="908"/>
                      </a:lnTo>
                      <a:lnTo>
                        <a:pt x="1230" y="940"/>
                      </a:lnTo>
                      <a:lnTo>
                        <a:pt x="1226" y="972"/>
                      </a:lnTo>
                      <a:lnTo>
                        <a:pt x="1218" y="1004"/>
                      </a:lnTo>
                      <a:lnTo>
                        <a:pt x="1208" y="1034"/>
                      </a:lnTo>
                      <a:lnTo>
                        <a:pt x="1194" y="1064"/>
                      </a:lnTo>
                      <a:lnTo>
                        <a:pt x="1176" y="1094"/>
                      </a:lnTo>
                      <a:lnTo>
                        <a:pt x="1156" y="1122"/>
                      </a:lnTo>
                      <a:lnTo>
                        <a:pt x="1132" y="1150"/>
                      </a:lnTo>
                      <a:lnTo>
                        <a:pt x="1104" y="1178"/>
                      </a:lnTo>
                      <a:lnTo>
                        <a:pt x="1072" y="1204"/>
                      </a:lnTo>
                      <a:lnTo>
                        <a:pt x="1072" y="1204"/>
                      </a:lnTo>
                      <a:lnTo>
                        <a:pt x="1044" y="1224"/>
                      </a:lnTo>
                      <a:lnTo>
                        <a:pt x="1014" y="1242"/>
                      </a:lnTo>
                      <a:lnTo>
                        <a:pt x="984" y="1256"/>
                      </a:lnTo>
                      <a:lnTo>
                        <a:pt x="954" y="1266"/>
                      </a:lnTo>
                      <a:lnTo>
                        <a:pt x="922" y="1274"/>
                      </a:lnTo>
                      <a:lnTo>
                        <a:pt x="892" y="1280"/>
                      </a:lnTo>
                      <a:lnTo>
                        <a:pt x="860" y="1282"/>
                      </a:lnTo>
                      <a:lnTo>
                        <a:pt x="830" y="1280"/>
                      </a:lnTo>
                      <a:lnTo>
                        <a:pt x="798" y="1278"/>
                      </a:lnTo>
                      <a:lnTo>
                        <a:pt x="766" y="1272"/>
                      </a:lnTo>
                      <a:lnTo>
                        <a:pt x="734" y="1264"/>
                      </a:lnTo>
                      <a:lnTo>
                        <a:pt x="702" y="1254"/>
                      </a:lnTo>
                      <a:lnTo>
                        <a:pt x="672" y="1242"/>
                      </a:lnTo>
                      <a:lnTo>
                        <a:pt x="640" y="1230"/>
                      </a:lnTo>
                      <a:lnTo>
                        <a:pt x="608" y="1214"/>
                      </a:lnTo>
                      <a:lnTo>
                        <a:pt x="578" y="1196"/>
                      </a:lnTo>
                      <a:lnTo>
                        <a:pt x="548" y="1178"/>
                      </a:lnTo>
                      <a:lnTo>
                        <a:pt x="516" y="1158"/>
                      </a:lnTo>
                      <a:lnTo>
                        <a:pt x="456" y="1114"/>
                      </a:lnTo>
                      <a:lnTo>
                        <a:pt x="398" y="1068"/>
                      </a:lnTo>
                      <a:lnTo>
                        <a:pt x="342" y="1018"/>
                      </a:lnTo>
                      <a:lnTo>
                        <a:pt x="290" y="966"/>
                      </a:lnTo>
                      <a:lnTo>
                        <a:pt x="238" y="912"/>
                      </a:lnTo>
                      <a:lnTo>
                        <a:pt x="192" y="860"/>
                      </a:lnTo>
                      <a:lnTo>
                        <a:pt x="148" y="808"/>
                      </a:lnTo>
                      <a:lnTo>
                        <a:pt x="148" y="808"/>
                      </a:lnTo>
                      <a:lnTo>
                        <a:pt x="126" y="782"/>
                      </a:lnTo>
                      <a:lnTo>
                        <a:pt x="108" y="756"/>
                      </a:lnTo>
                      <a:lnTo>
                        <a:pt x="90" y="730"/>
                      </a:lnTo>
                      <a:lnTo>
                        <a:pt x="74" y="704"/>
                      </a:lnTo>
                      <a:lnTo>
                        <a:pt x="60" y="678"/>
                      </a:lnTo>
                      <a:lnTo>
                        <a:pt x="46" y="654"/>
                      </a:lnTo>
                      <a:lnTo>
                        <a:pt x="36" y="630"/>
                      </a:lnTo>
                      <a:lnTo>
                        <a:pt x="26" y="604"/>
                      </a:lnTo>
                      <a:lnTo>
                        <a:pt x="18" y="580"/>
                      </a:lnTo>
                      <a:lnTo>
                        <a:pt x="12" y="556"/>
                      </a:lnTo>
                      <a:lnTo>
                        <a:pt x="6" y="532"/>
                      </a:lnTo>
                      <a:lnTo>
                        <a:pt x="2" y="510"/>
                      </a:lnTo>
                      <a:lnTo>
                        <a:pt x="0" y="486"/>
                      </a:lnTo>
                      <a:lnTo>
                        <a:pt x="0" y="464"/>
                      </a:lnTo>
                      <a:lnTo>
                        <a:pt x="0" y="442"/>
                      </a:lnTo>
                      <a:lnTo>
                        <a:pt x="2" y="420"/>
                      </a:lnTo>
                      <a:lnTo>
                        <a:pt x="6" y="398"/>
                      </a:lnTo>
                      <a:lnTo>
                        <a:pt x="10" y="376"/>
                      </a:lnTo>
                      <a:lnTo>
                        <a:pt x="16" y="356"/>
                      </a:lnTo>
                      <a:lnTo>
                        <a:pt x="22" y="334"/>
                      </a:lnTo>
                      <a:lnTo>
                        <a:pt x="40" y="294"/>
                      </a:lnTo>
                      <a:lnTo>
                        <a:pt x="62" y="256"/>
                      </a:lnTo>
                      <a:lnTo>
                        <a:pt x="86" y="218"/>
                      </a:lnTo>
                      <a:lnTo>
                        <a:pt x="116" y="182"/>
                      </a:lnTo>
                      <a:lnTo>
                        <a:pt x="150" y="148"/>
                      </a:lnTo>
                      <a:lnTo>
                        <a:pt x="186" y="116"/>
                      </a:lnTo>
                      <a:lnTo>
                        <a:pt x="186" y="116"/>
                      </a:lnTo>
                      <a:lnTo>
                        <a:pt x="228" y="86"/>
                      </a:lnTo>
                      <a:lnTo>
                        <a:pt x="268" y="60"/>
                      </a:lnTo>
                      <a:lnTo>
                        <a:pt x="310" y="38"/>
                      </a:lnTo>
                      <a:lnTo>
                        <a:pt x="352" y="22"/>
                      </a:lnTo>
                      <a:lnTo>
                        <a:pt x="394" y="10"/>
                      </a:lnTo>
                      <a:lnTo>
                        <a:pt x="416" y="4"/>
                      </a:lnTo>
                      <a:lnTo>
                        <a:pt x="438" y="2"/>
                      </a:lnTo>
                      <a:lnTo>
                        <a:pt x="458" y="0"/>
                      </a:lnTo>
                      <a:lnTo>
                        <a:pt x="480" y="0"/>
                      </a:lnTo>
                      <a:lnTo>
                        <a:pt x="502" y="0"/>
                      </a:lnTo>
                      <a:lnTo>
                        <a:pt x="524" y="2"/>
                      </a:lnTo>
                      <a:lnTo>
                        <a:pt x="546" y="4"/>
                      </a:lnTo>
                      <a:lnTo>
                        <a:pt x="568" y="10"/>
                      </a:lnTo>
                      <a:lnTo>
                        <a:pt x="590" y="14"/>
                      </a:lnTo>
                      <a:lnTo>
                        <a:pt x="612" y="22"/>
                      </a:lnTo>
                      <a:lnTo>
                        <a:pt x="634" y="30"/>
                      </a:lnTo>
                      <a:lnTo>
                        <a:pt x="656" y="40"/>
                      </a:lnTo>
                      <a:lnTo>
                        <a:pt x="678" y="52"/>
                      </a:lnTo>
                      <a:lnTo>
                        <a:pt x="700" y="64"/>
                      </a:lnTo>
                      <a:lnTo>
                        <a:pt x="722" y="78"/>
                      </a:lnTo>
                      <a:lnTo>
                        <a:pt x="744" y="94"/>
                      </a:lnTo>
                      <a:lnTo>
                        <a:pt x="786" y="130"/>
                      </a:lnTo>
                      <a:lnTo>
                        <a:pt x="830" y="170"/>
                      </a:lnTo>
                      <a:lnTo>
                        <a:pt x="872" y="218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75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solidFill>
                    <a:schemeClr val="bg1">
                      <a:lumMod val="65000"/>
                    </a:schemeClr>
                  </a:solidFill>
                  <a:prstDash val="solid"/>
                </a:ln>
                <a:effectLst>
                  <a:innerShdw blurRad="190500" dist="114300" dir="5640000">
                    <a:srgbClr val="000000">
                      <a:alpha val="37000"/>
                    </a:srgbClr>
                  </a:innerShdw>
                </a:effectLst>
              </p:spPr>
              <p:txBody>
                <a:bodyPr anchor="ctr"/>
                <a:lstStyle>
                  <a:lvl1pPr indent="-342900" eaLnBrk="0" hangingPunct="0"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1pPr>
                  <a:lvl2pPr marL="37931725" indent="-37474525" eaLnBrk="0" hangingPunct="0"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2pPr>
                  <a:lvl3pPr eaLnBrk="0" hangingPunct="0"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3pPr>
                  <a:lvl4pPr eaLnBrk="0" hangingPunct="0"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4pPr>
                  <a:lvl5pPr eaLnBrk="0" hangingPunct="0"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5pPr>
                  <a:lvl6pPr marL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6pPr>
                  <a:lvl7pPr marL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7pPr>
                  <a:lvl8pPr marL="1371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8pPr>
                  <a:lvl9pPr marL="18288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buFont typeface="Calibri" pitchFamily="34" charset="0"/>
                    <a:buAutoNum type="arabicPeriod"/>
                  </a:pPr>
                  <a:endParaRPr lang="en-US" sz="1800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14357" name="Freeform 46"/>
                <p:cNvSpPr>
                  <a:spLocks/>
                </p:cNvSpPr>
                <p:nvPr/>
              </p:nvSpPr>
              <p:spPr bwMode="auto">
                <a:xfrm rot="-831748">
                  <a:off x="7169337" y="2825023"/>
                  <a:ext cx="1220475" cy="1269007"/>
                </a:xfrm>
                <a:custGeom>
                  <a:avLst/>
                  <a:gdLst>
                    <a:gd name="T0" fmla="*/ 2147483647 w 1232"/>
                    <a:gd name="T1" fmla="*/ 2147483647 h 1282"/>
                    <a:gd name="T2" fmla="*/ 2147483647 w 1232"/>
                    <a:gd name="T3" fmla="*/ 2147483647 h 1282"/>
                    <a:gd name="T4" fmla="*/ 2147483647 w 1232"/>
                    <a:gd name="T5" fmla="*/ 2147483647 h 1282"/>
                    <a:gd name="T6" fmla="*/ 2147483647 w 1232"/>
                    <a:gd name="T7" fmla="*/ 2147483647 h 1282"/>
                    <a:gd name="T8" fmla="*/ 2147483647 w 1232"/>
                    <a:gd name="T9" fmla="*/ 2147483647 h 1282"/>
                    <a:gd name="T10" fmla="*/ 2147483647 w 1232"/>
                    <a:gd name="T11" fmla="*/ 2147483647 h 1282"/>
                    <a:gd name="T12" fmla="*/ 2147483647 w 1232"/>
                    <a:gd name="T13" fmla="*/ 2147483647 h 1282"/>
                    <a:gd name="T14" fmla="*/ 2147483647 w 1232"/>
                    <a:gd name="T15" fmla="*/ 2147483647 h 1282"/>
                    <a:gd name="T16" fmla="*/ 2147483647 w 1232"/>
                    <a:gd name="T17" fmla="*/ 2147483647 h 1282"/>
                    <a:gd name="T18" fmla="*/ 2147483647 w 1232"/>
                    <a:gd name="T19" fmla="*/ 2147483647 h 1282"/>
                    <a:gd name="T20" fmla="*/ 2147483647 w 1232"/>
                    <a:gd name="T21" fmla="*/ 2147483647 h 1282"/>
                    <a:gd name="T22" fmla="*/ 2147483647 w 1232"/>
                    <a:gd name="T23" fmla="*/ 2147483647 h 1282"/>
                    <a:gd name="T24" fmla="*/ 2147483647 w 1232"/>
                    <a:gd name="T25" fmla="*/ 2147483647 h 1282"/>
                    <a:gd name="T26" fmla="*/ 2147483647 w 1232"/>
                    <a:gd name="T27" fmla="*/ 2147483647 h 1282"/>
                    <a:gd name="T28" fmla="*/ 2147483647 w 1232"/>
                    <a:gd name="T29" fmla="*/ 2147483647 h 1282"/>
                    <a:gd name="T30" fmla="*/ 2147483647 w 1232"/>
                    <a:gd name="T31" fmla="*/ 2147483647 h 1282"/>
                    <a:gd name="T32" fmla="*/ 2147483647 w 1232"/>
                    <a:gd name="T33" fmla="*/ 2147483647 h 1282"/>
                    <a:gd name="T34" fmla="*/ 2147483647 w 1232"/>
                    <a:gd name="T35" fmla="*/ 2147483647 h 1282"/>
                    <a:gd name="T36" fmla="*/ 2147483647 w 1232"/>
                    <a:gd name="T37" fmla="*/ 2147483647 h 1282"/>
                    <a:gd name="T38" fmla="*/ 2147483647 w 1232"/>
                    <a:gd name="T39" fmla="*/ 2147483647 h 1282"/>
                    <a:gd name="T40" fmla="*/ 2147483647 w 1232"/>
                    <a:gd name="T41" fmla="*/ 2147483647 h 1282"/>
                    <a:gd name="T42" fmla="*/ 2147483647 w 1232"/>
                    <a:gd name="T43" fmla="*/ 2147483647 h 1282"/>
                    <a:gd name="T44" fmla="*/ 2147483647 w 1232"/>
                    <a:gd name="T45" fmla="*/ 2147483647 h 1282"/>
                    <a:gd name="T46" fmla="*/ 2147483647 w 1232"/>
                    <a:gd name="T47" fmla="*/ 2147483647 h 1282"/>
                    <a:gd name="T48" fmla="*/ 2147483647 w 1232"/>
                    <a:gd name="T49" fmla="*/ 2147483647 h 1282"/>
                    <a:gd name="T50" fmla="*/ 2147483647 w 1232"/>
                    <a:gd name="T51" fmla="*/ 2147483647 h 1282"/>
                    <a:gd name="T52" fmla="*/ 2147483647 w 1232"/>
                    <a:gd name="T53" fmla="*/ 2147483647 h 1282"/>
                    <a:gd name="T54" fmla="*/ 2147483647 w 1232"/>
                    <a:gd name="T55" fmla="*/ 2147483647 h 1282"/>
                    <a:gd name="T56" fmla="*/ 2147483647 w 1232"/>
                    <a:gd name="T57" fmla="*/ 2147483647 h 1282"/>
                    <a:gd name="T58" fmla="*/ 2147483647 w 1232"/>
                    <a:gd name="T59" fmla="*/ 2147483647 h 1282"/>
                    <a:gd name="T60" fmla="*/ 2147483647 w 1232"/>
                    <a:gd name="T61" fmla="*/ 2147483647 h 1282"/>
                    <a:gd name="T62" fmla="*/ 2147483647 w 1232"/>
                    <a:gd name="T63" fmla="*/ 2147483647 h 1282"/>
                    <a:gd name="T64" fmla="*/ 2147483647 w 1232"/>
                    <a:gd name="T65" fmla="*/ 2147483647 h 1282"/>
                    <a:gd name="T66" fmla="*/ 0 w 1232"/>
                    <a:gd name="T67" fmla="*/ 2147483647 h 1282"/>
                    <a:gd name="T68" fmla="*/ 0 w 1232"/>
                    <a:gd name="T69" fmla="*/ 2147483647 h 1282"/>
                    <a:gd name="T70" fmla="*/ 2147483647 w 1232"/>
                    <a:gd name="T71" fmla="*/ 2147483647 h 1282"/>
                    <a:gd name="T72" fmla="*/ 2147483647 w 1232"/>
                    <a:gd name="T73" fmla="*/ 2147483647 h 1282"/>
                    <a:gd name="T74" fmla="*/ 2147483647 w 1232"/>
                    <a:gd name="T75" fmla="*/ 2147483647 h 1282"/>
                    <a:gd name="T76" fmla="*/ 2147483647 w 1232"/>
                    <a:gd name="T77" fmla="*/ 2147483647 h 1282"/>
                    <a:gd name="T78" fmla="*/ 2147483647 w 1232"/>
                    <a:gd name="T79" fmla="*/ 2147483647 h 1282"/>
                    <a:gd name="T80" fmla="*/ 2147483647 w 1232"/>
                    <a:gd name="T81" fmla="*/ 2147483647 h 1282"/>
                    <a:gd name="T82" fmla="*/ 2147483647 w 1232"/>
                    <a:gd name="T83" fmla="*/ 2147483647 h 1282"/>
                    <a:gd name="T84" fmla="*/ 2147483647 w 1232"/>
                    <a:gd name="T85" fmla="*/ 2147483647 h 1282"/>
                    <a:gd name="T86" fmla="*/ 2147483647 w 1232"/>
                    <a:gd name="T87" fmla="*/ 2147483647 h 1282"/>
                    <a:gd name="T88" fmla="*/ 2147483647 w 1232"/>
                    <a:gd name="T89" fmla="*/ 0 h 1282"/>
                    <a:gd name="T90" fmla="*/ 2147483647 w 1232"/>
                    <a:gd name="T91" fmla="*/ 0 h 1282"/>
                    <a:gd name="T92" fmla="*/ 2147483647 w 1232"/>
                    <a:gd name="T93" fmla="*/ 2147483647 h 1282"/>
                    <a:gd name="T94" fmla="*/ 2147483647 w 1232"/>
                    <a:gd name="T95" fmla="*/ 2147483647 h 1282"/>
                    <a:gd name="T96" fmla="*/ 2147483647 w 1232"/>
                    <a:gd name="T97" fmla="*/ 2147483647 h 1282"/>
                    <a:gd name="T98" fmla="*/ 2147483647 w 1232"/>
                    <a:gd name="T99" fmla="*/ 2147483647 h 1282"/>
                    <a:gd name="T100" fmla="*/ 2147483647 w 1232"/>
                    <a:gd name="T101" fmla="*/ 2147483647 h 1282"/>
                    <a:gd name="T102" fmla="*/ 2147483647 w 1232"/>
                    <a:gd name="T103" fmla="*/ 2147483647 h 1282"/>
                    <a:gd name="T104" fmla="*/ 2147483647 w 1232"/>
                    <a:gd name="T105" fmla="*/ 2147483647 h 1282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1232"/>
                    <a:gd name="T160" fmla="*/ 0 h 1282"/>
                    <a:gd name="T161" fmla="*/ 1232 w 1232"/>
                    <a:gd name="T162" fmla="*/ 1282 h 1282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1232" h="1282">
                      <a:moveTo>
                        <a:pt x="872" y="218"/>
                      </a:moveTo>
                      <a:lnTo>
                        <a:pt x="872" y="218"/>
                      </a:lnTo>
                      <a:lnTo>
                        <a:pt x="918" y="272"/>
                      </a:lnTo>
                      <a:lnTo>
                        <a:pt x="964" y="328"/>
                      </a:lnTo>
                      <a:lnTo>
                        <a:pt x="1008" y="388"/>
                      </a:lnTo>
                      <a:lnTo>
                        <a:pt x="1054" y="450"/>
                      </a:lnTo>
                      <a:lnTo>
                        <a:pt x="1096" y="514"/>
                      </a:lnTo>
                      <a:lnTo>
                        <a:pt x="1134" y="580"/>
                      </a:lnTo>
                      <a:lnTo>
                        <a:pt x="1152" y="612"/>
                      </a:lnTo>
                      <a:lnTo>
                        <a:pt x="1168" y="646"/>
                      </a:lnTo>
                      <a:lnTo>
                        <a:pt x="1182" y="678"/>
                      </a:lnTo>
                      <a:lnTo>
                        <a:pt x="1196" y="712"/>
                      </a:lnTo>
                      <a:lnTo>
                        <a:pt x="1206" y="744"/>
                      </a:lnTo>
                      <a:lnTo>
                        <a:pt x="1216" y="778"/>
                      </a:lnTo>
                      <a:lnTo>
                        <a:pt x="1224" y="812"/>
                      </a:lnTo>
                      <a:lnTo>
                        <a:pt x="1228" y="844"/>
                      </a:lnTo>
                      <a:lnTo>
                        <a:pt x="1232" y="876"/>
                      </a:lnTo>
                      <a:lnTo>
                        <a:pt x="1232" y="908"/>
                      </a:lnTo>
                      <a:lnTo>
                        <a:pt x="1230" y="940"/>
                      </a:lnTo>
                      <a:lnTo>
                        <a:pt x="1226" y="972"/>
                      </a:lnTo>
                      <a:lnTo>
                        <a:pt x="1218" y="1004"/>
                      </a:lnTo>
                      <a:lnTo>
                        <a:pt x="1208" y="1034"/>
                      </a:lnTo>
                      <a:lnTo>
                        <a:pt x="1194" y="1064"/>
                      </a:lnTo>
                      <a:lnTo>
                        <a:pt x="1176" y="1094"/>
                      </a:lnTo>
                      <a:lnTo>
                        <a:pt x="1156" y="1122"/>
                      </a:lnTo>
                      <a:lnTo>
                        <a:pt x="1132" y="1150"/>
                      </a:lnTo>
                      <a:lnTo>
                        <a:pt x="1104" y="1178"/>
                      </a:lnTo>
                      <a:lnTo>
                        <a:pt x="1072" y="1204"/>
                      </a:lnTo>
                      <a:lnTo>
                        <a:pt x="1044" y="1224"/>
                      </a:lnTo>
                      <a:lnTo>
                        <a:pt x="1014" y="1242"/>
                      </a:lnTo>
                      <a:lnTo>
                        <a:pt x="984" y="1256"/>
                      </a:lnTo>
                      <a:lnTo>
                        <a:pt x="954" y="1266"/>
                      </a:lnTo>
                      <a:lnTo>
                        <a:pt x="922" y="1274"/>
                      </a:lnTo>
                      <a:lnTo>
                        <a:pt x="892" y="1280"/>
                      </a:lnTo>
                      <a:lnTo>
                        <a:pt x="860" y="1282"/>
                      </a:lnTo>
                      <a:lnTo>
                        <a:pt x="830" y="1280"/>
                      </a:lnTo>
                      <a:lnTo>
                        <a:pt x="798" y="1278"/>
                      </a:lnTo>
                      <a:lnTo>
                        <a:pt x="766" y="1272"/>
                      </a:lnTo>
                      <a:lnTo>
                        <a:pt x="734" y="1264"/>
                      </a:lnTo>
                      <a:lnTo>
                        <a:pt x="702" y="1254"/>
                      </a:lnTo>
                      <a:lnTo>
                        <a:pt x="672" y="1242"/>
                      </a:lnTo>
                      <a:lnTo>
                        <a:pt x="640" y="1230"/>
                      </a:lnTo>
                      <a:lnTo>
                        <a:pt x="608" y="1214"/>
                      </a:lnTo>
                      <a:lnTo>
                        <a:pt x="578" y="1196"/>
                      </a:lnTo>
                      <a:lnTo>
                        <a:pt x="548" y="1178"/>
                      </a:lnTo>
                      <a:lnTo>
                        <a:pt x="516" y="1158"/>
                      </a:lnTo>
                      <a:lnTo>
                        <a:pt x="456" y="1114"/>
                      </a:lnTo>
                      <a:lnTo>
                        <a:pt x="398" y="1068"/>
                      </a:lnTo>
                      <a:lnTo>
                        <a:pt x="342" y="1018"/>
                      </a:lnTo>
                      <a:lnTo>
                        <a:pt x="290" y="966"/>
                      </a:lnTo>
                      <a:lnTo>
                        <a:pt x="238" y="912"/>
                      </a:lnTo>
                      <a:lnTo>
                        <a:pt x="192" y="860"/>
                      </a:lnTo>
                      <a:lnTo>
                        <a:pt x="148" y="808"/>
                      </a:lnTo>
                      <a:lnTo>
                        <a:pt x="126" y="782"/>
                      </a:lnTo>
                      <a:lnTo>
                        <a:pt x="108" y="756"/>
                      </a:lnTo>
                      <a:lnTo>
                        <a:pt x="90" y="730"/>
                      </a:lnTo>
                      <a:lnTo>
                        <a:pt x="74" y="704"/>
                      </a:lnTo>
                      <a:lnTo>
                        <a:pt x="60" y="678"/>
                      </a:lnTo>
                      <a:lnTo>
                        <a:pt x="46" y="654"/>
                      </a:lnTo>
                      <a:lnTo>
                        <a:pt x="36" y="630"/>
                      </a:lnTo>
                      <a:lnTo>
                        <a:pt x="26" y="604"/>
                      </a:lnTo>
                      <a:lnTo>
                        <a:pt x="18" y="580"/>
                      </a:lnTo>
                      <a:lnTo>
                        <a:pt x="12" y="556"/>
                      </a:lnTo>
                      <a:lnTo>
                        <a:pt x="6" y="532"/>
                      </a:lnTo>
                      <a:lnTo>
                        <a:pt x="2" y="510"/>
                      </a:lnTo>
                      <a:lnTo>
                        <a:pt x="0" y="486"/>
                      </a:lnTo>
                      <a:lnTo>
                        <a:pt x="0" y="464"/>
                      </a:lnTo>
                      <a:lnTo>
                        <a:pt x="0" y="442"/>
                      </a:lnTo>
                      <a:lnTo>
                        <a:pt x="2" y="420"/>
                      </a:lnTo>
                      <a:lnTo>
                        <a:pt x="6" y="398"/>
                      </a:lnTo>
                      <a:lnTo>
                        <a:pt x="10" y="376"/>
                      </a:lnTo>
                      <a:lnTo>
                        <a:pt x="16" y="356"/>
                      </a:lnTo>
                      <a:lnTo>
                        <a:pt x="22" y="334"/>
                      </a:lnTo>
                      <a:lnTo>
                        <a:pt x="40" y="294"/>
                      </a:lnTo>
                      <a:lnTo>
                        <a:pt x="62" y="256"/>
                      </a:lnTo>
                      <a:lnTo>
                        <a:pt x="86" y="218"/>
                      </a:lnTo>
                      <a:lnTo>
                        <a:pt x="116" y="182"/>
                      </a:lnTo>
                      <a:lnTo>
                        <a:pt x="150" y="148"/>
                      </a:lnTo>
                      <a:lnTo>
                        <a:pt x="186" y="116"/>
                      </a:lnTo>
                      <a:lnTo>
                        <a:pt x="228" y="86"/>
                      </a:lnTo>
                      <a:lnTo>
                        <a:pt x="268" y="60"/>
                      </a:lnTo>
                      <a:lnTo>
                        <a:pt x="310" y="38"/>
                      </a:lnTo>
                      <a:lnTo>
                        <a:pt x="352" y="22"/>
                      </a:lnTo>
                      <a:lnTo>
                        <a:pt x="394" y="10"/>
                      </a:lnTo>
                      <a:lnTo>
                        <a:pt x="416" y="4"/>
                      </a:lnTo>
                      <a:lnTo>
                        <a:pt x="438" y="2"/>
                      </a:lnTo>
                      <a:lnTo>
                        <a:pt x="458" y="0"/>
                      </a:lnTo>
                      <a:lnTo>
                        <a:pt x="480" y="0"/>
                      </a:lnTo>
                      <a:lnTo>
                        <a:pt x="502" y="0"/>
                      </a:lnTo>
                      <a:lnTo>
                        <a:pt x="524" y="2"/>
                      </a:lnTo>
                      <a:lnTo>
                        <a:pt x="546" y="4"/>
                      </a:lnTo>
                      <a:lnTo>
                        <a:pt x="568" y="10"/>
                      </a:lnTo>
                      <a:lnTo>
                        <a:pt x="590" y="14"/>
                      </a:lnTo>
                      <a:lnTo>
                        <a:pt x="612" y="22"/>
                      </a:lnTo>
                      <a:lnTo>
                        <a:pt x="634" y="30"/>
                      </a:lnTo>
                      <a:lnTo>
                        <a:pt x="656" y="40"/>
                      </a:lnTo>
                      <a:lnTo>
                        <a:pt x="678" y="52"/>
                      </a:lnTo>
                      <a:lnTo>
                        <a:pt x="700" y="64"/>
                      </a:lnTo>
                      <a:lnTo>
                        <a:pt x="722" y="78"/>
                      </a:lnTo>
                      <a:lnTo>
                        <a:pt x="744" y="94"/>
                      </a:lnTo>
                      <a:lnTo>
                        <a:pt x="786" y="130"/>
                      </a:lnTo>
                      <a:lnTo>
                        <a:pt x="830" y="170"/>
                      </a:lnTo>
                      <a:lnTo>
                        <a:pt x="872" y="218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>
                    <a:latin typeface="Calibri" pitchFamily="34" charset="0"/>
                  </a:endParaRPr>
                </a:p>
              </p:txBody>
            </p:sp>
            <p:sp>
              <p:nvSpPr>
                <p:cNvPr id="14358" name="Freeform 50"/>
                <p:cNvSpPr>
                  <a:spLocks/>
                </p:cNvSpPr>
                <p:nvPr/>
              </p:nvSpPr>
              <p:spPr bwMode="auto">
                <a:xfrm rot="-831748">
                  <a:off x="7655682" y="3295270"/>
                  <a:ext cx="784590" cy="732500"/>
                </a:xfrm>
                <a:custGeom>
                  <a:avLst/>
                  <a:gdLst>
                    <a:gd name="T0" fmla="*/ 2147483647 w 792"/>
                    <a:gd name="T1" fmla="*/ 0 h 740"/>
                    <a:gd name="T2" fmla="*/ 2147483647 w 792"/>
                    <a:gd name="T3" fmla="*/ 2147483647 h 740"/>
                    <a:gd name="T4" fmla="*/ 2147483647 w 792"/>
                    <a:gd name="T5" fmla="*/ 2147483647 h 740"/>
                    <a:gd name="T6" fmla="*/ 2147483647 w 792"/>
                    <a:gd name="T7" fmla="*/ 2147483647 h 740"/>
                    <a:gd name="T8" fmla="*/ 2147483647 w 792"/>
                    <a:gd name="T9" fmla="*/ 2147483647 h 740"/>
                    <a:gd name="T10" fmla="*/ 2147483647 w 792"/>
                    <a:gd name="T11" fmla="*/ 2147483647 h 740"/>
                    <a:gd name="T12" fmla="*/ 2147483647 w 792"/>
                    <a:gd name="T13" fmla="*/ 2147483647 h 740"/>
                    <a:gd name="T14" fmla="*/ 2147483647 w 792"/>
                    <a:gd name="T15" fmla="*/ 2147483647 h 740"/>
                    <a:gd name="T16" fmla="*/ 2147483647 w 792"/>
                    <a:gd name="T17" fmla="*/ 2147483647 h 740"/>
                    <a:gd name="T18" fmla="*/ 2147483647 w 792"/>
                    <a:gd name="T19" fmla="*/ 2147483647 h 740"/>
                    <a:gd name="T20" fmla="*/ 2147483647 w 792"/>
                    <a:gd name="T21" fmla="*/ 2147483647 h 740"/>
                    <a:gd name="T22" fmla="*/ 2147483647 w 792"/>
                    <a:gd name="T23" fmla="*/ 2147483647 h 740"/>
                    <a:gd name="T24" fmla="*/ 2147483647 w 792"/>
                    <a:gd name="T25" fmla="*/ 2147483647 h 740"/>
                    <a:gd name="T26" fmla="*/ 2147483647 w 792"/>
                    <a:gd name="T27" fmla="*/ 2147483647 h 740"/>
                    <a:gd name="T28" fmla="*/ 2147483647 w 792"/>
                    <a:gd name="T29" fmla="*/ 2147483647 h 740"/>
                    <a:gd name="T30" fmla="*/ 2147483647 w 792"/>
                    <a:gd name="T31" fmla="*/ 2147483647 h 740"/>
                    <a:gd name="T32" fmla="*/ 2147483647 w 792"/>
                    <a:gd name="T33" fmla="*/ 2147483647 h 740"/>
                    <a:gd name="T34" fmla="*/ 2147483647 w 792"/>
                    <a:gd name="T35" fmla="*/ 2147483647 h 740"/>
                    <a:gd name="T36" fmla="*/ 2147483647 w 792"/>
                    <a:gd name="T37" fmla="*/ 2147483647 h 740"/>
                    <a:gd name="T38" fmla="*/ 2147483647 w 792"/>
                    <a:gd name="T39" fmla="*/ 2147483647 h 740"/>
                    <a:gd name="T40" fmla="*/ 2147483647 w 792"/>
                    <a:gd name="T41" fmla="*/ 2147483647 h 740"/>
                    <a:gd name="T42" fmla="*/ 2147483647 w 792"/>
                    <a:gd name="T43" fmla="*/ 2147483647 h 740"/>
                    <a:gd name="T44" fmla="*/ 2147483647 w 792"/>
                    <a:gd name="T45" fmla="*/ 2147483647 h 740"/>
                    <a:gd name="T46" fmla="*/ 2147483647 w 792"/>
                    <a:gd name="T47" fmla="*/ 2147483647 h 740"/>
                    <a:gd name="T48" fmla="*/ 2147483647 w 792"/>
                    <a:gd name="T49" fmla="*/ 2147483647 h 740"/>
                    <a:gd name="T50" fmla="*/ 2147483647 w 792"/>
                    <a:gd name="T51" fmla="*/ 2147483647 h 740"/>
                    <a:gd name="T52" fmla="*/ 2147483647 w 792"/>
                    <a:gd name="T53" fmla="*/ 2147483647 h 740"/>
                    <a:gd name="T54" fmla="*/ 2147483647 w 792"/>
                    <a:gd name="T55" fmla="*/ 2147483647 h 740"/>
                    <a:gd name="T56" fmla="*/ 2147483647 w 792"/>
                    <a:gd name="T57" fmla="*/ 2147483647 h 740"/>
                    <a:gd name="T58" fmla="*/ 2147483647 w 792"/>
                    <a:gd name="T59" fmla="*/ 2147483647 h 740"/>
                    <a:gd name="T60" fmla="*/ 2147483647 w 792"/>
                    <a:gd name="T61" fmla="*/ 2147483647 h 740"/>
                    <a:gd name="T62" fmla="*/ 0 w 792"/>
                    <a:gd name="T63" fmla="*/ 2147483647 h 740"/>
                    <a:gd name="T64" fmla="*/ 2147483647 w 792"/>
                    <a:gd name="T65" fmla="*/ 2147483647 h 740"/>
                    <a:gd name="T66" fmla="*/ 2147483647 w 792"/>
                    <a:gd name="T67" fmla="*/ 2147483647 h 740"/>
                    <a:gd name="T68" fmla="*/ 2147483647 w 792"/>
                    <a:gd name="T69" fmla="*/ 2147483647 h 740"/>
                    <a:gd name="T70" fmla="*/ 2147483647 w 792"/>
                    <a:gd name="T71" fmla="*/ 2147483647 h 740"/>
                    <a:gd name="T72" fmla="*/ 2147483647 w 792"/>
                    <a:gd name="T73" fmla="*/ 2147483647 h 740"/>
                    <a:gd name="T74" fmla="*/ 2147483647 w 792"/>
                    <a:gd name="T75" fmla="*/ 2147483647 h 740"/>
                    <a:gd name="T76" fmla="*/ 2147483647 w 792"/>
                    <a:gd name="T77" fmla="*/ 2147483647 h 740"/>
                    <a:gd name="T78" fmla="*/ 2147483647 w 792"/>
                    <a:gd name="T79" fmla="*/ 2147483647 h 740"/>
                    <a:gd name="T80" fmla="*/ 2147483647 w 792"/>
                    <a:gd name="T81" fmla="*/ 2147483647 h 740"/>
                    <a:gd name="T82" fmla="*/ 2147483647 w 792"/>
                    <a:gd name="T83" fmla="*/ 2147483647 h 740"/>
                    <a:gd name="T84" fmla="*/ 2147483647 w 792"/>
                    <a:gd name="T85" fmla="*/ 2147483647 h 740"/>
                    <a:gd name="T86" fmla="*/ 2147483647 w 792"/>
                    <a:gd name="T87" fmla="*/ 2147483647 h 740"/>
                    <a:gd name="T88" fmla="*/ 2147483647 w 792"/>
                    <a:gd name="T89" fmla="*/ 2147483647 h 740"/>
                    <a:gd name="T90" fmla="*/ 2147483647 w 792"/>
                    <a:gd name="T91" fmla="*/ 2147483647 h 740"/>
                    <a:gd name="T92" fmla="*/ 2147483647 w 792"/>
                    <a:gd name="T93" fmla="*/ 2147483647 h 740"/>
                    <a:gd name="T94" fmla="*/ 2147483647 w 792"/>
                    <a:gd name="T95" fmla="*/ 2147483647 h 740"/>
                    <a:gd name="T96" fmla="*/ 2147483647 w 792"/>
                    <a:gd name="T97" fmla="*/ 2147483647 h 740"/>
                    <a:gd name="T98" fmla="*/ 2147483647 w 792"/>
                    <a:gd name="T99" fmla="*/ 2147483647 h 740"/>
                    <a:gd name="T100" fmla="*/ 2147483647 w 792"/>
                    <a:gd name="T101" fmla="*/ 2147483647 h 740"/>
                    <a:gd name="T102" fmla="*/ 2147483647 w 792"/>
                    <a:gd name="T103" fmla="*/ 2147483647 h 740"/>
                    <a:gd name="T104" fmla="*/ 2147483647 w 792"/>
                    <a:gd name="T105" fmla="*/ 2147483647 h 740"/>
                    <a:gd name="T106" fmla="*/ 2147483647 w 792"/>
                    <a:gd name="T107" fmla="*/ 2147483647 h 740"/>
                    <a:gd name="T108" fmla="*/ 2147483647 w 792"/>
                    <a:gd name="T109" fmla="*/ 2147483647 h 740"/>
                    <a:gd name="T110" fmla="*/ 2147483647 w 792"/>
                    <a:gd name="T111" fmla="*/ 2147483647 h 740"/>
                    <a:gd name="T112" fmla="*/ 2147483647 w 792"/>
                    <a:gd name="T113" fmla="*/ 2147483647 h 740"/>
                    <a:gd name="T114" fmla="*/ 2147483647 w 792"/>
                    <a:gd name="T115" fmla="*/ 0 h 740"/>
                    <a:gd name="T116" fmla="*/ 2147483647 w 792"/>
                    <a:gd name="T117" fmla="*/ 0 h 740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792"/>
                    <a:gd name="T178" fmla="*/ 0 h 740"/>
                    <a:gd name="T179" fmla="*/ 792 w 792"/>
                    <a:gd name="T180" fmla="*/ 740 h 740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792" h="740">
                      <a:moveTo>
                        <a:pt x="662" y="0"/>
                      </a:moveTo>
                      <a:lnTo>
                        <a:pt x="662" y="0"/>
                      </a:lnTo>
                      <a:lnTo>
                        <a:pt x="654" y="2"/>
                      </a:lnTo>
                      <a:lnTo>
                        <a:pt x="648" y="6"/>
                      </a:lnTo>
                      <a:lnTo>
                        <a:pt x="644" y="16"/>
                      </a:lnTo>
                      <a:lnTo>
                        <a:pt x="644" y="28"/>
                      </a:lnTo>
                      <a:lnTo>
                        <a:pt x="646" y="42"/>
                      </a:lnTo>
                      <a:lnTo>
                        <a:pt x="652" y="58"/>
                      </a:lnTo>
                      <a:lnTo>
                        <a:pt x="662" y="76"/>
                      </a:lnTo>
                      <a:lnTo>
                        <a:pt x="676" y="94"/>
                      </a:lnTo>
                      <a:lnTo>
                        <a:pt x="686" y="108"/>
                      </a:lnTo>
                      <a:lnTo>
                        <a:pt x="698" y="126"/>
                      </a:lnTo>
                      <a:lnTo>
                        <a:pt x="710" y="148"/>
                      </a:lnTo>
                      <a:lnTo>
                        <a:pt x="722" y="174"/>
                      </a:lnTo>
                      <a:lnTo>
                        <a:pt x="734" y="204"/>
                      </a:lnTo>
                      <a:lnTo>
                        <a:pt x="744" y="236"/>
                      </a:lnTo>
                      <a:lnTo>
                        <a:pt x="752" y="270"/>
                      </a:lnTo>
                      <a:lnTo>
                        <a:pt x="758" y="308"/>
                      </a:lnTo>
                      <a:lnTo>
                        <a:pt x="760" y="346"/>
                      </a:lnTo>
                      <a:lnTo>
                        <a:pt x="760" y="384"/>
                      </a:lnTo>
                      <a:lnTo>
                        <a:pt x="756" y="424"/>
                      </a:lnTo>
                      <a:lnTo>
                        <a:pt x="750" y="444"/>
                      </a:lnTo>
                      <a:lnTo>
                        <a:pt x="746" y="464"/>
                      </a:lnTo>
                      <a:lnTo>
                        <a:pt x="738" y="484"/>
                      </a:lnTo>
                      <a:lnTo>
                        <a:pt x="730" y="504"/>
                      </a:lnTo>
                      <a:lnTo>
                        <a:pt x="720" y="524"/>
                      </a:lnTo>
                      <a:lnTo>
                        <a:pt x="708" y="544"/>
                      </a:lnTo>
                      <a:lnTo>
                        <a:pt x="694" y="562"/>
                      </a:lnTo>
                      <a:lnTo>
                        <a:pt x="678" y="582"/>
                      </a:lnTo>
                      <a:lnTo>
                        <a:pt x="662" y="600"/>
                      </a:lnTo>
                      <a:lnTo>
                        <a:pt x="642" y="618"/>
                      </a:lnTo>
                      <a:lnTo>
                        <a:pt x="616" y="638"/>
                      </a:lnTo>
                      <a:lnTo>
                        <a:pt x="588" y="656"/>
                      </a:lnTo>
                      <a:lnTo>
                        <a:pt x="560" y="672"/>
                      </a:lnTo>
                      <a:lnTo>
                        <a:pt x="532" y="682"/>
                      </a:lnTo>
                      <a:lnTo>
                        <a:pt x="502" y="692"/>
                      </a:lnTo>
                      <a:lnTo>
                        <a:pt x="474" y="698"/>
                      </a:lnTo>
                      <a:lnTo>
                        <a:pt x="446" y="700"/>
                      </a:lnTo>
                      <a:lnTo>
                        <a:pt x="416" y="702"/>
                      </a:lnTo>
                      <a:lnTo>
                        <a:pt x="390" y="700"/>
                      </a:lnTo>
                      <a:lnTo>
                        <a:pt x="362" y="698"/>
                      </a:lnTo>
                      <a:lnTo>
                        <a:pt x="336" y="694"/>
                      </a:lnTo>
                      <a:lnTo>
                        <a:pt x="310" y="688"/>
                      </a:lnTo>
                      <a:lnTo>
                        <a:pt x="284" y="680"/>
                      </a:lnTo>
                      <a:lnTo>
                        <a:pt x="260" y="672"/>
                      </a:lnTo>
                      <a:lnTo>
                        <a:pt x="216" y="654"/>
                      </a:lnTo>
                      <a:lnTo>
                        <a:pt x="176" y="634"/>
                      </a:lnTo>
                      <a:lnTo>
                        <a:pt x="144" y="612"/>
                      </a:lnTo>
                      <a:lnTo>
                        <a:pt x="118" y="594"/>
                      </a:lnTo>
                      <a:lnTo>
                        <a:pt x="100" y="578"/>
                      </a:lnTo>
                      <a:lnTo>
                        <a:pt x="80" y="558"/>
                      </a:lnTo>
                      <a:lnTo>
                        <a:pt x="62" y="546"/>
                      </a:lnTo>
                      <a:lnTo>
                        <a:pt x="46" y="540"/>
                      </a:lnTo>
                      <a:lnTo>
                        <a:pt x="32" y="538"/>
                      </a:lnTo>
                      <a:lnTo>
                        <a:pt x="18" y="540"/>
                      </a:lnTo>
                      <a:lnTo>
                        <a:pt x="8" y="546"/>
                      </a:lnTo>
                      <a:lnTo>
                        <a:pt x="2" y="550"/>
                      </a:lnTo>
                      <a:lnTo>
                        <a:pt x="0" y="552"/>
                      </a:lnTo>
                      <a:lnTo>
                        <a:pt x="0" y="556"/>
                      </a:lnTo>
                      <a:lnTo>
                        <a:pt x="8" y="566"/>
                      </a:lnTo>
                      <a:lnTo>
                        <a:pt x="36" y="586"/>
                      </a:lnTo>
                      <a:lnTo>
                        <a:pt x="70" y="612"/>
                      </a:lnTo>
                      <a:lnTo>
                        <a:pt x="106" y="636"/>
                      </a:lnTo>
                      <a:lnTo>
                        <a:pt x="142" y="658"/>
                      </a:lnTo>
                      <a:lnTo>
                        <a:pt x="178" y="678"/>
                      </a:lnTo>
                      <a:lnTo>
                        <a:pt x="216" y="696"/>
                      </a:lnTo>
                      <a:lnTo>
                        <a:pt x="252" y="712"/>
                      </a:lnTo>
                      <a:lnTo>
                        <a:pt x="290" y="724"/>
                      </a:lnTo>
                      <a:lnTo>
                        <a:pt x="326" y="734"/>
                      </a:lnTo>
                      <a:lnTo>
                        <a:pt x="362" y="738"/>
                      </a:lnTo>
                      <a:lnTo>
                        <a:pt x="398" y="740"/>
                      </a:lnTo>
                      <a:lnTo>
                        <a:pt x="430" y="738"/>
                      </a:lnTo>
                      <a:lnTo>
                        <a:pt x="462" y="736"/>
                      </a:lnTo>
                      <a:lnTo>
                        <a:pt x="492" y="730"/>
                      </a:lnTo>
                      <a:lnTo>
                        <a:pt x="520" y="722"/>
                      </a:lnTo>
                      <a:lnTo>
                        <a:pt x="548" y="714"/>
                      </a:lnTo>
                      <a:lnTo>
                        <a:pt x="574" y="704"/>
                      </a:lnTo>
                      <a:lnTo>
                        <a:pt x="598" y="692"/>
                      </a:lnTo>
                      <a:lnTo>
                        <a:pt x="620" y="680"/>
                      </a:lnTo>
                      <a:lnTo>
                        <a:pt x="636" y="668"/>
                      </a:lnTo>
                      <a:lnTo>
                        <a:pt x="666" y="642"/>
                      </a:lnTo>
                      <a:lnTo>
                        <a:pt x="692" y="618"/>
                      </a:lnTo>
                      <a:lnTo>
                        <a:pt x="716" y="592"/>
                      </a:lnTo>
                      <a:lnTo>
                        <a:pt x="736" y="564"/>
                      </a:lnTo>
                      <a:lnTo>
                        <a:pt x="752" y="538"/>
                      </a:lnTo>
                      <a:lnTo>
                        <a:pt x="766" y="510"/>
                      </a:lnTo>
                      <a:lnTo>
                        <a:pt x="778" y="482"/>
                      </a:lnTo>
                      <a:lnTo>
                        <a:pt x="786" y="452"/>
                      </a:lnTo>
                      <a:lnTo>
                        <a:pt x="790" y="416"/>
                      </a:lnTo>
                      <a:lnTo>
                        <a:pt x="792" y="378"/>
                      </a:lnTo>
                      <a:lnTo>
                        <a:pt x="792" y="336"/>
                      </a:lnTo>
                      <a:lnTo>
                        <a:pt x="786" y="292"/>
                      </a:lnTo>
                      <a:lnTo>
                        <a:pt x="780" y="254"/>
                      </a:lnTo>
                      <a:lnTo>
                        <a:pt x="772" y="218"/>
                      </a:lnTo>
                      <a:lnTo>
                        <a:pt x="756" y="174"/>
                      </a:lnTo>
                      <a:lnTo>
                        <a:pt x="740" y="132"/>
                      </a:lnTo>
                      <a:lnTo>
                        <a:pt x="718" y="88"/>
                      </a:lnTo>
                      <a:lnTo>
                        <a:pt x="696" y="46"/>
                      </a:lnTo>
                      <a:lnTo>
                        <a:pt x="672" y="12"/>
                      </a:lnTo>
                      <a:lnTo>
                        <a:pt x="664" y="0"/>
                      </a:lnTo>
                      <a:lnTo>
                        <a:pt x="662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>
                    <a:latin typeface="Calibri" pitchFamily="34" charset="0"/>
                  </a:endParaRPr>
                </a:p>
              </p:txBody>
            </p:sp>
            <p:sp>
              <p:nvSpPr>
                <p:cNvPr id="14359" name="Freeform 51"/>
                <p:cNvSpPr>
                  <a:spLocks noEditPoints="1"/>
                </p:cNvSpPr>
                <p:nvPr/>
              </p:nvSpPr>
              <p:spPr bwMode="auto">
                <a:xfrm rot="-831748">
                  <a:off x="7668333" y="3339984"/>
                  <a:ext cx="770723" cy="681027"/>
                </a:xfrm>
                <a:custGeom>
                  <a:avLst/>
                  <a:gdLst>
                    <a:gd name="T0" fmla="*/ 0 w 778"/>
                    <a:gd name="T1" fmla="*/ 2147483647 h 688"/>
                    <a:gd name="T2" fmla="*/ 0 w 778"/>
                    <a:gd name="T3" fmla="*/ 2147483647 h 688"/>
                    <a:gd name="T4" fmla="*/ 2147483647 w 778"/>
                    <a:gd name="T5" fmla="*/ 2147483647 h 688"/>
                    <a:gd name="T6" fmla="*/ 2147483647 w 778"/>
                    <a:gd name="T7" fmla="*/ 2147483647 h 688"/>
                    <a:gd name="T8" fmla="*/ 2147483647 w 778"/>
                    <a:gd name="T9" fmla="*/ 2147483647 h 688"/>
                    <a:gd name="T10" fmla="*/ 2147483647 w 778"/>
                    <a:gd name="T11" fmla="*/ 2147483647 h 688"/>
                    <a:gd name="T12" fmla="*/ 2147483647 w 778"/>
                    <a:gd name="T13" fmla="*/ 2147483647 h 688"/>
                    <a:gd name="T14" fmla="*/ 2147483647 w 778"/>
                    <a:gd name="T15" fmla="*/ 2147483647 h 688"/>
                    <a:gd name="T16" fmla="*/ 2147483647 w 778"/>
                    <a:gd name="T17" fmla="*/ 2147483647 h 688"/>
                    <a:gd name="T18" fmla="*/ 2147483647 w 778"/>
                    <a:gd name="T19" fmla="*/ 2147483647 h 688"/>
                    <a:gd name="T20" fmla="*/ 2147483647 w 778"/>
                    <a:gd name="T21" fmla="*/ 2147483647 h 688"/>
                    <a:gd name="T22" fmla="*/ 2147483647 w 778"/>
                    <a:gd name="T23" fmla="*/ 2147483647 h 688"/>
                    <a:gd name="T24" fmla="*/ 2147483647 w 778"/>
                    <a:gd name="T25" fmla="*/ 2147483647 h 688"/>
                    <a:gd name="T26" fmla="*/ 2147483647 w 778"/>
                    <a:gd name="T27" fmla="*/ 2147483647 h 688"/>
                    <a:gd name="T28" fmla="*/ 2147483647 w 778"/>
                    <a:gd name="T29" fmla="*/ 2147483647 h 688"/>
                    <a:gd name="T30" fmla="*/ 2147483647 w 778"/>
                    <a:gd name="T31" fmla="*/ 2147483647 h 688"/>
                    <a:gd name="T32" fmla="*/ 2147483647 w 778"/>
                    <a:gd name="T33" fmla="*/ 2147483647 h 688"/>
                    <a:gd name="T34" fmla="*/ 2147483647 w 778"/>
                    <a:gd name="T35" fmla="*/ 2147483647 h 688"/>
                    <a:gd name="T36" fmla="*/ 2147483647 w 778"/>
                    <a:gd name="T37" fmla="*/ 2147483647 h 688"/>
                    <a:gd name="T38" fmla="*/ 2147483647 w 778"/>
                    <a:gd name="T39" fmla="*/ 2147483647 h 688"/>
                    <a:gd name="T40" fmla="*/ 2147483647 w 778"/>
                    <a:gd name="T41" fmla="*/ 2147483647 h 688"/>
                    <a:gd name="T42" fmla="*/ 0 w 778"/>
                    <a:gd name="T43" fmla="*/ 2147483647 h 688"/>
                    <a:gd name="T44" fmla="*/ 2147483647 w 778"/>
                    <a:gd name="T45" fmla="*/ 2147483647 h 688"/>
                    <a:gd name="T46" fmla="*/ 2147483647 w 778"/>
                    <a:gd name="T47" fmla="*/ 2147483647 h 688"/>
                    <a:gd name="T48" fmla="*/ 2147483647 w 778"/>
                    <a:gd name="T49" fmla="*/ 2147483647 h 688"/>
                    <a:gd name="T50" fmla="*/ 2147483647 w 778"/>
                    <a:gd name="T51" fmla="*/ 2147483647 h 688"/>
                    <a:gd name="T52" fmla="*/ 2147483647 w 778"/>
                    <a:gd name="T53" fmla="*/ 2147483647 h 688"/>
                    <a:gd name="T54" fmla="*/ 2147483647 w 778"/>
                    <a:gd name="T55" fmla="*/ 2147483647 h 688"/>
                    <a:gd name="T56" fmla="*/ 2147483647 w 778"/>
                    <a:gd name="T57" fmla="*/ 2147483647 h 688"/>
                    <a:gd name="T58" fmla="*/ 2147483647 w 778"/>
                    <a:gd name="T59" fmla="*/ 2147483647 h 688"/>
                    <a:gd name="T60" fmla="*/ 2147483647 w 778"/>
                    <a:gd name="T61" fmla="*/ 2147483647 h 688"/>
                    <a:gd name="T62" fmla="*/ 2147483647 w 778"/>
                    <a:gd name="T63" fmla="*/ 2147483647 h 688"/>
                    <a:gd name="T64" fmla="*/ 2147483647 w 778"/>
                    <a:gd name="T65" fmla="*/ 2147483647 h 688"/>
                    <a:gd name="T66" fmla="*/ 2147483647 w 778"/>
                    <a:gd name="T67" fmla="*/ 2147483647 h 688"/>
                    <a:gd name="T68" fmla="*/ 2147483647 w 778"/>
                    <a:gd name="T69" fmla="*/ 2147483647 h 688"/>
                    <a:gd name="T70" fmla="*/ 2147483647 w 778"/>
                    <a:gd name="T71" fmla="*/ 2147483647 h 688"/>
                    <a:gd name="T72" fmla="*/ 2147483647 w 778"/>
                    <a:gd name="T73" fmla="*/ 2147483647 h 688"/>
                    <a:gd name="T74" fmla="*/ 2147483647 w 778"/>
                    <a:gd name="T75" fmla="*/ 2147483647 h 688"/>
                    <a:gd name="T76" fmla="*/ 2147483647 w 778"/>
                    <a:gd name="T77" fmla="*/ 2147483647 h 688"/>
                    <a:gd name="T78" fmla="*/ 2147483647 w 778"/>
                    <a:gd name="T79" fmla="*/ 2147483647 h 688"/>
                    <a:gd name="T80" fmla="*/ 2147483647 w 778"/>
                    <a:gd name="T81" fmla="*/ 2147483647 h 688"/>
                    <a:gd name="T82" fmla="*/ 2147483647 w 778"/>
                    <a:gd name="T83" fmla="*/ 2147483647 h 688"/>
                    <a:gd name="T84" fmla="*/ 2147483647 w 778"/>
                    <a:gd name="T85" fmla="*/ 2147483647 h 688"/>
                    <a:gd name="T86" fmla="*/ 2147483647 w 778"/>
                    <a:gd name="T87" fmla="*/ 2147483647 h 688"/>
                    <a:gd name="T88" fmla="*/ 2147483647 w 778"/>
                    <a:gd name="T89" fmla="*/ 2147483647 h 688"/>
                    <a:gd name="T90" fmla="*/ 2147483647 w 778"/>
                    <a:gd name="T91" fmla="*/ 2147483647 h 688"/>
                    <a:gd name="T92" fmla="*/ 2147483647 w 778"/>
                    <a:gd name="T93" fmla="*/ 0 h 688"/>
                    <a:gd name="T94" fmla="*/ 2147483647 w 778"/>
                    <a:gd name="T95" fmla="*/ 0 h 688"/>
                    <a:gd name="T96" fmla="*/ 2147483647 w 778"/>
                    <a:gd name="T97" fmla="*/ 2147483647 h 688"/>
                    <a:gd name="T98" fmla="*/ 2147483647 w 778"/>
                    <a:gd name="T99" fmla="*/ 2147483647 h 688"/>
                    <a:gd name="T100" fmla="*/ 2147483647 w 778"/>
                    <a:gd name="T101" fmla="*/ 2147483647 h 688"/>
                    <a:gd name="T102" fmla="*/ 2147483647 w 778"/>
                    <a:gd name="T103" fmla="*/ 2147483647 h 688"/>
                    <a:gd name="T104" fmla="*/ 2147483647 w 778"/>
                    <a:gd name="T105" fmla="*/ 2147483647 h 688"/>
                    <a:gd name="T106" fmla="*/ 2147483647 w 778"/>
                    <a:gd name="T107" fmla="*/ 2147483647 h 688"/>
                    <a:gd name="T108" fmla="*/ 2147483647 w 778"/>
                    <a:gd name="T109" fmla="*/ 2147483647 h 688"/>
                    <a:gd name="T110" fmla="*/ 2147483647 w 778"/>
                    <a:gd name="T111" fmla="*/ 2147483647 h 688"/>
                    <a:gd name="T112" fmla="*/ 2147483647 w 778"/>
                    <a:gd name="T113" fmla="*/ 2147483647 h 688"/>
                    <a:gd name="T114" fmla="*/ 2147483647 w 778"/>
                    <a:gd name="T115" fmla="*/ 0 h 688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778"/>
                    <a:gd name="T175" fmla="*/ 0 h 688"/>
                    <a:gd name="T176" fmla="*/ 778 w 778"/>
                    <a:gd name="T177" fmla="*/ 688 h 688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778" h="688">
                      <a:moveTo>
                        <a:pt x="0" y="520"/>
                      </a:moveTo>
                      <a:lnTo>
                        <a:pt x="0" y="520"/>
                      </a:lnTo>
                      <a:lnTo>
                        <a:pt x="18" y="536"/>
                      </a:lnTo>
                      <a:lnTo>
                        <a:pt x="52" y="562"/>
                      </a:lnTo>
                      <a:lnTo>
                        <a:pt x="106" y="596"/>
                      </a:lnTo>
                      <a:lnTo>
                        <a:pt x="186" y="642"/>
                      </a:lnTo>
                      <a:lnTo>
                        <a:pt x="218" y="658"/>
                      </a:lnTo>
                      <a:lnTo>
                        <a:pt x="252" y="672"/>
                      </a:lnTo>
                      <a:lnTo>
                        <a:pt x="286" y="682"/>
                      </a:lnTo>
                      <a:lnTo>
                        <a:pt x="318" y="688"/>
                      </a:lnTo>
                      <a:lnTo>
                        <a:pt x="282" y="678"/>
                      </a:lnTo>
                      <a:lnTo>
                        <a:pt x="244" y="666"/>
                      </a:lnTo>
                      <a:lnTo>
                        <a:pt x="208" y="650"/>
                      </a:lnTo>
                      <a:lnTo>
                        <a:pt x="170" y="632"/>
                      </a:lnTo>
                      <a:lnTo>
                        <a:pt x="134" y="612"/>
                      </a:lnTo>
                      <a:lnTo>
                        <a:pt x="98" y="590"/>
                      </a:lnTo>
                      <a:lnTo>
                        <a:pt x="62" y="566"/>
                      </a:lnTo>
                      <a:lnTo>
                        <a:pt x="28" y="540"/>
                      </a:lnTo>
                      <a:lnTo>
                        <a:pt x="0" y="520"/>
                      </a:lnTo>
                      <a:close/>
                      <a:moveTo>
                        <a:pt x="778" y="406"/>
                      </a:moveTo>
                      <a:lnTo>
                        <a:pt x="778" y="406"/>
                      </a:lnTo>
                      <a:lnTo>
                        <a:pt x="770" y="436"/>
                      </a:lnTo>
                      <a:lnTo>
                        <a:pt x="758" y="464"/>
                      </a:lnTo>
                      <a:lnTo>
                        <a:pt x="744" y="492"/>
                      </a:lnTo>
                      <a:lnTo>
                        <a:pt x="728" y="518"/>
                      </a:lnTo>
                      <a:lnTo>
                        <a:pt x="708" y="546"/>
                      </a:lnTo>
                      <a:lnTo>
                        <a:pt x="684" y="572"/>
                      </a:lnTo>
                      <a:lnTo>
                        <a:pt x="658" y="596"/>
                      </a:lnTo>
                      <a:lnTo>
                        <a:pt x="628" y="622"/>
                      </a:lnTo>
                      <a:lnTo>
                        <a:pt x="612" y="634"/>
                      </a:lnTo>
                      <a:lnTo>
                        <a:pt x="634" y="620"/>
                      </a:lnTo>
                      <a:lnTo>
                        <a:pt x="652" y="606"/>
                      </a:lnTo>
                      <a:lnTo>
                        <a:pt x="674" y="586"/>
                      </a:lnTo>
                      <a:lnTo>
                        <a:pt x="696" y="566"/>
                      </a:lnTo>
                      <a:lnTo>
                        <a:pt x="714" y="544"/>
                      </a:lnTo>
                      <a:lnTo>
                        <a:pt x="732" y="520"/>
                      </a:lnTo>
                      <a:lnTo>
                        <a:pt x="746" y="494"/>
                      </a:lnTo>
                      <a:lnTo>
                        <a:pt x="760" y="468"/>
                      </a:lnTo>
                      <a:lnTo>
                        <a:pt x="770" y="438"/>
                      </a:lnTo>
                      <a:lnTo>
                        <a:pt x="778" y="406"/>
                      </a:lnTo>
                      <a:close/>
                      <a:moveTo>
                        <a:pt x="688" y="0"/>
                      </a:moveTo>
                      <a:lnTo>
                        <a:pt x="688" y="0"/>
                      </a:lnTo>
                      <a:lnTo>
                        <a:pt x="710" y="42"/>
                      </a:lnTo>
                      <a:lnTo>
                        <a:pt x="732" y="86"/>
                      </a:lnTo>
                      <a:lnTo>
                        <a:pt x="748" y="128"/>
                      </a:lnTo>
                      <a:lnTo>
                        <a:pt x="764" y="172"/>
                      </a:lnTo>
                      <a:lnTo>
                        <a:pt x="756" y="144"/>
                      </a:lnTo>
                      <a:lnTo>
                        <a:pt x="746" y="118"/>
                      </a:lnTo>
                      <a:lnTo>
                        <a:pt x="726" y="72"/>
                      </a:lnTo>
                      <a:lnTo>
                        <a:pt x="708" y="32"/>
                      </a:lnTo>
                      <a:lnTo>
                        <a:pt x="688" y="0"/>
                      </a:lnTo>
                      <a:close/>
                    </a:path>
                  </a:pathLst>
                </a:custGeom>
                <a:solidFill>
                  <a:srgbClr val="A2A4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>
                    <a:latin typeface="Calibri" pitchFamily="34" charset="0"/>
                  </a:endParaRPr>
                </a:p>
              </p:txBody>
            </p:sp>
            <p:sp>
              <p:nvSpPr>
                <p:cNvPr id="14360" name="Freeform 52"/>
                <p:cNvSpPr>
                  <a:spLocks/>
                </p:cNvSpPr>
                <p:nvPr/>
              </p:nvSpPr>
              <p:spPr bwMode="auto">
                <a:xfrm rot="-831748">
                  <a:off x="7736703" y="3901608"/>
                  <a:ext cx="315026" cy="166298"/>
                </a:xfrm>
                <a:custGeom>
                  <a:avLst/>
                  <a:gdLst>
                    <a:gd name="T0" fmla="*/ 0 w 318"/>
                    <a:gd name="T1" fmla="*/ 0 h 168"/>
                    <a:gd name="T2" fmla="*/ 0 w 318"/>
                    <a:gd name="T3" fmla="*/ 0 h 168"/>
                    <a:gd name="T4" fmla="*/ 2147483647 w 318"/>
                    <a:gd name="T5" fmla="*/ 2147483647 h 168"/>
                    <a:gd name="T6" fmla="*/ 2147483647 w 318"/>
                    <a:gd name="T7" fmla="*/ 2147483647 h 168"/>
                    <a:gd name="T8" fmla="*/ 2147483647 w 318"/>
                    <a:gd name="T9" fmla="*/ 2147483647 h 168"/>
                    <a:gd name="T10" fmla="*/ 2147483647 w 318"/>
                    <a:gd name="T11" fmla="*/ 2147483647 h 168"/>
                    <a:gd name="T12" fmla="*/ 2147483647 w 318"/>
                    <a:gd name="T13" fmla="*/ 2147483647 h 168"/>
                    <a:gd name="T14" fmla="*/ 2147483647 w 318"/>
                    <a:gd name="T15" fmla="*/ 2147483647 h 168"/>
                    <a:gd name="T16" fmla="*/ 2147483647 w 318"/>
                    <a:gd name="T17" fmla="*/ 2147483647 h 168"/>
                    <a:gd name="T18" fmla="*/ 2147483647 w 318"/>
                    <a:gd name="T19" fmla="*/ 2147483647 h 168"/>
                    <a:gd name="T20" fmla="*/ 2147483647 w 318"/>
                    <a:gd name="T21" fmla="*/ 2147483647 h 168"/>
                    <a:gd name="T22" fmla="*/ 2147483647 w 318"/>
                    <a:gd name="T23" fmla="*/ 2147483647 h 168"/>
                    <a:gd name="T24" fmla="*/ 2147483647 w 318"/>
                    <a:gd name="T25" fmla="*/ 2147483647 h 168"/>
                    <a:gd name="T26" fmla="*/ 2147483647 w 318"/>
                    <a:gd name="T27" fmla="*/ 2147483647 h 168"/>
                    <a:gd name="T28" fmla="*/ 2147483647 w 318"/>
                    <a:gd name="T29" fmla="*/ 2147483647 h 168"/>
                    <a:gd name="T30" fmla="*/ 2147483647 w 318"/>
                    <a:gd name="T31" fmla="*/ 2147483647 h 168"/>
                    <a:gd name="T32" fmla="*/ 2147483647 w 318"/>
                    <a:gd name="T33" fmla="*/ 2147483647 h 168"/>
                    <a:gd name="T34" fmla="*/ 2147483647 w 318"/>
                    <a:gd name="T35" fmla="*/ 2147483647 h 168"/>
                    <a:gd name="T36" fmla="*/ 2147483647 w 318"/>
                    <a:gd name="T37" fmla="*/ 2147483647 h 168"/>
                    <a:gd name="T38" fmla="*/ 2147483647 w 318"/>
                    <a:gd name="T39" fmla="*/ 2147483647 h 168"/>
                    <a:gd name="T40" fmla="*/ 2147483647 w 318"/>
                    <a:gd name="T41" fmla="*/ 2147483647 h 168"/>
                    <a:gd name="T42" fmla="*/ 0 w 318"/>
                    <a:gd name="T43" fmla="*/ 0 h 168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318"/>
                    <a:gd name="T67" fmla="*/ 0 h 168"/>
                    <a:gd name="T68" fmla="*/ 318 w 318"/>
                    <a:gd name="T69" fmla="*/ 168 h 168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318" h="168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8" y="16"/>
                      </a:lnTo>
                      <a:lnTo>
                        <a:pt x="52" y="42"/>
                      </a:lnTo>
                      <a:lnTo>
                        <a:pt x="106" y="76"/>
                      </a:lnTo>
                      <a:lnTo>
                        <a:pt x="186" y="122"/>
                      </a:lnTo>
                      <a:lnTo>
                        <a:pt x="218" y="138"/>
                      </a:lnTo>
                      <a:lnTo>
                        <a:pt x="252" y="152"/>
                      </a:lnTo>
                      <a:lnTo>
                        <a:pt x="286" y="162"/>
                      </a:lnTo>
                      <a:lnTo>
                        <a:pt x="318" y="168"/>
                      </a:lnTo>
                      <a:lnTo>
                        <a:pt x="282" y="158"/>
                      </a:lnTo>
                      <a:lnTo>
                        <a:pt x="244" y="146"/>
                      </a:lnTo>
                      <a:lnTo>
                        <a:pt x="208" y="130"/>
                      </a:lnTo>
                      <a:lnTo>
                        <a:pt x="170" y="112"/>
                      </a:lnTo>
                      <a:lnTo>
                        <a:pt x="134" y="92"/>
                      </a:lnTo>
                      <a:lnTo>
                        <a:pt x="98" y="70"/>
                      </a:lnTo>
                      <a:lnTo>
                        <a:pt x="62" y="46"/>
                      </a:lnTo>
                      <a:lnTo>
                        <a:pt x="28" y="2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>
                    <a:latin typeface="Calibri" pitchFamily="34" charset="0"/>
                  </a:endParaRPr>
                </a:p>
              </p:txBody>
            </p:sp>
            <p:sp>
              <p:nvSpPr>
                <p:cNvPr id="22" name="Freeform 55"/>
                <p:cNvSpPr>
                  <a:spLocks/>
                </p:cNvSpPr>
                <p:nvPr/>
              </p:nvSpPr>
              <p:spPr bwMode="auto">
                <a:xfrm rot="20768252">
                  <a:off x="7279247" y="3043800"/>
                  <a:ext cx="692050" cy="608676"/>
                </a:xfrm>
                <a:custGeom>
                  <a:avLst/>
                  <a:gdLst>
                    <a:gd name="T0" fmla="*/ 0 w 700"/>
                    <a:gd name="T1" fmla="*/ 2147483647 h 616"/>
                    <a:gd name="T2" fmla="*/ 0 w 700"/>
                    <a:gd name="T3" fmla="*/ 2147483647 h 616"/>
                    <a:gd name="T4" fmla="*/ 2147483647 w 700"/>
                    <a:gd name="T5" fmla="*/ 2147483647 h 616"/>
                    <a:gd name="T6" fmla="*/ 2147483647 w 700"/>
                    <a:gd name="T7" fmla="*/ 2147483647 h 616"/>
                    <a:gd name="T8" fmla="*/ 2147483647 w 700"/>
                    <a:gd name="T9" fmla="*/ 2147483647 h 616"/>
                    <a:gd name="T10" fmla="*/ 2147483647 w 700"/>
                    <a:gd name="T11" fmla="*/ 2147483647 h 616"/>
                    <a:gd name="T12" fmla="*/ 2147483647 w 700"/>
                    <a:gd name="T13" fmla="*/ 2147483647 h 616"/>
                    <a:gd name="T14" fmla="*/ 2147483647 w 700"/>
                    <a:gd name="T15" fmla="*/ 2147483647 h 616"/>
                    <a:gd name="T16" fmla="*/ 2147483647 w 700"/>
                    <a:gd name="T17" fmla="*/ 2147483647 h 616"/>
                    <a:gd name="T18" fmla="*/ 2147483647 w 700"/>
                    <a:gd name="T19" fmla="*/ 2147483647 h 616"/>
                    <a:gd name="T20" fmla="*/ 2147483647 w 700"/>
                    <a:gd name="T21" fmla="*/ 2147483647 h 616"/>
                    <a:gd name="T22" fmla="*/ 2147483647 w 700"/>
                    <a:gd name="T23" fmla="*/ 2147483647 h 616"/>
                    <a:gd name="T24" fmla="*/ 2147483647 w 700"/>
                    <a:gd name="T25" fmla="*/ 2147483647 h 616"/>
                    <a:gd name="T26" fmla="*/ 2147483647 w 700"/>
                    <a:gd name="T27" fmla="*/ 2147483647 h 616"/>
                    <a:gd name="T28" fmla="*/ 2147483647 w 700"/>
                    <a:gd name="T29" fmla="*/ 0 h 616"/>
                    <a:gd name="T30" fmla="*/ 2147483647 w 700"/>
                    <a:gd name="T31" fmla="*/ 2147483647 h 616"/>
                    <a:gd name="T32" fmla="*/ 2147483647 w 700"/>
                    <a:gd name="T33" fmla="*/ 2147483647 h 616"/>
                    <a:gd name="T34" fmla="*/ 2147483647 w 700"/>
                    <a:gd name="T35" fmla="*/ 2147483647 h 616"/>
                    <a:gd name="T36" fmla="*/ 2147483647 w 700"/>
                    <a:gd name="T37" fmla="*/ 2147483647 h 616"/>
                    <a:gd name="T38" fmla="*/ 2147483647 w 700"/>
                    <a:gd name="T39" fmla="*/ 2147483647 h 616"/>
                    <a:gd name="T40" fmla="*/ 2147483647 w 700"/>
                    <a:gd name="T41" fmla="*/ 2147483647 h 616"/>
                    <a:gd name="T42" fmla="*/ 2147483647 w 700"/>
                    <a:gd name="T43" fmla="*/ 2147483647 h 616"/>
                    <a:gd name="T44" fmla="*/ 2147483647 w 700"/>
                    <a:gd name="T45" fmla="*/ 2147483647 h 616"/>
                    <a:gd name="T46" fmla="*/ 2147483647 w 700"/>
                    <a:gd name="T47" fmla="*/ 2147483647 h 616"/>
                    <a:gd name="T48" fmla="*/ 2147483647 w 700"/>
                    <a:gd name="T49" fmla="*/ 2147483647 h 616"/>
                    <a:gd name="T50" fmla="*/ 2147483647 w 700"/>
                    <a:gd name="T51" fmla="*/ 2147483647 h 616"/>
                    <a:gd name="T52" fmla="*/ 2147483647 w 700"/>
                    <a:gd name="T53" fmla="*/ 2147483647 h 616"/>
                    <a:gd name="T54" fmla="*/ 2147483647 w 700"/>
                    <a:gd name="T55" fmla="*/ 2147483647 h 616"/>
                    <a:gd name="T56" fmla="*/ 2147483647 w 700"/>
                    <a:gd name="T57" fmla="*/ 2147483647 h 616"/>
                    <a:gd name="T58" fmla="*/ 2147483647 w 700"/>
                    <a:gd name="T59" fmla="*/ 2147483647 h 616"/>
                    <a:gd name="T60" fmla="*/ 0 w 700"/>
                    <a:gd name="T61" fmla="*/ 2147483647 h 61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700"/>
                    <a:gd name="T94" fmla="*/ 0 h 616"/>
                    <a:gd name="T95" fmla="*/ 700 w 700"/>
                    <a:gd name="T96" fmla="*/ 616 h 61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700" h="616">
                      <a:moveTo>
                        <a:pt x="0" y="604"/>
                      </a:moveTo>
                      <a:lnTo>
                        <a:pt x="0" y="604"/>
                      </a:lnTo>
                      <a:lnTo>
                        <a:pt x="32" y="570"/>
                      </a:lnTo>
                      <a:lnTo>
                        <a:pt x="110" y="484"/>
                      </a:lnTo>
                      <a:lnTo>
                        <a:pt x="162" y="432"/>
                      </a:lnTo>
                      <a:lnTo>
                        <a:pt x="218" y="376"/>
                      </a:lnTo>
                      <a:lnTo>
                        <a:pt x="274" y="322"/>
                      </a:lnTo>
                      <a:lnTo>
                        <a:pt x="330" y="272"/>
                      </a:lnTo>
                      <a:lnTo>
                        <a:pt x="440" y="180"/>
                      </a:lnTo>
                      <a:lnTo>
                        <a:pt x="544" y="96"/>
                      </a:lnTo>
                      <a:lnTo>
                        <a:pt x="592" y="60"/>
                      </a:lnTo>
                      <a:lnTo>
                        <a:pt x="632" y="32"/>
                      </a:lnTo>
                      <a:lnTo>
                        <a:pt x="666" y="12"/>
                      </a:lnTo>
                      <a:lnTo>
                        <a:pt x="690" y="0"/>
                      </a:lnTo>
                      <a:lnTo>
                        <a:pt x="700" y="12"/>
                      </a:lnTo>
                      <a:lnTo>
                        <a:pt x="664" y="36"/>
                      </a:lnTo>
                      <a:lnTo>
                        <a:pt x="574" y="100"/>
                      </a:lnTo>
                      <a:lnTo>
                        <a:pt x="518" y="142"/>
                      </a:lnTo>
                      <a:lnTo>
                        <a:pt x="460" y="188"/>
                      </a:lnTo>
                      <a:lnTo>
                        <a:pt x="400" y="236"/>
                      </a:lnTo>
                      <a:lnTo>
                        <a:pt x="342" y="286"/>
                      </a:lnTo>
                      <a:lnTo>
                        <a:pt x="288" y="336"/>
                      </a:lnTo>
                      <a:lnTo>
                        <a:pt x="232" y="388"/>
                      </a:lnTo>
                      <a:lnTo>
                        <a:pt x="130" y="490"/>
                      </a:lnTo>
                      <a:lnTo>
                        <a:pt x="52" y="572"/>
                      </a:lnTo>
                      <a:lnTo>
                        <a:pt x="26" y="600"/>
                      </a:lnTo>
                      <a:lnTo>
                        <a:pt x="14" y="616"/>
                      </a:lnTo>
                      <a:lnTo>
                        <a:pt x="0" y="604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" name="Freeform 56"/>
                <p:cNvSpPr>
                  <a:spLocks/>
                </p:cNvSpPr>
                <p:nvPr/>
              </p:nvSpPr>
              <p:spPr bwMode="auto">
                <a:xfrm rot="20768252">
                  <a:off x="7251104" y="3056152"/>
                  <a:ext cx="310782" cy="336374"/>
                </a:xfrm>
                <a:custGeom>
                  <a:avLst/>
                  <a:gdLst>
                    <a:gd name="T0" fmla="*/ 0 w 314"/>
                    <a:gd name="T1" fmla="*/ 2147483647 h 342"/>
                    <a:gd name="T2" fmla="*/ 0 w 314"/>
                    <a:gd name="T3" fmla="*/ 2147483647 h 342"/>
                    <a:gd name="T4" fmla="*/ 2147483647 w 314"/>
                    <a:gd name="T5" fmla="*/ 2147483647 h 342"/>
                    <a:gd name="T6" fmla="*/ 2147483647 w 314"/>
                    <a:gd name="T7" fmla="*/ 2147483647 h 342"/>
                    <a:gd name="T8" fmla="*/ 2147483647 w 314"/>
                    <a:gd name="T9" fmla="*/ 2147483647 h 342"/>
                    <a:gd name="T10" fmla="*/ 2147483647 w 314"/>
                    <a:gd name="T11" fmla="*/ 2147483647 h 342"/>
                    <a:gd name="T12" fmla="*/ 2147483647 w 314"/>
                    <a:gd name="T13" fmla="*/ 2147483647 h 342"/>
                    <a:gd name="T14" fmla="*/ 2147483647 w 314"/>
                    <a:gd name="T15" fmla="*/ 2147483647 h 342"/>
                    <a:gd name="T16" fmla="*/ 2147483647 w 314"/>
                    <a:gd name="T17" fmla="*/ 0 h 342"/>
                    <a:gd name="T18" fmla="*/ 0 w 314"/>
                    <a:gd name="T19" fmla="*/ 2147483647 h 34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14"/>
                    <a:gd name="T31" fmla="*/ 0 h 342"/>
                    <a:gd name="T32" fmla="*/ 314 w 314"/>
                    <a:gd name="T33" fmla="*/ 342 h 34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14" h="342">
                      <a:moveTo>
                        <a:pt x="0" y="16"/>
                      </a:moveTo>
                      <a:lnTo>
                        <a:pt x="0" y="16"/>
                      </a:lnTo>
                      <a:lnTo>
                        <a:pt x="298" y="342"/>
                      </a:lnTo>
                      <a:lnTo>
                        <a:pt x="314" y="328"/>
                      </a:lnTo>
                      <a:lnTo>
                        <a:pt x="170" y="168"/>
                      </a:lnTo>
                      <a:lnTo>
                        <a:pt x="68" y="56"/>
                      </a:lnTo>
                      <a:lnTo>
                        <a:pt x="32" y="18"/>
                      </a:lnTo>
                      <a:lnTo>
                        <a:pt x="14" y="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" name="Freeform 57"/>
                <p:cNvSpPr>
                  <a:spLocks/>
                </p:cNvSpPr>
                <p:nvPr/>
              </p:nvSpPr>
              <p:spPr bwMode="auto">
                <a:xfrm rot="20768252">
                  <a:off x="7279814" y="3012727"/>
                  <a:ext cx="308646" cy="340645"/>
                </a:xfrm>
                <a:custGeom>
                  <a:avLst/>
                  <a:gdLst>
                    <a:gd name="T0" fmla="*/ 0 w 312"/>
                    <a:gd name="T1" fmla="*/ 2147483647 h 342"/>
                    <a:gd name="T2" fmla="*/ 0 w 312"/>
                    <a:gd name="T3" fmla="*/ 2147483647 h 342"/>
                    <a:gd name="T4" fmla="*/ 2147483647 w 312"/>
                    <a:gd name="T5" fmla="*/ 2147483647 h 342"/>
                    <a:gd name="T6" fmla="*/ 2147483647 w 312"/>
                    <a:gd name="T7" fmla="*/ 2147483647 h 342"/>
                    <a:gd name="T8" fmla="*/ 2147483647 w 312"/>
                    <a:gd name="T9" fmla="*/ 2147483647 h 342"/>
                    <a:gd name="T10" fmla="*/ 2147483647 w 312"/>
                    <a:gd name="T11" fmla="*/ 2147483647 h 342"/>
                    <a:gd name="T12" fmla="*/ 2147483647 w 312"/>
                    <a:gd name="T13" fmla="*/ 2147483647 h 342"/>
                    <a:gd name="T14" fmla="*/ 2147483647 w 312"/>
                    <a:gd name="T15" fmla="*/ 2147483647 h 342"/>
                    <a:gd name="T16" fmla="*/ 2147483647 w 312"/>
                    <a:gd name="T17" fmla="*/ 0 h 342"/>
                    <a:gd name="T18" fmla="*/ 0 w 312"/>
                    <a:gd name="T19" fmla="*/ 2147483647 h 34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12"/>
                    <a:gd name="T31" fmla="*/ 0 h 342"/>
                    <a:gd name="T32" fmla="*/ 312 w 312"/>
                    <a:gd name="T33" fmla="*/ 342 h 34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12" h="342">
                      <a:moveTo>
                        <a:pt x="0" y="12"/>
                      </a:moveTo>
                      <a:lnTo>
                        <a:pt x="0" y="12"/>
                      </a:lnTo>
                      <a:lnTo>
                        <a:pt x="296" y="342"/>
                      </a:lnTo>
                      <a:lnTo>
                        <a:pt x="312" y="326"/>
                      </a:lnTo>
                      <a:lnTo>
                        <a:pt x="170" y="166"/>
                      </a:lnTo>
                      <a:lnTo>
                        <a:pt x="68" y="54"/>
                      </a:lnTo>
                      <a:lnTo>
                        <a:pt x="32" y="16"/>
                      </a:lnTo>
                      <a:lnTo>
                        <a:pt x="14" y="0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4364" name="Freeform 58"/>
                <p:cNvSpPr>
                  <a:spLocks/>
                </p:cNvSpPr>
                <p:nvPr/>
              </p:nvSpPr>
              <p:spPr bwMode="auto">
                <a:xfrm rot="-831748">
                  <a:off x="7411096" y="3122903"/>
                  <a:ext cx="465603" cy="409804"/>
                </a:xfrm>
                <a:custGeom>
                  <a:avLst/>
                  <a:gdLst>
                    <a:gd name="T0" fmla="*/ 0 w 470"/>
                    <a:gd name="T1" fmla="*/ 2147483647 h 414"/>
                    <a:gd name="T2" fmla="*/ 0 w 470"/>
                    <a:gd name="T3" fmla="*/ 2147483647 h 414"/>
                    <a:gd name="T4" fmla="*/ 2147483647 w 470"/>
                    <a:gd name="T5" fmla="*/ 2147483647 h 414"/>
                    <a:gd name="T6" fmla="*/ 2147483647 w 470"/>
                    <a:gd name="T7" fmla="*/ 2147483647 h 414"/>
                    <a:gd name="T8" fmla="*/ 2147483647 w 470"/>
                    <a:gd name="T9" fmla="*/ 2147483647 h 414"/>
                    <a:gd name="T10" fmla="*/ 2147483647 w 470"/>
                    <a:gd name="T11" fmla="*/ 2147483647 h 414"/>
                    <a:gd name="T12" fmla="*/ 2147483647 w 470"/>
                    <a:gd name="T13" fmla="*/ 2147483647 h 414"/>
                    <a:gd name="T14" fmla="*/ 2147483647 w 470"/>
                    <a:gd name="T15" fmla="*/ 2147483647 h 414"/>
                    <a:gd name="T16" fmla="*/ 2147483647 w 470"/>
                    <a:gd name="T17" fmla="*/ 2147483647 h 414"/>
                    <a:gd name="T18" fmla="*/ 2147483647 w 470"/>
                    <a:gd name="T19" fmla="*/ 2147483647 h 414"/>
                    <a:gd name="T20" fmla="*/ 2147483647 w 470"/>
                    <a:gd name="T21" fmla="*/ 0 h 414"/>
                    <a:gd name="T22" fmla="*/ 2147483647 w 470"/>
                    <a:gd name="T23" fmla="*/ 0 h 414"/>
                    <a:gd name="T24" fmla="*/ 2147483647 w 470"/>
                    <a:gd name="T25" fmla="*/ 2147483647 h 414"/>
                    <a:gd name="T26" fmla="*/ 2147483647 w 470"/>
                    <a:gd name="T27" fmla="*/ 2147483647 h 414"/>
                    <a:gd name="T28" fmla="*/ 0 w 470"/>
                    <a:gd name="T29" fmla="*/ 2147483647 h 414"/>
                    <a:gd name="T30" fmla="*/ 0 w 470"/>
                    <a:gd name="T31" fmla="*/ 2147483647 h 41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470"/>
                    <a:gd name="T49" fmla="*/ 0 h 414"/>
                    <a:gd name="T50" fmla="*/ 470 w 470"/>
                    <a:gd name="T51" fmla="*/ 414 h 414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470" h="414">
                      <a:moveTo>
                        <a:pt x="0" y="414"/>
                      </a:moveTo>
                      <a:lnTo>
                        <a:pt x="0" y="414"/>
                      </a:lnTo>
                      <a:lnTo>
                        <a:pt x="38" y="374"/>
                      </a:lnTo>
                      <a:lnTo>
                        <a:pt x="82" y="328"/>
                      </a:lnTo>
                      <a:lnTo>
                        <a:pt x="140" y="272"/>
                      </a:lnTo>
                      <a:lnTo>
                        <a:pt x="212" y="206"/>
                      </a:lnTo>
                      <a:lnTo>
                        <a:pt x="290" y="138"/>
                      </a:lnTo>
                      <a:lnTo>
                        <a:pt x="334" y="102"/>
                      </a:lnTo>
                      <a:lnTo>
                        <a:pt x="378" y="68"/>
                      </a:lnTo>
                      <a:lnTo>
                        <a:pt x="422" y="34"/>
                      </a:lnTo>
                      <a:lnTo>
                        <a:pt x="470" y="0"/>
                      </a:lnTo>
                      <a:lnTo>
                        <a:pt x="238" y="206"/>
                      </a:lnTo>
                      <a:lnTo>
                        <a:pt x="76" y="348"/>
                      </a:lnTo>
                      <a:lnTo>
                        <a:pt x="0" y="414"/>
                      </a:lnTo>
                      <a:close/>
                    </a:path>
                  </a:pathLst>
                </a:custGeom>
                <a:solidFill>
                  <a:srgbClr val="FFFFFF">
                    <a:alpha val="27843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>
                    <a:latin typeface="Calibri" pitchFamily="34" charset="0"/>
                  </a:endParaRPr>
                </a:p>
              </p:txBody>
            </p:sp>
            <p:sp>
              <p:nvSpPr>
                <p:cNvPr id="26" name="Pie 25"/>
                <p:cNvSpPr/>
                <p:nvPr/>
              </p:nvSpPr>
              <p:spPr bwMode="auto">
                <a:xfrm rot="18287399" flipH="1">
                  <a:off x="7191040" y="2877335"/>
                  <a:ext cx="844671" cy="849042"/>
                </a:xfrm>
                <a:prstGeom prst="pie">
                  <a:avLst>
                    <a:gd name="adj1" fmla="val 10608056"/>
                    <a:gd name="adj2" fmla="val 16200000"/>
                  </a:avLst>
                </a:prstGeom>
                <a:gradFill flip="none" rotWithShape="1">
                  <a:gsLst>
                    <a:gs pos="42000">
                      <a:schemeClr val="bg1">
                        <a:lumMod val="75000"/>
                      </a:schemeClr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2100000" scaled="0"/>
                  <a:tileRect/>
                </a:gradFill>
                <a:ln>
                  <a:solidFill>
                    <a:schemeClr val="bg1">
                      <a:lumMod val="65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ea typeface="ＭＳ Ｐゴシック" pitchFamily="34" charset="-128"/>
                  </a:endParaRPr>
                </a:p>
              </p:txBody>
            </p:sp>
            <p:sp>
              <p:nvSpPr>
                <p:cNvPr id="14366" name="Ellipse 45"/>
                <p:cNvSpPr>
                  <a:spLocks noChangeArrowheads="1"/>
                </p:cNvSpPr>
                <p:nvPr/>
              </p:nvSpPr>
              <p:spPr bwMode="auto">
                <a:xfrm rot="-3260816">
                  <a:off x="7124137" y="2919436"/>
                  <a:ext cx="858362" cy="743619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FFFCF9">
                        <a:alpha val="29999"/>
                      </a:srgbClr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 lang="da-DK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</p:grpSp>
        </p:grpSp>
      </p:grp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Replace this text</a:t>
            </a:r>
          </a:p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39" name="Slide Number Placeholder 3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125C11E9-EA40-D54F-953A-82A4C72DAAAD}" type="slidenum">
              <a:rPr lang="en-US" smtClean="0">
                <a:latin typeface="+mn-lt"/>
              </a:rPr>
              <a:t>13</a:t>
            </a:fld>
            <a:r>
              <a:rPr lang="en-US" smtClean="0">
                <a:latin typeface="+mn-lt"/>
              </a:rPr>
              <a:t> I</a:t>
            </a:r>
            <a:endParaRPr lang="en-US" dirty="0">
              <a:latin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CIAL MEDIA</a:t>
            </a:r>
          </a:p>
        </p:txBody>
      </p:sp>
      <p:sp>
        <p:nvSpPr>
          <p:cNvPr id="45" name="Rektangel 76"/>
          <p:cNvSpPr>
            <a:spLocks noChangeArrowheads="1"/>
          </p:cNvSpPr>
          <p:nvPr/>
        </p:nvSpPr>
        <p:spPr bwMode="auto">
          <a:xfrm>
            <a:off x="1112838" y="5157192"/>
            <a:ext cx="2209800" cy="9079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300" b="1" noProof="1">
                <a:latin typeface="Calibri" pitchFamily="34" charset="0"/>
                <a:cs typeface="Arial" pitchFamily="34" charset="0"/>
              </a:rPr>
              <a:t>Example text</a:t>
            </a:r>
          </a:p>
          <a:p>
            <a:r>
              <a:rPr lang="en-US" sz="1100" noProof="1">
                <a:latin typeface="Calibri" pitchFamily="34" charset="0"/>
                <a:cs typeface="Arial" pitchFamily="34" charset="0"/>
              </a:rPr>
              <a:t>Go ahead and replace it with your own text. This is an example text. </a:t>
            </a:r>
            <a:endParaRPr lang="da-DK" sz="1100">
              <a:latin typeface="Calibri" pitchFamily="34" charset="0"/>
            </a:endParaRPr>
          </a:p>
          <a:p>
            <a:endParaRPr lang="da-DK">
              <a:latin typeface="Calibri" pitchFamily="34" charset="0"/>
            </a:endParaRPr>
          </a:p>
        </p:txBody>
      </p:sp>
      <p:grpSp>
        <p:nvGrpSpPr>
          <p:cNvPr id="49" name="Group 19"/>
          <p:cNvGrpSpPr>
            <a:grpSpLocks/>
          </p:cNvGrpSpPr>
          <p:nvPr/>
        </p:nvGrpSpPr>
        <p:grpSpPr bwMode="auto">
          <a:xfrm>
            <a:off x="808038" y="5246092"/>
            <a:ext cx="250825" cy="250825"/>
            <a:chOff x="530225" y="5016500"/>
            <a:chExt cx="393700" cy="393700"/>
          </a:xfrm>
        </p:grpSpPr>
        <p:sp>
          <p:nvSpPr>
            <p:cNvPr id="52" name="Oval 51"/>
            <p:cNvSpPr/>
            <p:nvPr/>
          </p:nvSpPr>
          <p:spPr>
            <a:xfrm>
              <a:off x="530225" y="5016500"/>
              <a:ext cx="393700" cy="393700"/>
            </a:xfrm>
            <a:prstGeom prst="ellipse">
              <a:avLst/>
            </a:prstGeom>
            <a:noFill/>
            <a:ln w="9525" cap="flat" cmpd="sng" algn="ctr">
              <a:solidFill>
                <a:schemeClr val="accent1">
                  <a:lumMod val="75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/>
              <a:endParaRPr lang="en-US">
                <a:latin typeface="Calibri" pitchFamily="34" charset="0"/>
              </a:endParaRPr>
            </a:p>
          </p:txBody>
        </p:sp>
        <p:sp>
          <p:nvSpPr>
            <p:cNvPr id="53" name="Isosceles Triangle 52"/>
            <p:cNvSpPr/>
            <p:nvPr/>
          </p:nvSpPr>
          <p:spPr>
            <a:xfrm rot="5400000">
              <a:off x="634879" y="5111187"/>
              <a:ext cx="234227" cy="204325"/>
            </a:xfrm>
            <a:prstGeom prst="triangle">
              <a:avLst/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/>
              <a:endParaRPr lang="en-US">
                <a:latin typeface="Calibri" pitchFamily="34" charset="0"/>
              </a:endParaRPr>
            </a:p>
          </p:txBody>
        </p:sp>
      </p:grpSp>
      <p:sp>
        <p:nvSpPr>
          <p:cNvPr id="54" name="Rektangel 76"/>
          <p:cNvSpPr>
            <a:spLocks noChangeArrowheads="1"/>
          </p:cNvSpPr>
          <p:nvPr/>
        </p:nvSpPr>
        <p:spPr bwMode="auto">
          <a:xfrm>
            <a:off x="3805238" y="5157192"/>
            <a:ext cx="2209800" cy="9079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300" b="1" noProof="1">
                <a:latin typeface="Calibri" pitchFamily="34" charset="0"/>
                <a:cs typeface="Arial" pitchFamily="34" charset="0"/>
              </a:rPr>
              <a:t>Example text</a:t>
            </a:r>
          </a:p>
          <a:p>
            <a:r>
              <a:rPr lang="en-US" sz="1100" noProof="1">
                <a:latin typeface="Calibri" pitchFamily="34" charset="0"/>
                <a:cs typeface="Arial" pitchFamily="34" charset="0"/>
              </a:rPr>
              <a:t>Go ahead and replace it with your own text. This is an example text. </a:t>
            </a:r>
            <a:endParaRPr lang="da-DK" sz="1100">
              <a:latin typeface="Calibri" pitchFamily="34" charset="0"/>
            </a:endParaRPr>
          </a:p>
          <a:p>
            <a:endParaRPr lang="da-DK">
              <a:latin typeface="Calibri" pitchFamily="34" charset="0"/>
            </a:endParaRPr>
          </a:p>
        </p:txBody>
      </p:sp>
      <p:grpSp>
        <p:nvGrpSpPr>
          <p:cNvPr id="55" name="Group 19"/>
          <p:cNvGrpSpPr>
            <a:grpSpLocks/>
          </p:cNvGrpSpPr>
          <p:nvPr/>
        </p:nvGrpSpPr>
        <p:grpSpPr bwMode="auto">
          <a:xfrm>
            <a:off x="3500438" y="5246092"/>
            <a:ext cx="250825" cy="250825"/>
            <a:chOff x="530225" y="5016500"/>
            <a:chExt cx="393700" cy="393700"/>
          </a:xfrm>
        </p:grpSpPr>
        <p:sp>
          <p:nvSpPr>
            <p:cNvPr id="56" name="Oval 55"/>
            <p:cNvSpPr/>
            <p:nvPr/>
          </p:nvSpPr>
          <p:spPr>
            <a:xfrm>
              <a:off x="530225" y="5016500"/>
              <a:ext cx="393700" cy="393700"/>
            </a:xfrm>
            <a:prstGeom prst="ellipse">
              <a:avLst/>
            </a:prstGeom>
            <a:noFill/>
            <a:ln w="9525" cap="flat" cmpd="sng" algn="ctr">
              <a:solidFill>
                <a:schemeClr val="accent1">
                  <a:lumMod val="75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/>
              <a:endParaRPr lang="en-US">
                <a:latin typeface="Calibri" pitchFamily="34" charset="0"/>
              </a:endParaRPr>
            </a:p>
          </p:txBody>
        </p:sp>
        <p:sp>
          <p:nvSpPr>
            <p:cNvPr id="57" name="Isosceles Triangle 56"/>
            <p:cNvSpPr/>
            <p:nvPr/>
          </p:nvSpPr>
          <p:spPr>
            <a:xfrm rot="5400000">
              <a:off x="634879" y="5111187"/>
              <a:ext cx="234227" cy="204325"/>
            </a:xfrm>
            <a:prstGeom prst="triangle">
              <a:avLst/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/>
              <a:endParaRPr lang="en-US">
                <a:latin typeface="Calibri" pitchFamily="34" charset="0"/>
              </a:endParaRPr>
            </a:p>
          </p:txBody>
        </p:sp>
      </p:grpSp>
      <p:sp>
        <p:nvSpPr>
          <p:cNvPr id="58" name="Rektangel 76"/>
          <p:cNvSpPr>
            <a:spLocks noChangeArrowheads="1"/>
          </p:cNvSpPr>
          <p:nvPr/>
        </p:nvSpPr>
        <p:spPr bwMode="auto">
          <a:xfrm>
            <a:off x="6345238" y="5157192"/>
            <a:ext cx="2209800" cy="9079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300" b="1" noProof="1">
                <a:latin typeface="Calibri" pitchFamily="34" charset="0"/>
                <a:cs typeface="Arial" pitchFamily="34" charset="0"/>
              </a:rPr>
              <a:t>Example text</a:t>
            </a:r>
          </a:p>
          <a:p>
            <a:r>
              <a:rPr lang="en-US" sz="1100" noProof="1">
                <a:latin typeface="Calibri" pitchFamily="34" charset="0"/>
                <a:cs typeface="Arial" pitchFamily="34" charset="0"/>
              </a:rPr>
              <a:t>Go ahead and replace it with your own text. This is an example text. </a:t>
            </a:r>
            <a:endParaRPr lang="da-DK" sz="1100">
              <a:latin typeface="Calibri" pitchFamily="34" charset="0"/>
            </a:endParaRPr>
          </a:p>
          <a:p>
            <a:endParaRPr lang="da-DK">
              <a:latin typeface="Calibri" pitchFamily="34" charset="0"/>
            </a:endParaRPr>
          </a:p>
        </p:txBody>
      </p:sp>
      <p:grpSp>
        <p:nvGrpSpPr>
          <p:cNvPr id="59" name="Group 19"/>
          <p:cNvGrpSpPr>
            <a:grpSpLocks/>
          </p:cNvGrpSpPr>
          <p:nvPr/>
        </p:nvGrpSpPr>
        <p:grpSpPr bwMode="auto">
          <a:xfrm>
            <a:off x="6040438" y="5246092"/>
            <a:ext cx="250825" cy="250825"/>
            <a:chOff x="530225" y="5016500"/>
            <a:chExt cx="393700" cy="393700"/>
          </a:xfrm>
        </p:grpSpPr>
        <p:sp>
          <p:nvSpPr>
            <p:cNvPr id="60" name="Oval 59"/>
            <p:cNvSpPr/>
            <p:nvPr/>
          </p:nvSpPr>
          <p:spPr>
            <a:xfrm>
              <a:off x="530225" y="5016500"/>
              <a:ext cx="393700" cy="393700"/>
            </a:xfrm>
            <a:prstGeom prst="ellipse">
              <a:avLst/>
            </a:prstGeom>
            <a:noFill/>
            <a:ln w="9525" cap="flat" cmpd="sng" algn="ctr">
              <a:solidFill>
                <a:schemeClr val="accent1">
                  <a:lumMod val="75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/>
              <a:endParaRPr lang="en-US">
                <a:latin typeface="Calibri" pitchFamily="34" charset="0"/>
              </a:endParaRPr>
            </a:p>
          </p:txBody>
        </p:sp>
        <p:sp>
          <p:nvSpPr>
            <p:cNvPr id="61" name="Isosceles Triangle 60"/>
            <p:cNvSpPr/>
            <p:nvPr/>
          </p:nvSpPr>
          <p:spPr>
            <a:xfrm rot="5400000">
              <a:off x="634879" y="5111187"/>
              <a:ext cx="234227" cy="204325"/>
            </a:xfrm>
            <a:prstGeom prst="triangle">
              <a:avLst/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/>
              <a:endParaRPr lang="en-US">
                <a:latin typeface="Calibri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17512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/>
          <p:cNvSpPr/>
          <p:nvPr>
            <p:custDataLst>
              <p:tags r:id="rId3"/>
            </p:custDataLst>
          </p:nvPr>
        </p:nvSpPr>
        <p:spPr>
          <a:xfrm>
            <a:off x="0" y="5496580"/>
            <a:ext cx="9144000" cy="13614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66387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5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Text Placeholder 50"/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Replace with your own text</a:t>
            </a:r>
            <a:endParaRPr lang="en-US" dirty="0"/>
          </a:p>
        </p:txBody>
      </p:sp>
      <p:sp>
        <p:nvSpPr>
          <p:cNvPr id="52" name="Text Placeholder 51"/>
          <p:cNvSpPr>
            <a:spLocks noGrp="1"/>
          </p:cNvSpPr>
          <p:nvPr>
            <p:ph type="body" sz="quarter" idx="14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 dirty="0"/>
              <a:t>PROJECT STATU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smtClean="0"/>
              <a:t>www.domainname.com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 smtClean="0"/>
              <a:t>Logo Company</a:t>
            </a:r>
            <a:endParaRPr lang="en-US" dirty="0" smtClean="0"/>
          </a:p>
        </p:txBody>
      </p:sp>
      <p:sp>
        <p:nvSpPr>
          <p:cNvPr id="37" name="Slide Number Placeholder 36"/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fld id="{3101D46F-57A9-43DB-8B55-C38BE2226748}" type="slidenum">
              <a:rPr lang="en-US" smtClean="0"/>
              <a:t>14</a:t>
            </a:fld>
            <a:endParaRPr lang="en-US"/>
          </a:p>
        </p:txBody>
      </p:sp>
      <p:sp>
        <p:nvSpPr>
          <p:cNvPr id="46" name="TextBox 45"/>
          <p:cNvSpPr txBox="1"/>
          <p:nvPr>
            <p:custDataLst>
              <p:tags r:id="rId10"/>
            </p:custDataLst>
          </p:nvPr>
        </p:nvSpPr>
        <p:spPr>
          <a:xfrm>
            <a:off x="304800" y="4953000"/>
            <a:ext cx="15095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CLOSURE</a:t>
            </a:r>
            <a:endParaRPr lang="en-US" sz="2800" dirty="0">
              <a:solidFill>
                <a:schemeClr val="tx1">
                  <a:lumMod val="75000"/>
                  <a:lumOff val="25000"/>
                </a:schemeClr>
              </a:solidFill>
              <a:latin typeface="Calibri Light" pitchFamily="34" charset="0"/>
            </a:endParaRPr>
          </a:p>
        </p:txBody>
      </p:sp>
      <p:sp>
        <p:nvSpPr>
          <p:cNvPr id="47" name="Rectangle 46"/>
          <p:cNvSpPr/>
          <p:nvPr>
            <p:custDataLst>
              <p:tags r:id="rId11"/>
            </p:custDataLst>
          </p:nvPr>
        </p:nvSpPr>
        <p:spPr>
          <a:xfrm>
            <a:off x="304800" y="5648236"/>
            <a:ext cx="830580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Lorem</a:t>
            </a:r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Ipsum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is </a:t>
            </a:r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simply dummy text of the printing and 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typesetting. 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Lorem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Ipsum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is simply dummy text of the printing and </a:t>
            </a:r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typesetting. 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Lorem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Ipsum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is simply dummy text of the printing and </a:t>
            </a:r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typesetting. </a:t>
            </a:r>
            <a:r>
              <a:rPr lang="en-US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Lorem</a:t>
            </a:r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Ipsum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is simply dummy text of the printing and </a:t>
            </a:r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typesetting. 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Lorem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Ipsum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is simply dummy text of the printing and </a:t>
            </a:r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typesetting. </a:t>
            </a:r>
          </a:p>
        </p:txBody>
      </p:sp>
      <p:cxnSp>
        <p:nvCxnSpPr>
          <p:cNvPr id="48" name="Straight Connector 47"/>
          <p:cNvCxnSpPr/>
          <p:nvPr/>
        </p:nvCxnSpPr>
        <p:spPr>
          <a:xfrm flipH="1">
            <a:off x="0" y="5486400"/>
            <a:ext cx="9144000" cy="0"/>
          </a:xfrm>
          <a:prstGeom prst="line">
            <a:avLst/>
          </a:prstGeom>
          <a:ln w="12700">
            <a:solidFill>
              <a:srgbClr val="D6DA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>
          <a:xfrm>
            <a:off x="6502400" y="1726313"/>
            <a:ext cx="93333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smtClean="0">
                <a:solidFill>
                  <a:srgbClr val="595959"/>
                </a:solidFill>
                <a:latin typeface="Calibri Light" panose="020F0302020204030204" pitchFamily="34" charset="0"/>
              </a:rPr>
              <a:t>FAILURES</a:t>
            </a:r>
            <a:endParaRPr lang="en-US" sz="1600" b="1" dirty="0"/>
          </a:p>
        </p:txBody>
      </p:sp>
      <p:sp>
        <p:nvSpPr>
          <p:cNvPr id="42" name="Rectangle 41"/>
          <p:cNvSpPr/>
          <p:nvPr/>
        </p:nvSpPr>
        <p:spPr>
          <a:xfrm>
            <a:off x="6502400" y="2091841"/>
            <a:ext cx="163313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Lorem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Ipsum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is simply dummy text of the printing and typesetting.</a:t>
            </a:r>
            <a:endParaRPr lang="en-US" sz="1100" dirty="0"/>
          </a:p>
        </p:txBody>
      </p:sp>
      <p:sp>
        <p:nvSpPr>
          <p:cNvPr id="39" name="Rectangle 38"/>
          <p:cNvSpPr/>
          <p:nvPr/>
        </p:nvSpPr>
        <p:spPr>
          <a:xfrm>
            <a:off x="6502400" y="3480232"/>
            <a:ext cx="160255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smtClean="0">
                <a:solidFill>
                  <a:srgbClr val="595959"/>
                </a:solidFill>
                <a:latin typeface="Calibri Light" panose="020F0302020204030204" pitchFamily="34" charset="0"/>
              </a:rPr>
              <a:t>LESSON LEARNED</a:t>
            </a:r>
            <a:endParaRPr lang="en-US" sz="1600" b="1" dirty="0"/>
          </a:p>
        </p:txBody>
      </p:sp>
      <p:sp>
        <p:nvSpPr>
          <p:cNvPr id="43" name="Rectangle 42"/>
          <p:cNvSpPr/>
          <p:nvPr/>
        </p:nvSpPr>
        <p:spPr>
          <a:xfrm>
            <a:off x="6502400" y="3845760"/>
            <a:ext cx="163313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Lorem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Ipsum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is simply dummy text of the printing and typesetting.</a:t>
            </a:r>
            <a:endParaRPr lang="en-US" sz="1100" dirty="0"/>
          </a:p>
        </p:txBody>
      </p:sp>
      <p:sp>
        <p:nvSpPr>
          <p:cNvPr id="35" name="Rectangle 34"/>
          <p:cNvSpPr/>
          <p:nvPr/>
        </p:nvSpPr>
        <p:spPr>
          <a:xfrm>
            <a:off x="2472229" y="1834734"/>
            <a:ext cx="197092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smtClean="0">
                <a:solidFill>
                  <a:srgbClr val="595959"/>
                </a:solidFill>
                <a:latin typeface="Calibri Light" panose="020F0302020204030204" pitchFamily="34" charset="0"/>
              </a:rPr>
              <a:t>EVALUATION/ REVIEW</a:t>
            </a:r>
            <a:endParaRPr lang="en-US" sz="1600" b="1" dirty="0"/>
          </a:p>
        </p:txBody>
      </p:sp>
      <p:sp>
        <p:nvSpPr>
          <p:cNvPr id="12" name="Rectangle 11"/>
          <p:cNvSpPr/>
          <p:nvPr/>
        </p:nvSpPr>
        <p:spPr>
          <a:xfrm>
            <a:off x="2472229" y="2200262"/>
            <a:ext cx="163313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Lorem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Ipsum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is simply dummy text of the printing and typesetting.</a:t>
            </a:r>
            <a:endParaRPr lang="en-US" sz="1100" dirty="0"/>
          </a:p>
        </p:txBody>
      </p:sp>
      <p:sp>
        <p:nvSpPr>
          <p:cNvPr id="36" name="Rectangle 35"/>
          <p:cNvSpPr/>
          <p:nvPr/>
        </p:nvSpPr>
        <p:spPr>
          <a:xfrm>
            <a:off x="2472229" y="3490423"/>
            <a:ext cx="137364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smtClean="0">
                <a:solidFill>
                  <a:srgbClr val="595959"/>
                </a:solidFill>
                <a:latin typeface="Calibri Light" panose="020F0302020204030204" pitchFamily="34" charset="0"/>
              </a:rPr>
              <a:t>ACHIVEMENTS</a:t>
            </a:r>
            <a:endParaRPr lang="en-US" sz="1600" b="1" dirty="0"/>
          </a:p>
        </p:txBody>
      </p:sp>
      <p:sp>
        <p:nvSpPr>
          <p:cNvPr id="40" name="Rectangle 39"/>
          <p:cNvSpPr/>
          <p:nvPr/>
        </p:nvSpPr>
        <p:spPr>
          <a:xfrm>
            <a:off x="2472229" y="3855951"/>
            <a:ext cx="163313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Lorem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Ipsum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itchFamily="34" charset="0"/>
              </a:rPr>
              <a:t> is simply dummy text of the printing and typesetting.</a:t>
            </a:r>
            <a:endParaRPr lang="en-US" sz="1100" dirty="0"/>
          </a:p>
        </p:txBody>
      </p:sp>
      <p:grpSp>
        <p:nvGrpSpPr>
          <p:cNvPr id="77" name="Group 76"/>
          <p:cNvGrpSpPr/>
          <p:nvPr/>
        </p:nvGrpSpPr>
        <p:grpSpPr>
          <a:xfrm>
            <a:off x="1001700" y="1540877"/>
            <a:ext cx="1307927" cy="1307927"/>
            <a:chOff x="1001700" y="1779080"/>
            <a:chExt cx="1307927" cy="1307927"/>
          </a:xfrm>
        </p:grpSpPr>
        <p:sp>
          <p:nvSpPr>
            <p:cNvPr id="4" name="Donut 3"/>
            <p:cNvSpPr/>
            <p:nvPr/>
          </p:nvSpPr>
          <p:spPr>
            <a:xfrm>
              <a:off x="1046063" y="1823443"/>
              <a:ext cx="1219200" cy="1219200"/>
            </a:xfrm>
            <a:prstGeom prst="donut">
              <a:avLst>
                <a:gd name="adj" fmla="val 12538"/>
              </a:avLst>
            </a:prstGeom>
            <a:pattFill prst="ltUpDiag">
              <a:fgClr>
                <a:srgbClr val="3498DB"/>
              </a:fgClr>
              <a:bgClr>
                <a:srgbClr val="2980B9"/>
              </a:bgClr>
            </a:patt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latin typeface="+mj-lt"/>
              </a:endParaRPr>
            </a:p>
          </p:txBody>
        </p:sp>
        <p:sp>
          <p:nvSpPr>
            <p:cNvPr id="7" name="Block Arc 6"/>
            <p:cNvSpPr/>
            <p:nvPr/>
          </p:nvSpPr>
          <p:spPr>
            <a:xfrm>
              <a:off x="1046063" y="1823443"/>
              <a:ext cx="1219200" cy="1219200"/>
            </a:xfrm>
            <a:prstGeom prst="blockArc">
              <a:avLst>
                <a:gd name="adj1" fmla="val 17521302"/>
                <a:gd name="adj2" fmla="val 16395305"/>
                <a:gd name="adj3" fmla="val 12667"/>
              </a:avLst>
            </a:prstGeom>
            <a:solidFill>
              <a:srgbClr val="3498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1253951" y="2171433"/>
              <a:ext cx="80342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 smtClean="0">
                  <a:solidFill>
                    <a:srgbClr val="3498DB"/>
                  </a:solidFill>
                  <a:latin typeface="Calibri Light" panose="020F0302020204030204" pitchFamily="34" charset="0"/>
                </a:rPr>
                <a:t>90%</a:t>
              </a:r>
              <a:endParaRPr lang="en-US" sz="2800" dirty="0">
                <a:solidFill>
                  <a:srgbClr val="3498DB"/>
                </a:solidFill>
                <a:latin typeface="Calibri Light" panose="020F0302020204030204" pitchFamily="34" charset="0"/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001700" y="1779080"/>
              <a:ext cx="1307927" cy="1307927"/>
            </a:xfrm>
            <a:prstGeom prst="ellipse">
              <a:avLst/>
            </a:prstGeom>
            <a:noFill/>
            <a:ln w="12700">
              <a:solidFill>
                <a:srgbClr val="BDC3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967038" y="3302961"/>
            <a:ext cx="1307927" cy="1307927"/>
            <a:chOff x="3064065" y="1779080"/>
            <a:chExt cx="1307927" cy="1307927"/>
          </a:xfrm>
        </p:grpSpPr>
        <p:sp>
          <p:nvSpPr>
            <p:cNvPr id="41" name="Donut 40"/>
            <p:cNvSpPr/>
            <p:nvPr/>
          </p:nvSpPr>
          <p:spPr>
            <a:xfrm>
              <a:off x="3108428" y="1823443"/>
              <a:ext cx="1219200" cy="1219200"/>
            </a:xfrm>
            <a:prstGeom prst="donut">
              <a:avLst>
                <a:gd name="adj" fmla="val 12538"/>
              </a:avLst>
            </a:prstGeom>
            <a:pattFill prst="ltUpDiag">
              <a:fgClr>
                <a:srgbClr val="F1C40F"/>
              </a:fgClr>
              <a:bgClr>
                <a:srgbClr val="F39C12"/>
              </a:bgClr>
            </a:patt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7" name="Block Arc 26"/>
            <p:cNvSpPr/>
            <p:nvPr/>
          </p:nvSpPr>
          <p:spPr>
            <a:xfrm>
              <a:off x="3108428" y="1823443"/>
              <a:ext cx="1219200" cy="1219200"/>
            </a:xfrm>
            <a:prstGeom prst="blockArc">
              <a:avLst>
                <a:gd name="adj1" fmla="val 19720786"/>
                <a:gd name="adj2" fmla="val 16150824"/>
                <a:gd name="adj3" fmla="val 12597"/>
              </a:avLst>
            </a:prstGeom>
            <a:solidFill>
              <a:srgbClr val="F1C4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3316316" y="2171433"/>
              <a:ext cx="80342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 smtClean="0">
                  <a:solidFill>
                    <a:srgbClr val="F1C40F"/>
                  </a:solidFill>
                  <a:latin typeface="Calibri Light" panose="020F0302020204030204" pitchFamily="34" charset="0"/>
                </a:rPr>
                <a:t>80%</a:t>
              </a:r>
              <a:endParaRPr lang="en-US" sz="2800" dirty="0">
                <a:solidFill>
                  <a:srgbClr val="F1C40F"/>
                </a:solidFill>
                <a:latin typeface="Calibri Light" panose="020F0302020204030204" pitchFamily="34" charset="0"/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3064065" y="1779080"/>
              <a:ext cx="1307927" cy="1307927"/>
            </a:xfrm>
            <a:prstGeom prst="ellipse">
              <a:avLst/>
            </a:prstGeom>
            <a:noFill/>
            <a:ln w="12700">
              <a:solidFill>
                <a:srgbClr val="BDC3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5005206" y="1540876"/>
            <a:ext cx="1307927" cy="1307927"/>
            <a:chOff x="5031854" y="1779080"/>
            <a:chExt cx="1307927" cy="1307927"/>
          </a:xfrm>
        </p:grpSpPr>
        <p:sp>
          <p:nvSpPr>
            <p:cNvPr id="49" name="Donut 48"/>
            <p:cNvSpPr/>
            <p:nvPr/>
          </p:nvSpPr>
          <p:spPr>
            <a:xfrm>
              <a:off x="5076217" y="1823443"/>
              <a:ext cx="1219200" cy="1219200"/>
            </a:xfrm>
            <a:prstGeom prst="donut">
              <a:avLst>
                <a:gd name="adj" fmla="val 12538"/>
              </a:avLst>
            </a:prstGeom>
            <a:pattFill prst="ltUpDiag">
              <a:fgClr>
                <a:srgbClr val="E74C3C"/>
              </a:fgClr>
              <a:bgClr>
                <a:srgbClr val="C0392B"/>
              </a:bgClr>
            </a:patt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latin typeface="+mj-lt"/>
              </a:endParaRPr>
            </a:p>
          </p:txBody>
        </p:sp>
        <p:sp>
          <p:nvSpPr>
            <p:cNvPr id="30" name="Block Arc 29"/>
            <p:cNvSpPr/>
            <p:nvPr/>
          </p:nvSpPr>
          <p:spPr>
            <a:xfrm>
              <a:off x="5076217" y="1823443"/>
              <a:ext cx="1219200" cy="1219200"/>
            </a:xfrm>
            <a:prstGeom prst="blockArc">
              <a:avLst>
                <a:gd name="adj1" fmla="val 45295"/>
                <a:gd name="adj2" fmla="val 16222709"/>
                <a:gd name="adj3" fmla="val 12726"/>
              </a:avLst>
            </a:prstGeom>
            <a:solidFill>
              <a:srgbClr val="E74C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5284105" y="2171433"/>
              <a:ext cx="80342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 smtClean="0">
                  <a:solidFill>
                    <a:srgbClr val="E74C3C"/>
                  </a:solidFill>
                  <a:latin typeface="Calibri Light" panose="020F0302020204030204" pitchFamily="34" charset="0"/>
                </a:rPr>
                <a:t>75%</a:t>
              </a:r>
              <a:endParaRPr lang="en-US" sz="2800" dirty="0">
                <a:solidFill>
                  <a:srgbClr val="E74C3C"/>
                </a:solidFill>
                <a:latin typeface="Calibri Light" panose="020F0302020204030204" pitchFamily="34" charset="0"/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5031854" y="1779080"/>
              <a:ext cx="1307927" cy="1307927"/>
            </a:xfrm>
            <a:prstGeom prst="ellipse">
              <a:avLst/>
            </a:prstGeom>
            <a:noFill/>
            <a:ln w="12700">
              <a:solidFill>
                <a:srgbClr val="BDC3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0" name="Group 79"/>
          <p:cNvGrpSpPr/>
          <p:nvPr/>
        </p:nvGrpSpPr>
        <p:grpSpPr>
          <a:xfrm>
            <a:off x="5005205" y="3302961"/>
            <a:ext cx="1307927" cy="1307927"/>
            <a:chOff x="7006958" y="1779080"/>
            <a:chExt cx="1307927" cy="1307927"/>
          </a:xfrm>
        </p:grpSpPr>
        <p:sp>
          <p:nvSpPr>
            <p:cNvPr id="53" name="Donut 52"/>
            <p:cNvSpPr/>
            <p:nvPr/>
          </p:nvSpPr>
          <p:spPr>
            <a:xfrm>
              <a:off x="7051321" y="1823443"/>
              <a:ext cx="1219200" cy="1219200"/>
            </a:xfrm>
            <a:prstGeom prst="donut">
              <a:avLst>
                <a:gd name="adj" fmla="val 12538"/>
              </a:avLst>
            </a:prstGeom>
            <a:pattFill prst="ltUpDiag">
              <a:fgClr>
                <a:srgbClr val="2ECC71"/>
              </a:fgClr>
              <a:bgClr>
                <a:srgbClr val="27AE60"/>
              </a:bgClr>
            </a:patt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latin typeface="+mj-lt"/>
              </a:endParaRPr>
            </a:p>
          </p:txBody>
        </p:sp>
        <p:sp>
          <p:nvSpPr>
            <p:cNvPr id="33" name="Block Arc 32"/>
            <p:cNvSpPr/>
            <p:nvPr/>
          </p:nvSpPr>
          <p:spPr>
            <a:xfrm>
              <a:off x="7051321" y="1823443"/>
              <a:ext cx="1219200" cy="1219200"/>
            </a:xfrm>
            <a:prstGeom prst="blockArc">
              <a:avLst>
                <a:gd name="adj1" fmla="val 3039385"/>
                <a:gd name="adj2" fmla="val 16273074"/>
                <a:gd name="adj3" fmla="val 12719"/>
              </a:avLst>
            </a:prstGeom>
            <a:solidFill>
              <a:srgbClr val="2ECC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7259209" y="2171433"/>
              <a:ext cx="80342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 smtClean="0">
                  <a:solidFill>
                    <a:srgbClr val="2ECC71"/>
                  </a:solidFill>
                  <a:latin typeface="Calibri Light" panose="020F0302020204030204" pitchFamily="34" charset="0"/>
                </a:rPr>
                <a:t>60%</a:t>
              </a:r>
              <a:endParaRPr lang="en-US" sz="2800" dirty="0">
                <a:solidFill>
                  <a:srgbClr val="2ECC71"/>
                </a:solidFill>
                <a:latin typeface="Calibri Light" panose="020F0302020204030204" pitchFamily="34" charset="0"/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7006958" y="1779080"/>
              <a:ext cx="1307927" cy="1307927"/>
            </a:xfrm>
            <a:prstGeom prst="ellipse">
              <a:avLst/>
            </a:prstGeom>
            <a:noFill/>
            <a:ln w="12700">
              <a:solidFill>
                <a:srgbClr val="BDC3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547818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5960"/>
          <p:cNvSpPr>
            <a:spLocks noChangeAspect="1" noEditPoints="1"/>
          </p:cNvSpPr>
          <p:nvPr/>
        </p:nvSpPr>
        <p:spPr bwMode="auto">
          <a:xfrm>
            <a:off x="339725" y="1117600"/>
            <a:ext cx="8728075" cy="5045075"/>
          </a:xfrm>
          <a:custGeom>
            <a:avLst/>
            <a:gdLst>
              <a:gd name="T0" fmla="*/ 2933914 w 13744"/>
              <a:gd name="T1" fmla="*/ 652698 h 7946"/>
              <a:gd name="T2" fmla="*/ 3623574 w 13744"/>
              <a:gd name="T3" fmla="*/ 613333 h 7946"/>
              <a:gd name="T4" fmla="*/ 2992338 w 13744"/>
              <a:gd name="T5" fmla="*/ 64762 h 7946"/>
              <a:gd name="T6" fmla="*/ 2046119 w 13744"/>
              <a:gd name="T7" fmla="*/ 2601903 h 7946"/>
              <a:gd name="T8" fmla="*/ 2369992 w 13744"/>
              <a:gd name="T9" fmla="*/ 1886983 h 7946"/>
              <a:gd name="T10" fmla="*/ 2194720 w 13744"/>
              <a:gd name="T11" fmla="*/ 1325713 h 7946"/>
              <a:gd name="T12" fmla="*/ 998293 w 13744"/>
              <a:gd name="T13" fmla="*/ 697142 h 7946"/>
              <a:gd name="T14" fmla="*/ 723953 w 13744"/>
              <a:gd name="T15" fmla="*/ 1145396 h 7946"/>
              <a:gd name="T16" fmla="*/ 1983884 w 13744"/>
              <a:gd name="T17" fmla="*/ 2736506 h 7946"/>
              <a:gd name="T18" fmla="*/ 2422066 w 13744"/>
              <a:gd name="T19" fmla="*/ 4637456 h 7946"/>
              <a:gd name="T20" fmla="*/ 2709108 w 13744"/>
              <a:gd name="T21" fmla="*/ 4454599 h 7946"/>
              <a:gd name="T22" fmla="*/ 2109624 w 13744"/>
              <a:gd name="T23" fmla="*/ 1709205 h 7946"/>
              <a:gd name="T24" fmla="*/ 2512243 w 13744"/>
              <a:gd name="T25" fmla="*/ 4925710 h 7946"/>
              <a:gd name="T26" fmla="*/ 2526214 w 13744"/>
              <a:gd name="T27" fmla="*/ 5023488 h 7946"/>
              <a:gd name="T28" fmla="*/ 2392854 w 13744"/>
              <a:gd name="T29" fmla="*/ 4817774 h 7946"/>
              <a:gd name="T30" fmla="*/ 401349 w 13744"/>
              <a:gd name="T31" fmla="*/ 1220316 h 7946"/>
              <a:gd name="T32" fmla="*/ 2358562 w 13744"/>
              <a:gd name="T33" fmla="*/ 2430474 h 7946"/>
              <a:gd name="T34" fmla="*/ 1046556 w 13744"/>
              <a:gd name="T35" fmla="*/ 1513650 h 7946"/>
              <a:gd name="T36" fmla="*/ 2878030 w 13744"/>
              <a:gd name="T37" fmla="*/ 1610158 h 7946"/>
              <a:gd name="T38" fmla="*/ 1591426 w 13744"/>
              <a:gd name="T39" fmla="*/ 511746 h 7946"/>
              <a:gd name="T40" fmla="*/ 2607500 w 13744"/>
              <a:gd name="T41" fmla="*/ 918095 h 7946"/>
              <a:gd name="T42" fmla="*/ 1817502 w 13744"/>
              <a:gd name="T43" fmla="*/ 510476 h 7946"/>
              <a:gd name="T44" fmla="*/ 2735780 w 13744"/>
              <a:gd name="T45" fmla="*/ 73651 h 7946"/>
              <a:gd name="T46" fmla="*/ 1602857 w 13744"/>
              <a:gd name="T47" fmla="*/ 340317 h 7946"/>
              <a:gd name="T48" fmla="*/ 2554156 w 13744"/>
              <a:gd name="T49" fmla="*/ 1102221 h 7946"/>
              <a:gd name="T50" fmla="*/ 5145144 w 13744"/>
              <a:gd name="T51" fmla="*/ 3737140 h 7946"/>
              <a:gd name="T52" fmla="*/ 7038853 w 13744"/>
              <a:gd name="T53" fmla="*/ 2859681 h 7946"/>
              <a:gd name="T54" fmla="*/ 6968998 w 13744"/>
              <a:gd name="T55" fmla="*/ 2754284 h 7946"/>
              <a:gd name="T56" fmla="*/ 4093508 w 13744"/>
              <a:gd name="T57" fmla="*/ 1907300 h 7946"/>
              <a:gd name="T58" fmla="*/ 4520259 w 13744"/>
              <a:gd name="T59" fmla="*/ 942221 h 7946"/>
              <a:gd name="T60" fmla="*/ 4480886 w 13744"/>
              <a:gd name="T61" fmla="*/ 681904 h 7946"/>
              <a:gd name="T62" fmla="*/ 4054135 w 13744"/>
              <a:gd name="T63" fmla="*/ 1041269 h 7946"/>
              <a:gd name="T64" fmla="*/ 7469414 w 13744"/>
              <a:gd name="T65" fmla="*/ 3273648 h 7946"/>
              <a:gd name="T66" fmla="*/ 6425398 w 13744"/>
              <a:gd name="T67" fmla="*/ 3263490 h 7946"/>
              <a:gd name="T68" fmla="*/ 6993129 w 13744"/>
              <a:gd name="T69" fmla="*/ 3226664 h 7946"/>
              <a:gd name="T70" fmla="*/ 7040123 w 13744"/>
              <a:gd name="T71" fmla="*/ 3464124 h 7946"/>
              <a:gd name="T72" fmla="*/ 6989319 w 13744"/>
              <a:gd name="T73" fmla="*/ 3464124 h 7946"/>
              <a:gd name="T74" fmla="*/ 7706921 w 13744"/>
              <a:gd name="T75" fmla="*/ 3248252 h 7946"/>
              <a:gd name="T76" fmla="*/ 6546057 w 13744"/>
              <a:gd name="T77" fmla="*/ 3173331 h 7946"/>
              <a:gd name="T78" fmla="*/ 7499896 w 13744"/>
              <a:gd name="T79" fmla="*/ 1892062 h 7946"/>
              <a:gd name="T80" fmla="*/ 8622657 w 13744"/>
              <a:gd name="T81" fmla="*/ 862222 h 7946"/>
              <a:gd name="T82" fmla="*/ 5853857 w 13744"/>
              <a:gd name="T83" fmla="*/ 820317 h 7946"/>
              <a:gd name="T84" fmla="*/ 4525339 w 13744"/>
              <a:gd name="T85" fmla="*/ 683174 h 7946"/>
              <a:gd name="T86" fmla="*/ 4055405 w 13744"/>
              <a:gd name="T87" fmla="*/ 1055237 h 7946"/>
              <a:gd name="T88" fmla="*/ 4482156 w 13744"/>
              <a:gd name="T89" fmla="*/ 981587 h 7946"/>
              <a:gd name="T90" fmla="*/ 4097318 w 13744"/>
              <a:gd name="T91" fmla="*/ 1406983 h 7946"/>
              <a:gd name="T92" fmla="*/ 4144312 w 13744"/>
              <a:gd name="T93" fmla="*/ 1791745 h 7946"/>
              <a:gd name="T94" fmla="*/ 4648538 w 13744"/>
              <a:gd name="T95" fmla="*/ 1704126 h 7946"/>
              <a:gd name="T96" fmla="*/ 4581223 w 13744"/>
              <a:gd name="T97" fmla="*/ 2206982 h 7946"/>
              <a:gd name="T98" fmla="*/ 3810277 w 13744"/>
              <a:gd name="T99" fmla="*/ 3045077 h 7946"/>
              <a:gd name="T100" fmla="*/ 5021945 w 13744"/>
              <a:gd name="T101" fmla="*/ 2877458 h 7946"/>
              <a:gd name="T102" fmla="*/ 5185787 w 13744"/>
              <a:gd name="T103" fmla="*/ 2351744 h 7946"/>
              <a:gd name="T104" fmla="*/ 6379675 w 13744"/>
              <a:gd name="T105" fmla="*/ 2684443 h 7946"/>
              <a:gd name="T106" fmla="*/ 6902953 w 13744"/>
              <a:gd name="T107" fmla="*/ 2426665 h 7946"/>
              <a:gd name="T108" fmla="*/ 7139190 w 13744"/>
              <a:gd name="T109" fmla="*/ 2090157 h 7946"/>
              <a:gd name="T110" fmla="*/ 8477867 w 13744"/>
              <a:gd name="T111" fmla="*/ 946031 h 7946"/>
              <a:gd name="T112" fmla="*/ 5462668 w 13744"/>
              <a:gd name="T113" fmla="*/ 1728253 h 7946"/>
              <a:gd name="T114" fmla="*/ 5160385 w 13744"/>
              <a:gd name="T115" fmla="*/ 224762 h 7946"/>
              <a:gd name="T116" fmla="*/ 7554510 w 13744"/>
              <a:gd name="T117" fmla="*/ 562539 h 7946"/>
              <a:gd name="T118" fmla="*/ 7590073 w 13744"/>
              <a:gd name="T119" fmla="*/ 4514282 h 7946"/>
              <a:gd name="T120" fmla="*/ 6918194 w 13744"/>
              <a:gd name="T121" fmla="*/ 4302219 h 7946"/>
              <a:gd name="T122" fmla="*/ 3734072 w 13744"/>
              <a:gd name="T123" fmla="*/ 1368888 h 7946"/>
              <a:gd name="T124" fmla="*/ 3765824 w 13744"/>
              <a:gd name="T125" fmla="*/ 1465396 h 794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3744"/>
              <a:gd name="T190" fmla="*/ 0 h 7946"/>
              <a:gd name="T191" fmla="*/ 13744 w 13744"/>
              <a:gd name="T192" fmla="*/ 7946 h 794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3744" h="7946">
                <a:moveTo>
                  <a:pt x="3858" y="2900"/>
                </a:moveTo>
                <a:lnTo>
                  <a:pt x="3858" y="2900"/>
                </a:lnTo>
                <a:lnTo>
                  <a:pt x="3862" y="2896"/>
                </a:lnTo>
                <a:lnTo>
                  <a:pt x="3862" y="2894"/>
                </a:lnTo>
                <a:lnTo>
                  <a:pt x="3856" y="2896"/>
                </a:lnTo>
                <a:lnTo>
                  <a:pt x="3850" y="2902"/>
                </a:lnTo>
                <a:lnTo>
                  <a:pt x="3842" y="2906"/>
                </a:lnTo>
                <a:lnTo>
                  <a:pt x="3834" y="2906"/>
                </a:lnTo>
                <a:lnTo>
                  <a:pt x="3828" y="2906"/>
                </a:lnTo>
                <a:lnTo>
                  <a:pt x="3824" y="2908"/>
                </a:lnTo>
                <a:lnTo>
                  <a:pt x="3820" y="2908"/>
                </a:lnTo>
                <a:lnTo>
                  <a:pt x="3818" y="2908"/>
                </a:lnTo>
                <a:lnTo>
                  <a:pt x="3814" y="2908"/>
                </a:lnTo>
                <a:lnTo>
                  <a:pt x="3808" y="2908"/>
                </a:lnTo>
                <a:lnTo>
                  <a:pt x="3804" y="2910"/>
                </a:lnTo>
                <a:lnTo>
                  <a:pt x="3802" y="2910"/>
                </a:lnTo>
                <a:lnTo>
                  <a:pt x="3802" y="2912"/>
                </a:lnTo>
                <a:lnTo>
                  <a:pt x="3796" y="2916"/>
                </a:lnTo>
                <a:lnTo>
                  <a:pt x="3790" y="2920"/>
                </a:lnTo>
                <a:lnTo>
                  <a:pt x="3788" y="2924"/>
                </a:lnTo>
                <a:lnTo>
                  <a:pt x="3790" y="2926"/>
                </a:lnTo>
                <a:lnTo>
                  <a:pt x="3794" y="2926"/>
                </a:lnTo>
                <a:lnTo>
                  <a:pt x="3796" y="2926"/>
                </a:lnTo>
                <a:lnTo>
                  <a:pt x="3794" y="2928"/>
                </a:lnTo>
                <a:lnTo>
                  <a:pt x="3794" y="2930"/>
                </a:lnTo>
                <a:lnTo>
                  <a:pt x="3796" y="2930"/>
                </a:lnTo>
                <a:lnTo>
                  <a:pt x="3800" y="2930"/>
                </a:lnTo>
                <a:lnTo>
                  <a:pt x="3804" y="2928"/>
                </a:lnTo>
                <a:lnTo>
                  <a:pt x="3806" y="2926"/>
                </a:lnTo>
                <a:lnTo>
                  <a:pt x="3808" y="2926"/>
                </a:lnTo>
                <a:lnTo>
                  <a:pt x="3810" y="2924"/>
                </a:lnTo>
                <a:lnTo>
                  <a:pt x="3816" y="2922"/>
                </a:lnTo>
                <a:lnTo>
                  <a:pt x="3822" y="2920"/>
                </a:lnTo>
                <a:lnTo>
                  <a:pt x="3832" y="2920"/>
                </a:lnTo>
                <a:lnTo>
                  <a:pt x="3840" y="2916"/>
                </a:lnTo>
                <a:lnTo>
                  <a:pt x="3856" y="2912"/>
                </a:lnTo>
                <a:lnTo>
                  <a:pt x="3870" y="2904"/>
                </a:lnTo>
                <a:lnTo>
                  <a:pt x="3874" y="2902"/>
                </a:lnTo>
                <a:lnTo>
                  <a:pt x="3876" y="2900"/>
                </a:lnTo>
                <a:lnTo>
                  <a:pt x="3872" y="2900"/>
                </a:lnTo>
                <a:lnTo>
                  <a:pt x="3870" y="2902"/>
                </a:lnTo>
                <a:lnTo>
                  <a:pt x="3866" y="2902"/>
                </a:lnTo>
                <a:lnTo>
                  <a:pt x="3862" y="2902"/>
                </a:lnTo>
                <a:lnTo>
                  <a:pt x="3860" y="2904"/>
                </a:lnTo>
                <a:lnTo>
                  <a:pt x="3854" y="2906"/>
                </a:lnTo>
                <a:lnTo>
                  <a:pt x="3850" y="2908"/>
                </a:lnTo>
                <a:lnTo>
                  <a:pt x="3852" y="2904"/>
                </a:lnTo>
                <a:lnTo>
                  <a:pt x="3858" y="2900"/>
                </a:lnTo>
                <a:close/>
                <a:moveTo>
                  <a:pt x="6188" y="1470"/>
                </a:moveTo>
                <a:lnTo>
                  <a:pt x="6188" y="1470"/>
                </a:lnTo>
                <a:lnTo>
                  <a:pt x="6198" y="1458"/>
                </a:lnTo>
                <a:lnTo>
                  <a:pt x="6206" y="1454"/>
                </a:lnTo>
                <a:lnTo>
                  <a:pt x="6212" y="1450"/>
                </a:lnTo>
                <a:lnTo>
                  <a:pt x="6218" y="1444"/>
                </a:lnTo>
                <a:lnTo>
                  <a:pt x="6224" y="1430"/>
                </a:lnTo>
                <a:lnTo>
                  <a:pt x="6226" y="1422"/>
                </a:lnTo>
                <a:lnTo>
                  <a:pt x="6226" y="1414"/>
                </a:lnTo>
                <a:lnTo>
                  <a:pt x="6226" y="1408"/>
                </a:lnTo>
                <a:lnTo>
                  <a:pt x="6222" y="1402"/>
                </a:lnTo>
                <a:lnTo>
                  <a:pt x="6218" y="1398"/>
                </a:lnTo>
                <a:lnTo>
                  <a:pt x="6210" y="1396"/>
                </a:lnTo>
                <a:lnTo>
                  <a:pt x="6204" y="1396"/>
                </a:lnTo>
                <a:lnTo>
                  <a:pt x="6198" y="1394"/>
                </a:lnTo>
                <a:lnTo>
                  <a:pt x="6194" y="1388"/>
                </a:lnTo>
                <a:lnTo>
                  <a:pt x="6190" y="1384"/>
                </a:lnTo>
                <a:lnTo>
                  <a:pt x="6186" y="1384"/>
                </a:lnTo>
                <a:lnTo>
                  <a:pt x="6180" y="1384"/>
                </a:lnTo>
                <a:lnTo>
                  <a:pt x="6178" y="1384"/>
                </a:lnTo>
                <a:lnTo>
                  <a:pt x="6178" y="1382"/>
                </a:lnTo>
                <a:lnTo>
                  <a:pt x="6182" y="1376"/>
                </a:lnTo>
                <a:lnTo>
                  <a:pt x="6184" y="1370"/>
                </a:lnTo>
                <a:lnTo>
                  <a:pt x="6184" y="1366"/>
                </a:lnTo>
                <a:lnTo>
                  <a:pt x="6180" y="1364"/>
                </a:lnTo>
                <a:lnTo>
                  <a:pt x="6176" y="1364"/>
                </a:lnTo>
                <a:lnTo>
                  <a:pt x="6170" y="1362"/>
                </a:lnTo>
                <a:lnTo>
                  <a:pt x="6168" y="1360"/>
                </a:lnTo>
                <a:lnTo>
                  <a:pt x="6168" y="1358"/>
                </a:lnTo>
                <a:lnTo>
                  <a:pt x="6174" y="1354"/>
                </a:lnTo>
                <a:lnTo>
                  <a:pt x="6184" y="1344"/>
                </a:lnTo>
                <a:lnTo>
                  <a:pt x="6186" y="1342"/>
                </a:lnTo>
                <a:lnTo>
                  <a:pt x="6184" y="1340"/>
                </a:lnTo>
                <a:lnTo>
                  <a:pt x="6178" y="1340"/>
                </a:lnTo>
                <a:lnTo>
                  <a:pt x="6168" y="1342"/>
                </a:lnTo>
                <a:lnTo>
                  <a:pt x="6158" y="1348"/>
                </a:lnTo>
                <a:lnTo>
                  <a:pt x="6150" y="1352"/>
                </a:lnTo>
                <a:lnTo>
                  <a:pt x="6148" y="1354"/>
                </a:lnTo>
                <a:lnTo>
                  <a:pt x="6144" y="1350"/>
                </a:lnTo>
                <a:lnTo>
                  <a:pt x="6140" y="1346"/>
                </a:lnTo>
                <a:lnTo>
                  <a:pt x="6136" y="1338"/>
                </a:lnTo>
                <a:lnTo>
                  <a:pt x="6132" y="1332"/>
                </a:lnTo>
                <a:lnTo>
                  <a:pt x="6126" y="1330"/>
                </a:lnTo>
                <a:lnTo>
                  <a:pt x="6120" y="1328"/>
                </a:lnTo>
                <a:lnTo>
                  <a:pt x="6114" y="1330"/>
                </a:lnTo>
                <a:lnTo>
                  <a:pt x="6108" y="1332"/>
                </a:lnTo>
                <a:lnTo>
                  <a:pt x="6104" y="1334"/>
                </a:lnTo>
                <a:lnTo>
                  <a:pt x="6104" y="1338"/>
                </a:lnTo>
                <a:lnTo>
                  <a:pt x="6104" y="1342"/>
                </a:lnTo>
                <a:lnTo>
                  <a:pt x="6108" y="1352"/>
                </a:lnTo>
                <a:lnTo>
                  <a:pt x="6108" y="1354"/>
                </a:lnTo>
                <a:lnTo>
                  <a:pt x="6108" y="1358"/>
                </a:lnTo>
                <a:lnTo>
                  <a:pt x="6106" y="1358"/>
                </a:lnTo>
                <a:lnTo>
                  <a:pt x="6102" y="1358"/>
                </a:lnTo>
                <a:lnTo>
                  <a:pt x="6092" y="1356"/>
                </a:lnTo>
                <a:lnTo>
                  <a:pt x="6086" y="1354"/>
                </a:lnTo>
                <a:lnTo>
                  <a:pt x="6082" y="1356"/>
                </a:lnTo>
                <a:lnTo>
                  <a:pt x="6074" y="1362"/>
                </a:lnTo>
                <a:lnTo>
                  <a:pt x="6070" y="1366"/>
                </a:lnTo>
                <a:lnTo>
                  <a:pt x="6068" y="1368"/>
                </a:lnTo>
                <a:lnTo>
                  <a:pt x="6062" y="1368"/>
                </a:lnTo>
                <a:lnTo>
                  <a:pt x="6058" y="1364"/>
                </a:lnTo>
                <a:lnTo>
                  <a:pt x="6048" y="1356"/>
                </a:lnTo>
                <a:lnTo>
                  <a:pt x="6044" y="1354"/>
                </a:lnTo>
                <a:lnTo>
                  <a:pt x="6040" y="1354"/>
                </a:lnTo>
                <a:lnTo>
                  <a:pt x="6038" y="1356"/>
                </a:lnTo>
                <a:lnTo>
                  <a:pt x="6036" y="1358"/>
                </a:lnTo>
                <a:lnTo>
                  <a:pt x="6036" y="1368"/>
                </a:lnTo>
                <a:lnTo>
                  <a:pt x="6036" y="1374"/>
                </a:lnTo>
                <a:lnTo>
                  <a:pt x="6036" y="1376"/>
                </a:lnTo>
                <a:lnTo>
                  <a:pt x="6034" y="1378"/>
                </a:lnTo>
                <a:lnTo>
                  <a:pt x="6032" y="1376"/>
                </a:lnTo>
                <a:lnTo>
                  <a:pt x="6026" y="1370"/>
                </a:lnTo>
                <a:lnTo>
                  <a:pt x="6022" y="1360"/>
                </a:lnTo>
                <a:lnTo>
                  <a:pt x="6020" y="1354"/>
                </a:lnTo>
                <a:lnTo>
                  <a:pt x="6016" y="1352"/>
                </a:lnTo>
                <a:lnTo>
                  <a:pt x="6010" y="1354"/>
                </a:lnTo>
                <a:lnTo>
                  <a:pt x="6004" y="1356"/>
                </a:lnTo>
                <a:lnTo>
                  <a:pt x="5998" y="1360"/>
                </a:lnTo>
                <a:lnTo>
                  <a:pt x="5994" y="1366"/>
                </a:lnTo>
                <a:lnTo>
                  <a:pt x="5990" y="1372"/>
                </a:lnTo>
                <a:lnTo>
                  <a:pt x="5990" y="1378"/>
                </a:lnTo>
                <a:lnTo>
                  <a:pt x="5990" y="1388"/>
                </a:lnTo>
                <a:lnTo>
                  <a:pt x="5988" y="1388"/>
                </a:lnTo>
                <a:lnTo>
                  <a:pt x="5986" y="1388"/>
                </a:lnTo>
                <a:lnTo>
                  <a:pt x="5978" y="1382"/>
                </a:lnTo>
                <a:lnTo>
                  <a:pt x="5970" y="1370"/>
                </a:lnTo>
                <a:lnTo>
                  <a:pt x="5964" y="1362"/>
                </a:lnTo>
                <a:lnTo>
                  <a:pt x="5960" y="1358"/>
                </a:lnTo>
                <a:lnTo>
                  <a:pt x="5956" y="1358"/>
                </a:lnTo>
                <a:lnTo>
                  <a:pt x="5954" y="1360"/>
                </a:lnTo>
                <a:lnTo>
                  <a:pt x="5950" y="1364"/>
                </a:lnTo>
                <a:lnTo>
                  <a:pt x="5950" y="1368"/>
                </a:lnTo>
                <a:lnTo>
                  <a:pt x="5950" y="1374"/>
                </a:lnTo>
                <a:lnTo>
                  <a:pt x="5952" y="1380"/>
                </a:lnTo>
                <a:lnTo>
                  <a:pt x="5956" y="1390"/>
                </a:lnTo>
                <a:lnTo>
                  <a:pt x="5954" y="1394"/>
                </a:lnTo>
                <a:lnTo>
                  <a:pt x="5954" y="1398"/>
                </a:lnTo>
                <a:lnTo>
                  <a:pt x="5952" y="1400"/>
                </a:lnTo>
                <a:lnTo>
                  <a:pt x="5948" y="1400"/>
                </a:lnTo>
                <a:lnTo>
                  <a:pt x="5944" y="1396"/>
                </a:lnTo>
                <a:lnTo>
                  <a:pt x="5940" y="1392"/>
                </a:lnTo>
                <a:lnTo>
                  <a:pt x="5936" y="1388"/>
                </a:lnTo>
                <a:lnTo>
                  <a:pt x="5932" y="1390"/>
                </a:lnTo>
                <a:lnTo>
                  <a:pt x="5930" y="1394"/>
                </a:lnTo>
                <a:lnTo>
                  <a:pt x="5926" y="1400"/>
                </a:lnTo>
                <a:lnTo>
                  <a:pt x="5924" y="1404"/>
                </a:lnTo>
                <a:lnTo>
                  <a:pt x="5920" y="1408"/>
                </a:lnTo>
                <a:lnTo>
                  <a:pt x="5918" y="1408"/>
                </a:lnTo>
                <a:lnTo>
                  <a:pt x="5914" y="1402"/>
                </a:lnTo>
                <a:lnTo>
                  <a:pt x="5910" y="1394"/>
                </a:lnTo>
                <a:lnTo>
                  <a:pt x="5910" y="1388"/>
                </a:lnTo>
                <a:lnTo>
                  <a:pt x="5912" y="1378"/>
                </a:lnTo>
                <a:lnTo>
                  <a:pt x="5912" y="1374"/>
                </a:lnTo>
                <a:lnTo>
                  <a:pt x="5912" y="1372"/>
                </a:lnTo>
                <a:lnTo>
                  <a:pt x="5908" y="1368"/>
                </a:lnTo>
                <a:lnTo>
                  <a:pt x="5902" y="1362"/>
                </a:lnTo>
                <a:lnTo>
                  <a:pt x="5890" y="1354"/>
                </a:lnTo>
                <a:lnTo>
                  <a:pt x="5884" y="1348"/>
                </a:lnTo>
                <a:lnTo>
                  <a:pt x="5880" y="1344"/>
                </a:lnTo>
                <a:lnTo>
                  <a:pt x="5868" y="1338"/>
                </a:lnTo>
                <a:lnTo>
                  <a:pt x="5860" y="1336"/>
                </a:lnTo>
                <a:lnTo>
                  <a:pt x="5852" y="1336"/>
                </a:lnTo>
                <a:lnTo>
                  <a:pt x="5846" y="1336"/>
                </a:lnTo>
                <a:lnTo>
                  <a:pt x="5842" y="1338"/>
                </a:lnTo>
                <a:lnTo>
                  <a:pt x="5838" y="1340"/>
                </a:lnTo>
                <a:lnTo>
                  <a:pt x="5836" y="1344"/>
                </a:lnTo>
                <a:lnTo>
                  <a:pt x="5836" y="1346"/>
                </a:lnTo>
                <a:lnTo>
                  <a:pt x="5838" y="1350"/>
                </a:lnTo>
                <a:lnTo>
                  <a:pt x="5846" y="1354"/>
                </a:lnTo>
                <a:lnTo>
                  <a:pt x="5856" y="1360"/>
                </a:lnTo>
                <a:lnTo>
                  <a:pt x="5864" y="1364"/>
                </a:lnTo>
                <a:lnTo>
                  <a:pt x="5872" y="1372"/>
                </a:lnTo>
                <a:lnTo>
                  <a:pt x="5872" y="1374"/>
                </a:lnTo>
                <a:lnTo>
                  <a:pt x="5870" y="1376"/>
                </a:lnTo>
                <a:lnTo>
                  <a:pt x="5862" y="1372"/>
                </a:lnTo>
                <a:lnTo>
                  <a:pt x="5850" y="1366"/>
                </a:lnTo>
                <a:lnTo>
                  <a:pt x="5838" y="1358"/>
                </a:lnTo>
                <a:lnTo>
                  <a:pt x="5832" y="1354"/>
                </a:lnTo>
                <a:lnTo>
                  <a:pt x="5828" y="1354"/>
                </a:lnTo>
                <a:lnTo>
                  <a:pt x="5824" y="1354"/>
                </a:lnTo>
                <a:lnTo>
                  <a:pt x="5820" y="1356"/>
                </a:lnTo>
                <a:lnTo>
                  <a:pt x="5814" y="1364"/>
                </a:lnTo>
                <a:lnTo>
                  <a:pt x="5812" y="1376"/>
                </a:lnTo>
                <a:lnTo>
                  <a:pt x="5812" y="1380"/>
                </a:lnTo>
                <a:lnTo>
                  <a:pt x="5810" y="1384"/>
                </a:lnTo>
                <a:lnTo>
                  <a:pt x="5806" y="1384"/>
                </a:lnTo>
                <a:lnTo>
                  <a:pt x="5802" y="1386"/>
                </a:lnTo>
                <a:lnTo>
                  <a:pt x="5800" y="1388"/>
                </a:lnTo>
                <a:lnTo>
                  <a:pt x="5800" y="1392"/>
                </a:lnTo>
                <a:lnTo>
                  <a:pt x="5800" y="1396"/>
                </a:lnTo>
                <a:lnTo>
                  <a:pt x="5796" y="1396"/>
                </a:lnTo>
                <a:lnTo>
                  <a:pt x="5790" y="1396"/>
                </a:lnTo>
                <a:lnTo>
                  <a:pt x="5786" y="1396"/>
                </a:lnTo>
                <a:lnTo>
                  <a:pt x="5782" y="1396"/>
                </a:lnTo>
                <a:lnTo>
                  <a:pt x="5780" y="1398"/>
                </a:lnTo>
                <a:lnTo>
                  <a:pt x="5782" y="1402"/>
                </a:lnTo>
                <a:lnTo>
                  <a:pt x="5784" y="1404"/>
                </a:lnTo>
                <a:lnTo>
                  <a:pt x="5790" y="1406"/>
                </a:lnTo>
                <a:lnTo>
                  <a:pt x="5802" y="1410"/>
                </a:lnTo>
                <a:lnTo>
                  <a:pt x="5810" y="1410"/>
                </a:lnTo>
                <a:lnTo>
                  <a:pt x="5818" y="1408"/>
                </a:lnTo>
                <a:lnTo>
                  <a:pt x="5832" y="1404"/>
                </a:lnTo>
                <a:lnTo>
                  <a:pt x="5842" y="1402"/>
                </a:lnTo>
                <a:lnTo>
                  <a:pt x="5874" y="1404"/>
                </a:lnTo>
                <a:lnTo>
                  <a:pt x="5884" y="1406"/>
                </a:lnTo>
                <a:lnTo>
                  <a:pt x="5888" y="1408"/>
                </a:lnTo>
                <a:lnTo>
                  <a:pt x="5886" y="1410"/>
                </a:lnTo>
                <a:lnTo>
                  <a:pt x="5882" y="1412"/>
                </a:lnTo>
                <a:lnTo>
                  <a:pt x="5870" y="1418"/>
                </a:lnTo>
                <a:lnTo>
                  <a:pt x="5866" y="1422"/>
                </a:lnTo>
                <a:lnTo>
                  <a:pt x="5864" y="1424"/>
                </a:lnTo>
                <a:lnTo>
                  <a:pt x="5866" y="1428"/>
                </a:lnTo>
                <a:lnTo>
                  <a:pt x="5870" y="1430"/>
                </a:lnTo>
                <a:lnTo>
                  <a:pt x="5882" y="1430"/>
                </a:lnTo>
                <a:lnTo>
                  <a:pt x="5888" y="1430"/>
                </a:lnTo>
                <a:lnTo>
                  <a:pt x="5888" y="1432"/>
                </a:lnTo>
                <a:lnTo>
                  <a:pt x="5882" y="1436"/>
                </a:lnTo>
                <a:lnTo>
                  <a:pt x="5874" y="1438"/>
                </a:lnTo>
                <a:lnTo>
                  <a:pt x="5868" y="1438"/>
                </a:lnTo>
                <a:lnTo>
                  <a:pt x="5858" y="1436"/>
                </a:lnTo>
                <a:lnTo>
                  <a:pt x="5850" y="1434"/>
                </a:lnTo>
                <a:lnTo>
                  <a:pt x="5846" y="1434"/>
                </a:lnTo>
                <a:lnTo>
                  <a:pt x="5840" y="1436"/>
                </a:lnTo>
                <a:lnTo>
                  <a:pt x="5836" y="1440"/>
                </a:lnTo>
                <a:lnTo>
                  <a:pt x="5828" y="1440"/>
                </a:lnTo>
                <a:lnTo>
                  <a:pt x="5816" y="1442"/>
                </a:lnTo>
                <a:lnTo>
                  <a:pt x="5806" y="1444"/>
                </a:lnTo>
                <a:lnTo>
                  <a:pt x="5804" y="1446"/>
                </a:lnTo>
                <a:lnTo>
                  <a:pt x="5804" y="1450"/>
                </a:lnTo>
                <a:lnTo>
                  <a:pt x="5806" y="1454"/>
                </a:lnTo>
                <a:lnTo>
                  <a:pt x="5808" y="1454"/>
                </a:lnTo>
                <a:lnTo>
                  <a:pt x="5820" y="1454"/>
                </a:lnTo>
                <a:lnTo>
                  <a:pt x="5836" y="1452"/>
                </a:lnTo>
                <a:lnTo>
                  <a:pt x="5846" y="1452"/>
                </a:lnTo>
                <a:lnTo>
                  <a:pt x="5858" y="1454"/>
                </a:lnTo>
                <a:lnTo>
                  <a:pt x="5864" y="1454"/>
                </a:lnTo>
                <a:lnTo>
                  <a:pt x="5868" y="1456"/>
                </a:lnTo>
                <a:lnTo>
                  <a:pt x="5870" y="1460"/>
                </a:lnTo>
                <a:lnTo>
                  <a:pt x="5870" y="1462"/>
                </a:lnTo>
                <a:lnTo>
                  <a:pt x="5870" y="1468"/>
                </a:lnTo>
                <a:lnTo>
                  <a:pt x="5872" y="1470"/>
                </a:lnTo>
                <a:lnTo>
                  <a:pt x="5876" y="1472"/>
                </a:lnTo>
                <a:lnTo>
                  <a:pt x="5882" y="1476"/>
                </a:lnTo>
                <a:lnTo>
                  <a:pt x="5886" y="1484"/>
                </a:lnTo>
                <a:lnTo>
                  <a:pt x="5888" y="1492"/>
                </a:lnTo>
                <a:lnTo>
                  <a:pt x="5884" y="1500"/>
                </a:lnTo>
                <a:lnTo>
                  <a:pt x="5880" y="1504"/>
                </a:lnTo>
                <a:lnTo>
                  <a:pt x="5874" y="1504"/>
                </a:lnTo>
                <a:lnTo>
                  <a:pt x="5866" y="1502"/>
                </a:lnTo>
                <a:lnTo>
                  <a:pt x="5858" y="1500"/>
                </a:lnTo>
                <a:lnTo>
                  <a:pt x="5856" y="1502"/>
                </a:lnTo>
                <a:lnTo>
                  <a:pt x="5854" y="1508"/>
                </a:lnTo>
                <a:lnTo>
                  <a:pt x="5856" y="1512"/>
                </a:lnTo>
                <a:lnTo>
                  <a:pt x="5858" y="1516"/>
                </a:lnTo>
                <a:lnTo>
                  <a:pt x="5862" y="1518"/>
                </a:lnTo>
                <a:lnTo>
                  <a:pt x="5866" y="1518"/>
                </a:lnTo>
                <a:lnTo>
                  <a:pt x="5880" y="1518"/>
                </a:lnTo>
                <a:lnTo>
                  <a:pt x="5904" y="1516"/>
                </a:lnTo>
                <a:lnTo>
                  <a:pt x="5916" y="1518"/>
                </a:lnTo>
                <a:lnTo>
                  <a:pt x="5928" y="1520"/>
                </a:lnTo>
                <a:lnTo>
                  <a:pt x="5936" y="1522"/>
                </a:lnTo>
                <a:lnTo>
                  <a:pt x="5944" y="1526"/>
                </a:lnTo>
                <a:lnTo>
                  <a:pt x="5958" y="1534"/>
                </a:lnTo>
                <a:lnTo>
                  <a:pt x="5966" y="1536"/>
                </a:lnTo>
                <a:lnTo>
                  <a:pt x="5976" y="1538"/>
                </a:lnTo>
                <a:lnTo>
                  <a:pt x="5986" y="1538"/>
                </a:lnTo>
                <a:lnTo>
                  <a:pt x="5992" y="1540"/>
                </a:lnTo>
                <a:lnTo>
                  <a:pt x="6002" y="1546"/>
                </a:lnTo>
                <a:lnTo>
                  <a:pt x="6008" y="1548"/>
                </a:lnTo>
                <a:lnTo>
                  <a:pt x="6014" y="1550"/>
                </a:lnTo>
                <a:lnTo>
                  <a:pt x="6020" y="1550"/>
                </a:lnTo>
                <a:lnTo>
                  <a:pt x="6030" y="1546"/>
                </a:lnTo>
                <a:lnTo>
                  <a:pt x="6040" y="1544"/>
                </a:lnTo>
                <a:lnTo>
                  <a:pt x="6046" y="1538"/>
                </a:lnTo>
                <a:lnTo>
                  <a:pt x="6052" y="1530"/>
                </a:lnTo>
                <a:lnTo>
                  <a:pt x="6056" y="1528"/>
                </a:lnTo>
                <a:lnTo>
                  <a:pt x="6058" y="1524"/>
                </a:lnTo>
                <a:lnTo>
                  <a:pt x="6064" y="1522"/>
                </a:lnTo>
                <a:lnTo>
                  <a:pt x="6072" y="1522"/>
                </a:lnTo>
                <a:lnTo>
                  <a:pt x="6080" y="1522"/>
                </a:lnTo>
                <a:lnTo>
                  <a:pt x="6088" y="1520"/>
                </a:lnTo>
                <a:lnTo>
                  <a:pt x="6104" y="1514"/>
                </a:lnTo>
                <a:lnTo>
                  <a:pt x="6136" y="1494"/>
                </a:lnTo>
                <a:lnTo>
                  <a:pt x="6146" y="1490"/>
                </a:lnTo>
                <a:lnTo>
                  <a:pt x="6154" y="1486"/>
                </a:lnTo>
                <a:lnTo>
                  <a:pt x="6168" y="1484"/>
                </a:lnTo>
                <a:lnTo>
                  <a:pt x="6174" y="1484"/>
                </a:lnTo>
                <a:lnTo>
                  <a:pt x="6178" y="1482"/>
                </a:lnTo>
                <a:lnTo>
                  <a:pt x="6184" y="1478"/>
                </a:lnTo>
                <a:lnTo>
                  <a:pt x="6188" y="1470"/>
                </a:lnTo>
                <a:close/>
                <a:moveTo>
                  <a:pt x="4306" y="176"/>
                </a:moveTo>
                <a:lnTo>
                  <a:pt x="4306" y="176"/>
                </a:lnTo>
                <a:lnTo>
                  <a:pt x="4312" y="186"/>
                </a:lnTo>
                <a:lnTo>
                  <a:pt x="4316" y="194"/>
                </a:lnTo>
                <a:lnTo>
                  <a:pt x="4316" y="202"/>
                </a:lnTo>
                <a:lnTo>
                  <a:pt x="4314" y="210"/>
                </a:lnTo>
                <a:lnTo>
                  <a:pt x="4310" y="214"/>
                </a:lnTo>
                <a:lnTo>
                  <a:pt x="4302" y="218"/>
                </a:lnTo>
                <a:lnTo>
                  <a:pt x="4294" y="220"/>
                </a:lnTo>
                <a:lnTo>
                  <a:pt x="4282" y="216"/>
                </a:lnTo>
                <a:lnTo>
                  <a:pt x="4262" y="212"/>
                </a:lnTo>
                <a:lnTo>
                  <a:pt x="4242" y="210"/>
                </a:lnTo>
                <a:lnTo>
                  <a:pt x="4222" y="210"/>
                </a:lnTo>
                <a:lnTo>
                  <a:pt x="4204" y="212"/>
                </a:lnTo>
                <a:lnTo>
                  <a:pt x="4186" y="216"/>
                </a:lnTo>
                <a:lnTo>
                  <a:pt x="4170" y="222"/>
                </a:lnTo>
                <a:lnTo>
                  <a:pt x="4156" y="230"/>
                </a:lnTo>
                <a:lnTo>
                  <a:pt x="4140" y="238"/>
                </a:lnTo>
                <a:lnTo>
                  <a:pt x="4110" y="254"/>
                </a:lnTo>
                <a:lnTo>
                  <a:pt x="4080" y="270"/>
                </a:lnTo>
                <a:lnTo>
                  <a:pt x="4068" y="276"/>
                </a:lnTo>
                <a:lnTo>
                  <a:pt x="4058" y="282"/>
                </a:lnTo>
                <a:lnTo>
                  <a:pt x="4054" y="290"/>
                </a:lnTo>
                <a:lnTo>
                  <a:pt x="4054" y="292"/>
                </a:lnTo>
                <a:lnTo>
                  <a:pt x="4056" y="296"/>
                </a:lnTo>
                <a:lnTo>
                  <a:pt x="4062" y="300"/>
                </a:lnTo>
                <a:lnTo>
                  <a:pt x="4070" y="304"/>
                </a:lnTo>
                <a:lnTo>
                  <a:pt x="4080" y="306"/>
                </a:lnTo>
                <a:lnTo>
                  <a:pt x="4092" y="308"/>
                </a:lnTo>
                <a:lnTo>
                  <a:pt x="4116" y="308"/>
                </a:lnTo>
                <a:lnTo>
                  <a:pt x="4138" y="306"/>
                </a:lnTo>
                <a:lnTo>
                  <a:pt x="4146" y="306"/>
                </a:lnTo>
                <a:lnTo>
                  <a:pt x="4152" y="310"/>
                </a:lnTo>
                <a:lnTo>
                  <a:pt x="4154" y="316"/>
                </a:lnTo>
                <a:lnTo>
                  <a:pt x="4156" y="326"/>
                </a:lnTo>
                <a:lnTo>
                  <a:pt x="4154" y="336"/>
                </a:lnTo>
                <a:lnTo>
                  <a:pt x="4152" y="348"/>
                </a:lnTo>
                <a:lnTo>
                  <a:pt x="4146" y="360"/>
                </a:lnTo>
                <a:lnTo>
                  <a:pt x="4136" y="370"/>
                </a:lnTo>
                <a:lnTo>
                  <a:pt x="4126" y="378"/>
                </a:lnTo>
                <a:lnTo>
                  <a:pt x="4116" y="384"/>
                </a:lnTo>
                <a:lnTo>
                  <a:pt x="4104" y="384"/>
                </a:lnTo>
                <a:lnTo>
                  <a:pt x="4090" y="384"/>
                </a:lnTo>
                <a:lnTo>
                  <a:pt x="4060" y="382"/>
                </a:lnTo>
                <a:lnTo>
                  <a:pt x="4042" y="382"/>
                </a:lnTo>
                <a:lnTo>
                  <a:pt x="4024" y="384"/>
                </a:lnTo>
                <a:lnTo>
                  <a:pt x="4008" y="386"/>
                </a:lnTo>
                <a:lnTo>
                  <a:pt x="3998" y="390"/>
                </a:lnTo>
                <a:lnTo>
                  <a:pt x="3992" y="394"/>
                </a:lnTo>
                <a:lnTo>
                  <a:pt x="3986" y="398"/>
                </a:lnTo>
                <a:lnTo>
                  <a:pt x="3978" y="402"/>
                </a:lnTo>
                <a:lnTo>
                  <a:pt x="3966" y="408"/>
                </a:lnTo>
                <a:lnTo>
                  <a:pt x="3948" y="412"/>
                </a:lnTo>
                <a:lnTo>
                  <a:pt x="3920" y="416"/>
                </a:lnTo>
                <a:lnTo>
                  <a:pt x="3892" y="422"/>
                </a:lnTo>
                <a:lnTo>
                  <a:pt x="3868" y="428"/>
                </a:lnTo>
                <a:lnTo>
                  <a:pt x="3852" y="434"/>
                </a:lnTo>
                <a:lnTo>
                  <a:pt x="3842" y="440"/>
                </a:lnTo>
                <a:lnTo>
                  <a:pt x="3836" y="448"/>
                </a:lnTo>
                <a:lnTo>
                  <a:pt x="3836" y="456"/>
                </a:lnTo>
                <a:lnTo>
                  <a:pt x="3840" y="462"/>
                </a:lnTo>
                <a:lnTo>
                  <a:pt x="3848" y="470"/>
                </a:lnTo>
                <a:lnTo>
                  <a:pt x="3856" y="478"/>
                </a:lnTo>
                <a:lnTo>
                  <a:pt x="3864" y="480"/>
                </a:lnTo>
                <a:lnTo>
                  <a:pt x="3874" y="482"/>
                </a:lnTo>
                <a:lnTo>
                  <a:pt x="3884" y="484"/>
                </a:lnTo>
                <a:lnTo>
                  <a:pt x="3888" y="486"/>
                </a:lnTo>
                <a:lnTo>
                  <a:pt x="3894" y="490"/>
                </a:lnTo>
                <a:lnTo>
                  <a:pt x="3898" y="494"/>
                </a:lnTo>
                <a:lnTo>
                  <a:pt x="3904" y="496"/>
                </a:lnTo>
                <a:lnTo>
                  <a:pt x="3914" y="494"/>
                </a:lnTo>
                <a:lnTo>
                  <a:pt x="3924" y="494"/>
                </a:lnTo>
                <a:lnTo>
                  <a:pt x="3928" y="496"/>
                </a:lnTo>
                <a:lnTo>
                  <a:pt x="3934" y="500"/>
                </a:lnTo>
                <a:lnTo>
                  <a:pt x="3938" y="506"/>
                </a:lnTo>
                <a:lnTo>
                  <a:pt x="3944" y="510"/>
                </a:lnTo>
                <a:lnTo>
                  <a:pt x="3952" y="512"/>
                </a:lnTo>
                <a:lnTo>
                  <a:pt x="3960" y="514"/>
                </a:lnTo>
                <a:lnTo>
                  <a:pt x="3982" y="516"/>
                </a:lnTo>
                <a:lnTo>
                  <a:pt x="4012" y="516"/>
                </a:lnTo>
                <a:lnTo>
                  <a:pt x="4028" y="516"/>
                </a:lnTo>
                <a:lnTo>
                  <a:pt x="4046" y="512"/>
                </a:lnTo>
                <a:lnTo>
                  <a:pt x="4074" y="508"/>
                </a:lnTo>
                <a:lnTo>
                  <a:pt x="4086" y="506"/>
                </a:lnTo>
                <a:lnTo>
                  <a:pt x="4096" y="504"/>
                </a:lnTo>
                <a:lnTo>
                  <a:pt x="4104" y="506"/>
                </a:lnTo>
                <a:lnTo>
                  <a:pt x="4108" y="510"/>
                </a:lnTo>
                <a:lnTo>
                  <a:pt x="4110" y="516"/>
                </a:lnTo>
                <a:lnTo>
                  <a:pt x="4106" y="520"/>
                </a:lnTo>
                <a:lnTo>
                  <a:pt x="4098" y="522"/>
                </a:lnTo>
                <a:lnTo>
                  <a:pt x="4086" y="524"/>
                </a:lnTo>
                <a:lnTo>
                  <a:pt x="4010" y="528"/>
                </a:lnTo>
                <a:lnTo>
                  <a:pt x="3964" y="532"/>
                </a:lnTo>
                <a:lnTo>
                  <a:pt x="3942" y="536"/>
                </a:lnTo>
                <a:lnTo>
                  <a:pt x="3922" y="542"/>
                </a:lnTo>
                <a:lnTo>
                  <a:pt x="3908" y="546"/>
                </a:lnTo>
                <a:lnTo>
                  <a:pt x="3898" y="552"/>
                </a:lnTo>
                <a:lnTo>
                  <a:pt x="3898" y="554"/>
                </a:lnTo>
                <a:lnTo>
                  <a:pt x="3898" y="558"/>
                </a:lnTo>
                <a:lnTo>
                  <a:pt x="3900" y="560"/>
                </a:lnTo>
                <a:lnTo>
                  <a:pt x="3906" y="564"/>
                </a:lnTo>
                <a:lnTo>
                  <a:pt x="3920" y="570"/>
                </a:lnTo>
                <a:lnTo>
                  <a:pt x="3938" y="574"/>
                </a:lnTo>
                <a:lnTo>
                  <a:pt x="3976" y="580"/>
                </a:lnTo>
                <a:lnTo>
                  <a:pt x="3990" y="582"/>
                </a:lnTo>
                <a:lnTo>
                  <a:pt x="3998" y="586"/>
                </a:lnTo>
                <a:lnTo>
                  <a:pt x="3996" y="588"/>
                </a:lnTo>
                <a:lnTo>
                  <a:pt x="3984" y="594"/>
                </a:lnTo>
                <a:lnTo>
                  <a:pt x="3972" y="598"/>
                </a:lnTo>
                <a:lnTo>
                  <a:pt x="3968" y="600"/>
                </a:lnTo>
                <a:lnTo>
                  <a:pt x="3968" y="604"/>
                </a:lnTo>
                <a:lnTo>
                  <a:pt x="3970" y="606"/>
                </a:lnTo>
                <a:lnTo>
                  <a:pt x="3972" y="608"/>
                </a:lnTo>
                <a:lnTo>
                  <a:pt x="3982" y="614"/>
                </a:lnTo>
                <a:lnTo>
                  <a:pt x="4018" y="624"/>
                </a:lnTo>
                <a:lnTo>
                  <a:pt x="4062" y="636"/>
                </a:lnTo>
                <a:lnTo>
                  <a:pt x="4078" y="640"/>
                </a:lnTo>
                <a:lnTo>
                  <a:pt x="4084" y="642"/>
                </a:lnTo>
                <a:lnTo>
                  <a:pt x="4084" y="640"/>
                </a:lnTo>
                <a:lnTo>
                  <a:pt x="4084" y="638"/>
                </a:lnTo>
                <a:lnTo>
                  <a:pt x="4078" y="634"/>
                </a:lnTo>
                <a:lnTo>
                  <a:pt x="4066" y="622"/>
                </a:lnTo>
                <a:lnTo>
                  <a:pt x="4064" y="616"/>
                </a:lnTo>
                <a:lnTo>
                  <a:pt x="4064" y="614"/>
                </a:lnTo>
                <a:lnTo>
                  <a:pt x="4068" y="614"/>
                </a:lnTo>
                <a:lnTo>
                  <a:pt x="4074" y="612"/>
                </a:lnTo>
                <a:lnTo>
                  <a:pt x="4078" y="614"/>
                </a:lnTo>
                <a:lnTo>
                  <a:pt x="4084" y="618"/>
                </a:lnTo>
                <a:lnTo>
                  <a:pt x="4086" y="620"/>
                </a:lnTo>
                <a:lnTo>
                  <a:pt x="4090" y="622"/>
                </a:lnTo>
                <a:lnTo>
                  <a:pt x="4098" y="622"/>
                </a:lnTo>
                <a:lnTo>
                  <a:pt x="4108" y="618"/>
                </a:lnTo>
                <a:lnTo>
                  <a:pt x="4118" y="614"/>
                </a:lnTo>
                <a:lnTo>
                  <a:pt x="4122" y="614"/>
                </a:lnTo>
                <a:lnTo>
                  <a:pt x="4124" y="614"/>
                </a:lnTo>
                <a:lnTo>
                  <a:pt x="4122" y="618"/>
                </a:lnTo>
                <a:lnTo>
                  <a:pt x="4120" y="622"/>
                </a:lnTo>
                <a:lnTo>
                  <a:pt x="4122" y="626"/>
                </a:lnTo>
                <a:lnTo>
                  <a:pt x="4126" y="628"/>
                </a:lnTo>
                <a:lnTo>
                  <a:pt x="4136" y="630"/>
                </a:lnTo>
                <a:lnTo>
                  <a:pt x="4148" y="630"/>
                </a:lnTo>
                <a:lnTo>
                  <a:pt x="4156" y="626"/>
                </a:lnTo>
                <a:lnTo>
                  <a:pt x="4162" y="622"/>
                </a:lnTo>
                <a:lnTo>
                  <a:pt x="4166" y="618"/>
                </a:lnTo>
                <a:lnTo>
                  <a:pt x="4170" y="614"/>
                </a:lnTo>
                <a:lnTo>
                  <a:pt x="4174" y="612"/>
                </a:lnTo>
                <a:lnTo>
                  <a:pt x="4180" y="614"/>
                </a:lnTo>
                <a:lnTo>
                  <a:pt x="4188" y="620"/>
                </a:lnTo>
                <a:lnTo>
                  <a:pt x="4194" y="624"/>
                </a:lnTo>
                <a:lnTo>
                  <a:pt x="4200" y="624"/>
                </a:lnTo>
                <a:lnTo>
                  <a:pt x="4204" y="622"/>
                </a:lnTo>
                <a:lnTo>
                  <a:pt x="4208" y="618"/>
                </a:lnTo>
                <a:lnTo>
                  <a:pt x="4210" y="614"/>
                </a:lnTo>
                <a:lnTo>
                  <a:pt x="4216" y="610"/>
                </a:lnTo>
                <a:lnTo>
                  <a:pt x="4224" y="608"/>
                </a:lnTo>
                <a:lnTo>
                  <a:pt x="4232" y="612"/>
                </a:lnTo>
                <a:lnTo>
                  <a:pt x="4244" y="614"/>
                </a:lnTo>
                <a:lnTo>
                  <a:pt x="4258" y="616"/>
                </a:lnTo>
                <a:lnTo>
                  <a:pt x="4282" y="618"/>
                </a:lnTo>
                <a:lnTo>
                  <a:pt x="4304" y="620"/>
                </a:lnTo>
                <a:lnTo>
                  <a:pt x="4312" y="622"/>
                </a:lnTo>
                <a:lnTo>
                  <a:pt x="4320" y="626"/>
                </a:lnTo>
                <a:lnTo>
                  <a:pt x="4326" y="632"/>
                </a:lnTo>
                <a:lnTo>
                  <a:pt x="4330" y="634"/>
                </a:lnTo>
                <a:lnTo>
                  <a:pt x="4336" y="634"/>
                </a:lnTo>
                <a:lnTo>
                  <a:pt x="4342" y="632"/>
                </a:lnTo>
                <a:lnTo>
                  <a:pt x="4348" y="634"/>
                </a:lnTo>
                <a:lnTo>
                  <a:pt x="4358" y="636"/>
                </a:lnTo>
                <a:lnTo>
                  <a:pt x="4370" y="642"/>
                </a:lnTo>
                <a:lnTo>
                  <a:pt x="4396" y="654"/>
                </a:lnTo>
                <a:lnTo>
                  <a:pt x="4414" y="662"/>
                </a:lnTo>
                <a:lnTo>
                  <a:pt x="4420" y="666"/>
                </a:lnTo>
                <a:lnTo>
                  <a:pt x="4422" y="670"/>
                </a:lnTo>
                <a:lnTo>
                  <a:pt x="4420" y="674"/>
                </a:lnTo>
                <a:lnTo>
                  <a:pt x="4414" y="680"/>
                </a:lnTo>
                <a:lnTo>
                  <a:pt x="4412" y="682"/>
                </a:lnTo>
                <a:lnTo>
                  <a:pt x="4412" y="686"/>
                </a:lnTo>
                <a:lnTo>
                  <a:pt x="4414" y="690"/>
                </a:lnTo>
                <a:lnTo>
                  <a:pt x="4418" y="694"/>
                </a:lnTo>
                <a:lnTo>
                  <a:pt x="4432" y="704"/>
                </a:lnTo>
                <a:lnTo>
                  <a:pt x="4448" y="714"/>
                </a:lnTo>
                <a:lnTo>
                  <a:pt x="4480" y="734"/>
                </a:lnTo>
                <a:lnTo>
                  <a:pt x="4488" y="742"/>
                </a:lnTo>
                <a:lnTo>
                  <a:pt x="4490" y="746"/>
                </a:lnTo>
                <a:lnTo>
                  <a:pt x="4490" y="750"/>
                </a:lnTo>
                <a:lnTo>
                  <a:pt x="4486" y="756"/>
                </a:lnTo>
                <a:lnTo>
                  <a:pt x="4480" y="762"/>
                </a:lnTo>
                <a:lnTo>
                  <a:pt x="4468" y="776"/>
                </a:lnTo>
                <a:lnTo>
                  <a:pt x="4464" y="780"/>
                </a:lnTo>
                <a:lnTo>
                  <a:pt x="4464" y="782"/>
                </a:lnTo>
                <a:lnTo>
                  <a:pt x="4468" y="782"/>
                </a:lnTo>
                <a:lnTo>
                  <a:pt x="4478" y="780"/>
                </a:lnTo>
                <a:lnTo>
                  <a:pt x="4498" y="774"/>
                </a:lnTo>
                <a:lnTo>
                  <a:pt x="4502" y="774"/>
                </a:lnTo>
                <a:lnTo>
                  <a:pt x="4504" y="776"/>
                </a:lnTo>
                <a:lnTo>
                  <a:pt x="4508" y="782"/>
                </a:lnTo>
                <a:lnTo>
                  <a:pt x="4510" y="786"/>
                </a:lnTo>
                <a:lnTo>
                  <a:pt x="4516" y="790"/>
                </a:lnTo>
                <a:lnTo>
                  <a:pt x="4522" y="794"/>
                </a:lnTo>
                <a:lnTo>
                  <a:pt x="4522" y="798"/>
                </a:lnTo>
                <a:lnTo>
                  <a:pt x="4520" y="802"/>
                </a:lnTo>
                <a:lnTo>
                  <a:pt x="4518" y="806"/>
                </a:lnTo>
                <a:lnTo>
                  <a:pt x="4516" y="808"/>
                </a:lnTo>
                <a:lnTo>
                  <a:pt x="4516" y="812"/>
                </a:lnTo>
                <a:lnTo>
                  <a:pt x="4522" y="818"/>
                </a:lnTo>
                <a:lnTo>
                  <a:pt x="4534" y="822"/>
                </a:lnTo>
                <a:lnTo>
                  <a:pt x="4542" y="828"/>
                </a:lnTo>
                <a:lnTo>
                  <a:pt x="4544" y="832"/>
                </a:lnTo>
                <a:lnTo>
                  <a:pt x="4542" y="838"/>
                </a:lnTo>
                <a:lnTo>
                  <a:pt x="4538" y="844"/>
                </a:lnTo>
                <a:lnTo>
                  <a:pt x="4536" y="848"/>
                </a:lnTo>
                <a:lnTo>
                  <a:pt x="4534" y="854"/>
                </a:lnTo>
                <a:lnTo>
                  <a:pt x="4538" y="858"/>
                </a:lnTo>
                <a:lnTo>
                  <a:pt x="4546" y="860"/>
                </a:lnTo>
                <a:lnTo>
                  <a:pt x="4556" y="864"/>
                </a:lnTo>
                <a:lnTo>
                  <a:pt x="4564" y="870"/>
                </a:lnTo>
                <a:lnTo>
                  <a:pt x="4566" y="876"/>
                </a:lnTo>
                <a:lnTo>
                  <a:pt x="4566" y="882"/>
                </a:lnTo>
                <a:lnTo>
                  <a:pt x="4564" y="888"/>
                </a:lnTo>
                <a:lnTo>
                  <a:pt x="4560" y="894"/>
                </a:lnTo>
                <a:lnTo>
                  <a:pt x="4552" y="898"/>
                </a:lnTo>
                <a:lnTo>
                  <a:pt x="4544" y="900"/>
                </a:lnTo>
                <a:lnTo>
                  <a:pt x="4536" y="902"/>
                </a:lnTo>
                <a:lnTo>
                  <a:pt x="4530" y="906"/>
                </a:lnTo>
                <a:lnTo>
                  <a:pt x="4526" y="910"/>
                </a:lnTo>
                <a:lnTo>
                  <a:pt x="4526" y="916"/>
                </a:lnTo>
                <a:lnTo>
                  <a:pt x="4528" y="922"/>
                </a:lnTo>
                <a:lnTo>
                  <a:pt x="4530" y="928"/>
                </a:lnTo>
                <a:lnTo>
                  <a:pt x="4542" y="942"/>
                </a:lnTo>
                <a:lnTo>
                  <a:pt x="4544" y="948"/>
                </a:lnTo>
                <a:lnTo>
                  <a:pt x="4544" y="952"/>
                </a:lnTo>
                <a:lnTo>
                  <a:pt x="4540" y="954"/>
                </a:lnTo>
                <a:lnTo>
                  <a:pt x="4534" y="956"/>
                </a:lnTo>
                <a:lnTo>
                  <a:pt x="4522" y="958"/>
                </a:lnTo>
                <a:lnTo>
                  <a:pt x="4518" y="960"/>
                </a:lnTo>
                <a:lnTo>
                  <a:pt x="4520" y="962"/>
                </a:lnTo>
                <a:lnTo>
                  <a:pt x="4526" y="970"/>
                </a:lnTo>
                <a:lnTo>
                  <a:pt x="4532" y="980"/>
                </a:lnTo>
                <a:lnTo>
                  <a:pt x="4534" y="982"/>
                </a:lnTo>
                <a:lnTo>
                  <a:pt x="4538" y="986"/>
                </a:lnTo>
                <a:lnTo>
                  <a:pt x="4542" y="986"/>
                </a:lnTo>
                <a:lnTo>
                  <a:pt x="4546" y="984"/>
                </a:lnTo>
                <a:lnTo>
                  <a:pt x="4552" y="982"/>
                </a:lnTo>
                <a:lnTo>
                  <a:pt x="4560" y="984"/>
                </a:lnTo>
                <a:lnTo>
                  <a:pt x="4574" y="988"/>
                </a:lnTo>
                <a:lnTo>
                  <a:pt x="4580" y="988"/>
                </a:lnTo>
                <a:lnTo>
                  <a:pt x="4588" y="988"/>
                </a:lnTo>
                <a:lnTo>
                  <a:pt x="4594" y="984"/>
                </a:lnTo>
                <a:lnTo>
                  <a:pt x="4600" y="974"/>
                </a:lnTo>
                <a:lnTo>
                  <a:pt x="4604" y="970"/>
                </a:lnTo>
                <a:lnTo>
                  <a:pt x="4608" y="966"/>
                </a:lnTo>
                <a:lnTo>
                  <a:pt x="4616" y="960"/>
                </a:lnTo>
                <a:lnTo>
                  <a:pt x="4626" y="958"/>
                </a:lnTo>
                <a:lnTo>
                  <a:pt x="4636" y="960"/>
                </a:lnTo>
                <a:lnTo>
                  <a:pt x="4646" y="962"/>
                </a:lnTo>
                <a:lnTo>
                  <a:pt x="4652" y="966"/>
                </a:lnTo>
                <a:lnTo>
                  <a:pt x="4654" y="968"/>
                </a:lnTo>
                <a:lnTo>
                  <a:pt x="4654" y="970"/>
                </a:lnTo>
                <a:lnTo>
                  <a:pt x="4654" y="972"/>
                </a:lnTo>
                <a:lnTo>
                  <a:pt x="4648" y="976"/>
                </a:lnTo>
                <a:lnTo>
                  <a:pt x="4646" y="980"/>
                </a:lnTo>
                <a:lnTo>
                  <a:pt x="4650" y="982"/>
                </a:lnTo>
                <a:lnTo>
                  <a:pt x="4654" y="982"/>
                </a:lnTo>
                <a:lnTo>
                  <a:pt x="4660" y="984"/>
                </a:lnTo>
                <a:lnTo>
                  <a:pt x="4664" y="986"/>
                </a:lnTo>
                <a:lnTo>
                  <a:pt x="4666" y="988"/>
                </a:lnTo>
                <a:lnTo>
                  <a:pt x="4662" y="994"/>
                </a:lnTo>
                <a:lnTo>
                  <a:pt x="4660" y="996"/>
                </a:lnTo>
                <a:lnTo>
                  <a:pt x="4660" y="1000"/>
                </a:lnTo>
                <a:lnTo>
                  <a:pt x="4666" y="1006"/>
                </a:lnTo>
                <a:lnTo>
                  <a:pt x="4674" y="1010"/>
                </a:lnTo>
                <a:lnTo>
                  <a:pt x="4684" y="1014"/>
                </a:lnTo>
                <a:lnTo>
                  <a:pt x="4702" y="1020"/>
                </a:lnTo>
                <a:lnTo>
                  <a:pt x="4710" y="1022"/>
                </a:lnTo>
                <a:lnTo>
                  <a:pt x="4710" y="1024"/>
                </a:lnTo>
                <a:lnTo>
                  <a:pt x="4704" y="1032"/>
                </a:lnTo>
                <a:lnTo>
                  <a:pt x="4702" y="1038"/>
                </a:lnTo>
                <a:lnTo>
                  <a:pt x="4706" y="1044"/>
                </a:lnTo>
                <a:lnTo>
                  <a:pt x="4710" y="1050"/>
                </a:lnTo>
                <a:lnTo>
                  <a:pt x="4712" y="1052"/>
                </a:lnTo>
                <a:lnTo>
                  <a:pt x="4710" y="1054"/>
                </a:lnTo>
                <a:lnTo>
                  <a:pt x="4700" y="1052"/>
                </a:lnTo>
                <a:lnTo>
                  <a:pt x="4684" y="1048"/>
                </a:lnTo>
                <a:lnTo>
                  <a:pt x="4668" y="1040"/>
                </a:lnTo>
                <a:lnTo>
                  <a:pt x="4658" y="1034"/>
                </a:lnTo>
                <a:lnTo>
                  <a:pt x="4646" y="1032"/>
                </a:lnTo>
                <a:lnTo>
                  <a:pt x="4620" y="1028"/>
                </a:lnTo>
                <a:lnTo>
                  <a:pt x="4594" y="1028"/>
                </a:lnTo>
                <a:lnTo>
                  <a:pt x="4584" y="1030"/>
                </a:lnTo>
                <a:lnTo>
                  <a:pt x="4578" y="1032"/>
                </a:lnTo>
                <a:lnTo>
                  <a:pt x="4576" y="1036"/>
                </a:lnTo>
                <a:lnTo>
                  <a:pt x="4576" y="1040"/>
                </a:lnTo>
                <a:lnTo>
                  <a:pt x="4580" y="1044"/>
                </a:lnTo>
                <a:lnTo>
                  <a:pt x="4586" y="1048"/>
                </a:lnTo>
                <a:lnTo>
                  <a:pt x="4602" y="1056"/>
                </a:lnTo>
                <a:lnTo>
                  <a:pt x="4618" y="1058"/>
                </a:lnTo>
                <a:lnTo>
                  <a:pt x="4632" y="1060"/>
                </a:lnTo>
                <a:lnTo>
                  <a:pt x="4640" y="1064"/>
                </a:lnTo>
                <a:lnTo>
                  <a:pt x="4648" y="1068"/>
                </a:lnTo>
                <a:lnTo>
                  <a:pt x="4652" y="1072"/>
                </a:lnTo>
                <a:lnTo>
                  <a:pt x="4656" y="1076"/>
                </a:lnTo>
                <a:lnTo>
                  <a:pt x="4660" y="1082"/>
                </a:lnTo>
                <a:lnTo>
                  <a:pt x="4668" y="1084"/>
                </a:lnTo>
                <a:lnTo>
                  <a:pt x="4680" y="1086"/>
                </a:lnTo>
                <a:lnTo>
                  <a:pt x="4694" y="1088"/>
                </a:lnTo>
                <a:lnTo>
                  <a:pt x="4702" y="1092"/>
                </a:lnTo>
                <a:lnTo>
                  <a:pt x="4704" y="1094"/>
                </a:lnTo>
                <a:lnTo>
                  <a:pt x="4706" y="1098"/>
                </a:lnTo>
                <a:lnTo>
                  <a:pt x="4704" y="1106"/>
                </a:lnTo>
                <a:lnTo>
                  <a:pt x="4702" y="1112"/>
                </a:lnTo>
                <a:lnTo>
                  <a:pt x="4706" y="1118"/>
                </a:lnTo>
                <a:lnTo>
                  <a:pt x="4710" y="1120"/>
                </a:lnTo>
                <a:lnTo>
                  <a:pt x="4712" y="1120"/>
                </a:lnTo>
                <a:lnTo>
                  <a:pt x="4716" y="1116"/>
                </a:lnTo>
                <a:lnTo>
                  <a:pt x="4718" y="1112"/>
                </a:lnTo>
                <a:lnTo>
                  <a:pt x="4724" y="1106"/>
                </a:lnTo>
                <a:lnTo>
                  <a:pt x="4726" y="1108"/>
                </a:lnTo>
                <a:lnTo>
                  <a:pt x="4726" y="1114"/>
                </a:lnTo>
                <a:lnTo>
                  <a:pt x="4724" y="1120"/>
                </a:lnTo>
                <a:lnTo>
                  <a:pt x="4718" y="1134"/>
                </a:lnTo>
                <a:lnTo>
                  <a:pt x="4712" y="1148"/>
                </a:lnTo>
                <a:lnTo>
                  <a:pt x="4708" y="1162"/>
                </a:lnTo>
                <a:lnTo>
                  <a:pt x="4708" y="1170"/>
                </a:lnTo>
                <a:lnTo>
                  <a:pt x="4708" y="1174"/>
                </a:lnTo>
                <a:lnTo>
                  <a:pt x="4712" y="1182"/>
                </a:lnTo>
                <a:lnTo>
                  <a:pt x="4712" y="1184"/>
                </a:lnTo>
                <a:lnTo>
                  <a:pt x="4712" y="1186"/>
                </a:lnTo>
                <a:lnTo>
                  <a:pt x="4702" y="1192"/>
                </a:lnTo>
                <a:lnTo>
                  <a:pt x="4694" y="1194"/>
                </a:lnTo>
                <a:lnTo>
                  <a:pt x="4686" y="1194"/>
                </a:lnTo>
                <a:lnTo>
                  <a:pt x="4674" y="1192"/>
                </a:lnTo>
                <a:lnTo>
                  <a:pt x="4664" y="1190"/>
                </a:lnTo>
                <a:lnTo>
                  <a:pt x="4658" y="1190"/>
                </a:lnTo>
                <a:lnTo>
                  <a:pt x="4654" y="1192"/>
                </a:lnTo>
                <a:lnTo>
                  <a:pt x="4650" y="1196"/>
                </a:lnTo>
                <a:lnTo>
                  <a:pt x="4644" y="1198"/>
                </a:lnTo>
                <a:lnTo>
                  <a:pt x="4632" y="1200"/>
                </a:lnTo>
                <a:lnTo>
                  <a:pt x="4624" y="1204"/>
                </a:lnTo>
                <a:lnTo>
                  <a:pt x="4622" y="1206"/>
                </a:lnTo>
                <a:lnTo>
                  <a:pt x="4624" y="1208"/>
                </a:lnTo>
                <a:lnTo>
                  <a:pt x="4624" y="1212"/>
                </a:lnTo>
                <a:lnTo>
                  <a:pt x="4622" y="1214"/>
                </a:lnTo>
                <a:lnTo>
                  <a:pt x="4620" y="1214"/>
                </a:lnTo>
                <a:lnTo>
                  <a:pt x="4620" y="1216"/>
                </a:lnTo>
                <a:lnTo>
                  <a:pt x="4628" y="1220"/>
                </a:lnTo>
                <a:lnTo>
                  <a:pt x="4632" y="1224"/>
                </a:lnTo>
                <a:lnTo>
                  <a:pt x="4632" y="1228"/>
                </a:lnTo>
                <a:lnTo>
                  <a:pt x="4628" y="1232"/>
                </a:lnTo>
                <a:lnTo>
                  <a:pt x="4624" y="1234"/>
                </a:lnTo>
                <a:lnTo>
                  <a:pt x="4614" y="1240"/>
                </a:lnTo>
                <a:lnTo>
                  <a:pt x="4610" y="1242"/>
                </a:lnTo>
                <a:lnTo>
                  <a:pt x="4610" y="1246"/>
                </a:lnTo>
                <a:lnTo>
                  <a:pt x="4610" y="1252"/>
                </a:lnTo>
                <a:lnTo>
                  <a:pt x="4608" y="1260"/>
                </a:lnTo>
                <a:lnTo>
                  <a:pt x="4600" y="1284"/>
                </a:lnTo>
                <a:lnTo>
                  <a:pt x="4598" y="1290"/>
                </a:lnTo>
                <a:lnTo>
                  <a:pt x="4598" y="1296"/>
                </a:lnTo>
                <a:lnTo>
                  <a:pt x="4602" y="1300"/>
                </a:lnTo>
                <a:lnTo>
                  <a:pt x="4608" y="1302"/>
                </a:lnTo>
                <a:lnTo>
                  <a:pt x="4624" y="1304"/>
                </a:lnTo>
                <a:lnTo>
                  <a:pt x="4648" y="1304"/>
                </a:lnTo>
                <a:lnTo>
                  <a:pt x="4636" y="1312"/>
                </a:lnTo>
                <a:lnTo>
                  <a:pt x="4626" y="1320"/>
                </a:lnTo>
                <a:lnTo>
                  <a:pt x="4618" y="1328"/>
                </a:lnTo>
                <a:lnTo>
                  <a:pt x="4612" y="1336"/>
                </a:lnTo>
                <a:lnTo>
                  <a:pt x="4608" y="1346"/>
                </a:lnTo>
                <a:lnTo>
                  <a:pt x="4608" y="1354"/>
                </a:lnTo>
                <a:lnTo>
                  <a:pt x="4610" y="1360"/>
                </a:lnTo>
                <a:lnTo>
                  <a:pt x="4616" y="1368"/>
                </a:lnTo>
                <a:lnTo>
                  <a:pt x="4622" y="1372"/>
                </a:lnTo>
                <a:lnTo>
                  <a:pt x="4626" y="1376"/>
                </a:lnTo>
                <a:lnTo>
                  <a:pt x="4628" y="1384"/>
                </a:lnTo>
                <a:lnTo>
                  <a:pt x="4628" y="1388"/>
                </a:lnTo>
                <a:lnTo>
                  <a:pt x="4630" y="1390"/>
                </a:lnTo>
                <a:lnTo>
                  <a:pt x="4632" y="1392"/>
                </a:lnTo>
                <a:lnTo>
                  <a:pt x="4642" y="1394"/>
                </a:lnTo>
                <a:lnTo>
                  <a:pt x="4650" y="1398"/>
                </a:lnTo>
                <a:lnTo>
                  <a:pt x="4654" y="1404"/>
                </a:lnTo>
                <a:lnTo>
                  <a:pt x="4656" y="1410"/>
                </a:lnTo>
                <a:lnTo>
                  <a:pt x="4654" y="1414"/>
                </a:lnTo>
                <a:lnTo>
                  <a:pt x="4654" y="1418"/>
                </a:lnTo>
                <a:lnTo>
                  <a:pt x="4656" y="1422"/>
                </a:lnTo>
                <a:lnTo>
                  <a:pt x="4660" y="1424"/>
                </a:lnTo>
                <a:lnTo>
                  <a:pt x="4664" y="1430"/>
                </a:lnTo>
                <a:lnTo>
                  <a:pt x="4666" y="1434"/>
                </a:lnTo>
                <a:lnTo>
                  <a:pt x="4666" y="1440"/>
                </a:lnTo>
                <a:lnTo>
                  <a:pt x="4668" y="1448"/>
                </a:lnTo>
                <a:lnTo>
                  <a:pt x="4670" y="1450"/>
                </a:lnTo>
                <a:lnTo>
                  <a:pt x="4672" y="1452"/>
                </a:lnTo>
                <a:lnTo>
                  <a:pt x="4672" y="1462"/>
                </a:lnTo>
                <a:lnTo>
                  <a:pt x="4672" y="1476"/>
                </a:lnTo>
                <a:lnTo>
                  <a:pt x="4674" y="1482"/>
                </a:lnTo>
                <a:lnTo>
                  <a:pt x="4676" y="1486"/>
                </a:lnTo>
                <a:lnTo>
                  <a:pt x="4678" y="1488"/>
                </a:lnTo>
                <a:lnTo>
                  <a:pt x="4684" y="1486"/>
                </a:lnTo>
                <a:lnTo>
                  <a:pt x="4690" y="1480"/>
                </a:lnTo>
                <a:lnTo>
                  <a:pt x="4696" y="1470"/>
                </a:lnTo>
                <a:lnTo>
                  <a:pt x="4706" y="1454"/>
                </a:lnTo>
                <a:lnTo>
                  <a:pt x="4708" y="1454"/>
                </a:lnTo>
                <a:lnTo>
                  <a:pt x="4710" y="1456"/>
                </a:lnTo>
                <a:lnTo>
                  <a:pt x="4712" y="1462"/>
                </a:lnTo>
                <a:lnTo>
                  <a:pt x="4714" y="1462"/>
                </a:lnTo>
                <a:lnTo>
                  <a:pt x="4720" y="1460"/>
                </a:lnTo>
                <a:lnTo>
                  <a:pt x="4726" y="1456"/>
                </a:lnTo>
                <a:lnTo>
                  <a:pt x="4732" y="1454"/>
                </a:lnTo>
                <a:lnTo>
                  <a:pt x="4738" y="1452"/>
                </a:lnTo>
                <a:lnTo>
                  <a:pt x="4742" y="1452"/>
                </a:lnTo>
                <a:lnTo>
                  <a:pt x="4748" y="1454"/>
                </a:lnTo>
                <a:lnTo>
                  <a:pt x="4752" y="1458"/>
                </a:lnTo>
                <a:lnTo>
                  <a:pt x="4756" y="1462"/>
                </a:lnTo>
                <a:lnTo>
                  <a:pt x="4758" y="1468"/>
                </a:lnTo>
                <a:lnTo>
                  <a:pt x="4758" y="1474"/>
                </a:lnTo>
                <a:lnTo>
                  <a:pt x="4756" y="1474"/>
                </a:lnTo>
                <a:lnTo>
                  <a:pt x="4748" y="1470"/>
                </a:lnTo>
                <a:lnTo>
                  <a:pt x="4738" y="1462"/>
                </a:lnTo>
                <a:lnTo>
                  <a:pt x="4732" y="1462"/>
                </a:lnTo>
                <a:lnTo>
                  <a:pt x="4728" y="1462"/>
                </a:lnTo>
                <a:lnTo>
                  <a:pt x="4724" y="1466"/>
                </a:lnTo>
                <a:lnTo>
                  <a:pt x="4724" y="1468"/>
                </a:lnTo>
                <a:lnTo>
                  <a:pt x="4732" y="1472"/>
                </a:lnTo>
                <a:lnTo>
                  <a:pt x="4734" y="1474"/>
                </a:lnTo>
                <a:lnTo>
                  <a:pt x="4736" y="1476"/>
                </a:lnTo>
                <a:lnTo>
                  <a:pt x="4734" y="1476"/>
                </a:lnTo>
                <a:lnTo>
                  <a:pt x="4726" y="1478"/>
                </a:lnTo>
                <a:lnTo>
                  <a:pt x="4720" y="1478"/>
                </a:lnTo>
                <a:lnTo>
                  <a:pt x="4716" y="1480"/>
                </a:lnTo>
                <a:lnTo>
                  <a:pt x="4716" y="1482"/>
                </a:lnTo>
                <a:lnTo>
                  <a:pt x="4716" y="1484"/>
                </a:lnTo>
                <a:lnTo>
                  <a:pt x="4718" y="1486"/>
                </a:lnTo>
                <a:lnTo>
                  <a:pt x="4716" y="1488"/>
                </a:lnTo>
                <a:lnTo>
                  <a:pt x="4712" y="1490"/>
                </a:lnTo>
                <a:lnTo>
                  <a:pt x="4704" y="1492"/>
                </a:lnTo>
                <a:lnTo>
                  <a:pt x="4692" y="1494"/>
                </a:lnTo>
                <a:lnTo>
                  <a:pt x="4694" y="1496"/>
                </a:lnTo>
                <a:lnTo>
                  <a:pt x="4696" y="1500"/>
                </a:lnTo>
                <a:lnTo>
                  <a:pt x="4696" y="1502"/>
                </a:lnTo>
                <a:lnTo>
                  <a:pt x="4694" y="1502"/>
                </a:lnTo>
                <a:lnTo>
                  <a:pt x="4692" y="1504"/>
                </a:lnTo>
                <a:lnTo>
                  <a:pt x="4690" y="1506"/>
                </a:lnTo>
                <a:lnTo>
                  <a:pt x="4694" y="1510"/>
                </a:lnTo>
                <a:lnTo>
                  <a:pt x="4696" y="1512"/>
                </a:lnTo>
                <a:lnTo>
                  <a:pt x="4698" y="1516"/>
                </a:lnTo>
                <a:lnTo>
                  <a:pt x="4696" y="1518"/>
                </a:lnTo>
                <a:lnTo>
                  <a:pt x="4696" y="1522"/>
                </a:lnTo>
                <a:lnTo>
                  <a:pt x="4696" y="1524"/>
                </a:lnTo>
                <a:lnTo>
                  <a:pt x="4698" y="1532"/>
                </a:lnTo>
                <a:lnTo>
                  <a:pt x="4710" y="1552"/>
                </a:lnTo>
                <a:lnTo>
                  <a:pt x="4714" y="1556"/>
                </a:lnTo>
                <a:lnTo>
                  <a:pt x="4718" y="1560"/>
                </a:lnTo>
                <a:lnTo>
                  <a:pt x="4728" y="1562"/>
                </a:lnTo>
                <a:lnTo>
                  <a:pt x="4734" y="1562"/>
                </a:lnTo>
                <a:lnTo>
                  <a:pt x="4734" y="1564"/>
                </a:lnTo>
                <a:lnTo>
                  <a:pt x="4734" y="1568"/>
                </a:lnTo>
                <a:lnTo>
                  <a:pt x="4734" y="1572"/>
                </a:lnTo>
                <a:lnTo>
                  <a:pt x="4734" y="1574"/>
                </a:lnTo>
                <a:lnTo>
                  <a:pt x="4738" y="1582"/>
                </a:lnTo>
                <a:lnTo>
                  <a:pt x="4742" y="1588"/>
                </a:lnTo>
                <a:lnTo>
                  <a:pt x="4744" y="1592"/>
                </a:lnTo>
                <a:lnTo>
                  <a:pt x="4744" y="1596"/>
                </a:lnTo>
                <a:lnTo>
                  <a:pt x="4744" y="1604"/>
                </a:lnTo>
                <a:lnTo>
                  <a:pt x="4746" y="1610"/>
                </a:lnTo>
                <a:lnTo>
                  <a:pt x="4752" y="1614"/>
                </a:lnTo>
                <a:lnTo>
                  <a:pt x="4762" y="1618"/>
                </a:lnTo>
                <a:lnTo>
                  <a:pt x="4768" y="1622"/>
                </a:lnTo>
                <a:lnTo>
                  <a:pt x="4770" y="1626"/>
                </a:lnTo>
                <a:lnTo>
                  <a:pt x="4772" y="1630"/>
                </a:lnTo>
                <a:lnTo>
                  <a:pt x="4770" y="1634"/>
                </a:lnTo>
                <a:lnTo>
                  <a:pt x="4770" y="1638"/>
                </a:lnTo>
                <a:lnTo>
                  <a:pt x="4770" y="1640"/>
                </a:lnTo>
                <a:lnTo>
                  <a:pt x="4774" y="1638"/>
                </a:lnTo>
                <a:lnTo>
                  <a:pt x="4778" y="1638"/>
                </a:lnTo>
                <a:lnTo>
                  <a:pt x="4780" y="1640"/>
                </a:lnTo>
                <a:lnTo>
                  <a:pt x="4782" y="1646"/>
                </a:lnTo>
                <a:lnTo>
                  <a:pt x="4782" y="1654"/>
                </a:lnTo>
                <a:lnTo>
                  <a:pt x="4784" y="1656"/>
                </a:lnTo>
                <a:lnTo>
                  <a:pt x="4786" y="1656"/>
                </a:lnTo>
                <a:lnTo>
                  <a:pt x="4792" y="1654"/>
                </a:lnTo>
                <a:lnTo>
                  <a:pt x="4794" y="1656"/>
                </a:lnTo>
                <a:lnTo>
                  <a:pt x="4794" y="1662"/>
                </a:lnTo>
                <a:lnTo>
                  <a:pt x="4790" y="1670"/>
                </a:lnTo>
                <a:lnTo>
                  <a:pt x="4790" y="1676"/>
                </a:lnTo>
                <a:lnTo>
                  <a:pt x="4792" y="1678"/>
                </a:lnTo>
                <a:lnTo>
                  <a:pt x="4802" y="1678"/>
                </a:lnTo>
                <a:lnTo>
                  <a:pt x="4814" y="1678"/>
                </a:lnTo>
                <a:lnTo>
                  <a:pt x="4816" y="1680"/>
                </a:lnTo>
                <a:lnTo>
                  <a:pt x="4816" y="1684"/>
                </a:lnTo>
                <a:lnTo>
                  <a:pt x="4814" y="1688"/>
                </a:lnTo>
                <a:lnTo>
                  <a:pt x="4814" y="1692"/>
                </a:lnTo>
                <a:lnTo>
                  <a:pt x="4816" y="1694"/>
                </a:lnTo>
                <a:lnTo>
                  <a:pt x="4820" y="1694"/>
                </a:lnTo>
                <a:lnTo>
                  <a:pt x="4826" y="1694"/>
                </a:lnTo>
                <a:lnTo>
                  <a:pt x="4830" y="1696"/>
                </a:lnTo>
                <a:lnTo>
                  <a:pt x="4832" y="1698"/>
                </a:lnTo>
                <a:lnTo>
                  <a:pt x="4834" y="1700"/>
                </a:lnTo>
                <a:lnTo>
                  <a:pt x="4832" y="1702"/>
                </a:lnTo>
                <a:lnTo>
                  <a:pt x="4830" y="1702"/>
                </a:lnTo>
                <a:lnTo>
                  <a:pt x="4826" y="1704"/>
                </a:lnTo>
                <a:lnTo>
                  <a:pt x="4826" y="1708"/>
                </a:lnTo>
                <a:lnTo>
                  <a:pt x="4826" y="1712"/>
                </a:lnTo>
                <a:lnTo>
                  <a:pt x="4830" y="1720"/>
                </a:lnTo>
                <a:lnTo>
                  <a:pt x="4832" y="1724"/>
                </a:lnTo>
                <a:lnTo>
                  <a:pt x="4836" y="1726"/>
                </a:lnTo>
                <a:lnTo>
                  <a:pt x="4840" y="1726"/>
                </a:lnTo>
                <a:lnTo>
                  <a:pt x="4846" y="1726"/>
                </a:lnTo>
                <a:lnTo>
                  <a:pt x="4852" y="1722"/>
                </a:lnTo>
                <a:lnTo>
                  <a:pt x="4860" y="1716"/>
                </a:lnTo>
                <a:lnTo>
                  <a:pt x="4868" y="1712"/>
                </a:lnTo>
                <a:lnTo>
                  <a:pt x="4874" y="1710"/>
                </a:lnTo>
                <a:lnTo>
                  <a:pt x="4878" y="1712"/>
                </a:lnTo>
                <a:lnTo>
                  <a:pt x="4880" y="1712"/>
                </a:lnTo>
                <a:lnTo>
                  <a:pt x="4884" y="1716"/>
                </a:lnTo>
                <a:lnTo>
                  <a:pt x="4886" y="1716"/>
                </a:lnTo>
                <a:lnTo>
                  <a:pt x="4890" y="1712"/>
                </a:lnTo>
                <a:lnTo>
                  <a:pt x="4900" y="1706"/>
                </a:lnTo>
                <a:lnTo>
                  <a:pt x="4910" y="1702"/>
                </a:lnTo>
                <a:lnTo>
                  <a:pt x="4916" y="1698"/>
                </a:lnTo>
                <a:lnTo>
                  <a:pt x="4918" y="1696"/>
                </a:lnTo>
                <a:lnTo>
                  <a:pt x="4918" y="1692"/>
                </a:lnTo>
                <a:lnTo>
                  <a:pt x="4918" y="1688"/>
                </a:lnTo>
                <a:lnTo>
                  <a:pt x="4918" y="1686"/>
                </a:lnTo>
                <a:lnTo>
                  <a:pt x="4920" y="1686"/>
                </a:lnTo>
                <a:lnTo>
                  <a:pt x="4924" y="1690"/>
                </a:lnTo>
                <a:lnTo>
                  <a:pt x="4926" y="1694"/>
                </a:lnTo>
                <a:lnTo>
                  <a:pt x="4926" y="1698"/>
                </a:lnTo>
                <a:lnTo>
                  <a:pt x="4926" y="1704"/>
                </a:lnTo>
                <a:lnTo>
                  <a:pt x="4922" y="1708"/>
                </a:lnTo>
                <a:lnTo>
                  <a:pt x="4914" y="1718"/>
                </a:lnTo>
                <a:lnTo>
                  <a:pt x="4912" y="1724"/>
                </a:lnTo>
                <a:lnTo>
                  <a:pt x="4912" y="1728"/>
                </a:lnTo>
                <a:lnTo>
                  <a:pt x="4916" y="1730"/>
                </a:lnTo>
                <a:lnTo>
                  <a:pt x="4926" y="1736"/>
                </a:lnTo>
                <a:lnTo>
                  <a:pt x="4936" y="1738"/>
                </a:lnTo>
                <a:lnTo>
                  <a:pt x="4944" y="1738"/>
                </a:lnTo>
                <a:lnTo>
                  <a:pt x="4956" y="1738"/>
                </a:lnTo>
                <a:lnTo>
                  <a:pt x="4962" y="1738"/>
                </a:lnTo>
                <a:lnTo>
                  <a:pt x="4962" y="1740"/>
                </a:lnTo>
                <a:lnTo>
                  <a:pt x="4962" y="1744"/>
                </a:lnTo>
                <a:lnTo>
                  <a:pt x="4956" y="1752"/>
                </a:lnTo>
                <a:lnTo>
                  <a:pt x="4954" y="1758"/>
                </a:lnTo>
                <a:lnTo>
                  <a:pt x="4952" y="1762"/>
                </a:lnTo>
                <a:lnTo>
                  <a:pt x="4954" y="1766"/>
                </a:lnTo>
                <a:lnTo>
                  <a:pt x="4958" y="1768"/>
                </a:lnTo>
                <a:lnTo>
                  <a:pt x="4964" y="1770"/>
                </a:lnTo>
                <a:lnTo>
                  <a:pt x="4968" y="1770"/>
                </a:lnTo>
                <a:lnTo>
                  <a:pt x="4974" y="1768"/>
                </a:lnTo>
                <a:lnTo>
                  <a:pt x="4978" y="1766"/>
                </a:lnTo>
                <a:lnTo>
                  <a:pt x="4988" y="1758"/>
                </a:lnTo>
                <a:lnTo>
                  <a:pt x="4990" y="1758"/>
                </a:lnTo>
                <a:lnTo>
                  <a:pt x="4992" y="1758"/>
                </a:lnTo>
                <a:lnTo>
                  <a:pt x="4998" y="1762"/>
                </a:lnTo>
                <a:lnTo>
                  <a:pt x="5006" y="1770"/>
                </a:lnTo>
                <a:lnTo>
                  <a:pt x="5018" y="1776"/>
                </a:lnTo>
                <a:lnTo>
                  <a:pt x="5022" y="1776"/>
                </a:lnTo>
                <a:lnTo>
                  <a:pt x="5026" y="1774"/>
                </a:lnTo>
                <a:lnTo>
                  <a:pt x="5030" y="1772"/>
                </a:lnTo>
                <a:lnTo>
                  <a:pt x="5034" y="1768"/>
                </a:lnTo>
                <a:lnTo>
                  <a:pt x="5036" y="1762"/>
                </a:lnTo>
                <a:lnTo>
                  <a:pt x="5036" y="1756"/>
                </a:lnTo>
                <a:lnTo>
                  <a:pt x="5036" y="1748"/>
                </a:lnTo>
                <a:lnTo>
                  <a:pt x="5034" y="1746"/>
                </a:lnTo>
                <a:lnTo>
                  <a:pt x="5030" y="1744"/>
                </a:lnTo>
                <a:lnTo>
                  <a:pt x="5028" y="1744"/>
                </a:lnTo>
                <a:lnTo>
                  <a:pt x="5022" y="1746"/>
                </a:lnTo>
                <a:lnTo>
                  <a:pt x="5024" y="1742"/>
                </a:lnTo>
                <a:lnTo>
                  <a:pt x="5026" y="1740"/>
                </a:lnTo>
                <a:lnTo>
                  <a:pt x="5030" y="1736"/>
                </a:lnTo>
                <a:lnTo>
                  <a:pt x="5040" y="1732"/>
                </a:lnTo>
                <a:lnTo>
                  <a:pt x="5044" y="1730"/>
                </a:lnTo>
                <a:lnTo>
                  <a:pt x="5048" y="1728"/>
                </a:lnTo>
                <a:lnTo>
                  <a:pt x="5048" y="1724"/>
                </a:lnTo>
                <a:lnTo>
                  <a:pt x="5048" y="1718"/>
                </a:lnTo>
                <a:lnTo>
                  <a:pt x="5048" y="1710"/>
                </a:lnTo>
                <a:lnTo>
                  <a:pt x="5050" y="1700"/>
                </a:lnTo>
                <a:lnTo>
                  <a:pt x="5060" y="1676"/>
                </a:lnTo>
                <a:lnTo>
                  <a:pt x="5070" y="1650"/>
                </a:lnTo>
                <a:lnTo>
                  <a:pt x="5072" y="1640"/>
                </a:lnTo>
                <a:lnTo>
                  <a:pt x="5072" y="1630"/>
                </a:lnTo>
                <a:lnTo>
                  <a:pt x="5070" y="1624"/>
                </a:lnTo>
                <a:lnTo>
                  <a:pt x="5068" y="1622"/>
                </a:lnTo>
                <a:lnTo>
                  <a:pt x="5066" y="1620"/>
                </a:lnTo>
                <a:lnTo>
                  <a:pt x="5064" y="1622"/>
                </a:lnTo>
                <a:lnTo>
                  <a:pt x="5062" y="1622"/>
                </a:lnTo>
                <a:lnTo>
                  <a:pt x="5060" y="1622"/>
                </a:lnTo>
                <a:lnTo>
                  <a:pt x="5056" y="1620"/>
                </a:lnTo>
                <a:lnTo>
                  <a:pt x="5050" y="1614"/>
                </a:lnTo>
                <a:lnTo>
                  <a:pt x="5048" y="1610"/>
                </a:lnTo>
                <a:lnTo>
                  <a:pt x="5048" y="1608"/>
                </a:lnTo>
                <a:lnTo>
                  <a:pt x="5058" y="1612"/>
                </a:lnTo>
                <a:lnTo>
                  <a:pt x="5068" y="1614"/>
                </a:lnTo>
                <a:lnTo>
                  <a:pt x="5072" y="1614"/>
                </a:lnTo>
                <a:lnTo>
                  <a:pt x="5072" y="1610"/>
                </a:lnTo>
                <a:lnTo>
                  <a:pt x="5070" y="1604"/>
                </a:lnTo>
                <a:lnTo>
                  <a:pt x="5068" y="1602"/>
                </a:lnTo>
                <a:lnTo>
                  <a:pt x="5062" y="1598"/>
                </a:lnTo>
                <a:lnTo>
                  <a:pt x="5056" y="1596"/>
                </a:lnTo>
                <a:lnTo>
                  <a:pt x="5056" y="1594"/>
                </a:lnTo>
                <a:lnTo>
                  <a:pt x="5058" y="1592"/>
                </a:lnTo>
                <a:lnTo>
                  <a:pt x="5062" y="1588"/>
                </a:lnTo>
                <a:lnTo>
                  <a:pt x="5066" y="1586"/>
                </a:lnTo>
                <a:lnTo>
                  <a:pt x="5080" y="1584"/>
                </a:lnTo>
                <a:lnTo>
                  <a:pt x="5086" y="1582"/>
                </a:lnTo>
                <a:lnTo>
                  <a:pt x="5092" y="1578"/>
                </a:lnTo>
                <a:lnTo>
                  <a:pt x="5096" y="1574"/>
                </a:lnTo>
                <a:lnTo>
                  <a:pt x="5098" y="1566"/>
                </a:lnTo>
                <a:lnTo>
                  <a:pt x="5100" y="1560"/>
                </a:lnTo>
                <a:lnTo>
                  <a:pt x="5102" y="1556"/>
                </a:lnTo>
                <a:lnTo>
                  <a:pt x="5106" y="1556"/>
                </a:lnTo>
                <a:lnTo>
                  <a:pt x="5108" y="1558"/>
                </a:lnTo>
                <a:lnTo>
                  <a:pt x="5114" y="1562"/>
                </a:lnTo>
                <a:lnTo>
                  <a:pt x="5116" y="1560"/>
                </a:lnTo>
                <a:lnTo>
                  <a:pt x="5116" y="1556"/>
                </a:lnTo>
                <a:lnTo>
                  <a:pt x="5118" y="1550"/>
                </a:lnTo>
                <a:lnTo>
                  <a:pt x="5122" y="1544"/>
                </a:lnTo>
                <a:lnTo>
                  <a:pt x="5130" y="1538"/>
                </a:lnTo>
                <a:lnTo>
                  <a:pt x="5136" y="1530"/>
                </a:lnTo>
                <a:lnTo>
                  <a:pt x="5138" y="1526"/>
                </a:lnTo>
                <a:lnTo>
                  <a:pt x="5138" y="1520"/>
                </a:lnTo>
                <a:lnTo>
                  <a:pt x="5136" y="1508"/>
                </a:lnTo>
                <a:lnTo>
                  <a:pt x="5138" y="1502"/>
                </a:lnTo>
                <a:lnTo>
                  <a:pt x="5136" y="1500"/>
                </a:lnTo>
                <a:lnTo>
                  <a:pt x="5134" y="1498"/>
                </a:lnTo>
                <a:lnTo>
                  <a:pt x="5122" y="1498"/>
                </a:lnTo>
                <a:lnTo>
                  <a:pt x="5114" y="1496"/>
                </a:lnTo>
                <a:lnTo>
                  <a:pt x="5106" y="1494"/>
                </a:lnTo>
                <a:lnTo>
                  <a:pt x="5102" y="1492"/>
                </a:lnTo>
                <a:lnTo>
                  <a:pt x="5098" y="1488"/>
                </a:lnTo>
                <a:lnTo>
                  <a:pt x="5098" y="1486"/>
                </a:lnTo>
                <a:lnTo>
                  <a:pt x="5098" y="1484"/>
                </a:lnTo>
                <a:lnTo>
                  <a:pt x="5100" y="1484"/>
                </a:lnTo>
                <a:lnTo>
                  <a:pt x="5106" y="1484"/>
                </a:lnTo>
                <a:lnTo>
                  <a:pt x="5112" y="1486"/>
                </a:lnTo>
                <a:lnTo>
                  <a:pt x="5116" y="1486"/>
                </a:lnTo>
                <a:lnTo>
                  <a:pt x="5124" y="1484"/>
                </a:lnTo>
                <a:lnTo>
                  <a:pt x="5130" y="1482"/>
                </a:lnTo>
                <a:lnTo>
                  <a:pt x="5136" y="1482"/>
                </a:lnTo>
                <a:lnTo>
                  <a:pt x="5144" y="1482"/>
                </a:lnTo>
                <a:lnTo>
                  <a:pt x="5144" y="1480"/>
                </a:lnTo>
                <a:lnTo>
                  <a:pt x="5144" y="1478"/>
                </a:lnTo>
                <a:lnTo>
                  <a:pt x="5140" y="1468"/>
                </a:lnTo>
                <a:lnTo>
                  <a:pt x="5126" y="1454"/>
                </a:lnTo>
                <a:lnTo>
                  <a:pt x="5120" y="1446"/>
                </a:lnTo>
                <a:lnTo>
                  <a:pt x="5116" y="1440"/>
                </a:lnTo>
                <a:lnTo>
                  <a:pt x="5118" y="1436"/>
                </a:lnTo>
                <a:lnTo>
                  <a:pt x="5120" y="1434"/>
                </a:lnTo>
                <a:lnTo>
                  <a:pt x="5126" y="1434"/>
                </a:lnTo>
                <a:lnTo>
                  <a:pt x="5132" y="1434"/>
                </a:lnTo>
                <a:lnTo>
                  <a:pt x="5146" y="1436"/>
                </a:lnTo>
                <a:lnTo>
                  <a:pt x="5152" y="1438"/>
                </a:lnTo>
                <a:lnTo>
                  <a:pt x="5158" y="1436"/>
                </a:lnTo>
                <a:lnTo>
                  <a:pt x="5160" y="1432"/>
                </a:lnTo>
                <a:lnTo>
                  <a:pt x="5164" y="1428"/>
                </a:lnTo>
                <a:lnTo>
                  <a:pt x="5168" y="1420"/>
                </a:lnTo>
                <a:lnTo>
                  <a:pt x="5170" y="1418"/>
                </a:lnTo>
                <a:lnTo>
                  <a:pt x="5174" y="1418"/>
                </a:lnTo>
                <a:lnTo>
                  <a:pt x="5180" y="1418"/>
                </a:lnTo>
                <a:lnTo>
                  <a:pt x="5184" y="1418"/>
                </a:lnTo>
                <a:lnTo>
                  <a:pt x="5180" y="1414"/>
                </a:lnTo>
                <a:lnTo>
                  <a:pt x="5170" y="1408"/>
                </a:lnTo>
                <a:lnTo>
                  <a:pt x="5162" y="1404"/>
                </a:lnTo>
                <a:lnTo>
                  <a:pt x="5162" y="1402"/>
                </a:lnTo>
                <a:lnTo>
                  <a:pt x="5168" y="1402"/>
                </a:lnTo>
                <a:lnTo>
                  <a:pt x="5174" y="1398"/>
                </a:lnTo>
                <a:lnTo>
                  <a:pt x="5180" y="1396"/>
                </a:lnTo>
                <a:lnTo>
                  <a:pt x="5188" y="1398"/>
                </a:lnTo>
                <a:lnTo>
                  <a:pt x="5196" y="1398"/>
                </a:lnTo>
                <a:lnTo>
                  <a:pt x="5208" y="1398"/>
                </a:lnTo>
                <a:lnTo>
                  <a:pt x="5218" y="1396"/>
                </a:lnTo>
                <a:lnTo>
                  <a:pt x="5224" y="1396"/>
                </a:lnTo>
                <a:lnTo>
                  <a:pt x="5230" y="1394"/>
                </a:lnTo>
                <a:lnTo>
                  <a:pt x="5234" y="1390"/>
                </a:lnTo>
                <a:lnTo>
                  <a:pt x="5236" y="1386"/>
                </a:lnTo>
                <a:lnTo>
                  <a:pt x="5234" y="1382"/>
                </a:lnTo>
                <a:lnTo>
                  <a:pt x="5234" y="1380"/>
                </a:lnTo>
                <a:lnTo>
                  <a:pt x="5238" y="1376"/>
                </a:lnTo>
                <a:lnTo>
                  <a:pt x="5242" y="1370"/>
                </a:lnTo>
                <a:lnTo>
                  <a:pt x="5240" y="1368"/>
                </a:lnTo>
                <a:lnTo>
                  <a:pt x="5240" y="1364"/>
                </a:lnTo>
                <a:lnTo>
                  <a:pt x="5248" y="1358"/>
                </a:lnTo>
                <a:lnTo>
                  <a:pt x="5250" y="1356"/>
                </a:lnTo>
                <a:lnTo>
                  <a:pt x="5252" y="1354"/>
                </a:lnTo>
                <a:lnTo>
                  <a:pt x="5250" y="1350"/>
                </a:lnTo>
                <a:lnTo>
                  <a:pt x="5248" y="1348"/>
                </a:lnTo>
                <a:lnTo>
                  <a:pt x="5242" y="1346"/>
                </a:lnTo>
                <a:lnTo>
                  <a:pt x="5242" y="1344"/>
                </a:lnTo>
                <a:lnTo>
                  <a:pt x="5242" y="1342"/>
                </a:lnTo>
                <a:lnTo>
                  <a:pt x="5246" y="1342"/>
                </a:lnTo>
                <a:lnTo>
                  <a:pt x="5250" y="1342"/>
                </a:lnTo>
                <a:lnTo>
                  <a:pt x="5256" y="1344"/>
                </a:lnTo>
                <a:lnTo>
                  <a:pt x="5266" y="1344"/>
                </a:lnTo>
                <a:lnTo>
                  <a:pt x="5272" y="1344"/>
                </a:lnTo>
                <a:lnTo>
                  <a:pt x="5270" y="1346"/>
                </a:lnTo>
                <a:lnTo>
                  <a:pt x="5264" y="1352"/>
                </a:lnTo>
                <a:lnTo>
                  <a:pt x="5260" y="1356"/>
                </a:lnTo>
                <a:lnTo>
                  <a:pt x="5258" y="1360"/>
                </a:lnTo>
                <a:lnTo>
                  <a:pt x="5254" y="1364"/>
                </a:lnTo>
                <a:lnTo>
                  <a:pt x="5250" y="1366"/>
                </a:lnTo>
                <a:lnTo>
                  <a:pt x="5248" y="1372"/>
                </a:lnTo>
                <a:lnTo>
                  <a:pt x="5248" y="1378"/>
                </a:lnTo>
                <a:lnTo>
                  <a:pt x="5244" y="1386"/>
                </a:lnTo>
                <a:lnTo>
                  <a:pt x="5242" y="1392"/>
                </a:lnTo>
                <a:lnTo>
                  <a:pt x="5242" y="1394"/>
                </a:lnTo>
                <a:lnTo>
                  <a:pt x="5244" y="1396"/>
                </a:lnTo>
                <a:lnTo>
                  <a:pt x="5250" y="1398"/>
                </a:lnTo>
                <a:lnTo>
                  <a:pt x="5256" y="1398"/>
                </a:lnTo>
                <a:lnTo>
                  <a:pt x="5262" y="1396"/>
                </a:lnTo>
                <a:lnTo>
                  <a:pt x="5268" y="1390"/>
                </a:lnTo>
                <a:lnTo>
                  <a:pt x="5276" y="1380"/>
                </a:lnTo>
                <a:lnTo>
                  <a:pt x="5280" y="1380"/>
                </a:lnTo>
                <a:lnTo>
                  <a:pt x="5284" y="1382"/>
                </a:lnTo>
                <a:lnTo>
                  <a:pt x="5290" y="1386"/>
                </a:lnTo>
                <a:lnTo>
                  <a:pt x="5292" y="1384"/>
                </a:lnTo>
                <a:lnTo>
                  <a:pt x="5292" y="1380"/>
                </a:lnTo>
                <a:lnTo>
                  <a:pt x="5290" y="1378"/>
                </a:lnTo>
                <a:lnTo>
                  <a:pt x="5288" y="1376"/>
                </a:lnTo>
                <a:lnTo>
                  <a:pt x="5290" y="1374"/>
                </a:lnTo>
                <a:lnTo>
                  <a:pt x="5294" y="1370"/>
                </a:lnTo>
                <a:lnTo>
                  <a:pt x="5300" y="1370"/>
                </a:lnTo>
                <a:lnTo>
                  <a:pt x="5302" y="1370"/>
                </a:lnTo>
                <a:lnTo>
                  <a:pt x="5306" y="1370"/>
                </a:lnTo>
                <a:lnTo>
                  <a:pt x="5308" y="1372"/>
                </a:lnTo>
                <a:lnTo>
                  <a:pt x="5312" y="1372"/>
                </a:lnTo>
                <a:lnTo>
                  <a:pt x="5320" y="1370"/>
                </a:lnTo>
                <a:lnTo>
                  <a:pt x="5336" y="1362"/>
                </a:lnTo>
                <a:lnTo>
                  <a:pt x="5338" y="1358"/>
                </a:lnTo>
                <a:lnTo>
                  <a:pt x="5338" y="1354"/>
                </a:lnTo>
                <a:lnTo>
                  <a:pt x="5338" y="1350"/>
                </a:lnTo>
                <a:lnTo>
                  <a:pt x="5340" y="1350"/>
                </a:lnTo>
                <a:lnTo>
                  <a:pt x="5340" y="1348"/>
                </a:lnTo>
                <a:lnTo>
                  <a:pt x="5344" y="1350"/>
                </a:lnTo>
                <a:lnTo>
                  <a:pt x="5346" y="1350"/>
                </a:lnTo>
                <a:lnTo>
                  <a:pt x="5346" y="1352"/>
                </a:lnTo>
                <a:lnTo>
                  <a:pt x="5348" y="1354"/>
                </a:lnTo>
                <a:lnTo>
                  <a:pt x="5358" y="1350"/>
                </a:lnTo>
                <a:lnTo>
                  <a:pt x="5368" y="1344"/>
                </a:lnTo>
                <a:lnTo>
                  <a:pt x="5394" y="1324"/>
                </a:lnTo>
                <a:lnTo>
                  <a:pt x="5406" y="1312"/>
                </a:lnTo>
                <a:lnTo>
                  <a:pt x="5416" y="1300"/>
                </a:lnTo>
                <a:lnTo>
                  <a:pt x="5424" y="1290"/>
                </a:lnTo>
                <a:lnTo>
                  <a:pt x="5428" y="1280"/>
                </a:lnTo>
                <a:lnTo>
                  <a:pt x="5436" y="1264"/>
                </a:lnTo>
                <a:lnTo>
                  <a:pt x="5446" y="1250"/>
                </a:lnTo>
                <a:lnTo>
                  <a:pt x="5458" y="1240"/>
                </a:lnTo>
                <a:lnTo>
                  <a:pt x="5464" y="1238"/>
                </a:lnTo>
                <a:lnTo>
                  <a:pt x="5470" y="1238"/>
                </a:lnTo>
                <a:lnTo>
                  <a:pt x="5480" y="1236"/>
                </a:lnTo>
                <a:lnTo>
                  <a:pt x="5482" y="1234"/>
                </a:lnTo>
                <a:lnTo>
                  <a:pt x="5484" y="1230"/>
                </a:lnTo>
                <a:lnTo>
                  <a:pt x="5484" y="1226"/>
                </a:lnTo>
                <a:lnTo>
                  <a:pt x="5482" y="1220"/>
                </a:lnTo>
                <a:lnTo>
                  <a:pt x="5476" y="1214"/>
                </a:lnTo>
                <a:lnTo>
                  <a:pt x="5468" y="1204"/>
                </a:lnTo>
                <a:lnTo>
                  <a:pt x="5462" y="1196"/>
                </a:lnTo>
                <a:lnTo>
                  <a:pt x="5462" y="1194"/>
                </a:lnTo>
                <a:lnTo>
                  <a:pt x="5472" y="1200"/>
                </a:lnTo>
                <a:lnTo>
                  <a:pt x="5506" y="1222"/>
                </a:lnTo>
                <a:lnTo>
                  <a:pt x="5522" y="1226"/>
                </a:lnTo>
                <a:lnTo>
                  <a:pt x="5530" y="1228"/>
                </a:lnTo>
                <a:lnTo>
                  <a:pt x="5538" y="1228"/>
                </a:lnTo>
                <a:lnTo>
                  <a:pt x="5546" y="1226"/>
                </a:lnTo>
                <a:lnTo>
                  <a:pt x="5554" y="1222"/>
                </a:lnTo>
                <a:lnTo>
                  <a:pt x="5560" y="1218"/>
                </a:lnTo>
                <a:lnTo>
                  <a:pt x="5566" y="1212"/>
                </a:lnTo>
                <a:lnTo>
                  <a:pt x="5568" y="1206"/>
                </a:lnTo>
                <a:lnTo>
                  <a:pt x="5572" y="1204"/>
                </a:lnTo>
                <a:lnTo>
                  <a:pt x="5574" y="1204"/>
                </a:lnTo>
                <a:lnTo>
                  <a:pt x="5578" y="1206"/>
                </a:lnTo>
                <a:lnTo>
                  <a:pt x="5584" y="1208"/>
                </a:lnTo>
                <a:lnTo>
                  <a:pt x="5592" y="1208"/>
                </a:lnTo>
                <a:lnTo>
                  <a:pt x="5602" y="1206"/>
                </a:lnTo>
                <a:lnTo>
                  <a:pt x="5618" y="1202"/>
                </a:lnTo>
                <a:lnTo>
                  <a:pt x="5636" y="1196"/>
                </a:lnTo>
                <a:lnTo>
                  <a:pt x="5656" y="1190"/>
                </a:lnTo>
                <a:lnTo>
                  <a:pt x="5692" y="1184"/>
                </a:lnTo>
                <a:lnTo>
                  <a:pt x="5722" y="1176"/>
                </a:lnTo>
                <a:lnTo>
                  <a:pt x="5734" y="1172"/>
                </a:lnTo>
                <a:lnTo>
                  <a:pt x="5742" y="1166"/>
                </a:lnTo>
                <a:lnTo>
                  <a:pt x="5756" y="1152"/>
                </a:lnTo>
                <a:lnTo>
                  <a:pt x="5770" y="1140"/>
                </a:lnTo>
                <a:lnTo>
                  <a:pt x="5786" y="1132"/>
                </a:lnTo>
                <a:lnTo>
                  <a:pt x="5796" y="1128"/>
                </a:lnTo>
                <a:lnTo>
                  <a:pt x="5806" y="1126"/>
                </a:lnTo>
                <a:lnTo>
                  <a:pt x="5814" y="1124"/>
                </a:lnTo>
                <a:lnTo>
                  <a:pt x="5818" y="1122"/>
                </a:lnTo>
                <a:lnTo>
                  <a:pt x="5818" y="1118"/>
                </a:lnTo>
                <a:lnTo>
                  <a:pt x="5818" y="1114"/>
                </a:lnTo>
                <a:lnTo>
                  <a:pt x="5818" y="1112"/>
                </a:lnTo>
                <a:lnTo>
                  <a:pt x="5818" y="1108"/>
                </a:lnTo>
                <a:lnTo>
                  <a:pt x="5822" y="1106"/>
                </a:lnTo>
                <a:lnTo>
                  <a:pt x="5832" y="1104"/>
                </a:lnTo>
                <a:lnTo>
                  <a:pt x="5846" y="1104"/>
                </a:lnTo>
                <a:lnTo>
                  <a:pt x="5848" y="1102"/>
                </a:lnTo>
                <a:lnTo>
                  <a:pt x="5850" y="1100"/>
                </a:lnTo>
                <a:lnTo>
                  <a:pt x="5854" y="1094"/>
                </a:lnTo>
                <a:lnTo>
                  <a:pt x="5858" y="1092"/>
                </a:lnTo>
                <a:lnTo>
                  <a:pt x="5868" y="1086"/>
                </a:lnTo>
                <a:lnTo>
                  <a:pt x="5882" y="1078"/>
                </a:lnTo>
                <a:lnTo>
                  <a:pt x="5882" y="1076"/>
                </a:lnTo>
                <a:lnTo>
                  <a:pt x="5880" y="1076"/>
                </a:lnTo>
                <a:lnTo>
                  <a:pt x="5864" y="1076"/>
                </a:lnTo>
                <a:lnTo>
                  <a:pt x="5836" y="1078"/>
                </a:lnTo>
                <a:lnTo>
                  <a:pt x="5820" y="1078"/>
                </a:lnTo>
                <a:lnTo>
                  <a:pt x="5806" y="1076"/>
                </a:lnTo>
                <a:lnTo>
                  <a:pt x="5794" y="1070"/>
                </a:lnTo>
                <a:lnTo>
                  <a:pt x="5780" y="1064"/>
                </a:lnTo>
                <a:lnTo>
                  <a:pt x="5768" y="1058"/>
                </a:lnTo>
                <a:lnTo>
                  <a:pt x="5756" y="1056"/>
                </a:lnTo>
                <a:lnTo>
                  <a:pt x="5750" y="1056"/>
                </a:lnTo>
                <a:lnTo>
                  <a:pt x="5742" y="1056"/>
                </a:lnTo>
                <a:lnTo>
                  <a:pt x="5736" y="1060"/>
                </a:lnTo>
                <a:lnTo>
                  <a:pt x="5728" y="1064"/>
                </a:lnTo>
                <a:lnTo>
                  <a:pt x="5722" y="1068"/>
                </a:lnTo>
                <a:lnTo>
                  <a:pt x="5714" y="1070"/>
                </a:lnTo>
                <a:lnTo>
                  <a:pt x="5702" y="1070"/>
                </a:lnTo>
                <a:lnTo>
                  <a:pt x="5696" y="1070"/>
                </a:lnTo>
                <a:lnTo>
                  <a:pt x="5690" y="1070"/>
                </a:lnTo>
                <a:lnTo>
                  <a:pt x="5684" y="1074"/>
                </a:lnTo>
                <a:lnTo>
                  <a:pt x="5676" y="1082"/>
                </a:lnTo>
                <a:lnTo>
                  <a:pt x="5670" y="1086"/>
                </a:lnTo>
                <a:lnTo>
                  <a:pt x="5664" y="1088"/>
                </a:lnTo>
                <a:lnTo>
                  <a:pt x="5660" y="1090"/>
                </a:lnTo>
                <a:lnTo>
                  <a:pt x="5656" y="1090"/>
                </a:lnTo>
                <a:lnTo>
                  <a:pt x="5656" y="1086"/>
                </a:lnTo>
                <a:lnTo>
                  <a:pt x="5656" y="1082"/>
                </a:lnTo>
                <a:lnTo>
                  <a:pt x="5660" y="1078"/>
                </a:lnTo>
                <a:lnTo>
                  <a:pt x="5668" y="1070"/>
                </a:lnTo>
                <a:lnTo>
                  <a:pt x="5678" y="1064"/>
                </a:lnTo>
                <a:lnTo>
                  <a:pt x="5684" y="1062"/>
                </a:lnTo>
                <a:lnTo>
                  <a:pt x="5690" y="1060"/>
                </a:lnTo>
                <a:lnTo>
                  <a:pt x="5694" y="1060"/>
                </a:lnTo>
                <a:lnTo>
                  <a:pt x="5700" y="1064"/>
                </a:lnTo>
                <a:lnTo>
                  <a:pt x="5702" y="1064"/>
                </a:lnTo>
                <a:lnTo>
                  <a:pt x="5706" y="1062"/>
                </a:lnTo>
                <a:lnTo>
                  <a:pt x="5714" y="1056"/>
                </a:lnTo>
                <a:lnTo>
                  <a:pt x="5714" y="1054"/>
                </a:lnTo>
                <a:lnTo>
                  <a:pt x="5714" y="1052"/>
                </a:lnTo>
                <a:lnTo>
                  <a:pt x="5710" y="1052"/>
                </a:lnTo>
                <a:lnTo>
                  <a:pt x="5704" y="1050"/>
                </a:lnTo>
                <a:lnTo>
                  <a:pt x="5680" y="1052"/>
                </a:lnTo>
                <a:lnTo>
                  <a:pt x="5652" y="1056"/>
                </a:lnTo>
                <a:lnTo>
                  <a:pt x="5638" y="1058"/>
                </a:lnTo>
                <a:lnTo>
                  <a:pt x="5634" y="1056"/>
                </a:lnTo>
                <a:lnTo>
                  <a:pt x="5632" y="1052"/>
                </a:lnTo>
                <a:lnTo>
                  <a:pt x="5636" y="1046"/>
                </a:lnTo>
                <a:lnTo>
                  <a:pt x="5640" y="1038"/>
                </a:lnTo>
                <a:lnTo>
                  <a:pt x="5650" y="1022"/>
                </a:lnTo>
                <a:lnTo>
                  <a:pt x="5656" y="1012"/>
                </a:lnTo>
                <a:lnTo>
                  <a:pt x="5658" y="1010"/>
                </a:lnTo>
                <a:lnTo>
                  <a:pt x="5664" y="1016"/>
                </a:lnTo>
                <a:lnTo>
                  <a:pt x="5672" y="1022"/>
                </a:lnTo>
                <a:lnTo>
                  <a:pt x="5676" y="1022"/>
                </a:lnTo>
                <a:lnTo>
                  <a:pt x="5680" y="1022"/>
                </a:lnTo>
                <a:lnTo>
                  <a:pt x="5718" y="1010"/>
                </a:lnTo>
                <a:lnTo>
                  <a:pt x="5732" y="1004"/>
                </a:lnTo>
                <a:lnTo>
                  <a:pt x="5742" y="1000"/>
                </a:lnTo>
                <a:lnTo>
                  <a:pt x="5746" y="996"/>
                </a:lnTo>
                <a:lnTo>
                  <a:pt x="5746" y="990"/>
                </a:lnTo>
                <a:lnTo>
                  <a:pt x="5742" y="986"/>
                </a:lnTo>
                <a:lnTo>
                  <a:pt x="5734" y="982"/>
                </a:lnTo>
                <a:lnTo>
                  <a:pt x="5724" y="980"/>
                </a:lnTo>
                <a:lnTo>
                  <a:pt x="5710" y="976"/>
                </a:lnTo>
                <a:lnTo>
                  <a:pt x="5688" y="972"/>
                </a:lnTo>
                <a:lnTo>
                  <a:pt x="5682" y="970"/>
                </a:lnTo>
                <a:lnTo>
                  <a:pt x="5680" y="968"/>
                </a:lnTo>
                <a:lnTo>
                  <a:pt x="5680" y="966"/>
                </a:lnTo>
                <a:lnTo>
                  <a:pt x="5686" y="966"/>
                </a:lnTo>
                <a:lnTo>
                  <a:pt x="5706" y="966"/>
                </a:lnTo>
                <a:lnTo>
                  <a:pt x="5728" y="970"/>
                </a:lnTo>
                <a:lnTo>
                  <a:pt x="5742" y="974"/>
                </a:lnTo>
                <a:lnTo>
                  <a:pt x="5754" y="980"/>
                </a:lnTo>
                <a:lnTo>
                  <a:pt x="5768" y="986"/>
                </a:lnTo>
                <a:lnTo>
                  <a:pt x="5782" y="990"/>
                </a:lnTo>
                <a:lnTo>
                  <a:pt x="5790" y="996"/>
                </a:lnTo>
                <a:lnTo>
                  <a:pt x="5794" y="1006"/>
                </a:lnTo>
                <a:lnTo>
                  <a:pt x="5796" y="1022"/>
                </a:lnTo>
                <a:lnTo>
                  <a:pt x="5800" y="1030"/>
                </a:lnTo>
                <a:lnTo>
                  <a:pt x="5806" y="1038"/>
                </a:lnTo>
                <a:lnTo>
                  <a:pt x="5814" y="1044"/>
                </a:lnTo>
                <a:lnTo>
                  <a:pt x="5824" y="1048"/>
                </a:lnTo>
                <a:lnTo>
                  <a:pt x="5834" y="1052"/>
                </a:lnTo>
                <a:lnTo>
                  <a:pt x="5844" y="1054"/>
                </a:lnTo>
                <a:lnTo>
                  <a:pt x="5852" y="1054"/>
                </a:lnTo>
                <a:lnTo>
                  <a:pt x="5858" y="1052"/>
                </a:lnTo>
                <a:lnTo>
                  <a:pt x="5866" y="1048"/>
                </a:lnTo>
                <a:lnTo>
                  <a:pt x="5872" y="1048"/>
                </a:lnTo>
                <a:lnTo>
                  <a:pt x="5882" y="1052"/>
                </a:lnTo>
                <a:lnTo>
                  <a:pt x="5896" y="1054"/>
                </a:lnTo>
                <a:lnTo>
                  <a:pt x="5904" y="1054"/>
                </a:lnTo>
                <a:lnTo>
                  <a:pt x="5908" y="1048"/>
                </a:lnTo>
                <a:lnTo>
                  <a:pt x="5908" y="1042"/>
                </a:lnTo>
                <a:lnTo>
                  <a:pt x="5906" y="1032"/>
                </a:lnTo>
                <a:lnTo>
                  <a:pt x="5902" y="1008"/>
                </a:lnTo>
                <a:lnTo>
                  <a:pt x="5900" y="996"/>
                </a:lnTo>
                <a:lnTo>
                  <a:pt x="5900" y="984"/>
                </a:lnTo>
                <a:lnTo>
                  <a:pt x="5900" y="976"/>
                </a:lnTo>
                <a:lnTo>
                  <a:pt x="5898" y="974"/>
                </a:lnTo>
                <a:lnTo>
                  <a:pt x="5896" y="974"/>
                </a:lnTo>
                <a:lnTo>
                  <a:pt x="5892" y="976"/>
                </a:lnTo>
                <a:lnTo>
                  <a:pt x="5886" y="980"/>
                </a:lnTo>
                <a:lnTo>
                  <a:pt x="5880" y="984"/>
                </a:lnTo>
                <a:lnTo>
                  <a:pt x="5874" y="988"/>
                </a:lnTo>
                <a:lnTo>
                  <a:pt x="5868" y="990"/>
                </a:lnTo>
                <a:lnTo>
                  <a:pt x="5868" y="988"/>
                </a:lnTo>
                <a:lnTo>
                  <a:pt x="5866" y="984"/>
                </a:lnTo>
                <a:lnTo>
                  <a:pt x="5864" y="976"/>
                </a:lnTo>
                <a:lnTo>
                  <a:pt x="5866" y="974"/>
                </a:lnTo>
                <a:lnTo>
                  <a:pt x="5868" y="972"/>
                </a:lnTo>
                <a:lnTo>
                  <a:pt x="5876" y="970"/>
                </a:lnTo>
                <a:lnTo>
                  <a:pt x="5880" y="968"/>
                </a:lnTo>
                <a:lnTo>
                  <a:pt x="5886" y="960"/>
                </a:lnTo>
                <a:lnTo>
                  <a:pt x="5890" y="956"/>
                </a:lnTo>
                <a:lnTo>
                  <a:pt x="5892" y="954"/>
                </a:lnTo>
                <a:lnTo>
                  <a:pt x="5890" y="954"/>
                </a:lnTo>
                <a:lnTo>
                  <a:pt x="5880" y="958"/>
                </a:lnTo>
                <a:lnTo>
                  <a:pt x="5870" y="960"/>
                </a:lnTo>
                <a:lnTo>
                  <a:pt x="5866" y="960"/>
                </a:lnTo>
                <a:lnTo>
                  <a:pt x="5866" y="954"/>
                </a:lnTo>
                <a:lnTo>
                  <a:pt x="5868" y="948"/>
                </a:lnTo>
                <a:lnTo>
                  <a:pt x="5866" y="944"/>
                </a:lnTo>
                <a:lnTo>
                  <a:pt x="5862" y="940"/>
                </a:lnTo>
                <a:lnTo>
                  <a:pt x="5856" y="936"/>
                </a:lnTo>
                <a:lnTo>
                  <a:pt x="5838" y="932"/>
                </a:lnTo>
                <a:lnTo>
                  <a:pt x="5816" y="924"/>
                </a:lnTo>
                <a:lnTo>
                  <a:pt x="5796" y="918"/>
                </a:lnTo>
                <a:lnTo>
                  <a:pt x="5786" y="912"/>
                </a:lnTo>
                <a:lnTo>
                  <a:pt x="5780" y="906"/>
                </a:lnTo>
                <a:lnTo>
                  <a:pt x="5780" y="902"/>
                </a:lnTo>
                <a:lnTo>
                  <a:pt x="5780" y="900"/>
                </a:lnTo>
                <a:lnTo>
                  <a:pt x="5780" y="896"/>
                </a:lnTo>
                <a:lnTo>
                  <a:pt x="5778" y="890"/>
                </a:lnTo>
                <a:lnTo>
                  <a:pt x="5770" y="884"/>
                </a:lnTo>
                <a:lnTo>
                  <a:pt x="5762" y="880"/>
                </a:lnTo>
                <a:lnTo>
                  <a:pt x="5758" y="874"/>
                </a:lnTo>
                <a:lnTo>
                  <a:pt x="5760" y="870"/>
                </a:lnTo>
                <a:lnTo>
                  <a:pt x="5760" y="866"/>
                </a:lnTo>
                <a:lnTo>
                  <a:pt x="5758" y="862"/>
                </a:lnTo>
                <a:lnTo>
                  <a:pt x="5752" y="856"/>
                </a:lnTo>
                <a:lnTo>
                  <a:pt x="5738" y="852"/>
                </a:lnTo>
                <a:lnTo>
                  <a:pt x="5714" y="844"/>
                </a:lnTo>
                <a:lnTo>
                  <a:pt x="5724" y="846"/>
                </a:lnTo>
                <a:lnTo>
                  <a:pt x="5732" y="844"/>
                </a:lnTo>
                <a:lnTo>
                  <a:pt x="5740" y="840"/>
                </a:lnTo>
                <a:lnTo>
                  <a:pt x="5748" y="836"/>
                </a:lnTo>
                <a:lnTo>
                  <a:pt x="5764" y="828"/>
                </a:lnTo>
                <a:lnTo>
                  <a:pt x="5784" y="816"/>
                </a:lnTo>
                <a:lnTo>
                  <a:pt x="5790" y="816"/>
                </a:lnTo>
                <a:lnTo>
                  <a:pt x="5796" y="814"/>
                </a:lnTo>
                <a:lnTo>
                  <a:pt x="5810" y="818"/>
                </a:lnTo>
                <a:lnTo>
                  <a:pt x="5824" y="824"/>
                </a:lnTo>
                <a:lnTo>
                  <a:pt x="5838" y="832"/>
                </a:lnTo>
                <a:lnTo>
                  <a:pt x="5852" y="838"/>
                </a:lnTo>
                <a:lnTo>
                  <a:pt x="5866" y="842"/>
                </a:lnTo>
                <a:lnTo>
                  <a:pt x="5874" y="842"/>
                </a:lnTo>
                <a:lnTo>
                  <a:pt x="5880" y="842"/>
                </a:lnTo>
                <a:lnTo>
                  <a:pt x="5888" y="840"/>
                </a:lnTo>
                <a:lnTo>
                  <a:pt x="5894" y="836"/>
                </a:lnTo>
                <a:lnTo>
                  <a:pt x="5906" y="828"/>
                </a:lnTo>
                <a:lnTo>
                  <a:pt x="5916" y="826"/>
                </a:lnTo>
                <a:lnTo>
                  <a:pt x="5922" y="826"/>
                </a:lnTo>
                <a:lnTo>
                  <a:pt x="5928" y="828"/>
                </a:lnTo>
                <a:lnTo>
                  <a:pt x="5932" y="828"/>
                </a:lnTo>
                <a:lnTo>
                  <a:pt x="5936" y="828"/>
                </a:lnTo>
                <a:lnTo>
                  <a:pt x="5942" y="826"/>
                </a:lnTo>
                <a:lnTo>
                  <a:pt x="5948" y="818"/>
                </a:lnTo>
                <a:lnTo>
                  <a:pt x="5954" y="808"/>
                </a:lnTo>
                <a:lnTo>
                  <a:pt x="5954" y="804"/>
                </a:lnTo>
                <a:lnTo>
                  <a:pt x="5952" y="802"/>
                </a:lnTo>
                <a:lnTo>
                  <a:pt x="5948" y="796"/>
                </a:lnTo>
                <a:lnTo>
                  <a:pt x="5940" y="792"/>
                </a:lnTo>
                <a:lnTo>
                  <a:pt x="5930" y="788"/>
                </a:lnTo>
                <a:lnTo>
                  <a:pt x="5916" y="788"/>
                </a:lnTo>
                <a:lnTo>
                  <a:pt x="5890" y="786"/>
                </a:lnTo>
                <a:lnTo>
                  <a:pt x="5880" y="784"/>
                </a:lnTo>
                <a:lnTo>
                  <a:pt x="5876" y="782"/>
                </a:lnTo>
                <a:lnTo>
                  <a:pt x="5876" y="780"/>
                </a:lnTo>
                <a:lnTo>
                  <a:pt x="5876" y="774"/>
                </a:lnTo>
                <a:lnTo>
                  <a:pt x="5882" y="768"/>
                </a:lnTo>
                <a:lnTo>
                  <a:pt x="5890" y="762"/>
                </a:lnTo>
                <a:lnTo>
                  <a:pt x="5902" y="756"/>
                </a:lnTo>
                <a:lnTo>
                  <a:pt x="5914" y="752"/>
                </a:lnTo>
                <a:lnTo>
                  <a:pt x="5928" y="752"/>
                </a:lnTo>
                <a:lnTo>
                  <a:pt x="5940" y="754"/>
                </a:lnTo>
                <a:lnTo>
                  <a:pt x="5948" y="756"/>
                </a:lnTo>
                <a:lnTo>
                  <a:pt x="5958" y="764"/>
                </a:lnTo>
                <a:lnTo>
                  <a:pt x="5964" y="768"/>
                </a:lnTo>
                <a:lnTo>
                  <a:pt x="5970" y="768"/>
                </a:lnTo>
                <a:lnTo>
                  <a:pt x="5978" y="768"/>
                </a:lnTo>
                <a:lnTo>
                  <a:pt x="5990" y="764"/>
                </a:lnTo>
                <a:lnTo>
                  <a:pt x="5998" y="760"/>
                </a:lnTo>
                <a:lnTo>
                  <a:pt x="6002" y="756"/>
                </a:lnTo>
                <a:lnTo>
                  <a:pt x="6002" y="752"/>
                </a:lnTo>
                <a:lnTo>
                  <a:pt x="5998" y="748"/>
                </a:lnTo>
                <a:lnTo>
                  <a:pt x="5992" y="744"/>
                </a:lnTo>
                <a:lnTo>
                  <a:pt x="5982" y="742"/>
                </a:lnTo>
                <a:lnTo>
                  <a:pt x="5970" y="740"/>
                </a:lnTo>
                <a:lnTo>
                  <a:pt x="5956" y="738"/>
                </a:lnTo>
                <a:lnTo>
                  <a:pt x="5948" y="736"/>
                </a:lnTo>
                <a:lnTo>
                  <a:pt x="5944" y="734"/>
                </a:lnTo>
                <a:lnTo>
                  <a:pt x="5940" y="732"/>
                </a:lnTo>
                <a:lnTo>
                  <a:pt x="5938" y="728"/>
                </a:lnTo>
                <a:lnTo>
                  <a:pt x="5936" y="718"/>
                </a:lnTo>
                <a:lnTo>
                  <a:pt x="5940" y="708"/>
                </a:lnTo>
                <a:lnTo>
                  <a:pt x="5944" y="700"/>
                </a:lnTo>
                <a:lnTo>
                  <a:pt x="5950" y="692"/>
                </a:lnTo>
                <a:lnTo>
                  <a:pt x="5954" y="692"/>
                </a:lnTo>
                <a:lnTo>
                  <a:pt x="5958" y="690"/>
                </a:lnTo>
                <a:lnTo>
                  <a:pt x="5960" y="692"/>
                </a:lnTo>
                <a:lnTo>
                  <a:pt x="5964" y="694"/>
                </a:lnTo>
                <a:lnTo>
                  <a:pt x="5970" y="700"/>
                </a:lnTo>
                <a:lnTo>
                  <a:pt x="5976" y="702"/>
                </a:lnTo>
                <a:lnTo>
                  <a:pt x="5984" y="702"/>
                </a:lnTo>
                <a:lnTo>
                  <a:pt x="5990" y="698"/>
                </a:lnTo>
                <a:lnTo>
                  <a:pt x="5996" y="692"/>
                </a:lnTo>
                <a:lnTo>
                  <a:pt x="5998" y="686"/>
                </a:lnTo>
                <a:lnTo>
                  <a:pt x="5996" y="678"/>
                </a:lnTo>
                <a:lnTo>
                  <a:pt x="5992" y="668"/>
                </a:lnTo>
                <a:lnTo>
                  <a:pt x="5988" y="662"/>
                </a:lnTo>
                <a:lnTo>
                  <a:pt x="5986" y="658"/>
                </a:lnTo>
                <a:lnTo>
                  <a:pt x="5990" y="656"/>
                </a:lnTo>
                <a:lnTo>
                  <a:pt x="5994" y="656"/>
                </a:lnTo>
                <a:lnTo>
                  <a:pt x="5996" y="654"/>
                </a:lnTo>
                <a:lnTo>
                  <a:pt x="5980" y="646"/>
                </a:lnTo>
                <a:lnTo>
                  <a:pt x="5968" y="640"/>
                </a:lnTo>
                <a:lnTo>
                  <a:pt x="5964" y="636"/>
                </a:lnTo>
                <a:lnTo>
                  <a:pt x="5964" y="632"/>
                </a:lnTo>
                <a:lnTo>
                  <a:pt x="5968" y="632"/>
                </a:lnTo>
                <a:lnTo>
                  <a:pt x="5976" y="628"/>
                </a:lnTo>
                <a:lnTo>
                  <a:pt x="5980" y="624"/>
                </a:lnTo>
                <a:lnTo>
                  <a:pt x="5978" y="618"/>
                </a:lnTo>
                <a:lnTo>
                  <a:pt x="5976" y="616"/>
                </a:lnTo>
                <a:lnTo>
                  <a:pt x="5972" y="614"/>
                </a:lnTo>
                <a:lnTo>
                  <a:pt x="5962" y="612"/>
                </a:lnTo>
                <a:lnTo>
                  <a:pt x="5934" y="612"/>
                </a:lnTo>
                <a:lnTo>
                  <a:pt x="5922" y="612"/>
                </a:lnTo>
                <a:lnTo>
                  <a:pt x="5910" y="610"/>
                </a:lnTo>
                <a:lnTo>
                  <a:pt x="5902" y="608"/>
                </a:lnTo>
                <a:lnTo>
                  <a:pt x="5900" y="604"/>
                </a:lnTo>
                <a:lnTo>
                  <a:pt x="5898" y="600"/>
                </a:lnTo>
                <a:lnTo>
                  <a:pt x="5898" y="596"/>
                </a:lnTo>
                <a:lnTo>
                  <a:pt x="5898" y="594"/>
                </a:lnTo>
                <a:lnTo>
                  <a:pt x="5892" y="588"/>
                </a:lnTo>
                <a:lnTo>
                  <a:pt x="5884" y="584"/>
                </a:lnTo>
                <a:lnTo>
                  <a:pt x="5876" y="582"/>
                </a:lnTo>
                <a:lnTo>
                  <a:pt x="5868" y="580"/>
                </a:lnTo>
                <a:lnTo>
                  <a:pt x="5864" y="576"/>
                </a:lnTo>
                <a:lnTo>
                  <a:pt x="5864" y="574"/>
                </a:lnTo>
                <a:lnTo>
                  <a:pt x="5864" y="572"/>
                </a:lnTo>
                <a:lnTo>
                  <a:pt x="5868" y="568"/>
                </a:lnTo>
                <a:lnTo>
                  <a:pt x="5876" y="564"/>
                </a:lnTo>
                <a:lnTo>
                  <a:pt x="5882" y="566"/>
                </a:lnTo>
                <a:lnTo>
                  <a:pt x="5886" y="570"/>
                </a:lnTo>
                <a:lnTo>
                  <a:pt x="5890" y="574"/>
                </a:lnTo>
                <a:lnTo>
                  <a:pt x="5894" y="578"/>
                </a:lnTo>
                <a:lnTo>
                  <a:pt x="5900" y="580"/>
                </a:lnTo>
                <a:lnTo>
                  <a:pt x="5908" y="580"/>
                </a:lnTo>
                <a:lnTo>
                  <a:pt x="5918" y="572"/>
                </a:lnTo>
                <a:lnTo>
                  <a:pt x="5930" y="566"/>
                </a:lnTo>
                <a:lnTo>
                  <a:pt x="5944" y="560"/>
                </a:lnTo>
                <a:lnTo>
                  <a:pt x="5956" y="558"/>
                </a:lnTo>
                <a:lnTo>
                  <a:pt x="5968" y="558"/>
                </a:lnTo>
                <a:lnTo>
                  <a:pt x="5980" y="560"/>
                </a:lnTo>
                <a:lnTo>
                  <a:pt x="5992" y="564"/>
                </a:lnTo>
                <a:lnTo>
                  <a:pt x="6014" y="572"/>
                </a:lnTo>
                <a:lnTo>
                  <a:pt x="6024" y="576"/>
                </a:lnTo>
                <a:lnTo>
                  <a:pt x="6032" y="574"/>
                </a:lnTo>
                <a:lnTo>
                  <a:pt x="6038" y="570"/>
                </a:lnTo>
                <a:lnTo>
                  <a:pt x="6042" y="562"/>
                </a:lnTo>
                <a:lnTo>
                  <a:pt x="6044" y="554"/>
                </a:lnTo>
                <a:lnTo>
                  <a:pt x="6044" y="546"/>
                </a:lnTo>
                <a:lnTo>
                  <a:pt x="6038" y="536"/>
                </a:lnTo>
                <a:lnTo>
                  <a:pt x="6032" y="528"/>
                </a:lnTo>
                <a:lnTo>
                  <a:pt x="6022" y="522"/>
                </a:lnTo>
                <a:lnTo>
                  <a:pt x="6018" y="522"/>
                </a:lnTo>
                <a:lnTo>
                  <a:pt x="6012" y="524"/>
                </a:lnTo>
                <a:lnTo>
                  <a:pt x="6008" y="528"/>
                </a:lnTo>
                <a:lnTo>
                  <a:pt x="6002" y="532"/>
                </a:lnTo>
                <a:lnTo>
                  <a:pt x="5994" y="532"/>
                </a:lnTo>
                <a:lnTo>
                  <a:pt x="5984" y="530"/>
                </a:lnTo>
                <a:lnTo>
                  <a:pt x="5968" y="522"/>
                </a:lnTo>
                <a:lnTo>
                  <a:pt x="5942" y="506"/>
                </a:lnTo>
                <a:lnTo>
                  <a:pt x="5938" y="500"/>
                </a:lnTo>
                <a:lnTo>
                  <a:pt x="5938" y="498"/>
                </a:lnTo>
                <a:lnTo>
                  <a:pt x="5944" y="496"/>
                </a:lnTo>
                <a:lnTo>
                  <a:pt x="5952" y="498"/>
                </a:lnTo>
                <a:lnTo>
                  <a:pt x="5982" y="504"/>
                </a:lnTo>
                <a:lnTo>
                  <a:pt x="6006" y="508"/>
                </a:lnTo>
                <a:lnTo>
                  <a:pt x="6010" y="506"/>
                </a:lnTo>
                <a:lnTo>
                  <a:pt x="6010" y="504"/>
                </a:lnTo>
                <a:lnTo>
                  <a:pt x="6004" y="500"/>
                </a:lnTo>
                <a:lnTo>
                  <a:pt x="5992" y="496"/>
                </a:lnTo>
                <a:lnTo>
                  <a:pt x="5956" y="480"/>
                </a:lnTo>
                <a:lnTo>
                  <a:pt x="5936" y="474"/>
                </a:lnTo>
                <a:lnTo>
                  <a:pt x="5922" y="472"/>
                </a:lnTo>
                <a:lnTo>
                  <a:pt x="5914" y="476"/>
                </a:lnTo>
                <a:lnTo>
                  <a:pt x="5910" y="480"/>
                </a:lnTo>
                <a:lnTo>
                  <a:pt x="5906" y="494"/>
                </a:lnTo>
                <a:lnTo>
                  <a:pt x="5902" y="500"/>
                </a:lnTo>
                <a:lnTo>
                  <a:pt x="5896" y="502"/>
                </a:lnTo>
                <a:lnTo>
                  <a:pt x="5892" y="502"/>
                </a:lnTo>
                <a:lnTo>
                  <a:pt x="5890" y="502"/>
                </a:lnTo>
                <a:lnTo>
                  <a:pt x="5888" y="500"/>
                </a:lnTo>
                <a:lnTo>
                  <a:pt x="5888" y="496"/>
                </a:lnTo>
                <a:lnTo>
                  <a:pt x="5890" y="488"/>
                </a:lnTo>
                <a:lnTo>
                  <a:pt x="5896" y="478"/>
                </a:lnTo>
                <a:lnTo>
                  <a:pt x="5910" y="452"/>
                </a:lnTo>
                <a:lnTo>
                  <a:pt x="5916" y="438"/>
                </a:lnTo>
                <a:lnTo>
                  <a:pt x="5922" y="424"/>
                </a:lnTo>
                <a:lnTo>
                  <a:pt x="5926" y="414"/>
                </a:lnTo>
                <a:lnTo>
                  <a:pt x="5934" y="406"/>
                </a:lnTo>
                <a:lnTo>
                  <a:pt x="5940" y="404"/>
                </a:lnTo>
                <a:lnTo>
                  <a:pt x="5948" y="402"/>
                </a:lnTo>
                <a:lnTo>
                  <a:pt x="5960" y="404"/>
                </a:lnTo>
                <a:lnTo>
                  <a:pt x="5966" y="402"/>
                </a:lnTo>
                <a:lnTo>
                  <a:pt x="5970" y="400"/>
                </a:lnTo>
                <a:lnTo>
                  <a:pt x="5982" y="392"/>
                </a:lnTo>
                <a:lnTo>
                  <a:pt x="5996" y="380"/>
                </a:lnTo>
                <a:lnTo>
                  <a:pt x="6002" y="376"/>
                </a:lnTo>
                <a:lnTo>
                  <a:pt x="6004" y="370"/>
                </a:lnTo>
                <a:lnTo>
                  <a:pt x="6004" y="368"/>
                </a:lnTo>
                <a:lnTo>
                  <a:pt x="5996" y="364"/>
                </a:lnTo>
                <a:lnTo>
                  <a:pt x="5988" y="362"/>
                </a:lnTo>
                <a:lnTo>
                  <a:pt x="5984" y="358"/>
                </a:lnTo>
                <a:lnTo>
                  <a:pt x="5980" y="354"/>
                </a:lnTo>
                <a:lnTo>
                  <a:pt x="5980" y="348"/>
                </a:lnTo>
                <a:lnTo>
                  <a:pt x="5982" y="342"/>
                </a:lnTo>
                <a:lnTo>
                  <a:pt x="5986" y="338"/>
                </a:lnTo>
                <a:lnTo>
                  <a:pt x="5994" y="336"/>
                </a:lnTo>
                <a:lnTo>
                  <a:pt x="6006" y="334"/>
                </a:lnTo>
                <a:lnTo>
                  <a:pt x="6026" y="332"/>
                </a:lnTo>
                <a:lnTo>
                  <a:pt x="6040" y="328"/>
                </a:lnTo>
                <a:lnTo>
                  <a:pt x="6052" y="322"/>
                </a:lnTo>
                <a:lnTo>
                  <a:pt x="6064" y="310"/>
                </a:lnTo>
                <a:lnTo>
                  <a:pt x="6066" y="306"/>
                </a:lnTo>
                <a:lnTo>
                  <a:pt x="6066" y="304"/>
                </a:lnTo>
                <a:lnTo>
                  <a:pt x="6066" y="302"/>
                </a:lnTo>
                <a:lnTo>
                  <a:pt x="6062" y="300"/>
                </a:lnTo>
                <a:lnTo>
                  <a:pt x="6052" y="298"/>
                </a:lnTo>
                <a:lnTo>
                  <a:pt x="6036" y="300"/>
                </a:lnTo>
                <a:lnTo>
                  <a:pt x="5998" y="306"/>
                </a:lnTo>
                <a:lnTo>
                  <a:pt x="5980" y="312"/>
                </a:lnTo>
                <a:lnTo>
                  <a:pt x="5962" y="318"/>
                </a:lnTo>
                <a:lnTo>
                  <a:pt x="5948" y="320"/>
                </a:lnTo>
                <a:lnTo>
                  <a:pt x="5946" y="320"/>
                </a:lnTo>
                <a:lnTo>
                  <a:pt x="5944" y="318"/>
                </a:lnTo>
                <a:lnTo>
                  <a:pt x="5944" y="316"/>
                </a:lnTo>
                <a:lnTo>
                  <a:pt x="5944" y="312"/>
                </a:lnTo>
                <a:lnTo>
                  <a:pt x="5950" y="306"/>
                </a:lnTo>
                <a:lnTo>
                  <a:pt x="5960" y="298"/>
                </a:lnTo>
                <a:lnTo>
                  <a:pt x="5974" y="290"/>
                </a:lnTo>
                <a:lnTo>
                  <a:pt x="5988" y="286"/>
                </a:lnTo>
                <a:lnTo>
                  <a:pt x="5996" y="286"/>
                </a:lnTo>
                <a:lnTo>
                  <a:pt x="6004" y="288"/>
                </a:lnTo>
                <a:lnTo>
                  <a:pt x="6018" y="290"/>
                </a:lnTo>
                <a:lnTo>
                  <a:pt x="6034" y="292"/>
                </a:lnTo>
                <a:lnTo>
                  <a:pt x="6050" y="292"/>
                </a:lnTo>
                <a:lnTo>
                  <a:pt x="6064" y="290"/>
                </a:lnTo>
                <a:lnTo>
                  <a:pt x="6092" y="284"/>
                </a:lnTo>
                <a:lnTo>
                  <a:pt x="6116" y="274"/>
                </a:lnTo>
                <a:lnTo>
                  <a:pt x="6122" y="270"/>
                </a:lnTo>
                <a:lnTo>
                  <a:pt x="6122" y="268"/>
                </a:lnTo>
                <a:lnTo>
                  <a:pt x="6122" y="266"/>
                </a:lnTo>
                <a:lnTo>
                  <a:pt x="6116" y="264"/>
                </a:lnTo>
                <a:lnTo>
                  <a:pt x="6106" y="262"/>
                </a:lnTo>
                <a:lnTo>
                  <a:pt x="6082" y="260"/>
                </a:lnTo>
                <a:lnTo>
                  <a:pt x="6068" y="260"/>
                </a:lnTo>
                <a:lnTo>
                  <a:pt x="6056" y="262"/>
                </a:lnTo>
                <a:lnTo>
                  <a:pt x="6042" y="262"/>
                </a:lnTo>
                <a:lnTo>
                  <a:pt x="6026" y="262"/>
                </a:lnTo>
                <a:lnTo>
                  <a:pt x="5990" y="260"/>
                </a:lnTo>
                <a:lnTo>
                  <a:pt x="5970" y="258"/>
                </a:lnTo>
                <a:lnTo>
                  <a:pt x="5988" y="258"/>
                </a:lnTo>
                <a:lnTo>
                  <a:pt x="6004" y="258"/>
                </a:lnTo>
                <a:lnTo>
                  <a:pt x="6018" y="258"/>
                </a:lnTo>
                <a:lnTo>
                  <a:pt x="6028" y="254"/>
                </a:lnTo>
                <a:lnTo>
                  <a:pt x="6036" y="252"/>
                </a:lnTo>
                <a:lnTo>
                  <a:pt x="6050" y="246"/>
                </a:lnTo>
                <a:lnTo>
                  <a:pt x="6058" y="246"/>
                </a:lnTo>
                <a:lnTo>
                  <a:pt x="6068" y="248"/>
                </a:lnTo>
                <a:lnTo>
                  <a:pt x="6080" y="248"/>
                </a:lnTo>
                <a:lnTo>
                  <a:pt x="6090" y="250"/>
                </a:lnTo>
                <a:lnTo>
                  <a:pt x="6112" y="248"/>
                </a:lnTo>
                <a:lnTo>
                  <a:pt x="6136" y="244"/>
                </a:lnTo>
                <a:lnTo>
                  <a:pt x="6166" y="242"/>
                </a:lnTo>
                <a:lnTo>
                  <a:pt x="6178" y="240"/>
                </a:lnTo>
                <a:lnTo>
                  <a:pt x="6180" y="238"/>
                </a:lnTo>
                <a:lnTo>
                  <a:pt x="6180" y="236"/>
                </a:lnTo>
                <a:lnTo>
                  <a:pt x="6178" y="232"/>
                </a:lnTo>
                <a:lnTo>
                  <a:pt x="6172" y="228"/>
                </a:lnTo>
                <a:lnTo>
                  <a:pt x="6166" y="224"/>
                </a:lnTo>
                <a:lnTo>
                  <a:pt x="6166" y="220"/>
                </a:lnTo>
                <a:lnTo>
                  <a:pt x="6166" y="218"/>
                </a:lnTo>
                <a:lnTo>
                  <a:pt x="6170" y="218"/>
                </a:lnTo>
                <a:lnTo>
                  <a:pt x="6184" y="216"/>
                </a:lnTo>
                <a:lnTo>
                  <a:pt x="6196" y="216"/>
                </a:lnTo>
                <a:lnTo>
                  <a:pt x="6208" y="214"/>
                </a:lnTo>
                <a:lnTo>
                  <a:pt x="6218" y="210"/>
                </a:lnTo>
                <a:lnTo>
                  <a:pt x="6228" y="206"/>
                </a:lnTo>
                <a:lnTo>
                  <a:pt x="6248" y="194"/>
                </a:lnTo>
                <a:lnTo>
                  <a:pt x="6272" y="182"/>
                </a:lnTo>
                <a:lnTo>
                  <a:pt x="6278" y="180"/>
                </a:lnTo>
                <a:lnTo>
                  <a:pt x="6278" y="176"/>
                </a:lnTo>
                <a:lnTo>
                  <a:pt x="6276" y="172"/>
                </a:lnTo>
                <a:lnTo>
                  <a:pt x="6270" y="170"/>
                </a:lnTo>
                <a:lnTo>
                  <a:pt x="6250" y="164"/>
                </a:lnTo>
                <a:lnTo>
                  <a:pt x="6224" y="158"/>
                </a:lnTo>
                <a:lnTo>
                  <a:pt x="6192" y="154"/>
                </a:lnTo>
                <a:lnTo>
                  <a:pt x="6160" y="150"/>
                </a:lnTo>
                <a:lnTo>
                  <a:pt x="6128" y="148"/>
                </a:lnTo>
                <a:lnTo>
                  <a:pt x="6100" y="148"/>
                </a:lnTo>
                <a:lnTo>
                  <a:pt x="6080" y="152"/>
                </a:lnTo>
                <a:lnTo>
                  <a:pt x="6066" y="156"/>
                </a:lnTo>
                <a:lnTo>
                  <a:pt x="6056" y="164"/>
                </a:lnTo>
                <a:lnTo>
                  <a:pt x="6050" y="172"/>
                </a:lnTo>
                <a:lnTo>
                  <a:pt x="6046" y="178"/>
                </a:lnTo>
                <a:lnTo>
                  <a:pt x="6040" y="184"/>
                </a:lnTo>
                <a:lnTo>
                  <a:pt x="6034" y="186"/>
                </a:lnTo>
                <a:lnTo>
                  <a:pt x="6024" y="186"/>
                </a:lnTo>
                <a:lnTo>
                  <a:pt x="6012" y="182"/>
                </a:lnTo>
                <a:lnTo>
                  <a:pt x="6000" y="182"/>
                </a:lnTo>
                <a:lnTo>
                  <a:pt x="5976" y="182"/>
                </a:lnTo>
                <a:lnTo>
                  <a:pt x="5964" y="182"/>
                </a:lnTo>
                <a:lnTo>
                  <a:pt x="5962" y="182"/>
                </a:lnTo>
                <a:lnTo>
                  <a:pt x="5962" y="180"/>
                </a:lnTo>
                <a:lnTo>
                  <a:pt x="5966" y="176"/>
                </a:lnTo>
                <a:lnTo>
                  <a:pt x="5970" y="172"/>
                </a:lnTo>
                <a:lnTo>
                  <a:pt x="5970" y="170"/>
                </a:lnTo>
                <a:lnTo>
                  <a:pt x="5966" y="170"/>
                </a:lnTo>
                <a:lnTo>
                  <a:pt x="5956" y="172"/>
                </a:lnTo>
                <a:lnTo>
                  <a:pt x="5944" y="176"/>
                </a:lnTo>
                <a:lnTo>
                  <a:pt x="5928" y="184"/>
                </a:lnTo>
                <a:lnTo>
                  <a:pt x="5910" y="194"/>
                </a:lnTo>
                <a:lnTo>
                  <a:pt x="5888" y="210"/>
                </a:lnTo>
                <a:lnTo>
                  <a:pt x="5866" y="224"/>
                </a:lnTo>
                <a:lnTo>
                  <a:pt x="5846" y="234"/>
                </a:lnTo>
                <a:lnTo>
                  <a:pt x="5832" y="240"/>
                </a:lnTo>
                <a:lnTo>
                  <a:pt x="5822" y="244"/>
                </a:lnTo>
                <a:lnTo>
                  <a:pt x="5820" y="244"/>
                </a:lnTo>
                <a:lnTo>
                  <a:pt x="5818" y="242"/>
                </a:lnTo>
                <a:lnTo>
                  <a:pt x="5820" y="238"/>
                </a:lnTo>
                <a:lnTo>
                  <a:pt x="5828" y="228"/>
                </a:lnTo>
                <a:lnTo>
                  <a:pt x="5844" y="216"/>
                </a:lnTo>
                <a:lnTo>
                  <a:pt x="5862" y="200"/>
                </a:lnTo>
                <a:lnTo>
                  <a:pt x="5876" y="186"/>
                </a:lnTo>
                <a:lnTo>
                  <a:pt x="5886" y="172"/>
                </a:lnTo>
                <a:lnTo>
                  <a:pt x="5888" y="166"/>
                </a:lnTo>
                <a:lnTo>
                  <a:pt x="5890" y="160"/>
                </a:lnTo>
                <a:lnTo>
                  <a:pt x="5890" y="154"/>
                </a:lnTo>
                <a:lnTo>
                  <a:pt x="5888" y="150"/>
                </a:lnTo>
                <a:lnTo>
                  <a:pt x="5884" y="146"/>
                </a:lnTo>
                <a:lnTo>
                  <a:pt x="5878" y="142"/>
                </a:lnTo>
                <a:lnTo>
                  <a:pt x="5872" y="140"/>
                </a:lnTo>
                <a:lnTo>
                  <a:pt x="5864" y="138"/>
                </a:lnTo>
                <a:lnTo>
                  <a:pt x="5842" y="136"/>
                </a:lnTo>
                <a:lnTo>
                  <a:pt x="5820" y="138"/>
                </a:lnTo>
                <a:lnTo>
                  <a:pt x="5808" y="142"/>
                </a:lnTo>
                <a:lnTo>
                  <a:pt x="5802" y="146"/>
                </a:lnTo>
                <a:lnTo>
                  <a:pt x="5798" y="150"/>
                </a:lnTo>
                <a:lnTo>
                  <a:pt x="5798" y="156"/>
                </a:lnTo>
                <a:lnTo>
                  <a:pt x="5794" y="162"/>
                </a:lnTo>
                <a:lnTo>
                  <a:pt x="5788" y="166"/>
                </a:lnTo>
                <a:lnTo>
                  <a:pt x="5776" y="172"/>
                </a:lnTo>
                <a:lnTo>
                  <a:pt x="5746" y="178"/>
                </a:lnTo>
                <a:lnTo>
                  <a:pt x="5722" y="182"/>
                </a:lnTo>
                <a:lnTo>
                  <a:pt x="5714" y="180"/>
                </a:lnTo>
                <a:lnTo>
                  <a:pt x="5712" y="180"/>
                </a:lnTo>
                <a:lnTo>
                  <a:pt x="5716" y="176"/>
                </a:lnTo>
                <a:lnTo>
                  <a:pt x="5728" y="170"/>
                </a:lnTo>
                <a:lnTo>
                  <a:pt x="5752" y="160"/>
                </a:lnTo>
                <a:lnTo>
                  <a:pt x="5760" y="154"/>
                </a:lnTo>
                <a:lnTo>
                  <a:pt x="5760" y="152"/>
                </a:lnTo>
                <a:lnTo>
                  <a:pt x="5762" y="150"/>
                </a:lnTo>
                <a:lnTo>
                  <a:pt x="5760" y="148"/>
                </a:lnTo>
                <a:lnTo>
                  <a:pt x="5756" y="146"/>
                </a:lnTo>
                <a:lnTo>
                  <a:pt x="5744" y="144"/>
                </a:lnTo>
                <a:lnTo>
                  <a:pt x="5722" y="142"/>
                </a:lnTo>
                <a:lnTo>
                  <a:pt x="5688" y="140"/>
                </a:lnTo>
                <a:lnTo>
                  <a:pt x="5648" y="140"/>
                </a:lnTo>
                <a:lnTo>
                  <a:pt x="5606" y="144"/>
                </a:lnTo>
                <a:lnTo>
                  <a:pt x="5566" y="152"/>
                </a:lnTo>
                <a:lnTo>
                  <a:pt x="5530" y="158"/>
                </a:lnTo>
                <a:lnTo>
                  <a:pt x="5472" y="170"/>
                </a:lnTo>
                <a:lnTo>
                  <a:pt x="5454" y="174"/>
                </a:lnTo>
                <a:lnTo>
                  <a:pt x="5448" y="174"/>
                </a:lnTo>
                <a:lnTo>
                  <a:pt x="5444" y="174"/>
                </a:lnTo>
                <a:lnTo>
                  <a:pt x="5440" y="170"/>
                </a:lnTo>
                <a:lnTo>
                  <a:pt x="5438" y="168"/>
                </a:lnTo>
                <a:lnTo>
                  <a:pt x="5440" y="164"/>
                </a:lnTo>
                <a:lnTo>
                  <a:pt x="5442" y="162"/>
                </a:lnTo>
                <a:lnTo>
                  <a:pt x="5454" y="156"/>
                </a:lnTo>
                <a:lnTo>
                  <a:pt x="5472" y="150"/>
                </a:lnTo>
                <a:lnTo>
                  <a:pt x="5522" y="142"/>
                </a:lnTo>
                <a:lnTo>
                  <a:pt x="5580" y="134"/>
                </a:lnTo>
                <a:lnTo>
                  <a:pt x="5608" y="130"/>
                </a:lnTo>
                <a:lnTo>
                  <a:pt x="5638" y="128"/>
                </a:lnTo>
                <a:lnTo>
                  <a:pt x="5700" y="130"/>
                </a:lnTo>
                <a:lnTo>
                  <a:pt x="5762" y="128"/>
                </a:lnTo>
                <a:lnTo>
                  <a:pt x="5792" y="126"/>
                </a:lnTo>
                <a:lnTo>
                  <a:pt x="5820" y="122"/>
                </a:lnTo>
                <a:lnTo>
                  <a:pt x="5856" y="114"/>
                </a:lnTo>
                <a:lnTo>
                  <a:pt x="5890" y="102"/>
                </a:lnTo>
                <a:lnTo>
                  <a:pt x="5902" y="96"/>
                </a:lnTo>
                <a:lnTo>
                  <a:pt x="5908" y="92"/>
                </a:lnTo>
                <a:lnTo>
                  <a:pt x="5908" y="90"/>
                </a:lnTo>
                <a:lnTo>
                  <a:pt x="5906" y="88"/>
                </a:lnTo>
                <a:lnTo>
                  <a:pt x="5898" y="84"/>
                </a:lnTo>
                <a:lnTo>
                  <a:pt x="5870" y="78"/>
                </a:lnTo>
                <a:lnTo>
                  <a:pt x="5840" y="70"/>
                </a:lnTo>
                <a:lnTo>
                  <a:pt x="5824" y="68"/>
                </a:lnTo>
                <a:lnTo>
                  <a:pt x="5806" y="68"/>
                </a:lnTo>
                <a:lnTo>
                  <a:pt x="5788" y="68"/>
                </a:lnTo>
                <a:lnTo>
                  <a:pt x="5770" y="72"/>
                </a:lnTo>
                <a:lnTo>
                  <a:pt x="5750" y="74"/>
                </a:lnTo>
                <a:lnTo>
                  <a:pt x="5752" y="72"/>
                </a:lnTo>
                <a:lnTo>
                  <a:pt x="5758" y="68"/>
                </a:lnTo>
                <a:lnTo>
                  <a:pt x="5766" y="64"/>
                </a:lnTo>
                <a:lnTo>
                  <a:pt x="5772" y="58"/>
                </a:lnTo>
                <a:lnTo>
                  <a:pt x="5774" y="54"/>
                </a:lnTo>
                <a:lnTo>
                  <a:pt x="5774" y="52"/>
                </a:lnTo>
                <a:lnTo>
                  <a:pt x="5772" y="48"/>
                </a:lnTo>
                <a:lnTo>
                  <a:pt x="5768" y="46"/>
                </a:lnTo>
                <a:lnTo>
                  <a:pt x="5758" y="42"/>
                </a:lnTo>
                <a:lnTo>
                  <a:pt x="5748" y="40"/>
                </a:lnTo>
                <a:lnTo>
                  <a:pt x="5736" y="42"/>
                </a:lnTo>
                <a:lnTo>
                  <a:pt x="5720" y="44"/>
                </a:lnTo>
                <a:lnTo>
                  <a:pt x="5704" y="48"/>
                </a:lnTo>
                <a:lnTo>
                  <a:pt x="5682" y="50"/>
                </a:lnTo>
                <a:lnTo>
                  <a:pt x="5658" y="50"/>
                </a:lnTo>
                <a:lnTo>
                  <a:pt x="5630" y="50"/>
                </a:lnTo>
                <a:lnTo>
                  <a:pt x="5602" y="48"/>
                </a:lnTo>
                <a:lnTo>
                  <a:pt x="5580" y="48"/>
                </a:lnTo>
                <a:lnTo>
                  <a:pt x="5560" y="50"/>
                </a:lnTo>
                <a:lnTo>
                  <a:pt x="5544" y="54"/>
                </a:lnTo>
                <a:lnTo>
                  <a:pt x="5514" y="60"/>
                </a:lnTo>
                <a:lnTo>
                  <a:pt x="5496" y="60"/>
                </a:lnTo>
                <a:lnTo>
                  <a:pt x="5476" y="60"/>
                </a:lnTo>
                <a:lnTo>
                  <a:pt x="5458" y="58"/>
                </a:lnTo>
                <a:lnTo>
                  <a:pt x="5452" y="56"/>
                </a:lnTo>
                <a:lnTo>
                  <a:pt x="5454" y="54"/>
                </a:lnTo>
                <a:lnTo>
                  <a:pt x="5464" y="52"/>
                </a:lnTo>
                <a:lnTo>
                  <a:pt x="5528" y="46"/>
                </a:lnTo>
                <a:lnTo>
                  <a:pt x="5572" y="44"/>
                </a:lnTo>
                <a:lnTo>
                  <a:pt x="5630" y="40"/>
                </a:lnTo>
                <a:lnTo>
                  <a:pt x="5690" y="38"/>
                </a:lnTo>
                <a:lnTo>
                  <a:pt x="5732" y="34"/>
                </a:lnTo>
                <a:lnTo>
                  <a:pt x="5736" y="32"/>
                </a:lnTo>
                <a:lnTo>
                  <a:pt x="5738" y="30"/>
                </a:lnTo>
                <a:lnTo>
                  <a:pt x="5738" y="28"/>
                </a:lnTo>
                <a:lnTo>
                  <a:pt x="5734" y="28"/>
                </a:lnTo>
                <a:lnTo>
                  <a:pt x="5718" y="24"/>
                </a:lnTo>
                <a:lnTo>
                  <a:pt x="5694" y="20"/>
                </a:lnTo>
                <a:lnTo>
                  <a:pt x="5634" y="12"/>
                </a:lnTo>
                <a:lnTo>
                  <a:pt x="5568" y="6"/>
                </a:lnTo>
                <a:lnTo>
                  <a:pt x="5522" y="2"/>
                </a:lnTo>
                <a:lnTo>
                  <a:pt x="5484" y="0"/>
                </a:lnTo>
                <a:lnTo>
                  <a:pt x="5454" y="0"/>
                </a:lnTo>
                <a:lnTo>
                  <a:pt x="5430" y="2"/>
                </a:lnTo>
                <a:lnTo>
                  <a:pt x="5388" y="6"/>
                </a:lnTo>
                <a:lnTo>
                  <a:pt x="5366" y="6"/>
                </a:lnTo>
                <a:lnTo>
                  <a:pt x="5340" y="6"/>
                </a:lnTo>
                <a:lnTo>
                  <a:pt x="5316" y="6"/>
                </a:lnTo>
                <a:lnTo>
                  <a:pt x="5304" y="8"/>
                </a:lnTo>
                <a:lnTo>
                  <a:pt x="5298" y="10"/>
                </a:lnTo>
                <a:lnTo>
                  <a:pt x="5294" y="14"/>
                </a:lnTo>
                <a:lnTo>
                  <a:pt x="5294" y="16"/>
                </a:lnTo>
                <a:lnTo>
                  <a:pt x="5294" y="18"/>
                </a:lnTo>
                <a:lnTo>
                  <a:pt x="5288" y="18"/>
                </a:lnTo>
                <a:lnTo>
                  <a:pt x="5278" y="16"/>
                </a:lnTo>
                <a:lnTo>
                  <a:pt x="5258" y="12"/>
                </a:lnTo>
                <a:lnTo>
                  <a:pt x="5246" y="12"/>
                </a:lnTo>
                <a:lnTo>
                  <a:pt x="5236" y="16"/>
                </a:lnTo>
                <a:lnTo>
                  <a:pt x="5220" y="16"/>
                </a:lnTo>
                <a:lnTo>
                  <a:pt x="5210" y="16"/>
                </a:lnTo>
                <a:lnTo>
                  <a:pt x="5204" y="20"/>
                </a:lnTo>
                <a:lnTo>
                  <a:pt x="5202" y="22"/>
                </a:lnTo>
                <a:lnTo>
                  <a:pt x="5202" y="26"/>
                </a:lnTo>
                <a:lnTo>
                  <a:pt x="5206" y="32"/>
                </a:lnTo>
                <a:lnTo>
                  <a:pt x="5214" y="36"/>
                </a:lnTo>
                <a:lnTo>
                  <a:pt x="5224" y="40"/>
                </a:lnTo>
                <a:lnTo>
                  <a:pt x="5238" y="42"/>
                </a:lnTo>
                <a:lnTo>
                  <a:pt x="5248" y="44"/>
                </a:lnTo>
                <a:lnTo>
                  <a:pt x="5252" y="46"/>
                </a:lnTo>
                <a:lnTo>
                  <a:pt x="5248" y="48"/>
                </a:lnTo>
                <a:lnTo>
                  <a:pt x="5242" y="48"/>
                </a:lnTo>
                <a:lnTo>
                  <a:pt x="5224" y="52"/>
                </a:lnTo>
                <a:lnTo>
                  <a:pt x="5214" y="54"/>
                </a:lnTo>
                <a:lnTo>
                  <a:pt x="5208" y="56"/>
                </a:lnTo>
                <a:lnTo>
                  <a:pt x="5192" y="60"/>
                </a:lnTo>
                <a:lnTo>
                  <a:pt x="5168" y="64"/>
                </a:lnTo>
                <a:lnTo>
                  <a:pt x="5154" y="64"/>
                </a:lnTo>
                <a:lnTo>
                  <a:pt x="5140" y="64"/>
                </a:lnTo>
                <a:lnTo>
                  <a:pt x="5126" y="60"/>
                </a:lnTo>
                <a:lnTo>
                  <a:pt x="5114" y="56"/>
                </a:lnTo>
                <a:lnTo>
                  <a:pt x="5092" y="46"/>
                </a:lnTo>
                <a:lnTo>
                  <a:pt x="5078" y="40"/>
                </a:lnTo>
                <a:lnTo>
                  <a:pt x="5064" y="38"/>
                </a:lnTo>
                <a:lnTo>
                  <a:pt x="5048" y="34"/>
                </a:lnTo>
                <a:lnTo>
                  <a:pt x="5030" y="34"/>
                </a:lnTo>
                <a:lnTo>
                  <a:pt x="5012" y="36"/>
                </a:lnTo>
                <a:lnTo>
                  <a:pt x="4992" y="38"/>
                </a:lnTo>
                <a:lnTo>
                  <a:pt x="4950" y="44"/>
                </a:lnTo>
                <a:lnTo>
                  <a:pt x="4914" y="48"/>
                </a:lnTo>
                <a:lnTo>
                  <a:pt x="4900" y="50"/>
                </a:lnTo>
                <a:lnTo>
                  <a:pt x="4890" y="52"/>
                </a:lnTo>
                <a:lnTo>
                  <a:pt x="4886" y="56"/>
                </a:lnTo>
                <a:lnTo>
                  <a:pt x="4884" y="58"/>
                </a:lnTo>
                <a:lnTo>
                  <a:pt x="4884" y="60"/>
                </a:lnTo>
                <a:lnTo>
                  <a:pt x="4890" y="64"/>
                </a:lnTo>
                <a:lnTo>
                  <a:pt x="4900" y="66"/>
                </a:lnTo>
                <a:lnTo>
                  <a:pt x="4928" y="66"/>
                </a:lnTo>
                <a:lnTo>
                  <a:pt x="4966" y="66"/>
                </a:lnTo>
                <a:lnTo>
                  <a:pt x="5006" y="66"/>
                </a:lnTo>
                <a:lnTo>
                  <a:pt x="5046" y="68"/>
                </a:lnTo>
                <a:lnTo>
                  <a:pt x="5082" y="72"/>
                </a:lnTo>
                <a:lnTo>
                  <a:pt x="5116" y="76"/>
                </a:lnTo>
                <a:lnTo>
                  <a:pt x="5150" y="82"/>
                </a:lnTo>
                <a:lnTo>
                  <a:pt x="5162" y="84"/>
                </a:lnTo>
                <a:lnTo>
                  <a:pt x="5168" y="88"/>
                </a:lnTo>
                <a:lnTo>
                  <a:pt x="5168" y="90"/>
                </a:lnTo>
                <a:lnTo>
                  <a:pt x="5162" y="92"/>
                </a:lnTo>
                <a:lnTo>
                  <a:pt x="5144" y="92"/>
                </a:lnTo>
                <a:lnTo>
                  <a:pt x="5132" y="90"/>
                </a:lnTo>
                <a:lnTo>
                  <a:pt x="5118" y="88"/>
                </a:lnTo>
                <a:lnTo>
                  <a:pt x="5104" y="84"/>
                </a:lnTo>
                <a:lnTo>
                  <a:pt x="5088" y="82"/>
                </a:lnTo>
                <a:lnTo>
                  <a:pt x="5050" y="78"/>
                </a:lnTo>
                <a:lnTo>
                  <a:pt x="4946" y="74"/>
                </a:lnTo>
                <a:lnTo>
                  <a:pt x="4928" y="74"/>
                </a:lnTo>
                <a:lnTo>
                  <a:pt x="4926" y="76"/>
                </a:lnTo>
                <a:lnTo>
                  <a:pt x="4928" y="78"/>
                </a:lnTo>
                <a:lnTo>
                  <a:pt x="4942" y="84"/>
                </a:lnTo>
                <a:lnTo>
                  <a:pt x="4964" y="92"/>
                </a:lnTo>
                <a:lnTo>
                  <a:pt x="4984" y="100"/>
                </a:lnTo>
                <a:lnTo>
                  <a:pt x="5000" y="106"/>
                </a:lnTo>
                <a:lnTo>
                  <a:pt x="5004" y="110"/>
                </a:lnTo>
                <a:lnTo>
                  <a:pt x="5004" y="112"/>
                </a:lnTo>
                <a:lnTo>
                  <a:pt x="5000" y="114"/>
                </a:lnTo>
                <a:lnTo>
                  <a:pt x="4990" y="116"/>
                </a:lnTo>
                <a:lnTo>
                  <a:pt x="4984" y="118"/>
                </a:lnTo>
                <a:lnTo>
                  <a:pt x="4978" y="118"/>
                </a:lnTo>
                <a:lnTo>
                  <a:pt x="4976" y="122"/>
                </a:lnTo>
                <a:lnTo>
                  <a:pt x="4974" y="124"/>
                </a:lnTo>
                <a:lnTo>
                  <a:pt x="4972" y="132"/>
                </a:lnTo>
                <a:lnTo>
                  <a:pt x="4976" y="140"/>
                </a:lnTo>
                <a:lnTo>
                  <a:pt x="4978" y="148"/>
                </a:lnTo>
                <a:lnTo>
                  <a:pt x="4978" y="154"/>
                </a:lnTo>
                <a:lnTo>
                  <a:pt x="4978" y="158"/>
                </a:lnTo>
                <a:lnTo>
                  <a:pt x="4976" y="160"/>
                </a:lnTo>
                <a:lnTo>
                  <a:pt x="4974" y="162"/>
                </a:lnTo>
                <a:lnTo>
                  <a:pt x="4968" y="162"/>
                </a:lnTo>
                <a:lnTo>
                  <a:pt x="4958" y="162"/>
                </a:lnTo>
                <a:lnTo>
                  <a:pt x="4950" y="160"/>
                </a:lnTo>
                <a:lnTo>
                  <a:pt x="4944" y="156"/>
                </a:lnTo>
                <a:lnTo>
                  <a:pt x="4938" y="152"/>
                </a:lnTo>
                <a:lnTo>
                  <a:pt x="4930" y="146"/>
                </a:lnTo>
                <a:lnTo>
                  <a:pt x="4920" y="140"/>
                </a:lnTo>
                <a:lnTo>
                  <a:pt x="4906" y="136"/>
                </a:lnTo>
                <a:lnTo>
                  <a:pt x="4888" y="132"/>
                </a:lnTo>
                <a:lnTo>
                  <a:pt x="4870" y="128"/>
                </a:lnTo>
                <a:lnTo>
                  <a:pt x="4852" y="124"/>
                </a:lnTo>
                <a:lnTo>
                  <a:pt x="4822" y="112"/>
                </a:lnTo>
                <a:lnTo>
                  <a:pt x="4790" y="104"/>
                </a:lnTo>
                <a:lnTo>
                  <a:pt x="4772" y="100"/>
                </a:lnTo>
                <a:lnTo>
                  <a:pt x="4752" y="98"/>
                </a:lnTo>
                <a:lnTo>
                  <a:pt x="4732" y="98"/>
                </a:lnTo>
                <a:lnTo>
                  <a:pt x="4720" y="98"/>
                </a:lnTo>
                <a:lnTo>
                  <a:pt x="4712" y="102"/>
                </a:lnTo>
                <a:lnTo>
                  <a:pt x="4710" y="104"/>
                </a:lnTo>
                <a:lnTo>
                  <a:pt x="4710" y="106"/>
                </a:lnTo>
                <a:lnTo>
                  <a:pt x="4714" y="110"/>
                </a:lnTo>
                <a:lnTo>
                  <a:pt x="4722" y="118"/>
                </a:lnTo>
                <a:lnTo>
                  <a:pt x="4750" y="138"/>
                </a:lnTo>
                <a:lnTo>
                  <a:pt x="4764" y="146"/>
                </a:lnTo>
                <a:lnTo>
                  <a:pt x="4766" y="148"/>
                </a:lnTo>
                <a:lnTo>
                  <a:pt x="4764" y="150"/>
                </a:lnTo>
                <a:lnTo>
                  <a:pt x="4758" y="150"/>
                </a:lnTo>
                <a:lnTo>
                  <a:pt x="4748" y="148"/>
                </a:lnTo>
                <a:lnTo>
                  <a:pt x="4736" y="146"/>
                </a:lnTo>
                <a:lnTo>
                  <a:pt x="4724" y="146"/>
                </a:lnTo>
                <a:lnTo>
                  <a:pt x="4722" y="148"/>
                </a:lnTo>
                <a:lnTo>
                  <a:pt x="4720" y="150"/>
                </a:lnTo>
                <a:lnTo>
                  <a:pt x="4718" y="154"/>
                </a:lnTo>
                <a:lnTo>
                  <a:pt x="4722" y="158"/>
                </a:lnTo>
                <a:lnTo>
                  <a:pt x="4722" y="160"/>
                </a:lnTo>
                <a:lnTo>
                  <a:pt x="4714" y="158"/>
                </a:lnTo>
                <a:lnTo>
                  <a:pt x="4704" y="154"/>
                </a:lnTo>
                <a:lnTo>
                  <a:pt x="4688" y="150"/>
                </a:lnTo>
                <a:lnTo>
                  <a:pt x="4670" y="146"/>
                </a:lnTo>
                <a:lnTo>
                  <a:pt x="4660" y="146"/>
                </a:lnTo>
                <a:lnTo>
                  <a:pt x="4650" y="148"/>
                </a:lnTo>
                <a:lnTo>
                  <a:pt x="4642" y="150"/>
                </a:lnTo>
                <a:lnTo>
                  <a:pt x="4634" y="156"/>
                </a:lnTo>
                <a:lnTo>
                  <a:pt x="4626" y="162"/>
                </a:lnTo>
                <a:lnTo>
                  <a:pt x="4618" y="172"/>
                </a:lnTo>
                <a:lnTo>
                  <a:pt x="4606" y="190"/>
                </a:lnTo>
                <a:lnTo>
                  <a:pt x="4610" y="180"/>
                </a:lnTo>
                <a:lnTo>
                  <a:pt x="4612" y="168"/>
                </a:lnTo>
                <a:lnTo>
                  <a:pt x="4614" y="154"/>
                </a:lnTo>
                <a:lnTo>
                  <a:pt x="4610" y="138"/>
                </a:lnTo>
                <a:lnTo>
                  <a:pt x="4608" y="130"/>
                </a:lnTo>
                <a:lnTo>
                  <a:pt x="4604" y="124"/>
                </a:lnTo>
                <a:lnTo>
                  <a:pt x="4592" y="114"/>
                </a:lnTo>
                <a:lnTo>
                  <a:pt x="4582" y="108"/>
                </a:lnTo>
                <a:lnTo>
                  <a:pt x="4568" y="106"/>
                </a:lnTo>
                <a:lnTo>
                  <a:pt x="4554" y="108"/>
                </a:lnTo>
                <a:lnTo>
                  <a:pt x="4508" y="118"/>
                </a:lnTo>
                <a:lnTo>
                  <a:pt x="4476" y="124"/>
                </a:lnTo>
                <a:lnTo>
                  <a:pt x="4436" y="130"/>
                </a:lnTo>
                <a:lnTo>
                  <a:pt x="4394" y="134"/>
                </a:lnTo>
                <a:lnTo>
                  <a:pt x="4362" y="140"/>
                </a:lnTo>
                <a:lnTo>
                  <a:pt x="4338" y="144"/>
                </a:lnTo>
                <a:lnTo>
                  <a:pt x="4320" y="150"/>
                </a:lnTo>
                <a:lnTo>
                  <a:pt x="4308" y="156"/>
                </a:lnTo>
                <a:lnTo>
                  <a:pt x="4302" y="162"/>
                </a:lnTo>
                <a:lnTo>
                  <a:pt x="4302" y="166"/>
                </a:lnTo>
                <a:lnTo>
                  <a:pt x="4302" y="170"/>
                </a:lnTo>
                <a:lnTo>
                  <a:pt x="4306" y="176"/>
                </a:lnTo>
                <a:close/>
                <a:moveTo>
                  <a:pt x="5340" y="5242"/>
                </a:moveTo>
                <a:lnTo>
                  <a:pt x="5340" y="5242"/>
                </a:lnTo>
                <a:lnTo>
                  <a:pt x="5332" y="5236"/>
                </a:lnTo>
                <a:lnTo>
                  <a:pt x="5326" y="5232"/>
                </a:lnTo>
                <a:lnTo>
                  <a:pt x="5320" y="5232"/>
                </a:lnTo>
                <a:lnTo>
                  <a:pt x="5314" y="5234"/>
                </a:lnTo>
                <a:lnTo>
                  <a:pt x="5306" y="5234"/>
                </a:lnTo>
                <a:lnTo>
                  <a:pt x="5298" y="5234"/>
                </a:lnTo>
                <a:lnTo>
                  <a:pt x="5286" y="5230"/>
                </a:lnTo>
                <a:lnTo>
                  <a:pt x="5270" y="5222"/>
                </a:lnTo>
                <a:lnTo>
                  <a:pt x="5256" y="5212"/>
                </a:lnTo>
                <a:lnTo>
                  <a:pt x="5246" y="5204"/>
                </a:lnTo>
                <a:lnTo>
                  <a:pt x="5240" y="5198"/>
                </a:lnTo>
                <a:lnTo>
                  <a:pt x="5236" y="5192"/>
                </a:lnTo>
                <a:lnTo>
                  <a:pt x="5230" y="5178"/>
                </a:lnTo>
                <a:lnTo>
                  <a:pt x="5224" y="5172"/>
                </a:lnTo>
                <a:lnTo>
                  <a:pt x="5214" y="5162"/>
                </a:lnTo>
                <a:lnTo>
                  <a:pt x="5194" y="5144"/>
                </a:lnTo>
                <a:lnTo>
                  <a:pt x="5186" y="5136"/>
                </a:lnTo>
                <a:lnTo>
                  <a:pt x="5176" y="5130"/>
                </a:lnTo>
                <a:lnTo>
                  <a:pt x="5166" y="5126"/>
                </a:lnTo>
                <a:lnTo>
                  <a:pt x="5156" y="5124"/>
                </a:lnTo>
                <a:lnTo>
                  <a:pt x="5144" y="5122"/>
                </a:lnTo>
                <a:lnTo>
                  <a:pt x="5128" y="5124"/>
                </a:lnTo>
                <a:lnTo>
                  <a:pt x="5114" y="5126"/>
                </a:lnTo>
                <a:lnTo>
                  <a:pt x="5100" y="5126"/>
                </a:lnTo>
                <a:lnTo>
                  <a:pt x="5086" y="5124"/>
                </a:lnTo>
                <a:lnTo>
                  <a:pt x="5074" y="5122"/>
                </a:lnTo>
                <a:lnTo>
                  <a:pt x="5052" y="5114"/>
                </a:lnTo>
                <a:lnTo>
                  <a:pt x="5032" y="5106"/>
                </a:lnTo>
                <a:lnTo>
                  <a:pt x="5026" y="5104"/>
                </a:lnTo>
                <a:lnTo>
                  <a:pt x="5022" y="5104"/>
                </a:lnTo>
                <a:lnTo>
                  <a:pt x="5014" y="5108"/>
                </a:lnTo>
                <a:lnTo>
                  <a:pt x="5004" y="5114"/>
                </a:lnTo>
                <a:lnTo>
                  <a:pt x="4996" y="5120"/>
                </a:lnTo>
                <a:lnTo>
                  <a:pt x="4984" y="5134"/>
                </a:lnTo>
                <a:lnTo>
                  <a:pt x="4980" y="5136"/>
                </a:lnTo>
                <a:lnTo>
                  <a:pt x="4978" y="5136"/>
                </a:lnTo>
                <a:lnTo>
                  <a:pt x="4976" y="5136"/>
                </a:lnTo>
                <a:lnTo>
                  <a:pt x="4974" y="5130"/>
                </a:lnTo>
                <a:lnTo>
                  <a:pt x="4976" y="5126"/>
                </a:lnTo>
                <a:lnTo>
                  <a:pt x="4980" y="5112"/>
                </a:lnTo>
                <a:lnTo>
                  <a:pt x="4984" y="5100"/>
                </a:lnTo>
                <a:lnTo>
                  <a:pt x="4984" y="5094"/>
                </a:lnTo>
                <a:lnTo>
                  <a:pt x="4982" y="5092"/>
                </a:lnTo>
                <a:lnTo>
                  <a:pt x="4980" y="5086"/>
                </a:lnTo>
                <a:lnTo>
                  <a:pt x="4978" y="5082"/>
                </a:lnTo>
                <a:lnTo>
                  <a:pt x="4974" y="5072"/>
                </a:lnTo>
                <a:lnTo>
                  <a:pt x="4972" y="5068"/>
                </a:lnTo>
                <a:lnTo>
                  <a:pt x="4968" y="5064"/>
                </a:lnTo>
                <a:lnTo>
                  <a:pt x="4960" y="5060"/>
                </a:lnTo>
                <a:lnTo>
                  <a:pt x="4952" y="5058"/>
                </a:lnTo>
                <a:lnTo>
                  <a:pt x="4942" y="5054"/>
                </a:lnTo>
                <a:lnTo>
                  <a:pt x="4934" y="5050"/>
                </a:lnTo>
                <a:lnTo>
                  <a:pt x="4924" y="5042"/>
                </a:lnTo>
                <a:lnTo>
                  <a:pt x="4916" y="5036"/>
                </a:lnTo>
                <a:lnTo>
                  <a:pt x="4912" y="5034"/>
                </a:lnTo>
                <a:lnTo>
                  <a:pt x="4906" y="5032"/>
                </a:lnTo>
                <a:lnTo>
                  <a:pt x="4896" y="5032"/>
                </a:lnTo>
                <a:lnTo>
                  <a:pt x="4888" y="5028"/>
                </a:lnTo>
                <a:lnTo>
                  <a:pt x="4878" y="5024"/>
                </a:lnTo>
                <a:lnTo>
                  <a:pt x="4858" y="5020"/>
                </a:lnTo>
                <a:lnTo>
                  <a:pt x="4852" y="5022"/>
                </a:lnTo>
                <a:lnTo>
                  <a:pt x="4846" y="5022"/>
                </a:lnTo>
                <a:lnTo>
                  <a:pt x="4836" y="5028"/>
                </a:lnTo>
                <a:lnTo>
                  <a:pt x="4828" y="5036"/>
                </a:lnTo>
                <a:lnTo>
                  <a:pt x="4822" y="5046"/>
                </a:lnTo>
                <a:lnTo>
                  <a:pt x="4814" y="5060"/>
                </a:lnTo>
                <a:lnTo>
                  <a:pt x="4810" y="5060"/>
                </a:lnTo>
                <a:lnTo>
                  <a:pt x="4808" y="5056"/>
                </a:lnTo>
                <a:lnTo>
                  <a:pt x="4806" y="5048"/>
                </a:lnTo>
                <a:lnTo>
                  <a:pt x="4810" y="5040"/>
                </a:lnTo>
                <a:lnTo>
                  <a:pt x="4818" y="5026"/>
                </a:lnTo>
                <a:lnTo>
                  <a:pt x="4822" y="5018"/>
                </a:lnTo>
                <a:lnTo>
                  <a:pt x="4822" y="5012"/>
                </a:lnTo>
                <a:lnTo>
                  <a:pt x="4822" y="5008"/>
                </a:lnTo>
                <a:lnTo>
                  <a:pt x="4820" y="5006"/>
                </a:lnTo>
                <a:lnTo>
                  <a:pt x="4810" y="5000"/>
                </a:lnTo>
                <a:lnTo>
                  <a:pt x="4792" y="4996"/>
                </a:lnTo>
                <a:lnTo>
                  <a:pt x="4784" y="4998"/>
                </a:lnTo>
                <a:lnTo>
                  <a:pt x="4774" y="4998"/>
                </a:lnTo>
                <a:lnTo>
                  <a:pt x="4752" y="4996"/>
                </a:lnTo>
                <a:lnTo>
                  <a:pt x="4742" y="4994"/>
                </a:lnTo>
                <a:lnTo>
                  <a:pt x="4736" y="4998"/>
                </a:lnTo>
                <a:lnTo>
                  <a:pt x="4730" y="5002"/>
                </a:lnTo>
                <a:lnTo>
                  <a:pt x="4728" y="5010"/>
                </a:lnTo>
                <a:lnTo>
                  <a:pt x="4726" y="5018"/>
                </a:lnTo>
                <a:lnTo>
                  <a:pt x="4724" y="5026"/>
                </a:lnTo>
                <a:lnTo>
                  <a:pt x="4726" y="5040"/>
                </a:lnTo>
                <a:lnTo>
                  <a:pt x="4722" y="5036"/>
                </a:lnTo>
                <a:lnTo>
                  <a:pt x="4720" y="5036"/>
                </a:lnTo>
                <a:lnTo>
                  <a:pt x="4712" y="5042"/>
                </a:lnTo>
                <a:lnTo>
                  <a:pt x="4710" y="5044"/>
                </a:lnTo>
                <a:lnTo>
                  <a:pt x="4708" y="5044"/>
                </a:lnTo>
                <a:lnTo>
                  <a:pt x="4708" y="5042"/>
                </a:lnTo>
                <a:lnTo>
                  <a:pt x="4710" y="5034"/>
                </a:lnTo>
                <a:lnTo>
                  <a:pt x="4712" y="5026"/>
                </a:lnTo>
                <a:lnTo>
                  <a:pt x="4710" y="5020"/>
                </a:lnTo>
                <a:lnTo>
                  <a:pt x="4706" y="5020"/>
                </a:lnTo>
                <a:lnTo>
                  <a:pt x="4702" y="5020"/>
                </a:lnTo>
                <a:lnTo>
                  <a:pt x="4694" y="5024"/>
                </a:lnTo>
                <a:lnTo>
                  <a:pt x="4696" y="5020"/>
                </a:lnTo>
                <a:lnTo>
                  <a:pt x="4698" y="5014"/>
                </a:lnTo>
                <a:lnTo>
                  <a:pt x="4698" y="5010"/>
                </a:lnTo>
                <a:lnTo>
                  <a:pt x="4700" y="5004"/>
                </a:lnTo>
                <a:lnTo>
                  <a:pt x="4700" y="5000"/>
                </a:lnTo>
                <a:lnTo>
                  <a:pt x="4702" y="4996"/>
                </a:lnTo>
                <a:lnTo>
                  <a:pt x="4706" y="4994"/>
                </a:lnTo>
                <a:lnTo>
                  <a:pt x="4714" y="4990"/>
                </a:lnTo>
                <a:lnTo>
                  <a:pt x="4720" y="4986"/>
                </a:lnTo>
                <a:lnTo>
                  <a:pt x="4726" y="4980"/>
                </a:lnTo>
                <a:lnTo>
                  <a:pt x="4736" y="4964"/>
                </a:lnTo>
                <a:lnTo>
                  <a:pt x="4746" y="4950"/>
                </a:lnTo>
                <a:lnTo>
                  <a:pt x="4750" y="4944"/>
                </a:lnTo>
                <a:lnTo>
                  <a:pt x="4756" y="4940"/>
                </a:lnTo>
                <a:lnTo>
                  <a:pt x="4760" y="4938"/>
                </a:lnTo>
                <a:lnTo>
                  <a:pt x="4762" y="4932"/>
                </a:lnTo>
                <a:lnTo>
                  <a:pt x="4762" y="4926"/>
                </a:lnTo>
                <a:lnTo>
                  <a:pt x="4762" y="4918"/>
                </a:lnTo>
                <a:lnTo>
                  <a:pt x="4760" y="4912"/>
                </a:lnTo>
                <a:lnTo>
                  <a:pt x="4756" y="4906"/>
                </a:lnTo>
                <a:lnTo>
                  <a:pt x="4752" y="4902"/>
                </a:lnTo>
                <a:lnTo>
                  <a:pt x="4748" y="4902"/>
                </a:lnTo>
                <a:lnTo>
                  <a:pt x="4740" y="4902"/>
                </a:lnTo>
                <a:lnTo>
                  <a:pt x="4736" y="4900"/>
                </a:lnTo>
                <a:lnTo>
                  <a:pt x="4736" y="4896"/>
                </a:lnTo>
                <a:lnTo>
                  <a:pt x="4734" y="4892"/>
                </a:lnTo>
                <a:lnTo>
                  <a:pt x="4732" y="4886"/>
                </a:lnTo>
                <a:lnTo>
                  <a:pt x="4730" y="4884"/>
                </a:lnTo>
                <a:lnTo>
                  <a:pt x="4730" y="4882"/>
                </a:lnTo>
                <a:lnTo>
                  <a:pt x="4730" y="4878"/>
                </a:lnTo>
                <a:lnTo>
                  <a:pt x="4728" y="4874"/>
                </a:lnTo>
                <a:lnTo>
                  <a:pt x="4726" y="4870"/>
                </a:lnTo>
                <a:lnTo>
                  <a:pt x="4724" y="4868"/>
                </a:lnTo>
                <a:lnTo>
                  <a:pt x="4722" y="4864"/>
                </a:lnTo>
                <a:lnTo>
                  <a:pt x="4722" y="4860"/>
                </a:lnTo>
                <a:lnTo>
                  <a:pt x="4722" y="4854"/>
                </a:lnTo>
                <a:lnTo>
                  <a:pt x="4718" y="4848"/>
                </a:lnTo>
                <a:lnTo>
                  <a:pt x="4716" y="4828"/>
                </a:lnTo>
                <a:lnTo>
                  <a:pt x="4714" y="4806"/>
                </a:lnTo>
                <a:lnTo>
                  <a:pt x="4714" y="4800"/>
                </a:lnTo>
                <a:lnTo>
                  <a:pt x="4712" y="4800"/>
                </a:lnTo>
                <a:lnTo>
                  <a:pt x="4710" y="4798"/>
                </a:lnTo>
                <a:lnTo>
                  <a:pt x="4708" y="4794"/>
                </a:lnTo>
                <a:lnTo>
                  <a:pt x="4702" y="4780"/>
                </a:lnTo>
                <a:lnTo>
                  <a:pt x="4698" y="4776"/>
                </a:lnTo>
                <a:lnTo>
                  <a:pt x="4696" y="4776"/>
                </a:lnTo>
                <a:lnTo>
                  <a:pt x="4694" y="4778"/>
                </a:lnTo>
                <a:lnTo>
                  <a:pt x="4694" y="4780"/>
                </a:lnTo>
                <a:lnTo>
                  <a:pt x="4694" y="4784"/>
                </a:lnTo>
                <a:lnTo>
                  <a:pt x="4690" y="4792"/>
                </a:lnTo>
                <a:lnTo>
                  <a:pt x="4688" y="4790"/>
                </a:lnTo>
                <a:lnTo>
                  <a:pt x="4688" y="4786"/>
                </a:lnTo>
                <a:lnTo>
                  <a:pt x="4688" y="4782"/>
                </a:lnTo>
                <a:lnTo>
                  <a:pt x="4688" y="4778"/>
                </a:lnTo>
                <a:lnTo>
                  <a:pt x="4684" y="4764"/>
                </a:lnTo>
                <a:lnTo>
                  <a:pt x="4684" y="4762"/>
                </a:lnTo>
                <a:lnTo>
                  <a:pt x="4682" y="4764"/>
                </a:lnTo>
                <a:lnTo>
                  <a:pt x="4680" y="4766"/>
                </a:lnTo>
                <a:lnTo>
                  <a:pt x="4676" y="4764"/>
                </a:lnTo>
                <a:lnTo>
                  <a:pt x="4674" y="4758"/>
                </a:lnTo>
                <a:lnTo>
                  <a:pt x="4672" y="4754"/>
                </a:lnTo>
                <a:lnTo>
                  <a:pt x="4668" y="4752"/>
                </a:lnTo>
                <a:lnTo>
                  <a:pt x="4662" y="4748"/>
                </a:lnTo>
                <a:lnTo>
                  <a:pt x="4654" y="4744"/>
                </a:lnTo>
                <a:lnTo>
                  <a:pt x="4650" y="4740"/>
                </a:lnTo>
                <a:lnTo>
                  <a:pt x="4648" y="4734"/>
                </a:lnTo>
                <a:lnTo>
                  <a:pt x="4644" y="4730"/>
                </a:lnTo>
                <a:lnTo>
                  <a:pt x="4640" y="4726"/>
                </a:lnTo>
                <a:lnTo>
                  <a:pt x="4632" y="4722"/>
                </a:lnTo>
                <a:lnTo>
                  <a:pt x="4622" y="4718"/>
                </a:lnTo>
                <a:lnTo>
                  <a:pt x="4610" y="4712"/>
                </a:lnTo>
                <a:lnTo>
                  <a:pt x="4598" y="4708"/>
                </a:lnTo>
                <a:lnTo>
                  <a:pt x="4568" y="4698"/>
                </a:lnTo>
                <a:lnTo>
                  <a:pt x="4558" y="4696"/>
                </a:lnTo>
                <a:lnTo>
                  <a:pt x="4552" y="4696"/>
                </a:lnTo>
                <a:lnTo>
                  <a:pt x="4550" y="4700"/>
                </a:lnTo>
                <a:lnTo>
                  <a:pt x="4546" y="4700"/>
                </a:lnTo>
                <a:lnTo>
                  <a:pt x="4536" y="4698"/>
                </a:lnTo>
                <a:lnTo>
                  <a:pt x="4524" y="4698"/>
                </a:lnTo>
                <a:lnTo>
                  <a:pt x="4520" y="4700"/>
                </a:lnTo>
                <a:lnTo>
                  <a:pt x="4518" y="4702"/>
                </a:lnTo>
                <a:lnTo>
                  <a:pt x="4518" y="4704"/>
                </a:lnTo>
                <a:lnTo>
                  <a:pt x="4514" y="4706"/>
                </a:lnTo>
                <a:lnTo>
                  <a:pt x="4502" y="4702"/>
                </a:lnTo>
                <a:lnTo>
                  <a:pt x="4494" y="4700"/>
                </a:lnTo>
                <a:lnTo>
                  <a:pt x="4486" y="4698"/>
                </a:lnTo>
                <a:lnTo>
                  <a:pt x="4478" y="4698"/>
                </a:lnTo>
                <a:lnTo>
                  <a:pt x="4472" y="4702"/>
                </a:lnTo>
                <a:lnTo>
                  <a:pt x="4470" y="4700"/>
                </a:lnTo>
                <a:lnTo>
                  <a:pt x="4468" y="4698"/>
                </a:lnTo>
                <a:lnTo>
                  <a:pt x="4466" y="4692"/>
                </a:lnTo>
                <a:lnTo>
                  <a:pt x="4462" y="4684"/>
                </a:lnTo>
                <a:lnTo>
                  <a:pt x="4460" y="4682"/>
                </a:lnTo>
                <a:lnTo>
                  <a:pt x="4458" y="4682"/>
                </a:lnTo>
                <a:lnTo>
                  <a:pt x="4454" y="4680"/>
                </a:lnTo>
                <a:lnTo>
                  <a:pt x="4452" y="4678"/>
                </a:lnTo>
                <a:lnTo>
                  <a:pt x="4450" y="4670"/>
                </a:lnTo>
                <a:lnTo>
                  <a:pt x="4448" y="4666"/>
                </a:lnTo>
                <a:lnTo>
                  <a:pt x="4444" y="4664"/>
                </a:lnTo>
                <a:lnTo>
                  <a:pt x="4440" y="4660"/>
                </a:lnTo>
                <a:lnTo>
                  <a:pt x="4430" y="4656"/>
                </a:lnTo>
                <a:lnTo>
                  <a:pt x="4418" y="4654"/>
                </a:lnTo>
                <a:lnTo>
                  <a:pt x="4412" y="4650"/>
                </a:lnTo>
                <a:lnTo>
                  <a:pt x="4412" y="4646"/>
                </a:lnTo>
                <a:lnTo>
                  <a:pt x="4416" y="4638"/>
                </a:lnTo>
                <a:lnTo>
                  <a:pt x="4416" y="4630"/>
                </a:lnTo>
                <a:lnTo>
                  <a:pt x="4414" y="4624"/>
                </a:lnTo>
                <a:lnTo>
                  <a:pt x="4410" y="4618"/>
                </a:lnTo>
                <a:lnTo>
                  <a:pt x="4404" y="4612"/>
                </a:lnTo>
                <a:lnTo>
                  <a:pt x="4388" y="4598"/>
                </a:lnTo>
                <a:lnTo>
                  <a:pt x="4364" y="4582"/>
                </a:lnTo>
                <a:lnTo>
                  <a:pt x="4358" y="4576"/>
                </a:lnTo>
                <a:lnTo>
                  <a:pt x="4348" y="4572"/>
                </a:lnTo>
                <a:lnTo>
                  <a:pt x="4338" y="4570"/>
                </a:lnTo>
                <a:lnTo>
                  <a:pt x="4326" y="4572"/>
                </a:lnTo>
                <a:lnTo>
                  <a:pt x="4316" y="4574"/>
                </a:lnTo>
                <a:lnTo>
                  <a:pt x="4300" y="4576"/>
                </a:lnTo>
                <a:lnTo>
                  <a:pt x="4298" y="4576"/>
                </a:lnTo>
                <a:lnTo>
                  <a:pt x="4300" y="4572"/>
                </a:lnTo>
                <a:lnTo>
                  <a:pt x="4304" y="4568"/>
                </a:lnTo>
                <a:lnTo>
                  <a:pt x="4306" y="4564"/>
                </a:lnTo>
                <a:lnTo>
                  <a:pt x="4308" y="4554"/>
                </a:lnTo>
                <a:lnTo>
                  <a:pt x="4310" y="4546"/>
                </a:lnTo>
                <a:lnTo>
                  <a:pt x="4314" y="4544"/>
                </a:lnTo>
                <a:lnTo>
                  <a:pt x="4318" y="4540"/>
                </a:lnTo>
                <a:lnTo>
                  <a:pt x="4322" y="4536"/>
                </a:lnTo>
                <a:lnTo>
                  <a:pt x="4322" y="4534"/>
                </a:lnTo>
                <a:lnTo>
                  <a:pt x="4322" y="4532"/>
                </a:lnTo>
                <a:lnTo>
                  <a:pt x="4320" y="4530"/>
                </a:lnTo>
                <a:lnTo>
                  <a:pt x="4312" y="4526"/>
                </a:lnTo>
                <a:lnTo>
                  <a:pt x="4308" y="4522"/>
                </a:lnTo>
                <a:lnTo>
                  <a:pt x="4304" y="4518"/>
                </a:lnTo>
                <a:lnTo>
                  <a:pt x="4300" y="4514"/>
                </a:lnTo>
                <a:lnTo>
                  <a:pt x="4296" y="4512"/>
                </a:lnTo>
                <a:lnTo>
                  <a:pt x="4288" y="4510"/>
                </a:lnTo>
                <a:lnTo>
                  <a:pt x="4280" y="4510"/>
                </a:lnTo>
                <a:lnTo>
                  <a:pt x="4278" y="4508"/>
                </a:lnTo>
                <a:lnTo>
                  <a:pt x="4274" y="4504"/>
                </a:lnTo>
                <a:lnTo>
                  <a:pt x="4270" y="4500"/>
                </a:lnTo>
                <a:lnTo>
                  <a:pt x="4262" y="4496"/>
                </a:lnTo>
                <a:lnTo>
                  <a:pt x="4248" y="4488"/>
                </a:lnTo>
                <a:lnTo>
                  <a:pt x="4244" y="4484"/>
                </a:lnTo>
                <a:lnTo>
                  <a:pt x="4242" y="4480"/>
                </a:lnTo>
                <a:lnTo>
                  <a:pt x="4244" y="4478"/>
                </a:lnTo>
                <a:lnTo>
                  <a:pt x="4252" y="4476"/>
                </a:lnTo>
                <a:lnTo>
                  <a:pt x="4270" y="4472"/>
                </a:lnTo>
                <a:lnTo>
                  <a:pt x="4278" y="4468"/>
                </a:lnTo>
                <a:lnTo>
                  <a:pt x="4278" y="4466"/>
                </a:lnTo>
                <a:lnTo>
                  <a:pt x="4274" y="4464"/>
                </a:lnTo>
                <a:lnTo>
                  <a:pt x="4258" y="4460"/>
                </a:lnTo>
                <a:lnTo>
                  <a:pt x="4242" y="4460"/>
                </a:lnTo>
                <a:lnTo>
                  <a:pt x="4232" y="4464"/>
                </a:lnTo>
                <a:lnTo>
                  <a:pt x="4222" y="4466"/>
                </a:lnTo>
                <a:lnTo>
                  <a:pt x="4202" y="4468"/>
                </a:lnTo>
                <a:lnTo>
                  <a:pt x="4192" y="4468"/>
                </a:lnTo>
                <a:lnTo>
                  <a:pt x="4184" y="4470"/>
                </a:lnTo>
                <a:lnTo>
                  <a:pt x="4180" y="4472"/>
                </a:lnTo>
                <a:lnTo>
                  <a:pt x="4178" y="4474"/>
                </a:lnTo>
                <a:lnTo>
                  <a:pt x="4176" y="4480"/>
                </a:lnTo>
                <a:lnTo>
                  <a:pt x="4176" y="4484"/>
                </a:lnTo>
                <a:lnTo>
                  <a:pt x="4172" y="4486"/>
                </a:lnTo>
                <a:lnTo>
                  <a:pt x="4158" y="4492"/>
                </a:lnTo>
                <a:lnTo>
                  <a:pt x="4152" y="4494"/>
                </a:lnTo>
                <a:lnTo>
                  <a:pt x="4144" y="4496"/>
                </a:lnTo>
                <a:lnTo>
                  <a:pt x="4136" y="4494"/>
                </a:lnTo>
                <a:lnTo>
                  <a:pt x="4126" y="4492"/>
                </a:lnTo>
                <a:lnTo>
                  <a:pt x="4120" y="4486"/>
                </a:lnTo>
                <a:lnTo>
                  <a:pt x="4112" y="4476"/>
                </a:lnTo>
                <a:lnTo>
                  <a:pt x="4108" y="4472"/>
                </a:lnTo>
                <a:lnTo>
                  <a:pt x="4104" y="4470"/>
                </a:lnTo>
                <a:lnTo>
                  <a:pt x="4098" y="4468"/>
                </a:lnTo>
                <a:lnTo>
                  <a:pt x="4090" y="4468"/>
                </a:lnTo>
                <a:lnTo>
                  <a:pt x="4076" y="4470"/>
                </a:lnTo>
                <a:lnTo>
                  <a:pt x="4060" y="4474"/>
                </a:lnTo>
                <a:lnTo>
                  <a:pt x="4044" y="4476"/>
                </a:lnTo>
                <a:lnTo>
                  <a:pt x="4032" y="4478"/>
                </a:lnTo>
                <a:lnTo>
                  <a:pt x="4026" y="4476"/>
                </a:lnTo>
                <a:lnTo>
                  <a:pt x="4022" y="4472"/>
                </a:lnTo>
                <a:lnTo>
                  <a:pt x="4020" y="4468"/>
                </a:lnTo>
                <a:lnTo>
                  <a:pt x="4020" y="4460"/>
                </a:lnTo>
                <a:lnTo>
                  <a:pt x="4018" y="4448"/>
                </a:lnTo>
                <a:lnTo>
                  <a:pt x="4012" y="4438"/>
                </a:lnTo>
                <a:lnTo>
                  <a:pt x="4004" y="4434"/>
                </a:lnTo>
                <a:lnTo>
                  <a:pt x="3996" y="4430"/>
                </a:lnTo>
                <a:lnTo>
                  <a:pt x="3986" y="4426"/>
                </a:lnTo>
                <a:lnTo>
                  <a:pt x="3978" y="4422"/>
                </a:lnTo>
                <a:lnTo>
                  <a:pt x="3970" y="4416"/>
                </a:lnTo>
                <a:lnTo>
                  <a:pt x="3964" y="4406"/>
                </a:lnTo>
                <a:lnTo>
                  <a:pt x="3960" y="4396"/>
                </a:lnTo>
                <a:lnTo>
                  <a:pt x="3956" y="4390"/>
                </a:lnTo>
                <a:lnTo>
                  <a:pt x="3950" y="4390"/>
                </a:lnTo>
                <a:lnTo>
                  <a:pt x="3946" y="4394"/>
                </a:lnTo>
                <a:lnTo>
                  <a:pt x="3944" y="4398"/>
                </a:lnTo>
                <a:lnTo>
                  <a:pt x="3940" y="4406"/>
                </a:lnTo>
                <a:lnTo>
                  <a:pt x="3940" y="4412"/>
                </a:lnTo>
                <a:lnTo>
                  <a:pt x="3940" y="4416"/>
                </a:lnTo>
                <a:lnTo>
                  <a:pt x="3946" y="4424"/>
                </a:lnTo>
                <a:lnTo>
                  <a:pt x="3948" y="4430"/>
                </a:lnTo>
                <a:lnTo>
                  <a:pt x="3948" y="4434"/>
                </a:lnTo>
                <a:lnTo>
                  <a:pt x="3944" y="4436"/>
                </a:lnTo>
                <a:lnTo>
                  <a:pt x="3928" y="4440"/>
                </a:lnTo>
                <a:lnTo>
                  <a:pt x="3916" y="4444"/>
                </a:lnTo>
                <a:lnTo>
                  <a:pt x="3906" y="4448"/>
                </a:lnTo>
                <a:lnTo>
                  <a:pt x="3900" y="4452"/>
                </a:lnTo>
                <a:lnTo>
                  <a:pt x="3894" y="4458"/>
                </a:lnTo>
                <a:lnTo>
                  <a:pt x="3888" y="4464"/>
                </a:lnTo>
                <a:lnTo>
                  <a:pt x="3886" y="4462"/>
                </a:lnTo>
                <a:lnTo>
                  <a:pt x="3886" y="4456"/>
                </a:lnTo>
                <a:lnTo>
                  <a:pt x="3882" y="4448"/>
                </a:lnTo>
                <a:lnTo>
                  <a:pt x="3878" y="4440"/>
                </a:lnTo>
                <a:lnTo>
                  <a:pt x="3874" y="4434"/>
                </a:lnTo>
                <a:lnTo>
                  <a:pt x="3872" y="4430"/>
                </a:lnTo>
                <a:lnTo>
                  <a:pt x="3874" y="4426"/>
                </a:lnTo>
                <a:lnTo>
                  <a:pt x="3878" y="4422"/>
                </a:lnTo>
                <a:lnTo>
                  <a:pt x="3888" y="4416"/>
                </a:lnTo>
                <a:lnTo>
                  <a:pt x="3898" y="4410"/>
                </a:lnTo>
                <a:lnTo>
                  <a:pt x="3900" y="4410"/>
                </a:lnTo>
                <a:lnTo>
                  <a:pt x="3902" y="4406"/>
                </a:lnTo>
                <a:lnTo>
                  <a:pt x="3906" y="4402"/>
                </a:lnTo>
                <a:lnTo>
                  <a:pt x="3908" y="4398"/>
                </a:lnTo>
                <a:lnTo>
                  <a:pt x="3906" y="4394"/>
                </a:lnTo>
                <a:lnTo>
                  <a:pt x="3904" y="4390"/>
                </a:lnTo>
                <a:lnTo>
                  <a:pt x="3902" y="4386"/>
                </a:lnTo>
                <a:lnTo>
                  <a:pt x="3894" y="4384"/>
                </a:lnTo>
                <a:lnTo>
                  <a:pt x="3886" y="4384"/>
                </a:lnTo>
                <a:lnTo>
                  <a:pt x="3874" y="4386"/>
                </a:lnTo>
                <a:lnTo>
                  <a:pt x="3870" y="4390"/>
                </a:lnTo>
                <a:lnTo>
                  <a:pt x="3866" y="4392"/>
                </a:lnTo>
                <a:lnTo>
                  <a:pt x="3858" y="4402"/>
                </a:lnTo>
                <a:lnTo>
                  <a:pt x="3852" y="4410"/>
                </a:lnTo>
                <a:lnTo>
                  <a:pt x="3840" y="4418"/>
                </a:lnTo>
                <a:lnTo>
                  <a:pt x="3824" y="4428"/>
                </a:lnTo>
                <a:lnTo>
                  <a:pt x="3812" y="4434"/>
                </a:lnTo>
                <a:lnTo>
                  <a:pt x="3802" y="4436"/>
                </a:lnTo>
                <a:lnTo>
                  <a:pt x="3794" y="4434"/>
                </a:lnTo>
                <a:lnTo>
                  <a:pt x="3790" y="4432"/>
                </a:lnTo>
                <a:lnTo>
                  <a:pt x="3786" y="4432"/>
                </a:lnTo>
                <a:lnTo>
                  <a:pt x="3782" y="4434"/>
                </a:lnTo>
                <a:lnTo>
                  <a:pt x="3780" y="4442"/>
                </a:lnTo>
                <a:lnTo>
                  <a:pt x="3776" y="4448"/>
                </a:lnTo>
                <a:lnTo>
                  <a:pt x="3772" y="4452"/>
                </a:lnTo>
                <a:lnTo>
                  <a:pt x="3768" y="4450"/>
                </a:lnTo>
                <a:lnTo>
                  <a:pt x="3762" y="4450"/>
                </a:lnTo>
                <a:lnTo>
                  <a:pt x="3752" y="4446"/>
                </a:lnTo>
                <a:lnTo>
                  <a:pt x="3748" y="4446"/>
                </a:lnTo>
                <a:lnTo>
                  <a:pt x="3746" y="4450"/>
                </a:lnTo>
                <a:lnTo>
                  <a:pt x="3744" y="4456"/>
                </a:lnTo>
                <a:lnTo>
                  <a:pt x="3742" y="4460"/>
                </a:lnTo>
                <a:lnTo>
                  <a:pt x="3734" y="4470"/>
                </a:lnTo>
                <a:lnTo>
                  <a:pt x="3730" y="4476"/>
                </a:lnTo>
                <a:lnTo>
                  <a:pt x="3728" y="4484"/>
                </a:lnTo>
                <a:lnTo>
                  <a:pt x="3726" y="4492"/>
                </a:lnTo>
                <a:lnTo>
                  <a:pt x="3726" y="4506"/>
                </a:lnTo>
                <a:lnTo>
                  <a:pt x="3726" y="4518"/>
                </a:lnTo>
                <a:lnTo>
                  <a:pt x="3724" y="4524"/>
                </a:lnTo>
                <a:lnTo>
                  <a:pt x="3720" y="4528"/>
                </a:lnTo>
                <a:lnTo>
                  <a:pt x="3716" y="4530"/>
                </a:lnTo>
                <a:lnTo>
                  <a:pt x="3712" y="4530"/>
                </a:lnTo>
                <a:lnTo>
                  <a:pt x="3708" y="4530"/>
                </a:lnTo>
                <a:lnTo>
                  <a:pt x="3704" y="4534"/>
                </a:lnTo>
                <a:lnTo>
                  <a:pt x="3702" y="4540"/>
                </a:lnTo>
                <a:lnTo>
                  <a:pt x="3700" y="4548"/>
                </a:lnTo>
                <a:lnTo>
                  <a:pt x="3696" y="4554"/>
                </a:lnTo>
                <a:lnTo>
                  <a:pt x="3684" y="4560"/>
                </a:lnTo>
                <a:lnTo>
                  <a:pt x="3680" y="4562"/>
                </a:lnTo>
                <a:lnTo>
                  <a:pt x="3676" y="4566"/>
                </a:lnTo>
                <a:lnTo>
                  <a:pt x="3674" y="4572"/>
                </a:lnTo>
                <a:lnTo>
                  <a:pt x="3676" y="4580"/>
                </a:lnTo>
                <a:lnTo>
                  <a:pt x="3678" y="4592"/>
                </a:lnTo>
                <a:lnTo>
                  <a:pt x="3678" y="4598"/>
                </a:lnTo>
                <a:lnTo>
                  <a:pt x="3674" y="4596"/>
                </a:lnTo>
                <a:lnTo>
                  <a:pt x="3654" y="4566"/>
                </a:lnTo>
                <a:lnTo>
                  <a:pt x="3642" y="4552"/>
                </a:lnTo>
                <a:lnTo>
                  <a:pt x="3630" y="4540"/>
                </a:lnTo>
                <a:lnTo>
                  <a:pt x="3622" y="4534"/>
                </a:lnTo>
                <a:lnTo>
                  <a:pt x="3614" y="4530"/>
                </a:lnTo>
                <a:lnTo>
                  <a:pt x="3606" y="4528"/>
                </a:lnTo>
                <a:lnTo>
                  <a:pt x="3598" y="4528"/>
                </a:lnTo>
                <a:lnTo>
                  <a:pt x="3588" y="4528"/>
                </a:lnTo>
                <a:lnTo>
                  <a:pt x="3588" y="4526"/>
                </a:lnTo>
                <a:lnTo>
                  <a:pt x="3586" y="4524"/>
                </a:lnTo>
                <a:lnTo>
                  <a:pt x="3576" y="4520"/>
                </a:lnTo>
                <a:lnTo>
                  <a:pt x="3562" y="4520"/>
                </a:lnTo>
                <a:lnTo>
                  <a:pt x="3560" y="4522"/>
                </a:lnTo>
                <a:lnTo>
                  <a:pt x="3560" y="4524"/>
                </a:lnTo>
                <a:lnTo>
                  <a:pt x="3556" y="4530"/>
                </a:lnTo>
                <a:lnTo>
                  <a:pt x="3554" y="4534"/>
                </a:lnTo>
                <a:lnTo>
                  <a:pt x="3546" y="4536"/>
                </a:lnTo>
                <a:lnTo>
                  <a:pt x="3524" y="4546"/>
                </a:lnTo>
                <a:lnTo>
                  <a:pt x="3518" y="4552"/>
                </a:lnTo>
                <a:lnTo>
                  <a:pt x="3514" y="4556"/>
                </a:lnTo>
                <a:lnTo>
                  <a:pt x="3498" y="4562"/>
                </a:lnTo>
                <a:lnTo>
                  <a:pt x="3492" y="4562"/>
                </a:lnTo>
                <a:lnTo>
                  <a:pt x="3488" y="4560"/>
                </a:lnTo>
                <a:lnTo>
                  <a:pt x="3480" y="4552"/>
                </a:lnTo>
                <a:lnTo>
                  <a:pt x="3476" y="4546"/>
                </a:lnTo>
                <a:lnTo>
                  <a:pt x="3474" y="4544"/>
                </a:lnTo>
                <a:lnTo>
                  <a:pt x="3472" y="4542"/>
                </a:lnTo>
                <a:lnTo>
                  <a:pt x="3470" y="4542"/>
                </a:lnTo>
                <a:lnTo>
                  <a:pt x="3470" y="4544"/>
                </a:lnTo>
                <a:lnTo>
                  <a:pt x="3470" y="4548"/>
                </a:lnTo>
                <a:lnTo>
                  <a:pt x="3470" y="4550"/>
                </a:lnTo>
                <a:lnTo>
                  <a:pt x="3468" y="4552"/>
                </a:lnTo>
                <a:lnTo>
                  <a:pt x="3464" y="4552"/>
                </a:lnTo>
                <a:lnTo>
                  <a:pt x="3460" y="4550"/>
                </a:lnTo>
                <a:lnTo>
                  <a:pt x="3456" y="4546"/>
                </a:lnTo>
                <a:lnTo>
                  <a:pt x="3458" y="4544"/>
                </a:lnTo>
                <a:lnTo>
                  <a:pt x="3460" y="4542"/>
                </a:lnTo>
                <a:lnTo>
                  <a:pt x="3460" y="4540"/>
                </a:lnTo>
                <a:lnTo>
                  <a:pt x="3458" y="4538"/>
                </a:lnTo>
                <a:lnTo>
                  <a:pt x="3456" y="4540"/>
                </a:lnTo>
                <a:lnTo>
                  <a:pt x="3454" y="4538"/>
                </a:lnTo>
                <a:lnTo>
                  <a:pt x="3452" y="4534"/>
                </a:lnTo>
                <a:lnTo>
                  <a:pt x="3452" y="4530"/>
                </a:lnTo>
                <a:lnTo>
                  <a:pt x="3450" y="4528"/>
                </a:lnTo>
                <a:lnTo>
                  <a:pt x="3444" y="4524"/>
                </a:lnTo>
                <a:lnTo>
                  <a:pt x="3440" y="4516"/>
                </a:lnTo>
                <a:lnTo>
                  <a:pt x="3432" y="4508"/>
                </a:lnTo>
                <a:lnTo>
                  <a:pt x="3422" y="4498"/>
                </a:lnTo>
                <a:lnTo>
                  <a:pt x="3412" y="4484"/>
                </a:lnTo>
                <a:lnTo>
                  <a:pt x="3408" y="4474"/>
                </a:lnTo>
                <a:lnTo>
                  <a:pt x="3406" y="4466"/>
                </a:lnTo>
                <a:lnTo>
                  <a:pt x="3404" y="4460"/>
                </a:lnTo>
                <a:lnTo>
                  <a:pt x="3400" y="4456"/>
                </a:lnTo>
                <a:lnTo>
                  <a:pt x="3398" y="4452"/>
                </a:lnTo>
                <a:lnTo>
                  <a:pt x="3394" y="4444"/>
                </a:lnTo>
                <a:lnTo>
                  <a:pt x="3392" y="4436"/>
                </a:lnTo>
                <a:lnTo>
                  <a:pt x="3394" y="4430"/>
                </a:lnTo>
                <a:lnTo>
                  <a:pt x="3396" y="4426"/>
                </a:lnTo>
                <a:lnTo>
                  <a:pt x="3398" y="4424"/>
                </a:lnTo>
                <a:lnTo>
                  <a:pt x="3400" y="4422"/>
                </a:lnTo>
                <a:lnTo>
                  <a:pt x="3400" y="4416"/>
                </a:lnTo>
                <a:lnTo>
                  <a:pt x="3400" y="4412"/>
                </a:lnTo>
                <a:lnTo>
                  <a:pt x="3398" y="4410"/>
                </a:lnTo>
                <a:lnTo>
                  <a:pt x="3396" y="4410"/>
                </a:lnTo>
                <a:lnTo>
                  <a:pt x="3396" y="4408"/>
                </a:lnTo>
                <a:lnTo>
                  <a:pt x="3396" y="4404"/>
                </a:lnTo>
                <a:lnTo>
                  <a:pt x="3400" y="4390"/>
                </a:lnTo>
                <a:lnTo>
                  <a:pt x="3402" y="4384"/>
                </a:lnTo>
                <a:lnTo>
                  <a:pt x="3404" y="4384"/>
                </a:lnTo>
                <a:lnTo>
                  <a:pt x="3408" y="4384"/>
                </a:lnTo>
                <a:lnTo>
                  <a:pt x="3408" y="4378"/>
                </a:lnTo>
                <a:lnTo>
                  <a:pt x="3406" y="4364"/>
                </a:lnTo>
                <a:lnTo>
                  <a:pt x="3404" y="4344"/>
                </a:lnTo>
                <a:lnTo>
                  <a:pt x="3404" y="4334"/>
                </a:lnTo>
                <a:lnTo>
                  <a:pt x="3404" y="4330"/>
                </a:lnTo>
                <a:lnTo>
                  <a:pt x="3406" y="4326"/>
                </a:lnTo>
                <a:lnTo>
                  <a:pt x="3408" y="4318"/>
                </a:lnTo>
                <a:lnTo>
                  <a:pt x="3410" y="4306"/>
                </a:lnTo>
                <a:lnTo>
                  <a:pt x="3414" y="4296"/>
                </a:lnTo>
                <a:lnTo>
                  <a:pt x="3418" y="4288"/>
                </a:lnTo>
                <a:lnTo>
                  <a:pt x="3420" y="4284"/>
                </a:lnTo>
                <a:lnTo>
                  <a:pt x="3418" y="4280"/>
                </a:lnTo>
                <a:lnTo>
                  <a:pt x="3416" y="4274"/>
                </a:lnTo>
                <a:lnTo>
                  <a:pt x="3416" y="4268"/>
                </a:lnTo>
                <a:lnTo>
                  <a:pt x="3418" y="4262"/>
                </a:lnTo>
                <a:lnTo>
                  <a:pt x="3422" y="4256"/>
                </a:lnTo>
                <a:lnTo>
                  <a:pt x="3420" y="4254"/>
                </a:lnTo>
                <a:lnTo>
                  <a:pt x="3418" y="4250"/>
                </a:lnTo>
                <a:lnTo>
                  <a:pt x="3414" y="4244"/>
                </a:lnTo>
                <a:lnTo>
                  <a:pt x="3406" y="4238"/>
                </a:lnTo>
                <a:lnTo>
                  <a:pt x="3390" y="4230"/>
                </a:lnTo>
                <a:lnTo>
                  <a:pt x="3380" y="4220"/>
                </a:lnTo>
                <a:lnTo>
                  <a:pt x="3372" y="4214"/>
                </a:lnTo>
                <a:lnTo>
                  <a:pt x="3360" y="4210"/>
                </a:lnTo>
                <a:lnTo>
                  <a:pt x="3350" y="4206"/>
                </a:lnTo>
                <a:lnTo>
                  <a:pt x="3344" y="4208"/>
                </a:lnTo>
                <a:lnTo>
                  <a:pt x="3340" y="4210"/>
                </a:lnTo>
                <a:lnTo>
                  <a:pt x="3334" y="4210"/>
                </a:lnTo>
                <a:lnTo>
                  <a:pt x="3328" y="4210"/>
                </a:lnTo>
                <a:lnTo>
                  <a:pt x="3320" y="4206"/>
                </a:lnTo>
                <a:lnTo>
                  <a:pt x="3308" y="4204"/>
                </a:lnTo>
                <a:lnTo>
                  <a:pt x="3306" y="4204"/>
                </a:lnTo>
                <a:lnTo>
                  <a:pt x="3308" y="4206"/>
                </a:lnTo>
                <a:lnTo>
                  <a:pt x="3308" y="4208"/>
                </a:lnTo>
                <a:lnTo>
                  <a:pt x="3304" y="4212"/>
                </a:lnTo>
                <a:lnTo>
                  <a:pt x="3294" y="4216"/>
                </a:lnTo>
                <a:lnTo>
                  <a:pt x="3278" y="4216"/>
                </a:lnTo>
                <a:lnTo>
                  <a:pt x="3268" y="4214"/>
                </a:lnTo>
                <a:lnTo>
                  <a:pt x="3258" y="4214"/>
                </a:lnTo>
                <a:lnTo>
                  <a:pt x="3248" y="4214"/>
                </a:lnTo>
                <a:lnTo>
                  <a:pt x="3244" y="4214"/>
                </a:lnTo>
                <a:lnTo>
                  <a:pt x="3242" y="4214"/>
                </a:lnTo>
                <a:lnTo>
                  <a:pt x="3242" y="4210"/>
                </a:lnTo>
                <a:lnTo>
                  <a:pt x="3240" y="4208"/>
                </a:lnTo>
                <a:lnTo>
                  <a:pt x="3236" y="4208"/>
                </a:lnTo>
                <a:lnTo>
                  <a:pt x="3232" y="4210"/>
                </a:lnTo>
                <a:lnTo>
                  <a:pt x="3228" y="4216"/>
                </a:lnTo>
                <a:lnTo>
                  <a:pt x="3222" y="4220"/>
                </a:lnTo>
                <a:lnTo>
                  <a:pt x="3220" y="4222"/>
                </a:lnTo>
                <a:lnTo>
                  <a:pt x="3216" y="4220"/>
                </a:lnTo>
                <a:lnTo>
                  <a:pt x="3206" y="4210"/>
                </a:lnTo>
                <a:lnTo>
                  <a:pt x="3202" y="4208"/>
                </a:lnTo>
                <a:lnTo>
                  <a:pt x="3200" y="4208"/>
                </a:lnTo>
                <a:lnTo>
                  <a:pt x="3202" y="4210"/>
                </a:lnTo>
                <a:lnTo>
                  <a:pt x="3204" y="4214"/>
                </a:lnTo>
                <a:lnTo>
                  <a:pt x="3202" y="4218"/>
                </a:lnTo>
                <a:lnTo>
                  <a:pt x="3200" y="4220"/>
                </a:lnTo>
                <a:lnTo>
                  <a:pt x="3198" y="4218"/>
                </a:lnTo>
                <a:lnTo>
                  <a:pt x="3194" y="4214"/>
                </a:lnTo>
                <a:lnTo>
                  <a:pt x="3188" y="4210"/>
                </a:lnTo>
                <a:lnTo>
                  <a:pt x="3188" y="4206"/>
                </a:lnTo>
                <a:lnTo>
                  <a:pt x="3190" y="4202"/>
                </a:lnTo>
                <a:lnTo>
                  <a:pt x="3196" y="4196"/>
                </a:lnTo>
                <a:lnTo>
                  <a:pt x="3202" y="4188"/>
                </a:lnTo>
                <a:lnTo>
                  <a:pt x="3210" y="4182"/>
                </a:lnTo>
                <a:lnTo>
                  <a:pt x="3212" y="4176"/>
                </a:lnTo>
                <a:lnTo>
                  <a:pt x="3214" y="4166"/>
                </a:lnTo>
                <a:lnTo>
                  <a:pt x="3216" y="4144"/>
                </a:lnTo>
                <a:lnTo>
                  <a:pt x="3218" y="4120"/>
                </a:lnTo>
                <a:lnTo>
                  <a:pt x="3222" y="4098"/>
                </a:lnTo>
                <a:lnTo>
                  <a:pt x="3222" y="4092"/>
                </a:lnTo>
                <a:lnTo>
                  <a:pt x="3222" y="4090"/>
                </a:lnTo>
                <a:lnTo>
                  <a:pt x="3220" y="4088"/>
                </a:lnTo>
                <a:lnTo>
                  <a:pt x="3218" y="4088"/>
                </a:lnTo>
                <a:lnTo>
                  <a:pt x="3214" y="4090"/>
                </a:lnTo>
                <a:lnTo>
                  <a:pt x="3212" y="4090"/>
                </a:lnTo>
                <a:lnTo>
                  <a:pt x="3212" y="4084"/>
                </a:lnTo>
                <a:lnTo>
                  <a:pt x="3220" y="4066"/>
                </a:lnTo>
                <a:lnTo>
                  <a:pt x="3224" y="4064"/>
                </a:lnTo>
                <a:lnTo>
                  <a:pt x="3226" y="4068"/>
                </a:lnTo>
                <a:lnTo>
                  <a:pt x="3224" y="4074"/>
                </a:lnTo>
                <a:lnTo>
                  <a:pt x="3222" y="4078"/>
                </a:lnTo>
                <a:lnTo>
                  <a:pt x="3224" y="4082"/>
                </a:lnTo>
                <a:lnTo>
                  <a:pt x="3228" y="4086"/>
                </a:lnTo>
                <a:lnTo>
                  <a:pt x="3230" y="4094"/>
                </a:lnTo>
                <a:lnTo>
                  <a:pt x="3232" y="4094"/>
                </a:lnTo>
                <a:lnTo>
                  <a:pt x="3234" y="4092"/>
                </a:lnTo>
                <a:lnTo>
                  <a:pt x="3238" y="4076"/>
                </a:lnTo>
                <a:lnTo>
                  <a:pt x="3242" y="4058"/>
                </a:lnTo>
                <a:lnTo>
                  <a:pt x="3246" y="4044"/>
                </a:lnTo>
                <a:lnTo>
                  <a:pt x="3246" y="4042"/>
                </a:lnTo>
                <a:lnTo>
                  <a:pt x="3244" y="4040"/>
                </a:lnTo>
                <a:lnTo>
                  <a:pt x="3240" y="4042"/>
                </a:lnTo>
                <a:lnTo>
                  <a:pt x="3238" y="4042"/>
                </a:lnTo>
                <a:lnTo>
                  <a:pt x="3242" y="4036"/>
                </a:lnTo>
                <a:lnTo>
                  <a:pt x="3250" y="4028"/>
                </a:lnTo>
                <a:lnTo>
                  <a:pt x="3250" y="4026"/>
                </a:lnTo>
                <a:lnTo>
                  <a:pt x="3244" y="4028"/>
                </a:lnTo>
                <a:lnTo>
                  <a:pt x="3238" y="4028"/>
                </a:lnTo>
                <a:lnTo>
                  <a:pt x="3236" y="4026"/>
                </a:lnTo>
                <a:lnTo>
                  <a:pt x="3238" y="4022"/>
                </a:lnTo>
                <a:lnTo>
                  <a:pt x="3242" y="4018"/>
                </a:lnTo>
                <a:lnTo>
                  <a:pt x="3246" y="4016"/>
                </a:lnTo>
                <a:lnTo>
                  <a:pt x="3248" y="4012"/>
                </a:lnTo>
                <a:lnTo>
                  <a:pt x="3248" y="4002"/>
                </a:lnTo>
                <a:lnTo>
                  <a:pt x="3252" y="3988"/>
                </a:lnTo>
                <a:lnTo>
                  <a:pt x="3256" y="3980"/>
                </a:lnTo>
                <a:lnTo>
                  <a:pt x="3264" y="3970"/>
                </a:lnTo>
                <a:lnTo>
                  <a:pt x="3274" y="3956"/>
                </a:lnTo>
                <a:lnTo>
                  <a:pt x="3276" y="3950"/>
                </a:lnTo>
                <a:lnTo>
                  <a:pt x="3274" y="3946"/>
                </a:lnTo>
                <a:lnTo>
                  <a:pt x="3274" y="3940"/>
                </a:lnTo>
                <a:lnTo>
                  <a:pt x="3274" y="3936"/>
                </a:lnTo>
                <a:lnTo>
                  <a:pt x="3272" y="3934"/>
                </a:lnTo>
                <a:lnTo>
                  <a:pt x="3270" y="3932"/>
                </a:lnTo>
                <a:lnTo>
                  <a:pt x="3266" y="3928"/>
                </a:lnTo>
                <a:lnTo>
                  <a:pt x="3264" y="3926"/>
                </a:lnTo>
                <a:lnTo>
                  <a:pt x="3262" y="3924"/>
                </a:lnTo>
                <a:lnTo>
                  <a:pt x="3256" y="3926"/>
                </a:lnTo>
                <a:lnTo>
                  <a:pt x="3252" y="3928"/>
                </a:lnTo>
                <a:lnTo>
                  <a:pt x="3254" y="3928"/>
                </a:lnTo>
                <a:lnTo>
                  <a:pt x="3260" y="3930"/>
                </a:lnTo>
                <a:lnTo>
                  <a:pt x="3260" y="3932"/>
                </a:lnTo>
                <a:lnTo>
                  <a:pt x="3256" y="3934"/>
                </a:lnTo>
                <a:lnTo>
                  <a:pt x="3254" y="3934"/>
                </a:lnTo>
                <a:lnTo>
                  <a:pt x="3250" y="3934"/>
                </a:lnTo>
                <a:lnTo>
                  <a:pt x="3242" y="3930"/>
                </a:lnTo>
                <a:lnTo>
                  <a:pt x="3230" y="3926"/>
                </a:lnTo>
                <a:lnTo>
                  <a:pt x="3222" y="3926"/>
                </a:lnTo>
                <a:lnTo>
                  <a:pt x="3214" y="3926"/>
                </a:lnTo>
                <a:lnTo>
                  <a:pt x="3202" y="3928"/>
                </a:lnTo>
                <a:lnTo>
                  <a:pt x="3196" y="3932"/>
                </a:lnTo>
                <a:lnTo>
                  <a:pt x="3192" y="3934"/>
                </a:lnTo>
                <a:lnTo>
                  <a:pt x="3180" y="3936"/>
                </a:lnTo>
                <a:lnTo>
                  <a:pt x="3162" y="3940"/>
                </a:lnTo>
                <a:lnTo>
                  <a:pt x="3146" y="3944"/>
                </a:lnTo>
                <a:lnTo>
                  <a:pt x="3140" y="3948"/>
                </a:lnTo>
                <a:lnTo>
                  <a:pt x="3134" y="3950"/>
                </a:lnTo>
                <a:lnTo>
                  <a:pt x="3132" y="3954"/>
                </a:lnTo>
                <a:lnTo>
                  <a:pt x="3130" y="3960"/>
                </a:lnTo>
                <a:lnTo>
                  <a:pt x="3130" y="3966"/>
                </a:lnTo>
                <a:lnTo>
                  <a:pt x="3126" y="3972"/>
                </a:lnTo>
                <a:lnTo>
                  <a:pt x="3124" y="3980"/>
                </a:lnTo>
                <a:lnTo>
                  <a:pt x="3126" y="3994"/>
                </a:lnTo>
                <a:lnTo>
                  <a:pt x="3126" y="4006"/>
                </a:lnTo>
                <a:lnTo>
                  <a:pt x="3124" y="4010"/>
                </a:lnTo>
                <a:lnTo>
                  <a:pt x="3122" y="4010"/>
                </a:lnTo>
                <a:lnTo>
                  <a:pt x="3118" y="4016"/>
                </a:lnTo>
                <a:lnTo>
                  <a:pt x="3118" y="4020"/>
                </a:lnTo>
                <a:lnTo>
                  <a:pt x="3116" y="4026"/>
                </a:lnTo>
                <a:lnTo>
                  <a:pt x="3114" y="4034"/>
                </a:lnTo>
                <a:lnTo>
                  <a:pt x="3112" y="4042"/>
                </a:lnTo>
                <a:lnTo>
                  <a:pt x="3108" y="4046"/>
                </a:lnTo>
                <a:lnTo>
                  <a:pt x="3104" y="4050"/>
                </a:lnTo>
                <a:lnTo>
                  <a:pt x="3094" y="4058"/>
                </a:lnTo>
                <a:lnTo>
                  <a:pt x="3086" y="4062"/>
                </a:lnTo>
                <a:lnTo>
                  <a:pt x="3084" y="4064"/>
                </a:lnTo>
                <a:lnTo>
                  <a:pt x="3084" y="4066"/>
                </a:lnTo>
                <a:lnTo>
                  <a:pt x="3088" y="4068"/>
                </a:lnTo>
                <a:lnTo>
                  <a:pt x="3092" y="4070"/>
                </a:lnTo>
                <a:lnTo>
                  <a:pt x="3092" y="4074"/>
                </a:lnTo>
                <a:lnTo>
                  <a:pt x="3092" y="4076"/>
                </a:lnTo>
                <a:lnTo>
                  <a:pt x="3086" y="4082"/>
                </a:lnTo>
                <a:lnTo>
                  <a:pt x="3080" y="4084"/>
                </a:lnTo>
                <a:lnTo>
                  <a:pt x="3072" y="4084"/>
                </a:lnTo>
                <a:lnTo>
                  <a:pt x="3070" y="4082"/>
                </a:lnTo>
                <a:lnTo>
                  <a:pt x="3070" y="4080"/>
                </a:lnTo>
                <a:lnTo>
                  <a:pt x="3068" y="4074"/>
                </a:lnTo>
                <a:lnTo>
                  <a:pt x="3066" y="4072"/>
                </a:lnTo>
                <a:lnTo>
                  <a:pt x="3058" y="4070"/>
                </a:lnTo>
                <a:lnTo>
                  <a:pt x="3046" y="4072"/>
                </a:lnTo>
                <a:lnTo>
                  <a:pt x="3038" y="4074"/>
                </a:lnTo>
                <a:lnTo>
                  <a:pt x="3034" y="4076"/>
                </a:lnTo>
                <a:lnTo>
                  <a:pt x="3028" y="4080"/>
                </a:lnTo>
                <a:lnTo>
                  <a:pt x="3012" y="4084"/>
                </a:lnTo>
                <a:lnTo>
                  <a:pt x="2996" y="4086"/>
                </a:lnTo>
                <a:lnTo>
                  <a:pt x="2986" y="4090"/>
                </a:lnTo>
                <a:lnTo>
                  <a:pt x="2978" y="4096"/>
                </a:lnTo>
                <a:lnTo>
                  <a:pt x="2968" y="4098"/>
                </a:lnTo>
                <a:lnTo>
                  <a:pt x="2964" y="4098"/>
                </a:lnTo>
                <a:lnTo>
                  <a:pt x="2962" y="4096"/>
                </a:lnTo>
                <a:lnTo>
                  <a:pt x="2956" y="4088"/>
                </a:lnTo>
                <a:lnTo>
                  <a:pt x="2954" y="4082"/>
                </a:lnTo>
                <a:lnTo>
                  <a:pt x="2948" y="4078"/>
                </a:lnTo>
                <a:lnTo>
                  <a:pt x="2938" y="4072"/>
                </a:lnTo>
                <a:lnTo>
                  <a:pt x="2924" y="4070"/>
                </a:lnTo>
                <a:lnTo>
                  <a:pt x="2912" y="4066"/>
                </a:lnTo>
                <a:lnTo>
                  <a:pt x="2904" y="4060"/>
                </a:lnTo>
                <a:lnTo>
                  <a:pt x="2900" y="4052"/>
                </a:lnTo>
                <a:lnTo>
                  <a:pt x="2894" y="4042"/>
                </a:lnTo>
                <a:lnTo>
                  <a:pt x="2884" y="4016"/>
                </a:lnTo>
                <a:lnTo>
                  <a:pt x="2876" y="4000"/>
                </a:lnTo>
                <a:lnTo>
                  <a:pt x="2866" y="3986"/>
                </a:lnTo>
                <a:lnTo>
                  <a:pt x="2858" y="3976"/>
                </a:lnTo>
                <a:lnTo>
                  <a:pt x="2854" y="3966"/>
                </a:lnTo>
                <a:lnTo>
                  <a:pt x="2848" y="3950"/>
                </a:lnTo>
                <a:lnTo>
                  <a:pt x="2846" y="3936"/>
                </a:lnTo>
                <a:lnTo>
                  <a:pt x="2844" y="3932"/>
                </a:lnTo>
                <a:lnTo>
                  <a:pt x="2842" y="3932"/>
                </a:lnTo>
                <a:lnTo>
                  <a:pt x="2840" y="3930"/>
                </a:lnTo>
                <a:lnTo>
                  <a:pt x="2838" y="3926"/>
                </a:lnTo>
                <a:lnTo>
                  <a:pt x="2834" y="3916"/>
                </a:lnTo>
                <a:lnTo>
                  <a:pt x="2832" y="3886"/>
                </a:lnTo>
                <a:lnTo>
                  <a:pt x="2830" y="3876"/>
                </a:lnTo>
                <a:lnTo>
                  <a:pt x="2828" y="3874"/>
                </a:lnTo>
                <a:lnTo>
                  <a:pt x="2828" y="3872"/>
                </a:lnTo>
                <a:lnTo>
                  <a:pt x="2830" y="3866"/>
                </a:lnTo>
                <a:lnTo>
                  <a:pt x="2832" y="3856"/>
                </a:lnTo>
                <a:lnTo>
                  <a:pt x="2832" y="3846"/>
                </a:lnTo>
                <a:lnTo>
                  <a:pt x="2832" y="3826"/>
                </a:lnTo>
                <a:lnTo>
                  <a:pt x="2834" y="3792"/>
                </a:lnTo>
                <a:lnTo>
                  <a:pt x="2840" y="3760"/>
                </a:lnTo>
                <a:lnTo>
                  <a:pt x="2846" y="3738"/>
                </a:lnTo>
                <a:lnTo>
                  <a:pt x="2852" y="3724"/>
                </a:lnTo>
                <a:lnTo>
                  <a:pt x="2856" y="3706"/>
                </a:lnTo>
                <a:lnTo>
                  <a:pt x="2854" y="3688"/>
                </a:lnTo>
                <a:lnTo>
                  <a:pt x="2850" y="3668"/>
                </a:lnTo>
                <a:lnTo>
                  <a:pt x="2848" y="3650"/>
                </a:lnTo>
                <a:lnTo>
                  <a:pt x="2846" y="3636"/>
                </a:lnTo>
                <a:lnTo>
                  <a:pt x="2850" y="3626"/>
                </a:lnTo>
                <a:lnTo>
                  <a:pt x="2854" y="3618"/>
                </a:lnTo>
                <a:lnTo>
                  <a:pt x="2860" y="3610"/>
                </a:lnTo>
                <a:lnTo>
                  <a:pt x="2864" y="3602"/>
                </a:lnTo>
                <a:lnTo>
                  <a:pt x="2866" y="3596"/>
                </a:lnTo>
                <a:lnTo>
                  <a:pt x="2870" y="3592"/>
                </a:lnTo>
                <a:lnTo>
                  <a:pt x="2880" y="3586"/>
                </a:lnTo>
                <a:lnTo>
                  <a:pt x="2886" y="3582"/>
                </a:lnTo>
                <a:lnTo>
                  <a:pt x="2888" y="3578"/>
                </a:lnTo>
                <a:lnTo>
                  <a:pt x="2888" y="3576"/>
                </a:lnTo>
                <a:lnTo>
                  <a:pt x="2880" y="3568"/>
                </a:lnTo>
                <a:lnTo>
                  <a:pt x="2878" y="3566"/>
                </a:lnTo>
                <a:lnTo>
                  <a:pt x="2882" y="3566"/>
                </a:lnTo>
                <a:lnTo>
                  <a:pt x="2888" y="3568"/>
                </a:lnTo>
                <a:lnTo>
                  <a:pt x="2890" y="3566"/>
                </a:lnTo>
                <a:lnTo>
                  <a:pt x="2892" y="3566"/>
                </a:lnTo>
                <a:lnTo>
                  <a:pt x="2894" y="3566"/>
                </a:lnTo>
                <a:lnTo>
                  <a:pt x="2898" y="3568"/>
                </a:lnTo>
                <a:lnTo>
                  <a:pt x="2902" y="3568"/>
                </a:lnTo>
                <a:lnTo>
                  <a:pt x="2914" y="3564"/>
                </a:lnTo>
                <a:lnTo>
                  <a:pt x="2926" y="3556"/>
                </a:lnTo>
                <a:lnTo>
                  <a:pt x="2936" y="3546"/>
                </a:lnTo>
                <a:lnTo>
                  <a:pt x="2942" y="3538"/>
                </a:lnTo>
                <a:lnTo>
                  <a:pt x="2948" y="3534"/>
                </a:lnTo>
                <a:lnTo>
                  <a:pt x="2966" y="3522"/>
                </a:lnTo>
                <a:lnTo>
                  <a:pt x="2982" y="3512"/>
                </a:lnTo>
                <a:lnTo>
                  <a:pt x="2990" y="3508"/>
                </a:lnTo>
                <a:lnTo>
                  <a:pt x="3006" y="3508"/>
                </a:lnTo>
                <a:lnTo>
                  <a:pt x="3014" y="3508"/>
                </a:lnTo>
                <a:lnTo>
                  <a:pt x="3022" y="3510"/>
                </a:lnTo>
                <a:lnTo>
                  <a:pt x="3032" y="3514"/>
                </a:lnTo>
                <a:lnTo>
                  <a:pt x="3042" y="3518"/>
                </a:lnTo>
                <a:lnTo>
                  <a:pt x="3046" y="3520"/>
                </a:lnTo>
                <a:lnTo>
                  <a:pt x="3052" y="3520"/>
                </a:lnTo>
                <a:lnTo>
                  <a:pt x="3060" y="3518"/>
                </a:lnTo>
                <a:lnTo>
                  <a:pt x="3066" y="3520"/>
                </a:lnTo>
                <a:lnTo>
                  <a:pt x="3068" y="3522"/>
                </a:lnTo>
                <a:lnTo>
                  <a:pt x="3074" y="3520"/>
                </a:lnTo>
                <a:lnTo>
                  <a:pt x="3074" y="3518"/>
                </a:lnTo>
                <a:lnTo>
                  <a:pt x="3072" y="3516"/>
                </a:lnTo>
                <a:lnTo>
                  <a:pt x="3066" y="3514"/>
                </a:lnTo>
                <a:lnTo>
                  <a:pt x="3060" y="3512"/>
                </a:lnTo>
                <a:lnTo>
                  <a:pt x="3058" y="3510"/>
                </a:lnTo>
                <a:lnTo>
                  <a:pt x="3062" y="3508"/>
                </a:lnTo>
                <a:lnTo>
                  <a:pt x="3070" y="3506"/>
                </a:lnTo>
                <a:lnTo>
                  <a:pt x="3076" y="3506"/>
                </a:lnTo>
                <a:lnTo>
                  <a:pt x="3080" y="3512"/>
                </a:lnTo>
                <a:lnTo>
                  <a:pt x="3082" y="3516"/>
                </a:lnTo>
                <a:lnTo>
                  <a:pt x="3084" y="3520"/>
                </a:lnTo>
                <a:lnTo>
                  <a:pt x="3086" y="3520"/>
                </a:lnTo>
                <a:lnTo>
                  <a:pt x="3092" y="3522"/>
                </a:lnTo>
                <a:lnTo>
                  <a:pt x="3096" y="3526"/>
                </a:lnTo>
                <a:lnTo>
                  <a:pt x="3096" y="3528"/>
                </a:lnTo>
                <a:lnTo>
                  <a:pt x="3094" y="3530"/>
                </a:lnTo>
                <a:lnTo>
                  <a:pt x="3092" y="3532"/>
                </a:lnTo>
                <a:lnTo>
                  <a:pt x="3094" y="3534"/>
                </a:lnTo>
                <a:lnTo>
                  <a:pt x="3102" y="3538"/>
                </a:lnTo>
                <a:lnTo>
                  <a:pt x="3112" y="3540"/>
                </a:lnTo>
                <a:lnTo>
                  <a:pt x="3118" y="3540"/>
                </a:lnTo>
                <a:lnTo>
                  <a:pt x="3122" y="3536"/>
                </a:lnTo>
                <a:lnTo>
                  <a:pt x="3126" y="3534"/>
                </a:lnTo>
                <a:lnTo>
                  <a:pt x="3130" y="3534"/>
                </a:lnTo>
                <a:lnTo>
                  <a:pt x="3134" y="3540"/>
                </a:lnTo>
                <a:lnTo>
                  <a:pt x="3136" y="3542"/>
                </a:lnTo>
                <a:lnTo>
                  <a:pt x="3138" y="3542"/>
                </a:lnTo>
                <a:lnTo>
                  <a:pt x="3142" y="3540"/>
                </a:lnTo>
                <a:lnTo>
                  <a:pt x="3144" y="3534"/>
                </a:lnTo>
                <a:lnTo>
                  <a:pt x="3144" y="3532"/>
                </a:lnTo>
                <a:lnTo>
                  <a:pt x="3144" y="3528"/>
                </a:lnTo>
                <a:lnTo>
                  <a:pt x="3142" y="3522"/>
                </a:lnTo>
                <a:lnTo>
                  <a:pt x="3146" y="3522"/>
                </a:lnTo>
                <a:lnTo>
                  <a:pt x="3152" y="3526"/>
                </a:lnTo>
                <a:lnTo>
                  <a:pt x="3160" y="3532"/>
                </a:lnTo>
                <a:lnTo>
                  <a:pt x="3166" y="3542"/>
                </a:lnTo>
                <a:lnTo>
                  <a:pt x="3168" y="3548"/>
                </a:lnTo>
                <a:lnTo>
                  <a:pt x="3168" y="3550"/>
                </a:lnTo>
                <a:lnTo>
                  <a:pt x="3170" y="3550"/>
                </a:lnTo>
                <a:lnTo>
                  <a:pt x="3178" y="3546"/>
                </a:lnTo>
                <a:lnTo>
                  <a:pt x="3182" y="3542"/>
                </a:lnTo>
                <a:lnTo>
                  <a:pt x="3182" y="3538"/>
                </a:lnTo>
                <a:lnTo>
                  <a:pt x="3182" y="3536"/>
                </a:lnTo>
                <a:lnTo>
                  <a:pt x="3182" y="3534"/>
                </a:lnTo>
                <a:lnTo>
                  <a:pt x="3174" y="3528"/>
                </a:lnTo>
                <a:lnTo>
                  <a:pt x="3164" y="3522"/>
                </a:lnTo>
                <a:lnTo>
                  <a:pt x="3160" y="3520"/>
                </a:lnTo>
                <a:lnTo>
                  <a:pt x="3158" y="3516"/>
                </a:lnTo>
                <a:lnTo>
                  <a:pt x="3160" y="3514"/>
                </a:lnTo>
                <a:lnTo>
                  <a:pt x="3164" y="3512"/>
                </a:lnTo>
                <a:lnTo>
                  <a:pt x="3170" y="3508"/>
                </a:lnTo>
                <a:lnTo>
                  <a:pt x="3172" y="3504"/>
                </a:lnTo>
                <a:lnTo>
                  <a:pt x="3172" y="3500"/>
                </a:lnTo>
                <a:lnTo>
                  <a:pt x="3170" y="3496"/>
                </a:lnTo>
                <a:lnTo>
                  <a:pt x="3168" y="3494"/>
                </a:lnTo>
                <a:lnTo>
                  <a:pt x="3166" y="3496"/>
                </a:lnTo>
                <a:lnTo>
                  <a:pt x="3162" y="3500"/>
                </a:lnTo>
                <a:lnTo>
                  <a:pt x="3160" y="3502"/>
                </a:lnTo>
                <a:lnTo>
                  <a:pt x="3156" y="3500"/>
                </a:lnTo>
                <a:lnTo>
                  <a:pt x="3154" y="3498"/>
                </a:lnTo>
                <a:lnTo>
                  <a:pt x="3158" y="3494"/>
                </a:lnTo>
                <a:lnTo>
                  <a:pt x="3158" y="3492"/>
                </a:lnTo>
                <a:lnTo>
                  <a:pt x="3154" y="3490"/>
                </a:lnTo>
                <a:lnTo>
                  <a:pt x="3148" y="3490"/>
                </a:lnTo>
                <a:lnTo>
                  <a:pt x="3146" y="3492"/>
                </a:lnTo>
                <a:lnTo>
                  <a:pt x="3142" y="3494"/>
                </a:lnTo>
                <a:lnTo>
                  <a:pt x="3134" y="3492"/>
                </a:lnTo>
                <a:lnTo>
                  <a:pt x="3130" y="3490"/>
                </a:lnTo>
                <a:lnTo>
                  <a:pt x="3128" y="3486"/>
                </a:lnTo>
                <a:lnTo>
                  <a:pt x="3128" y="3484"/>
                </a:lnTo>
                <a:lnTo>
                  <a:pt x="3130" y="3480"/>
                </a:lnTo>
                <a:lnTo>
                  <a:pt x="3132" y="3478"/>
                </a:lnTo>
                <a:lnTo>
                  <a:pt x="3138" y="3476"/>
                </a:lnTo>
                <a:lnTo>
                  <a:pt x="3142" y="3476"/>
                </a:lnTo>
                <a:lnTo>
                  <a:pt x="3148" y="3478"/>
                </a:lnTo>
                <a:lnTo>
                  <a:pt x="3158" y="3482"/>
                </a:lnTo>
                <a:lnTo>
                  <a:pt x="3164" y="3484"/>
                </a:lnTo>
                <a:lnTo>
                  <a:pt x="3170" y="3482"/>
                </a:lnTo>
                <a:lnTo>
                  <a:pt x="3178" y="3478"/>
                </a:lnTo>
                <a:lnTo>
                  <a:pt x="3184" y="3476"/>
                </a:lnTo>
                <a:lnTo>
                  <a:pt x="3190" y="3474"/>
                </a:lnTo>
                <a:lnTo>
                  <a:pt x="3204" y="3476"/>
                </a:lnTo>
                <a:lnTo>
                  <a:pt x="3216" y="3478"/>
                </a:lnTo>
                <a:lnTo>
                  <a:pt x="3220" y="3476"/>
                </a:lnTo>
                <a:lnTo>
                  <a:pt x="3222" y="3474"/>
                </a:lnTo>
                <a:lnTo>
                  <a:pt x="3224" y="3460"/>
                </a:lnTo>
                <a:lnTo>
                  <a:pt x="3226" y="3462"/>
                </a:lnTo>
                <a:lnTo>
                  <a:pt x="3232" y="3472"/>
                </a:lnTo>
                <a:lnTo>
                  <a:pt x="3232" y="3476"/>
                </a:lnTo>
                <a:lnTo>
                  <a:pt x="3232" y="3480"/>
                </a:lnTo>
                <a:lnTo>
                  <a:pt x="3226" y="3484"/>
                </a:lnTo>
                <a:lnTo>
                  <a:pt x="3226" y="3486"/>
                </a:lnTo>
                <a:lnTo>
                  <a:pt x="3234" y="3482"/>
                </a:lnTo>
                <a:lnTo>
                  <a:pt x="3268" y="3476"/>
                </a:lnTo>
                <a:lnTo>
                  <a:pt x="3284" y="3476"/>
                </a:lnTo>
                <a:lnTo>
                  <a:pt x="3296" y="3478"/>
                </a:lnTo>
                <a:lnTo>
                  <a:pt x="3314" y="3484"/>
                </a:lnTo>
                <a:lnTo>
                  <a:pt x="3318" y="3486"/>
                </a:lnTo>
                <a:lnTo>
                  <a:pt x="3320" y="3490"/>
                </a:lnTo>
                <a:lnTo>
                  <a:pt x="3324" y="3494"/>
                </a:lnTo>
                <a:lnTo>
                  <a:pt x="3326" y="3496"/>
                </a:lnTo>
                <a:lnTo>
                  <a:pt x="3330" y="3498"/>
                </a:lnTo>
                <a:lnTo>
                  <a:pt x="3332" y="3506"/>
                </a:lnTo>
                <a:lnTo>
                  <a:pt x="3332" y="3510"/>
                </a:lnTo>
                <a:lnTo>
                  <a:pt x="3336" y="3510"/>
                </a:lnTo>
                <a:lnTo>
                  <a:pt x="3342" y="3510"/>
                </a:lnTo>
                <a:lnTo>
                  <a:pt x="3348" y="3508"/>
                </a:lnTo>
                <a:lnTo>
                  <a:pt x="3360" y="3504"/>
                </a:lnTo>
                <a:lnTo>
                  <a:pt x="3368" y="3500"/>
                </a:lnTo>
                <a:lnTo>
                  <a:pt x="3372" y="3500"/>
                </a:lnTo>
                <a:lnTo>
                  <a:pt x="3372" y="3498"/>
                </a:lnTo>
                <a:lnTo>
                  <a:pt x="3374" y="3496"/>
                </a:lnTo>
                <a:lnTo>
                  <a:pt x="3376" y="3492"/>
                </a:lnTo>
                <a:lnTo>
                  <a:pt x="3382" y="3490"/>
                </a:lnTo>
                <a:lnTo>
                  <a:pt x="3388" y="3492"/>
                </a:lnTo>
                <a:lnTo>
                  <a:pt x="3394" y="3498"/>
                </a:lnTo>
                <a:lnTo>
                  <a:pt x="3408" y="3514"/>
                </a:lnTo>
                <a:lnTo>
                  <a:pt x="3420" y="3530"/>
                </a:lnTo>
                <a:lnTo>
                  <a:pt x="3424" y="3536"/>
                </a:lnTo>
                <a:lnTo>
                  <a:pt x="3428" y="3538"/>
                </a:lnTo>
                <a:lnTo>
                  <a:pt x="3432" y="3540"/>
                </a:lnTo>
                <a:lnTo>
                  <a:pt x="3436" y="3542"/>
                </a:lnTo>
                <a:lnTo>
                  <a:pt x="3440" y="3554"/>
                </a:lnTo>
                <a:lnTo>
                  <a:pt x="3440" y="3570"/>
                </a:lnTo>
                <a:lnTo>
                  <a:pt x="3438" y="3584"/>
                </a:lnTo>
                <a:lnTo>
                  <a:pt x="3434" y="3598"/>
                </a:lnTo>
                <a:lnTo>
                  <a:pt x="3434" y="3610"/>
                </a:lnTo>
                <a:lnTo>
                  <a:pt x="3438" y="3616"/>
                </a:lnTo>
                <a:lnTo>
                  <a:pt x="3440" y="3616"/>
                </a:lnTo>
                <a:lnTo>
                  <a:pt x="3442" y="3616"/>
                </a:lnTo>
                <a:lnTo>
                  <a:pt x="3446" y="3610"/>
                </a:lnTo>
                <a:lnTo>
                  <a:pt x="3450" y="3610"/>
                </a:lnTo>
                <a:lnTo>
                  <a:pt x="3452" y="3610"/>
                </a:lnTo>
                <a:lnTo>
                  <a:pt x="3452" y="3612"/>
                </a:lnTo>
                <a:lnTo>
                  <a:pt x="3448" y="3618"/>
                </a:lnTo>
                <a:lnTo>
                  <a:pt x="3446" y="3622"/>
                </a:lnTo>
                <a:lnTo>
                  <a:pt x="3444" y="3626"/>
                </a:lnTo>
                <a:lnTo>
                  <a:pt x="3446" y="3638"/>
                </a:lnTo>
                <a:lnTo>
                  <a:pt x="3450" y="3648"/>
                </a:lnTo>
                <a:lnTo>
                  <a:pt x="3456" y="3658"/>
                </a:lnTo>
                <a:lnTo>
                  <a:pt x="3458" y="3660"/>
                </a:lnTo>
                <a:lnTo>
                  <a:pt x="3460" y="3660"/>
                </a:lnTo>
                <a:lnTo>
                  <a:pt x="3462" y="3658"/>
                </a:lnTo>
                <a:lnTo>
                  <a:pt x="3464" y="3666"/>
                </a:lnTo>
                <a:lnTo>
                  <a:pt x="3466" y="3674"/>
                </a:lnTo>
                <a:lnTo>
                  <a:pt x="3470" y="3678"/>
                </a:lnTo>
                <a:lnTo>
                  <a:pt x="3474" y="3682"/>
                </a:lnTo>
                <a:lnTo>
                  <a:pt x="3476" y="3694"/>
                </a:lnTo>
                <a:lnTo>
                  <a:pt x="3478" y="3700"/>
                </a:lnTo>
                <a:lnTo>
                  <a:pt x="3480" y="3704"/>
                </a:lnTo>
                <a:lnTo>
                  <a:pt x="3484" y="3706"/>
                </a:lnTo>
                <a:lnTo>
                  <a:pt x="3486" y="3708"/>
                </a:lnTo>
                <a:lnTo>
                  <a:pt x="3494" y="3712"/>
                </a:lnTo>
                <a:lnTo>
                  <a:pt x="3496" y="3714"/>
                </a:lnTo>
                <a:lnTo>
                  <a:pt x="3498" y="3720"/>
                </a:lnTo>
                <a:lnTo>
                  <a:pt x="3502" y="3732"/>
                </a:lnTo>
                <a:lnTo>
                  <a:pt x="3504" y="3734"/>
                </a:lnTo>
                <a:lnTo>
                  <a:pt x="3506" y="3736"/>
                </a:lnTo>
                <a:lnTo>
                  <a:pt x="3504" y="3738"/>
                </a:lnTo>
                <a:lnTo>
                  <a:pt x="3502" y="3744"/>
                </a:lnTo>
                <a:lnTo>
                  <a:pt x="3504" y="3748"/>
                </a:lnTo>
                <a:lnTo>
                  <a:pt x="3508" y="3748"/>
                </a:lnTo>
                <a:lnTo>
                  <a:pt x="3518" y="3746"/>
                </a:lnTo>
                <a:lnTo>
                  <a:pt x="3522" y="3744"/>
                </a:lnTo>
                <a:lnTo>
                  <a:pt x="3524" y="3746"/>
                </a:lnTo>
                <a:lnTo>
                  <a:pt x="3526" y="3748"/>
                </a:lnTo>
                <a:lnTo>
                  <a:pt x="3526" y="3750"/>
                </a:lnTo>
                <a:lnTo>
                  <a:pt x="3530" y="3744"/>
                </a:lnTo>
                <a:lnTo>
                  <a:pt x="3536" y="3734"/>
                </a:lnTo>
                <a:lnTo>
                  <a:pt x="3536" y="3730"/>
                </a:lnTo>
                <a:lnTo>
                  <a:pt x="3536" y="3726"/>
                </a:lnTo>
                <a:lnTo>
                  <a:pt x="3540" y="3718"/>
                </a:lnTo>
                <a:lnTo>
                  <a:pt x="3544" y="3708"/>
                </a:lnTo>
                <a:lnTo>
                  <a:pt x="3544" y="3698"/>
                </a:lnTo>
                <a:lnTo>
                  <a:pt x="3546" y="3686"/>
                </a:lnTo>
                <a:lnTo>
                  <a:pt x="3546" y="3670"/>
                </a:lnTo>
                <a:lnTo>
                  <a:pt x="3546" y="3662"/>
                </a:lnTo>
                <a:lnTo>
                  <a:pt x="3544" y="3650"/>
                </a:lnTo>
                <a:lnTo>
                  <a:pt x="3536" y="3626"/>
                </a:lnTo>
                <a:lnTo>
                  <a:pt x="3528" y="3602"/>
                </a:lnTo>
                <a:lnTo>
                  <a:pt x="3526" y="3590"/>
                </a:lnTo>
                <a:lnTo>
                  <a:pt x="3526" y="3580"/>
                </a:lnTo>
                <a:lnTo>
                  <a:pt x="3526" y="3576"/>
                </a:lnTo>
                <a:lnTo>
                  <a:pt x="3524" y="3568"/>
                </a:lnTo>
                <a:lnTo>
                  <a:pt x="3514" y="3550"/>
                </a:lnTo>
                <a:lnTo>
                  <a:pt x="3508" y="3536"/>
                </a:lnTo>
                <a:lnTo>
                  <a:pt x="3502" y="3522"/>
                </a:lnTo>
                <a:lnTo>
                  <a:pt x="3496" y="3504"/>
                </a:lnTo>
                <a:lnTo>
                  <a:pt x="3492" y="3482"/>
                </a:lnTo>
                <a:lnTo>
                  <a:pt x="3490" y="3460"/>
                </a:lnTo>
                <a:lnTo>
                  <a:pt x="3492" y="3440"/>
                </a:lnTo>
                <a:lnTo>
                  <a:pt x="3496" y="3422"/>
                </a:lnTo>
                <a:lnTo>
                  <a:pt x="3502" y="3408"/>
                </a:lnTo>
                <a:lnTo>
                  <a:pt x="3508" y="3396"/>
                </a:lnTo>
                <a:lnTo>
                  <a:pt x="3514" y="3388"/>
                </a:lnTo>
                <a:lnTo>
                  <a:pt x="3526" y="3376"/>
                </a:lnTo>
                <a:lnTo>
                  <a:pt x="3528" y="3374"/>
                </a:lnTo>
                <a:lnTo>
                  <a:pt x="3530" y="3370"/>
                </a:lnTo>
                <a:lnTo>
                  <a:pt x="3528" y="3368"/>
                </a:lnTo>
                <a:lnTo>
                  <a:pt x="3528" y="3366"/>
                </a:lnTo>
                <a:lnTo>
                  <a:pt x="3536" y="3364"/>
                </a:lnTo>
                <a:lnTo>
                  <a:pt x="3542" y="3362"/>
                </a:lnTo>
                <a:lnTo>
                  <a:pt x="3548" y="3360"/>
                </a:lnTo>
                <a:lnTo>
                  <a:pt x="3556" y="3352"/>
                </a:lnTo>
                <a:lnTo>
                  <a:pt x="3564" y="3342"/>
                </a:lnTo>
                <a:lnTo>
                  <a:pt x="3568" y="3340"/>
                </a:lnTo>
                <a:lnTo>
                  <a:pt x="3572" y="3338"/>
                </a:lnTo>
                <a:lnTo>
                  <a:pt x="3574" y="3336"/>
                </a:lnTo>
                <a:lnTo>
                  <a:pt x="3576" y="3334"/>
                </a:lnTo>
                <a:lnTo>
                  <a:pt x="3582" y="3322"/>
                </a:lnTo>
                <a:lnTo>
                  <a:pt x="3588" y="3308"/>
                </a:lnTo>
                <a:lnTo>
                  <a:pt x="3592" y="3302"/>
                </a:lnTo>
                <a:lnTo>
                  <a:pt x="3600" y="3296"/>
                </a:lnTo>
                <a:lnTo>
                  <a:pt x="3606" y="3292"/>
                </a:lnTo>
                <a:lnTo>
                  <a:pt x="3614" y="3290"/>
                </a:lnTo>
                <a:lnTo>
                  <a:pt x="3624" y="3290"/>
                </a:lnTo>
                <a:lnTo>
                  <a:pt x="3628" y="3290"/>
                </a:lnTo>
                <a:lnTo>
                  <a:pt x="3632" y="3288"/>
                </a:lnTo>
                <a:lnTo>
                  <a:pt x="3634" y="3286"/>
                </a:lnTo>
                <a:lnTo>
                  <a:pt x="3636" y="3280"/>
                </a:lnTo>
                <a:lnTo>
                  <a:pt x="3638" y="3274"/>
                </a:lnTo>
                <a:lnTo>
                  <a:pt x="3642" y="3268"/>
                </a:lnTo>
                <a:lnTo>
                  <a:pt x="3654" y="3256"/>
                </a:lnTo>
                <a:lnTo>
                  <a:pt x="3666" y="3250"/>
                </a:lnTo>
                <a:lnTo>
                  <a:pt x="3680" y="3246"/>
                </a:lnTo>
                <a:lnTo>
                  <a:pt x="3690" y="3244"/>
                </a:lnTo>
                <a:lnTo>
                  <a:pt x="3698" y="3238"/>
                </a:lnTo>
                <a:lnTo>
                  <a:pt x="3700" y="3234"/>
                </a:lnTo>
                <a:lnTo>
                  <a:pt x="3698" y="3232"/>
                </a:lnTo>
                <a:lnTo>
                  <a:pt x="3696" y="3230"/>
                </a:lnTo>
                <a:lnTo>
                  <a:pt x="3694" y="3228"/>
                </a:lnTo>
                <a:lnTo>
                  <a:pt x="3692" y="3230"/>
                </a:lnTo>
                <a:lnTo>
                  <a:pt x="3686" y="3232"/>
                </a:lnTo>
                <a:lnTo>
                  <a:pt x="3680" y="3236"/>
                </a:lnTo>
                <a:lnTo>
                  <a:pt x="3678" y="3236"/>
                </a:lnTo>
                <a:lnTo>
                  <a:pt x="3674" y="3234"/>
                </a:lnTo>
                <a:lnTo>
                  <a:pt x="3672" y="3232"/>
                </a:lnTo>
                <a:lnTo>
                  <a:pt x="3674" y="3232"/>
                </a:lnTo>
                <a:lnTo>
                  <a:pt x="3680" y="3230"/>
                </a:lnTo>
                <a:lnTo>
                  <a:pt x="3682" y="3228"/>
                </a:lnTo>
                <a:lnTo>
                  <a:pt x="3686" y="3224"/>
                </a:lnTo>
                <a:lnTo>
                  <a:pt x="3686" y="3220"/>
                </a:lnTo>
                <a:lnTo>
                  <a:pt x="3684" y="3216"/>
                </a:lnTo>
                <a:lnTo>
                  <a:pt x="3680" y="3210"/>
                </a:lnTo>
                <a:lnTo>
                  <a:pt x="3676" y="3208"/>
                </a:lnTo>
                <a:lnTo>
                  <a:pt x="3682" y="3208"/>
                </a:lnTo>
                <a:lnTo>
                  <a:pt x="3692" y="3210"/>
                </a:lnTo>
                <a:lnTo>
                  <a:pt x="3698" y="3214"/>
                </a:lnTo>
                <a:lnTo>
                  <a:pt x="3700" y="3214"/>
                </a:lnTo>
                <a:lnTo>
                  <a:pt x="3702" y="3214"/>
                </a:lnTo>
                <a:lnTo>
                  <a:pt x="3706" y="3208"/>
                </a:lnTo>
                <a:lnTo>
                  <a:pt x="3712" y="3202"/>
                </a:lnTo>
                <a:lnTo>
                  <a:pt x="3714" y="3202"/>
                </a:lnTo>
                <a:lnTo>
                  <a:pt x="3716" y="3200"/>
                </a:lnTo>
                <a:lnTo>
                  <a:pt x="3718" y="3194"/>
                </a:lnTo>
                <a:lnTo>
                  <a:pt x="3720" y="3186"/>
                </a:lnTo>
                <a:lnTo>
                  <a:pt x="3718" y="3182"/>
                </a:lnTo>
                <a:lnTo>
                  <a:pt x="3716" y="3180"/>
                </a:lnTo>
                <a:lnTo>
                  <a:pt x="3712" y="3182"/>
                </a:lnTo>
                <a:lnTo>
                  <a:pt x="3710" y="3184"/>
                </a:lnTo>
                <a:lnTo>
                  <a:pt x="3708" y="3182"/>
                </a:lnTo>
                <a:lnTo>
                  <a:pt x="3704" y="3180"/>
                </a:lnTo>
                <a:lnTo>
                  <a:pt x="3696" y="3180"/>
                </a:lnTo>
                <a:lnTo>
                  <a:pt x="3684" y="3182"/>
                </a:lnTo>
                <a:lnTo>
                  <a:pt x="3680" y="3180"/>
                </a:lnTo>
                <a:lnTo>
                  <a:pt x="3678" y="3176"/>
                </a:lnTo>
                <a:lnTo>
                  <a:pt x="3678" y="3170"/>
                </a:lnTo>
                <a:lnTo>
                  <a:pt x="3678" y="3168"/>
                </a:lnTo>
                <a:lnTo>
                  <a:pt x="3682" y="3172"/>
                </a:lnTo>
                <a:lnTo>
                  <a:pt x="3684" y="3174"/>
                </a:lnTo>
                <a:lnTo>
                  <a:pt x="3686" y="3176"/>
                </a:lnTo>
                <a:lnTo>
                  <a:pt x="3692" y="3176"/>
                </a:lnTo>
                <a:lnTo>
                  <a:pt x="3696" y="3172"/>
                </a:lnTo>
                <a:lnTo>
                  <a:pt x="3704" y="3170"/>
                </a:lnTo>
                <a:lnTo>
                  <a:pt x="3710" y="3170"/>
                </a:lnTo>
                <a:lnTo>
                  <a:pt x="3714" y="3172"/>
                </a:lnTo>
                <a:lnTo>
                  <a:pt x="3718" y="3176"/>
                </a:lnTo>
                <a:lnTo>
                  <a:pt x="3724" y="3184"/>
                </a:lnTo>
                <a:lnTo>
                  <a:pt x="3726" y="3186"/>
                </a:lnTo>
                <a:lnTo>
                  <a:pt x="3728" y="3188"/>
                </a:lnTo>
                <a:lnTo>
                  <a:pt x="3728" y="3186"/>
                </a:lnTo>
                <a:lnTo>
                  <a:pt x="3728" y="3184"/>
                </a:lnTo>
                <a:lnTo>
                  <a:pt x="3724" y="3176"/>
                </a:lnTo>
                <a:lnTo>
                  <a:pt x="3718" y="3160"/>
                </a:lnTo>
                <a:lnTo>
                  <a:pt x="3712" y="3136"/>
                </a:lnTo>
                <a:lnTo>
                  <a:pt x="3708" y="3128"/>
                </a:lnTo>
                <a:lnTo>
                  <a:pt x="3706" y="3126"/>
                </a:lnTo>
                <a:lnTo>
                  <a:pt x="3704" y="3126"/>
                </a:lnTo>
                <a:lnTo>
                  <a:pt x="3700" y="3126"/>
                </a:lnTo>
                <a:lnTo>
                  <a:pt x="3694" y="3130"/>
                </a:lnTo>
                <a:lnTo>
                  <a:pt x="3692" y="3130"/>
                </a:lnTo>
                <a:lnTo>
                  <a:pt x="3696" y="3126"/>
                </a:lnTo>
                <a:lnTo>
                  <a:pt x="3698" y="3120"/>
                </a:lnTo>
                <a:lnTo>
                  <a:pt x="3698" y="3116"/>
                </a:lnTo>
                <a:lnTo>
                  <a:pt x="3694" y="3112"/>
                </a:lnTo>
                <a:lnTo>
                  <a:pt x="3690" y="3110"/>
                </a:lnTo>
                <a:lnTo>
                  <a:pt x="3694" y="3108"/>
                </a:lnTo>
                <a:lnTo>
                  <a:pt x="3696" y="3108"/>
                </a:lnTo>
                <a:lnTo>
                  <a:pt x="3698" y="3106"/>
                </a:lnTo>
                <a:lnTo>
                  <a:pt x="3698" y="3102"/>
                </a:lnTo>
                <a:lnTo>
                  <a:pt x="3698" y="3096"/>
                </a:lnTo>
                <a:lnTo>
                  <a:pt x="3696" y="3084"/>
                </a:lnTo>
                <a:lnTo>
                  <a:pt x="3698" y="3078"/>
                </a:lnTo>
                <a:lnTo>
                  <a:pt x="3696" y="3076"/>
                </a:lnTo>
                <a:lnTo>
                  <a:pt x="3692" y="3070"/>
                </a:lnTo>
                <a:lnTo>
                  <a:pt x="3678" y="3058"/>
                </a:lnTo>
                <a:lnTo>
                  <a:pt x="3678" y="3056"/>
                </a:lnTo>
                <a:lnTo>
                  <a:pt x="3680" y="3056"/>
                </a:lnTo>
                <a:lnTo>
                  <a:pt x="3686" y="3060"/>
                </a:lnTo>
                <a:lnTo>
                  <a:pt x="3694" y="3064"/>
                </a:lnTo>
                <a:lnTo>
                  <a:pt x="3696" y="3064"/>
                </a:lnTo>
                <a:lnTo>
                  <a:pt x="3696" y="3062"/>
                </a:lnTo>
                <a:lnTo>
                  <a:pt x="3692" y="3048"/>
                </a:lnTo>
                <a:lnTo>
                  <a:pt x="3688" y="3032"/>
                </a:lnTo>
                <a:lnTo>
                  <a:pt x="3690" y="3016"/>
                </a:lnTo>
                <a:lnTo>
                  <a:pt x="3694" y="3002"/>
                </a:lnTo>
                <a:lnTo>
                  <a:pt x="3696" y="2998"/>
                </a:lnTo>
                <a:lnTo>
                  <a:pt x="3702" y="2992"/>
                </a:lnTo>
                <a:lnTo>
                  <a:pt x="3706" y="2990"/>
                </a:lnTo>
                <a:lnTo>
                  <a:pt x="3704" y="2992"/>
                </a:lnTo>
                <a:lnTo>
                  <a:pt x="3700" y="2998"/>
                </a:lnTo>
                <a:lnTo>
                  <a:pt x="3698" y="3004"/>
                </a:lnTo>
                <a:lnTo>
                  <a:pt x="3694" y="3016"/>
                </a:lnTo>
                <a:lnTo>
                  <a:pt x="3694" y="3020"/>
                </a:lnTo>
                <a:lnTo>
                  <a:pt x="3696" y="3024"/>
                </a:lnTo>
                <a:lnTo>
                  <a:pt x="3696" y="3028"/>
                </a:lnTo>
                <a:lnTo>
                  <a:pt x="3696" y="3030"/>
                </a:lnTo>
                <a:lnTo>
                  <a:pt x="3694" y="3034"/>
                </a:lnTo>
                <a:lnTo>
                  <a:pt x="3696" y="3038"/>
                </a:lnTo>
                <a:lnTo>
                  <a:pt x="3698" y="3042"/>
                </a:lnTo>
                <a:lnTo>
                  <a:pt x="3696" y="3046"/>
                </a:lnTo>
                <a:lnTo>
                  <a:pt x="3696" y="3048"/>
                </a:lnTo>
                <a:lnTo>
                  <a:pt x="3700" y="3052"/>
                </a:lnTo>
                <a:lnTo>
                  <a:pt x="3706" y="3056"/>
                </a:lnTo>
                <a:lnTo>
                  <a:pt x="3708" y="3054"/>
                </a:lnTo>
                <a:lnTo>
                  <a:pt x="3710" y="3054"/>
                </a:lnTo>
                <a:lnTo>
                  <a:pt x="3712" y="3058"/>
                </a:lnTo>
                <a:lnTo>
                  <a:pt x="3714" y="3066"/>
                </a:lnTo>
                <a:lnTo>
                  <a:pt x="3712" y="3070"/>
                </a:lnTo>
                <a:lnTo>
                  <a:pt x="3712" y="3072"/>
                </a:lnTo>
                <a:lnTo>
                  <a:pt x="3716" y="3074"/>
                </a:lnTo>
                <a:lnTo>
                  <a:pt x="3718" y="3076"/>
                </a:lnTo>
                <a:lnTo>
                  <a:pt x="3716" y="3080"/>
                </a:lnTo>
                <a:lnTo>
                  <a:pt x="3712" y="3092"/>
                </a:lnTo>
                <a:lnTo>
                  <a:pt x="3706" y="3106"/>
                </a:lnTo>
                <a:lnTo>
                  <a:pt x="3706" y="3112"/>
                </a:lnTo>
                <a:lnTo>
                  <a:pt x="3710" y="3116"/>
                </a:lnTo>
                <a:lnTo>
                  <a:pt x="3712" y="3114"/>
                </a:lnTo>
                <a:lnTo>
                  <a:pt x="3714" y="3110"/>
                </a:lnTo>
                <a:lnTo>
                  <a:pt x="3720" y="3096"/>
                </a:lnTo>
                <a:lnTo>
                  <a:pt x="3728" y="3078"/>
                </a:lnTo>
                <a:lnTo>
                  <a:pt x="3738" y="3060"/>
                </a:lnTo>
                <a:lnTo>
                  <a:pt x="3744" y="3054"/>
                </a:lnTo>
                <a:lnTo>
                  <a:pt x="3746" y="3046"/>
                </a:lnTo>
                <a:lnTo>
                  <a:pt x="3748" y="3040"/>
                </a:lnTo>
                <a:lnTo>
                  <a:pt x="3748" y="3036"/>
                </a:lnTo>
                <a:lnTo>
                  <a:pt x="3748" y="3030"/>
                </a:lnTo>
                <a:lnTo>
                  <a:pt x="3746" y="3028"/>
                </a:lnTo>
                <a:lnTo>
                  <a:pt x="3744" y="3026"/>
                </a:lnTo>
                <a:lnTo>
                  <a:pt x="3740" y="3024"/>
                </a:lnTo>
                <a:lnTo>
                  <a:pt x="3738" y="3024"/>
                </a:lnTo>
                <a:lnTo>
                  <a:pt x="3736" y="3022"/>
                </a:lnTo>
                <a:lnTo>
                  <a:pt x="3732" y="3014"/>
                </a:lnTo>
                <a:lnTo>
                  <a:pt x="3726" y="2992"/>
                </a:lnTo>
                <a:lnTo>
                  <a:pt x="3724" y="2984"/>
                </a:lnTo>
                <a:lnTo>
                  <a:pt x="3726" y="2976"/>
                </a:lnTo>
                <a:lnTo>
                  <a:pt x="3730" y="2970"/>
                </a:lnTo>
                <a:lnTo>
                  <a:pt x="3738" y="2964"/>
                </a:lnTo>
                <a:lnTo>
                  <a:pt x="3742" y="2964"/>
                </a:lnTo>
                <a:lnTo>
                  <a:pt x="3736" y="2968"/>
                </a:lnTo>
                <a:lnTo>
                  <a:pt x="3732" y="2972"/>
                </a:lnTo>
                <a:lnTo>
                  <a:pt x="3730" y="2978"/>
                </a:lnTo>
                <a:lnTo>
                  <a:pt x="3730" y="2986"/>
                </a:lnTo>
                <a:lnTo>
                  <a:pt x="3732" y="2992"/>
                </a:lnTo>
                <a:lnTo>
                  <a:pt x="3738" y="2998"/>
                </a:lnTo>
                <a:lnTo>
                  <a:pt x="3742" y="3002"/>
                </a:lnTo>
                <a:lnTo>
                  <a:pt x="3748" y="3004"/>
                </a:lnTo>
                <a:lnTo>
                  <a:pt x="3752" y="3004"/>
                </a:lnTo>
                <a:lnTo>
                  <a:pt x="3752" y="3012"/>
                </a:lnTo>
                <a:lnTo>
                  <a:pt x="3752" y="3016"/>
                </a:lnTo>
                <a:lnTo>
                  <a:pt x="3752" y="3018"/>
                </a:lnTo>
                <a:lnTo>
                  <a:pt x="3754" y="3016"/>
                </a:lnTo>
                <a:lnTo>
                  <a:pt x="3758" y="3014"/>
                </a:lnTo>
                <a:lnTo>
                  <a:pt x="3766" y="3002"/>
                </a:lnTo>
                <a:lnTo>
                  <a:pt x="3776" y="2986"/>
                </a:lnTo>
                <a:lnTo>
                  <a:pt x="3784" y="2970"/>
                </a:lnTo>
                <a:lnTo>
                  <a:pt x="3790" y="2954"/>
                </a:lnTo>
                <a:lnTo>
                  <a:pt x="3792" y="2948"/>
                </a:lnTo>
                <a:lnTo>
                  <a:pt x="3792" y="2942"/>
                </a:lnTo>
                <a:lnTo>
                  <a:pt x="3790" y="2938"/>
                </a:lnTo>
                <a:lnTo>
                  <a:pt x="3786" y="2938"/>
                </a:lnTo>
                <a:lnTo>
                  <a:pt x="3778" y="2936"/>
                </a:lnTo>
                <a:lnTo>
                  <a:pt x="3778" y="2934"/>
                </a:lnTo>
                <a:lnTo>
                  <a:pt x="3776" y="2932"/>
                </a:lnTo>
                <a:lnTo>
                  <a:pt x="3778" y="2926"/>
                </a:lnTo>
                <a:lnTo>
                  <a:pt x="3786" y="2918"/>
                </a:lnTo>
                <a:lnTo>
                  <a:pt x="3796" y="2910"/>
                </a:lnTo>
                <a:lnTo>
                  <a:pt x="3810" y="2902"/>
                </a:lnTo>
                <a:lnTo>
                  <a:pt x="3824" y="2894"/>
                </a:lnTo>
                <a:lnTo>
                  <a:pt x="3838" y="2890"/>
                </a:lnTo>
                <a:lnTo>
                  <a:pt x="3854" y="2888"/>
                </a:lnTo>
                <a:lnTo>
                  <a:pt x="3872" y="2886"/>
                </a:lnTo>
                <a:lnTo>
                  <a:pt x="3886" y="2884"/>
                </a:lnTo>
                <a:lnTo>
                  <a:pt x="3890" y="2882"/>
                </a:lnTo>
                <a:lnTo>
                  <a:pt x="3892" y="2880"/>
                </a:lnTo>
                <a:lnTo>
                  <a:pt x="3894" y="2866"/>
                </a:lnTo>
                <a:lnTo>
                  <a:pt x="3896" y="2862"/>
                </a:lnTo>
                <a:lnTo>
                  <a:pt x="3898" y="2868"/>
                </a:lnTo>
                <a:lnTo>
                  <a:pt x="3902" y="2876"/>
                </a:lnTo>
                <a:lnTo>
                  <a:pt x="3904" y="2880"/>
                </a:lnTo>
                <a:lnTo>
                  <a:pt x="3906" y="2880"/>
                </a:lnTo>
                <a:lnTo>
                  <a:pt x="3908" y="2878"/>
                </a:lnTo>
                <a:lnTo>
                  <a:pt x="3916" y="2872"/>
                </a:lnTo>
                <a:lnTo>
                  <a:pt x="3920" y="2868"/>
                </a:lnTo>
                <a:lnTo>
                  <a:pt x="3922" y="2866"/>
                </a:lnTo>
                <a:lnTo>
                  <a:pt x="3924" y="2868"/>
                </a:lnTo>
                <a:lnTo>
                  <a:pt x="3924" y="2870"/>
                </a:lnTo>
                <a:lnTo>
                  <a:pt x="3924" y="2876"/>
                </a:lnTo>
                <a:lnTo>
                  <a:pt x="3926" y="2876"/>
                </a:lnTo>
                <a:lnTo>
                  <a:pt x="3928" y="2874"/>
                </a:lnTo>
                <a:lnTo>
                  <a:pt x="3932" y="2872"/>
                </a:lnTo>
                <a:lnTo>
                  <a:pt x="3938" y="2870"/>
                </a:lnTo>
                <a:lnTo>
                  <a:pt x="3946" y="2868"/>
                </a:lnTo>
                <a:lnTo>
                  <a:pt x="3952" y="2866"/>
                </a:lnTo>
                <a:lnTo>
                  <a:pt x="3952" y="2864"/>
                </a:lnTo>
                <a:lnTo>
                  <a:pt x="3952" y="2860"/>
                </a:lnTo>
                <a:lnTo>
                  <a:pt x="3948" y="2846"/>
                </a:lnTo>
                <a:lnTo>
                  <a:pt x="3946" y="2844"/>
                </a:lnTo>
                <a:lnTo>
                  <a:pt x="3942" y="2842"/>
                </a:lnTo>
                <a:lnTo>
                  <a:pt x="3940" y="2844"/>
                </a:lnTo>
                <a:lnTo>
                  <a:pt x="3942" y="2846"/>
                </a:lnTo>
                <a:lnTo>
                  <a:pt x="3946" y="2848"/>
                </a:lnTo>
                <a:lnTo>
                  <a:pt x="3948" y="2854"/>
                </a:lnTo>
                <a:lnTo>
                  <a:pt x="3946" y="2860"/>
                </a:lnTo>
                <a:lnTo>
                  <a:pt x="3940" y="2864"/>
                </a:lnTo>
                <a:lnTo>
                  <a:pt x="3936" y="2866"/>
                </a:lnTo>
                <a:lnTo>
                  <a:pt x="3934" y="2864"/>
                </a:lnTo>
                <a:lnTo>
                  <a:pt x="3930" y="2862"/>
                </a:lnTo>
                <a:lnTo>
                  <a:pt x="3928" y="2858"/>
                </a:lnTo>
                <a:lnTo>
                  <a:pt x="3926" y="2848"/>
                </a:lnTo>
                <a:lnTo>
                  <a:pt x="3924" y="2840"/>
                </a:lnTo>
                <a:lnTo>
                  <a:pt x="3920" y="2836"/>
                </a:lnTo>
                <a:lnTo>
                  <a:pt x="3914" y="2834"/>
                </a:lnTo>
                <a:lnTo>
                  <a:pt x="3910" y="2832"/>
                </a:lnTo>
                <a:lnTo>
                  <a:pt x="3910" y="2830"/>
                </a:lnTo>
                <a:lnTo>
                  <a:pt x="3918" y="2824"/>
                </a:lnTo>
                <a:lnTo>
                  <a:pt x="3926" y="2816"/>
                </a:lnTo>
                <a:lnTo>
                  <a:pt x="3926" y="2812"/>
                </a:lnTo>
                <a:lnTo>
                  <a:pt x="3924" y="2810"/>
                </a:lnTo>
                <a:lnTo>
                  <a:pt x="3922" y="2808"/>
                </a:lnTo>
                <a:lnTo>
                  <a:pt x="3920" y="2804"/>
                </a:lnTo>
                <a:lnTo>
                  <a:pt x="3922" y="2790"/>
                </a:lnTo>
                <a:lnTo>
                  <a:pt x="3928" y="2776"/>
                </a:lnTo>
                <a:lnTo>
                  <a:pt x="3936" y="2766"/>
                </a:lnTo>
                <a:lnTo>
                  <a:pt x="3940" y="2760"/>
                </a:lnTo>
                <a:lnTo>
                  <a:pt x="3940" y="2756"/>
                </a:lnTo>
                <a:lnTo>
                  <a:pt x="3940" y="2752"/>
                </a:lnTo>
                <a:lnTo>
                  <a:pt x="3942" y="2748"/>
                </a:lnTo>
                <a:lnTo>
                  <a:pt x="3944" y="2748"/>
                </a:lnTo>
                <a:lnTo>
                  <a:pt x="3946" y="2748"/>
                </a:lnTo>
                <a:lnTo>
                  <a:pt x="3948" y="2750"/>
                </a:lnTo>
                <a:lnTo>
                  <a:pt x="3952" y="2752"/>
                </a:lnTo>
                <a:lnTo>
                  <a:pt x="3954" y="2752"/>
                </a:lnTo>
                <a:lnTo>
                  <a:pt x="3960" y="2750"/>
                </a:lnTo>
                <a:lnTo>
                  <a:pt x="3966" y="2746"/>
                </a:lnTo>
                <a:lnTo>
                  <a:pt x="3970" y="2742"/>
                </a:lnTo>
                <a:lnTo>
                  <a:pt x="3974" y="2740"/>
                </a:lnTo>
                <a:lnTo>
                  <a:pt x="3978" y="2738"/>
                </a:lnTo>
                <a:lnTo>
                  <a:pt x="3982" y="2738"/>
                </a:lnTo>
                <a:lnTo>
                  <a:pt x="3986" y="2734"/>
                </a:lnTo>
                <a:lnTo>
                  <a:pt x="3988" y="2726"/>
                </a:lnTo>
                <a:lnTo>
                  <a:pt x="3992" y="2718"/>
                </a:lnTo>
                <a:lnTo>
                  <a:pt x="3996" y="2716"/>
                </a:lnTo>
                <a:lnTo>
                  <a:pt x="4000" y="2718"/>
                </a:lnTo>
                <a:lnTo>
                  <a:pt x="4008" y="2720"/>
                </a:lnTo>
                <a:lnTo>
                  <a:pt x="4010" y="2720"/>
                </a:lnTo>
                <a:lnTo>
                  <a:pt x="4012" y="2716"/>
                </a:lnTo>
                <a:lnTo>
                  <a:pt x="4016" y="2712"/>
                </a:lnTo>
                <a:lnTo>
                  <a:pt x="4022" y="2712"/>
                </a:lnTo>
                <a:lnTo>
                  <a:pt x="4026" y="2714"/>
                </a:lnTo>
                <a:lnTo>
                  <a:pt x="4028" y="2714"/>
                </a:lnTo>
                <a:lnTo>
                  <a:pt x="4036" y="2712"/>
                </a:lnTo>
                <a:lnTo>
                  <a:pt x="4044" y="2706"/>
                </a:lnTo>
                <a:lnTo>
                  <a:pt x="4054" y="2704"/>
                </a:lnTo>
                <a:lnTo>
                  <a:pt x="4060" y="2702"/>
                </a:lnTo>
                <a:lnTo>
                  <a:pt x="4066" y="2696"/>
                </a:lnTo>
                <a:lnTo>
                  <a:pt x="4070" y="2690"/>
                </a:lnTo>
                <a:lnTo>
                  <a:pt x="4070" y="2688"/>
                </a:lnTo>
                <a:lnTo>
                  <a:pt x="4068" y="2686"/>
                </a:lnTo>
                <a:lnTo>
                  <a:pt x="4066" y="2682"/>
                </a:lnTo>
                <a:lnTo>
                  <a:pt x="4064" y="2676"/>
                </a:lnTo>
                <a:lnTo>
                  <a:pt x="4062" y="2674"/>
                </a:lnTo>
                <a:lnTo>
                  <a:pt x="4054" y="2670"/>
                </a:lnTo>
                <a:lnTo>
                  <a:pt x="4052" y="2666"/>
                </a:lnTo>
                <a:lnTo>
                  <a:pt x="4050" y="2658"/>
                </a:lnTo>
                <a:lnTo>
                  <a:pt x="4052" y="2642"/>
                </a:lnTo>
                <a:lnTo>
                  <a:pt x="4054" y="2644"/>
                </a:lnTo>
                <a:lnTo>
                  <a:pt x="4054" y="2648"/>
                </a:lnTo>
                <a:lnTo>
                  <a:pt x="4054" y="2656"/>
                </a:lnTo>
                <a:lnTo>
                  <a:pt x="4054" y="2660"/>
                </a:lnTo>
                <a:lnTo>
                  <a:pt x="4056" y="2664"/>
                </a:lnTo>
                <a:lnTo>
                  <a:pt x="4060" y="2666"/>
                </a:lnTo>
                <a:lnTo>
                  <a:pt x="4066" y="2670"/>
                </a:lnTo>
                <a:lnTo>
                  <a:pt x="4078" y="2672"/>
                </a:lnTo>
                <a:lnTo>
                  <a:pt x="4088" y="2674"/>
                </a:lnTo>
                <a:lnTo>
                  <a:pt x="4096" y="2674"/>
                </a:lnTo>
                <a:lnTo>
                  <a:pt x="4106" y="2672"/>
                </a:lnTo>
                <a:lnTo>
                  <a:pt x="4124" y="2664"/>
                </a:lnTo>
                <a:lnTo>
                  <a:pt x="4144" y="2652"/>
                </a:lnTo>
                <a:lnTo>
                  <a:pt x="4152" y="2648"/>
                </a:lnTo>
                <a:lnTo>
                  <a:pt x="4156" y="2648"/>
                </a:lnTo>
                <a:lnTo>
                  <a:pt x="4158" y="2648"/>
                </a:lnTo>
                <a:lnTo>
                  <a:pt x="4158" y="2650"/>
                </a:lnTo>
                <a:lnTo>
                  <a:pt x="4160" y="2654"/>
                </a:lnTo>
                <a:lnTo>
                  <a:pt x="4164" y="2656"/>
                </a:lnTo>
                <a:lnTo>
                  <a:pt x="4174" y="2658"/>
                </a:lnTo>
                <a:lnTo>
                  <a:pt x="4190" y="2656"/>
                </a:lnTo>
                <a:lnTo>
                  <a:pt x="4204" y="2654"/>
                </a:lnTo>
                <a:lnTo>
                  <a:pt x="4194" y="2660"/>
                </a:lnTo>
                <a:lnTo>
                  <a:pt x="4172" y="2668"/>
                </a:lnTo>
                <a:lnTo>
                  <a:pt x="4148" y="2678"/>
                </a:lnTo>
                <a:lnTo>
                  <a:pt x="4136" y="2686"/>
                </a:lnTo>
                <a:lnTo>
                  <a:pt x="4126" y="2692"/>
                </a:lnTo>
                <a:lnTo>
                  <a:pt x="4118" y="2700"/>
                </a:lnTo>
                <a:lnTo>
                  <a:pt x="4110" y="2710"/>
                </a:lnTo>
                <a:lnTo>
                  <a:pt x="4106" y="2720"/>
                </a:lnTo>
                <a:lnTo>
                  <a:pt x="4104" y="2730"/>
                </a:lnTo>
                <a:lnTo>
                  <a:pt x="4106" y="2740"/>
                </a:lnTo>
                <a:lnTo>
                  <a:pt x="4110" y="2752"/>
                </a:lnTo>
                <a:lnTo>
                  <a:pt x="4118" y="2762"/>
                </a:lnTo>
                <a:lnTo>
                  <a:pt x="4124" y="2766"/>
                </a:lnTo>
                <a:lnTo>
                  <a:pt x="4132" y="2766"/>
                </a:lnTo>
                <a:lnTo>
                  <a:pt x="4138" y="2764"/>
                </a:lnTo>
                <a:lnTo>
                  <a:pt x="4146" y="2758"/>
                </a:lnTo>
                <a:lnTo>
                  <a:pt x="4156" y="2748"/>
                </a:lnTo>
                <a:lnTo>
                  <a:pt x="4174" y="2726"/>
                </a:lnTo>
                <a:lnTo>
                  <a:pt x="4182" y="2714"/>
                </a:lnTo>
                <a:lnTo>
                  <a:pt x="4190" y="2708"/>
                </a:lnTo>
                <a:lnTo>
                  <a:pt x="4196" y="2706"/>
                </a:lnTo>
                <a:lnTo>
                  <a:pt x="4202" y="2706"/>
                </a:lnTo>
                <a:lnTo>
                  <a:pt x="4208" y="2706"/>
                </a:lnTo>
                <a:lnTo>
                  <a:pt x="4216" y="2706"/>
                </a:lnTo>
                <a:lnTo>
                  <a:pt x="4226" y="2702"/>
                </a:lnTo>
                <a:lnTo>
                  <a:pt x="4238" y="2696"/>
                </a:lnTo>
                <a:lnTo>
                  <a:pt x="4252" y="2688"/>
                </a:lnTo>
                <a:lnTo>
                  <a:pt x="4266" y="2680"/>
                </a:lnTo>
                <a:lnTo>
                  <a:pt x="4292" y="2672"/>
                </a:lnTo>
                <a:lnTo>
                  <a:pt x="4300" y="2670"/>
                </a:lnTo>
                <a:lnTo>
                  <a:pt x="4306" y="2668"/>
                </a:lnTo>
                <a:lnTo>
                  <a:pt x="4308" y="2664"/>
                </a:lnTo>
                <a:lnTo>
                  <a:pt x="4306" y="2660"/>
                </a:lnTo>
                <a:lnTo>
                  <a:pt x="4286" y="2640"/>
                </a:lnTo>
                <a:lnTo>
                  <a:pt x="4280" y="2636"/>
                </a:lnTo>
                <a:lnTo>
                  <a:pt x="4276" y="2634"/>
                </a:lnTo>
                <a:lnTo>
                  <a:pt x="4270" y="2634"/>
                </a:lnTo>
                <a:lnTo>
                  <a:pt x="4264" y="2638"/>
                </a:lnTo>
                <a:lnTo>
                  <a:pt x="4258" y="2640"/>
                </a:lnTo>
                <a:lnTo>
                  <a:pt x="4248" y="2640"/>
                </a:lnTo>
                <a:lnTo>
                  <a:pt x="4236" y="2638"/>
                </a:lnTo>
                <a:lnTo>
                  <a:pt x="4224" y="2636"/>
                </a:lnTo>
                <a:lnTo>
                  <a:pt x="4212" y="2632"/>
                </a:lnTo>
                <a:lnTo>
                  <a:pt x="4204" y="2628"/>
                </a:lnTo>
                <a:lnTo>
                  <a:pt x="4198" y="2624"/>
                </a:lnTo>
                <a:lnTo>
                  <a:pt x="4196" y="2622"/>
                </a:lnTo>
                <a:lnTo>
                  <a:pt x="4198" y="2620"/>
                </a:lnTo>
                <a:lnTo>
                  <a:pt x="4198" y="2616"/>
                </a:lnTo>
                <a:lnTo>
                  <a:pt x="4196" y="2614"/>
                </a:lnTo>
                <a:lnTo>
                  <a:pt x="4186" y="2612"/>
                </a:lnTo>
                <a:lnTo>
                  <a:pt x="4180" y="2608"/>
                </a:lnTo>
                <a:lnTo>
                  <a:pt x="4172" y="2602"/>
                </a:lnTo>
                <a:lnTo>
                  <a:pt x="4166" y="2594"/>
                </a:lnTo>
                <a:lnTo>
                  <a:pt x="4160" y="2580"/>
                </a:lnTo>
                <a:lnTo>
                  <a:pt x="4156" y="2564"/>
                </a:lnTo>
                <a:lnTo>
                  <a:pt x="4156" y="2550"/>
                </a:lnTo>
                <a:lnTo>
                  <a:pt x="4158" y="2538"/>
                </a:lnTo>
                <a:lnTo>
                  <a:pt x="4162" y="2528"/>
                </a:lnTo>
                <a:lnTo>
                  <a:pt x="4162" y="2520"/>
                </a:lnTo>
                <a:lnTo>
                  <a:pt x="4162" y="2516"/>
                </a:lnTo>
                <a:lnTo>
                  <a:pt x="4158" y="2514"/>
                </a:lnTo>
                <a:lnTo>
                  <a:pt x="4148" y="2514"/>
                </a:lnTo>
                <a:lnTo>
                  <a:pt x="4134" y="2518"/>
                </a:lnTo>
                <a:lnTo>
                  <a:pt x="4126" y="2518"/>
                </a:lnTo>
                <a:lnTo>
                  <a:pt x="4124" y="2518"/>
                </a:lnTo>
                <a:lnTo>
                  <a:pt x="4126" y="2514"/>
                </a:lnTo>
                <a:lnTo>
                  <a:pt x="4142" y="2504"/>
                </a:lnTo>
                <a:lnTo>
                  <a:pt x="4164" y="2488"/>
                </a:lnTo>
                <a:lnTo>
                  <a:pt x="4180" y="2478"/>
                </a:lnTo>
                <a:lnTo>
                  <a:pt x="4184" y="2472"/>
                </a:lnTo>
                <a:lnTo>
                  <a:pt x="4184" y="2466"/>
                </a:lnTo>
                <a:lnTo>
                  <a:pt x="4184" y="2460"/>
                </a:lnTo>
                <a:lnTo>
                  <a:pt x="4180" y="2454"/>
                </a:lnTo>
                <a:lnTo>
                  <a:pt x="4174" y="2448"/>
                </a:lnTo>
                <a:lnTo>
                  <a:pt x="4166" y="2440"/>
                </a:lnTo>
                <a:lnTo>
                  <a:pt x="4160" y="2438"/>
                </a:lnTo>
                <a:lnTo>
                  <a:pt x="4152" y="2436"/>
                </a:lnTo>
                <a:lnTo>
                  <a:pt x="4142" y="2434"/>
                </a:lnTo>
                <a:lnTo>
                  <a:pt x="4130" y="2436"/>
                </a:lnTo>
                <a:lnTo>
                  <a:pt x="4104" y="2440"/>
                </a:lnTo>
                <a:lnTo>
                  <a:pt x="4074" y="2448"/>
                </a:lnTo>
                <a:lnTo>
                  <a:pt x="4046" y="2458"/>
                </a:lnTo>
                <a:lnTo>
                  <a:pt x="4018" y="2470"/>
                </a:lnTo>
                <a:lnTo>
                  <a:pt x="3996" y="2486"/>
                </a:lnTo>
                <a:lnTo>
                  <a:pt x="3988" y="2492"/>
                </a:lnTo>
                <a:lnTo>
                  <a:pt x="3982" y="2500"/>
                </a:lnTo>
                <a:lnTo>
                  <a:pt x="3964" y="2522"/>
                </a:lnTo>
                <a:lnTo>
                  <a:pt x="3948" y="2542"/>
                </a:lnTo>
                <a:lnTo>
                  <a:pt x="3934" y="2556"/>
                </a:lnTo>
                <a:lnTo>
                  <a:pt x="3922" y="2566"/>
                </a:lnTo>
                <a:lnTo>
                  <a:pt x="3914" y="2572"/>
                </a:lnTo>
                <a:lnTo>
                  <a:pt x="3908" y="2576"/>
                </a:lnTo>
                <a:lnTo>
                  <a:pt x="3908" y="2574"/>
                </a:lnTo>
                <a:lnTo>
                  <a:pt x="3914" y="2568"/>
                </a:lnTo>
                <a:lnTo>
                  <a:pt x="3926" y="2554"/>
                </a:lnTo>
                <a:lnTo>
                  <a:pt x="3936" y="2538"/>
                </a:lnTo>
                <a:lnTo>
                  <a:pt x="3964" y="2500"/>
                </a:lnTo>
                <a:lnTo>
                  <a:pt x="3978" y="2480"/>
                </a:lnTo>
                <a:lnTo>
                  <a:pt x="3994" y="2462"/>
                </a:lnTo>
                <a:lnTo>
                  <a:pt x="4012" y="2448"/>
                </a:lnTo>
                <a:lnTo>
                  <a:pt x="4020" y="2444"/>
                </a:lnTo>
                <a:lnTo>
                  <a:pt x="4030" y="2440"/>
                </a:lnTo>
                <a:lnTo>
                  <a:pt x="4042" y="2434"/>
                </a:lnTo>
                <a:lnTo>
                  <a:pt x="4050" y="2430"/>
                </a:lnTo>
                <a:lnTo>
                  <a:pt x="4056" y="2426"/>
                </a:lnTo>
                <a:lnTo>
                  <a:pt x="4060" y="2422"/>
                </a:lnTo>
                <a:lnTo>
                  <a:pt x="4066" y="2412"/>
                </a:lnTo>
                <a:lnTo>
                  <a:pt x="4068" y="2404"/>
                </a:lnTo>
                <a:lnTo>
                  <a:pt x="4072" y="2394"/>
                </a:lnTo>
                <a:lnTo>
                  <a:pt x="4076" y="2390"/>
                </a:lnTo>
                <a:lnTo>
                  <a:pt x="4082" y="2386"/>
                </a:lnTo>
                <a:lnTo>
                  <a:pt x="4092" y="2382"/>
                </a:lnTo>
                <a:lnTo>
                  <a:pt x="4102" y="2378"/>
                </a:lnTo>
                <a:lnTo>
                  <a:pt x="4136" y="2372"/>
                </a:lnTo>
                <a:lnTo>
                  <a:pt x="4160" y="2370"/>
                </a:lnTo>
                <a:lnTo>
                  <a:pt x="4182" y="2368"/>
                </a:lnTo>
                <a:lnTo>
                  <a:pt x="4202" y="2368"/>
                </a:lnTo>
                <a:lnTo>
                  <a:pt x="4220" y="2370"/>
                </a:lnTo>
                <a:lnTo>
                  <a:pt x="4252" y="2376"/>
                </a:lnTo>
                <a:lnTo>
                  <a:pt x="4280" y="2382"/>
                </a:lnTo>
                <a:lnTo>
                  <a:pt x="4304" y="2384"/>
                </a:lnTo>
                <a:lnTo>
                  <a:pt x="4316" y="2384"/>
                </a:lnTo>
                <a:lnTo>
                  <a:pt x="4330" y="2382"/>
                </a:lnTo>
                <a:lnTo>
                  <a:pt x="4342" y="2376"/>
                </a:lnTo>
                <a:lnTo>
                  <a:pt x="4356" y="2370"/>
                </a:lnTo>
                <a:lnTo>
                  <a:pt x="4370" y="2358"/>
                </a:lnTo>
                <a:lnTo>
                  <a:pt x="4386" y="2346"/>
                </a:lnTo>
                <a:lnTo>
                  <a:pt x="4414" y="2320"/>
                </a:lnTo>
                <a:lnTo>
                  <a:pt x="4434" y="2308"/>
                </a:lnTo>
                <a:lnTo>
                  <a:pt x="4448" y="2302"/>
                </a:lnTo>
                <a:lnTo>
                  <a:pt x="4458" y="2302"/>
                </a:lnTo>
                <a:lnTo>
                  <a:pt x="4470" y="2306"/>
                </a:lnTo>
                <a:lnTo>
                  <a:pt x="4476" y="2306"/>
                </a:lnTo>
                <a:lnTo>
                  <a:pt x="4484" y="2298"/>
                </a:lnTo>
                <a:lnTo>
                  <a:pt x="4492" y="2288"/>
                </a:lnTo>
                <a:lnTo>
                  <a:pt x="4502" y="2280"/>
                </a:lnTo>
                <a:lnTo>
                  <a:pt x="4518" y="2268"/>
                </a:lnTo>
                <a:lnTo>
                  <a:pt x="4524" y="2262"/>
                </a:lnTo>
                <a:lnTo>
                  <a:pt x="4528" y="2256"/>
                </a:lnTo>
                <a:lnTo>
                  <a:pt x="4528" y="2246"/>
                </a:lnTo>
                <a:lnTo>
                  <a:pt x="4522" y="2234"/>
                </a:lnTo>
                <a:lnTo>
                  <a:pt x="4518" y="2224"/>
                </a:lnTo>
                <a:lnTo>
                  <a:pt x="4518" y="2216"/>
                </a:lnTo>
                <a:lnTo>
                  <a:pt x="4520" y="2212"/>
                </a:lnTo>
                <a:lnTo>
                  <a:pt x="4522" y="2210"/>
                </a:lnTo>
                <a:lnTo>
                  <a:pt x="4524" y="2208"/>
                </a:lnTo>
                <a:lnTo>
                  <a:pt x="4526" y="2204"/>
                </a:lnTo>
                <a:lnTo>
                  <a:pt x="4526" y="2198"/>
                </a:lnTo>
                <a:lnTo>
                  <a:pt x="4522" y="2188"/>
                </a:lnTo>
                <a:lnTo>
                  <a:pt x="4516" y="2178"/>
                </a:lnTo>
                <a:lnTo>
                  <a:pt x="4510" y="2172"/>
                </a:lnTo>
                <a:lnTo>
                  <a:pt x="4502" y="2170"/>
                </a:lnTo>
                <a:lnTo>
                  <a:pt x="4496" y="2170"/>
                </a:lnTo>
                <a:lnTo>
                  <a:pt x="4488" y="2170"/>
                </a:lnTo>
                <a:lnTo>
                  <a:pt x="4480" y="2168"/>
                </a:lnTo>
                <a:lnTo>
                  <a:pt x="4472" y="2162"/>
                </a:lnTo>
                <a:lnTo>
                  <a:pt x="4464" y="2154"/>
                </a:lnTo>
                <a:lnTo>
                  <a:pt x="4454" y="2144"/>
                </a:lnTo>
                <a:lnTo>
                  <a:pt x="4446" y="2138"/>
                </a:lnTo>
                <a:lnTo>
                  <a:pt x="4436" y="2136"/>
                </a:lnTo>
                <a:lnTo>
                  <a:pt x="4428" y="2140"/>
                </a:lnTo>
                <a:lnTo>
                  <a:pt x="4418" y="2144"/>
                </a:lnTo>
                <a:lnTo>
                  <a:pt x="4406" y="2152"/>
                </a:lnTo>
                <a:lnTo>
                  <a:pt x="4378" y="2172"/>
                </a:lnTo>
                <a:lnTo>
                  <a:pt x="4364" y="2182"/>
                </a:lnTo>
                <a:lnTo>
                  <a:pt x="4352" y="2186"/>
                </a:lnTo>
                <a:lnTo>
                  <a:pt x="4346" y="2184"/>
                </a:lnTo>
                <a:lnTo>
                  <a:pt x="4342" y="2182"/>
                </a:lnTo>
                <a:lnTo>
                  <a:pt x="4342" y="2176"/>
                </a:lnTo>
                <a:lnTo>
                  <a:pt x="4346" y="2170"/>
                </a:lnTo>
                <a:lnTo>
                  <a:pt x="4354" y="2164"/>
                </a:lnTo>
                <a:lnTo>
                  <a:pt x="4366" y="2160"/>
                </a:lnTo>
                <a:lnTo>
                  <a:pt x="4378" y="2156"/>
                </a:lnTo>
                <a:lnTo>
                  <a:pt x="4386" y="2152"/>
                </a:lnTo>
                <a:lnTo>
                  <a:pt x="4400" y="2144"/>
                </a:lnTo>
                <a:lnTo>
                  <a:pt x="4416" y="2136"/>
                </a:lnTo>
                <a:lnTo>
                  <a:pt x="4424" y="2132"/>
                </a:lnTo>
                <a:lnTo>
                  <a:pt x="4438" y="2128"/>
                </a:lnTo>
                <a:lnTo>
                  <a:pt x="4450" y="2126"/>
                </a:lnTo>
                <a:lnTo>
                  <a:pt x="4456" y="2122"/>
                </a:lnTo>
                <a:lnTo>
                  <a:pt x="4458" y="2118"/>
                </a:lnTo>
                <a:lnTo>
                  <a:pt x="4456" y="2114"/>
                </a:lnTo>
                <a:lnTo>
                  <a:pt x="4452" y="2108"/>
                </a:lnTo>
                <a:lnTo>
                  <a:pt x="4442" y="2104"/>
                </a:lnTo>
                <a:lnTo>
                  <a:pt x="4432" y="2102"/>
                </a:lnTo>
                <a:lnTo>
                  <a:pt x="4418" y="2098"/>
                </a:lnTo>
                <a:lnTo>
                  <a:pt x="4408" y="2096"/>
                </a:lnTo>
                <a:lnTo>
                  <a:pt x="4400" y="2094"/>
                </a:lnTo>
                <a:lnTo>
                  <a:pt x="4398" y="2090"/>
                </a:lnTo>
                <a:lnTo>
                  <a:pt x="4396" y="2086"/>
                </a:lnTo>
                <a:lnTo>
                  <a:pt x="4392" y="2082"/>
                </a:lnTo>
                <a:lnTo>
                  <a:pt x="4388" y="2078"/>
                </a:lnTo>
                <a:lnTo>
                  <a:pt x="4380" y="2074"/>
                </a:lnTo>
                <a:lnTo>
                  <a:pt x="4364" y="2072"/>
                </a:lnTo>
                <a:lnTo>
                  <a:pt x="4350" y="2068"/>
                </a:lnTo>
                <a:lnTo>
                  <a:pt x="4342" y="2066"/>
                </a:lnTo>
                <a:lnTo>
                  <a:pt x="4340" y="2062"/>
                </a:lnTo>
                <a:lnTo>
                  <a:pt x="4340" y="2056"/>
                </a:lnTo>
                <a:lnTo>
                  <a:pt x="4340" y="2052"/>
                </a:lnTo>
                <a:lnTo>
                  <a:pt x="4338" y="2046"/>
                </a:lnTo>
                <a:lnTo>
                  <a:pt x="4334" y="2040"/>
                </a:lnTo>
                <a:lnTo>
                  <a:pt x="4326" y="2036"/>
                </a:lnTo>
                <a:lnTo>
                  <a:pt x="4314" y="2030"/>
                </a:lnTo>
                <a:lnTo>
                  <a:pt x="4304" y="2024"/>
                </a:lnTo>
                <a:lnTo>
                  <a:pt x="4296" y="2018"/>
                </a:lnTo>
                <a:lnTo>
                  <a:pt x="4290" y="2010"/>
                </a:lnTo>
                <a:lnTo>
                  <a:pt x="4288" y="2002"/>
                </a:lnTo>
                <a:lnTo>
                  <a:pt x="4286" y="1992"/>
                </a:lnTo>
                <a:lnTo>
                  <a:pt x="4290" y="1982"/>
                </a:lnTo>
                <a:lnTo>
                  <a:pt x="4294" y="1970"/>
                </a:lnTo>
                <a:lnTo>
                  <a:pt x="4298" y="1964"/>
                </a:lnTo>
                <a:lnTo>
                  <a:pt x="4298" y="1958"/>
                </a:lnTo>
                <a:lnTo>
                  <a:pt x="4298" y="1954"/>
                </a:lnTo>
                <a:lnTo>
                  <a:pt x="4296" y="1952"/>
                </a:lnTo>
                <a:lnTo>
                  <a:pt x="4290" y="1946"/>
                </a:lnTo>
                <a:lnTo>
                  <a:pt x="4282" y="1944"/>
                </a:lnTo>
                <a:lnTo>
                  <a:pt x="4274" y="1942"/>
                </a:lnTo>
                <a:lnTo>
                  <a:pt x="4268" y="1938"/>
                </a:lnTo>
                <a:lnTo>
                  <a:pt x="4266" y="1936"/>
                </a:lnTo>
                <a:lnTo>
                  <a:pt x="4266" y="1932"/>
                </a:lnTo>
                <a:lnTo>
                  <a:pt x="4268" y="1930"/>
                </a:lnTo>
                <a:lnTo>
                  <a:pt x="4270" y="1924"/>
                </a:lnTo>
                <a:lnTo>
                  <a:pt x="4274" y="1916"/>
                </a:lnTo>
                <a:lnTo>
                  <a:pt x="4274" y="1910"/>
                </a:lnTo>
                <a:lnTo>
                  <a:pt x="4270" y="1904"/>
                </a:lnTo>
                <a:lnTo>
                  <a:pt x="4266" y="1900"/>
                </a:lnTo>
                <a:lnTo>
                  <a:pt x="4258" y="1894"/>
                </a:lnTo>
                <a:lnTo>
                  <a:pt x="4252" y="1888"/>
                </a:lnTo>
                <a:lnTo>
                  <a:pt x="4248" y="1878"/>
                </a:lnTo>
                <a:lnTo>
                  <a:pt x="4244" y="1868"/>
                </a:lnTo>
                <a:lnTo>
                  <a:pt x="4240" y="1850"/>
                </a:lnTo>
                <a:lnTo>
                  <a:pt x="4238" y="1846"/>
                </a:lnTo>
                <a:lnTo>
                  <a:pt x="4236" y="1846"/>
                </a:lnTo>
                <a:lnTo>
                  <a:pt x="4230" y="1842"/>
                </a:lnTo>
                <a:lnTo>
                  <a:pt x="4228" y="1838"/>
                </a:lnTo>
                <a:lnTo>
                  <a:pt x="4226" y="1830"/>
                </a:lnTo>
                <a:lnTo>
                  <a:pt x="4222" y="1822"/>
                </a:lnTo>
                <a:lnTo>
                  <a:pt x="4220" y="1818"/>
                </a:lnTo>
                <a:lnTo>
                  <a:pt x="4212" y="1810"/>
                </a:lnTo>
                <a:lnTo>
                  <a:pt x="4206" y="1806"/>
                </a:lnTo>
                <a:lnTo>
                  <a:pt x="4200" y="1800"/>
                </a:lnTo>
                <a:lnTo>
                  <a:pt x="4194" y="1792"/>
                </a:lnTo>
                <a:lnTo>
                  <a:pt x="4188" y="1778"/>
                </a:lnTo>
                <a:lnTo>
                  <a:pt x="4180" y="1764"/>
                </a:lnTo>
                <a:lnTo>
                  <a:pt x="4174" y="1756"/>
                </a:lnTo>
                <a:lnTo>
                  <a:pt x="4168" y="1752"/>
                </a:lnTo>
                <a:lnTo>
                  <a:pt x="4164" y="1752"/>
                </a:lnTo>
                <a:lnTo>
                  <a:pt x="4158" y="1754"/>
                </a:lnTo>
                <a:lnTo>
                  <a:pt x="4154" y="1760"/>
                </a:lnTo>
                <a:lnTo>
                  <a:pt x="4140" y="1776"/>
                </a:lnTo>
                <a:lnTo>
                  <a:pt x="4132" y="1786"/>
                </a:lnTo>
                <a:lnTo>
                  <a:pt x="4128" y="1800"/>
                </a:lnTo>
                <a:lnTo>
                  <a:pt x="4124" y="1824"/>
                </a:lnTo>
                <a:lnTo>
                  <a:pt x="4122" y="1834"/>
                </a:lnTo>
                <a:lnTo>
                  <a:pt x="4116" y="1842"/>
                </a:lnTo>
                <a:lnTo>
                  <a:pt x="4114" y="1844"/>
                </a:lnTo>
                <a:lnTo>
                  <a:pt x="4110" y="1846"/>
                </a:lnTo>
                <a:lnTo>
                  <a:pt x="4106" y="1846"/>
                </a:lnTo>
                <a:lnTo>
                  <a:pt x="4100" y="1846"/>
                </a:lnTo>
                <a:lnTo>
                  <a:pt x="4090" y="1844"/>
                </a:lnTo>
                <a:lnTo>
                  <a:pt x="4086" y="1844"/>
                </a:lnTo>
                <a:lnTo>
                  <a:pt x="4084" y="1846"/>
                </a:lnTo>
                <a:lnTo>
                  <a:pt x="4084" y="1852"/>
                </a:lnTo>
                <a:lnTo>
                  <a:pt x="4084" y="1856"/>
                </a:lnTo>
                <a:lnTo>
                  <a:pt x="4080" y="1862"/>
                </a:lnTo>
                <a:lnTo>
                  <a:pt x="4074" y="1868"/>
                </a:lnTo>
                <a:lnTo>
                  <a:pt x="4062" y="1874"/>
                </a:lnTo>
                <a:lnTo>
                  <a:pt x="4048" y="1876"/>
                </a:lnTo>
                <a:lnTo>
                  <a:pt x="4038" y="1874"/>
                </a:lnTo>
                <a:lnTo>
                  <a:pt x="4030" y="1868"/>
                </a:lnTo>
                <a:lnTo>
                  <a:pt x="4024" y="1862"/>
                </a:lnTo>
                <a:lnTo>
                  <a:pt x="4018" y="1854"/>
                </a:lnTo>
                <a:lnTo>
                  <a:pt x="4012" y="1846"/>
                </a:lnTo>
                <a:lnTo>
                  <a:pt x="4002" y="1842"/>
                </a:lnTo>
                <a:lnTo>
                  <a:pt x="3988" y="1840"/>
                </a:lnTo>
                <a:lnTo>
                  <a:pt x="3978" y="1840"/>
                </a:lnTo>
                <a:lnTo>
                  <a:pt x="3972" y="1838"/>
                </a:lnTo>
                <a:lnTo>
                  <a:pt x="3970" y="1836"/>
                </a:lnTo>
                <a:lnTo>
                  <a:pt x="3972" y="1832"/>
                </a:lnTo>
                <a:lnTo>
                  <a:pt x="3974" y="1828"/>
                </a:lnTo>
                <a:lnTo>
                  <a:pt x="3976" y="1824"/>
                </a:lnTo>
                <a:lnTo>
                  <a:pt x="3974" y="1818"/>
                </a:lnTo>
                <a:lnTo>
                  <a:pt x="3970" y="1814"/>
                </a:lnTo>
                <a:lnTo>
                  <a:pt x="3964" y="1810"/>
                </a:lnTo>
                <a:lnTo>
                  <a:pt x="3960" y="1806"/>
                </a:lnTo>
                <a:lnTo>
                  <a:pt x="3962" y="1802"/>
                </a:lnTo>
                <a:lnTo>
                  <a:pt x="3964" y="1798"/>
                </a:lnTo>
                <a:lnTo>
                  <a:pt x="3966" y="1794"/>
                </a:lnTo>
                <a:lnTo>
                  <a:pt x="3968" y="1790"/>
                </a:lnTo>
                <a:lnTo>
                  <a:pt x="3968" y="1782"/>
                </a:lnTo>
                <a:lnTo>
                  <a:pt x="3964" y="1774"/>
                </a:lnTo>
                <a:lnTo>
                  <a:pt x="3960" y="1764"/>
                </a:lnTo>
                <a:lnTo>
                  <a:pt x="3960" y="1752"/>
                </a:lnTo>
                <a:lnTo>
                  <a:pt x="3962" y="1742"/>
                </a:lnTo>
                <a:lnTo>
                  <a:pt x="3966" y="1732"/>
                </a:lnTo>
                <a:lnTo>
                  <a:pt x="3974" y="1716"/>
                </a:lnTo>
                <a:lnTo>
                  <a:pt x="3976" y="1708"/>
                </a:lnTo>
                <a:lnTo>
                  <a:pt x="3974" y="1702"/>
                </a:lnTo>
                <a:lnTo>
                  <a:pt x="3968" y="1698"/>
                </a:lnTo>
                <a:lnTo>
                  <a:pt x="3964" y="1698"/>
                </a:lnTo>
                <a:lnTo>
                  <a:pt x="3962" y="1700"/>
                </a:lnTo>
                <a:lnTo>
                  <a:pt x="3958" y="1702"/>
                </a:lnTo>
                <a:lnTo>
                  <a:pt x="3954" y="1710"/>
                </a:lnTo>
                <a:lnTo>
                  <a:pt x="3952" y="1712"/>
                </a:lnTo>
                <a:lnTo>
                  <a:pt x="3950" y="1708"/>
                </a:lnTo>
                <a:lnTo>
                  <a:pt x="3946" y="1704"/>
                </a:lnTo>
                <a:lnTo>
                  <a:pt x="3936" y="1702"/>
                </a:lnTo>
                <a:lnTo>
                  <a:pt x="3914" y="1696"/>
                </a:lnTo>
                <a:lnTo>
                  <a:pt x="3904" y="1692"/>
                </a:lnTo>
                <a:lnTo>
                  <a:pt x="3894" y="1688"/>
                </a:lnTo>
                <a:lnTo>
                  <a:pt x="3888" y="1682"/>
                </a:lnTo>
                <a:lnTo>
                  <a:pt x="3886" y="1680"/>
                </a:lnTo>
                <a:lnTo>
                  <a:pt x="3886" y="1676"/>
                </a:lnTo>
                <a:lnTo>
                  <a:pt x="3886" y="1668"/>
                </a:lnTo>
                <a:lnTo>
                  <a:pt x="3884" y="1662"/>
                </a:lnTo>
                <a:lnTo>
                  <a:pt x="3878" y="1656"/>
                </a:lnTo>
                <a:lnTo>
                  <a:pt x="3870" y="1650"/>
                </a:lnTo>
                <a:lnTo>
                  <a:pt x="3826" y="1620"/>
                </a:lnTo>
                <a:lnTo>
                  <a:pt x="3808" y="1608"/>
                </a:lnTo>
                <a:lnTo>
                  <a:pt x="3800" y="1606"/>
                </a:lnTo>
                <a:lnTo>
                  <a:pt x="3796" y="1606"/>
                </a:lnTo>
                <a:lnTo>
                  <a:pt x="3792" y="1608"/>
                </a:lnTo>
                <a:lnTo>
                  <a:pt x="3788" y="1610"/>
                </a:lnTo>
                <a:lnTo>
                  <a:pt x="3780" y="1616"/>
                </a:lnTo>
                <a:lnTo>
                  <a:pt x="3776" y="1620"/>
                </a:lnTo>
                <a:lnTo>
                  <a:pt x="3768" y="1622"/>
                </a:lnTo>
                <a:lnTo>
                  <a:pt x="3760" y="1624"/>
                </a:lnTo>
                <a:lnTo>
                  <a:pt x="3750" y="1624"/>
                </a:lnTo>
                <a:lnTo>
                  <a:pt x="3736" y="1624"/>
                </a:lnTo>
                <a:lnTo>
                  <a:pt x="3720" y="1620"/>
                </a:lnTo>
                <a:lnTo>
                  <a:pt x="3700" y="1614"/>
                </a:lnTo>
                <a:lnTo>
                  <a:pt x="3676" y="1604"/>
                </a:lnTo>
                <a:lnTo>
                  <a:pt x="3666" y="1600"/>
                </a:lnTo>
                <a:lnTo>
                  <a:pt x="3656" y="1600"/>
                </a:lnTo>
                <a:lnTo>
                  <a:pt x="3648" y="1600"/>
                </a:lnTo>
                <a:lnTo>
                  <a:pt x="3642" y="1600"/>
                </a:lnTo>
                <a:lnTo>
                  <a:pt x="3636" y="1604"/>
                </a:lnTo>
                <a:lnTo>
                  <a:pt x="3632" y="1606"/>
                </a:lnTo>
                <a:lnTo>
                  <a:pt x="3626" y="1616"/>
                </a:lnTo>
                <a:lnTo>
                  <a:pt x="3622" y="1628"/>
                </a:lnTo>
                <a:lnTo>
                  <a:pt x="3624" y="1640"/>
                </a:lnTo>
                <a:lnTo>
                  <a:pt x="3626" y="1652"/>
                </a:lnTo>
                <a:lnTo>
                  <a:pt x="3630" y="1658"/>
                </a:lnTo>
                <a:lnTo>
                  <a:pt x="3634" y="1664"/>
                </a:lnTo>
                <a:lnTo>
                  <a:pt x="3636" y="1672"/>
                </a:lnTo>
                <a:lnTo>
                  <a:pt x="3638" y="1678"/>
                </a:lnTo>
                <a:lnTo>
                  <a:pt x="3638" y="1686"/>
                </a:lnTo>
                <a:lnTo>
                  <a:pt x="3634" y="1700"/>
                </a:lnTo>
                <a:lnTo>
                  <a:pt x="3626" y="1712"/>
                </a:lnTo>
                <a:lnTo>
                  <a:pt x="3624" y="1716"/>
                </a:lnTo>
                <a:lnTo>
                  <a:pt x="3622" y="1718"/>
                </a:lnTo>
                <a:lnTo>
                  <a:pt x="3624" y="1722"/>
                </a:lnTo>
                <a:lnTo>
                  <a:pt x="3626" y="1724"/>
                </a:lnTo>
                <a:lnTo>
                  <a:pt x="3634" y="1734"/>
                </a:lnTo>
                <a:lnTo>
                  <a:pt x="3640" y="1742"/>
                </a:lnTo>
                <a:lnTo>
                  <a:pt x="3644" y="1752"/>
                </a:lnTo>
                <a:lnTo>
                  <a:pt x="3648" y="1764"/>
                </a:lnTo>
                <a:lnTo>
                  <a:pt x="3650" y="1772"/>
                </a:lnTo>
                <a:lnTo>
                  <a:pt x="3650" y="1778"/>
                </a:lnTo>
                <a:lnTo>
                  <a:pt x="3648" y="1784"/>
                </a:lnTo>
                <a:lnTo>
                  <a:pt x="3642" y="1794"/>
                </a:lnTo>
                <a:lnTo>
                  <a:pt x="3636" y="1808"/>
                </a:lnTo>
                <a:lnTo>
                  <a:pt x="3634" y="1816"/>
                </a:lnTo>
                <a:lnTo>
                  <a:pt x="3630" y="1822"/>
                </a:lnTo>
                <a:lnTo>
                  <a:pt x="3620" y="1828"/>
                </a:lnTo>
                <a:lnTo>
                  <a:pt x="3616" y="1830"/>
                </a:lnTo>
                <a:lnTo>
                  <a:pt x="3612" y="1834"/>
                </a:lnTo>
                <a:lnTo>
                  <a:pt x="3610" y="1840"/>
                </a:lnTo>
                <a:lnTo>
                  <a:pt x="3608" y="1850"/>
                </a:lnTo>
                <a:lnTo>
                  <a:pt x="3608" y="1854"/>
                </a:lnTo>
                <a:lnTo>
                  <a:pt x="3608" y="1858"/>
                </a:lnTo>
                <a:lnTo>
                  <a:pt x="3614" y="1866"/>
                </a:lnTo>
                <a:lnTo>
                  <a:pt x="3624" y="1872"/>
                </a:lnTo>
                <a:lnTo>
                  <a:pt x="3634" y="1880"/>
                </a:lnTo>
                <a:lnTo>
                  <a:pt x="3648" y="1890"/>
                </a:lnTo>
                <a:lnTo>
                  <a:pt x="3660" y="1902"/>
                </a:lnTo>
                <a:lnTo>
                  <a:pt x="3668" y="1912"/>
                </a:lnTo>
                <a:lnTo>
                  <a:pt x="3674" y="1922"/>
                </a:lnTo>
                <a:lnTo>
                  <a:pt x="3678" y="1934"/>
                </a:lnTo>
                <a:lnTo>
                  <a:pt x="3684" y="1950"/>
                </a:lnTo>
                <a:lnTo>
                  <a:pt x="3686" y="1964"/>
                </a:lnTo>
                <a:lnTo>
                  <a:pt x="3688" y="1978"/>
                </a:lnTo>
                <a:lnTo>
                  <a:pt x="3688" y="1992"/>
                </a:lnTo>
                <a:lnTo>
                  <a:pt x="3684" y="2004"/>
                </a:lnTo>
                <a:lnTo>
                  <a:pt x="3680" y="2016"/>
                </a:lnTo>
                <a:lnTo>
                  <a:pt x="3676" y="2028"/>
                </a:lnTo>
                <a:lnTo>
                  <a:pt x="3668" y="2038"/>
                </a:lnTo>
                <a:lnTo>
                  <a:pt x="3660" y="2048"/>
                </a:lnTo>
                <a:lnTo>
                  <a:pt x="3644" y="2064"/>
                </a:lnTo>
                <a:lnTo>
                  <a:pt x="3624" y="2078"/>
                </a:lnTo>
                <a:lnTo>
                  <a:pt x="3604" y="2090"/>
                </a:lnTo>
                <a:lnTo>
                  <a:pt x="3584" y="2098"/>
                </a:lnTo>
                <a:lnTo>
                  <a:pt x="3570" y="2104"/>
                </a:lnTo>
                <a:lnTo>
                  <a:pt x="3564" y="2110"/>
                </a:lnTo>
                <a:lnTo>
                  <a:pt x="3562" y="2114"/>
                </a:lnTo>
                <a:lnTo>
                  <a:pt x="3562" y="2116"/>
                </a:lnTo>
                <a:lnTo>
                  <a:pt x="3566" y="2122"/>
                </a:lnTo>
                <a:lnTo>
                  <a:pt x="3572" y="2130"/>
                </a:lnTo>
                <a:lnTo>
                  <a:pt x="3578" y="2140"/>
                </a:lnTo>
                <a:lnTo>
                  <a:pt x="3584" y="2152"/>
                </a:lnTo>
                <a:lnTo>
                  <a:pt x="3584" y="2160"/>
                </a:lnTo>
                <a:lnTo>
                  <a:pt x="3584" y="2168"/>
                </a:lnTo>
                <a:lnTo>
                  <a:pt x="3586" y="2184"/>
                </a:lnTo>
                <a:lnTo>
                  <a:pt x="3590" y="2198"/>
                </a:lnTo>
                <a:lnTo>
                  <a:pt x="3600" y="2228"/>
                </a:lnTo>
                <a:lnTo>
                  <a:pt x="3604" y="2242"/>
                </a:lnTo>
                <a:lnTo>
                  <a:pt x="3604" y="2254"/>
                </a:lnTo>
                <a:lnTo>
                  <a:pt x="3604" y="2264"/>
                </a:lnTo>
                <a:lnTo>
                  <a:pt x="3602" y="2266"/>
                </a:lnTo>
                <a:lnTo>
                  <a:pt x="3598" y="2270"/>
                </a:lnTo>
                <a:lnTo>
                  <a:pt x="3594" y="2272"/>
                </a:lnTo>
                <a:lnTo>
                  <a:pt x="3592" y="2276"/>
                </a:lnTo>
                <a:lnTo>
                  <a:pt x="3590" y="2282"/>
                </a:lnTo>
                <a:lnTo>
                  <a:pt x="3592" y="2290"/>
                </a:lnTo>
                <a:lnTo>
                  <a:pt x="3594" y="2298"/>
                </a:lnTo>
                <a:lnTo>
                  <a:pt x="3596" y="2302"/>
                </a:lnTo>
                <a:lnTo>
                  <a:pt x="3596" y="2304"/>
                </a:lnTo>
                <a:lnTo>
                  <a:pt x="3590" y="2304"/>
                </a:lnTo>
                <a:lnTo>
                  <a:pt x="3582" y="2298"/>
                </a:lnTo>
                <a:lnTo>
                  <a:pt x="3570" y="2294"/>
                </a:lnTo>
                <a:lnTo>
                  <a:pt x="3568" y="2294"/>
                </a:lnTo>
                <a:lnTo>
                  <a:pt x="3566" y="2296"/>
                </a:lnTo>
                <a:lnTo>
                  <a:pt x="3564" y="2302"/>
                </a:lnTo>
                <a:lnTo>
                  <a:pt x="3562" y="2308"/>
                </a:lnTo>
                <a:lnTo>
                  <a:pt x="3562" y="2316"/>
                </a:lnTo>
                <a:lnTo>
                  <a:pt x="3560" y="2322"/>
                </a:lnTo>
                <a:lnTo>
                  <a:pt x="3558" y="2322"/>
                </a:lnTo>
                <a:lnTo>
                  <a:pt x="3554" y="2324"/>
                </a:lnTo>
                <a:lnTo>
                  <a:pt x="3546" y="2318"/>
                </a:lnTo>
                <a:lnTo>
                  <a:pt x="3536" y="2312"/>
                </a:lnTo>
                <a:lnTo>
                  <a:pt x="3530" y="2306"/>
                </a:lnTo>
                <a:lnTo>
                  <a:pt x="3522" y="2292"/>
                </a:lnTo>
                <a:lnTo>
                  <a:pt x="3516" y="2282"/>
                </a:lnTo>
                <a:lnTo>
                  <a:pt x="3508" y="2270"/>
                </a:lnTo>
                <a:lnTo>
                  <a:pt x="3494" y="2256"/>
                </a:lnTo>
                <a:lnTo>
                  <a:pt x="3474" y="2238"/>
                </a:lnTo>
                <a:lnTo>
                  <a:pt x="3464" y="2226"/>
                </a:lnTo>
                <a:lnTo>
                  <a:pt x="3458" y="2216"/>
                </a:lnTo>
                <a:lnTo>
                  <a:pt x="3456" y="2204"/>
                </a:lnTo>
                <a:lnTo>
                  <a:pt x="3456" y="2194"/>
                </a:lnTo>
                <a:lnTo>
                  <a:pt x="3458" y="2172"/>
                </a:lnTo>
                <a:lnTo>
                  <a:pt x="3456" y="2160"/>
                </a:lnTo>
                <a:lnTo>
                  <a:pt x="3454" y="2148"/>
                </a:lnTo>
                <a:lnTo>
                  <a:pt x="3450" y="2134"/>
                </a:lnTo>
                <a:lnTo>
                  <a:pt x="3452" y="2122"/>
                </a:lnTo>
                <a:lnTo>
                  <a:pt x="3454" y="2110"/>
                </a:lnTo>
                <a:lnTo>
                  <a:pt x="3456" y="2102"/>
                </a:lnTo>
                <a:lnTo>
                  <a:pt x="3458" y="2094"/>
                </a:lnTo>
                <a:lnTo>
                  <a:pt x="3456" y="2088"/>
                </a:lnTo>
                <a:lnTo>
                  <a:pt x="3452" y="2082"/>
                </a:lnTo>
                <a:lnTo>
                  <a:pt x="3440" y="2078"/>
                </a:lnTo>
                <a:lnTo>
                  <a:pt x="3414" y="2072"/>
                </a:lnTo>
                <a:lnTo>
                  <a:pt x="3394" y="2070"/>
                </a:lnTo>
                <a:lnTo>
                  <a:pt x="3378" y="2070"/>
                </a:lnTo>
                <a:lnTo>
                  <a:pt x="3368" y="2070"/>
                </a:lnTo>
                <a:lnTo>
                  <a:pt x="3354" y="2072"/>
                </a:lnTo>
                <a:lnTo>
                  <a:pt x="3348" y="2072"/>
                </a:lnTo>
                <a:lnTo>
                  <a:pt x="3340" y="2070"/>
                </a:lnTo>
                <a:lnTo>
                  <a:pt x="3334" y="2068"/>
                </a:lnTo>
                <a:lnTo>
                  <a:pt x="3330" y="2064"/>
                </a:lnTo>
                <a:lnTo>
                  <a:pt x="3322" y="2054"/>
                </a:lnTo>
                <a:lnTo>
                  <a:pt x="3316" y="2050"/>
                </a:lnTo>
                <a:lnTo>
                  <a:pt x="3306" y="2044"/>
                </a:lnTo>
                <a:lnTo>
                  <a:pt x="3290" y="2038"/>
                </a:lnTo>
                <a:lnTo>
                  <a:pt x="3268" y="2030"/>
                </a:lnTo>
                <a:lnTo>
                  <a:pt x="3248" y="2024"/>
                </a:lnTo>
                <a:lnTo>
                  <a:pt x="3236" y="2018"/>
                </a:lnTo>
                <a:lnTo>
                  <a:pt x="3232" y="2012"/>
                </a:lnTo>
                <a:lnTo>
                  <a:pt x="3230" y="2004"/>
                </a:lnTo>
                <a:lnTo>
                  <a:pt x="3226" y="1996"/>
                </a:lnTo>
                <a:lnTo>
                  <a:pt x="3216" y="1988"/>
                </a:lnTo>
                <a:lnTo>
                  <a:pt x="3198" y="1976"/>
                </a:lnTo>
                <a:lnTo>
                  <a:pt x="3166" y="1962"/>
                </a:lnTo>
                <a:lnTo>
                  <a:pt x="3146" y="1956"/>
                </a:lnTo>
                <a:lnTo>
                  <a:pt x="3130" y="1952"/>
                </a:lnTo>
                <a:lnTo>
                  <a:pt x="3114" y="1950"/>
                </a:lnTo>
                <a:lnTo>
                  <a:pt x="3102" y="1950"/>
                </a:lnTo>
                <a:lnTo>
                  <a:pt x="3090" y="1950"/>
                </a:lnTo>
                <a:lnTo>
                  <a:pt x="3080" y="1952"/>
                </a:lnTo>
                <a:lnTo>
                  <a:pt x="3064" y="1958"/>
                </a:lnTo>
                <a:lnTo>
                  <a:pt x="3052" y="1964"/>
                </a:lnTo>
                <a:lnTo>
                  <a:pt x="3046" y="1966"/>
                </a:lnTo>
                <a:lnTo>
                  <a:pt x="3044" y="1966"/>
                </a:lnTo>
                <a:lnTo>
                  <a:pt x="3042" y="1962"/>
                </a:lnTo>
                <a:lnTo>
                  <a:pt x="3040" y="1948"/>
                </a:lnTo>
                <a:lnTo>
                  <a:pt x="3040" y="1930"/>
                </a:lnTo>
                <a:lnTo>
                  <a:pt x="3038" y="1918"/>
                </a:lnTo>
                <a:lnTo>
                  <a:pt x="3032" y="1902"/>
                </a:lnTo>
                <a:lnTo>
                  <a:pt x="3026" y="1888"/>
                </a:lnTo>
                <a:lnTo>
                  <a:pt x="3024" y="1878"/>
                </a:lnTo>
                <a:lnTo>
                  <a:pt x="3020" y="1866"/>
                </a:lnTo>
                <a:lnTo>
                  <a:pt x="3020" y="1860"/>
                </a:lnTo>
                <a:lnTo>
                  <a:pt x="3016" y="1856"/>
                </a:lnTo>
                <a:lnTo>
                  <a:pt x="3012" y="1854"/>
                </a:lnTo>
                <a:lnTo>
                  <a:pt x="3008" y="1852"/>
                </a:lnTo>
                <a:lnTo>
                  <a:pt x="2998" y="1852"/>
                </a:lnTo>
                <a:lnTo>
                  <a:pt x="2986" y="1852"/>
                </a:lnTo>
                <a:lnTo>
                  <a:pt x="2974" y="1850"/>
                </a:lnTo>
                <a:lnTo>
                  <a:pt x="2968" y="1846"/>
                </a:lnTo>
                <a:lnTo>
                  <a:pt x="2964" y="1844"/>
                </a:lnTo>
                <a:lnTo>
                  <a:pt x="2958" y="1838"/>
                </a:lnTo>
                <a:lnTo>
                  <a:pt x="2954" y="1830"/>
                </a:lnTo>
                <a:lnTo>
                  <a:pt x="2952" y="1820"/>
                </a:lnTo>
                <a:lnTo>
                  <a:pt x="2948" y="1808"/>
                </a:lnTo>
                <a:lnTo>
                  <a:pt x="2948" y="1794"/>
                </a:lnTo>
                <a:lnTo>
                  <a:pt x="2950" y="1778"/>
                </a:lnTo>
                <a:lnTo>
                  <a:pt x="2952" y="1764"/>
                </a:lnTo>
                <a:lnTo>
                  <a:pt x="2956" y="1748"/>
                </a:lnTo>
                <a:lnTo>
                  <a:pt x="2968" y="1718"/>
                </a:lnTo>
                <a:lnTo>
                  <a:pt x="2982" y="1688"/>
                </a:lnTo>
                <a:lnTo>
                  <a:pt x="2998" y="1664"/>
                </a:lnTo>
                <a:lnTo>
                  <a:pt x="3014" y="1644"/>
                </a:lnTo>
                <a:lnTo>
                  <a:pt x="3026" y="1632"/>
                </a:lnTo>
                <a:lnTo>
                  <a:pt x="3032" y="1630"/>
                </a:lnTo>
                <a:lnTo>
                  <a:pt x="3034" y="1628"/>
                </a:lnTo>
                <a:lnTo>
                  <a:pt x="3040" y="1628"/>
                </a:lnTo>
                <a:lnTo>
                  <a:pt x="3042" y="1624"/>
                </a:lnTo>
                <a:lnTo>
                  <a:pt x="3046" y="1610"/>
                </a:lnTo>
                <a:lnTo>
                  <a:pt x="3048" y="1602"/>
                </a:lnTo>
                <a:lnTo>
                  <a:pt x="3052" y="1594"/>
                </a:lnTo>
                <a:lnTo>
                  <a:pt x="3060" y="1588"/>
                </a:lnTo>
                <a:lnTo>
                  <a:pt x="3072" y="1586"/>
                </a:lnTo>
                <a:lnTo>
                  <a:pt x="3096" y="1582"/>
                </a:lnTo>
                <a:lnTo>
                  <a:pt x="3108" y="1580"/>
                </a:lnTo>
                <a:lnTo>
                  <a:pt x="3116" y="1576"/>
                </a:lnTo>
                <a:lnTo>
                  <a:pt x="3120" y="1570"/>
                </a:lnTo>
                <a:lnTo>
                  <a:pt x="3122" y="1562"/>
                </a:lnTo>
                <a:lnTo>
                  <a:pt x="3116" y="1554"/>
                </a:lnTo>
                <a:lnTo>
                  <a:pt x="3106" y="1544"/>
                </a:lnTo>
                <a:lnTo>
                  <a:pt x="3098" y="1536"/>
                </a:lnTo>
                <a:lnTo>
                  <a:pt x="3098" y="1532"/>
                </a:lnTo>
                <a:lnTo>
                  <a:pt x="3104" y="1530"/>
                </a:lnTo>
                <a:lnTo>
                  <a:pt x="3114" y="1530"/>
                </a:lnTo>
                <a:lnTo>
                  <a:pt x="3124" y="1528"/>
                </a:lnTo>
                <a:lnTo>
                  <a:pt x="3136" y="1526"/>
                </a:lnTo>
                <a:lnTo>
                  <a:pt x="3142" y="1524"/>
                </a:lnTo>
                <a:lnTo>
                  <a:pt x="3146" y="1520"/>
                </a:lnTo>
                <a:lnTo>
                  <a:pt x="3148" y="1514"/>
                </a:lnTo>
                <a:lnTo>
                  <a:pt x="3150" y="1508"/>
                </a:lnTo>
                <a:lnTo>
                  <a:pt x="3152" y="1502"/>
                </a:lnTo>
                <a:lnTo>
                  <a:pt x="3154" y="1498"/>
                </a:lnTo>
                <a:lnTo>
                  <a:pt x="3156" y="1496"/>
                </a:lnTo>
                <a:lnTo>
                  <a:pt x="3160" y="1496"/>
                </a:lnTo>
                <a:lnTo>
                  <a:pt x="3168" y="1500"/>
                </a:lnTo>
                <a:lnTo>
                  <a:pt x="3176" y="1506"/>
                </a:lnTo>
                <a:lnTo>
                  <a:pt x="3188" y="1510"/>
                </a:lnTo>
                <a:lnTo>
                  <a:pt x="3194" y="1510"/>
                </a:lnTo>
                <a:lnTo>
                  <a:pt x="3200" y="1510"/>
                </a:lnTo>
                <a:lnTo>
                  <a:pt x="3206" y="1506"/>
                </a:lnTo>
                <a:lnTo>
                  <a:pt x="3214" y="1502"/>
                </a:lnTo>
                <a:lnTo>
                  <a:pt x="3222" y="1494"/>
                </a:lnTo>
                <a:lnTo>
                  <a:pt x="3228" y="1482"/>
                </a:lnTo>
                <a:lnTo>
                  <a:pt x="3242" y="1460"/>
                </a:lnTo>
                <a:lnTo>
                  <a:pt x="3252" y="1446"/>
                </a:lnTo>
                <a:lnTo>
                  <a:pt x="3258" y="1436"/>
                </a:lnTo>
                <a:lnTo>
                  <a:pt x="3260" y="1430"/>
                </a:lnTo>
                <a:lnTo>
                  <a:pt x="3258" y="1428"/>
                </a:lnTo>
                <a:lnTo>
                  <a:pt x="3256" y="1428"/>
                </a:lnTo>
                <a:lnTo>
                  <a:pt x="3246" y="1426"/>
                </a:lnTo>
                <a:lnTo>
                  <a:pt x="3228" y="1422"/>
                </a:lnTo>
                <a:lnTo>
                  <a:pt x="3204" y="1418"/>
                </a:lnTo>
                <a:lnTo>
                  <a:pt x="3188" y="1414"/>
                </a:lnTo>
                <a:lnTo>
                  <a:pt x="3176" y="1408"/>
                </a:lnTo>
                <a:lnTo>
                  <a:pt x="3170" y="1404"/>
                </a:lnTo>
                <a:lnTo>
                  <a:pt x="3164" y="1400"/>
                </a:lnTo>
                <a:lnTo>
                  <a:pt x="3154" y="1390"/>
                </a:lnTo>
                <a:lnTo>
                  <a:pt x="3146" y="1384"/>
                </a:lnTo>
                <a:lnTo>
                  <a:pt x="3132" y="1378"/>
                </a:lnTo>
                <a:lnTo>
                  <a:pt x="3140" y="1376"/>
                </a:lnTo>
                <a:lnTo>
                  <a:pt x="3150" y="1376"/>
                </a:lnTo>
                <a:lnTo>
                  <a:pt x="3158" y="1378"/>
                </a:lnTo>
                <a:lnTo>
                  <a:pt x="3168" y="1382"/>
                </a:lnTo>
                <a:lnTo>
                  <a:pt x="3186" y="1392"/>
                </a:lnTo>
                <a:lnTo>
                  <a:pt x="3204" y="1400"/>
                </a:lnTo>
                <a:lnTo>
                  <a:pt x="3220" y="1410"/>
                </a:lnTo>
                <a:lnTo>
                  <a:pt x="3230" y="1412"/>
                </a:lnTo>
                <a:lnTo>
                  <a:pt x="3238" y="1414"/>
                </a:lnTo>
                <a:lnTo>
                  <a:pt x="3246" y="1412"/>
                </a:lnTo>
                <a:lnTo>
                  <a:pt x="3256" y="1410"/>
                </a:lnTo>
                <a:lnTo>
                  <a:pt x="3264" y="1406"/>
                </a:lnTo>
                <a:lnTo>
                  <a:pt x="3272" y="1398"/>
                </a:lnTo>
                <a:lnTo>
                  <a:pt x="3296" y="1372"/>
                </a:lnTo>
                <a:lnTo>
                  <a:pt x="3302" y="1366"/>
                </a:lnTo>
                <a:lnTo>
                  <a:pt x="3304" y="1360"/>
                </a:lnTo>
                <a:lnTo>
                  <a:pt x="3304" y="1356"/>
                </a:lnTo>
                <a:lnTo>
                  <a:pt x="3300" y="1352"/>
                </a:lnTo>
                <a:lnTo>
                  <a:pt x="3280" y="1340"/>
                </a:lnTo>
                <a:lnTo>
                  <a:pt x="3270" y="1334"/>
                </a:lnTo>
                <a:lnTo>
                  <a:pt x="3270" y="1332"/>
                </a:lnTo>
                <a:lnTo>
                  <a:pt x="3270" y="1330"/>
                </a:lnTo>
                <a:lnTo>
                  <a:pt x="3278" y="1326"/>
                </a:lnTo>
                <a:lnTo>
                  <a:pt x="3290" y="1326"/>
                </a:lnTo>
                <a:lnTo>
                  <a:pt x="3302" y="1328"/>
                </a:lnTo>
                <a:lnTo>
                  <a:pt x="3316" y="1330"/>
                </a:lnTo>
                <a:lnTo>
                  <a:pt x="3328" y="1334"/>
                </a:lnTo>
                <a:lnTo>
                  <a:pt x="3336" y="1340"/>
                </a:lnTo>
                <a:lnTo>
                  <a:pt x="3346" y="1348"/>
                </a:lnTo>
                <a:lnTo>
                  <a:pt x="3356" y="1358"/>
                </a:lnTo>
                <a:lnTo>
                  <a:pt x="3366" y="1366"/>
                </a:lnTo>
                <a:lnTo>
                  <a:pt x="3374" y="1376"/>
                </a:lnTo>
                <a:lnTo>
                  <a:pt x="3382" y="1386"/>
                </a:lnTo>
                <a:lnTo>
                  <a:pt x="3388" y="1392"/>
                </a:lnTo>
                <a:lnTo>
                  <a:pt x="3398" y="1394"/>
                </a:lnTo>
                <a:lnTo>
                  <a:pt x="3410" y="1390"/>
                </a:lnTo>
                <a:lnTo>
                  <a:pt x="3412" y="1390"/>
                </a:lnTo>
                <a:lnTo>
                  <a:pt x="3414" y="1388"/>
                </a:lnTo>
                <a:lnTo>
                  <a:pt x="3412" y="1384"/>
                </a:lnTo>
                <a:lnTo>
                  <a:pt x="3400" y="1376"/>
                </a:lnTo>
                <a:lnTo>
                  <a:pt x="3392" y="1370"/>
                </a:lnTo>
                <a:lnTo>
                  <a:pt x="3386" y="1366"/>
                </a:lnTo>
                <a:lnTo>
                  <a:pt x="3386" y="1362"/>
                </a:lnTo>
                <a:lnTo>
                  <a:pt x="3386" y="1360"/>
                </a:lnTo>
                <a:lnTo>
                  <a:pt x="3386" y="1358"/>
                </a:lnTo>
                <a:lnTo>
                  <a:pt x="3390" y="1356"/>
                </a:lnTo>
                <a:lnTo>
                  <a:pt x="3398" y="1352"/>
                </a:lnTo>
                <a:lnTo>
                  <a:pt x="3404" y="1346"/>
                </a:lnTo>
                <a:lnTo>
                  <a:pt x="3416" y="1336"/>
                </a:lnTo>
                <a:lnTo>
                  <a:pt x="3426" y="1328"/>
                </a:lnTo>
                <a:lnTo>
                  <a:pt x="3432" y="1326"/>
                </a:lnTo>
                <a:lnTo>
                  <a:pt x="3438" y="1326"/>
                </a:lnTo>
                <a:lnTo>
                  <a:pt x="3446" y="1326"/>
                </a:lnTo>
                <a:lnTo>
                  <a:pt x="3450" y="1322"/>
                </a:lnTo>
                <a:lnTo>
                  <a:pt x="3456" y="1318"/>
                </a:lnTo>
                <a:lnTo>
                  <a:pt x="3460" y="1314"/>
                </a:lnTo>
                <a:lnTo>
                  <a:pt x="3468" y="1304"/>
                </a:lnTo>
                <a:lnTo>
                  <a:pt x="3474" y="1300"/>
                </a:lnTo>
                <a:lnTo>
                  <a:pt x="3480" y="1298"/>
                </a:lnTo>
                <a:lnTo>
                  <a:pt x="3486" y="1296"/>
                </a:lnTo>
                <a:lnTo>
                  <a:pt x="3490" y="1294"/>
                </a:lnTo>
                <a:lnTo>
                  <a:pt x="3492" y="1288"/>
                </a:lnTo>
                <a:lnTo>
                  <a:pt x="3494" y="1280"/>
                </a:lnTo>
                <a:lnTo>
                  <a:pt x="3494" y="1274"/>
                </a:lnTo>
                <a:lnTo>
                  <a:pt x="3490" y="1264"/>
                </a:lnTo>
                <a:lnTo>
                  <a:pt x="3482" y="1254"/>
                </a:lnTo>
                <a:lnTo>
                  <a:pt x="3472" y="1246"/>
                </a:lnTo>
                <a:lnTo>
                  <a:pt x="3464" y="1238"/>
                </a:lnTo>
                <a:lnTo>
                  <a:pt x="3460" y="1232"/>
                </a:lnTo>
                <a:lnTo>
                  <a:pt x="3460" y="1226"/>
                </a:lnTo>
                <a:lnTo>
                  <a:pt x="3462" y="1224"/>
                </a:lnTo>
                <a:lnTo>
                  <a:pt x="3466" y="1220"/>
                </a:lnTo>
                <a:lnTo>
                  <a:pt x="3466" y="1216"/>
                </a:lnTo>
                <a:lnTo>
                  <a:pt x="3464" y="1212"/>
                </a:lnTo>
                <a:lnTo>
                  <a:pt x="3458" y="1206"/>
                </a:lnTo>
                <a:lnTo>
                  <a:pt x="3452" y="1200"/>
                </a:lnTo>
                <a:lnTo>
                  <a:pt x="3452" y="1198"/>
                </a:lnTo>
                <a:lnTo>
                  <a:pt x="3454" y="1196"/>
                </a:lnTo>
                <a:lnTo>
                  <a:pt x="3458" y="1196"/>
                </a:lnTo>
                <a:lnTo>
                  <a:pt x="3466" y="1196"/>
                </a:lnTo>
                <a:lnTo>
                  <a:pt x="3476" y="1196"/>
                </a:lnTo>
                <a:lnTo>
                  <a:pt x="3484" y="1194"/>
                </a:lnTo>
                <a:lnTo>
                  <a:pt x="3492" y="1190"/>
                </a:lnTo>
                <a:lnTo>
                  <a:pt x="3496" y="1186"/>
                </a:lnTo>
                <a:lnTo>
                  <a:pt x="3496" y="1182"/>
                </a:lnTo>
                <a:lnTo>
                  <a:pt x="3498" y="1174"/>
                </a:lnTo>
                <a:lnTo>
                  <a:pt x="3496" y="1170"/>
                </a:lnTo>
                <a:lnTo>
                  <a:pt x="3492" y="1166"/>
                </a:lnTo>
                <a:lnTo>
                  <a:pt x="3490" y="1164"/>
                </a:lnTo>
                <a:lnTo>
                  <a:pt x="3486" y="1164"/>
                </a:lnTo>
                <a:lnTo>
                  <a:pt x="3484" y="1162"/>
                </a:lnTo>
                <a:lnTo>
                  <a:pt x="3486" y="1158"/>
                </a:lnTo>
                <a:lnTo>
                  <a:pt x="3490" y="1152"/>
                </a:lnTo>
                <a:lnTo>
                  <a:pt x="3494" y="1146"/>
                </a:lnTo>
                <a:lnTo>
                  <a:pt x="3492" y="1142"/>
                </a:lnTo>
                <a:lnTo>
                  <a:pt x="3488" y="1140"/>
                </a:lnTo>
                <a:lnTo>
                  <a:pt x="3480" y="1140"/>
                </a:lnTo>
                <a:lnTo>
                  <a:pt x="3472" y="1138"/>
                </a:lnTo>
                <a:lnTo>
                  <a:pt x="3466" y="1136"/>
                </a:lnTo>
                <a:lnTo>
                  <a:pt x="3458" y="1130"/>
                </a:lnTo>
                <a:lnTo>
                  <a:pt x="3456" y="1122"/>
                </a:lnTo>
                <a:lnTo>
                  <a:pt x="3452" y="1114"/>
                </a:lnTo>
                <a:lnTo>
                  <a:pt x="3446" y="1110"/>
                </a:lnTo>
                <a:lnTo>
                  <a:pt x="3438" y="1108"/>
                </a:lnTo>
                <a:lnTo>
                  <a:pt x="3428" y="1106"/>
                </a:lnTo>
                <a:lnTo>
                  <a:pt x="3406" y="1106"/>
                </a:lnTo>
                <a:lnTo>
                  <a:pt x="3392" y="1104"/>
                </a:lnTo>
                <a:lnTo>
                  <a:pt x="3378" y="1098"/>
                </a:lnTo>
                <a:lnTo>
                  <a:pt x="3362" y="1090"/>
                </a:lnTo>
                <a:lnTo>
                  <a:pt x="3358" y="1090"/>
                </a:lnTo>
                <a:lnTo>
                  <a:pt x="3354" y="1092"/>
                </a:lnTo>
                <a:lnTo>
                  <a:pt x="3348" y="1096"/>
                </a:lnTo>
                <a:lnTo>
                  <a:pt x="3344" y="1096"/>
                </a:lnTo>
                <a:lnTo>
                  <a:pt x="3334" y="1098"/>
                </a:lnTo>
                <a:lnTo>
                  <a:pt x="3326" y="1098"/>
                </a:lnTo>
                <a:lnTo>
                  <a:pt x="3320" y="1104"/>
                </a:lnTo>
                <a:lnTo>
                  <a:pt x="3318" y="1112"/>
                </a:lnTo>
                <a:lnTo>
                  <a:pt x="3318" y="1120"/>
                </a:lnTo>
                <a:lnTo>
                  <a:pt x="3322" y="1130"/>
                </a:lnTo>
                <a:lnTo>
                  <a:pt x="3326" y="1138"/>
                </a:lnTo>
                <a:lnTo>
                  <a:pt x="3332" y="1144"/>
                </a:lnTo>
                <a:lnTo>
                  <a:pt x="3338" y="1150"/>
                </a:lnTo>
                <a:lnTo>
                  <a:pt x="3344" y="1152"/>
                </a:lnTo>
                <a:lnTo>
                  <a:pt x="3346" y="1156"/>
                </a:lnTo>
                <a:lnTo>
                  <a:pt x="3346" y="1160"/>
                </a:lnTo>
                <a:lnTo>
                  <a:pt x="3346" y="1166"/>
                </a:lnTo>
                <a:lnTo>
                  <a:pt x="3342" y="1170"/>
                </a:lnTo>
                <a:lnTo>
                  <a:pt x="3338" y="1172"/>
                </a:lnTo>
                <a:lnTo>
                  <a:pt x="3334" y="1174"/>
                </a:lnTo>
                <a:lnTo>
                  <a:pt x="3328" y="1174"/>
                </a:lnTo>
                <a:lnTo>
                  <a:pt x="3322" y="1174"/>
                </a:lnTo>
                <a:lnTo>
                  <a:pt x="3320" y="1180"/>
                </a:lnTo>
                <a:lnTo>
                  <a:pt x="3320" y="1196"/>
                </a:lnTo>
                <a:lnTo>
                  <a:pt x="3318" y="1206"/>
                </a:lnTo>
                <a:lnTo>
                  <a:pt x="3316" y="1216"/>
                </a:lnTo>
                <a:lnTo>
                  <a:pt x="3310" y="1226"/>
                </a:lnTo>
                <a:lnTo>
                  <a:pt x="3302" y="1234"/>
                </a:lnTo>
                <a:lnTo>
                  <a:pt x="3292" y="1242"/>
                </a:lnTo>
                <a:lnTo>
                  <a:pt x="3286" y="1248"/>
                </a:lnTo>
                <a:lnTo>
                  <a:pt x="3284" y="1256"/>
                </a:lnTo>
                <a:lnTo>
                  <a:pt x="3282" y="1262"/>
                </a:lnTo>
                <a:lnTo>
                  <a:pt x="3282" y="1268"/>
                </a:lnTo>
                <a:lnTo>
                  <a:pt x="3278" y="1272"/>
                </a:lnTo>
                <a:lnTo>
                  <a:pt x="3274" y="1276"/>
                </a:lnTo>
                <a:lnTo>
                  <a:pt x="3264" y="1280"/>
                </a:lnTo>
                <a:lnTo>
                  <a:pt x="3250" y="1284"/>
                </a:lnTo>
                <a:lnTo>
                  <a:pt x="3246" y="1282"/>
                </a:lnTo>
                <a:lnTo>
                  <a:pt x="3244" y="1280"/>
                </a:lnTo>
                <a:lnTo>
                  <a:pt x="3238" y="1268"/>
                </a:lnTo>
                <a:lnTo>
                  <a:pt x="3232" y="1262"/>
                </a:lnTo>
                <a:lnTo>
                  <a:pt x="3222" y="1252"/>
                </a:lnTo>
                <a:lnTo>
                  <a:pt x="3214" y="1242"/>
                </a:lnTo>
                <a:lnTo>
                  <a:pt x="3212" y="1236"/>
                </a:lnTo>
                <a:lnTo>
                  <a:pt x="3212" y="1232"/>
                </a:lnTo>
                <a:lnTo>
                  <a:pt x="3216" y="1228"/>
                </a:lnTo>
                <a:lnTo>
                  <a:pt x="3228" y="1220"/>
                </a:lnTo>
                <a:lnTo>
                  <a:pt x="3232" y="1216"/>
                </a:lnTo>
                <a:lnTo>
                  <a:pt x="3234" y="1210"/>
                </a:lnTo>
                <a:lnTo>
                  <a:pt x="3232" y="1200"/>
                </a:lnTo>
                <a:lnTo>
                  <a:pt x="3228" y="1188"/>
                </a:lnTo>
                <a:lnTo>
                  <a:pt x="3220" y="1174"/>
                </a:lnTo>
                <a:lnTo>
                  <a:pt x="3212" y="1160"/>
                </a:lnTo>
                <a:lnTo>
                  <a:pt x="3200" y="1148"/>
                </a:lnTo>
                <a:lnTo>
                  <a:pt x="3190" y="1142"/>
                </a:lnTo>
                <a:lnTo>
                  <a:pt x="3184" y="1140"/>
                </a:lnTo>
                <a:lnTo>
                  <a:pt x="3178" y="1140"/>
                </a:lnTo>
                <a:lnTo>
                  <a:pt x="3172" y="1142"/>
                </a:lnTo>
                <a:lnTo>
                  <a:pt x="3168" y="1144"/>
                </a:lnTo>
                <a:lnTo>
                  <a:pt x="3160" y="1156"/>
                </a:lnTo>
                <a:lnTo>
                  <a:pt x="3154" y="1168"/>
                </a:lnTo>
                <a:lnTo>
                  <a:pt x="3148" y="1192"/>
                </a:lnTo>
                <a:lnTo>
                  <a:pt x="3146" y="1202"/>
                </a:lnTo>
                <a:lnTo>
                  <a:pt x="3142" y="1208"/>
                </a:lnTo>
                <a:lnTo>
                  <a:pt x="3140" y="1208"/>
                </a:lnTo>
                <a:lnTo>
                  <a:pt x="3138" y="1208"/>
                </a:lnTo>
                <a:lnTo>
                  <a:pt x="3130" y="1200"/>
                </a:lnTo>
                <a:lnTo>
                  <a:pt x="3124" y="1192"/>
                </a:lnTo>
                <a:lnTo>
                  <a:pt x="3122" y="1186"/>
                </a:lnTo>
                <a:lnTo>
                  <a:pt x="3122" y="1182"/>
                </a:lnTo>
                <a:lnTo>
                  <a:pt x="3126" y="1178"/>
                </a:lnTo>
                <a:lnTo>
                  <a:pt x="3128" y="1174"/>
                </a:lnTo>
                <a:lnTo>
                  <a:pt x="3128" y="1170"/>
                </a:lnTo>
                <a:lnTo>
                  <a:pt x="3126" y="1164"/>
                </a:lnTo>
                <a:lnTo>
                  <a:pt x="3118" y="1156"/>
                </a:lnTo>
                <a:lnTo>
                  <a:pt x="3112" y="1146"/>
                </a:lnTo>
                <a:lnTo>
                  <a:pt x="3110" y="1144"/>
                </a:lnTo>
                <a:lnTo>
                  <a:pt x="3112" y="1140"/>
                </a:lnTo>
                <a:lnTo>
                  <a:pt x="3116" y="1136"/>
                </a:lnTo>
                <a:lnTo>
                  <a:pt x="3120" y="1134"/>
                </a:lnTo>
                <a:lnTo>
                  <a:pt x="3126" y="1132"/>
                </a:lnTo>
                <a:lnTo>
                  <a:pt x="3128" y="1130"/>
                </a:lnTo>
                <a:lnTo>
                  <a:pt x="3126" y="1126"/>
                </a:lnTo>
                <a:lnTo>
                  <a:pt x="3116" y="1120"/>
                </a:lnTo>
                <a:lnTo>
                  <a:pt x="3104" y="1114"/>
                </a:lnTo>
                <a:lnTo>
                  <a:pt x="3094" y="1112"/>
                </a:lnTo>
                <a:lnTo>
                  <a:pt x="3088" y="1112"/>
                </a:lnTo>
                <a:lnTo>
                  <a:pt x="3082" y="1114"/>
                </a:lnTo>
                <a:lnTo>
                  <a:pt x="3076" y="1116"/>
                </a:lnTo>
                <a:lnTo>
                  <a:pt x="3072" y="1116"/>
                </a:lnTo>
                <a:lnTo>
                  <a:pt x="3064" y="1116"/>
                </a:lnTo>
                <a:lnTo>
                  <a:pt x="3054" y="1112"/>
                </a:lnTo>
                <a:lnTo>
                  <a:pt x="3050" y="1110"/>
                </a:lnTo>
                <a:lnTo>
                  <a:pt x="3048" y="1106"/>
                </a:lnTo>
                <a:lnTo>
                  <a:pt x="3048" y="1104"/>
                </a:lnTo>
                <a:lnTo>
                  <a:pt x="3048" y="1100"/>
                </a:lnTo>
                <a:lnTo>
                  <a:pt x="3054" y="1094"/>
                </a:lnTo>
                <a:lnTo>
                  <a:pt x="3062" y="1088"/>
                </a:lnTo>
                <a:lnTo>
                  <a:pt x="3078" y="1074"/>
                </a:lnTo>
                <a:lnTo>
                  <a:pt x="3080" y="1068"/>
                </a:lnTo>
                <a:lnTo>
                  <a:pt x="3080" y="1066"/>
                </a:lnTo>
                <a:lnTo>
                  <a:pt x="3078" y="1064"/>
                </a:lnTo>
                <a:lnTo>
                  <a:pt x="3064" y="1054"/>
                </a:lnTo>
                <a:lnTo>
                  <a:pt x="3046" y="1042"/>
                </a:lnTo>
                <a:lnTo>
                  <a:pt x="3038" y="1034"/>
                </a:lnTo>
                <a:lnTo>
                  <a:pt x="3032" y="1026"/>
                </a:lnTo>
                <a:lnTo>
                  <a:pt x="3028" y="1016"/>
                </a:lnTo>
                <a:lnTo>
                  <a:pt x="3028" y="1006"/>
                </a:lnTo>
                <a:lnTo>
                  <a:pt x="3028" y="1000"/>
                </a:lnTo>
                <a:lnTo>
                  <a:pt x="3026" y="994"/>
                </a:lnTo>
                <a:lnTo>
                  <a:pt x="3020" y="984"/>
                </a:lnTo>
                <a:lnTo>
                  <a:pt x="3010" y="972"/>
                </a:lnTo>
                <a:lnTo>
                  <a:pt x="3000" y="962"/>
                </a:lnTo>
                <a:lnTo>
                  <a:pt x="2986" y="954"/>
                </a:lnTo>
                <a:lnTo>
                  <a:pt x="2972" y="948"/>
                </a:lnTo>
                <a:lnTo>
                  <a:pt x="2960" y="942"/>
                </a:lnTo>
                <a:lnTo>
                  <a:pt x="2948" y="940"/>
                </a:lnTo>
                <a:lnTo>
                  <a:pt x="2940" y="940"/>
                </a:lnTo>
                <a:lnTo>
                  <a:pt x="2936" y="942"/>
                </a:lnTo>
                <a:lnTo>
                  <a:pt x="2934" y="944"/>
                </a:lnTo>
                <a:lnTo>
                  <a:pt x="2932" y="948"/>
                </a:lnTo>
                <a:lnTo>
                  <a:pt x="2932" y="952"/>
                </a:lnTo>
                <a:lnTo>
                  <a:pt x="2930" y="956"/>
                </a:lnTo>
                <a:lnTo>
                  <a:pt x="2924" y="960"/>
                </a:lnTo>
                <a:lnTo>
                  <a:pt x="2916" y="962"/>
                </a:lnTo>
                <a:lnTo>
                  <a:pt x="2908" y="964"/>
                </a:lnTo>
                <a:lnTo>
                  <a:pt x="2904" y="968"/>
                </a:lnTo>
                <a:lnTo>
                  <a:pt x="2902" y="970"/>
                </a:lnTo>
                <a:lnTo>
                  <a:pt x="2902" y="974"/>
                </a:lnTo>
                <a:lnTo>
                  <a:pt x="2902" y="978"/>
                </a:lnTo>
                <a:lnTo>
                  <a:pt x="2900" y="980"/>
                </a:lnTo>
                <a:lnTo>
                  <a:pt x="2896" y="986"/>
                </a:lnTo>
                <a:lnTo>
                  <a:pt x="2886" y="990"/>
                </a:lnTo>
                <a:lnTo>
                  <a:pt x="2878" y="994"/>
                </a:lnTo>
                <a:lnTo>
                  <a:pt x="2876" y="1002"/>
                </a:lnTo>
                <a:lnTo>
                  <a:pt x="2876" y="1010"/>
                </a:lnTo>
                <a:lnTo>
                  <a:pt x="2878" y="1018"/>
                </a:lnTo>
                <a:lnTo>
                  <a:pt x="2886" y="1036"/>
                </a:lnTo>
                <a:lnTo>
                  <a:pt x="2888" y="1046"/>
                </a:lnTo>
                <a:lnTo>
                  <a:pt x="2888" y="1052"/>
                </a:lnTo>
                <a:lnTo>
                  <a:pt x="2884" y="1068"/>
                </a:lnTo>
                <a:lnTo>
                  <a:pt x="2884" y="1074"/>
                </a:lnTo>
                <a:lnTo>
                  <a:pt x="2886" y="1082"/>
                </a:lnTo>
                <a:lnTo>
                  <a:pt x="2890" y="1088"/>
                </a:lnTo>
                <a:lnTo>
                  <a:pt x="2898" y="1096"/>
                </a:lnTo>
                <a:lnTo>
                  <a:pt x="2910" y="1102"/>
                </a:lnTo>
                <a:lnTo>
                  <a:pt x="2926" y="1106"/>
                </a:lnTo>
                <a:lnTo>
                  <a:pt x="2942" y="1112"/>
                </a:lnTo>
                <a:lnTo>
                  <a:pt x="2954" y="1118"/>
                </a:lnTo>
                <a:lnTo>
                  <a:pt x="2964" y="1126"/>
                </a:lnTo>
                <a:lnTo>
                  <a:pt x="2972" y="1134"/>
                </a:lnTo>
                <a:lnTo>
                  <a:pt x="2974" y="1140"/>
                </a:lnTo>
                <a:lnTo>
                  <a:pt x="2976" y="1148"/>
                </a:lnTo>
                <a:lnTo>
                  <a:pt x="2972" y="1152"/>
                </a:lnTo>
                <a:lnTo>
                  <a:pt x="2966" y="1158"/>
                </a:lnTo>
                <a:lnTo>
                  <a:pt x="2958" y="1162"/>
                </a:lnTo>
                <a:lnTo>
                  <a:pt x="2956" y="1166"/>
                </a:lnTo>
                <a:lnTo>
                  <a:pt x="2954" y="1170"/>
                </a:lnTo>
                <a:lnTo>
                  <a:pt x="2956" y="1174"/>
                </a:lnTo>
                <a:lnTo>
                  <a:pt x="2960" y="1176"/>
                </a:lnTo>
                <a:lnTo>
                  <a:pt x="2966" y="1178"/>
                </a:lnTo>
                <a:lnTo>
                  <a:pt x="2972" y="1176"/>
                </a:lnTo>
                <a:lnTo>
                  <a:pt x="2980" y="1172"/>
                </a:lnTo>
                <a:lnTo>
                  <a:pt x="2988" y="1170"/>
                </a:lnTo>
                <a:lnTo>
                  <a:pt x="2992" y="1170"/>
                </a:lnTo>
                <a:lnTo>
                  <a:pt x="2996" y="1172"/>
                </a:lnTo>
                <a:lnTo>
                  <a:pt x="2996" y="1178"/>
                </a:lnTo>
                <a:lnTo>
                  <a:pt x="2994" y="1184"/>
                </a:lnTo>
                <a:lnTo>
                  <a:pt x="2990" y="1192"/>
                </a:lnTo>
                <a:lnTo>
                  <a:pt x="2980" y="1202"/>
                </a:lnTo>
                <a:lnTo>
                  <a:pt x="2968" y="1212"/>
                </a:lnTo>
                <a:lnTo>
                  <a:pt x="2956" y="1218"/>
                </a:lnTo>
                <a:lnTo>
                  <a:pt x="2946" y="1222"/>
                </a:lnTo>
                <a:lnTo>
                  <a:pt x="2940" y="1222"/>
                </a:lnTo>
                <a:lnTo>
                  <a:pt x="2934" y="1222"/>
                </a:lnTo>
                <a:lnTo>
                  <a:pt x="2932" y="1220"/>
                </a:lnTo>
                <a:lnTo>
                  <a:pt x="2928" y="1220"/>
                </a:lnTo>
                <a:lnTo>
                  <a:pt x="2926" y="1224"/>
                </a:lnTo>
                <a:lnTo>
                  <a:pt x="2922" y="1230"/>
                </a:lnTo>
                <a:lnTo>
                  <a:pt x="2922" y="1240"/>
                </a:lnTo>
                <a:lnTo>
                  <a:pt x="2924" y="1252"/>
                </a:lnTo>
                <a:lnTo>
                  <a:pt x="2932" y="1274"/>
                </a:lnTo>
                <a:lnTo>
                  <a:pt x="2934" y="1282"/>
                </a:lnTo>
                <a:lnTo>
                  <a:pt x="2934" y="1288"/>
                </a:lnTo>
                <a:lnTo>
                  <a:pt x="2932" y="1288"/>
                </a:lnTo>
                <a:lnTo>
                  <a:pt x="2922" y="1284"/>
                </a:lnTo>
                <a:lnTo>
                  <a:pt x="2902" y="1270"/>
                </a:lnTo>
                <a:lnTo>
                  <a:pt x="2896" y="1264"/>
                </a:lnTo>
                <a:lnTo>
                  <a:pt x="2892" y="1260"/>
                </a:lnTo>
                <a:lnTo>
                  <a:pt x="2892" y="1256"/>
                </a:lnTo>
                <a:lnTo>
                  <a:pt x="2892" y="1250"/>
                </a:lnTo>
                <a:lnTo>
                  <a:pt x="2896" y="1238"/>
                </a:lnTo>
                <a:lnTo>
                  <a:pt x="2902" y="1226"/>
                </a:lnTo>
                <a:lnTo>
                  <a:pt x="2902" y="1220"/>
                </a:lnTo>
                <a:lnTo>
                  <a:pt x="2900" y="1216"/>
                </a:lnTo>
                <a:lnTo>
                  <a:pt x="2898" y="1212"/>
                </a:lnTo>
                <a:lnTo>
                  <a:pt x="2894" y="1210"/>
                </a:lnTo>
                <a:lnTo>
                  <a:pt x="2886" y="1208"/>
                </a:lnTo>
                <a:lnTo>
                  <a:pt x="2876" y="1210"/>
                </a:lnTo>
                <a:lnTo>
                  <a:pt x="2866" y="1208"/>
                </a:lnTo>
                <a:lnTo>
                  <a:pt x="2858" y="1206"/>
                </a:lnTo>
                <a:lnTo>
                  <a:pt x="2844" y="1198"/>
                </a:lnTo>
                <a:lnTo>
                  <a:pt x="2838" y="1196"/>
                </a:lnTo>
                <a:lnTo>
                  <a:pt x="2830" y="1194"/>
                </a:lnTo>
                <a:lnTo>
                  <a:pt x="2822" y="1194"/>
                </a:lnTo>
                <a:lnTo>
                  <a:pt x="2810" y="1198"/>
                </a:lnTo>
                <a:lnTo>
                  <a:pt x="2800" y="1204"/>
                </a:lnTo>
                <a:lnTo>
                  <a:pt x="2796" y="1210"/>
                </a:lnTo>
                <a:lnTo>
                  <a:pt x="2796" y="1218"/>
                </a:lnTo>
                <a:lnTo>
                  <a:pt x="2796" y="1226"/>
                </a:lnTo>
                <a:lnTo>
                  <a:pt x="2798" y="1232"/>
                </a:lnTo>
                <a:lnTo>
                  <a:pt x="2798" y="1238"/>
                </a:lnTo>
                <a:lnTo>
                  <a:pt x="2794" y="1244"/>
                </a:lnTo>
                <a:lnTo>
                  <a:pt x="2788" y="1246"/>
                </a:lnTo>
                <a:lnTo>
                  <a:pt x="2778" y="1248"/>
                </a:lnTo>
                <a:lnTo>
                  <a:pt x="2772" y="1248"/>
                </a:lnTo>
                <a:lnTo>
                  <a:pt x="2760" y="1242"/>
                </a:lnTo>
                <a:lnTo>
                  <a:pt x="2752" y="1240"/>
                </a:lnTo>
                <a:lnTo>
                  <a:pt x="2742" y="1238"/>
                </a:lnTo>
                <a:lnTo>
                  <a:pt x="2728" y="1238"/>
                </a:lnTo>
                <a:lnTo>
                  <a:pt x="2708" y="1242"/>
                </a:lnTo>
                <a:lnTo>
                  <a:pt x="2680" y="1246"/>
                </a:lnTo>
                <a:lnTo>
                  <a:pt x="2658" y="1246"/>
                </a:lnTo>
                <a:lnTo>
                  <a:pt x="2640" y="1242"/>
                </a:lnTo>
                <a:lnTo>
                  <a:pt x="2628" y="1236"/>
                </a:lnTo>
                <a:lnTo>
                  <a:pt x="2606" y="1226"/>
                </a:lnTo>
                <a:lnTo>
                  <a:pt x="2598" y="1224"/>
                </a:lnTo>
                <a:lnTo>
                  <a:pt x="2590" y="1224"/>
                </a:lnTo>
                <a:lnTo>
                  <a:pt x="2582" y="1226"/>
                </a:lnTo>
                <a:lnTo>
                  <a:pt x="2572" y="1226"/>
                </a:lnTo>
                <a:lnTo>
                  <a:pt x="2564" y="1226"/>
                </a:lnTo>
                <a:lnTo>
                  <a:pt x="2556" y="1222"/>
                </a:lnTo>
                <a:lnTo>
                  <a:pt x="2544" y="1212"/>
                </a:lnTo>
                <a:lnTo>
                  <a:pt x="2532" y="1198"/>
                </a:lnTo>
                <a:lnTo>
                  <a:pt x="2520" y="1186"/>
                </a:lnTo>
                <a:lnTo>
                  <a:pt x="2510" y="1174"/>
                </a:lnTo>
                <a:lnTo>
                  <a:pt x="2504" y="1168"/>
                </a:lnTo>
                <a:lnTo>
                  <a:pt x="2498" y="1166"/>
                </a:lnTo>
                <a:lnTo>
                  <a:pt x="2494" y="1164"/>
                </a:lnTo>
                <a:lnTo>
                  <a:pt x="2486" y="1164"/>
                </a:lnTo>
                <a:lnTo>
                  <a:pt x="2456" y="1170"/>
                </a:lnTo>
                <a:lnTo>
                  <a:pt x="2438" y="1174"/>
                </a:lnTo>
                <a:lnTo>
                  <a:pt x="2422" y="1178"/>
                </a:lnTo>
                <a:lnTo>
                  <a:pt x="2408" y="1186"/>
                </a:lnTo>
                <a:lnTo>
                  <a:pt x="2398" y="1192"/>
                </a:lnTo>
                <a:lnTo>
                  <a:pt x="2394" y="1196"/>
                </a:lnTo>
                <a:lnTo>
                  <a:pt x="2392" y="1200"/>
                </a:lnTo>
                <a:lnTo>
                  <a:pt x="2392" y="1206"/>
                </a:lnTo>
                <a:lnTo>
                  <a:pt x="2394" y="1210"/>
                </a:lnTo>
                <a:lnTo>
                  <a:pt x="2398" y="1214"/>
                </a:lnTo>
                <a:lnTo>
                  <a:pt x="2402" y="1216"/>
                </a:lnTo>
                <a:lnTo>
                  <a:pt x="2406" y="1218"/>
                </a:lnTo>
                <a:lnTo>
                  <a:pt x="2410" y="1218"/>
                </a:lnTo>
                <a:lnTo>
                  <a:pt x="2422" y="1216"/>
                </a:lnTo>
                <a:lnTo>
                  <a:pt x="2432" y="1212"/>
                </a:lnTo>
                <a:lnTo>
                  <a:pt x="2456" y="1204"/>
                </a:lnTo>
                <a:lnTo>
                  <a:pt x="2466" y="1202"/>
                </a:lnTo>
                <a:lnTo>
                  <a:pt x="2470" y="1202"/>
                </a:lnTo>
                <a:lnTo>
                  <a:pt x="2472" y="1204"/>
                </a:lnTo>
                <a:lnTo>
                  <a:pt x="2474" y="1206"/>
                </a:lnTo>
                <a:lnTo>
                  <a:pt x="2476" y="1208"/>
                </a:lnTo>
                <a:lnTo>
                  <a:pt x="2472" y="1212"/>
                </a:lnTo>
                <a:lnTo>
                  <a:pt x="2456" y="1218"/>
                </a:lnTo>
                <a:lnTo>
                  <a:pt x="2436" y="1226"/>
                </a:lnTo>
                <a:lnTo>
                  <a:pt x="2428" y="1232"/>
                </a:lnTo>
                <a:lnTo>
                  <a:pt x="2422" y="1238"/>
                </a:lnTo>
                <a:lnTo>
                  <a:pt x="2422" y="1242"/>
                </a:lnTo>
                <a:lnTo>
                  <a:pt x="2424" y="1248"/>
                </a:lnTo>
                <a:lnTo>
                  <a:pt x="2428" y="1260"/>
                </a:lnTo>
                <a:lnTo>
                  <a:pt x="2442" y="1282"/>
                </a:lnTo>
                <a:lnTo>
                  <a:pt x="2446" y="1290"/>
                </a:lnTo>
                <a:lnTo>
                  <a:pt x="2446" y="1292"/>
                </a:lnTo>
                <a:lnTo>
                  <a:pt x="2444" y="1292"/>
                </a:lnTo>
                <a:lnTo>
                  <a:pt x="2436" y="1290"/>
                </a:lnTo>
                <a:lnTo>
                  <a:pt x="2418" y="1278"/>
                </a:lnTo>
                <a:lnTo>
                  <a:pt x="2398" y="1266"/>
                </a:lnTo>
                <a:lnTo>
                  <a:pt x="2382" y="1258"/>
                </a:lnTo>
                <a:lnTo>
                  <a:pt x="2364" y="1250"/>
                </a:lnTo>
                <a:lnTo>
                  <a:pt x="2354" y="1246"/>
                </a:lnTo>
                <a:lnTo>
                  <a:pt x="2348" y="1242"/>
                </a:lnTo>
                <a:lnTo>
                  <a:pt x="2340" y="1234"/>
                </a:lnTo>
                <a:lnTo>
                  <a:pt x="2334" y="1228"/>
                </a:lnTo>
                <a:lnTo>
                  <a:pt x="2330" y="1226"/>
                </a:lnTo>
                <a:lnTo>
                  <a:pt x="2326" y="1226"/>
                </a:lnTo>
                <a:lnTo>
                  <a:pt x="2322" y="1230"/>
                </a:lnTo>
                <a:lnTo>
                  <a:pt x="2314" y="1234"/>
                </a:lnTo>
                <a:lnTo>
                  <a:pt x="2304" y="1240"/>
                </a:lnTo>
                <a:lnTo>
                  <a:pt x="2286" y="1244"/>
                </a:lnTo>
                <a:lnTo>
                  <a:pt x="2264" y="1246"/>
                </a:lnTo>
                <a:lnTo>
                  <a:pt x="2206" y="1248"/>
                </a:lnTo>
                <a:lnTo>
                  <a:pt x="2180" y="1246"/>
                </a:lnTo>
                <a:lnTo>
                  <a:pt x="2158" y="1244"/>
                </a:lnTo>
                <a:lnTo>
                  <a:pt x="2140" y="1242"/>
                </a:lnTo>
                <a:lnTo>
                  <a:pt x="2128" y="1238"/>
                </a:lnTo>
                <a:lnTo>
                  <a:pt x="2126" y="1234"/>
                </a:lnTo>
                <a:lnTo>
                  <a:pt x="2124" y="1232"/>
                </a:lnTo>
                <a:lnTo>
                  <a:pt x="2126" y="1228"/>
                </a:lnTo>
                <a:lnTo>
                  <a:pt x="2132" y="1224"/>
                </a:lnTo>
                <a:lnTo>
                  <a:pt x="2144" y="1216"/>
                </a:lnTo>
                <a:lnTo>
                  <a:pt x="2154" y="1214"/>
                </a:lnTo>
                <a:lnTo>
                  <a:pt x="2172" y="1210"/>
                </a:lnTo>
                <a:lnTo>
                  <a:pt x="2178" y="1210"/>
                </a:lnTo>
                <a:lnTo>
                  <a:pt x="2180" y="1208"/>
                </a:lnTo>
                <a:lnTo>
                  <a:pt x="2178" y="1204"/>
                </a:lnTo>
                <a:lnTo>
                  <a:pt x="2172" y="1196"/>
                </a:lnTo>
                <a:lnTo>
                  <a:pt x="2154" y="1180"/>
                </a:lnTo>
                <a:lnTo>
                  <a:pt x="2144" y="1172"/>
                </a:lnTo>
                <a:lnTo>
                  <a:pt x="2134" y="1166"/>
                </a:lnTo>
                <a:lnTo>
                  <a:pt x="2124" y="1162"/>
                </a:lnTo>
                <a:lnTo>
                  <a:pt x="2112" y="1160"/>
                </a:lnTo>
                <a:lnTo>
                  <a:pt x="2098" y="1158"/>
                </a:lnTo>
                <a:lnTo>
                  <a:pt x="2080" y="1160"/>
                </a:lnTo>
                <a:lnTo>
                  <a:pt x="2064" y="1160"/>
                </a:lnTo>
                <a:lnTo>
                  <a:pt x="2046" y="1160"/>
                </a:lnTo>
                <a:lnTo>
                  <a:pt x="2030" y="1156"/>
                </a:lnTo>
                <a:lnTo>
                  <a:pt x="2014" y="1152"/>
                </a:lnTo>
                <a:lnTo>
                  <a:pt x="1982" y="1142"/>
                </a:lnTo>
                <a:lnTo>
                  <a:pt x="1950" y="1134"/>
                </a:lnTo>
                <a:lnTo>
                  <a:pt x="1934" y="1130"/>
                </a:lnTo>
                <a:lnTo>
                  <a:pt x="1918" y="1124"/>
                </a:lnTo>
                <a:lnTo>
                  <a:pt x="1890" y="1110"/>
                </a:lnTo>
                <a:lnTo>
                  <a:pt x="1876" y="1104"/>
                </a:lnTo>
                <a:lnTo>
                  <a:pt x="1862" y="1100"/>
                </a:lnTo>
                <a:lnTo>
                  <a:pt x="1848" y="1098"/>
                </a:lnTo>
                <a:lnTo>
                  <a:pt x="1832" y="1096"/>
                </a:lnTo>
                <a:lnTo>
                  <a:pt x="1820" y="1100"/>
                </a:lnTo>
                <a:lnTo>
                  <a:pt x="1812" y="1104"/>
                </a:lnTo>
                <a:lnTo>
                  <a:pt x="1808" y="1110"/>
                </a:lnTo>
                <a:lnTo>
                  <a:pt x="1806" y="1116"/>
                </a:lnTo>
                <a:lnTo>
                  <a:pt x="1804" y="1122"/>
                </a:lnTo>
                <a:lnTo>
                  <a:pt x="1800" y="1126"/>
                </a:lnTo>
                <a:lnTo>
                  <a:pt x="1794" y="1128"/>
                </a:lnTo>
                <a:lnTo>
                  <a:pt x="1780" y="1128"/>
                </a:lnTo>
                <a:lnTo>
                  <a:pt x="1774" y="1126"/>
                </a:lnTo>
                <a:lnTo>
                  <a:pt x="1768" y="1122"/>
                </a:lnTo>
                <a:lnTo>
                  <a:pt x="1764" y="1120"/>
                </a:lnTo>
                <a:lnTo>
                  <a:pt x="1762" y="1114"/>
                </a:lnTo>
                <a:lnTo>
                  <a:pt x="1760" y="1104"/>
                </a:lnTo>
                <a:lnTo>
                  <a:pt x="1762" y="1094"/>
                </a:lnTo>
                <a:lnTo>
                  <a:pt x="1762" y="1084"/>
                </a:lnTo>
                <a:lnTo>
                  <a:pt x="1758" y="1076"/>
                </a:lnTo>
                <a:lnTo>
                  <a:pt x="1756" y="1074"/>
                </a:lnTo>
                <a:lnTo>
                  <a:pt x="1752" y="1072"/>
                </a:lnTo>
                <a:lnTo>
                  <a:pt x="1746" y="1072"/>
                </a:lnTo>
                <a:lnTo>
                  <a:pt x="1738" y="1074"/>
                </a:lnTo>
                <a:lnTo>
                  <a:pt x="1732" y="1076"/>
                </a:lnTo>
                <a:lnTo>
                  <a:pt x="1730" y="1078"/>
                </a:lnTo>
                <a:lnTo>
                  <a:pt x="1726" y="1088"/>
                </a:lnTo>
                <a:lnTo>
                  <a:pt x="1724" y="1112"/>
                </a:lnTo>
                <a:lnTo>
                  <a:pt x="1722" y="1122"/>
                </a:lnTo>
                <a:lnTo>
                  <a:pt x="1720" y="1126"/>
                </a:lnTo>
                <a:lnTo>
                  <a:pt x="1716" y="1128"/>
                </a:lnTo>
                <a:lnTo>
                  <a:pt x="1712" y="1130"/>
                </a:lnTo>
                <a:lnTo>
                  <a:pt x="1706" y="1130"/>
                </a:lnTo>
                <a:lnTo>
                  <a:pt x="1698" y="1128"/>
                </a:lnTo>
                <a:lnTo>
                  <a:pt x="1690" y="1124"/>
                </a:lnTo>
                <a:lnTo>
                  <a:pt x="1684" y="1120"/>
                </a:lnTo>
                <a:lnTo>
                  <a:pt x="1678" y="1116"/>
                </a:lnTo>
                <a:lnTo>
                  <a:pt x="1668" y="1102"/>
                </a:lnTo>
                <a:lnTo>
                  <a:pt x="1650" y="1070"/>
                </a:lnTo>
                <a:lnTo>
                  <a:pt x="1640" y="1056"/>
                </a:lnTo>
                <a:lnTo>
                  <a:pt x="1630" y="1046"/>
                </a:lnTo>
                <a:lnTo>
                  <a:pt x="1626" y="1042"/>
                </a:lnTo>
                <a:lnTo>
                  <a:pt x="1620" y="1042"/>
                </a:lnTo>
                <a:lnTo>
                  <a:pt x="1614" y="1042"/>
                </a:lnTo>
                <a:lnTo>
                  <a:pt x="1610" y="1044"/>
                </a:lnTo>
                <a:lnTo>
                  <a:pt x="1600" y="1052"/>
                </a:lnTo>
                <a:lnTo>
                  <a:pt x="1600" y="1054"/>
                </a:lnTo>
                <a:lnTo>
                  <a:pt x="1600" y="1056"/>
                </a:lnTo>
                <a:lnTo>
                  <a:pt x="1604" y="1060"/>
                </a:lnTo>
                <a:lnTo>
                  <a:pt x="1610" y="1062"/>
                </a:lnTo>
                <a:lnTo>
                  <a:pt x="1616" y="1064"/>
                </a:lnTo>
                <a:lnTo>
                  <a:pt x="1618" y="1066"/>
                </a:lnTo>
                <a:lnTo>
                  <a:pt x="1618" y="1068"/>
                </a:lnTo>
                <a:lnTo>
                  <a:pt x="1610" y="1076"/>
                </a:lnTo>
                <a:lnTo>
                  <a:pt x="1592" y="1090"/>
                </a:lnTo>
                <a:lnTo>
                  <a:pt x="1574" y="1100"/>
                </a:lnTo>
                <a:lnTo>
                  <a:pt x="1572" y="1098"/>
                </a:lnTo>
                <a:lnTo>
                  <a:pt x="1568" y="1096"/>
                </a:lnTo>
                <a:lnTo>
                  <a:pt x="1560" y="1096"/>
                </a:lnTo>
                <a:lnTo>
                  <a:pt x="1546" y="1098"/>
                </a:lnTo>
                <a:lnTo>
                  <a:pt x="1522" y="1106"/>
                </a:lnTo>
                <a:lnTo>
                  <a:pt x="1482" y="1120"/>
                </a:lnTo>
                <a:lnTo>
                  <a:pt x="1476" y="1120"/>
                </a:lnTo>
                <a:lnTo>
                  <a:pt x="1476" y="1118"/>
                </a:lnTo>
                <a:lnTo>
                  <a:pt x="1494" y="1108"/>
                </a:lnTo>
                <a:lnTo>
                  <a:pt x="1526" y="1092"/>
                </a:lnTo>
                <a:lnTo>
                  <a:pt x="1552" y="1078"/>
                </a:lnTo>
                <a:lnTo>
                  <a:pt x="1558" y="1074"/>
                </a:lnTo>
                <a:lnTo>
                  <a:pt x="1560" y="1072"/>
                </a:lnTo>
                <a:lnTo>
                  <a:pt x="1560" y="1070"/>
                </a:lnTo>
                <a:lnTo>
                  <a:pt x="1556" y="1070"/>
                </a:lnTo>
                <a:lnTo>
                  <a:pt x="1538" y="1074"/>
                </a:lnTo>
                <a:lnTo>
                  <a:pt x="1530" y="1074"/>
                </a:lnTo>
                <a:lnTo>
                  <a:pt x="1522" y="1074"/>
                </a:lnTo>
                <a:lnTo>
                  <a:pt x="1512" y="1072"/>
                </a:lnTo>
                <a:lnTo>
                  <a:pt x="1506" y="1072"/>
                </a:lnTo>
                <a:lnTo>
                  <a:pt x="1498" y="1074"/>
                </a:lnTo>
                <a:lnTo>
                  <a:pt x="1488" y="1080"/>
                </a:lnTo>
                <a:lnTo>
                  <a:pt x="1476" y="1088"/>
                </a:lnTo>
                <a:lnTo>
                  <a:pt x="1462" y="1096"/>
                </a:lnTo>
                <a:lnTo>
                  <a:pt x="1454" y="1100"/>
                </a:lnTo>
                <a:lnTo>
                  <a:pt x="1448" y="1100"/>
                </a:lnTo>
                <a:lnTo>
                  <a:pt x="1444" y="1100"/>
                </a:lnTo>
                <a:lnTo>
                  <a:pt x="1438" y="1100"/>
                </a:lnTo>
                <a:lnTo>
                  <a:pt x="1432" y="1102"/>
                </a:lnTo>
                <a:lnTo>
                  <a:pt x="1422" y="1108"/>
                </a:lnTo>
                <a:lnTo>
                  <a:pt x="1408" y="1118"/>
                </a:lnTo>
                <a:lnTo>
                  <a:pt x="1378" y="1138"/>
                </a:lnTo>
                <a:lnTo>
                  <a:pt x="1358" y="1148"/>
                </a:lnTo>
                <a:lnTo>
                  <a:pt x="1352" y="1154"/>
                </a:lnTo>
                <a:lnTo>
                  <a:pt x="1350" y="1158"/>
                </a:lnTo>
                <a:lnTo>
                  <a:pt x="1350" y="1162"/>
                </a:lnTo>
                <a:lnTo>
                  <a:pt x="1352" y="1168"/>
                </a:lnTo>
                <a:lnTo>
                  <a:pt x="1354" y="1174"/>
                </a:lnTo>
                <a:lnTo>
                  <a:pt x="1352" y="1174"/>
                </a:lnTo>
                <a:lnTo>
                  <a:pt x="1342" y="1172"/>
                </a:lnTo>
                <a:lnTo>
                  <a:pt x="1334" y="1170"/>
                </a:lnTo>
                <a:lnTo>
                  <a:pt x="1324" y="1168"/>
                </a:lnTo>
                <a:lnTo>
                  <a:pt x="1316" y="1168"/>
                </a:lnTo>
                <a:lnTo>
                  <a:pt x="1308" y="1172"/>
                </a:lnTo>
                <a:lnTo>
                  <a:pt x="1302" y="1176"/>
                </a:lnTo>
                <a:lnTo>
                  <a:pt x="1298" y="1176"/>
                </a:lnTo>
                <a:lnTo>
                  <a:pt x="1294" y="1174"/>
                </a:lnTo>
                <a:lnTo>
                  <a:pt x="1290" y="1172"/>
                </a:lnTo>
                <a:lnTo>
                  <a:pt x="1286" y="1168"/>
                </a:lnTo>
                <a:lnTo>
                  <a:pt x="1280" y="1164"/>
                </a:lnTo>
                <a:lnTo>
                  <a:pt x="1272" y="1162"/>
                </a:lnTo>
                <a:lnTo>
                  <a:pt x="1258" y="1162"/>
                </a:lnTo>
                <a:lnTo>
                  <a:pt x="1236" y="1160"/>
                </a:lnTo>
                <a:lnTo>
                  <a:pt x="1218" y="1154"/>
                </a:lnTo>
                <a:lnTo>
                  <a:pt x="1198" y="1144"/>
                </a:lnTo>
                <a:lnTo>
                  <a:pt x="1180" y="1134"/>
                </a:lnTo>
                <a:lnTo>
                  <a:pt x="1160" y="1126"/>
                </a:lnTo>
                <a:lnTo>
                  <a:pt x="1138" y="1118"/>
                </a:lnTo>
                <a:lnTo>
                  <a:pt x="1116" y="1112"/>
                </a:lnTo>
                <a:lnTo>
                  <a:pt x="1102" y="1110"/>
                </a:lnTo>
                <a:lnTo>
                  <a:pt x="1090" y="1110"/>
                </a:lnTo>
                <a:lnTo>
                  <a:pt x="1074" y="1110"/>
                </a:lnTo>
                <a:lnTo>
                  <a:pt x="1062" y="1106"/>
                </a:lnTo>
                <a:lnTo>
                  <a:pt x="1054" y="1102"/>
                </a:lnTo>
                <a:lnTo>
                  <a:pt x="1044" y="1096"/>
                </a:lnTo>
                <a:lnTo>
                  <a:pt x="1036" y="1092"/>
                </a:lnTo>
                <a:lnTo>
                  <a:pt x="1026" y="1086"/>
                </a:lnTo>
                <a:lnTo>
                  <a:pt x="1014" y="1082"/>
                </a:lnTo>
                <a:lnTo>
                  <a:pt x="998" y="1078"/>
                </a:lnTo>
                <a:lnTo>
                  <a:pt x="982" y="1078"/>
                </a:lnTo>
                <a:lnTo>
                  <a:pt x="970" y="1078"/>
                </a:lnTo>
                <a:lnTo>
                  <a:pt x="950" y="1084"/>
                </a:lnTo>
                <a:lnTo>
                  <a:pt x="940" y="1084"/>
                </a:lnTo>
                <a:lnTo>
                  <a:pt x="932" y="1086"/>
                </a:lnTo>
                <a:lnTo>
                  <a:pt x="922" y="1084"/>
                </a:lnTo>
                <a:lnTo>
                  <a:pt x="912" y="1080"/>
                </a:lnTo>
                <a:lnTo>
                  <a:pt x="898" y="1076"/>
                </a:lnTo>
                <a:lnTo>
                  <a:pt x="884" y="1074"/>
                </a:lnTo>
                <a:lnTo>
                  <a:pt x="854" y="1072"/>
                </a:lnTo>
                <a:lnTo>
                  <a:pt x="816" y="1066"/>
                </a:lnTo>
                <a:lnTo>
                  <a:pt x="798" y="1062"/>
                </a:lnTo>
                <a:lnTo>
                  <a:pt x="778" y="1054"/>
                </a:lnTo>
                <a:lnTo>
                  <a:pt x="760" y="1048"/>
                </a:lnTo>
                <a:lnTo>
                  <a:pt x="744" y="1046"/>
                </a:lnTo>
                <a:lnTo>
                  <a:pt x="732" y="1048"/>
                </a:lnTo>
                <a:lnTo>
                  <a:pt x="722" y="1050"/>
                </a:lnTo>
                <a:lnTo>
                  <a:pt x="710" y="1052"/>
                </a:lnTo>
                <a:lnTo>
                  <a:pt x="698" y="1054"/>
                </a:lnTo>
                <a:lnTo>
                  <a:pt x="682" y="1054"/>
                </a:lnTo>
                <a:lnTo>
                  <a:pt x="664" y="1050"/>
                </a:lnTo>
                <a:lnTo>
                  <a:pt x="648" y="1044"/>
                </a:lnTo>
                <a:lnTo>
                  <a:pt x="640" y="1038"/>
                </a:lnTo>
                <a:lnTo>
                  <a:pt x="636" y="1034"/>
                </a:lnTo>
                <a:lnTo>
                  <a:pt x="636" y="1028"/>
                </a:lnTo>
                <a:lnTo>
                  <a:pt x="634" y="1024"/>
                </a:lnTo>
                <a:lnTo>
                  <a:pt x="632" y="1022"/>
                </a:lnTo>
                <a:lnTo>
                  <a:pt x="622" y="1020"/>
                </a:lnTo>
                <a:lnTo>
                  <a:pt x="606" y="1020"/>
                </a:lnTo>
                <a:lnTo>
                  <a:pt x="572" y="1020"/>
                </a:lnTo>
                <a:lnTo>
                  <a:pt x="558" y="1022"/>
                </a:lnTo>
                <a:lnTo>
                  <a:pt x="552" y="1020"/>
                </a:lnTo>
                <a:lnTo>
                  <a:pt x="550" y="1018"/>
                </a:lnTo>
                <a:lnTo>
                  <a:pt x="540" y="1010"/>
                </a:lnTo>
                <a:lnTo>
                  <a:pt x="534" y="1006"/>
                </a:lnTo>
                <a:lnTo>
                  <a:pt x="528" y="1004"/>
                </a:lnTo>
                <a:lnTo>
                  <a:pt x="524" y="1006"/>
                </a:lnTo>
                <a:lnTo>
                  <a:pt x="520" y="1006"/>
                </a:lnTo>
                <a:lnTo>
                  <a:pt x="510" y="1010"/>
                </a:lnTo>
                <a:lnTo>
                  <a:pt x="506" y="1010"/>
                </a:lnTo>
                <a:lnTo>
                  <a:pt x="500" y="1006"/>
                </a:lnTo>
                <a:lnTo>
                  <a:pt x="488" y="996"/>
                </a:lnTo>
                <a:lnTo>
                  <a:pt x="482" y="992"/>
                </a:lnTo>
                <a:lnTo>
                  <a:pt x="474" y="990"/>
                </a:lnTo>
                <a:lnTo>
                  <a:pt x="466" y="988"/>
                </a:lnTo>
                <a:lnTo>
                  <a:pt x="456" y="990"/>
                </a:lnTo>
                <a:lnTo>
                  <a:pt x="446" y="996"/>
                </a:lnTo>
                <a:lnTo>
                  <a:pt x="432" y="1008"/>
                </a:lnTo>
                <a:lnTo>
                  <a:pt x="418" y="1018"/>
                </a:lnTo>
                <a:lnTo>
                  <a:pt x="404" y="1022"/>
                </a:lnTo>
                <a:lnTo>
                  <a:pt x="392" y="1022"/>
                </a:lnTo>
                <a:lnTo>
                  <a:pt x="378" y="1022"/>
                </a:lnTo>
                <a:lnTo>
                  <a:pt x="364" y="1024"/>
                </a:lnTo>
                <a:lnTo>
                  <a:pt x="348" y="1026"/>
                </a:lnTo>
                <a:lnTo>
                  <a:pt x="332" y="1032"/>
                </a:lnTo>
                <a:lnTo>
                  <a:pt x="310" y="1046"/>
                </a:lnTo>
                <a:lnTo>
                  <a:pt x="300" y="1054"/>
                </a:lnTo>
                <a:lnTo>
                  <a:pt x="290" y="1058"/>
                </a:lnTo>
                <a:lnTo>
                  <a:pt x="282" y="1062"/>
                </a:lnTo>
                <a:lnTo>
                  <a:pt x="274" y="1064"/>
                </a:lnTo>
                <a:lnTo>
                  <a:pt x="262" y="1064"/>
                </a:lnTo>
                <a:lnTo>
                  <a:pt x="250" y="1064"/>
                </a:lnTo>
                <a:lnTo>
                  <a:pt x="240" y="1062"/>
                </a:lnTo>
                <a:lnTo>
                  <a:pt x="236" y="1064"/>
                </a:lnTo>
                <a:lnTo>
                  <a:pt x="232" y="1066"/>
                </a:lnTo>
                <a:lnTo>
                  <a:pt x="226" y="1068"/>
                </a:lnTo>
                <a:lnTo>
                  <a:pt x="222" y="1074"/>
                </a:lnTo>
                <a:lnTo>
                  <a:pt x="212" y="1090"/>
                </a:lnTo>
                <a:lnTo>
                  <a:pt x="202" y="1110"/>
                </a:lnTo>
                <a:lnTo>
                  <a:pt x="192" y="1128"/>
                </a:lnTo>
                <a:lnTo>
                  <a:pt x="182" y="1140"/>
                </a:lnTo>
                <a:lnTo>
                  <a:pt x="172" y="1152"/>
                </a:lnTo>
                <a:lnTo>
                  <a:pt x="158" y="1158"/>
                </a:lnTo>
                <a:lnTo>
                  <a:pt x="142" y="1164"/>
                </a:lnTo>
                <a:lnTo>
                  <a:pt x="122" y="1166"/>
                </a:lnTo>
                <a:lnTo>
                  <a:pt x="96" y="1168"/>
                </a:lnTo>
                <a:lnTo>
                  <a:pt x="84" y="1168"/>
                </a:lnTo>
                <a:lnTo>
                  <a:pt x="78" y="1170"/>
                </a:lnTo>
                <a:lnTo>
                  <a:pt x="76" y="1174"/>
                </a:lnTo>
                <a:lnTo>
                  <a:pt x="74" y="1178"/>
                </a:lnTo>
                <a:lnTo>
                  <a:pt x="74" y="1184"/>
                </a:lnTo>
                <a:lnTo>
                  <a:pt x="72" y="1188"/>
                </a:lnTo>
                <a:lnTo>
                  <a:pt x="68" y="1194"/>
                </a:lnTo>
                <a:lnTo>
                  <a:pt x="58" y="1198"/>
                </a:lnTo>
                <a:lnTo>
                  <a:pt x="54" y="1200"/>
                </a:lnTo>
                <a:lnTo>
                  <a:pt x="54" y="1202"/>
                </a:lnTo>
                <a:lnTo>
                  <a:pt x="54" y="1204"/>
                </a:lnTo>
                <a:lnTo>
                  <a:pt x="58" y="1208"/>
                </a:lnTo>
                <a:lnTo>
                  <a:pt x="74" y="1214"/>
                </a:lnTo>
                <a:lnTo>
                  <a:pt x="94" y="1222"/>
                </a:lnTo>
                <a:lnTo>
                  <a:pt x="116" y="1232"/>
                </a:lnTo>
                <a:lnTo>
                  <a:pt x="138" y="1244"/>
                </a:lnTo>
                <a:lnTo>
                  <a:pt x="156" y="1258"/>
                </a:lnTo>
                <a:lnTo>
                  <a:pt x="164" y="1264"/>
                </a:lnTo>
                <a:lnTo>
                  <a:pt x="168" y="1272"/>
                </a:lnTo>
                <a:lnTo>
                  <a:pt x="172" y="1280"/>
                </a:lnTo>
                <a:lnTo>
                  <a:pt x="178" y="1286"/>
                </a:lnTo>
                <a:lnTo>
                  <a:pt x="186" y="1294"/>
                </a:lnTo>
                <a:lnTo>
                  <a:pt x="196" y="1296"/>
                </a:lnTo>
                <a:lnTo>
                  <a:pt x="206" y="1296"/>
                </a:lnTo>
                <a:lnTo>
                  <a:pt x="214" y="1294"/>
                </a:lnTo>
                <a:lnTo>
                  <a:pt x="218" y="1294"/>
                </a:lnTo>
                <a:lnTo>
                  <a:pt x="220" y="1296"/>
                </a:lnTo>
                <a:lnTo>
                  <a:pt x="222" y="1296"/>
                </a:lnTo>
                <a:lnTo>
                  <a:pt x="222" y="1304"/>
                </a:lnTo>
                <a:lnTo>
                  <a:pt x="220" y="1312"/>
                </a:lnTo>
                <a:lnTo>
                  <a:pt x="222" y="1316"/>
                </a:lnTo>
                <a:lnTo>
                  <a:pt x="224" y="1318"/>
                </a:lnTo>
                <a:lnTo>
                  <a:pt x="228" y="1318"/>
                </a:lnTo>
                <a:lnTo>
                  <a:pt x="232" y="1320"/>
                </a:lnTo>
                <a:lnTo>
                  <a:pt x="236" y="1322"/>
                </a:lnTo>
                <a:lnTo>
                  <a:pt x="240" y="1326"/>
                </a:lnTo>
                <a:lnTo>
                  <a:pt x="242" y="1332"/>
                </a:lnTo>
                <a:lnTo>
                  <a:pt x="244" y="1338"/>
                </a:lnTo>
                <a:lnTo>
                  <a:pt x="248" y="1342"/>
                </a:lnTo>
                <a:lnTo>
                  <a:pt x="254" y="1342"/>
                </a:lnTo>
                <a:lnTo>
                  <a:pt x="260" y="1342"/>
                </a:lnTo>
                <a:lnTo>
                  <a:pt x="266" y="1342"/>
                </a:lnTo>
                <a:lnTo>
                  <a:pt x="272" y="1342"/>
                </a:lnTo>
                <a:lnTo>
                  <a:pt x="274" y="1344"/>
                </a:lnTo>
                <a:lnTo>
                  <a:pt x="276" y="1350"/>
                </a:lnTo>
                <a:lnTo>
                  <a:pt x="274" y="1358"/>
                </a:lnTo>
                <a:lnTo>
                  <a:pt x="272" y="1358"/>
                </a:lnTo>
                <a:lnTo>
                  <a:pt x="270" y="1356"/>
                </a:lnTo>
                <a:lnTo>
                  <a:pt x="268" y="1356"/>
                </a:lnTo>
                <a:lnTo>
                  <a:pt x="264" y="1356"/>
                </a:lnTo>
                <a:lnTo>
                  <a:pt x="258" y="1358"/>
                </a:lnTo>
                <a:lnTo>
                  <a:pt x="252" y="1362"/>
                </a:lnTo>
                <a:lnTo>
                  <a:pt x="250" y="1364"/>
                </a:lnTo>
                <a:lnTo>
                  <a:pt x="248" y="1364"/>
                </a:lnTo>
                <a:lnTo>
                  <a:pt x="240" y="1362"/>
                </a:lnTo>
                <a:lnTo>
                  <a:pt x="234" y="1360"/>
                </a:lnTo>
                <a:lnTo>
                  <a:pt x="224" y="1358"/>
                </a:lnTo>
                <a:lnTo>
                  <a:pt x="212" y="1358"/>
                </a:lnTo>
                <a:lnTo>
                  <a:pt x="194" y="1360"/>
                </a:lnTo>
                <a:lnTo>
                  <a:pt x="186" y="1362"/>
                </a:lnTo>
                <a:lnTo>
                  <a:pt x="180" y="1360"/>
                </a:lnTo>
                <a:lnTo>
                  <a:pt x="176" y="1358"/>
                </a:lnTo>
                <a:lnTo>
                  <a:pt x="174" y="1356"/>
                </a:lnTo>
                <a:lnTo>
                  <a:pt x="174" y="1348"/>
                </a:lnTo>
                <a:lnTo>
                  <a:pt x="176" y="1338"/>
                </a:lnTo>
                <a:lnTo>
                  <a:pt x="176" y="1330"/>
                </a:lnTo>
                <a:lnTo>
                  <a:pt x="176" y="1326"/>
                </a:lnTo>
                <a:lnTo>
                  <a:pt x="172" y="1324"/>
                </a:lnTo>
                <a:lnTo>
                  <a:pt x="168" y="1322"/>
                </a:lnTo>
                <a:lnTo>
                  <a:pt x="162" y="1322"/>
                </a:lnTo>
                <a:lnTo>
                  <a:pt x="142" y="1328"/>
                </a:lnTo>
                <a:lnTo>
                  <a:pt x="116" y="1336"/>
                </a:lnTo>
                <a:lnTo>
                  <a:pt x="94" y="1346"/>
                </a:lnTo>
                <a:lnTo>
                  <a:pt x="56" y="1364"/>
                </a:lnTo>
                <a:lnTo>
                  <a:pt x="30" y="1378"/>
                </a:lnTo>
                <a:lnTo>
                  <a:pt x="18" y="1384"/>
                </a:lnTo>
                <a:lnTo>
                  <a:pt x="10" y="1386"/>
                </a:lnTo>
                <a:lnTo>
                  <a:pt x="4" y="1388"/>
                </a:lnTo>
                <a:lnTo>
                  <a:pt x="0" y="1392"/>
                </a:lnTo>
                <a:lnTo>
                  <a:pt x="0" y="1396"/>
                </a:lnTo>
                <a:lnTo>
                  <a:pt x="2" y="1400"/>
                </a:lnTo>
                <a:lnTo>
                  <a:pt x="8" y="1404"/>
                </a:lnTo>
                <a:lnTo>
                  <a:pt x="18" y="1408"/>
                </a:lnTo>
                <a:lnTo>
                  <a:pt x="28" y="1412"/>
                </a:lnTo>
                <a:lnTo>
                  <a:pt x="44" y="1414"/>
                </a:lnTo>
                <a:lnTo>
                  <a:pt x="54" y="1414"/>
                </a:lnTo>
                <a:lnTo>
                  <a:pt x="60" y="1416"/>
                </a:lnTo>
                <a:lnTo>
                  <a:pt x="60" y="1420"/>
                </a:lnTo>
                <a:lnTo>
                  <a:pt x="56" y="1424"/>
                </a:lnTo>
                <a:lnTo>
                  <a:pt x="52" y="1428"/>
                </a:lnTo>
                <a:lnTo>
                  <a:pt x="50" y="1432"/>
                </a:lnTo>
                <a:lnTo>
                  <a:pt x="50" y="1436"/>
                </a:lnTo>
                <a:lnTo>
                  <a:pt x="56" y="1442"/>
                </a:lnTo>
                <a:lnTo>
                  <a:pt x="64" y="1446"/>
                </a:lnTo>
                <a:lnTo>
                  <a:pt x="68" y="1450"/>
                </a:lnTo>
                <a:lnTo>
                  <a:pt x="68" y="1460"/>
                </a:lnTo>
                <a:lnTo>
                  <a:pt x="70" y="1464"/>
                </a:lnTo>
                <a:lnTo>
                  <a:pt x="74" y="1468"/>
                </a:lnTo>
                <a:lnTo>
                  <a:pt x="82" y="1470"/>
                </a:lnTo>
                <a:lnTo>
                  <a:pt x="94" y="1474"/>
                </a:lnTo>
                <a:lnTo>
                  <a:pt x="110" y="1474"/>
                </a:lnTo>
                <a:lnTo>
                  <a:pt x="122" y="1472"/>
                </a:lnTo>
                <a:lnTo>
                  <a:pt x="144" y="1466"/>
                </a:lnTo>
                <a:lnTo>
                  <a:pt x="156" y="1464"/>
                </a:lnTo>
                <a:lnTo>
                  <a:pt x="166" y="1464"/>
                </a:lnTo>
                <a:lnTo>
                  <a:pt x="178" y="1466"/>
                </a:lnTo>
                <a:lnTo>
                  <a:pt x="190" y="1474"/>
                </a:lnTo>
                <a:lnTo>
                  <a:pt x="198" y="1476"/>
                </a:lnTo>
                <a:lnTo>
                  <a:pt x="204" y="1478"/>
                </a:lnTo>
                <a:lnTo>
                  <a:pt x="212" y="1478"/>
                </a:lnTo>
                <a:lnTo>
                  <a:pt x="218" y="1476"/>
                </a:lnTo>
                <a:lnTo>
                  <a:pt x="230" y="1470"/>
                </a:lnTo>
                <a:lnTo>
                  <a:pt x="242" y="1460"/>
                </a:lnTo>
                <a:lnTo>
                  <a:pt x="254" y="1452"/>
                </a:lnTo>
                <a:lnTo>
                  <a:pt x="266" y="1446"/>
                </a:lnTo>
                <a:lnTo>
                  <a:pt x="272" y="1444"/>
                </a:lnTo>
                <a:lnTo>
                  <a:pt x="276" y="1444"/>
                </a:lnTo>
                <a:lnTo>
                  <a:pt x="282" y="1446"/>
                </a:lnTo>
                <a:lnTo>
                  <a:pt x="286" y="1450"/>
                </a:lnTo>
                <a:lnTo>
                  <a:pt x="290" y="1454"/>
                </a:lnTo>
                <a:lnTo>
                  <a:pt x="292" y="1458"/>
                </a:lnTo>
                <a:lnTo>
                  <a:pt x="290" y="1460"/>
                </a:lnTo>
                <a:lnTo>
                  <a:pt x="288" y="1464"/>
                </a:lnTo>
                <a:lnTo>
                  <a:pt x="282" y="1466"/>
                </a:lnTo>
                <a:lnTo>
                  <a:pt x="274" y="1468"/>
                </a:lnTo>
                <a:lnTo>
                  <a:pt x="266" y="1470"/>
                </a:lnTo>
                <a:lnTo>
                  <a:pt x="262" y="1472"/>
                </a:lnTo>
                <a:lnTo>
                  <a:pt x="262" y="1474"/>
                </a:lnTo>
                <a:lnTo>
                  <a:pt x="262" y="1478"/>
                </a:lnTo>
                <a:lnTo>
                  <a:pt x="274" y="1484"/>
                </a:lnTo>
                <a:lnTo>
                  <a:pt x="282" y="1488"/>
                </a:lnTo>
                <a:lnTo>
                  <a:pt x="286" y="1494"/>
                </a:lnTo>
                <a:lnTo>
                  <a:pt x="290" y="1498"/>
                </a:lnTo>
                <a:lnTo>
                  <a:pt x="292" y="1504"/>
                </a:lnTo>
                <a:lnTo>
                  <a:pt x="294" y="1508"/>
                </a:lnTo>
                <a:lnTo>
                  <a:pt x="292" y="1514"/>
                </a:lnTo>
                <a:lnTo>
                  <a:pt x="288" y="1522"/>
                </a:lnTo>
                <a:lnTo>
                  <a:pt x="280" y="1530"/>
                </a:lnTo>
                <a:lnTo>
                  <a:pt x="270" y="1536"/>
                </a:lnTo>
                <a:lnTo>
                  <a:pt x="258" y="1540"/>
                </a:lnTo>
                <a:lnTo>
                  <a:pt x="246" y="1538"/>
                </a:lnTo>
                <a:lnTo>
                  <a:pt x="240" y="1538"/>
                </a:lnTo>
                <a:lnTo>
                  <a:pt x="234" y="1538"/>
                </a:lnTo>
                <a:lnTo>
                  <a:pt x="226" y="1542"/>
                </a:lnTo>
                <a:lnTo>
                  <a:pt x="220" y="1548"/>
                </a:lnTo>
                <a:lnTo>
                  <a:pt x="216" y="1556"/>
                </a:lnTo>
                <a:lnTo>
                  <a:pt x="210" y="1564"/>
                </a:lnTo>
                <a:lnTo>
                  <a:pt x="202" y="1568"/>
                </a:lnTo>
                <a:lnTo>
                  <a:pt x="198" y="1570"/>
                </a:lnTo>
                <a:lnTo>
                  <a:pt x="192" y="1568"/>
                </a:lnTo>
                <a:lnTo>
                  <a:pt x="186" y="1566"/>
                </a:lnTo>
                <a:lnTo>
                  <a:pt x="180" y="1562"/>
                </a:lnTo>
                <a:lnTo>
                  <a:pt x="172" y="1558"/>
                </a:lnTo>
                <a:lnTo>
                  <a:pt x="166" y="1558"/>
                </a:lnTo>
                <a:lnTo>
                  <a:pt x="160" y="1558"/>
                </a:lnTo>
                <a:lnTo>
                  <a:pt x="154" y="1558"/>
                </a:lnTo>
                <a:lnTo>
                  <a:pt x="144" y="1564"/>
                </a:lnTo>
                <a:lnTo>
                  <a:pt x="138" y="1574"/>
                </a:lnTo>
                <a:lnTo>
                  <a:pt x="124" y="1596"/>
                </a:lnTo>
                <a:lnTo>
                  <a:pt x="118" y="1606"/>
                </a:lnTo>
                <a:lnTo>
                  <a:pt x="112" y="1610"/>
                </a:lnTo>
                <a:lnTo>
                  <a:pt x="106" y="1614"/>
                </a:lnTo>
                <a:lnTo>
                  <a:pt x="102" y="1618"/>
                </a:lnTo>
                <a:lnTo>
                  <a:pt x="96" y="1628"/>
                </a:lnTo>
                <a:lnTo>
                  <a:pt x="92" y="1640"/>
                </a:lnTo>
                <a:lnTo>
                  <a:pt x="88" y="1646"/>
                </a:lnTo>
                <a:lnTo>
                  <a:pt x="82" y="1652"/>
                </a:lnTo>
                <a:lnTo>
                  <a:pt x="76" y="1656"/>
                </a:lnTo>
                <a:lnTo>
                  <a:pt x="74" y="1660"/>
                </a:lnTo>
                <a:lnTo>
                  <a:pt x="74" y="1664"/>
                </a:lnTo>
                <a:lnTo>
                  <a:pt x="76" y="1670"/>
                </a:lnTo>
                <a:lnTo>
                  <a:pt x="88" y="1680"/>
                </a:lnTo>
                <a:lnTo>
                  <a:pt x="108" y="1696"/>
                </a:lnTo>
                <a:lnTo>
                  <a:pt x="116" y="1704"/>
                </a:lnTo>
                <a:lnTo>
                  <a:pt x="120" y="1712"/>
                </a:lnTo>
                <a:lnTo>
                  <a:pt x="118" y="1718"/>
                </a:lnTo>
                <a:lnTo>
                  <a:pt x="116" y="1724"/>
                </a:lnTo>
                <a:lnTo>
                  <a:pt x="114" y="1728"/>
                </a:lnTo>
                <a:lnTo>
                  <a:pt x="112" y="1734"/>
                </a:lnTo>
                <a:lnTo>
                  <a:pt x="112" y="1738"/>
                </a:lnTo>
                <a:lnTo>
                  <a:pt x="118" y="1744"/>
                </a:lnTo>
                <a:lnTo>
                  <a:pt x="132" y="1758"/>
                </a:lnTo>
                <a:lnTo>
                  <a:pt x="148" y="1772"/>
                </a:lnTo>
                <a:lnTo>
                  <a:pt x="158" y="1778"/>
                </a:lnTo>
                <a:lnTo>
                  <a:pt x="168" y="1782"/>
                </a:lnTo>
                <a:lnTo>
                  <a:pt x="180" y="1784"/>
                </a:lnTo>
                <a:lnTo>
                  <a:pt x="194" y="1780"/>
                </a:lnTo>
                <a:lnTo>
                  <a:pt x="208" y="1776"/>
                </a:lnTo>
                <a:lnTo>
                  <a:pt x="220" y="1774"/>
                </a:lnTo>
                <a:lnTo>
                  <a:pt x="228" y="1774"/>
                </a:lnTo>
                <a:lnTo>
                  <a:pt x="236" y="1776"/>
                </a:lnTo>
                <a:lnTo>
                  <a:pt x="240" y="1782"/>
                </a:lnTo>
                <a:lnTo>
                  <a:pt x="242" y="1788"/>
                </a:lnTo>
                <a:lnTo>
                  <a:pt x="242" y="1798"/>
                </a:lnTo>
                <a:lnTo>
                  <a:pt x="240" y="1808"/>
                </a:lnTo>
                <a:lnTo>
                  <a:pt x="236" y="1818"/>
                </a:lnTo>
                <a:lnTo>
                  <a:pt x="236" y="1824"/>
                </a:lnTo>
                <a:lnTo>
                  <a:pt x="238" y="1828"/>
                </a:lnTo>
                <a:lnTo>
                  <a:pt x="242" y="1830"/>
                </a:lnTo>
                <a:lnTo>
                  <a:pt x="244" y="1832"/>
                </a:lnTo>
                <a:lnTo>
                  <a:pt x="246" y="1834"/>
                </a:lnTo>
                <a:lnTo>
                  <a:pt x="246" y="1840"/>
                </a:lnTo>
                <a:lnTo>
                  <a:pt x="244" y="1848"/>
                </a:lnTo>
                <a:lnTo>
                  <a:pt x="242" y="1856"/>
                </a:lnTo>
                <a:lnTo>
                  <a:pt x="244" y="1862"/>
                </a:lnTo>
                <a:lnTo>
                  <a:pt x="248" y="1864"/>
                </a:lnTo>
                <a:lnTo>
                  <a:pt x="254" y="1862"/>
                </a:lnTo>
                <a:lnTo>
                  <a:pt x="262" y="1860"/>
                </a:lnTo>
                <a:lnTo>
                  <a:pt x="270" y="1856"/>
                </a:lnTo>
                <a:lnTo>
                  <a:pt x="284" y="1844"/>
                </a:lnTo>
                <a:lnTo>
                  <a:pt x="292" y="1840"/>
                </a:lnTo>
                <a:lnTo>
                  <a:pt x="300" y="1838"/>
                </a:lnTo>
                <a:lnTo>
                  <a:pt x="308" y="1838"/>
                </a:lnTo>
                <a:lnTo>
                  <a:pt x="318" y="1842"/>
                </a:lnTo>
                <a:lnTo>
                  <a:pt x="326" y="1846"/>
                </a:lnTo>
                <a:lnTo>
                  <a:pt x="336" y="1852"/>
                </a:lnTo>
                <a:lnTo>
                  <a:pt x="352" y="1866"/>
                </a:lnTo>
                <a:lnTo>
                  <a:pt x="358" y="1870"/>
                </a:lnTo>
                <a:lnTo>
                  <a:pt x="364" y="1870"/>
                </a:lnTo>
                <a:lnTo>
                  <a:pt x="368" y="1868"/>
                </a:lnTo>
                <a:lnTo>
                  <a:pt x="370" y="1864"/>
                </a:lnTo>
                <a:lnTo>
                  <a:pt x="376" y="1858"/>
                </a:lnTo>
                <a:lnTo>
                  <a:pt x="380" y="1856"/>
                </a:lnTo>
                <a:lnTo>
                  <a:pt x="386" y="1858"/>
                </a:lnTo>
                <a:lnTo>
                  <a:pt x="392" y="1860"/>
                </a:lnTo>
                <a:lnTo>
                  <a:pt x="402" y="1858"/>
                </a:lnTo>
                <a:lnTo>
                  <a:pt x="420" y="1852"/>
                </a:lnTo>
                <a:lnTo>
                  <a:pt x="432" y="1846"/>
                </a:lnTo>
                <a:lnTo>
                  <a:pt x="434" y="1848"/>
                </a:lnTo>
                <a:lnTo>
                  <a:pt x="430" y="1854"/>
                </a:lnTo>
                <a:lnTo>
                  <a:pt x="420" y="1872"/>
                </a:lnTo>
                <a:lnTo>
                  <a:pt x="414" y="1886"/>
                </a:lnTo>
                <a:lnTo>
                  <a:pt x="410" y="1900"/>
                </a:lnTo>
                <a:lnTo>
                  <a:pt x="410" y="1918"/>
                </a:lnTo>
                <a:lnTo>
                  <a:pt x="410" y="1924"/>
                </a:lnTo>
                <a:lnTo>
                  <a:pt x="406" y="1930"/>
                </a:lnTo>
                <a:lnTo>
                  <a:pt x="402" y="1932"/>
                </a:lnTo>
                <a:lnTo>
                  <a:pt x="398" y="1934"/>
                </a:lnTo>
                <a:lnTo>
                  <a:pt x="392" y="1936"/>
                </a:lnTo>
                <a:lnTo>
                  <a:pt x="386" y="1940"/>
                </a:lnTo>
                <a:lnTo>
                  <a:pt x="380" y="1946"/>
                </a:lnTo>
                <a:lnTo>
                  <a:pt x="374" y="1958"/>
                </a:lnTo>
                <a:lnTo>
                  <a:pt x="368" y="1968"/>
                </a:lnTo>
                <a:lnTo>
                  <a:pt x="360" y="1974"/>
                </a:lnTo>
                <a:lnTo>
                  <a:pt x="352" y="1980"/>
                </a:lnTo>
                <a:lnTo>
                  <a:pt x="342" y="1984"/>
                </a:lnTo>
                <a:lnTo>
                  <a:pt x="334" y="1988"/>
                </a:lnTo>
                <a:lnTo>
                  <a:pt x="324" y="1992"/>
                </a:lnTo>
                <a:lnTo>
                  <a:pt x="314" y="2000"/>
                </a:lnTo>
                <a:lnTo>
                  <a:pt x="306" y="2012"/>
                </a:lnTo>
                <a:lnTo>
                  <a:pt x="300" y="2022"/>
                </a:lnTo>
                <a:lnTo>
                  <a:pt x="296" y="2026"/>
                </a:lnTo>
                <a:lnTo>
                  <a:pt x="292" y="2028"/>
                </a:lnTo>
                <a:lnTo>
                  <a:pt x="288" y="2028"/>
                </a:lnTo>
                <a:lnTo>
                  <a:pt x="276" y="2026"/>
                </a:lnTo>
                <a:lnTo>
                  <a:pt x="268" y="2026"/>
                </a:lnTo>
                <a:lnTo>
                  <a:pt x="256" y="2030"/>
                </a:lnTo>
                <a:lnTo>
                  <a:pt x="244" y="2034"/>
                </a:lnTo>
                <a:lnTo>
                  <a:pt x="236" y="2040"/>
                </a:lnTo>
                <a:lnTo>
                  <a:pt x="232" y="2044"/>
                </a:lnTo>
                <a:lnTo>
                  <a:pt x="228" y="2048"/>
                </a:lnTo>
                <a:lnTo>
                  <a:pt x="224" y="2058"/>
                </a:lnTo>
                <a:lnTo>
                  <a:pt x="218" y="2062"/>
                </a:lnTo>
                <a:lnTo>
                  <a:pt x="210" y="2066"/>
                </a:lnTo>
                <a:lnTo>
                  <a:pt x="200" y="2072"/>
                </a:lnTo>
                <a:lnTo>
                  <a:pt x="194" y="2078"/>
                </a:lnTo>
                <a:lnTo>
                  <a:pt x="190" y="2082"/>
                </a:lnTo>
                <a:lnTo>
                  <a:pt x="188" y="2088"/>
                </a:lnTo>
                <a:lnTo>
                  <a:pt x="188" y="2092"/>
                </a:lnTo>
                <a:lnTo>
                  <a:pt x="192" y="2092"/>
                </a:lnTo>
                <a:lnTo>
                  <a:pt x="200" y="2092"/>
                </a:lnTo>
                <a:lnTo>
                  <a:pt x="212" y="2088"/>
                </a:lnTo>
                <a:lnTo>
                  <a:pt x="226" y="2084"/>
                </a:lnTo>
                <a:lnTo>
                  <a:pt x="236" y="2076"/>
                </a:lnTo>
                <a:lnTo>
                  <a:pt x="248" y="2064"/>
                </a:lnTo>
                <a:lnTo>
                  <a:pt x="256" y="2056"/>
                </a:lnTo>
                <a:lnTo>
                  <a:pt x="258" y="2056"/>
                </a:lnTo>
                <a:lnTo>
                  <a:pt x="262" y="2060"/>
                </a:lnTo>
                <a:lnTo>
                  <a:pt x="266" y="2064"/>
                </a:lnTo>
                <a:lnTo>
                  <a:pt x="270" y="2064"/>
                </a:lnTo>
                <a:lnTo>
                  <a:pt x="278" y="2062"/>
                </a:lnTo>
                <a:lnTo>
                  <a:pt x="282" y="2060"/>
                </a:lnTo>
                <a:lnTo>
                  <a:pt x="286" y="2060"/>
                </a:lnTo>
                <a:lnTo>
                  <a:pt x="288" y="2062"/>
                </a:lnTo>
                <a:lnTo>
                  <a:pt x="290" y="2068"/>
                </a:lnTo>
                <a:lnTo>
                  <a:pt x="292" y="2074"/>
                </a:lnTo>
                <a:lnTo>
                  <a:pt x="296" y="2078"/>
                </a:lnTo>
                <a:lnTo>
                  <a:pt x="300" y="2078"/>
                </a:lnTo>
                <a:lnTo>
                  <a:pt x="302" y="2078"/>
                </a:lnTo>
                <a:lnTo>
                  <a:pt x="306" y="2074"/>
                </a:lnTo>
                <a:lnTo>
                  <a:pt x="308" y="2070"/>
                </a:lnTo>
                <a:lnTo>
                  <a:pt x="308" y="2066"/>
                </a:lnTo>
                <a:lnTo>
                  <a:pt x="308" y="2060"/>
                </a:lnTo>
                <a:lnTo>
                  <a:pt x="306" y="2054"/>
                </a:lnTo>
                <a:lnTo>
                  <a:pt x="308" y="2050"/>
                </a:lnTo>
                <a:lnTo>
                  <a:pt x="312" y="2044"/>
                </a:lnTo>
                <a:lnTo>
                  <a:pt x="318" y="2042"/>
                </a:lnTo>
                <a:lnTo>
                  <a:pt x="322" y="2040"/>
                </a:lnTo>
                <a:lnTo>
                  <a:pt x="328" y="2040"/>
                </a:lnTo>
                <a:lnTo>
                  <a:pt x="332" y="2042"/>
                </a:lnTo>
                <a:lnTo>
                  <a:pt x="334" y="2046"/>
                </a:lnTo>
                <a:lnTo>
                  <a:pt x="334" y="2048"/>
                </a:lnTo>
                <a:lnTo>
                  <a:pt x="336" y="2050"/>
                </a:lnTo>
                <a:lnTo>
                  <a:pt x="340" y="2048"/>
                </a:lnTo>
                <a:lnTo>
                  <a:pt x="354" y="2040"/>
                </a:lnTo>
                <a:lnTo>
                  <a:pt x="372" y="2028"/>
                </a:lnTo>
                <a:lnTo>
                  <a:pt x="380" y="2022"/>
                </a:lnTo>
                <a:lnTo>
                  <a:pt x="390" y="2022"/>
                </a:lnTo>
                <a:lnTo>
                  <a:pt x="394" y="2020"/>
                </a:lnTo>
                <a:lnTo>
                  <a:pt x="396" y="2020"/>
                </a:lnTo>
                <a:lnTo>
                  <a:pt x="394" y="2012"/>
                </a:lnTo>
                <a:lnTo>
                  <a:pt x="396" y="2008"/>
                </a:lnTo>
                <a:lnTo>
                  <a:pt x="400" y="2000"/>
                </a:lnTo>
                <a:lnTo>
                  <a:pt x="408" y="1992"/>
                </a:lnTo>
                <a:lnTo>
                  <a:pt x="424" y="1982"/>
                </a:lnTo>
                <a:lnTo>
                  <a:pt x="440" y="1972"/>
                </a:lnTo>
                <a:lnTo>
                  <a:pt x="454" y="1964"/>
                </a:lnTo>
                <a:lnTo>
                  <a:pt x="462" y="1956"/>
                </a:lnTo>
                <a:lnTo>
                  <a:pt x="468" y="1950"/>
                </a:lnTo>
                <a:lnTo>
                  <a:pt x="478" y="1938"/>
                </a:lnTo>
                <a:lnTo>
                  <a:pt x="484" y="1932"/>
                </a:lnTo>
                <a:lnTo>
                  <a:pt x="494" y="1926"/>
                </a:lnTo>
                <a:lnTo>
                  <a:pt x="516" y="1916"/>
                </a:lnTo>
                <a:lnTo>
                  <a:pt x="538" y="1902"/>
                </a:lnTo>
                <a:lnTo>
                  <a:pt x="548" y="1896"/>
                </a:lnTo>
                <a:lnTo>
                  <a:pt x="556" y="1888"/>
                </a:lnTo>
                <a:lnTo>
                  <a:pt x="562" y="1882"/>
                </a:lnTo>
                <a:lnTo>
                  <a:pt x="566" y="1874"/>
                </a:lnTo>
                <a:lnTo>
                  <a:pt x="568" y="1866"/>
                </a:lnTo>
                <a:lnTo>
                  <a:pt x="572" y="1862"/>
                </a:lnTo>
                <a:lnTo>
                  <a:pt x="580" y="1856"/>
                </a:lnTo>
                <a:lnTo>
                  <a:pt x="588" y="1850"/>
                </a:lnTo>
                <a:lnTo>
                  <a:pt x="592" y="1846"/>
                </a:lnTo>
                <a:lnTo>
                  <a:pt x="592" y="1840"/>
                </a:lnTo>
                <a:lnTo>
                  <a:pt x="592" y="1836"/>
                </a:lnTo>
                <a:lnTo>
                  <a:pt x="590" y="1834"/>
                </a:lnTo>
                <a:lnTo>
                  <a:pt x="584" y="1832"/>
                </a:lnTo>
                <a:lnTo>
                  <a:pt x="564" y="1832"/>
                </a:lnTo>
                <a:lnTo>
                  <a:pt x="556" y="1830"/>
                </a:lnTo>
                <a:lnTo>
                  <a:pt x="554" y="1828"/>
                </a:lnTo>
                <a:lnTo>
                  <a:pt x="554" y="1824"/>
                </a:lnTo>
                <a:lnTo>
                  <a:pt x="558" y="1820"/>
                </a:lnTo>
                <a:lnTo>
                  <a:pt x="570" y="1810"/>
                </a:lnTo>
                <a:lnTo>
                  <a:pt x="598" y="1786"/>
                </a:lnTo>
                <a:lnTo>
                  <a:pt x="618" y="1766"/>
                </a:lnTo>
                <a:lnTo>
                  <a:pt x="632" y="1748"/>
                </a:lnTo>
                <a:lnTo>
                  <a:pt x="646" y="1726"/>
                </a:lnTo>
                <a:lnTo>
                  <a:pt x="654" y="1714"/>
                </a:lnTo>
                <a:lnTo>
                  <a:pt x="666" y="1704"/>
                </a:lnTo>
                <a:lnTo>
                  <a:pt x="680" y="1696"/>
                </a:lnTo>
                <a:lnTo>
                  <a:pt x="694" y="1690"/>
                </a:lnTo>
                <a:lnTo>
                  <a:pt x="710" y="1688"/>
                </a:lnTo>
                <a:lnTo>
                  <a:pt x="726" y="1692"/>
                </a:lnTo>
                <a:lnTo>
                  <a:pt x="744" y="1698"/>
                </a:lnTo>
                <a:lnTo>
                  <a:pt x="752" y="1704"/>
                </a:lnTo>
                <a:lnTo>
                  <a:pt x="758" y="1710"/>
                </a:lnTo>
                <a:lnTo>
                  <a:pt x="770" y="1720"/>
                </a:lnTo>
                <a:lnTo>
                  <a:pt x="770" y="1722"/>
                </a:lnTo>
                <a:lnTo>
                  <a:pt x="770" y="1724"/>
                </a:lnTo>
                <a:lnTo>
                  <a:pt x="752" y="1714"/>
                </a:lnTo>
                <a:lnTo>
                  <a:pt x="738" y="1708"/>
                </a:lnTo>
                <a:lnTo>
                  <a:pt x="722" y="1702"/>
                </a:lnTo>
                <a:lnTo>
                  <a:pt x="712" y="1702"/>
                </a:lnTo>
                <a:lnTo>
                  <a:pt x="704" y="1702"/>
                </a:lnTo>
                <a:lnTo>
                  <a:pt x="696" y="1704"/>
                </a:lnTo>
                <a:lnTo>
                  <a:pt x="690" y="1706"/>
                </a:lnTo>
                <a:lnTo>
                  <a:pt x="680" y="1716"/>
                </a:lnTo>
                <a:lnTo>
                  <a:pt x="674" y="1722"/>
                </a:lnTo>
                <a:lnTo>
                  <a:pt x="672" y="1728"/>
                </a:lnTo>
                <a:lnTo>
                  <a:pt x="672" y="1734"/>
                </a:lnTo>
                <a:lnTo>
                  <a:pt x="672" y="1742"/>
                </a:lnTo>
                <a:lnTo>
                  <a:pt x="670" y="1748"/>
                </a:lnTo>
                <a:lnTo>
                  <a:pt x="668" y="1756"/>
                </a:lnTo>
                <a:lnTo>
                  <a:pt x="658" y="1766"/>
                </a:lnTo>
                <a:lnTo>
                  <a:pt x="652" y="1776"/>
                </a:lnTo>
                <a:lnTo>
                  <a:pt x="650" y="1782"/>
                </a:lnTo>
                <a:lnTo>
                  <a:pt x="652" y="1788"/>
                </a:lnTo>
                <a:lnTo>
                  <a:pt x="656" y="1792"/>
                </a:lnTo>
                <a:lnTo>
                  <a:pt x="660" y="1794"/>
                </a:lnTo>
                <a:lnTo>
                  <a:pt x="662" y="1798"/>
                </a:lnTo>
                <a:lnTo>
                  <a:pt x="662" y="1800"/>
                </a:lnTo>
                <a:lnTo>
                  <a:pt x="656" y="1806"/>
                </a:lnTo>
                <a:lnTo>
                  <a:pt x="646" y="1812"/>
                </a:lnTo>
                <a:lnTo>
                  <a:pt x="644" y="1816"/>
                </a:lnTo>
                <a:lnTo>
                  <a:pt x="644" y="1818"/>
                </a:lnTo>
                <a:lnTo>
                  <a:pt x="646" y="1820"/>
                </a:lnTo>
                <a:lnTo>
                  <a:pt x="650" y="1822"/>
                </a:lnTo>
                <a:lnTo>
                  <a:pt x="658" y="1824"/>
                </a:lnTo>
                <a:lnTo>
                  <a:pt x="670" y="1824"/>
                </a:lnTo>
                <a:lnTo>
                  <a:pt x="684" y="1820"/>
                </a:lnTo>
                <a:lnTo>
                  <a:pt x="700" y="1814"/>
                </a:lnTo>
                <a:lnTo>
                  <a:pt x="712" y="1806"/>
                </a:lnTo>
                <a:lnTo>
                  <a:pt x="732" y="1788"/>
                </a:lnTo>
                <a:lnTo>
                  <a:pt x="748" y="1778"/>
                </a:lnTo>
                <a:lnTo>
                  <a:pt x="762" y="1774"/>
                </a:lnTo>
                <a:lnTo>
                  <a:pt x="778" y="1772"/>
                </a:lnTo>
                <a:lnTo>
                  <a:pt x="786" y="1772"/>
                </a:lnTo>
                <a:lnTo>
                  <a:pt x="790" y="1770"/>
                </a:lnTo>
                <a:lnTo>
                  <a:pt x="790" y="1768"/>
                </a:lnTo>
                <a:lnTo>
                  <a:pt x="790" y="1764"/>
                </a:lnTo>
                <a:lnTo>
                  <a:pt x="790" y="1760"/>
                </a:lnTo>
                <a:lnTo>
                  <a:pt x="790" y="1756"/>
                </a:lnTo>
                <a:lnTo>
                  <a:pt x="794" y="1754"/>
                </a:lnTo>
                <a:lnTo>
                  <a:pt x="800" y="1750"/>
                </a:lnTo>
                <a:lnTo>
                  <a:pt x="806" y="1746"/>
                </a:lnTo>
                <a:lnTo>
                  <a:pt x="806" y="1742"/>
                </a:lnTo>
                <a:lnTo>
                  <a:pt x="804" y="1736"/>
                </a:lnTo>
                <a:lnTo>
                  <a:pt x="802" y="1730"/>
                </a:lnTo>
                <a:lnTo>
                  <a:pt x="800" y="1724"/>
                </a:lnTo>
                <a:lnTo>
                  <a:pt x="800" y="1720"/>
                </a:lnTo>
                <a:lnTo>
                  <a:pt x="804" y="1716"/>
                </a:lnTo>
                <a:lnTo>
                  <a:pt x="812" y="1714"/>
                </a:lnTo>
                <a:lnTo>
                  <a:pt x="824" y="1712"/>
                </a:lnTo>
                <a:lnTo>
                  <a:pt x="834" y="1710"/>
                </a:lnTo>
                <a:lnTo>
                  <a:pt x="850" y="1704"/>
                </a:lnTo>
                <a:lnTo>
                  <a:pt x="856" y="1702"/>
                </a:lnTo>
                <a:lnTo>
                  <a:pt x="860" y="1704"/>
                </a:lnTo>
                <a:lnTo>
                  <a:pt x="862" y="1706"/>
                </a:lnTo>
                <a:lnTo>
                  <a:pt x="862" y="1712"/>
                </a:lnTo>
                <a:lnTo>
                  <a:pt x="864" y="1720"/>
                </a:lnTo>
                <a:lnTo>
                  <a:pt x="866" y="1724"/>
                </a:lnTo>
                <a:lnTo>
                  <a:pt x="870" y="1728"/>
                </a:lnTo>
                <a:lnTo>
                  <a:pt x="874" y="1730"/>
                </a:lnTo>
                <a:lnTo>
                  <a:pt x="888" y="1734"/>
                </a:lnTo>
                <a:lnTo>
                  <a:pt x="896" y="1738"/>
                </a:lnTo>
                <a:lnTo>
                  <a:pt x="906" y="1742"/>
                </a:lnTo>
                <a:lnTo>
                  <a:pt x="914" y="1746"/>
                </a:lnTo>
                <a:lnTo>
                  <a:pt x="918" y="1746"/>
                </a:lnTo>
                <a:lnTo>
                  <a:pt x="922" y="1744"/>
                </a:lnTo>
                <a:lnTo>
                  <a:pt x="924" y="1742"/>
                </a:lnTo>
                <a:lnTo>
                  <a:pt x="928" y="1740"/>
                </a:lnTo>
                <a:lnTo>
                  <a:pt x="930" y="1740"/>
                </a:lnTo>
                <a:lnTo>
                  <a:pt x="934" y="1742"/>
                </a:lnTo>
                <a:lnTo>
                  <a:pt x="940" y="1750"/>
                </a:lnTo>
                <a:lnTo>
                  <a:pt x="948" y="1758"/>
                </a:lnTo>
                <a:lnTo>
                  <a:pt x="958" y="1764"/>
                </a:lnTo>
                <a:lnTo>
                  <a:pt x="968" y="1766"/>
                </a:lnTo>
                <a:lnTo>
                  <a:pt x="978" y="1768"/>
                </a:lnTo>
                <a:lnTo>
                  <a:pt x="1002" y="1766"/>
                </a:lnTo>
                <a:lnTo>
                  <a:pt x="1026" y="1764"/>
                </a:lnTo>
                <a:lnTo>
                  <a:pt x="1036" y="1764"/>
                </a:lnTo>
                <a:lnTo>
                  <a:pt x="1050" y="1768"/>
                </a:lnTo>
                <a:lnTo>
                  <a:pt x="1078" y="1780"/>
                </a:lnTo>
                <a:lnTo>
                  <a:pt x="1090" y="1786"/>
                </a:lnTo>
                <a:lnTo>
                  <a:pt x="1104" y="1788"/>
                </a:lnTo>
                <a:lnTo>
                  <a:pt x="1116" y="1788"/>
                </a:lnTo>
                <a:lnTo>
                  <a:pt x="1122" y="1788"/>
                </a:lnTo>
                <a:lnTo>
                  <a:pt x="1126" y="1786"/>
                </a:lnTo>
                <a:lnTo>
                  <a:pt x="1136" y="1780"/>
                </a:lnTo>
                <a:lnTo>
                  <a:pt x="1142" y="1778"/>
                </a:lnTo>
                <a:lnTo>
                  <a:pt x="1148" y="1780"/>
                </a:lnTo>
                <a:lnTo>
                  <a:pt x="1150" y="1782"/>
                </a:lnTo>
                <a:lnTo>
                  <a:pt x="1150" y="1786"/>
                </a:lnTo>
                <a:lnTo>
                  <a:pt x="1150" y="1790"/>
                </a:lnTo>
                <a:lnTo>
                  <a:pt x="1146" y="1794"/>
                </a:lnTo>
                <a:lnTo>
                  <a:pt x="1142" y="1796"/>
                </a:lnTo>
                <a:lnTo>
                  <a:pt x="1138" y="1800"/>
                </a:lnTo>
                <a:lnTo>
                  <a:pt x="1140" y="1804"/>
                </a:lnTo>
                <a:lnTo>
                  <a:pt x="1146" y="1808"/>
                </a:lnTo>
                <a:lnTo>
                  <a:pt x="1154" y="1812"/>
                </a:lnTo>
                <a:lnTo>
                  <a:pt x="1174" y="1822"/>
                </a:lnTo>
                <a:lnTo>
                  <a:pt x="1192" y="1830"/>
                </a:lnTo>
                <a:lnTo>
                  <a:pt x="1206" y="1840"/>
                </a:lnTo>
                <a:lnTo>
                  <a:pt x="1216" y="1852"/>
                </a:lnTo>
                <a:lnTo>
                  <a:pt x="1228" y="1862"/>
                </a:lnTo>
                <a:lnTo>
                  <a:pt x="1246" y="1874"/>
                </a:lnTo>
                <a:lnTo>
                  <a:pt x="1254" y="1878"/>
                </a:lnTo>
                <a:lnTo>
                  <a:pt x="1264" y="1880"/>
                </a:lnTo>
                <a:lnTo>
                  <a:pt x="1272" y="1880"/>
                </a:lnTo>
                <a:lnTo>
                  <a:pt x="1278" y="1880"/>
                </a:lnTo>
                <a:lnTo>
                  <a:pt x="1282" y="1878"/>
                </a:lnTo>
                <a:lnTo>
                  <a:pt x="1284" y="1874"/>
                </a:lnTo>
                <a:lnTo>
                  <a:pt x="1284" y="1868"/>
                </a:lnTo>
                <a:lnTo>
                  <a:pt x="1280" y="1864"/>
                </a:lnTo>
                <a:lnTo>
                  <a:pt x="1272" y="1852"/>
                </a:lnTo>
                <a:lnTo>
                  <a:pt x="1268" y="1844"/>
                </a:lnTo>
                <a:lnTo>
                  <a:pt x="1268" y="1842"/>
                </a:lnTo>
                <a:lnTo>
                  <a:pt x="1270" y="1842"/>
                </a:lnTo>
                <a:lnTo>
                  <a:pt x="1282" y="1852"/>
                </a:lnTo>
                <a:lnTo>
                  <a:pt x="1298" y="1866"/>
                </a:lnTo>
                <a:lnTo>
                  <a:pt x="1314" y="1878"/>
                </a:lnTo>
                <a:lnTo>
                  <a:pt x="1320" y="1880"/>
                </a:lnTo>
                <a:lnTo>
                  <a:pt x="1324" y="1880"/>
                </a:lnTo>
                <a:lnTo>
                  <a:pt x="1326" y="1876"/>
                </a:lnTo>
                <a:lnTo>
                  <a:pt x="1326" y="1870"/>
                </a:lnTo>
                <a:lnTo>
                  <a:pt x="1322" y="1854"/>
                </a:lnTo>
                <a:lnTo>
                  <a:pt x="1322" y="1846"/>
                </a:lnTo>
                <a:lnTo>
                  <a:pt x="1324" y="1848"/>
                </a:lnTo>
                <a:lnTo>
                  <a:pt x="1334" y="1862"/>
                </a:lnTo>
                <a:lnTo>
                  <a:pt x="1338" y="1870"/>
                </a:lnTo>
                <a:lnTo>
                  <a:pt x="1344" y="1874"/>
                </a:lnTo>
                <a:lnTo>
                  <a:pt x="1350" y="1876"/>
                </a:lnTo>
                <a:lnTo>
                  <a:pt x="1354" y="1876"/>
                </a:lnTo>
                <a:lnTo>
                  <a:pt x="1358" y="1878"/>
                </a:lnTo>
                <a:lnTo>
                  <a:pt x="1364" y="1878"/>
                </a:lnTo>
                <a:lnTo>
                  <a:pt x="1368" y="1882"/>
                </a:lnTo>
                <a:lnTo>
                  <a:pt x="1372" y="1890"/>
                </a:lnTo>
                <a:lnTo>
                  <a:pt x="1378" y="1904"/>
                </a:lnTo>
                <a:lnTo>
                  <a:pt x="1382" y="1914"/>
                </a:lnTo>
                <a:lnTo>
                  <a:pt x="1386" y="1922"/>
                </a:lnTo>
                <a:lnTo>
                  <a:pt x="1392" y="1928"/>
                </a:lnTo>
                <a:lnTo>
                  <a:pt x="1394" y="1932"/>
                </a:lnTo>
                <a:lnTo>
                  <a:pt x="1394" y="1934"/>
                </a:lnTo>
                <a:lnTo>
                  <a:pt x="1390" y="1942"/>
                </a:lnTo>
                <a:lnTo>
                  <a:pt x="1388" y="1944"/>
                </a:lnTo>
                <a:lnTo>
                  <a:pt x="1390" y="1948"/>
                </a:lnTo>
                <a:lnTo>
                  <a:pt x="1392" y="1950"/>
                </a:lnTo>
                <a:lnTo>
                  <a:pt x="1400" y="1954"/>
                </a:lnTo>
                <a:lnTo>
                  <a:pt x="1412" y="1960"/>
                </a:lnTo>
                <a:lnTo>
                  <a:pt x="1414" y="1962"/>
                </a:lnTo>
                <a:lnTo>
                  <a:pt x="1416" y="1966"/>
                </a:lnTo>
                <a:lnTo>
                  <a:pt x="1422" y="1976"/>
                </a:lnTo>
                <a:lnTo>
                  <a:pt x="1426" y="1982"/>
                </a:lnTo>
                <a:lnTo>
                  <a:pt x="1434" y="1990"/>
                </a:lnTo>
                <a:lnTo>
                  <a:pt x="1452" y="2004"/>
                </a:lnTo>
                <a:lnTo>
                  <a:pt x="1464" y="2010"/>
                </a:lnTo>
                <a:lnTo>
                  <a:pt x="1468" y="2012"/>
                </a:lnTo>
                <a:lnTo>
                  <a:pt x="1460" y="2016"/>
                </a:lnTo>
                <a:lnTo>
                  <a:pt x="1452" y="2020"/>
                </a:lnTo>
                <a:lnTo>
                  <a:pt x="1450" y="2026"/>
                </a:lnTo>
                <a:lnTo>
                  <a:pt x="1448" y="2032"/>
                </a:lnTo>
                <a:lnTo>
                  <a:pt x="1442" y="2038"/>
                </a:lnTo>
                <a:lnTo>
                  <a:pt x="1440" y="2042"/>
                </a:lnTo>
                <a:lnTo>
                  <a:pt x="1440" y="2046"/>
                </a:lnTo>
                <a:lnTo>
                  <a:pt x="1440" y="2050"/>
                </a:lnTo>
                <a:lnTo>
                  <a:pt x="1444" y="2054"/>
                </a:lnTo>
                <a:lnTo>
                  <a:pt x="1446" y="2054"/>
                </a:lnTo>
                <a:lnTo>
                  <a:pt x="1450" y="2054"/>
                </a:lnTo>
                <a:lnTo>
                  <a:pt x="1452" y="2050"/>
                </a:lnTo>
                <a:lnTo>
                  <a:pt x="1456" y="2044"/>
                </a:lnTo>
                <a:lnTo>
                  <a:pt x="1462" y="2032"/>
                </a:lnTo>
                <a:lnTo>
                  <a:pt x="1466" y="2026"/>
                </a:lnTo>
                <a:lnTo>
                  <a:pt x="1470" y="2024"/>
                </a:lnTo>
                <a:lnTo>
                  <a:pt x="1474" y="2022"/>
                </a:lnTo>
                <a:lnTo>
                  <a:pt x="1480" y="2024"/>
                </a:lnTo>
                <a:lnTo>
                  <a:pt x="1484" y="2028"/>
                </a:lnTo>
                <a:lnTo>
                  <a:pt x="1488" y="2034"/>
                </a:lnTo>
                <a:lnTo>
                  <a:pt x="1492" y="2044"/>
                </a:lnTo>
                <a:lnTo>
                  <a:pt x="1494" y="2052"/>
                </a:lnTo>
                <a:lnTo>
                  <a:pt x="1494" y="2058"/>
                </a:lnTo>
                <a:lnTo>
                  <a:pt x="1492" y="2064"/>
                </a:lnTo>
                <a:lnTo>
                  <a:pt x="1488" y="2074"/>
                </a:lnTo>
                <a:lnTo>
                  <a:pt x="1488" y="2078"/>
                </a:lnTo>
                <a:lnTo>
                  <a:pt x="1488" y="2082"/>
                </a:lnTo>
                <a:lnTo>
                  <a:pt x="1492" y="2092"/>
                </a:lnTo>
                <a:lnTo>
                  <a:pt x="1494" y="2100"/>
                </a:lnTo>
                <a:lnTo>
                  <a:pt x="1496" y="2102"/>
                </a:lnTo>
                <a:lnTo>
                  <a:pt x="1500" y="2104"/>
                </a:lnTo>
                <a:lnTo>
                  <a:pt x="1504" y="2102"/>
                </a:lnTo>
                <a:lnTo>
                  <a:pt x="1508" y="2098"/>
                </a:lnTo>
                <a:lnTo>
                  <a:pt x="1518" y="2088"/>
                </a:lnTo>
                <a:lnTo>
                  <a:pt x="1524" y="2080"/>
                </a:lnTo>
                <a:lnTo>
                  <a:pt x="1526" y="2076"/>
                </a:lnTo>
                <a:lnTo>
                  <a:pt x="1526" y="2072"/>
                </a:lnTo>
                <a:lnTo>
                  <a:pt x="1524" y="2058"/>
                </a:lnTo>
                <a:lnTo>
                  <a:pt x="1522" y="2044"/>
                </a:lnTo>
                <a:lnTo>
                  <a:pt x="1524" y="2038"/>
                </a:lnTo>
                <a:lnTo>
                  <a:pt x="1528" y="2034"/>
                </a:lnTo>
                <a:lnTo>
                  <a:pt x="1530" y="2030"/>
                </a:lnTo>
                <a:lnTo>
                  <a:pt x="1530" y="2038"/>
                </a:lnTo>
                <a:lnTo>
                  <a:pt x="1530" y="2044"/>
                </a:lnTo>
                <a:lnTo>
                  <a:pt x="1532" y="2058"/>
                </a:lnTo>
                <a:lnTo>
                  <a:pt x="1534" y="2070"/>
                </a:lnTo>
                <a:lnTo>
                  <a:pt x="1534" y="2074"/>
                </a:lnTo>
                <a:lnTo>
                  <a:pt x="1530" y="2078"/>
                </a:lnTo>
                <a:lnTo>
                  <a:pt x="1526" y="2082"/>
                </a:lnTo>
                <a:lnTo>
                  <a:pt x="1526" y="2084"/>
                </a:lnTo>
                <a:lnTo>
                  <a:pt x="1526" y="2092"/>
                </a:lnTo>
                <a:lnTo>
                  <a:pt x="1526" y="2098"/>
                </a:lnTo>
                <a:lnTo>
                  <a:pt x="1524" y="2102"/>
                </a:lnTo>
                <a:lnTo>
                  <a:pt x="1522" y="2106"/>
                </a:lnTo>
                <a:lnTo>
                  <a:pt x="1516" y="2112"/>
                </a:lnTo>
                <a:lnTo>
                  <a:pt x="1512" y="2118"/>
                </a:lnTo>
                <a:lnTo>
                  <a:pt x="1512" y="2122"/>
                </a:lnTo>
                <a:lnTo>
                  <a:pt x="1514" y="2124"/>
                </a:lnTo>
                <a:lnTo>
                  <a:pt x="1518" y="2130"/>
                </a:lnTo>
                <a:lnTo>
                  <a:pt x="1522" y="2134"/>
                </a:lnTo>
                <a:lnTo>
                  <a:pt x="1524" y="2138"/>
                </a:lnTo>
                <a:lnTo>
                  <a:pt x="1528" y="2148"/>
                </a:lnTo>
                <a:lnTo>
                  <a:pt x="1534" y="2160"/>
                </a:lnTo>
                <a:lnTo>
                  <a:pt x="1544" y="2172"/>
                </a:lnTo>
                <a:lnTo>
                  <a:pt x="1554" y="2182"/>
                </a:lnTo>
                <a:lnTo>
                  <a:pt x="1558" y="2186"/>
                </a:lnTo>
                <a:lnTo>
                  <a:pt x="1560" y="2184"/>
                </a:lnTo>
                <a:lnTo>
                  <a:pt x="1562" y="2176"/>
                </a:lnTo>
                <a:lnTo>
                  <a:pt x="1564" y="2168"/>
                </a:lnTo>
                <a:lnTo>
                  <a:pt x="1568" y="2162"/>
                </a:lnTo>
                <a:lnTo>
                  <a:pt x="1574" y="2158"/>
                </a:lnTo>
                <a:lnTo>
                  <a:pt x="1584" y="2156"/>
                </a:lnTo>
                <a:lnTo>
                  <a:pt x="1592" y="2154"/>
                </a:lnTo>
                <a:lnTo>
                  <a:pt x="1594" y="2156"/>
                </a:lnTo>
                <a:lnTo>
                  <a:pt x="1588" y="2162"/>
                </a:lnTo>
                <a:lnTo>
                  <a:pt x="1582" y="2166"/>
                </a:lnTo>
                <a:lnTo>
                  <a:pt x="1578" y="2172"/>
                </a:lnTo>
                <a:lnTo>
                  <a:pt x="1576" y="2180"/>
                </a:lnTo>
                <a:lnTo>
                  <a:pt x="1576" y="2188"/>
                </a:lnTo>
                <a:lnTo>
                  <a:pt x="1582" y="2196"/>
                </a:lnTo>
                <a:lnTo>
                  <a:pt x="1586" y="2200"/>
                </a:lnTo>
                <a:lnTo>
                  <a:pt x="1588" y="2202"/>
                </a:lnTo>
                <a:lnTo>
                  <a:pt x="1590" y="2212"/>
                </a:lnTo>
                <a:lnTo>
                  <a:pt x="1592" y="2218"/>
                </a:lnTo>
                <a:lnTo>
                  <a:pt x="1596" y="2220"/>
                </a:lnTo>
                <a:lnTo>
                  <a:pt x="1600" y="2220"/>
                </a:lnTo>
                <a:lnTo>
                  <a:pt x="1604" y="2218"/>
                </a:lnTo>
                <a:lnTo>
                  <a:pt x="1608" y="2216"/>
                </a:lnTo>
                <a:lnTo>
                  <a:pt x="1610" y="2216"/>
                </a:lnTo>
                <a:lnTo>
                  <a:pt x="1610" y="2220"/>
                </a:lnTo>
                <a:lnTo>
                  <a:pt x="1606" y="2228"/>
                </a:lnTo>
                <a:lnTo>
                  <a:pt x="1600" y="2246"/>
                </a:lnTo>
                <a:lnTo>
                  <a:pt x="1596" y="2256"/>
                </a:lnTo>
                <a:lnTo>
                  <a:pt x="1598" y="2262"/>
                </a:lnTo>
                <a:lnTo>
                  <a:pt x="1600" y="2262"/>
                </a:lnTo>
                <a:lnTo>
                  <a:pt x="1602" y="2262"/>
                </a:lnTo>
                <a:lnTo>
                  <a:pt x="1602" y="2268"/>
                </a:lnTo>
                <a:lnTo>
                  <a:pt x="1604" y="2276"/>
                </a:lnTo>
                <a:lnTo>
                  <a:pt x="1606" y="2278"/>
                </a:lnTo>
                <a:lnTo>
                  <a:pt x="1608" y="2280"/>
                </a:lnTo>
                <a:lnTo>
                  <a:pt x="1612" y="2280"/>
                </a:lnTo>
                <a:lnTo>
                  <a:pt x="1614" y="2278"/>
                </a:lnTo>
                <a:lnTo>
                  <a:pt x="1614" y="2270"/>
                </a:lnTo>
                <a:lnTo>
                  <a:pt x="1616" y="2260"/>
                </a:lnTo>
                <a:lnTo>
                  <a:pt x="1618" y="2256"/>
                </a:lnTo>
                <a:lnTo>
                  <a:pt x="1622" y="2254"/>
                </a:lnTo>
                <a:lnTo>
                  <a:pt x="1632" y="2248"/>
                </a:lnTo>
                <a:lnTo>
                  <a:pt x="1638" y="2242"/>
                </a:lnTo>
                <a:lnTo>
                  <a:pt x="1642" y="2240"/>
                </a:lnTo>
                <a:lnTo>
                  <a:pt x="1644" y="2240"/>
                </a:lnTo>
                <a:lnTo>
                  <a:pt x="1644" y="2242"/>
                </a:lnTo>
                <a:lnTo>
                  <a:pt x="1646" y="2246"/>
                </a:lnTo>
                <a:lnTo>
                  <a:pt x="1648" y="2246"/>
                </a:lnTo>
                <a:lnTo>
                  <a:pt x="1654" y="2246"/>
                </a:lnTo>
                <a:lnTo>
                  <a:pt x="1660" y="2248"/>
                </a:lnTo>
                <a:lnTo>
                  <a:pt x="1660" y="2250"/>
                </a:lnTo>
                <a:lnTo>
                  <a:pt x="1660" y="2254"/>
                </a:lnTo>
                <a:lnTo>
                  <a:pt x="1660" y="2258"/>
                </a:lnTo>
                <a:lnTo>
                  <a:pt x="1656" y="2254"/>
                </a:lnTo>
                <a:lnTo>
                  <a:pt x="1652" y="2252"/>
                </a:lnTo>
                <a:lnTo>
                  <a:pt x="1648" y="2252"/>
                </a:lnTo>
                <a:lnTo>
                  <a:pt x="1642" y="2254"/>
                </a:lnTo>
                <a:lnTo>
                  <a:pt x="1636" y="2258"/>
                </a:lnTo>
                <a:lnTo>
                  <a:pt x="1624" y="2268"/>
                </a:lnTo>
                <a:lnTo>
                  <a:pt x="1618" y="2276"/>
                </a:lnTo>
                <a:lnTo>
                  <a:pt x="1618" y="2282"/>
                </a:lnTo>
                <a:lnTo>
                  <a:pt x="1618" y="2290"/>
                </a:lnTo>
                <a:lnTo>
                  <a:pt x="1620" y="2294"/>
                </a:lnTo>
                <a:lnTo>
                  <a:pt x="1622" y="2298"/>
                </a:lnTo>
                <a:lnTo>
                  <a:pt x="1626" y="2300"/>
                </a:lnTo>
                <a:lnTo>
                  <a:pt x="1628" y="2302"/>
                </a:lnTo>
                <a:lnTo>
                  <a:pt x="1626" y="2306"/>
                </a:lnTo>
                <a:lnTo>
                  <a:pt x="1622" y="2308"/>
                </a:lnTo>
                <a:lnTo>
                  <a:pt x="1622" y="2310"/>
                </a:lnTo>
                <a:lnTo>
                  <a:pt x="1624" y="2312"/>
                </a:lnTo>
                <a:lnTo>
                  <a:pt x="1626" y="2312"/>
                </a:lnTo>
                <a:lnTo>
                  <a:pt x="1624" y="2316"/>
                </a:lnTo>
                <a:lnTo>
                  <a:pt x="1620" y="2318"/>
                </a:lnTo>
                <a:lnTo>
                  <a:pt x="1620" y="2320"/>
                </a:lnTo>
                <a:lnTo>
                  <a:pt x="1622" y="2324"/>
                </a:lnTo>
                <a:lnTo>
                  <a:pt x="1624" y="2326"/>
                </a:lnTo>
                <a:lnTo>
                  <a:pt x="1632" y="2332"/>
                </a:lnTo>
                <a:lnTo>
                  <a:pt x="1642" y="2336"/>
                </a:lnTo>
                <a:lnTo>
                  <a:pt x="1650" y="2338"/>
                </a:lnTo>
                <a:lnTo>
                  <a:pt x="1656" y="2336"/>
                </a:lnTo>
                <a:lnTo>
                  <a:pt x="1662" y="2334"/>
                </a:lnTo>
                <a:lnTo>
                  <a:pt x="1670" y="2332"/>
                </a:lnTo>
                <a:lnTo>
                  <a:pt x="1676" y="2334"/>
                </a:lnTo>
                <a:lnTo>
                  <a:pt x="1676" y="2338"/>
                </a:lnTo>
                <a:lnTo>
                  <a:pt x="1676" y="2340"/>
                </a:lnTo>
                <a:lnTo>
                  <a:pt x="1682" y="2340"/>
                </a:lnTo>
                <a:lnTo>
                  <a:pt x="1688" y="2340"/>
                </a:lnTo>
                <a:lnTo>
                  <a:pt x="1688" y="2344"/>
                </a:lnTo>
                <a:lnTo>
                  <a:pt x="1686" y="2352"/>
                </a:lnTo>
                <a:lnTo>
                  <a:pt x="1686" y="2356"/>
                </a:lnTo>
                <a:lnTo>
                  <a:pt x="1686" y="2358"/>
                </a:lnTo>
                <a:lnTo>
                  <a:pt x="1688" y="2360"/>
                </a:lnTo>
                <a:lnTo>
                  <a:pt x="1694" y="2360"/>
                </a:lnTo>
                <a:lnTo>
                  <a:pt x="1700" y="2360"/>
                </a:lnTo>
                <a:lnTo>
                  <a:pt x="1704" y="2362"/>
                </a:lnTo>
                <a:lnTo>
                  <a:pt x="1706" y="2364"/>
                </a:lnTo>
                <a:lnTo>
                  <a:pt x="1714" y="2362"/>
                </a:lnTo>
                <a:lnTo>
                  <a:pt x="1718" y="2360"/>
                </a:lnTo>
                <a:lnTo>
                  <a:pt x="1724" y="2362"/>
                </a:lnTo>
                <a:lnTo>
                  <a:pt x="1730" y="2364"/>
                </a:lnTo>
                <a:lnTo>
                  <a:pt x="1736" y="2368"/>
                </a:lnTo>
                <a:lnTo>
                  <a:pt x="1738" y="2370"/>
                </a:lnTo>
                <a:lnTo>
                  <a:pt x="1742" y="2368"/>
                </a:lnTo>
                <a:lnTo>
                  <a:pt x="1746" y="2368"/>
                </a:lnTo>
                <a:lnTo>
                  <a:pt x="1748" y="2368"/>
                </a:lnTo>
                <a:lnTo>
                  <a:pt x="1750" y="2374"/>
                </a:lnTo>
                <a:lnTo>
                  <a:pt x="1750" y="2382"/>
                </a:lnTo>
                <a:lnTo>
                  <a:pt x="1748" y="2384"/>
                </a:lnTo>
                <a:lnTo>
                  <a:pt x="1744" y="2386"/>
                </a:lnTo>
                <a:lnTo>
                  <a:pt x="1742" y="2388"/>
                </a:lnTo>
                <a:lnTo>
                  <a:pt x="1742" y="2390"/>
                </a:lnTo>
                <a:lnTo>
                  <a:pt x="1748" y="2398"/>
                </a:lnTo>
                <a:lnTo>
                  <a:pt x="1758" y="2402"/>
                </a:lnTo>
                <a:lnTo>
                  <a:pt x="1764" y="2404"/>
                </a:lnTo>
                <a:lnTo>
                  <a:pt x="1768" y="2402"/>
                </a:lnTo>
                <a:lnTo>
                  <a:pt x="1776" y="2398"/>
                </a:lnTo>
                <a:lnTo>
                  <a:pt x="1778" y="2392"/>
                </a:lnTo>
                <a:lnTo>
                  <a:pt x="1780" y="2392"/>
                </a:lnTo>
                <a:lnTo>
                  <a:pt x="1780" y="2398"/>
                </a:lnTo>
                <a:lnTo>
                  <a:pt x="1780" y="2406"/>
                </a:lnTo>
                <a:lnTo>
                  <a:pt x="1784" y="2408"/>
                </a:lnTo>
                <a:lnTo>
                  <a:pt x="1786" y="2410"/>
                </a:lnTo>
                <a:lnTo>
                  <a:pt x="1786" y="2414"/>
                </a:lnTo>
                <a:lnTo>
                  <a:pt x="1784" y="2416"/>
                </a:lnTo>
                <a:lnTo>
                  <a:pt x="1780" y="2412"/>
                </a:lnTo>
                <a:lnTo>
                  <a:pt x="1776" y="2408"/>
                </a:lnTo>
                <a:lnTo>
                  <a:pt x="1774" y="2408"/>
                </a:lnTo>
                <a:lnTo>
                  <a:pt x="1772" y="2408"/>
                </a:lnTo>
                <a:lnTo>
                  <a:pt x="1772" y="2412"/>
                </a:lnTo>
                <a:lnTo>
                  <a:pt x="1774" y="2416"/>
                </a:lnTo>
                <a:lnTo>
                  <a:pt x="1782" y="2422"/>
                </a:lnTo>
                <a:lnTo>
                  <a:pt x="1790" y="2426"/>
                </a:lnTo>
                <a:lnTo>
                  <a:pt x="1794" y="2426"/>
                </a:lnTo>
                <a:lnTo>
                  <a:pt x="1796" y="2424"/>
                </a:lnTo>
                <a:lnTo>
                  <a:pt x="1798" y="2418"/>
                </a:lnTo>
                <a:lnTo>
                  <a:pt x="1800" y="2414"/>
                </a:lnTo>
                <a:lnTo>
                  <a:pt x="1804" y="2414"/>
                </a:lnTo>
                <a:lnTo>
                  <a:pt x="1804" y="2418"/>
                </a:lnTo>
                <a:lnTo>
                  <a:pt x="1804" y="2424"/>
                </a:lnTo>
                <a:lnTo>
                  <a:pt x="1806" y="2432"/>
                </a:lnTo>
                <a:lnTo>
                  <a:pt x="1810" y="2438"/>
                </a:lnTo>
                <a:lnTo>
                  <a:pt x="1810" y="2444"/>
                </a:lnTo>
                <a:lnTo>
                  <a:pt x="1808" y="2450"/>
                </a:lnTo>
                <a:lnTo>
                  <a:pt x="1810" y="2450"/>
                </a:lnTo>
                <a:lnTo>
                  <a:pt x="1814" y="2450"/>
                </a:lnTo>
                <a:lnTo>
                  <a:pt x="1816" y="2446"/>
                </a:lnTo>
                <a:lnTo>
                  <a:pt x="1818" y="2444"/>
                </a:lnTo>
                <a:lnTo>
                  <a:pt x="1820" y="2444"/>
                </a:lnTo>
                <a:lnTo>
                  <a:pt x="1824" y="2448"/>
                </a:lnTo>
                <a:lnTo>
                  <a:pt x="1824" y="2454"/>
                </a:lnTo>
                <a:lnTo>
                  <a:pt x="1824" y="2460"/>
                </a:lnTo>
                <a:lnTo>
                  <a:pt x="1828" y="2464"/>
                </a:lnTo>
                <a:lnTo>
                  <a:pt x="1832" y="2468"/>
                </a:lnTo>
                <a:lnTo>
                  <a:pt x="1832" y="2470"/>
                </a:lnTo>
                <a:lnTo>
                  <a:pt x="1834" y="2474"/>
                </a:lnTo>
                <a:lnTo>
                  <a:pt x="1832" y="2476"/>
                </a:lnTo>
                <a:lnTo>
                  <a:pt x="1830" y="2478"/>
                </a:lnTo>
                <a:lnTo>
                  <a:pt x="1826" y="2478"/>
                </a:lnTo>
                <a:lnTo>
                  <a:pt x="1826" y="2480"/>
                </a:lnTo>
                <a:lnTo>
                  <a:pt x="1830" y="2490"/>
                </a:lnTo>
                <a:lnTo>
                  <a:pt x="1838" y="2500"/>
                </a:lnTo>
                <a:lnTo>
                  <a:pt x="1840" y="2510"/>
                </a:lnTo>
                <a:lnTo>
                  <a:pt x="1842" y="2520"/>
                </a:lnTo>
                <a:lnTo>
                  <a:pt x="1840" y="2538"/>
                </a:lnTo>
                <a:lnTo>
                  <a:pt x="1838" y="2546"/>
                </a:lnTo>
                <a:lnTo>
                  <a:pt x="1836" y="2550"/>
                </a:lnTo>
                <a:lnTo>
                  <a:pt x="1836" y="2548"/>
                </a:lnTo>
                <a:lnTo>
                  <a:pt x="1834" y="2544"/>
                </a:lnTo>
                <a:lnTo>
                  <a:pt x="1828" y="2510"/>
                </a:lnTo>
                <a:lnTo>
                  <a:pt x="1824" y="2504"/>
                </a:lnTo>
                <a:lnTo>
                  <a:pt x="1818" y="2500"/>
                </a:lnTo>
                <a:lnTo>
                  <a:pt x="1808" y="2496"/>
                </a:lnTo>
                <a:lnTo>
                  <a:pt x="1798" y="2496"/>
                </a:lnTo>
                <a:lnTo>
                  <a:pt x="1776" y="2494"/>
                </a:lnTo>
                <a:lnTo>
                  <a:pt x="1766" y="2492"/>
                </a:lnTo>
                <a:lnTo>
                  <a:pt x="1758" y="2488"/>
                </a:lnTo>
                <a:lnTo>
                  <a:pt x="1752" y="2484"/>
                </a:lnTo>
                <a:lnTo>
                  <a:pt x="1748" y="2484"/>
                </a:lnTo>
                <a:lnTo>
                  <a:pt x="1744" y="2486"/>
                </a:lnTo>
                <a:lnTo>
                  <a:pt x="1744" y="2490"/>
                </a:lnTo>
                <a:lnTo>
                  <a:pt x="1744" y="2496"/>
                </a:lnTo>
                <a:lnTo>
                  <a:pt x="1746" y="2502"/>
                </a:lnTo>
                <a:lnTo>
                  <a:pt x="1754" y="2516"/>
                </a:lnTo>
                <a:lnTo>
                  <a:pt x="1760" y="2526"/>
                </a:lnTo>
                <a:lnTo>
                  <a:pt x="1764" y="2536"/>
                </a:lnTo>
                <a:lnTo>
                  <a:pt x="1770" y="2564"/>
                </a:lnTo>
                <a:lnTo>
                  <a:pt x="1774" y="2596"/>
                </a:lnTo>
                <a:lnTo>
                  <a:pt x="1774" y="2628"/>
                </a:lnTo>
                <a:lnTo>
                  <a:pt x="1774" y="2666"/>
                </a:lnTo>
                <a:lnTo>
                  <a:pt x="1770" y="2708"/>
                </a:lnTo>
                <a:lnTo>
                  <a:pt x="1766" y="2750"/>
                </a:lnTo>
                <a:lnTo>
                  <a:pt x="1762" y="2766"/>
                </a:lnTo>
                <a:lnTo>
                  <a:pt x="1758" y="2780"/>
                </a:lnTo>
                <a:lnTo>
                  <a:pt x="1754" y="2794"/>
                </a:lnTo>
                <a:lnTo>
                  <a:pt x="1754" y="2810"/>
                </a:lnTo>
                <a:lnTo>
                  <a:pt x="1756" y="2826"/>
                </a:lnTo>
                <a:lnTo>
                  <a:pt x="1760" y="2842"/>
                </a:lnTo>
                <a:lnTo>
                  <a:pt x="1764" y="2860"/>
                </a:lnTo>
                <a:lnTo>
                  <a:pt x="1766" y="2878"/>
                </a:lnTo>
                <a:lnTo>
                  <a:pt x="1766" y="2894"/>
                </a:lnTo>
                <a:lnTo>
                  <a:pt x="1764" y="2912"/>
                </a:lnTo>
                <a:lnTo>
                  <a:pt x="1760" y="2924"/>
                </a:lnTo>
                <a:lnTo>
                  <a:pt x="1760" y="2936"/>
                </a:lnTo>
                <a:lnTo>
                  <a:pt x="1762" y="2944"/>
                </a:lnTo>
                <a:lnTo>
                  <a:pt x="1766" y="2952"/>
                </a:lnTo>
                <a:lnTo>
                  <a:pt x="1774" y="2970"/>
                </a:lnTo>
                <a:lnTo>
                  <a:pt x="1778" y="2980"/>
                </a:lnTo>
                <a:lnTo>
                  <a:pt x="1782" y="2996"/>
                </a:lnTo>
                <a:lnTo>
                  <a:pt x="1784" y="3010"/>
                </a:lnTo>
                <a:lnTo>
                  <a:pt x="1788" y="3022"/>
                </a:lnTo>
                <a:lnTo>
                  <a:pt x="1792" y="3028"/>
                </a:lnTo>
                <a:lnTo>
                  <a:pt x="1798" y="3034"/>
                </a:lnTo>
                <a:lnTo>
                  <a:pt x="1808" y="3044"/>
                </a:lnTo>
                <a:lnTo>
                  <a:pt x="1812" y="3050"/>
                </a:lnTo>
                <a:lnTo>
                  <a:pt x="1814" y="3056"/>
                </a:lnTo>
                <a:lnTo>
                  <a:pt x="1816" y="3064"/>
                </a:lnTo>
                <a:lnTo>
                  <a:pt x="1818" y="3068"/>
                </a:lnTo>
                <a:lnTo>
                  <a:pt x="1826" y="3072"/>
                </a:lnTo>
                <a:lnTo>
                  <a:pt x="1828" y="3074"/>
                </a:lnTo>
                <a:lnTo>
                  <a:pt x="1832" y="3078"/>
                </a:lnTo>
                <a:lnTo>
                  <a:pt x="1834" y="3086"/>
                </a:lnTo>
                <a:lnTo>
                  <a:pt x="1836" y="3098"/>
                </a:lnTo>
                <a:lnTo>
                  <a:pt x="1838" y="3110"/>
                </a:lnTo>
                <a:lnTo>
                  <a:pt x="1842" y="3118"/>
                </a:lnTo>
                <a:lnTo>
                  <a:pt x="1848" y="3122"/>
                </a:lnTo>
                <a:lnTo>
                  <a:pt x="1852" y="3124"/>
                </a:lnTo>
                <a:lnTo>
                  <a:pt x="1856" y="3128"/>
                </a:lnTo>
                <a:lnTo>
                  <a:pt x="1860" y="3130"/>
                </a:lnTo>
                <a:lnTo>
                  <a:pt x="1862" y="3134"/>
                </a:lnTo>
                <a:lnTo>
                  <a:pt x="1860" y="3140"/>
                </a:lnTo>
                <a:lnTo>
                  <a:pt x="1858" y="3146"/>
                </a:lnTo>
                <a:lnTo>
                  <a:pt x="1858" y="3152"/>
                </a:lnTo>
                <a:lnTo>
                  <a:pt x="1860" y="3158"/>
                </a:lnTo>
                <a:lnTo>
                  <a:pt x="1862" y="3164"/>
                </a:lnTo>
                <a:lnTo>
                  <a:pt x="1874" y="3178"/>
                </a:lnTo>
                <a:lnTo>
                  <a:pt x="1890" y="3200"/>
                </a:lnTo>
                <a:lnTo>
                  <a:pt x="1900" y="3212"/>
                </a:lnTo>
                <a:lnTo>
                  <a:pt x="1904" y="3222"/>
                </a:lnTo>
                <a:lnTo>
                  <a:pt x="1908" y="3230"/>
                </a:lnTo>
                <a:lnTo>
                  <a:pt x="1910" y="3238"/>
                </a:lnTo>
                <a:lnTo>
                  <a:pt x="1910" y="3250"/>
                </a:lnTo>
                <a:lnTo>
                  <a:pt x="1912" y="3254"/>
                </a:lnTo>
                <a:lnTo>
                  <a:pt x="1916" y="3258"/>
                </a:lnTo>
                <a:lnTo>
                  <a:pt x="1920" y="3260"/>
                </a:lnTo>
                <a:lnTo>
                  <a:pt x="1926" y="3262"/>
                </a:lnTo>
                <a:lnTo>
                  <a:pt x="1940" y="3264"/>
                </a:lnTo>
                <a:lnTo>
                  <a:pt x="1950" y="3266"/>
                </a:lnTo>
                <a:lnTo>
                  <a:pt x="1958" y="3270"/>
                </a:lnTo>
                <a:lnTo>
                  <a:pt x="1968" y="3276"/>
                </a:lnTo>
                <a:lnTo>
                  <a:pt x="1978" y="3284"/>
                </a:lnTo>
                <a:lnTo>
                  <a:pt x="1988" y="3292"/>
                </a:lnTo>
                <a:lnTo>
                  <a:pt x="1994" y="3296"/>
                </a:lnTo>
                <a:lnTo>
                  <a:pt x="2006" y="3300"/>
                </a:lnTo>
                <a:lnTo>
                  <a:pt x="2016" y="3302"/>
                </a:lnTo>
                <a:lnTo>
                  <a:pt x="2022" y="3306"/>
                </a:lnTo>
                <a:lnTo>
                  <a:pt x="2030" y="3312"/>
                </a:lnTo>
                <a:lnTo>
                  <a:pt x="2036" y="3320"/>
                </a:lnTo>
                <a:lnTo>
                  <a:pt x="2042" y="3326"/>
                </a:lnTo>
                <a:lnTo>
                  <a:pt x="2046" y="3338"/>
                </a:lnTo>
                <a:lnTo>
                  <a:pt x="2048" y="3350"/>
                </a:lnTo>
                <a:lnTo>
                  <a:pt x="2052" y="3362"/>
                </a:lnTo>
                <a:lnTo>
                  <a:pt x="2068" y="3394"/>
                </a:lnTo>
                <a:lnTo>
                  <a:pt x="2078" y="3420"/>
                </a:lnTo>
                <a:lnTo>
                  <a:pt x="2092" y="3460"/>
                </a:lnTo>
                <a:lnTo>
                  <a:pt x="2100" y="3488"/>
                </a:lnTo>
                <a:lnTo>
                  <a:pt x="2106" y="3498"/>
                </a:lnTo>
                <a:lnTo>
                  <a:pt x="2112" y="3508"/>
                </a:lnTo>
                <a:lnTo>
                  <a:pt x="2120" y="3518"/>
                </a:lnTo>
                <a:lnTo>
                  <a:pt x="2130" y="3526"/>
                </a:lnTo>
                <a:lnTo>
                  <a:pt x="2150" y="3544"/>
                </a:lnTo>
                <a:lnTo>
                  <a:pt x="2160" y="3552"/>
                </a:lnTo>
                <a:lnTo>
                  <a:pt x="2166" y="3564"/>
                </a:lnTo>
                <a:lnTo>
                  <a:pt x="2170" y="3576"/>
                </a:lnTo>
                <a:lnTo>
                  <a:pt x="2170" y="3590"/>
                </a:lnTo>
                <a:lnTo>
                  <a:pt x="2170" y="3596"/>
                </a:lnTo>
                <a:lnTo>
                  <a:pt x="2168" y="3600"/>
                </a:lnTo>
                <a:lnTo>
                  <a:pt x="2164" y="3604"/>
                </a:lnTo>
                <a:lnTo>
                  <a:pt x="2162" y="3606"/>
                </a:lnTo>
                <a:lnTo>
                  <a:pt x="2154" y="3608"/>
                </a:lnTo>
                <a:lnTo>
                  <a:pt x="2148" y="3608"/>
                </a:lnTo>
                <a:lnTo>
                  <a:pt x="2142" y="3608"/>
                </a:lnTo>
                <a:lnTo>
                  <a:pt x="2140" y="3608"/>
                </a:lnTo>
                <a:lnTo>
                  <a:pt x="2140" y="3612"/>
                </a:lnTo>
                <a:lnTo>
                  <a:pt x="2146" y="3620"/>
                </a:lnTo>
                <a:lnTo>
                  <a:pt x="2156" y="3632"/>
                </a:lnTo>
                <a:lnTo>
                  <a:pt x="2166" y="3640"/>
                </a:lnTo>
                <a:lnTo>
                  <a:pt x="2188" y="3654"/>
                </a:lnTo>
                <a:lnTo>
                  <a:pt x="2214" y="3668"/>
                </a:lnTo>
                <a:lnTo>
                  <a:pt x="2226" y="3676"/>
                </a:lnTo>
                <a:lnTo>
                  <a:pt x="2240" y="3686"/>
                </a:lnTo>
                <a:lnTo>
                  <a:pt x="2244" y="3692"/>
                </a:lnTo>
                <a:lnTo>
                  <a:pt x="2248" y="3698"/>
                </a:lnTo>
                <a:lnTo>
                  <a:pt x="2250" y="3704"/>
                </a:lnTo>
                <a:lnTo>
                  <a:pt x="2252" y="3710"/>
                </a:lnTo>
                <a:lnTo>
                  <a:pt x="2252" y="3722"/>
                </a:lnTo>
                <a:lnTo>
                  <a:pt x="2250" y="3734"/>
                </a:lnTo>
                <a:lnTo>
                  <a:pt x="2248" y="3746"/>
                </a:lnTo>
                <a:lnTo>
                  <a:pt x="2250" y="3754"/>
                </a:lnTo>
                <a:lnTo>
                  <a:pt x="2252" y="3760"/>
                </a:lnTo>
                <a:lnTo>
                  <a:pt x="2256" y="3768"/>
                </a:lnTo>
                <a:lnTo>
                  <a:pt x="2262" y="3774"/>
                </a:lnTo>
                <a:lnTo>
                  <a:pt x="2270" y="3782"/>
                </a:lnTo>
                <a:lnTo>
                  <a:pt x="2280" y="3790"/>
                </a:lnTo>
                <a:lnTo>
                  <a:pt x="2302" y="3806"/>
                </a:lnTo>
                <a:lnTo>
                  <a:pt x="2316" y="3820"/>
                </a:lnTo>
                <a:lnTo>
                  <a:pt x="2326" y="3834"/>
                </a:lnTo>
                <a:lnTo>
                  <a:pt x="2332" y="3844"/>
                </a:lnTo>
                <a:lnTo>
                  <a:pt x="2336" y="3852"/>
                </a:lnTo>
                <a:lnTo>
                  <a:pt x="2340" y="3858"/>
                </a:lnTo>
                <a:lnTo>
                  <a:pt x="2344" y="3858"/>
                </a:lnTo>
                <a:lnTo>
                  <a:pt x="2352" y="3856"/>
                </a:lnTo>
                <a:lnTo>
                  <a:pt x="2358" y="3850"/>
                </a:lnTo>
                <a:lnTo>
                  <a:pt x="2362" y="3844"/>
                </a:lnTo>
                <a:lnTo>
                  <a:pt x="2364" y="3840"/>
                </a:lnTo>
                <a:lnTo>
                  <a:pt x="2364" y="3836"/>
                </a:lnTo>
                <a:lnTo>
                  <a:pt x="2358" y="3822"/>
                </a:lnTo>
                <a:lnTo>
                  <a:pt x="2346" y="3804"/>
                </a:lnTo>
                <a:lnTo>
                  <a:pt x="2342" y="3794"/>
                </a:lnTo>
                <a:lnTo>
                  <a:pt x="2336" y="3790"/>
                </a:lnTo>
                <a:lnTo>
                  <a:pt x="2332" y="3788"/>
                </a:lnTo>
                <a:lnTo>
                  <a:pt x="2330" y="3790"/>
                </a:lnTo>
                <a:lnTo>
                  <a:pt x="2324" y="3792"/>
                </a:lnTo>
                <a:lnTo>
                  <a:pt x="2320" y="3792"/>
                </a:lnTo>
                <a:lnTo>
                  <a:pt x="2316" y="3790"/>
                </a:lnTo>
                <a:lnTo>
                  <a:pt x="2312" y="3784"/>
                </a:lnTo>
                <a:lnTo>
                  <a:pt x="2312" y="3780"/>
                </a:lnTo>
                <a:lnTo>
                  <a:pt x="2312" y="3772"/>
                </a:lnTo>
                <a:lnTo>
                  <a:pt x="2310" y="3766"/>
                </a:lnTo>
                <a:lnTo>
                  <a:pt x="2310" y="3758"/>
                </a:lnTo>
                <a:lnTo>
                  <a:pt x="2306" y="3750"/>
                </a:lnTo>
                <a:lnTo>
                  <a:pt x="2300" y="3736"/>
                </a:lnTo>
                <a:lnTo>
                  <a:pt x="2290" y="3716"/>
                </a:lnTo>
                <a:lnTo>
                  <a:pt x="2286" y="3702"/>
                </a:lnTo>
                <a:lnTo>
                  <a:pt x="2282" y="3688"/>
                </a:lnTo>
                <a:lnTo>
                  <a:pt x="2276" y="3668"/>
                </a:lnTo>
                <a:lnTo>
                  <a:pt x="2270" y="3656"/>
                </a:lnTo>
                <a:lnTo>
                  <a:pt x="2264" y="3646"/>
                </a:lnTo>
                <a:lnTo>
                  <a:pt x="2250" y="3630"/>
                </a:lnTo>
                <a:lnTo>
                  <a:pt x="2236" y="3612"/>
                </a:lnTo>
                <a:lnTo>
                  <a:pt x="2230" y="3600"/>
                </a:lnTo>
                <a:lnTo>
                  <a:pt x="2226" y="3588"/>
                </a:lnTo>
                <a:lnTo>
                  <a:pt x="2220" y="3576"/>
                </a:lnTo>
                <a:lnTo>
                  <a:pt x="2214" y="3564"/>
                </a:lnTo>
                <a:lnTo>
                  <a:pt x="2200" y="3544"/>
                </a:lnTo>
                <a:lnTo>
                  <a:pt x="2182" y="3524"/>
                </a:lnTo>
                <a:lnTo>
                  <a:pt x="2168" y="3504"/>
                </a:lnTo>
                <a:lnTo>
                  <a:pt x="2160" y="3490"/>
                </a:lnTo>
                <a:lnTo>
                  <a:pt x="2154" y="3474"/>
                </a:lnTo>
                <a:lnTo>
                  <a:pt x="2148" y="3456"/>
                </a:lnTo>
                <a:lnTo>
                  <a:pt x="2144" y="3438"/>
                </a:lnTo>
                <a:lnTo>
                  <a:pt x="2142" y="3422"/>
                </a:lnTo>
                <a:lnTo>
                  <a:pt x="2142" y="3410"/>
                </a:lnTo>
                <a:lnTo>
                  <a:pt x="2144" y="3406"/>
                </a:lnTo>
                <a:lnTo>
                  <a:pt x="2146" y="3404"/>
                </a:lnTo>
                <a:lnTo>
                  <a:pt x="2150" y="3404"/>
                </a:lnTo>
                <a:lnTo>
                  <a:pt x="2154" y="3406"/>
                </a:lnTo>
                <a:lnTo>
                  <a:pt x="2168" y="3414"/>
                </a:lnTo>
                <a:lnTo>
                  <a:pt x="2174" y="3414"/>
                </a:lnTo>
                <a:lnTo>
                  <a:pt x="2178" y="3414"/>
                </a:lnTo>
                <a:lnTo>
                  <a:pt x="2188" y="3418"/>
                </a:lnTo>
                <a:lnTo>
                  <a:pt x="2198" y="3424"/>
                </a:lnTo>
                <a:lnTo>
                  <a:pt x="2204" y="3426"/>
                </a:lnTo>
                <a:lnTo>
                  <a:pt x="2208" y="3432"/>
                </a:lnTo>
                <a:lnTo>
                  <a:pt x="2214" y="3448"/>
                </a:lnTo>
                <a:lnTo>
                  <a:pt x="2224" y="3476"/>
                </a:lnTo>
                <a:lnTo>
                  <a:pt x="2230" y="3494"/>
                </a:lnTo>
                <a:lnTo>
                  <a:pt x="2236" y="3514"/>
                </a:lnTo>
                <a:lnTo>
                  <a:pt x="2246" y="3532"/>
                </a:lnTo>
                <a:lnTo>
                  <a:pt x="2254" y="3550"/>
                </a:lnTo>
                <a:lnTo>
                  <a:pt x="2266" y="3568"/>
                </a:lnTo>
                <a:lnTo>
                  <a:pt x="2276" y="3582"/>
                </a:lnTo>
                <a:lnTo>
                  <a:pt x="2288" y="3594"/>
                </a:lnTo>
                <a:lnTo>
                  <a:pt x="2300" y="3604"/>
                </a:lnTo>
                <a:lnTo>
                  <a:pt x="2310" y="3612"/>
                </a:lnTo>
                <a:lnTo>
                  <a:pt x="2314" y="3618"/>
                </a:lnTo>
                <a:lnTo>
                  <a:pt x="2320" y="3632"/>
                </a:lnTo>
                <a:lnTo>
                  <a:pt x="2324" y="3640"/>
                </a:lnTo>
                <a:lnTo>
                  <a:pt x="2328" y="3646"/>
                </a:lnTo>
                <a:lnTo>
                  <a:pt x="2338" y="3654"/>
                </a:lnTo>
                <a:lnTo>
                  <a:pt x="2352" y="3660"/>
                </a:lnTo>
                <a:lnTo>
                  <a:pt x="2360" y="3664"/>
                </a:lnTo>
                <a:lnTo>
                  <a:pt x="2364" y="3668"/>
                </a:lnTo>
                <a:lnTo>
                  <a:pt x="2368" y="3672"/>
                </a:lnTo>
                <a:lnTo>
                  <a:pt x="2370" y="3676"/>
                </a:lnTo>
                <a:lnTo>
                  <a:pt x="2370" y="3684"/>
                </a:lnTo>
                <a:lnTo>
                  <a:pt x="2366" y="3694"/>
                </a:lnTo>
                <a:lnTo>
                  <a:pt x="2364" y="3702"/>
                </a:lnTo>
                <a:lnTo>
                  <a:pt x="2364" y="3712"/>
                </a:lnTo>
                <a:lnTo>
                  <a:pt x="2364" y="3716"/>
                </a:lnTo>
                <a:lnTo>
                  <a:pt x="2368" y="3720"/>
                </a:lnTo>
                <a:lnTo>
                  <a:pt x="2372" y="3726"/>
                </a:lnTo>
                <a:lnTo>
                  <a:pt x="2380" y="3730"/>
                </a:lnTo>
                <a:lnTo>
                  <a:pt x="2394" y="3738"/>
                </a:lnTo>
                <a:lnTo>
                  <a:pt x="2402" y="3744"/>
                </a:lnTo>
                <a:lnTo>
                  <a:pt x="2408" y="3750"/>
                </a:lnTo>
                <a:lnTo>
                  <a:pt x="2412" y="3756"/>
                </a:lnTo>
                <a:lnTo>
                  <a:pt x="2422" y="3774"/>
                </a:lnTo>
                <a:lnTo>
                  <a:pt x="2434" y="3786"/>
                </a:lnTo>
                <a:lnTo>
                  <a:pt x="2450" y="3804"/>
                </a:lnTo>
                <a:lnTo>
                  <a:pt x="2476" y="3830"/>
                </a:lnTo>
                <a:lnTo>
                  <a:pt x="2494" y="3850"/>
                </a:lnTo>
                <a:lnTo>
                  <a:pt x="2506" y="3868"/>
                </a:lnTo>
                <a:lnTo>
                  <a:pt x="2512" y="3882"/>
                </a:lnTo>
                <a:lnTo>
                  <a:pt x="2516" y="3894"/>
                </a:lnTo>
                <a:lnTo>
                  <a:pt x="2518" y="3904"/>
                </a:lnTo>
                <a:lnTo>
                  <a:pt x="2522" y="3914"/>
                </a:lnTo>
                <a:lnTo>
                  <a:pt x="2526" y="3926"/>
                </a:lnTo>
                <a:lnTo>
                  <a:pt x="2532" y="3938"/>
                </a:lnTo>
                <a:lnTo>
                  <a:pt x="2532" y="3948"/>
                </a:lnTo>
                <a:lnTo>
                  <a:pt x="2528" y="3958"/>
                </a:lnTo>
                <a:lnTo>
                  <a:pt x="2524" y="3968"/>
                </a:lnTo>
                <a:lnTo>
                  <a:pt x="2520" y="3978"/>
                </a:lnTo>
                <a:lnTo>
                  <a:pt x="2516" y="3988"/>
                </a:lnTo>
                <a:lnTo>
                  <a:pt x="2516" y="4000"/>
                </a:lnTo>
                <a:lnTo>
                  <a:pt x="2520" y="4012"/>
                </a:lnTo>
                <a:lnTo>
                  <a:pt x="2528" y="4024"/>
                </a:lnTo>
                <a:lnTo>
                  <a:pt x="2536" y="4032"/>
                </a:lnTo>
                <a:lnTo>
                  <a:pt x="2552" y="4046"/>
                </a:lnTo>
                <a:lnTo>
                  <a:pt x="2570" y="4060"/>
                </a:lnTo>
                <a:lnTo>
                  <a:pt x="2582" y="4068"/>
                </a:lnTo>
                <a:lnTo>
                  <a:pt x="2594" y="4080"/>
                </a:lnTo>
                <a:lnTo>
                  <a:pt x="2606" y="4090"/>
                </a:lnTo>
                <a:lnTo>
                  <a:pt x="2618" y="4098"/>
                </a:lnTo>
                <a:lnTo>
                  <a:pt x="2628" y="4102"/>
                </a:lnTo>
                <a:lnTo>
                  <a:pt x="2638" y="4104"/>
                </a:lnTo>
                <a:lnTo>
                  <a:pt x="2648" y="4106"/>
                </a:lnTo>
                <a:lnTo>
                  <a:pt x="2658" y="4110"/>
                </a:lnTo>
                <a:lnTo>
                  <a:pt x="2668" y="4116"/>
                </a:lnTo>
                <a:lnTo>
                  <a:pt x="2680" y="4126"/>
                </a:lnTo>
                <a:lnTo>
                  <a:pt x="2694" y="4138"/>
                </a:lnTo>
                <a:lnTo>
                  <a:pt x="2714" y="4150"/>
                </a:lnTo>
                <a:lnTo>
                  <a:pt x="2736" y="4162"/>
                </a:lnTo>
                <a:lnTo>
                  <a:pt x="2762" y="4176"/>
                </a:lnTo>
                <a:lnTo>
                  <a:pt x="2814" y="4198"/>
                </a:lnTo>
                <a:lnTo>
                  <a:pt x="2862" y="4218"/>
                </a:lnTo>
                <a:lnTo>
                  <a:pt x="2880" y="4222"/>
                </a:lnTo>
                <a:lnTo>
                  <a:pt x="2894" y="4222"/>
                </a:lnTo>
                <a:lnTo>
                  <a:pt x="2906" y="4218"/>
                </a:lnTo>
                <a:lnTo>
                  <a:pt x="2916" y="4212"/>
                </a:lnTo>
                <a:lnTo>
                  <a:pt x="2926" y="4206"/>
                </a:lnTo>
                <a:lnTo>
                  <a:pt x="2938" y="4200"/>
                </a:lnTo>
                <a:lnTo>
                  <a:pt x="2952" y="4198"/>
                </a:lnTo>
                <a:lnTo>
                  <a:pt x="2968" y="4198"/>
                </a:lnTo>
                <a:lnTo>
                  <a:pt x="2984" y="4204"/>
                </a:lnTo>
                <a:lnTo>
                  <a:pt x="2996" y="4210"/>
                </a:lnTo>
                <a:lnTo>
                  <a:pt x="3006" y="4220"/>
                </a:lnTo>
                <a:lnTo>
                  <a:pt x="3016" y="4230"/>
                </a:lnTo>
                <a:lnTo>
                  <a:pt x="3032" y="4252"/>
                </a:lnTo>
                <a:lnTo>
                  <a:pt x="3042" y="4264"/>
                </a:lnTo>
                <a:lnTo>
                  <a:pt x="3054" y="4278"/>
                </a:lnTo>
                <a:lnTo>
                  <a:pt x="3074" y="4294"/>
                </a:lnTo>
                <a:lnTo>
                  <a:pt x="3086" y="4304"/>
                </a:lnTo>
                <a:lnTo>
                  <a:pt x="3096" y="4306"/>
                </a:lnTo>
                <a:lnTo>
                  <a:pt x="3104" y="4306"/>
                </a:lnTo>
                <a:lnTo>
                  <a:pt x="3116" y="4306"/>
                </a:lnTo>
                <a:lnTo>
                  <a:pt x="3124" y="4310"/>
                </a:lnTo>
                <a:lnTo>
                  <a:pt x="3140" y="4316"/>
                </a:lnTo>
                <a:lnTo>
                  <a:pt x="3146" y="4322"/>
                </a:lnTo>
                <a:lnTo>
                  <a:pt x="3150" y="4326"/>
                </a:lnTo>
                <a:lnTo>
                  <a:pt x="3154" y="4328"/>
                </a:lnTo>
                <a:lnTo>
                  <a:pt x="3162" y="4328"/>
                </a:lnTo>
                <a:lnTo>
                  <a:pt x="3174" y="4332"/>
                </a:lnTo>
                <a:lnTo>
                  <a:pt x="3186" y="4338"/>
                </a:lnTo>
                <a:lnTo>
                  <a:pt x="3196" y="4342"/>
                </a:lnTo>
                <a:lnTo>
                  <a:pt x="3204" y="4346"/>
                </a:lnTo>
                <a:lnTo>
                  <a:pt x="3206" y="4346"/>
                </a:lnTo>
                <a:lnTo>
                  <a:pt x="3206" y="4344"/>
                </a:lnTo>
                <a:lnTo>
                  <a:pt x="3204" y="4342"/>
                </a:lnTo>
                <a:lnTo>
                  <a:pt x="3202" y="4340"/>
                </a:lnTo>
                <a:lnTo>
                  <a:pt x="3210" y="4344"/>
                </a:lnTo>
                <a:lnTo>
                  <a:pt x="3214" y="4346"/>
                </a:lnTo>
                <a:lnTo>
                  <a:pt x="3218" y="4346"/>
                </a:lnTo>
                <a:lnTo>
                  <a:pt x="3228" y="4344"/>
                </a:lnTo>
                <a:lnTo>
                  <a:pt x="3234" y="4342"/>
                </a:lnTo>
                <a:lnTo>
                  <a:pt x="3236" y="4340"/>
                </a:lnTo>
                <a:lnTo>
                  <a:pt x="3234" y="4340"/>
                </a:lnTo>
                <a:lnTo>
                  <a:pt x="3232" y="4338"/>
                </a:lnTo>
                <a:lnTo>
                  <a:pt x="3230" y="4336"/>
                </a:lnTo>
                <a:lnTo>
                  <a:pt x="3230" y="4334"/>
                </a:lnTo>
                <a:lnTo>
                  <a:pt x="3234" y="4334"/>
                </a:lnTo>
                <a:lnTo>
                  <a:pt x="3236" y="4334"/>
                </a:lnTo>
                <a:lnTo>
                  <a:pt x="3238" y="4334"/>
                </a:lnTo>
                <a:lnTo>
                  <a:pt x="3240" y="4332"/>
                </a:lnTo>
                <a:lnTo>
                  <a:pt x="3240" y="4330"/>
                </a:lnTo>
                <a:lnTo>
                  <a:pt x="3244" y="4336"/>
                </a:lnTo>
                <a:lnTo>
                  <a:pt x="3248" y="4344"/>
                </a:lnTo>
                <a:lnTo>
                  <a:pt x="3252" y="4348"/>
                </a:lnTo>
                <a:lnTo>
                  <a:pt x="3254" y="4352"/>
                </a:lnTo>
                <a:lnTo>
                  <a:pt x="3252" y="4354"/>
                </a:lnTo>
                <a:lnTo>
                  <a:pt x="3252" y="4358"/>
                </a:lnTo>
                <a:lnTo>
                  <a:pt x="3250" y="4358"/>
                </a:lnTo>
                <a:lnTo>
                  <a:pt x="3246" y="4354"/>
                </a:lnTo>
                <a:lnTo>
                  <a:pt x="3244" y="4352"/>
                </a:lnTo>
                <a:lnTo>
                  <a:pt x="3242" y="4352"/>
                </a:lnTo>
                <a:lnTo>
                  <a:pt x="3240" y="4354"/>
                </a:lnTo>
                <a:lnTo>
                  <a:pt x="3238" y="4358"/>
                </a:lnTo>
                <a:lnTo>
                  <a:pt x="3242" y="4362"/>
                </a:lnTo>
                <a:lnTo>
                  <a:pt x="3248" y="4366"/>
                </a:lnTo>
                <a:lnTo>
                  <a:pt x="3252" y="4374"/>
                </a:lnTo>
                <a:lnTo>
                  <a:pt x="3260" y="4382"/>
                </a:lnTo>
                <a:lnTo>
                  <a:pt x="3266" y="4388"/>
                </a:lnTo>
                <a:lnTo>
                  <a:pt x="3274" y="4394"/>
                </a:lnTo>
                <a:lnTo>
                  <a:pt x="3278" y="4398"/>
                </a:lnTo>
                <a:lnTo>
                  <a:pt x="3282" y="4406"/>
                </a:lnTo>
                <a:lnTo>
                  <a:pt x="3288" y="4418"/>
                </a:lnTo>
                <a:lnTo>
                  <a:pt x="3296" y="4426"/>
                </a:lnTo>
                <a:lnTo>
                  <a:pt x="3304" y="4434"/>
                </a:lnTo>
                <a:lnTo>
                  <a:pt x="3316" y="4446"/>
                </a:lnTo>
                <a:lnTo>
                  <a:pt x="3318" y="4450"/>
                </a:lnTo>
                <a:lnTo>
                  <a:pt x="3318" y="4452"/>
                </a:lnTo>
                <a:lnTo>
                  <a:pt x="3314" y="4454"/>
                </a:lnTo>
                <a:lnTo>
                  <a:pt x="3310" y="4456"/>
                </a:lnTo>
                <a:lnTo>
                  <a:pt x="3310" y="4458"/>
                </a:lnTo>
                <a:lnTo>
                  <a:pt x="3316" y="4460"/>
                </a:lnTo>
                <a:lnTo>
                  <a:pt x="3318" y="4460"/>
                </a:lnTo>
                <a:lnTo>
                  <a:pt x="3320" y="4462"/>
                </a:lnTo>
                <a:lnTo>
                  <a:pt x="3320" y="4468"/>
                </a:lnTo>
                <a:lnTo>
                  <a:pt x="3318" y="4474"/>
                </a:lnTo>
                <a:lnTo>
                  <a:pt x="3316" y="4474"/>
                </a:lnTo>
                <a:lnTo>
                  <a:pt x="3314" y="4474"/>
                </a:lnTo>
                <a:lnTo>
                  <a:pt x="3312" y="4480"/>
                </a:lnTo>
                <a:lnTo>
                  <a:pt x="3312" y="4490"/>
                </a:lnTo>
                <a:lnTo>
                  <a:pt x="3314" y="4498"/>
                </a:lnTo>
                <a:lnTo>
                  <a:pt x="3318" y="4504"/>
                </a:lnTo>
                <a:lnTo>
                  <a:pt x="3322" y="4506"/>
                </a:lnTo>
                <a:lnTo>
                  <a:pt x="3330" y="4510"/>
                </a:lnTo>
                <a:lnTo>
                  <a:pt x="3336" y="4514"/>
                </a:lnTo>
                <a:lnTo>
                  <a:pt x="3338" y="4518"/>
                </a:lnTo>
                <a:lnTo>
                  <a:pt x="3340" y="4520"/>
                </a:lnTo>
                <a:lnTo>
                  <a:pt x="3342" y="4520"/>
                </a:lnTo>
                <a:lnTo>
                  <a:pt x="3348" y="4512"/>
                </a:lnTo>
                <a:lnTo>
                  <a:pt x="3350" y="4510"/>
                </a:lnTo>
                <a:lnTo>
                  <a:pt x="3352" y="4508"/>
                </a:lnTo>
                <a:lnTo>
                  <a:pt x="3348" y="4506"/>
                </a:lnTo>
                <a:lnTo>
                  <a:pt x="3338" y="4498"/>
                </a:lnTo>
                <a:lnTo>
                  <a:pt x="3336" y="4494"/>
                </a:lnTo>
                <a:lnTo>
                  <a:pt x="3336" y="4492"/>
                </a:lnTo>
                <a:lnTo>
                  <a:pt x="3336" y="4490"/>
                </a:lnTo>
                <a:lnTo>
                  <a:pt x="3338" y="4492"/>
                </a:lnTo>
                <a:lnTo>
                  <a:pt x="3342" y="4494"/>
                </a:lnTo>
                <a:lnTo>
                  <a:pt x="3348" y="4496"/>
                </a:lnTo>
                <a:lnTo>
                  <a:pt x="3354" y="4500"/>
                </a:lnTo>
                <a:lnTo>
                  <a:pt x="3358" y="4506"/>
                </a:lnTo>
                <a:lnTo>
                  <a:pt x="3360" y="4514"/>
                </a:lnTo>
                <a:lnTo>
                  <a:pt x="3360" y="4518"/>
                </a:lnTo>
                <a:lnTo>
                  <a:pt x="3362" y="4522"/>
                </a:lnTo>
                <a:lnTo>
                  <a:pt x="3366" y="4524"/>
                </a:lnTo>
                <a:lnTo>
                  <a:pt x="3370" y="4524"/>
                </a:lnTo>
                <a:lnTo>
                  <a:pt x="3374" y="4526"/>
                </a:lnTo>
                <a:lnTo>
                  <a:pt x="3384" y="4532"/>
                </a:lnTo>
                <a:lnTo>
                  <a:pt x="3400" y="4544"/>
                </a:lnTo>
                <a:lnTo>
                  <a:pt x="3402" y="4548"/>
                </a:lnTo>
                <a:lnTo>
                  <a:pt x="3402" y="4552"/>
                </a:lnTo>
                <a:lnTo>
                  <a:pt x="3402" y="4558"/>
                </a:lnTo>
                <a:lnTo>
                  <a:pt x="3402" y="4562"/>
                </a:lnTo>
                <a:lnTo>
                  <a:pt x="3398" y="4566"/>
                </a:lnTo>
                <a:lnTo>
                  <a:pt x="3398" y="4568"/>
                </a:lnTo>
                <a:lnTo>
                  <a:pt x="3400" y="4572"/>
                </a:lnTo>
                <a:lnTo>
                  <a:pt x="3404" y="4576"/>
                </a:lnTo>
                <a:lnTo>
                  <a:pt x="3408" y="4578"/>
                </a:lnTo>
                <a:lnTo>
                  <a:pt x="3412" y="4578"/>
                </a:lnTo>
                <a:lnTo>
                  <a:pt x="3414" y="4580"/>
                </a:lnTo>
                <a:lnTo>
                  <a:pt x="3416" y="4580"/>
                </a:lnTo>
                <a:lnTo>
                  <a:pt x="3416" y="4576"/>
                </a:lnTo>
                <a:lnTo>
                  <a:pt x="3414" y="4574"/>
                </a:lnTo>
                <a:lnTo>
                  <a:pt x="3410" y="4570"/>
                </a:lnTo>
                <a:lnTo>
                  <a:pt x="3408" y="4566"/>
                </a:lnTo>
                <a:lnTo>
                  <a:pt x="3408" y="4564"/>
                </a:lnTo>
                <a:lnTo>
                  <a:pt x="3410" y="4562"/>
                </a:lnTo>
                <a:lnTo>
                  <a:pt x="3414" y="4562"/>
                </a:lnTo>
                <a:lnTo>
                  <a:pt x="3414" y="4564"/>
                </a:lnTo>
                <a:lnTo>
                  <a:pt x="3416" y="4566"/>
                </a:lnTo>
                <a:lnTo>
                  <a:pt x="3418" y="4568"/>
                </a:lnTo>
                <a:lnTo>
                  <a:pt x="3420" y="4570"/>
                </a:lnTo>
                <a:lnTo>
                  <a:pt x="3422" y="4572"/>
                </a:lnTo>
                <a:lnTo>
                  <a:pt x="3422" y="4576"/>
                </a:lnTo>
                <a:lnTo>
                  <a:pt x="3422" y="4582"/>
                </a:lnTo>
                <a:lnTo>
                  <a:pt x="3422" y="4586"/>
                </a:lnTo>
                <a:lnTo>
                  <a:pt x="3428" y="4592"/>
                </a:lnTo>
                <a:lnTo>
                  <a:pt x="3430" y="4596"/>
                </a:lnTo>
                <a:lnTo>
                  <a:pt x="3432" y="4594"/>
                </a:lnTo>
                <a:lnTo>
                  <a:pt x="3434" y="4588"/>
                </a:lnTo>
                <a:lnTo>
                  <a:pt x="3436" y="4584"/>
                </a:lnTo>
                <a:lnTo>
                  <a:pt x="3440" y="4584"/>
                </a:lnTo>
                <a:lnTo>
                  <a:pt x="3454" y="4586"/>
                </a:lnTo>
                <a:lnTo>
                  <a:pt x="3464" y="4590"/>
                </a:lnTo>
                <a:lnTo>
                  <a:pt x="3472" y="4592"/>
                </a:lnTo>
                <a:lnTo>
                  <a:pt x="3478" y="4592"/>
                </a:lnTo>
                <a:lnTo>
                  <a:pt x="3480" y="4594"/>
                </a:lnTo>
                <a:lnTo>
                  <a:pt x="3482" y="4602"/>
                </a:lnTo>
                <a:lnTo>
                  <a:pt x="3484" y="4606"/>
                </a:lnTo>
                <a:lnTo>
                  <a:pt x="3484" y="4608"/>
                </a:lnTo>
                <a:lnTo>
                  <a:pt x="3486" y="4612"/>
                </a:lnTo>
                <a:lnTo>
                  <a:pt x="3490" y="4614"/>
                </a:lnTo>
                <a:lnTo>
                  <a:pt x="3498" y="4618"/>
                </a:lnTo>
                <a:lnTo>
                  <a:pt x="3498" y="4616"/>
                </a:lnTo>
                <a:lnTo>
                  <a:pt x="3498" y="4612"/>
                </a:lnTo>
                <a:lnTo>
                  <a:pt x="3500" y="4608"/>
                </a:lnTo>
                <a:lnTo>
                  <a:pt x="3502" y="4606"/>
                </a:lnTo>
                <a:lnTo>
                  <a:pt x="3504" y="4606"/>
                </a:lnTo>
                <a:lnTo>
                  <a:pt x="3506" y="4608"/>
                </a:lnTo>
                <a:lnTo>
                  <a:pt x="3506" y="4612"/>
                </a:lnTo>
                <a:lnTo>
                  <a:pt x="3508" y="4618"/>
                </a:lnTo>
                <a:lnTo>
                  <a:pt x="3510" y="4626"/>
                </a:lnTo>
                <a:lnTo>
                  <a:pt x="3510" y="4634"/>
                </a:lnTo>
                <a:lnTo>
                  <a:pt x="3510" y="4636"/>
                </a:lnTo>
                <a:lnTo>
                  <a:pt x="3512" y="4638"/>
                </a:lnTo>
                <a:lnTo>
                  <a:pt x="3516" y="4638"/>
                </a:lnTo>
                <a:lnTo>
                  <a:pt x="3528" y="4636"/>
                </a:lnTo>
                <a:lnTo>
                  <a:pt x="3530" y="4636"/>
                </a:lnTo>
                <a:lnTo>
                  <a:pt x="3532" y="4634"/>
                </a:lnTo>
                <a:lnTo>
                  <a:pt x="3532" y="4632"/>
                </a:lnTo>
                <a:lnTo>
                  <a:pt x="3534" y="4628"/>
                </a:lnTo>
                <a:lnTo>
                  <a:pt x="3538" y="4628"/>
                </a:lnTo>
                <a:lnTo>
                  <a:pt x="3544" y="4626"/>
                </a:lnTo>
                <a:lnTo>
                  <a:pt x="3548" y="4624"/>
                </a:lnTo>
                <a:lnTo>
                  <a:pt x="3548" y="4622"/>
                </a:lnTo>
                <a:lnTo>
                  <a:pt x="3548" y="4620"/>
                </a:lnTo>
                <a:lnTo>
                  <a:pt x="3542" y="4612"/>
                </a:lnTo>
                <a:lnTo>
                  <a:pt x="3536" y="4604"/>
                </a:lnTo>
                <a:lnTo>
                  <a:pt x="3534" y="4600"/>
                </a:lnTo>
                <a:lnTo>
                  <a:pt x="3534" y="4598"/>
                </a:lnTo>
                <a:lnTo>
                  <a:pt x="3532" y="4598"/>
                </a:lnTo>
                <a:lnTo>
                  <a:pt x="3530" y="4598"/>
                </a:lnTo>
                <a:lnTo>
                  <a:pt x="3528" y="4596"/>
                </a:lnTo>
                <a:lnTo>
                  <a:pt x="3526" y="4592"/>
                </a:lnTo>
                <a:lnTo>
                  <a:pt x="3528" y="4586"/>
                </a:lnTo>
                <a:lnTo>
                  <a:pt x="3530" y="4586"/>
                </a:lnTo>
                <a:lnTo>
                  <a:pt x="3534" y="4584"/>
                </a:lnTo>
                <a:lnTo>
                  <a:pt x="3538" y="4584"/>
                </a:lnTo>
                <a:lnTo>
                  <a:pt x="3544" y="4582"/>
                </a:lnTo>
                <a:lnTo>
                  <a:pt x="3550" y="4576"/>
                </a:lnTo>
                <a:lnTo>
                  <a:pt x="3558" y="4566"/>
                </a:lnTo>
                <a:lnTo>
                  <a:pt x="3558" y="4564"/>
                </a:lnTo>
                <a:lnTo>
                  <a:pt x="3558" y="4562"/>
                </a:lnTo>
                <a:lnTo>
                  <a:pt x="3558" y="4558"/>
                </a:lnTo>
                <a:lnTo>
                  <a:pt x="3562" y="4556"/>
                </a:lnTo>
                <a:lnTo>
                  <a:pt x="3568" y="4554"/>
                </a:lnTo>
                <a:lnTo>
                  <a:pt x="3568" y="4552"/>
                </a:lnTo>
                <a:lnTo>
                  <a:pt x="3572" y="4550"/>
                </a:lnTo>
                <a:lnTo>
                  <a:pt x="3578" y="4548"/>
                </a:lnTo>
                <a:lnTo>
                  <a:pt x="3588" y="4552"/>
                </a:lnTo>
                <a:lnTo>
                  <a:pt x="3598" y="4558"/>
                </a:lnTo>
                <a:lnTo>
                  <a:pt x="3606" y="4566"/>
                </a:lnTo>
                <a:lnTo>
                  <a:pt x="3608" y="4568"/>
                </a:lnTo>
                <a:lnTo>
                  <a:pt x="3608" y="4570"/>
                </a:lnTo>
                <a:lnTo>
                  <a:pt x="3608" y="4574"/>
                </a:lnTo>
                <a:lnTo>
                  <a:pt x="3608" y="4578"/>
                </a:lnTo>
                <a:lnTo>
                  <a:pt x="3610" y="4580"/>
                </a:lnTo>
                <a:lnTo>
                  <a:pt x="3612" y="4580"/>
                </a:lnTo>
                <a:lnTo>
                  <a:pt x="3616" y="4576"/>
                </a:lnTo>
                <a:lnTo>
                  <a:pt x="3616" y="4578"/>
                </a:lnTo>
                <a:lnTo>
                  <a:pt x="3618" y="4578"/>
                </a:lnTo>
                <a:lnTo>
                  <a:pt x="3620" y="4578"/>
                </a:lnTo>
                <a:lnTo>
                  <a:pt x="3622" y="4576"/>
                </a:lnTo>
                <a:lnTo>
                  <a:pt x="3620" y="4578"/>
                </a:lnTo>
                <a:lnTo>
                  <a:pt x="3618" y="4586"/>
                </a:lnTo>
                <a:lnTo>
                  <a:pt x="3614" y="4596"/>
                </a:lnTo>
                <a:lnTo>
                  <a:pt x="3614" y="4600"/>
                </a:lnTo>
                <a:lnTo>
                  <a:pt x="3614" y="4604"/>
                </a:lnTo>
                <a:lnTo>
                  <a:pt x="3622" y="4620"/>
                </a:lnTo>
                <a:lnTo>
                  <a:pt x="3628" y="4628"/>
                </a:lnTo>
                <a:lnTo>
                  <a:pt x="3634" y="4636"/>
                </a:lnTo>
                <a:lnTo>
                  <a:pt x="3636" y="4640"/>
                </a:lnTo>
                <a:lnTo>
                  <a:pt x="3638" y="4642"/>
                </a:lnTo>
                <a:lnTo>
                  <a:pt x="3640" y="4644"/>
                </a:lnTo>
                <a:lnTo>
                  <a:pt x="3642" y="4648"/>
                </a:lnTo>
                <a:lnTo>
                  <a:pt x="3642" y="4658"/>
                </a:lnTo>
                <a:lnTo>
                  <a:pt x="3644" y="4660"/>
                </a:lnTo>
                <a:lnTo>
                  <a:pt x="3648" y="4664"/>
                </a:lnTo>
                <a:lnTo>
                  <a:pt x="3652" y="4666"/>
                </a:lnTo>
                <a:lnTo>
                  <a:pt x="3654" y="4670"/>
                </a:lnTo>
                <a:lnTo>
                  <a:pt x="3654" y="4674"/>
                </a:lnTo>
                <a:lnTo>
                  <a:pt x="3652" y="4678"/>
                </a:lnTo>
                <a:lnTo>
                  <a:pt x="3650" y="4688"/>
                </a:lnTo>
                <a:lnTo>
                  <a:pt x="3650" y="4692"/>
                </a:lnTo>
                <a:lnTo>
                  <a:pt x="3652" y="4698"/>
                </a:lnTo>
                <a:lnTo>
                  <a:pt x="3658" y="4704"/>
                </a:lnTo>
                <a:lnTo>
                  <a:pt x="3658" y="4708"/>
                </a:lnTo>
                <a:lnTo>
                  <a:pt x="3656" y="4710"/>
                </a:lnTo>
                <a:lnTo>
                  <a:pt x="3654" y="4714"/>
                </a:lnTo>
                <a:lnTo>
                  <a:pt x="3650" y="4716"/>
                </a:lnTo>
                <a:lnTo>
                  <a:pt x="3648" y="4722"/>
                </a:lnTo>
                <a:lnTo>
                  <a:pt x="3646" y="4730"/>
                </a:lnTo>
                <a:lnTo>
                  <a:pt x="3648" y="4744"/>
                </a:lnTo>
                <a:lnTo>
                  <a:pt x="3650" y="4758"/>
                </a:lnTo>
                <a:lnTo>
                  <a:pt x="3650" y="4770"/>
                </a:lnTo>
                <a:lnTo>
                  <a:pt x="3648" y="4790"/>
                </a:lnTo>
                <a:lnTo>
                  <a:pt x="3648" y="4802"/>
                </a:lnTo>
                <a:lnTo>
                  <a:pt x="3650" y="4806"/>
                </a:lnTo>
                <a:lnTo>
                  <a:pt x="3652" y="4808"/>
                </a:lnTo>
                <a:lnTo>
                  <a:pt x="3654" y="4812"/>
                </a:lnTo>
                <a:lnTo>
                  <a:pt x="3656" y="4818"/>
                </a:lnTo>
                <a:lnTo>
                  <a:pt x="3654" y="4826"/>
                </a:lnTo>
                <a:lnTo>
                  <a:pt x="3650" y="4836"/>
                </a:lnTo>
                <a:lnTo>
                  <a:pt x="3646" y="4846"/>
                </a:lnTo>
                <a:lnTo>
                  <a:pt x="3640" y="4856"/>
                </a:lnTo>
                <a:lnTo>
                  <a:pt x="3634" y="4862"/>
                </a:lnTo>
                <a:lnTo>
                  <a:pt x="3628" y="4864"/>
                </a:lnTo>
                <a:lnTo>
                  <a:pt x="3616" y="4866"/>
                </a:lnTo>
                <a:lnTo>
                  <a:pt x="3606" y="4870"/>
                </a:lnTo>
                <a:lnTo>
                  <a:pt x="3602" y="4872"/>
                </a:lnTo>
                <a:lnTo>
                  <a:pt x="3600" y="4876"/>
                </a:lnTo>
                <a:lnTo>
                  <a:pt x="3600" y="4882"/>
                </a:lnTo>
                <a:lnTo>
                  <a:pt x="3600" y="4888"/>
                </a:lnTo>
                <a:lnTo>
                  <a:pt x="3602" y="4892"/>
                </a:lnTo>
                <a:lnTo>
                  <a:pt x="3600" y="4896"/>
                </a:lnTo>
                <a:lnTo>
                  <a:pt x="3592" y="4898"/>
                </a:lnTo>
                <a:lnTo>
                  <a:pt x="3590" y="4900"/>
                </a:lnTo>
                <a:lnTo>
                  <a:pt x="3588" y="4904"/>
                </a:lnTo>
                <a:lnTo>
                  <a:pt x="3590" y="4910"/>
                </a:lnTo>
                <a:lnTo>
                  <a:pt x="3594" y="4918"/>
                </a:lnTo>
                <a:lnTo>
                  <a:pt x="3594" y="4922"/>
                </a:lnTo>
                <a:lnTo>
                  <a:pt x="3594" y="4926"/>
                </a:lnTo>
                <a:lnTo>
                  <a:pt x="3588" y="4932"/>
                </a:lnTo>
                <a:lnTo>
                  <a:pt x="3580" y="4934"/>
                </a:lnTo>
                <a:lnTo>
                  <a:pt x="3570" y="4938"/>
                </a:lnTo>
                <a:lnTo>
                  <a:pt x="3560" y="4942"/>
                </a:lnTo>
                <a:lnTo>
                  <a:pt x="3552" y="4946"/>
                </a:lnTo>
                <a:lnTo>
                  <a:pt x="3546" y="4952"/>
                </a:lnTo>
                <a:lnTo>
                  <a:pt x="3546" y="4956"/>
                </a:lnTo>
                <a:lnTo>
                  <a:pt x="3546" y="4962"/>
                </a:lnTo>
                <a:lnTo>
                  <a:pt x="3546" y="4974"/>
                </a:lnTo>
                <a:lnTo>
                  <a:pt x="3546" y="4984"/>
                </a:lnTo>
                <a:lnTo>
                  <a:pt x="3542" y="4990"/>
                </a:lnTo>
                <a:lnTo>
                  <a:pt x="3540" y="4994"/>
                </a:lnTo>
                <a:lnTo>
                  <a:pt x="3532" y="5002"/>
                </a:lnTo>
                <a:lnTo>
                  <a:pt x="3530" y="5008"/>
                </a:lnTo>
                <a:lnTo>
                  <a:pt x="3530" y="5016"/>
                </a:lnTo>
                <a:lnTo>
                  <a:pt x="3530" y="5024"/>
                </a:lnTo>
                <a:lnTo>
                  <a:pt x="3528" y="5030"/>
                </a:lnTo>
                <a:lnTo>
                  <a:pt x="3524" y="5032"/>
                </a:lnTo>
                <a:lnTo>
                  <a:pt x="3520" y="5032"/>
                </a:lnTo>
                <a:lnTo>
                  <a:pt x="3516" y="5034"/>
                </a:lnTo>
                <a:lnTo>
                  <a:pt x="3512" y="5038"/>
                </a:lnTo>
                <a:lnTo>
                  <a:pt x="3510" y="5044"/>
                </a:lnTo>
                <a:lnTo>
                  <a:pt x="3512" y="5054"/>
                </a:lnTo>
                <a:lnTo>
                  <a:pt x="3516" y="5070"/>
                </a:lnTo>
                <a:lnTo>
                  <a:pt x="3516" y="5082"/>
                </a:lnTo>
                <a:lnTo>
                  <a:pt x="3516" y="5090"/>
                </a:lnTo>
                <a:lnTo>
                  <a:pt x="3514" y="5094"/>
                </a:lnTo>
                <a:lnTo>
                  <a:pt x="3514" y="5098"/>
                </a:lnTo>
                <a:lnTo>
                  <a:pt x="3514" y="5100"/>
                </a:lnTo>
                <a:lnTo>
                  <a:pt x="3524" y="5112"/>
                </a:lnTo>
                <a:lnTo>
                  <a:pt x="3532" y="5118"/>
                </a:lnTo>
                <a:lnTo>
                  <a:pt x="3538" y="5120"/>
                </a:lnTo>
                <a:lnTo>
                  <a:pt x="3542" y="5118"/>
                </a:lnTo>
                <a:lnTo>
                  <a:pt x="3546" y="5116"/>
                </a:lnTo>
                <a:lnTo>
                  <a:pt x="3550" y="5110"/>
                </a:lnTo>
                <a:lnTo>
                  <a:pt x="3552" y="5110"/>
                </a:lnTo>
                <a:lnTo>
                  <a:pt x="3552" y="5114"/>
                </a:lnTo>
                <a:lnTo>
                  <a:pt x="3552" y="5128"/>
                </a:lnTo>
                <a:lnTo>
                  <a:pt x="3550" y="5140"/>
                </a:lnTo>
                <a:lnTo>
                  <a:pt x="3548" y="5144"/>
                </a:lnTo>
                <a:lnTo>
                  <a:pt x="3544" y="5148"/>
                </a:lnTo>
                <a:lnTo>
                  <a:pt x="3540" y="5152"/>
                </a:lnTo>
                <a:lnTo>
                  <a:pt x="3534" y="5154"/>
                </a:lnTo>
                <a:lnTo>
                  <a:pt x="3520" y="5170"/>
                </a:lnTo>
                <a:lnTo>
                  <a:pt x="3508" y="5184"/>
                </a:lnTo>
                <a:lnTo>
                  <a:pt x="3502" y="5196"/>
                </a:lnTo>
                <a:lnTo>
                  <a:pt x="3498" y="5208"/>
                </a:lnTo>
                <a:lnTo>
                  <a:pt x="3496" y="5218"/>
                </a:lnTo>
                <a:lnTo>
                  <a:pt x="3496" y="5228"/>
                </a:lnTo>
                <a:lnTo>
                  <a:pt x="3498" y="5244"/>
                </a:lnTo>
                <a:lnTo>
                  <a:pt x="3502" y="5250"/>
                </a:lnTo>
                <a:lnTo>
                  <a:pt x="3504" y="5254"/>
                </a:lnTo>
                <a:lnTo>
                  <a:pt x="3512" y="5260"/>
                </a:lnTo>
                <a:lnTo>
                  <a:pt x="3514" y="5262"/>
                </a:lnTo>
                <a:lnTo>
                  <a:pt x="3516" y="5264"/>
                </a:lnTo>
                <a:lnTo>
                  <a:pt x="3514" y="5268"/>
                </a:lnTo>
                <a:lnTo>
                  <a:pt x="3508" y="5272"/>
                </a:lnTo>
                <a:lnTo>
                  <a:pt x="3504" y="5276"/>
                </a:lnTo>
                <a:lnTo>
                  <a:pt x="3502" y="5280"/>
                </a:lnTo>
                <a:lnTo>
                  <a:pt x="3502" y="5282"/>
                </a:lnTo>
                <a:lnTo>
                  <a:pt x="3504" y="5286"/>
                </a:lnTo>
                <a:lnTo>
                  <a:pt x="3510" y="5292"/>
                </a:lnTo>
                <a:lnTo>
                  <a:pt x="3518" y="5298"/>
                </a:lnTo>
                <a:lnTo>
                  <a:pt x="3540" y="5310"/>
                </a:lnTo>
                <a:lnTo>
                  <a:pt x="3550" y="5318"/>
                </a:lnTo>
                <a:lnTo>
                  <a:pt x="3552" y="5322"/>
                </a:lnTo>
                <a:lnTo>
                  <a:pt x="3554" y="5328"/>
                </a:lnTo>
                <a:lnTo>
                  <a:pt x="3558" y="5342"/>
                </a:lnTo>
                <a:lnTo>
                  <a:pt x="3564" y="5354"/>
                </a:lnTo>
                <a:lnTo>
                  <a:pt x="3570" y="5364"/>
                </a:lnTo>
                <a:lnTo>
                  <a:pt x="3576" y="5372"/>
                </a:lnTo>
                <a:lnTo>
                  <a:pt x="3588" y="5388"/>
                </a:lnTo>
                <a:lnTo>
                  <a:pt x="3592" y="5398"/>
                </a:lnTo>
                <a:lnTo>
                  <a:pt x="3596" y="5410"/>
                </a:lnTo>
                <a:lnTo>
                  <a:pt x="3600" y="5424"/>
                </a:lnTo>
                <a:lnTo>
                  <a:pt x="3606" y="5438"/>
                </a:lnTo>
                <a:lnTo>
                  <a:pt x="3618" y="5468"/>
                </a:lnTo>
                <a:lnTo>
                  <a:pt x="3632" y="5498"/>
                </a:lnTo>
                <a:lnTo>
                  <a:pt x="3638" y="5512"/>
                </a:lnTo>
                <a:lnTo>
                  <a:pt x="3642" y="5526"/>
                </a:lnTo>
                <a:lnTo>
                  <a:pt x="3644" y="5536"/>
                </a:lnTo>
                <a:lnTo>
                  <a:pt x="3648" y="5544"/>
                </a:lnTo>
                <a:lnTo>
                  <a:pt x="3654" y="5554"/>
                </a:lnTo>
                <a:lnTo>
                  <a:pt x="3660" y="5564"/>
                </a:lnTo>
                <a:lnTo>
                  <a:pt x="3660" y="5570"/>
                </a:lnTo>
                <a:lnTo>
                  <a:pt x="3662" y="5576"/>
                </a:lnTo>
                <a:lnTo>
                  <a:pt x="3664" y="5584"/>
                </a:lnTo>
                <a:lnTo>
                  <a:pt x="3668" y="5594"/>
                </a:lnTo>
                <a:lnTo>
                  <a:pt x="3682" y="5612"/>
                </a:lnTo>
                <a:lnTo>
                  <a:pt x="3688" y="5622"/>
                </a:lnTo>
                <a:lnTo>
                  <a:pt x="3694" y="5632"/>
                </a:lnTo>
                <a:lnTo>
                  <a:pt x="3698" y="5644"/>
                </a:lnTo>
                <a:lnTo>
                  <a:pt x="3698" y="5656"/>
                </a:lnTo>
                <a:lnTo>
                  <a:pt x="3698" y="5670"/>
                </a:lnTo>
                <a:lnTo>
                  <a:pt x="3700" y="5680"/>
                </a:lnTo>
                <a:lnTo>
                  <a:pt x="3704" y="5690"/>
                </a:lnTo>
                <a:lnTo>
                  <a:pt x="3712" y="5700"/>
                </a:lnTo>
                <a:lnTo>
                  <a:pt x="3724" y="5714"/>
                </a:lnTo>
                <a:lnTo>
                  <a:pt x="3730" y="5720"/>
                </a:lnTo>
                <a:lnTo>
                  <a:pt x="3734" y="5728"/>
                </a:lnTo>
                <a:lnTo>
                  <a:pt x="3742" y="5738"/>
                </a:lnTo>
                <a:lnTo>
                  <a:pt x="3752" y="5750"/>
                </a:lnTo>
                <a:lnTo>
                  <a:pt x="3776" y="5766"/>
                </a:lnTo>
                <a:lnTo>
                  <a:pt x="3814" y="5790"/>
                </a:lnTo>
                <a:lnTo>
                  <a:pt x="3854" y="5812"/>
                </a:lnTo>
                <a:lnTo>
                  <a:pt x="3878" y="5826"/>
                </a:lnTo>
                <a:lnTo>
                  <a:pt x="3884" y="5832"/>
                </a:lnTo>
                <a:lnTo>
                  <a:pt x="3888" y="5836"/>
                </a:lnTo>
                <a:lnTo>
                  <a:pt x="3892" y="5844"/>
                </a:lnTo>
                <a:lnTo>
                  <a:pt x="3894" y="5850"/>
                </a:lnTo>
                <a:lnTo>
                  <a:pt x="3896" y="5858"/>
                </a:lnTo>
                <a:lnTo>
                  <a:pt x="3900" y="5864"/>
                </a:lnTo>
                <a:lnTo>
                  <a:pt x="3906" y="5868"/>
                </a:lnTo>
                <a:lnTo>
                  <a:pt x="3910" y="5872"/>
                </a:lnTo>
                <a:lnTo>
                  <a:pt x="3924" y="5880"/>
                </a:lnTo>
                <a:lnTo>
                  <a:pt x="3930" y="5884"/>
                </a:lnTo>
                <a:lnTo>
                  <a:pt x="3936" y="5890"/>
                </a:lnTo>
                <a:lnTo>
                  <a:pt x="3936" y="5916"/>
                </a:lnTo>
                <a:lnTo>
                  <a:pt x="3938" y="5926"/>
                </a:lnTo>
                <a:lnTo>
                  <a:pt x="3940" y="5928"/>
                </a:lnTo>
                <a:lnTo>
                  <a:pt x="3940" y="5936"/>
                </a:lnTo>
                <a:lnTo>
                  <a:pt x="3940" y="5948"/>
                </a:lnTo>
                <a:lnTo>
                  <a:pt x="3942" y="5956"/>
                </a:lnTo>
                <a:lnTo>
                  <a:pt x="3944" y="5968"/>
                </a:lnTo>
                <a:lnTo>
                  <a:pt x="3944" y="5976"/>
                </a:lnTo>
                <a:lnTo>
                  <a:pt x="3944" y="5988"/>
                </a:lnTo>
                <a:lnTo>
                  <a:pt x="3942" y="5998"/>
                </a:lnTo>
                <a:lnTo>
                  <a:pt x="3942" y="6006"/>
                </a:lnTo>
                <a:lnTo>
                  <a:pt x="3946" y="6022"/>
                </a:lnTo>
                <a:lnTo>
                  <a:pt x="3948" y="6042"/>
                </a:lnTo>
                <a:lnTo>
                  <a:pt x="3948" y="6054"/>
                </a:lnTo>
                <a:lnTo>
                  <a:pt x="3946" y="6070"/>
                </a:lnTo>
                <a:lnTo>
                  <a:pt x="3940" y="6098"/>
                </a:lnTo>
                <a:lnTo>
                  <a:pt x="3938" y="6116"/>
                </a:lnTo>
                <a:lnTo>
                  <a:pt x="3936" y="6126"/>
                </a:lnTo>
                <a:lnTo>
                  <a:pt x="3934" y="6126"/>
                </a:lnTo>
                <a:lnTo>
                  <a:pt x="3932" y="6126"/>
                </a:lnTo>
                <a:lnTo>
                  <a:pt x="3930" y="6128"/>
                </a:lnTo>
                <a:lnTo>
                  <a:pt x="3926" y="6136"/>
                </a:lnTo>
                <a:lnTo>
                  <a:pt x="3926" y="6142"/>
                </a:lnTo>
                <a:lnTo>
                  <a:pt x="3926" y="6146"/>
                </a:lnTo>
                <a:lnTo>
                  <a:pt x="3930" y="6148"/>
                </a:lnTo>
                <a:lnTo>
                  <a:pt x="3932" y="6150"/>
                </a:lnTo>
                <a:lnTo>
                  <a:pt x="3932" y="6156"/>
                </a:lnTo>
                <a:lnTo>
                  <a:pt x="3930" y="6170"/>
                </a:lnTo>
                <a:lnTo>
                  <a:pt x="3928" y="6192"/>
                </a:lnTo>
                <a:lnTo>
                  <a:pt x="3928" y="6204"/>
                </a:lnTo>
                <a:lnTo>
                  <a:pt x="3930" y="6216"/>
                </a:lnTo>
                <a:lnTo>
                  <a:pt x="3932" y="6228"/>
                </a:lnTo>
                <a:lnTo>
                  <a:pt x="3932" y="6238"/>
                </a:lnTo>
                <a:lnTo>
                  <a:pt x="3932" y="6246"/>
                </a:lnTo>
                <a:lnTo>
                  <a:pt x="3928" y="6254"/>
                </a:lnTo>
                <a:lnTo>
                  <a:pt x="3924" y="6266"/>
                </a:lnTo>
                <a:lnTo>
                  <a:pt x="3924" y="6270"/>
                </a:lnTo>
                <a:lnTo>
                  <a:pt x="3926" y="6276"/>
                </a:lnTo>
                <a:lnTo>
                  <a:pt x="3928" y="6284"/>
                </a:lnTo>
                <a:lnTo>
                  <a:pt x="3926" y="6292"/>
                </a:lnTo>
                <a:lnTo>
                  <a:pt x="3922" y="6310"/>
                </a:lnTo>
                <a:lnTo>
                  <a:pt x="3914" y="6330"/>
                </a:lnTo>
                <a:lnTo>
                  <a:pt x="3912" y="6340"/>
                </a:lnTo>
                <a:lnTo>
                  <a:pt x="3912" y="6348"/>
                </a:lnTo>
                <a:lnTo>
                  <a:pt x="3914" y="6358"/>
                </a:lnTo>
                <a:lnTo>
                  <a:pt x="3910" y="6362"/>
                </a:lnTo>
                <a:lnTo>
                  <a:pt x="3908" y="6368"/>
                </a:lnTo>
                <a:lnTo>
                  <a:pt x="3904" y="6388"/>
                </a:lnTo>
                <a:lnTo>
                  <a:pt x="3904" y="6400"/>
                </a:lnTo>
                <a:lnTo>
                  <a:pt x="3900" y="6408"/>
                </a:lnTo>
                <a:lnTo>
                  <a:pt x="3898" y="6414"/>
                </a:lnTo>
                <a:lnTo>
                  <a:pt x="3894" y="6418"/>
                </a:lnTo>
                <a:lnTo>
                  <a:pt x="3890" y="6422"/>
                </a:lnTo>
                <a:lnTo>
                  <a:pt x="3888" y="6426"/>
                </a:lnTo>
                <a:lnTo>
                  <a:pt x="3888" y="6432"/>
                </a:lnTo>
                <a:lnTo>
                  <a:pt x="3890" y="6438"/>
                </a:lnTo>
                <a:lnTo>
                  <a:pt x="3896" y="6454"/>
                </a:lnTo>
                <a:lnTo>
                  <a:pt x="3900" y="6470"/>
                </a:lnTo>
                <a:lnTo>
                  <a:pt x="3898" y="6482"/>
                </a:lnTo>
                <a:lnTo>
                  <a:pt x="3896" y="6486"/>
                </a:lnTo>
                <a:lnTo>
                  <a:pt x="3894" y="6492"/>
                </a:lnTo>
                <a:lnTo>
                  <a:pt x="3888" y="6498"/>
                </a:lnTo>
                <a:lnTo>
                  <a:pt x="3882" y="6508"/>
                </a:lnTo>
                <a:lnTo>
                  <a:pt x="3882" y="6514"/>
                </a:lnTo>
                <a:lnTo>
                  <a:pt x="3880" y="6522"/>
                </a:lnTo>
                <a:lnTo>
                  <a:pt x="3884" y="6546"/>
                </a:lnTo>
                <a:lnTo>
                  <a:pt x="3888" y="6568"/>
                </a:lnTo>
                <a:lnTo>
                  <a:pt x="3888" y="6584"/>
                </a:lnTo>
                <a:lnTo>
                  <a:pt x="3890" y="6596"/>
                </a:lnTo>
                <a:lnTo>
                  <a:pt x="3894" y="6608"/>
                </a:lnTo>
                <a:lnTo>
                  <a:pt x="3896" y="6614"/>
                </a:lnTo>
                <a:lnTo>
                  <a:pt x="3894" y="6620"/>
                </a:lnTo>
                <a:lnTo>
                  <a:pt x="3890" y="6632"/>
                </a:lnTo>
                <a:lnTo>
                  <a:pt x="3884" y="6646"/>
                </a:lnTo>
                <a:lnTo>
                  <a:pt x="3882" y="6654"/>
                </a:lnTo>
                <a:lnTo>
                  <a:pt x="3882" y="6662"/>
                </a:lnTo>
                <a:lnTo>
                  <a:pt x="3884" y="6670"/>
                </a:lnTo>
                <a:lnTo>
                  <a:pt x="3884" y="6676"/>
                </a:lnTo>
                <a:lnTo>
                  <a:pt x="3882" y="6678"/>
                </a:lnTo>
                <a:lnTo>
                  <a:pt x="3880" y="6680"/>
                </a:lnTo>
                <a:lnTo>
                  <a:pt x="3878" y="6684"/>
                </a:lnTo>
                <a:lnTo>
                  <a:pt x="3874" y="6690"/>
                </a:lnTo>
                <a:lnTo>
                  <a:pt x="3872" y="6698"/>
                </a:lnTo>
                <a:lnTo>
                  <a:pt x="3870" y="6710"/>
                </a:lnTo>
                <a:lnTo>
                  <a:pt x="3868" y="6726"/>
                </a:lnTo>
                <a:lnTo>
                  <a:pt x="3866" y="6738"/>
                </a:lnTo>
                <a:lnTo>
                  <a:pt x="3858" y="6758"/>
                </a:lnTo>
                <a:lnTo>
                  <a:pt x="3850" y="6774"/>
                </a:lnTo>
                <a:lnTo>
                  <a:pt x="3846" y="6786"/>
                </a:lnTo>
                <a:lnTo>
                  <a:pt x="3844" y="6794"/>
                </a:lnTo>
                <a:lnTo>
                  <a:pt x="3840" y="6798"/>
                </a:lnTo>
                <a:lnTo>
                  <a:pt x="3838" y="6802"/>
                </a:lnTo>
                <a:lnTo>
                  <a:pt x="3834" y="6818"/>
                </a:lnTo>
                <a:lnTo>
                  <a:pt x="3834" y="6830"/>
                </a:lnTo>
                <a:lnTo>
                  <a:pt x="3832" y="6836"/>
                </a:lnTo>
                <a:lnTo>
                  <a:pt x="3830" y="6838"/>
                </a:lnTo>
                <a:lnTo>
                  <a:pt x="3828" y="6836"/>
                </a:lnTo>
                <a:lnTo>
                  <a:pt x="3826" y="6836"/>
                </a:lnTo>
                <a:lnTo>
                  <a:pt x="3826" y="6834"/>
                </a:lnTo>
                <a:lnTo>
                  <a:pt x="3824" y="6846"/>
                </a:lnTo>
                <a:lnTo>
                  <a:pt x="3822" y="6858"/>
                </a:lnTo>
                <a:lnTo>
                  <a:pt x="3820" y="6864"/>
                </a:lnTo>
                <a:lnTo>
                  <a:pt x="3818" y="6866"/>
                </a:lnTo>
                <a:lnTo>
                  <a:pt x="3814" y="6866"/>
                </a:lnTo>
                <a:lnTo>
                  <a:pt x="3806" y="6864"/>
                </a:lnTo>
                <a:lnTo>
                  <a:pt x="3804" y="6864"/>
                </a:lnTo>
                <a:lnTo>
                  <a:pt x="3804" y="6870"/>
                </a:lnTo>
                <a:lnTo>
                  <a:pt x="3802" y="6882"/>
                </a:lnTo>
                <a:lnTo>
                  <a:pt x="3804" y="6890"/>
                </a:lnTo>
                <a:lnTo>
                  <a:pt x="3806" y="6898"/>
                </a:lnTo>
                <a:lnTo>
                  <a:pt x="3810" y="6906"/>
                </a:lnTo>
                <a:lnTo>
                  <a:pt x="3810" y="6914"/>
                </a:lnTo>
                <a:lnTo>
                  <a:pt x="3810" y="6924"/>
                </a:lnTo>
                <a:lnTo>
                  <a:pt x="3808" y="6936"/>
                </a:lnTo>
                <a:lnTo>
                  <a:pt x="3810" y="6944"/>
                </a:lnTo>
                <a:lnTo>
                  <a:pt x="3814" y="6954"/>
                </a:lnTo>
                <a:lnTo>
                  <a:pt x="3818" y="6960"/>
                </a:lnTo>
                <a:lnTo>
                  <a:pt x="3820" y="6968"/>
                </a:lnTo>
                <a:lnTo>
                  <a:pt x="3820" y="6976"/>
                </a:lnTo>
                <a:lnTo>
                  <a:pt x="3818" y="6990"/>
                </a:lnTo>
                <a:lnTo>
                  <a:pt x="3816" y="7002"/>
                </a:lnTo>
                <a:lnTo>
                  <a:pt x="3812" y="7008"/>
                </a:lnTo>
                <a:lnTo>
                  <a:pt x="3810" y="7010"/>
                </a:lnTo>
                <a:lnTo>
                  <a:pt x="3808" y="7010"/>
                </a:lnTo>
                <a:lnTo>
                  <a:pt x="3804" y="7010"/>
                </a:lnTo>
                <a:lnTo>
                  <a:pt x="3802" y="7012"/>
                </a:lnTo>
                <a:lnTo>
                  <a:pt x="3800" y="7016"/>
                </a:lnTo>
                <a:lnTo>
                  <a:pt x="3800" y="7026"/>
                </a:lnTo>
                <a:lnTo>
                  <a:pt x="3798" y="7042"/>
                </a:lnTo>
                <a:lnTo>
                  <a:pt x="3796" y="7054"/>
                </a:lnTo>
                <a:lnTo>
                  <a:pt x="3790" y="7068"/>
                </a:lnTo>
                <a:lnTo>
                  <a:pt x="3790" y="7074"/>
                </a:lnTo>
                <a:lnTo>
                  <a:pt x="3790" y="7080"/>
                </a:lnTo>
                <a:lnTo>
                  <a:pt x="3790" y="7086"/>
                </a:lnTo>
                <a:lnTo>
                  <a:pt x="3794" y="7096"/>
                </a:lnTo>
                <a:lnTo>
                  <a:pt x="3798" y="7104"/>
                </a:lnTo>
                <a:lnTo>
                  <a:pt x="3804" y="7112"/>
                </a:lnTo>
                <a:lnTo>
                  <a:pt x="3808" y="7116"/>
                </a:lnTo>
                <a:lnTo>
                  <a:pt x="3814" y="7118"/>
                </a:lnTo>
                <a:lnTo>
                  <a:pt x="3818" y="7116"/>
                </a:lnTo>
                <a:lnTo>
                  <a:pt x="3820" y="7116"/>
                </a:lnTo>
                <a:lnTo>
                  <a:pt x="3824" y="7112"/>
                </a:lnTo>
                <a:lnTo>
                  <a:pt x="3826" y="7108"/>
                </a:lnTo>
                <a:lnTo>
                  <a:pt x="3830" y="7100"/>
                </a:lnTo>
                <a:lnTo>
                  <a:pt x="3832" y="7100"/>
                </a:lnTo>
                <a:lnTo>
                  <a:pt x="3834" y="7100"/>
                </a:lnTo>
                <a:lnTo>
                  <a:pt x="3838" y="7106"/>
                </a:lnTo>
                <a:lnTo>
                  <a:pt x="3842" y="7110"/>
                </a:lnTo>
                <a:lnTo>
                  <a:pt x="3846" y="7112"/>
                </a:lnTo>
                <a:lnTo>
                  <a:pt x="3848" y="7112"/>
                </a:lnTo>
                <a:lnTo>
                  <a:pt x="3846" y="7116"/>
                </a:lnTo>
                <a:lnTo>
                  <a:pt x="3840" y="7122"/>
                </a:lnTo>
                <a:lnTo>
                  <a:pt x="3836" y="7126"/>
                </a:lnTo>
                <a:lnTo>
                  <a:pt x="3836" y="7128"/>
                </a:lnTo>
                <a:lnTo>
                  <a:pt x="3842" y="7130"/>
                </a:lnTo>
                <a:lnTo>
                  <a:pt x="3846" y="7132"/>
                </a:lnTo>
                <a:lnTo>
                  <a:pt x="3850" y="7134"/>
                </a:lnTo>
                <a:lnTo>
                  <a:pt x="3852" y="7138"/>
                </a:lnTo>
                <a:lnTo>
                  <a:pt x="3854" y="7142"/>
                </a:lnTo>
                <a:lnTo>
                  <a:pt x="3852" y="7148"/>
                </a:lnTo>
                <a:lnTo>
                  <a:pt x="3850" y="7150"/>
                </a:lnTo>
                <a:lnTo>
                  <a:pt x="3848" y="7148"/>
                </a:lnTo>
                <a:lnTo>
                  <a:pt x="3844" y="7142"/>
                </a:lnTo>
                <a:lnTo>
                  <a:pt x="3840" y="7140"/>
                </a:lnTo>
                <a:lnTo>
                  <a:pt x="3838" y="7144"/>
                </a:lnTo>
                <a:lnTo>
                  <a:pt x="3838" y="7150"/>
                </a:lnTo>
                <a:lnTo>
                  <a:pt x="3840" y="7156"/>
                </a:lnTo>
                <a:lnTo>
                  <a:pt x="3838" y="7160"/>
                </a:lnTo>
                <a:lnTo>
                  <a:pt x="3836" y="7166"/>
                </a:lnTo>
                <a:lnTo>
                  <a:pt x="3838" y="7176"/>
                </a:lnTo>
                <a:lnTo>
                  <a:pt x="3840" y="7182"/>
                </a:lnTo>
                <a:lnTo>
                  <a:pt x="3838" y="7188"/>
                </a:lnTo>
                <a:lnTo>
                  <a:pt x="3832" y="7196"/>
                </a:lnTo>
                <a:lnTo>
                  <a:pt x="3826" y="7202"/>
                </a:lnTo>
                <a:lnTo>
                  <a:pt x="3826" y="7208"/>
                </a:lnTo>
                <a:lnTo>
                  <a:pt x="3826" y="7212"/>
                </a:lnTo>
                <a:lnTo>
                  <a:pt x="3830" y="7224"/>
                </a:lnTo>
                <a:lnTo>
                  <a:pt x="3830" y="7234"/>
                </a:lnTo>
                <a:lnTo>
                  <a:pt x="3826" y="7242"/>
                </a:lnTo>
                <a:lnTo>
                  <a:pt x="3822" y="7248"/>
                </a:lnTo>
                <a:lnTo>
                  <a:pt x="3820" y="7250"/>
                </a:lnTo>
                <a:lnTo>
                  <a:pt x="3822" y="7254"/>
                </a:lnTo>
                <a:lnTo>
                  <a:pt x="3826" y="7256"/>
                </a:lnTo>
                <a:lnTo>
                  <a:pt x="3832" y="7258"/>
                </a:lnTo>
                <a:lnTo>
                  <a:pt x="3840" y="7262"/>
                </a:lnTo>
                <a:lnTo>
                  <a:pt x="3844" y="7266"/>
                </a:lnTo>
                <a:lnTo>
                  <a:pt x="3844" y="7272"/>
                </a:lnTo>
                <a:lnTo>
                  <a:pt x="3842" y="7280"/>
                </a:lnTo>
                <a:lnTo>
                  <a:pt x="3838" y="7286"/>
                </a:lnTo>
                <a:lnTo>
                  <a:pt x="3834" y="7292"/>
                </a:lnTo>
                <a:lnTo>
                  <a:pt x="3828" y="7296"/>
                </a:lnTo>
                <a:lnTo>
                  <a:pt x="3822" y="7298"/>
                </a:lnTo>
                <a:lnTo>
                  <a:pt x="3816" y="7302"/>
                </a:lnTo>
                <a:lnTo>
                  <a:pt x="3814" y="7304"/>
                </a:lnTo>
                <a:lnTo>
                  <a:pt x="3816" y="7308"/>
                </a:lnTo>
                <a:lnTo>
                  <a:pt x="3818" y="7312"/>
                </a:lnTo>
                <a:lnTo>
                  <a:pt x="3820" y="7314"/>
                </a:lnTo>
                <a:lnTo>
                  <a:pt x="3820" y="7316"/>
                </a:lnTo>
                <a:lnTo>
                  <a:pt x="3816" y="7318"/>
                </a:lnTo>
                <a:lnTo>
                  <a:pt x="3812" y="7322"/>
                </a:lnTo>
                <a:lnTo>
                  <a:pt x="3808" y="7330"/>
                </a:lnTo>
                <a:lnTo>
                  <a:pt x="3808" y="7336"/>
                </a:lnTo>
                <a:lnTo>
                  <a:pt x="3808" y="7340"/>
                </a:lnTo>
                <a:lnTo>
                  <a:pt x="3808" y="7346"/>
                </a:lnTo>
                <a:lnTo>
                  <a:pt x="3806" y="7356"/>
                </a:lnTo>
                <a:lnTo>
                  <a:pt x="3804" y="7370"/>
                </a:lnTo>
                <a:lnTo>
                  <a:pt x="3804" y="7378"/>
                </a:lnTo>
                <a:lnTo>
                  <a:pt x="3802" y="7384"/>
                </a:lnTo>
                <a:lnTo>
                  <a:pt x="3798" y="7388"/>
                </a:lnTo>
                <a:lnTo>
                  <a:pt x="3794" y="7390"/>
                </a:lnTo>
                <a:lnTo>
                  <a:pt x="3796" y="7382"/>
                </a:lnTo>
                <a:lnTo>
                  <a:pt x="3796" y="7372"/>
                </a:lnTo>
                <a:lnTo>
                  <a:pt x="3796" y="7366"/>
                </a:lnTo>
                <a:lnTo>
                  <a:pt x="3792" y="7364"/>
                </a:lnTo>
                <a:lnTo>
                  <a:pt x="3788" y="7360"/>
                </a:lnTo>
                <a:lnTo>
                  <a:pt x="3786" y="7358"/>
                </a:lnTo>
                <a:lnTo>
                  <a:pt x="3786" y="7352"/>
                </a:lnTo>
                <a:lnTo>
                  <a:pt x="3786" y="7346"/>
                </a:lnTo>
                <a:lnTo>
                  <a:pt x="3784" y="7346"/>
                </a:lnTo>
                <a:lnTo>
                  <a:pt x="3780" y="7346"/>
                </a:lnTo>
                <a:lnTo>
                  <a:pt x="3772" y="7346"/>
                </a:lnTo>
                <a:lnTo>
                  <a:pt x="3772" y="7348"/>
                </a:lnTo>
                <a:lnTo>
                  <a:pt x="3770" y="7350"/>
                </a:lnTo>
                <a:lnTo>
                  <a:pt x="3766" y="7348"/>
                </a:lnTo>
                <a:lnTo>
                  <a:pt x="3764" y="7346"/>
                </a:lnTo>
                <a:lnTo>
                  <a:pt x="3762" y="7346"/>
                </a:lnTo>
                <a:lnTo>
                  <a:pt x="3762" y="7352"/>
                </a:lnTo>
                <a:lnTo>
                  <a:pt x="3762" y="7354"/>
                </a:lnTo>
                <a:lnTo>
                  <a:pt x="3760" y="7360"/>
                </a:lnTo>
                <a:lnTo>
                  <a:pt x="3756" y="7364"/>
                </a:lnTo>
                <a:lnTo>
                  <a:pt x="3750" y="7368"/>
                </a:lnTo>
                <a:lnTo>
                  <a:pt x="3736" y="7378"/>
                </a:lnTo>
                <a:lnTo>
                  <a:pt x="3724" y="7386"/>
                </a:lnTo>
                <a:lnTo>
                  <a:pt x="3722" y="7390"/>
                </a:lnTo>
                <a:lnTo>
                  <a:pt x="3720" y="7394"/>
                </a:lnTo>
                <a:lnTo>
                  <a:pt x="3720" y="7398"/>
                </a:lnTo>
                <a:lnTo>
                  <a:pt x="3722" y="7402"/>
                </a:lnTo>
                <a:lnTo>
                  <a:pt x="3728" y="7408"/>
                </a:lnTo>
                <a:lnTo>
                  <a:pt x="3732" y="7410"/>
                </a:lnTo>
                <a:lnTo>
                  <a:pt x="3734" y="7406"/>
                </a:lnTo>
                <a:lnTo>
                  <a:pt x="3734" y="7400"/>
                </a:lnTo>
                <a:lnTo>
                  <a:pt x="3736" y="7392"/>
                </a:lnTo>
                <a:lnTo>
                  <a:pt x="3738" y="7390"/>
                </a:lnTo>
                <a:lnTo>
                  <a:pt x="3742" y="7388"/>
                </a:lnTo>
                <a:lnTo>
                  <a:pt x="3744" y="7390"/>
                </a:lnTo>
                <a:lnTo>
                  <a:pt x="3748" y="7396"/>
                </a:lnTo>
                <a:lnTo>
                  <a:pt x="3752" y="7402"/>
                </a:lnTo>
                <a:lnTo>
                  <a:pt x="3760" y="7406"/>
                </a:lnTo>
                <a:lnTo>
                  <a:pt x="3768" y="7408"/>
                </a:lnTo>
                <a:lnTo>
                  <a:pt x="3770" y="7406"/>
                </a:lnTo>
                <a:lnTo>
                  <a:pt x="3772" y="7404"/>
                </a:lnTo>
                <a:lnTo>
                  <a:pt x="3772" y="7400"/>
                </a:lnTo>
                <a:lnTo>
                  <a:pt x="3776" y="7400"/>
                </a:lnTo>
                <a:lnTo>
                  <a:pt x="3778" y="7402"/>
                </a:lnTo>
                <a:lnTo>
                  <a:pt x="3782" y="7406"/>
                </a:lnTo>
                <a:lnTo>
                  <a:pt x="3786" y="7410"/>
                </a:lnTo>
                <a:lnTo>
                  <a:pt x="3790" y="7412"/>
                </a:lnTo>
                <a:lnTo>
                  <a:pt x="3792" y="7414"/>
                </a:lnTo>
                <a:lnTo>
                  <a:pt x="3792" y="7420"/>
                </a:lnTo>
                <a:lnTo>
                  <a:pt x="3790" y="7422"/>
                </a:lnTo>
                <a:lnTo>
                  <a:pt x="3788" y="7424"/>
                </a:lnTo>
                <a:lnTo>
                  <a:pt x="3784" y="7426"/>
                </a:lnTo>
                <a:lnTo>
                  <a:pt x="3778" y="7426"/>
                </a:lnTo>
                <a:lnTo>
                  <a:pt x="3774" y="7428"/>
                </a:lnTo>
                <a:lnTo>
                  <a:pt x="3772" y="7432"/>
                </a:lnTo>
                <a:lnTo>
                  <a:pt x="3770" y="7436"/>
                </a:lnTo>
                <a:lnTo>
                  <a:pt x="3772" y="7440"/>
                </a:lnTo>
                <a:lnTo>
                  <a:pt x="3776" y="7444"/>
                </a:lnTo>
                <a:lnTo>
                  <a:pt x="3780" y="7446"/>
                </a:lnTo>
                <a:lnTo>
                  <a:pt x="3778" y="7446"/>
                </a:lnTo>
                <a:lnTo>
                  <a:pt x="3770" y="7446"/>
                </a:lnTo>
                <a:lnTo>
                  <a:pt x="3766" y="7446"/>
                </a:lnTo>
                <a:lnTo>
                  <a:pt x="3764" y="7450"/>
                </a:lnTo>
                <a:lnTo>
                  <a:pt x="3762" y="7454"/>
                </a:lnTo>
                <a:lnTo>
                  <a:pt x="3764" y="7458"/>
                </a:lnTo>
                <a:lnTo>
                  <a:pt x="3770" y="7458"/>
                </a:lnTo>
                <a:lnTo>
                  <a:pt x="3778" y="7458"/>
                </a:lnTo>
                <a:lnTo>
                  <a:pt x="3786" y="7458"/>
                </a:lnTo>
                <a:lnTo>
                  <a:pt x="3794" y="7460"/>
                </a:lnTo>
                <a:lnTo>
                  <a:pt x="3796" y="7460"/>
                </a:lnTo>
                <a:lnTo>
                  <a:pt x="3798" y="7460"/>
                </a:lnTo>
                <a:lnTo>
                  <a:pt x="3800" y="7458"/>
                </a:lnTo>
                <a:lnTo>
                  <a:pt x="3800" y="7456"/>
                </a:lnTo>
                <a:lnTo>
                  <a:pt x="3802" y="7456"/>
                </a:lnTo>
                <a:lnTo>
                  <a:pt x="3806" y="7458"/>
                </a:lnTo>
                <a:lnTo>
                  <a:pt x="3808" y="7464"/>
                </a:lnTo>
                <a:lnTo>
                  <a:pt x="3808" y="7466"/>
                </a:lnTo>
                <a:lnTo>
                  <a:pt x="3806" y="7466"/>
                </a:lnTo>
                <a:lnTo>
                  <a:pt x="3806" y="7468"/>
                </a:lnTo>
                <a:lnTo>
                  <a:pt x="3806" y="7472"/>
                </a:lnTo>
                <a:lnTo>
                  <a:pt x="3810" y="7478"/>
                </a:lnTo>
                <a:lnTo>
                  <a:pt x="3814" y="7484"/>
                </a:lnTo>
                <a:lnTo>
                  <a:pt x="3810" y="7484"/>
                </a:lnTo>
                <a:lnTo>
                  <a:pt x="3796" y="7474"/>
                </a:lnTo>
                <a:lnTo>
                  <a:pt x="3790" y="7472"/>
                </a:lnTo>
                <a:lnTo>
                  <a:pt x="3784" y="7470"/>
                </a:lnTo>
                <a:lnTo>
                  <a:pt x="3768" y="7470"/>
                </a:lnTo>
                <a:lnTo>
                  <a:pt x="3764" y="7472"/>
                </a:lnTo>
                <a:lnTo>
                  <a:pt x="3762" y="7472"/>
                </a:lnTo>
                <a:lnTo>
                  <a:pt x="3764" y="7474"/>
                </a:lnTo>
                <a:lnTo>
                  <a:pt x="3766" y="7476"/>
                </a:lnTo>
                <a:lnTo>
                  <a:pt x="3768" y="7476"/>
                </a:lnTo>
                <a:lnTo>
                  <a:pt x="3770" y="7476"/>
                </a:lnTo>
                <a:lnTo>
                  <a:pt x="3772" y="7478"/>
                </a:lnTo>
                <a:lnTo>
                  <a:pt x="3774" y="7484"/>
                </a:lnTo>
                <a:lnTo>
                  <a:pt x="3778" y="7488"/>
                </a:lnTo>
                <a:lnTo>
                  <a:pt x="3788" y="7494"/>
                </a:lnTo>
                <a:lnTo>
                  <a:pt x="3792" y="7496"/>
                </a:lnTo>
                <a:lnTo>
                  <a:pt x="3790" y="7500"/>
                </a:lnTo>
                <a:lnTo>
                  <a:pt x="3790" y="7502"/>
                </a:lnTo>
                <a:lnTo>
                  <a:pt x="3790" y="7504"/>
                </a:lnTo>
                <a:lnTo>
                  <a:pt x="3784" y="7500"/>
                </a:lnTo>
                <a:lnTo>
                  <a:pt x="3780" y="7500"/>
                </a:lnTo>
                <a:lnTo>
                  <a:pt x="3778" y="7500"/>
                </a:lnTo>
                <a:lnTo>
                  <a:pt x="3776" y="7504"/>
                </a:lnTo>
                <a:lnTo>
                  <a:pt x="3772" y="7516"/>
                </a:lnTo>
                <a:lnTo>
                  <a:pt x="3772" y="7522"/>
                </a:lnTo>
                <a:lnTo>
                  <a:pt x="3772" y="7530"/>
                </a:lnTo>
                <a:lnTo>
                  <a:pt x="3774" y="7550"/>
                </a:lnTo>
                <a:lnTo>
                  <a:pt x="3776" y="7558"/>
                </a:lnTo>
                <a:lnTo>
                  <a:pt x="3778" y="7560"/>
                </a:lnTo>
                <a:lnTo>
                  <a:pt x="3780" y="7560"/>
                </a:lnTo>
                <a:lnTo>
                  <a:pt x="3780" y="7558"/>
                </a:lnTo>
                <a:lnTo>
                  <a:pt x="3782" y="7552"/>
                </a:lnTo>
                <a:lnTo>
                  <a:pt x="3784" y="7544"/>
                </a:lnTo>
                <a:lnTo>
                  <a:pt x="3786" y="7538"/>
                </a:lnTo>
                <a:lnTo>
                  <a:pt x="3788" y="7538"/>
                </a:lnTo>
                <a:lnTo>
                  <a:pt x="3788" y="7542"/>
                </a:lnTo>
                <a:lnTo>
                  <a:pt x="3788" y="7546"/>
                </a:lnTo>
                <a:lnTo>
                  <a:pt x="3788" y="7554"/>
                </a:lnTo>
                <a:lnTo>
                  <a:pt x="3790" y="7560"/>
                </a:lnTo>
                <a:lnTo>
                  <a:pt x="3794" y="7566"/>
                </a:lnTo>
                <a:lnTo>
                  <a:pt x="3796" y="7568"/>
                </a:lnTo>
                <a:lnTo>
                  <a:pt x="3792" y="7566"/>
                </a:lnTo>
                <a:lnTo>
                  <a:pt x="3786" y="7564"/>
                </a:lnTo>
                <a:lnTo>
                  <a:pt x="3780" y="7564"/>
                </a:lnTo>
                <a:lnTo>
                  <a:pt x="3778" y="7568"/>
                </a:lnTo>
                <a:lnTo>
                  <a:pt x="3778" y="7570"/>
                </a:lnTo>
                <a:lnTo>
                  <a:pt x="3780" y="7574"/>
                </a:lnTo>
                <a:lnTo>
                  <a:pt x="3778" y="7576"/>
                </a:lnTo>
                <a:lnTo>
                  <a:pt x="3776" y="7578"/>
                </a:lnTo>
                <a:lnTo>
                  <a:pt x="3780" y="7582"/>
                </a:lnTo>
                <a:lnTo>
                  <a:pt x="3792" y="7588"/>
                </a:lnTo>
                <a:lnTo>
                  <a:pt x="3792" y="7590"/>
                </a:lnTo>
                <a:lnTo>
                  <a:pt x="3784" y="7588"/>
                </a:lnTo>
                <a:lnTo>
                  <a:pt x="3776" y="7588"/>
                </a:lnTo>
                <a:lnTo>
                  <a:pt x="3776" y="7590"/>
                </a:lnTo>
                <a:lnTo>
                  <a:pt x="3784" y="7600"/>
                </a:lnTo>
                <a:lnTo>
                  <a:pt x="3788" y="7604"/>
                </a:lnTo>
                <a:lnTo>
                  <a:pt x="3786" y="7604"/>
                </a:lnTo>
                <a:lnTo>
                  <a:pt x="3776" y="7598"/>
                </a:lnTo>
                <a:lnTo>
                  <a:pt x="3770" y="7596"/>
                </a:lnTo>
                <a:lnTo>
                  <a:pt x="3764" y="7596"/>
                </a:lnTo>
                <a:lnTo>
                  <a:pt x="3760" y="7598"/>
                </a:lnTo>
                <a:lnTo>
                  <a:pt x="3762" y="7600"/>
                </a:lnTo>
                <a:lnTo>
                  <a:pt x="3764" y="7600"/>
                </a:lnTo>
                <a:lnTo>
                  <a:pt x="3768" y="7604"/>
                </a:lnTo>
                <a:lnTo>
                  <a:pt x="3770" y="7606"/>
                </a:lnTo>
                <a:lnTo>
                  <a:pt x="3772" y="7610"/>
                </a:lnTo>
                <a:lnTo>
                  <a:pt x="3774" y="7612"/>
                </a:lnTo>
                <a:lnTo>
                  <a:pt x="3778" y="7614"/>
                </a:lnTo>
                <a:lnTo>
                  <a:pt x="3782" y="7612"/>
                </a:lnTo>
                <a:lnTo>
                  <a:pt x="3784" y="7614"/>
                </a:lnTo>
                <a:lnTo>
                  <a:pt x="3788" y="7616"/>
                </a:lnTo>
                <a:lnTo>
                  <a:pt x="3792" y="7620"/>
                </a:lnTo>
                <a:lnTo>
                  <a:pt x="3792" y="7622"/>
                </a:lnTo>
                <a:lnTo>
                  <a:pt x="3784" y="7620"/>
                </a:lnTo>
                <a:lnTo>
                  <a:pt x="3782" y="7620"/>
                </a:lnTo>
                <a:lnTo>
                  <a:pt x="3780" y="7620"/>
                </a:lnTo>
                <a:lnTo>
                  <a:pt x="3784" y="7630"/>
                </a:lnTo>
                <a:lnTo>
                  <a:pt x="3788" y="7636"/>
                </a:lnTo>
                <a:lnTo>
                  <a:pt x="3790" y="7636"/>
                </a:lnTo>
                <a:lnTo>
                  <a:pt x="3794" y="7632"/>
                </a:lnTo>
                <a:lnTo>
                  <a:pt x="3798" y="7624"/>
                </a:lnTo>
                <a:lnTo>
                  <a:pt x="3802" y="7616"/>
                </a:lnTo>
                <a:lnTo>
                  <a:pt x="3804" y="7614"/>
                </a:lnTo>
                <a:lnTo>
                  <a:pt x="3804" y="7618"/>
                </a:lnTo>
                <a:lnTo>
                  <a:pt x="3802" y="7626"/>
                </a:lnTo>
                <a:lnTo>
                  <a:pt x="3796" y="7638"/>
                </a:lnTo>
                <a:lnTo>
                  <a:pt x="3794" y="7640"/>
                </a:lnTo>
                <a:lnTo>
                  <a:pt x="3790" y="7642"/>
                </a:lnTo>
                <a:lnTo>
                  <a:pt x="3784" y="7640"/>
                </a:lnTo>
                <a:lnTo>
                  <a:pt x="3782" y="7642"/>
                </a:lnTo>
                <a:lnTo>
                  <a:pt x="3782" y="7644"/>
                </a:lnTo>
                <a:lnTo>
                  <a:pt x="3782" y="7648"/>
                </a:lnTo>
                <a:lnTo>
                  <a:pt x="3782" y="7650"/>
                </a:lnTo>
                <a:lnTo>
                  <a:pt x="3784" y="7650"/>
                </a:lnTo>
                <a:lnTo>
                  <a:pt x="3784" y="7654"/>
                </a:lnTo>
                <a:lnTo>
                  <a:pt x="3784" y="7660"/>
                </a:lnTo>
                <a:lnTo>
                  <a:pt x="3786" y="7660"/>
                </a:lnTo>
                <a:lnTo>
                  <a:pt x="3788" y="7658"/>
                </a:lnTo>
                <a:lnTo>
                  <a:pt x="3792" y="7660"/>
                </a:lnTo>
                <a:lnTo>
                  <a:pt x="3798" y="7662"/>
                </a:lnTo>
                <a:lnTo>
                  <a:pt x="3802" y="7670"/>
                </a:lnTo>
                <a:lnTo>
                  <a:pt x="3804" y="7676"/>
                </a:lnTo>
                <a:lnTo>
                  <a:pt x="3804" y="7680"/>
                </a:lnTo>
                <a:lnTo>
                  <a:pt x="3802" y="7680"/>
                </a:lnTo>
                <a:lnTo>
                  <a:pt x="3798" y="7676"/>
                </a:lnTo>
                <a:lnTo>
                  <a:pt x="3796" y="7672"/>
                </a:lnTo>
                <a:lnTo>
                  <a:pt x="3792" y="7672"/>
                </a:lnTo>
                <a:lnTo>
                  <a:pt x="3792" y="7674"/>
                </a:lnTo>
                <a:lnTo>
                  <a:pt x="3794" y="7678"/>
                </a:lnTo>
                <a:lnTo>
                  <a:pt x="3794" y="7682"/>
                </a:lnTo>
                <a:lnTo>
                  <a:pt x="3794" y="7684"/>
                </a:lnTo>
                <a:lnTo>
                  <a:pt x="3794" y="7688"/>
                </a:lnTo>
                <a:lnTo>
                  <a:pt x="3796" y="7692"/>
                </a:lnTo>
                <a:lnTo>
                  <a:pt x="3798" y="7694"/>
                </a:lnTo>
                <a:lnTo>
                  <a:pt x="3800" y="7694"/>
                </a:lnTo>
                <a:lnTo>
                  <a:pt x="3802" y="7692"/>
                </a:lnTo>
                <a:lnTo>
                  <a:pt x="3806" y="7690"/>
                </a:lnTo>
                <a:lnTo>
                  <a:pt x="3808" y="7692"/>
                </a:lnTo>
                <a:lnTo>
                  <a:pt x="3810" y="7700"/>
                </a:lnTo>
                <a:lnTo>
                  <a:pt x="3806" y="7700"/>
                </a:lnTo>
                <a:lnTo>
                  <a:pt x="3804" y="7700"/>
                </a:lnTo>
                <a:lnTo>
                  <a:pt x="3806" y="7702"/>
                </a:lnTo>
                <a:lnTo>
                  <a:pt x="3810" y="7708"/>
                </a:lnTo>
                <a:lnTo>
                  <a:pt x="3816" y="7714"/>
                </a:lnTo>
                <a:lnTo>
                  <a:pt x="3818" y="7716"/>
                </a:lnTo>
                <a:lnTo>
                  <a:pt x="3820" y="7714"/>
                </a:lnTo>
                <a:lnTo>
                  <a:pt x="3824" y="7706"/>
                </a:lnTo>
                <a:lnTo>
                  <a:pt x="3826" y="7702"/>
                </a:lnTo>
                <a:lnTo>
                  <a:pt x="3828" y="7700"/>
                </a:lnTo>
                <a:lnTo>
                  <a:pt x="3830" y="7698"/>
                </a:lnTo>
                <a:lnTo>
                  <a:pt x="3830" y="7696"/>
                </a:lnTo>
                <a:lnTo>
                  <a:pt x="3832" y="7694"/>
                </a:lnTo>
                <a:lnTo>
                  <a:pt x="3838" y="7696"/>
                </a:lnTo>
                <a:lnTo>
                  <a:pt x="3846" y="7696"/>
                </a:lnTo>
                <a:lnTo>
                  <a:pt x="3846" y="7694"/>
                </a:lnTo>
                <a:lnTo>
                  <a:pt x="3846" y="7692"/>
                </a:lnTo>
                <a:lnTo>
                  <a:pt x="3840" y="7688"/>
                </a:lnTo>
                <a:lnTo>
                  <a:pt x="3832" y="7682"/>
                </a:lnTo>
                <a:lnTo>
                  <a:pt x="3822" y="7678"/>
                </a:lnTo>
                <a:lnTo>
                  <a:pt x="3820" y="7674"/>
                </a:lnTo>
                <a:lnTo>
                  <a:pt x="3824" y="7674"/>
                </a:lnTo>
                <a:lnTo>
                  <a:pt x="3832" y="7678"/>
                </a:lnTo>
                <a:lnTo>
                  <a:pt x="3846" y="7686"/>
                </a:lnTo>
                <a:lnTo>
                  <a:pt x="3850" y="7690"/>
                </a:lnTo>
                <a:lnTo>
                  <a:pt x="3852" y="7698"/>
                </a:lnTo>
                <a:lnTo>
                  <a:pt x="3850" y="7704"/>
                </a:lnTo>
                <a:lnTo>
                  <a:pt x="3846" y="7706"/>
                </a:lnTo>
                <a:lnTo>
                  <a:pt x="3844" y="7708"/>
                </a:lnTo>
                <a:lnTo>
                  <a:pt x="3846" y="7714"/>
                </a:lnTo>
                <a:lnTo>
                  <a:pt x="3848" y="7716"/>
                </a:lnTo>
                <a:lnTo>
                  <a:pt x="3844" y="7710"/>
                </a:lnTo>
                <a:lnTo>
                  <a:pt x="3838" y="7706"/>
                </a:lnTo>
                <a:lnTo>
                  <a:pt x="3836" y="7706"/>
                </a:lnTo>
                <a:lnTo>
                  <a:pt x="3834" y="7708"/>
                </a:lnTo>
                <a:lnTo>
                  <a:pt x="3832" y="7720"/>
                </a:lnTo>
                <a:lnTo>
                  <a:pt x="3830" y="7720"/>
                </a:lnTo>
                <a:lnTo>
                  <a:pt x="3830" y="7718"/>
                </a:lnTo>
                <a:lnTo>
                  <a:pt x="3828" y="7714"/>
                </a:lnTo>
                <a:lnTo>
                  <a:pt x="3826" y="7714"/>
                </a:lnTo>
                <a:lnTo>
                  <a:pt x="3820" y="7722"/>
                </a:lnTo>
                <a:lnTo>
                  <a:pt x="3818" y="7724"/>
                </a:lnTo>
                <a:lnTo>
                  <a:pt x="3816" y="7722"/>
                </a:lnTo>
                <a:lnTo>
                  <a:pt x="3812" y="7718"/>
                </a:lnTo>
                <a:lnTo>
                  <a:pt x="3808" y="7714"/>
                </a:lnTo>
                <a:lnTo>
                  <a:pt x="3802" y="7710"/>
                </a:lnTo>
                <a:lnTo>
                  <a:pt x="3800" y="7710"/>
                </a:lnTo>
                <a:lnTo>
                  <a:pt x="3800" y="7712"/>
                </a:lnTo>
                <a:lnTo>
                  <a:pt x="3802" y="7714"/>
                </a:lnTo>
                <a:lnTo>
                  <a:pt x="3806" y="7720"/>
                </a:lnTo>
                <a:lnTo>
                  <a:pt x="3806" y="7724"/>
                </a:lnTo>
                <a:lnTo>
                  <a:pt x="3806" y="7726"/>
                </a:lnTo>
                <a:lnTo>
                  <a:pt x="3802" y="7732"/>
                </a:lnTo>
                <a:lnTo>
                  <a:pt x="3806" y="7734"/>
                </a:lnTo>
                <a:lnTo>
                  <a:pt x="3808" y="7736"/>
                </a:lnTo>
                <a:lnTo>
                  <a:pt x="3806" y="7740"/>
                </a:lnTo>
                <a:lnTo>
                  <a:pt x="3802" y="7746"/>
                </a:lnTo>
                <a:lnTo>
                  <a:pt x="3802" y="7752"/>
                </a:lnTo>
                <a:lnTo>
                  <a:pt x="3804" y="7752"/>
                </a:lnTo>
                <a:lnTo>
                  <a:pt x="3810" y="7748"/>
                </a:lnTo>
                <a:lnTo>
                  <a:pt x="3812" y="7746"/>
                </a:lnTo>
                <a:lnTo>
                  <a:pt x="3816" y="7746"/>
                </a:lnTo>
                <a:lnTo>
                  <a:pt x="3820" y="7750"/>
                </a:lnTo>
                <a:lnTo>
                  <a:pt x="3820" y="7754"/>
                </a:lnTo>
                <a:lnTo>
                  <a:pt x="3818" y="7756"/>
                </a:lnTo>
                <a:lnTo>
                  <a:pt x="3816" y="7756"/>
                </a:lnTo>
                <a:lnTo>
                  <a:pt x="3812" y="7756"/>
                </a:lnTo>
                <a:lnTo>
                  <a:pt x="3812" y="7758"/>
                </a:lnTo>
                <a:lnTo>
                  <a:pt x="3818" y="7762"/>
                </a:lnTo>
                <a:lnTo>
                  <a:pt x="3818" y="7764"/>
                </a:lnTo>
                <a:lnTo>
                  <a:pt x="3818" y="7766"/>
                </a:lnTo>
                <a:lnTo>
                  <a:pt x="3814" y="7768"/>
                </a:lnTo>
                <a:lnTo>
                  <a:pt x="3812" y="7770"/>
                </a:lnTo>
                <a:lnTo>
                  <a:pt x="3816" y="7772"/>
                </a:lnTo>
                <a:lnTo>
                  <a:pt x="3824" y="7774"/>
                </a:lnTo>
                <a:lnTo>
                  <a:pt x="3828" y="7772"/>
                </a:lnTo>
                <a:lnTo>
                  <a:pt x="3830" y="7768"/>
                </a:lnTo>
                <a:lnTo>
                  <a:pt x="3830" y="7762"/>
                </a:lnTo>
                <a:lnTo>
                  <a:pt x="3830" y="7760"/>
                </a:lnTo>
                <a:lnTo>
                  <a:pt x="3832" y="7756"/>
                </a:lnTo>
                <a:lnTo>
                  <a:pt x="3836" y="7754"/>
                </a:lnTo>
                <a:lnTo>
                  <a:pt x="3840" y="7752"/>
                </a:lnTo>
                <a:lnTo>
                  <a:pt x="3842" y="7750"/>
                </a:lnTo>
                <a:lnTo>
                  <a:pt x="3842" y="7748"/>
                </a:lnTo>
                <a:lnTo>
                  <a:pt x="3840" y="7744"/>
                </a:lnTo>
                <a:lnTo>
                  <a:pt x="3836" y="7742"/>
                </a:lnTo>
                <a:lnTo>
                  <a:pt x="3840" y="7740"/>
                </a:lnTo>
                <a:lnTo>
                  <a:pt x="3848" y="7742"/>
                </a:lnTo>
                <a:lnTo>
                  <a:pt x="3850" y="7744"/>
                </a:lnTo>
                <a:lnTo>
                  <a:pt x="3852" y="7746"/>
                </a:lnTo>
                <a:lnTo>
                  <a:pt x="3856" y="7744"/>
                </a:lnTo>
                <a:lnTo>
                  <a:pt x="3860" y="7740"/>
                </a:lnTo>
                <a:lnTo>
                  <a:pt x="3864" y="7740"/>
                </a:lnTo>
                <a:lnTo>
                  <a:pt x="3878" y="7740"/>
                </a:lnTo>
                <a:lnTo>
                  <a:pt x="3888" y="7742"/>
                </a:lnTo>
                <a:lnTo>
                  <a:pt x="3892" y="7744"/>
                </a:lnTo>
                <a:lnTo>
                  <a:pt x="3892" y="7746"/>
                </a:lnTo>
                <a:lnTo>
                  <a:pt x="3888" y="7750"/>
                </a:lnTo>
                <a:lnTo>
                  <a:pt x="3884" y="7750"/>
                </a:lnTo>
                <a:lnTo>
                  <a:pt x="3876" y="7750"/>
                </a:lnTo>
                <a:lnTo>
                  <a:pt x="3868" y="7748"/>
                </a:lnTo>
                <a:lnTo>
                  <a:pt x="3864" y="7748"/>
                </a:lnTo>
                <a:lnTo>
                  <a:pt x="3862" y="7748"/>
                </a:lnTo>
                <a:lnTo>
                  <a:pt x="3858" y="7754"/>
                </a:lnTo>
                <a:lnTo>
                  <a:pt x="3854" y="7760"/>
                </a:lnTo>
                <a:lnTo>
                  <a:pt x="3852" y="7760"/>
                </a:lnTo>
                <a:lnTo>
                  <a:pt x="3850" y="7758"/>
                </a:lnTo>
                <a:lnTo>
                  <a:pt x="3844" y="7756"/>
                </a:lnTo>
                <a:lnTo>
                  <a:pt x="3838" y="7756"/>
                </a:lnTo>
                <a:lnTo>
                  <a:pt x="3834" y="7762"/>
                </a:lnTo>
                <a:lnTo>
                  <a:pt x="3834" y="7766"/>
                </a:lnTo>
                <a:lnTo>
                  <a:pt x="3836" y="7772"/>
                </a:lnTo>
                <a:lnTo>
                  <a:pt x="3834" y="7774"/>
                </a:lnTo>
                <a:lnTo>
                  <a:pt x="3834" y="7776"/>
                </a:lnTo>
                <a:lnTo>
                  <a:pt x="3836" y="7778"/>
                </a:lnTo>
                <a:lnTo>
                  <a:pt x="3838" y="7782"/>
                </a:lnTo>
                <a:lnTo>
                  <a:pt x="3836" y="7782"/>
                </a:lnTo>
                <a:lnTo>
                  <a:pt x="3830" y="7780"/>
                </a:lnTo>
                <a:lnTo>
                  <a:pt x="3824" y="7780"/>
                </a:lnTo>
                <a:lnTo>
                  <a:pt x="3820" y="7780"/>
                </a:lnTo>
                <a:lnTo>
                  <a:pt x="3824" y="7784"/>
                </a:lnTo>
                <a:lnTo>
                  <a:pt x="3838" y="7794"/>
                </a:lnTo>
                <a:lnTo>
                  <a:pt x="3850" y="7802"/>
                </a:lnTo>
                <a:lnTo>
                  <a:pt x="3852" y="7800"/>
                </a:lnTo>
                <a:lnTo>
                  <a:pt x="3850" y="7796"/>
                </a:lnTo>
                <a:lnTo>
                  <a:pt x="3848" y="7790"/>
                </a:lnTo>
                <a:lnTo>
                  <a:pt x="3850" y="7786"/>
                </a:lnTo>
                <a:lnTo>
                  <a:pt x="3854" y="7782"/>
                </a:lnTo>
                <a:lnTo>
                  <a:pt x="3860" y="7780"/>
                </a:lnTo>
                <a:lnTo>
                  <a:pt x="3860" y="7778"/>
                </a:lnTo>
                <a:lnTo>
                  <a:pt x="3856" y="7774"/>
                </a:lnTo>
                <a:lnTo>
                  <a:pt x="3852" y="7772"/>
                </a:lnTo>
                <a:lnTo>
                  <a:pt x="3858" y="7772"/>
                </a:lnTo>
                <a:lnTo>
                  <a:pt x="3868" y="7774"/>
                </a:lnTo>
                <a:lnTo>
                  <a:pt x="3872" y="7774"/>
                </a:lnTo>
                <a:lnTo>
                  <a:pt x="3874" y="7770"/>
                </a:lnTo>
                <a:lnTo>
                  <a:pt x="3880" y="7766"/>
                </a:lnTo>
                <a:lnTo>
                  <a:pt x="3888" y="7762"/>
                </a:lnTo>
                <a:lnTo>
                  <a:pt x="3894" y="7758"/>
                </a:lnTo>
                <a:lnTo>
                  <a:pt x="3898" y="7756"/>
                </a:lnTo>
                <a:lnTo>
                  <a:pt x="3902" y="7756"/>
                </a:lnTo>
                <a:lnTo>
                  <a:pt x="3904" y="7758"/>
                </a:lnTo>
                <a:lnTo>
                  <a:pt x="3904" y="7762"/>
                </a:lnTo>
                <a:lnTo>
                  <a:pt x="3902" y="7768"/>
                </a:lnTo>
                <a:lnTo>
                  <a:pt x="3896" y="7774"/>
                </a:lnTo>
                <a:lnTo>
                  <a:pt x="3888" y="7780"/>
                </a:lnTo>
                <a:lnTo>
                  <a:pt x="3882" y="7782"/>
                </a:lnTo>
                <a:lnTo>
                  <a:pt x="3880" y="7786"/>
                </a:lnTo>
                <a:lnTo>
                  <a:pt x="3878" y="7788"/>
                </a:lnTo>
                <a:lnTo>
                  <a:pt x="3876" y="7786"/>
                </a:lnTo>
                <a:lnTo>
                  <a:pt x="3872" y="7784"/>
                </a:lnTo>
                <a:lnTo>
                  <a:pt x="3872" y="7786"/>
                </a:lnTo>
                <a:lnTo>
                  <a:pt x="3870" y="7788"/>
                </a:lnTo>
                <a:lnTo>
                  <a:pt x="3866" y="7786"/>
                </a:lnTo>
                <a:lnTo>
                  <a:pt x="3860" y="7786"/>
                </a:lnTo>
                <a:lnTo>
                  <a:pt x="3854" y="7788"/>
                </a:lnTo>
                <a:lnTo>
                  <a:pt x="3854" y="7792"/>
                </a:lnTo>
                <a:lnTo>
                  <a:pt x="3856" y="7796"/>
                </a:lnTo>
                <a:lnTo>
                  <a:pt x="3862" y="7804"/>
                </a:lnTo>
                <a:lnTo>
                  <a:pt x="3868" y="7810"/>
                </a:lnTo>
                <a:lnTo>
                  <a:pt x="3874" y="7814"/>
                </a:lnTo>
                <a:lnTo>
                  <a:pt x="3878" y="7814"/>
                </a:lnTo>
                <a:lnTo>
                  <a:pt x="3882" y="7818"/>
                </a:lnTo>
                <a:lnTo>
                  <a:pt x="3888" y="7820"/>
                </a:lnTo>
                <a:lnTo>
                  <a:pt x="3898" y="7822"/>
                </a:lnTo>
                <a:lnTo>
                  <a:pt x="3906" y="7820"/>
                </a:lnTo>
                <a:lnTo>
                  <a:pt x="3910" y="7818"/>
                </a:lnTo>
                <a:lnTo>
                  <a:pt x="3912" y="7810"/>
                </a:lnTo>
                <a:lnTo>
                  <a:pt x="3912" y="7796"/>
                </a:lnTo>
                <a:lnTo>
                  <a:pt x="3914" y="7782"/>
                </a:lnTo>
                <a:lnTo>
                  <a:pt x="3916" y="7776"/>
                </a:lnTo>
                <a:lnTo>
                  <a:pt x="3918" y="7772"/>
                </a:lnTo>
                <a:lnTo>
                  <a:pt x="3920" y="7762"/>
                </a:lnTo>
                <a:lnTo>
                  <a:pt x="3920" y="7756"/>
                </a:lnTo>
                <a:lnTo>
                  <a:pt x="3922" y="7752"/>
                </a:lnTo>
                <a:lnTo>
                  <a:pt x="3924" y="7750"/>
                </a:lnTo>
                <a:lnTo>
                  <a:pt x="3928" y="7748"/>
                </a:lnTo>
                <a:lnTo>
                  <a:pt x="3936" y="7746"/>
                </a:lnTo>
                <a:lnTo>
                  <a:pt x="3942" y="7746"/>
                </a:lnTo>
                <a:lnTo>
                  <a:pt x="3946" y="7742"/>
                </a:lnTo>
                <a:lnTo>
                  <a:pt x="3950" y="7738"/>
                </a:lnTo>
                <a:lnTo>
                  <a:pt x="3954" y="7738"/>
                </a:lnTo>
                <a:lnTo>
                  <a:pt x="3958" y="7738"/>
                </a:lnTo>
                <a:lnTo>
                  <a:pt x="3962" y="7738"/>
                </a:lnTo>
                <a:lnTo>
                  <a:pt x="3968" y="7734"/>
                </a:lnTo>
                <a:lnTo>
                  <a:pt x="3972" y="7726"/>
                </a:lnTo>
                <a:lnTo>
                  <a:pt x="3978" y="7724"/>
                </a:lnTo>
                <a:lnTo>
                  <a:pt x="3984" y="7724"/>
                </a:lnTo>
                <a:lnTo>
                  <a:pt x="3992" y="7724"/>
                </a:lnTo>
                <a:lnTo>
                  <a:pt x="4006" y="7728"/>
                </a:lnTo>
                <a:lnTo>
                  <a:pt x="4014" y="7732"/>
                </a:lnTo>
                <a:lnTo>
                  <a:pt x="4016" y="7730"/>
                </a:lnTo>
                <a:lnTo>
                  <a:pt x="4014" y="7724"/>
                </a:lnTo>
                <a:lnTo>
                  <a:pt x="4008" y="7712"/>
                </a:lnTo>
                <a:lnTo>
                  <a:pt x="3996" y="7692"/>
                </a:lnTo>
                <a:lnTo>
                  <a:pt x="3992" y="7680"/>
                </a:lnTo>
                <a:lnTo>
                  <a:pt x="3988" y="7666"/>
                </a:lnTo>
                <a:lnTo>
                  <a:pt x="3986" y="7648"/>
                </a:lnTo>
                <a:lnTo>
                  <a:pt x="3986" y="7640"/>
                </a:lnTo>
                <a:lnTo>
                  <a:pt x="3986" y="7630"/>
                </a:lnTo>
                <a:lnTo>
                  <a:pt x="3990" y="7620"/>
                </a:lnTo>
                <a:lnTo>
                  <a:pt x="3996" y="7612"/>
                </a:lnTo>
                <a:lnTo>
                  <a:pt x="4002" y="7606"/>
                </a:lnTo>
                <a:lnTo>
                  <a:pt x="4014" y="7600"/>
                </a:lnTo>
                <a:lnTo>
                  <a:pt x="4024" y="7596"/>
                </a:lnTo>
                <a:lnTo>
                  <a:pt x="4032" y="7592"/>
                </a:lnTo>
                <a:lnTo>
                  <a:pt x="4038" y="7586"/>
                </a:lnTo>
                <a:lnTo>
                  <a:pt x="4042" y="7580"/>
                </a:lnTo>
                <a:lnTo>
                  <a:pt x="4046" y="7564"/>
                </a:lnTo>
                <a:lnTo>
                  <a:pt x="4050" y="7540"/>
                </a:lnTo>
                <a:lnTo>
                  <a:pt x="4054" y="7528"/>
                </a:lnTo>
                <a:lnTo>
                  <a:pt x="4060" y="7518"/>
                </a:lnTo>
                <a:lnTo>
                  <a:pt x="4068" y="7510"/>
                </a:lnTo>
                <a:lnTo>
                  <a:pt x="4076" y="7504"/>
                </a:lnTo>
                <a:lnTo>
                  <a:pt x="4092" y="7496"/>
                </a:lnTo>
                <a:lnTo>
                  <a:pt x="4098" y="7492"/>
                </a:lnTo>
                <a:lnTo>
                  <a:pt x="4102" y="7488"/>
                </a:lnTo>
                <a:lnTo>
                  <a:pt x="4104" y="7484"/>
                </a:lnTo>
                <a:lnTo>
                  <a:pt x="4106" y="7480"/>
                </a:lnTo>
                <a:lnTo>
                  <a:pt x="4114" y="7474"/>
                </a:lnTo>
                <a:lnTo>
                  <a:pt x="4118" y="7470"/>
                </a:lnTo>
                <a:lnTo>
                  <a:pt x="4120" y="7466"/>
                </a:lnTo>
                <a:lnTo>
                  <a:pt x="4118" y="7462"/>
                </a:lnTo>
                <a:lnTo>
                  <a:pt x="4118" y="7458"/>
                </a:lnTo>
                <a:lnTo>
                  <a:pt x="4118" y="7454"/>
                </a:lnTo>
                <a:lnTo>
                  <a:pt x="4120" y="7450"/>
                </a:lnTo>
                <a:lnTo>
                  <a:pt x="4122" y="7442"/>
                </a:lnTo>
                <a:lnTo>
                  <a:pt x="4124" y="7436"/>
                </a:lnTo>
                <a:lnTo>
                  <a:pt x="4122" y="7428"/>
                </a:lnTo>
                <a:lnTo>
                  <a:pt x="4120" y="7422"/>
                </a:lnTo>
                <a:lnTo>
                  <a:pt x="4116" y="7420"/>
                </a:lnTo>
                <a:lnTo>
                  <a:pt x="4104" y="7418"/>
                </a:lnTo>
                <a:lnTo>
                  <a:pt x="4096" y="7418"/>
                </a:lnTo>
                <a:lnTo>
                  <a:pt x="4086" y="7414"/>
                </a:lnTo>
                <a:lnTo>
                  <a:pt x="4076" y="7408"/>
                </a:lnTo>
                <a:lnTo>
                  <a:pt x="4066" y="7398"/>
                </a:lnTo>
                <a:lnTo>
                  <a:pt x="4050" y="7378"/>
                </a:lnTo>
                <a:lnTo>
                  <a:pt x="4046" y="7372"/>
                </a:lnTo>
                <a:lnTo>
                  <a:pt x="4046" y="7366"/>
                </a:lnTo>
                <a:lnTo>
                  <a:pt x="4046" y="7360"/>
                </a:lnTo>
                <a:lnTo>
                  <a:pt x="4050" y="7352"/>
                </a:lnTo>
                <a:lnTo>
                  <a:pt x="4060" y="7332"/>
                </a:lnTo>
                <a:lnTo>
                  <a:pt x="4068" y="7320"/>
                </a:lnTo>
                <a:lnTo>
                  <a:pt x="4072" y="7314"/>
                </a:lnTo>
                <a:lnTo>
                  <a:pt x="4078" y="7310"/>
                </a:lnTo>
                <a:lnTo>
                  <a:pt x="4082" y="7310"/>
                </a:lnTo>
                <a:lnTo>
                  <a:pt x="4088" y="7310"/>
                </a:lnTo>
                <a:lnTo>
                  <a:pt x="4092" y="7308"/>
                </a:lnTo>
                <a:lnTo>
                  <a:pt x="4094" y="7306"/>
                </a:lnTo>
                <a:lnTo>
                  <a:pt x="4098" y="7302"/>
                </a:lnTo>
                <a:lnTo>
                  <a:pt x="4104" y="7300"/>
                </a:lnTo>
                <a:lnTo>
                  <a:pt x="4118" y="7300"/>
                </a:lnTo>
                <a:lnTo>
                  <a:pt x="4124" y="7298"/>
                </a:lnTo>
                <a:lnTo>
                  <a:pt x="4128" y="7298"/>
                </a:lnTo>
                <a:lnTo>
                  <a:pt x="4130" y="7296"/>
                </a:lnTo>
                <a:lnTo>
                  <a:pt x="4128" y="7290"/>
                </a:lnTo>
                <a:lnTo>
                  <a:pt x="4124" y="7286"/>
                </a:lnTo>
                <a:lnTo>
                  <a:pt x="4126" y="7282"/>
                </a:lnTo>
                <a:lnTo>
                  <a:pt x="4134" y="7274"/>
                </a:lnTo>
                <a:lnTo>
                  <a:pt x="4140" y="7268"/>
                </a:lnTo>
                <a:lnTo>
                  <a:pt x="4142" y="7262"/>
                </a:lnTo>
                <a:lnTo>
                  <a:pt x="4144" y="7252"/>
                </a:lnTo>
                <a:lnTo>
                  <a:pt x="4140" y="7240"/>
                </a:lnTo>
                <a:lnTo>
                  <a:pt x="4140" y="7234"/>
                </a:lnTo>
                <a:lnTo>
                  <a:pt x="4140" y="7228"/>
                </a:lnTo>
                <a:lnTo>
                  <a:pt x="4142" y="7220"/>
                </a:lnTo>
                <a:lnTo>
                  <a:pt x="4144" y="7212"/>
                </a:lnTo>
                <a:lnTo>
                  <a:pt x="4150" y="7206"/>
                </a:lnTo>
                <a:lnTo>
                  <a:pt x="4156" y="7200"/>
                </a:lnTo>
                <a:lnTo>
                  <a:pt x="4164" y="7194"/>
                </a:lnTo>
                <a:lnTo>
                  <a:pt x="4174" y="7188"/>
                </a:lnTo>
                <a:lnTo>
                  <a:pt x="4180" y="7186"/>
                </a:lnTo>
                <a:lnTo>
                  <a:pt x="4178" y="7184"/>
                </a:lnTo>
                <a:lnTo>
                  <a:pt x="4170" y="7182"/>
                </a:lnTo>
                <a:lnTo>
                  <a:pt x="4160" y="7178"/>
                </a:lnTo>
                <a:lnTo>
                  <a:pt x="4154" y="7172"/>
                </a:lnTo>
                <a:lnTo>
                  <a:pt x="4154" y="7168"/>
                </a:lnTo>
                <a:lnTo>
                  <a:pt x="4156" y="7166"/>
                </a:lnTo>
                <a:lnTo>
                  <a:pt x="4160" y="7164"/>
                </a:lnTo>
                <a:lnTo>
                  <a:pt x="4166" y="7162"/>
                </a:lnTo>
                <a:lnTo>
                  <a:pt x="4172" y="7164"/>
                </a:lnTo>
                <a:lnTo>
                  <a:pt x="4178" y="7166"/>
                </a:lnTo>
                <a:lnTo>
                  <a:pt x="4182" y="7170"/>
                </a:lnTo>
                <a:lnTo>
                  <a:pt x="4186" y="7176"/>
                </a:lnTo>
                <a:lnTo>
                  <a:pt x="4188" y="7180"/>
                </a:lnTo>
                <a:lnTo>
                  <a:pt x="4192" y="7180"/>
                </a:lnTo>
                <a:lnTo>
                  <a:pt x="4196" y="7182"/>
                </a:lnTo>
                <a:lnTo>
                  <a:pt x="4200" y="7180"/>
                </a:lnTo>
                <a:lnTo>
                  <a:pt x="4204" y="7176"/>
                </a:lnTo>
                <a:lnTo>
                  <a:pt x="4208" y="7170"/>
                </a:lnTo>
                <a:lnTo>
                  <a:pt x="4212" y="7162"/>
                </a:lnTo>
                <a:lnTo>
                  <a:pt x="4212" y="7154"/>
                </a:lnTo>
                <a:lnTo>
                  <a:pt x="4210" y="7144"/>
                </a:lnTo>
                <a:lnTo>
                  <a:pt x="4206" y="7136"/>
                </a:lnTo>
                <a:lnTo>
                  <a:pt x="4202" y="7134"/>
                </a:lnTo>
                <a:lnTo>
                  <a:pt x="4198" y="7134"/>
                </a:lnTo>
                <a:lnTo>
                  <a:pt x="4174" y="7142"/>
                </a:lnTo>
                <a:lnTo>
                  <a:pt x="4166" y="7142"/>
                </a:lnTo>
                <a:lnTo>
                  <a:pt x="4160" y="7142"/>
                </a:lnTo>
                <a:lnTo>
                  <a:pt x="4154" y="7140"/>
                </a:lnTo>
                <a:lnTo>
                  <a:pt x="4152" y="7134"/>
                </a:lnTo>
                <a:lnTo>
                  <a:pt x="4150" y="7128"/>
                </a:lnTo>
                <a:lnTo>
                  <a:pt x="4152" y="7118"/>
                </a:lnTo>
                <a:lnTo>
                  <a:pt x="4152" y="7108"/>
                </a:lnTo>
                <a:lnTo>
                  <a:pt x="4152" y="7100"/>
                </a:lnTo>
                <a:lnTo>
                  <a:pt x="4146" y="7084"/>
                </a:lnTo>
                <a:lnTo>
                  <a:pt x="4144" y="7078"/>
                </a:lnTo>
                <a:lnTo>
                  <a:pt x="4142" y="7072"/>
                </a:lnTo>
                <a:lnTo>
                  <a:pt x="4144" y="7068"/>
                </a:lnTo>
                <a:lnTo>
                  <a:pt x="4150" y="7064"/>
                </a:lnTo>
                <a:lnTo>
                  <a:pt x="4158" y="7064"/>
                </a:lnTo>
                <a:lnTo>
                  <a:pt x="4166" y="7064"/>
                </a:lnTo>
                <a:lnTo>
                  <a:pt x="4180" y="7072"/>
                </a:lnTo>
                <a:lnTo>
                  <a:pt x="4196" y="7080"/>
                </a:lnTo>
                <a:lnTo>
                  <a:pt x="4204" y="7082"/>
                </a:lnTo>
                <a:lnTo>
                  <a:pt x="4212" y="7082"/>
                </a:lnTo>
                <a:lnTo>
                  <a:pt x="4222" y="7084"/>
                </a:lnTo>
                <a:lnTo>
                  <a:pt x="4226" y="7084"/>
                </a:lnTo>
                <a:lnTo>
                  <a:pt x="4230" y="7082"/>
                </a:lnTo>
                <a:lnTo>
                  <a:pt x="4244" y="7076"/>
                </a:lnTo>
                <a:lnTo>
                  <a:pt x="4258" y="7068"/>
                </a:lnTo>
                <a:lnTo>
                  <a:pt x="4264" y="7064"/>
                </a:lnTo>
                <a:lnTo>
                  <a:pt x="4266" y="7060"/>
                </a:lnTo>
                <a:lnTo>
                  <a:pt x="4268" y="7056"/>
                </a:lnTo>
                <a:lnTo>
                  <a:pt x="4266" y="7052"/>
                </a:lnTo>
                <a:lnTo>
                  <a:pt x="4262" y="7046"/>
                </a:lnTo>
                <a:lnTo>
                  <a:pt x="4258" y="7044"/>
                </a:lnTo>
                <a:lnTo>
                  <a:pt x="4256" y="7040"/>
                </a:lnTo>
                <a:lnTo>
                  <a:pt x="4256" y="7034"/>
                </a:lnTo>
                <a:lnTo>
                  <a:pt x="4258" y="7024"/>
                </a:lnTo>
                <a:lnTo>
                  <a:pt x="4266" y="7016"/>
                </a:lnTo>
                <a:lnTo>
                  <a:pt x="4272" y="7006"/>
                </a:lnTo>
                <a:lnTo>
                  <a:pt x="4274" y="6996"/>
                </a:lnTo>
                <a:lnTo>
                  <a:pt x="4272" y="6986"/>
                </a:lnTo>
                <a:lnTo>
                  <a:pt x="4270" y="6982"/>
                </a:lnTo>
                <a:lnTo>
                  <a:pt x="4266" y="6978"/>
                </a:lnTo>
                <a:lnTo>
                  <a:pt x="4262" y="6976"/>
                </a:lnTo>
                <a:lnTo>
                  <a:pt x="4260" y="6972"/>
                </a:lnTo>
                <a:lnTo>
                  <a:pt x="4256" y="6962"/>
                </a:lnTo>
                <a:lnTo>
                  <a:pt x="4256" y="6958"/>
                </a:lnTo>
                <a:lnTo>
                  <a:pt x="4260" y="6956"/>
                </a:lnTo>
                <a:lnTo>
                  <a:pt x="4264" y="6956"/>
                </a:lnTo>
                <a:lnTo>
                  <a:pt x="4270" y="6958"/>
                </a:lnTo>
                <a:lnTo>
                  <a:pt x="4280" y="6964"/>
                </a:lnTo>
                <a:lnTo>
                  <a:pt x="4288" y="6966"/>
                </a:lnTo>
                <a:lnTo>
                  <a:pt x="4320" y="6962"/>
                </a:lnTo>
                <a:lnTo>
                  <a:pt x="4352" y="6958"/>
                </a:lnTo>
                <a:lnTo>
                  <a:pt x="4386" y="6950"/>
                </a:lnTo>
                <a:lnTo>
                  <a:pt x="4416" y="6940"/>
                </a:lnTo>
                <a:lnTo>
                  <a:pt x="4430" y="6934"/>
                </a:lnTo>
                <a:lnTo>
                  <a:pt x="4440" y="6928"/>
                </a:lnTo>
                <a:lnTo>
                  <a:pt x="4448" y="6922"/>
                </a:lnTo>
                <a:lnTo>
                  <a:pt x="4452" y="6916"/>
                </a:lnTo>
                <a:lnTo>
                  <a:pt x="4456" y="6912"/>
                </a:lnTo>
                <a:lnTo>
                  <a:pt x="4456" y="6908"/>
                </a:lnTo>
                <a:lnTo>
                  <a:pt x="4458" y="6898"/>
                </a:lnTo>
                <a:lnTo>
                  <a:pt x="4462" y="6894"/>
                </a:lnTo>
                <a:lnTo>
                  <a:pt x="4466" y="6888"/>
                </a:lnTo>
                <a:lnTo>
                  <a:pt x="4478" y="6876"/>
                </a:lnTo>
                <a:lnTo>
                  <a:pt x="4484" y="6862"/>
                </a:lnTo>
                <a:lnTo>
                  <a:pt x="4486" y="6846"/>
                </a:lnTo>
                <a:lnTo>
                  <a:pt x="4488" y="6828"/>
                </a:lnTo>
                <a:lnTo>
                  <a:pt x="4486" y="6820"/>
                </a:lnTo>
                <a:lnTo>
                  <a:pt x="4486" y="6816"/>
                </a:lnTo>
                <a:lnTo>
                  <a:pt x="4484" y="6816"/>
                </a:lnTo>
                <a:lnTo>
                  <a:pt x="4480" y="6816"/>
                </a:lnTo>
                <a:lnTo>
                  <a:pt x="4476" y="6816"/>
                </a:lnTo>
                <a:lnTo>
                  <a:pt x="4472" y="6814"/>
                </a:lnTo>
                <a:lnTo>
                  <a:pt x="4466" y="6810"/>
                </a:lnTo>
                <a:lnTo>
                  <a:pt x="4462" y="6802"/>
                </a:lnTo>
                <a:lnTo>
                  <a:pt x="4458" y="6794"/>
                </a:lnTo>
                <a:lnTo>
                  <a:pt x="4458" y="6788"/>
                </a:lnTo>
                <a:lnTo>
                  <a:pt x="4460" y="6784"/>
                </a:lnTo>
                <a:lnTo>
                  <a:pt x="4464" y="6780"/>
                </a:lnTo>
                <a:lnTo>
                  <a:pt x="4466" y="6776"/>
                </a:lnTo>
                <a:lnTo>
                  <a:pt x="4468" y="6770"/>
                </a:lnTo>
                <a:lnTo>
                  <a:pt x="4464" y="6762"/>
                </a:lnTo>
                <a:lnTo>
                  <a:pt x="4458" y="6750"/>
                </a:lnTo>
                <a:lnTo>
                  <a:pt x="4450" y="6744"/>
                </a:lnTo>
                <a:lnTo>
                  <a:pt x="4442" y="6738"/>
                </a:lnTo>
                <a:lnTo>
                  <a:pt x="4424" y="6728"/>
                </a:lnTo>
                <a:lnTo>
                  <a:pt x="4418" y="6722"/>
                </a:lnTo>
                <a:lnTo>
                  <a:pt x="4416" y="6716"/>
                </a:lnTo>
                <a:lnTo>
                  <a:pt x="4416" y="6712"/>
                </a:lnTo>
                <a:lnTo>
                  <a:pt x="4416" y="6708"/>
                </a:lnTo>
                <a:lnTo>
                  <a:pt x="4424" y="6700"/>
                </a:lnTo>
                <a:lnTo>
                  <a:pt x="4426" y="6702"/>
                </a:lnTo>
                <a:lnTo>
                  <a:pt x="4432" y="6710"/>
                </a:lnTo>
                <a:lnTo>
                  <a:pt x="4442" y="6716"/>
                </a:lnTo>
                <a:lnTo>
                  <a:pt x="4448" y="6718"/>
                </a:lnTo>
                <a:lnTo>
                  <a:pt x="4456" y="6718"/>
                </a:lnTo>
                <a:lnTo>
                  <a:pt x="4464" y="6718"/>
                </a:lnTo>
                <a:lnTo>
                  <a:pt x="4472" y="6722"/>
                </a:lnTo>
                <a:lnTo>
                  <a:pt x="4490" y="6732"/>
                </a:lnTo>
                <a:lnTo>
                  <a:pt x="4498" y="6736"/>
                </a:lnTo>
                <a:lnTo>
                  <a:pt x="4506" y="6740"/>
                </a:lnTo>
                <a:lnTo>
                  <a:pt x="4514" y="6740"/>
                </a:lnTo>
                <a:lnTo>
                  <a:pt x="4522" y="6738"/>
                </a:lnTo>
                <a:lnTo>
                  <a:pt x="4528" y="6736"/>
                </a:lnTo>
                <a:lnTo>
                  <a:pt x="4534" y="6736"/>
                </a:lnTo>
                <a:lnTo>
                  <a:pt x="4546" y="6740"/>
                </a:lnTo>
                <a:lnTo>
                  <a:pt x="4552" y="6742"/>
                </a:lnTo>
                <a:lnTo>
                  <a:pt x="4558" y="6742"/>
                </a:lnTo>
                <a:lnTo>
                  <a:pt x="4564" y="6740"/>
                </a:lnTo>
                <a:lnTo>
                  <a:pt x="4572" y="6738"/>
                </a:lnTo>
                <a:lnTo>
                  <a:pt x="4586" y="6728"/>
                </a:lnTo>
                <a:lnTo>
                  <a:pt x="4596" y="6718"/>
                </a:lnTo>
                <a:lnTo>
                  <a:pt x="4608" y="6704"/>
                </a:lnTo>
                <a:lnTo>
                  <a:pt x="4618" y="6682"/>
                </a:lnTo>
                <a:lnTo>
                  <a:pt x="4616" y="6676"/>
                </a:lnTo>
                <a:lnTo>
                  <a:pt x="4620" y="6670"/>
                </a:lnTo>
                <a:lnTo>
                  <a:pt x="4626" y="6666"/>
                </a:lnTo>
                <a:lnTo>
                  <a:pt x="4638" y="6660"/>
                </a:lnTo>
                <a:lnTo>
                  <a:pt x="4648" y="6652"/>
                </a:lnTo>
                <a:lnTo>
                  <a:pt x="4652" y="6648"/>
                </a:lnTo>
                <a:lnTo>
                  <a:pt x="4654" y="6640"/>
                </a:lnTo>
                <a:lnTo>
                  <a:pt x="4662" y="6616"/>
                </a:lnTo>
                <a:lnTo>
                  <a:pt x="4666" y="6608"/>
                </a:lnTo>
                <a:lnTo>
                  <a:pt x="4670" y="6600"/>
                </a:lnTo>
                <a:lnTo>
                  <a:pt x="4684" y="6586"/>
                </a:lnTo>
                <a:lnTo>
                  <a:pt x="4708" y="6568"/>
                </a:lnTo>
                <a:lnTo>
                  <a:pt x="4716" y="6558"/>
                </a:lnTo>
                <a:lnTo>
                  <a:pt x="4724" y="6548"/>
                </a:lnTo>
                <a:lnTo>
                  <a:pt x="4738" y="6522"/>
                </a:lnTo>
                <a:lnTo>
                  <a:pt x="4750" y="6494"/>
                </a:lnTo>
                <a:lnTo>
                  <a:pt x="4766" y="6458"/>
                </a:lnTo>
                <a:lnTo>
                  <a:pt x="4774" y="6442"/>
                </a:lnTo>
                <a:lnTo>
                  <a:pt x="4780" y="6432"/>
                </a:lnTo>
                <a:lnTo>
                  <a:pt x="4786" y="6426"/>
                </a:lnTo>
                <a:lnTo>
                  <a:pt x="4792" y="6420"/>
                </a:lnTo>
                <a:lnTo>
                  <a:pt x="4800" y="6412"/>
                </a:lnTo>
                <a:lnTo>
                  <a:pt x="4804" y="6406"/>
                </a:lnTo>
                <a:lnTo>
                  <a:pt x="4810" y="6396"/>
                </a:lnTo>
                <a:lnTo>
                  <a:pt x="4816" y="6382"/>
                </a:lnTo>
                <a:lnTo>
                  <a:pt x="4818" y="6368"/>
                </a:lnTo>
                <a:lnTo>
                  <a:pt x="4820" y="6354"/>
                </a:lnTo>
                <a:lnTo>
                  <a:pt x="4820" y="6340"/>
                </a:lnTo>
                <a:lnTo>
                  <a:pt x="4818" y="6310"/>
                </a:lnTo>
                <a:lnTo>
                  <a:pt x="4818" y="6294"/>
                </a:lnTo>
                <a:lnTo>
                  <a:pt x="4818" y="6278"/>
                </a:lnTo>
                <a:lnTo>
                  <a:pt x="4822" y="6260"/>
                </a:lnTo>
                <a:lnTo>
                  <a:pt x="4828" y="6246"/>
                </a:lnTo>
                <a:lnTo>
                  <a:pt x="4836" y="6232"/>
                </a:lnTo>
                <a:lnTo>
                  <a:pt x="4848" y="6220"/>
                </a:lnTo>
                <a:lnTo>
                  <a:pt x="4860" y="6208"/>
                </a:lnTo>
                <a:lnTo>
                  <a:pt x="4872" y="6198"/>
                </a:lnTo>
                <a:lnTo>
                  <a:pt x="4884" y="6190"/>
                </a:lnTo>
                <a:lnTo>
                  <a:pt x="4894" y="6186"/>
                </a:lnTo>
                <a:lnTo>
                  <a:pt x="4918" y="6174"/>
                </a:lnTo>
                <a:lnTo>
                  <a:pt x="4936" y="6164"/>
                </a:lnTo>
                <a:lnTo>
                  <a:pt x="4948" y="6156"/>
                </a:lnTo>
                <a:lnTo>
                  <a:pt x="4958" y="6146"/>
                </a:lnTo>
                <a:lnTo>
                  <a:pt x="4972" y="6132"/>
                </a:lnTo>
                <a:lnTo>
                  <a:pt x="4978" y="6128"/>
                </a:lnTo>
                <a:lnTo>
                  <a:pt x="4986" y="6124"/>
                </a:lnTo>
                <a:lnTo>
                  <a:pt x="4994" y="6122"/>
                </a:lnTo>
                <a:lnTo>
                  <a:pt x="4998" y="6122"/>
                </a:lnTo>
                <a:lnTo>
                  <a:pt x="5002" y="6124"/>
                </a:lnTo>
                <a:lnTo>
                  <a:pt x="5006" y="6126"/>
                </a:lnTo>
                <a:lnTo>
                  <a:pt x="5010" y="6126"/>
                </a:lnTo>
                <a:lnTo>
                  <a:pt x="5016" y="6126"/>
                </a:lnTo>
                <a:lnTo>
                  <a:pt x="5028" y="6124"/>
                </a:lnTo>
                <a:lnTo>
                  <a:pt x="5040" y="6122"/>
                </a:lnTo>
                <a:lnTo>
                  <a:pt x="5052" y="6122"/>
                </a:lnTo>
                <a:lnTo>
                  <a:pt x="5072" y="6122"/>
                </a:lnTo>
                <a:lnTo>
                  <a:pt x="5080" y="6120"/>
                </a:lnTo>
                <a:lnTo>
                  <a:pt x="5086" y="6120"/>
                </a:lnTo>
                <a:lnTo>
                  <a:pt x="5088" y="6116"/>
                </a:lnTo>
                <a:lnTo>
                  <a:pt x="5086" y="6110"/>
                </a:lnTo>
                <a:lnTo>
                  <a:pt x="5086" y="6108"/>
                </a:lnTo>
                <a:lnTo>
                  <a:pt x="5086" y="6104"/>
                </a:lnTo>
                <a:lnTo>
                  <a:pt x="5090" y="6098"/>
                </a:lnTo>
                <a:lnTo>
                  <a:pt x="5104" y="6086"/>
                </a:lnTo>
                <a:lnTo>
                  <a:pt x="5112" y="6080"/>
                </a:lnTo>
                <a:lnTo>
                  <a:pt x="5118" y="6072"/>
                </a:lnTo>
                <a:lnTo>
                  <a:pt x="5122" y="6064"/>
                </a:lnTo>
                <a:lnTo>
                  <a:pt x="5122" y="6060"/>
                </a:lnTo>
                <a:lnTo>
                  <a:pt x="5120" y="6056"/>
                </a:lnTo>
                <a:lnTo>
                  <a:pt x="5120" y="6046"/>
                </a:lnTo>
                <a:lnTo>
                  <a:pt x="5120" y="6036"/>
                </a:lnTo>
                <a:lnTo>
                  <a:pt x="5124" y="6028"/>
                </a:lnTo>
                <a:lnTo>
                  <a:pt x="5130" y="6018"/>
                </a:lnTo>
                <a:lnTo>
                  <a:pt x="5146" y="5994"/>
                </a:lnTo>
                <a:lnTo>
                  <a:pt x="5164" y="5964"/>
                </a:lnTo>
                <a:lnTo>
                  <a:pt x="5170" y="5948"/>
                </a:lnTo>
                <a:lnTo>
                  <a:pt x="5174" y="5932"/>
                </a:lnTo>
                <a:lnTo>
                  <a:pt x="5176" y="5920"/>
                </a:lnTo>
                <a:lnTo>
                  <a:pt x="5176" y="5908"/>
                </a:lnTo>
                <a:lnTo>
                  <a:pt x="5176" y="5898"/>
                </a:lnTo>
                <a:lnTo>
                  <a:pt x="5176" y="5888"/>
                </a:lnTo>
                <a:lnTo>
                  <a:pt x="5178" y="5882"/>
                </a:lnTo>
                <a:lnTo>
                  <a:pt x="5184" y="5878"/>
                </a:lnTo>
                <a:lnTo>
                  <a:pt x="5190" y="5872"/>
                </a:lnTo>
                <a:lnTo>
                  <a:pt x="5194" y="5864"/>
                </a:lnTo>
                <a:lnTo>
                  <a:pt x="5196" y="5854"/>
                </a:lnTo>
                <a:lnTo>
                  <a:pt x="5196" y="5842"/>
                </a:lnTo>
                <a:lnTo>
                  <a:pt x="5196" y="5816"/>
                </a:lnTo>
                <a:lnTo>
                  <a:pt x="5198" y="5802"/>
                </a:lnTo>
                <a:lnTo>
                  <a:pt x="5202" y="5786"/>
                </a:lnTo>
                <a:lnTo>
                  <a:pt x="5204" y="5772"/>
                </a:lnTo>
                <a:lnTo>
                  <a:pt x="5206" y="5762"/>
                </a:lnTo>
                <a:lnTo>
                  <a:pt x="5204" y="5752"/>
                </a:lnTo>
                <a:lnTo>
                  <a:pt x="5202" y="5742"/>
                </a:lnTo>
                <a:lnTo>
                  <a:pt x="5198" y="5726"/>
                </a:lnTo>
                <a:lnTo>
                  <a:pt x="5198" y="5716"/>
                </a:lnTo>
                <a:lnTo>
                  <a:pt x="5198" y="5706"/>
                </a:lnTo>
                <a:lnTo>
                  <a:pt x="5202" y="5634"/>
                </a:lnTo>
                <a:lnTo>
                  <a:pt x="5204" y="5618"/>
                </a:lnTo>
                <a:lnTo>
                  <a:pt x="5208" y="5606"/>
                </a:lnTo>
                <a:lnTo>
                  <a:pt x="5208" y="5604"/>
                </a:lnTo>
                <a:lnTo>
                  <a:pt x="5212" y="5602"/>
                </a:lnTo>
                <a:lnTo>
                  <a:pt x="5214" y="5604"/>
                </a:lnTo>
                <a:lnTo>
                  <a:pt x="5216" y="5608"/>
                </a:lnTo>
                <a:lnTo>
                  <a:pt x="5222" y="5618"/>
                </a:lnTo>
                <a:lnTo>
                  <a:pt x="5228" y="5622"/>
                </a:lnTo>
                <a:lnTo>
                  <a:pt x="5232" y="5622"/>
                </a:lnTo>
                <a:lnTo>
                  <a:pt x="5238" y="5616"/>
                </a:lnTo>
                <a:lnTo>
                  <a:pt x="5242" y="5608"/>
                </a:lnTo>
                <a:lnTo>
                  <a:pt x="5248" y="5594"/>
                </a:lnTo>
                <a:lnTo>
                  <a:pt x="5262" y="5558"/>
                </a:lnTo>
                <a:lnTo>
                  <a:pt x="5270" y="5540"/>
                </a:lnTo>
                <a:lnTo>
                  <a:pt x="5278" y="5528"/>
                </a:lnTo>
                <a:lnTo>
                  <a:pt x="5284" y="5520"/>
                </a:lnTo>
                <a:lnTo>
                  <a:pt x="5290" y="5512"/>
                </a:lnTo>
                <a:lnTo>
                  <a:pt x="5306" y="5496"/>
                </a:lnTo>
                <a:lnTo>
                  <a:pt x="5316" y="5484"/>
                </a:lnTo>
                <a:lnTo>
                  <a:pt x="5328" y="5466"/>
                </a:lnTo>
                <a:lnTo>
                  <a:pt x="5348" y="5428"/>
                </a:lnTo>
                <a:lnTo>
                  <a:pt x="5356" y="5412"/>
                </a:lnTo>
                <a:lnTo>
                  <a:pt x="5364" y="5398"/>
                </a:lnTo>
                <a:lnTo>
                  <a:pt x="5368" y="5384"/>
                </a:lnTo>
                <a:lnTo>
                  <a:pt x="5370" y="5370"/>
                </a:lnTo>
                <a:lnTo>
                  <a:pt x="5370" y="5356"/>
                </a:lnTo>
                <a:lnTo>
                  <a:pt x="5370" y="5340"/>
                </a:lnTo>
                <a:lnTo>
                  <a:pt x="5366" y="5308"/>
                </a:lnTo>
                <a:lnTo>
                  <a:pt x="5362" y="5282"/>
                </a:lnTo>
                <a:lnTo>
                  <a:pt x="5358" y="5270"/>
                </a:lnTo>
                <a:lnTo>
                  <a:pt x="5354" y="5260"/>
                </a:lnTo>
                <a:lnTo>
                  <a:pt x="5348" y="5250"/>
                </a:lnTo>
                <a:lnTo>
                  <a:pt x="5340" y="5242"/>
                </a:lnTo>
                <a:close/>
                <a:moveTo>
                  <a:pt x="3590" y="2808"/>
                </a:moveTo>
                <a:lnTo>
                  <a:pt x="3590" y="2808"/>
                </a:lnTo>
                <a:lnTo>
                  <a:pt x="3570" y="2824"/>
                </a:lnTo>
                <a:lnTo>
                  <a:pt x="3558" y="2834"/>
                </a:lnTo>
                <a:lnTo>
                  <a:pt x="3548" y="2840"/>
                </a:lnTo>
                <a:lnTo>
                  <a:pt x="3538" y="2844"/>
                </a:lnTo>
                <a:lnTo>
                  <a:pt x="3526" y="2850"/>
                </a:lnTo>
                <a:lnTo>
                  <a:pt x="3510" y="2860"/>
                </a:lnTo>
                <a:lnTo>
                  <a:pt x="3488" y="2870"/>
                </a:lnTo>
                <a:lnTo>
                  <a:pt x="3468" y="2878"/>
                </a:lnTo>
                <a:lnTo>
                  <a:pt x="3448" y="2882"/>
                </a:lnTo>
                <a:lnTo>
                  <a:pt x="3434" y="2882"/>
                </a:lnTo>
                <a:lnTo>
                  <a:pt x="3426" y="2880"/>
                </a:lnTo>
                <a:lnTo>
                  <a:pt x="3424" y="2878"/>
                </a:lnTo>
                <a:lnTo>
                  <a:pt x="3426" y="2878"/>
                </a:lnTo>
                <a:lnTo>
                  <a:pt x="3430" y="2876"/>
                </a:lnTo>
                <a:lnTo>
                  <a:pt x="3434" y="2874"/>
                </a:lnTo>
                <a:lnTo>
                  <a:pt x="3436" y="2874"/>
                </a:lnTo>
                <a:lnTo>
                  <a:pt x="3434" y="2872"/>
                </a:lnTo>
                <a:lnTo>
                  <a:pt x="3428" y="2870"/>
                </a:lnTo>
                <a:lnTo>
                  <a:pt x="3418" y="2870"/>
                </a:lnTo>
                <a:lnTo>
                  <a:pt x="3410" y="2868"/>
                </a:lnTo>
                <a:lnTo>
                  <a:pt x="3408" y="2868"/>
                </a:lnTo>
                <a:lnTo>
                  <a:pt x="3406" y="2866"/>
                </a:lnTo>
                <a:lnTo>
                  <a:pt x="3408" y="2860"/>
                </a:lnTo>
                <a:lnTo>
                  <a:pt x="3410" y="2856"/>
                </a:lnTo>
                <a:lnTo>
                  <a:pt x="3414" y="2850"/>
                </a:lnTo>
                <a:lnTo>
                  <a:pt x="3416" y="2840"/>
                </a:lnTo>
                <a:lnTo>
                  <a:pt x="3420" y="2832"/>
                </a:lnTo>
                <a:lnTo>
                  <a:pt x="3424" y="2828"/>
                </a:lnTo>
                <a:lnTo>
                  <a:pt x="3426" y="2826"/>
                </a:lnTo>
                <a:lnTo>
                  <a:pt x="3430" y="2818"/>
                </a:lnTo>
                <a:lnTo>
                  <a:pt x="3434" y="2812"/>
                </a:lnTo>
                <a:lnTo>
                  <a:pt x="3436" y="2810"/>
                </a:lnTo>
                <a:lnTo>
                  <a:pt x="3440" y="2812"/>
                </a:lnTo>
                <a:lnTo>
                  <a:pt x="3440" y="2818"/>
                </a:lnTo>
                <a:lnTo>
                  <a:pt x="3446" y="2820"/>
                </a:lnTo>
                <a:lnTo>
                  <a:pt x="3448" y="2822"/>
                </a:lnTo>
                <a:lnTo>
                  <a:pt x="3450" y="2826"/>
                </a:lnTo>
                <a:lnTo>
                  <a:pt x="3448" y="2828"/>
                </a:lnTo>
                <a:lnTo>
                  <a:pt x="3442" y="2832"/>
                </a:lnTo>
                <a:lnTo>
                  <a:pt x="3432" y="2832"/>
                </a:lnTo>
                <a:lnTo>
                  <a:pt x="3426" y="2834"/>
                </a:lnTo>
                <a:lnTo>
                  <a:pt x="3424" y="2834"/>
                </a:lnTo>
                <a:lnTo>
                  <a:pt x="3422" y="2838"/>
                </a:lnTo>
                <a:lnTo>
                  <a:pt x="3422" y="2840"/>
                </a:lnTo>
                <a:lnTo>
                  <a:pt x="3422" y="2844"/>
                </a:lnTo>
                <a:lnTo>
                  <a:pt x="3426" y="2846"/>
                </a:lnTo>
                <a:lnTo>
                  <a:pt x="3428" y="2848"/>
                </a:lnTo>
                <a:lnTo>
                  <a:pt x="3432" y="2848"/>
                </a:lnTo>
                <a:lnTo>
                  <a:pt x="3440" y="2848"/>
                </a:lnTo>
                <a:lnTo>
                  <a:pt x="3442" y="2850"/>
                </a:lnTo>
                <a:lnTo>
                  <a:pt x="3444" y="2850"/>
                </a:lnTo>
                <a:lnTo>
                  <a:pt x="3446" y="2848"/>
                </a:lnTo>
                <a:lnTo>
                  <a:pt x="3450" y="2844"/>
                </a:lnTo>
                <a:lnTo>
                  <a:pt x="3456" y="2840"/>
                </a:lnTo>
                <a:lnTo>
                  <a:pt x="3468" y="2836"/>
                </a:lnTo>
                <a:lnTo>
                  <a:pt x="3472" y="2832"/>
                </a:lnTo>
                <a:lnTo>
                  <a:pt x="3474" y="2828"/>
                </a:lnTo>
                <a:lnTo>
                  <a:pt x="3482" y="2820"/>
                </a:lnTo>
                <a:lnTo>
                  <a:pt x="3488" y="2816"/>
                </a:lnTo>
                <a:lnTo>
                  <a:pt x="3496" y="2814"/>
                </a:lnTo>
                <a:lnTo>
                  <a:pt x="3506" y="2812"/>
                </a:lnTo>
                <a:lnTo>
                  <a:pt x="3518" y="2814"/>
                </a:lnTo>
                <a:lnTo>
                  <a:pt x="3536" y="2818"/>
                </a:lnTo>
                <a:lnTo>
                  <a:pt x="3538" y="2818"/>
                </a:lnTo>
                <a:lnTo>
                  <a:pt x="3534" y="2814"/>
                </a:lnTo>
                <a:lnTo>
                  <a:pt x="3532" y="2812"/>
                </a:lnTo>
                <a:lnTo>
                  <a:pt x="3532" y="2810"/>
                </a:lnTo>
                <a:lnTo>
                  <a:pt x="3536" y="2806"/>
                </a:lnTo>
                <a:lnTo>
                  <a:pt x="3542" y="2804"/>
                </a:lnTo>
                <a:lnTo>
                  <a:pt x="3560" y="2800"/>
                </a:lnTo>
                <a:lnTo>
                  <a:pt x="3580" y="2800"/>
                </a:lnTo>
                <a:lnTo>
                  <a:pt x="3584" y="2800"/>
                </a:lnTo>
                <a:lnTo>
                  <a:pt x="3586" y="2796"/>
                </a:lnTo>
                <a:lnTo>
                  <a:pt x="3586" y="2794"/>
                </a:lnTo>
                <a:lnTo>
                  <a:pt x="3586" y="2790"/>
                </a:lnTo>
                <a:lnTo>
                  <a:pt x="3588" y="2790"/>
                </a:lnTo>
                <a:lnTo>
                  <a:pt x="3590" y="2790"/>
                </a:lnTo>
                <a:lnTo>
                  <a:pt x="3592" y="2792"/>
                </a:lnTo>
                <a:lnTo>
                  <a:pt x="3594" y="2798"/>
                </a:lnTo>
                <a:lnTo>
                  <a:pt x="3592" y="2804"/>
                </a:lnTo>
                <a:lnTo>
                  <a:pt x="3590" y="2808"/>
                </a:lnTo>
                <a:close/>
                <a:moveTo>
                  <a:pt x="3578" y="2752"/>
                </a:moveTo>
                <a:lnTo>
                  <a:pt x="3578" y="2752"/>
                </a:lnTo>
                <a:lnTo>
                  <a:pt x="3586" y="2746"/>
                </a:lnTo>
                <a:lnTo>
                  <a:pt x="3596" y="2742"/>
                </a:lnTo>
                <a:lnTo>
                  <a:pt x="3626" y="2738"/>
                </a:lnTo>
                <a:lnTo>
                  <a:pt x="3638" y="2734"/>
                </a:lnTo>
                <a:lnTo>
                  <a:pt x="3642" y="2734"/>
                </a:lnTo>
                <a:lnTo>
                  <a:pt x="3656" y="2742"/>
                </a:lnTo>
                <a:lnTo>
                  <a:pt x="3662" y="2744"/>
                </a:lnTo>
                <a:lnTo>
                  <a:pt x="3666" y="2744"/>
                </a:lnTo>
                <a:lnTo>
                  <a:pt x="3668" y="2742"/>
                </a:lnTo>
                <a:lnTo>
                  <a:pt x="3670" y="2740"/>
                </a:lnTo>
                <a:lnTo>
                  <a:pt x="3672" y="2734"/>
                </a:lnTo>
                <a:lnTo>
                  <a:pt x="3674" y="2730"/>
                </a:lnTo>
                <a:lnTo>
                  <a:pt x="3678" y="2726"/>
                </a:lnTo>
                <a:lnTo>
                  <a:pt x="3686" y="2722"/>
                </a:lnTo>
                <a:lnTo>
                  <a:pt x="3696" y="2718"/>
                </a:lnTo>
                <a:lnTo>
                  <a:pt x="3706" y="2714"/>
                </a:lnTo>
                <a:lnTo>
                  <a:pt x="3716" y="2710"/>
                </a:lnTo>
                <a:lnTo>
                  <a:pt x="3716" y="2714"/>
                </a:lnTo>
                <a:lnTo>
                  <a:pt x="3712" y="2718"/>
                </a:lnTo>
                <a:lnTo>
                  <a:pt x="3708" y="2720"/>
                </a:lnTo>
                <a:lnTo>
                  <a:pt x="3702" y="2724"/>
                </a:lnTo>
                <a:lnTo>
                  <a:pt x="3698" y="2726"/>
                </a:lnTo>
                <a:lnTo>
                  <a:pt x="3696" y="2730"/>
                </a:lnTo>
                <a:lnTo>
                  <a:pt x="3696" y="2732"/>
                </a:lnTo>
                <a:lnTo>
                  <a:pt x="3700" y="2736"/>
                </a:lnTo>
                <a:lnTo>
                  <a:pt x="3702" y="2740"/>
                </a:lnTo>
                <a:lnTo>
                  <a:pt x="3702" y="2742"/>
                </a:lnTo>
                <a:lnTo>
                  <a:pt x="3700" y="2746"/>
                </a:lnTo>
                <a:lnTo>
                  <a:pt x="3700" y="2752"/>
                </a:lnTo>
                <a:lnTo>
                  <a:pt x="3700" y="2758"/>
                </a:lnTo>
                <a:lnTo>
                  <a:pt x="3696" y="2762"/>
                </a:lnTo>
                <a:lnTo>
                  <a:pt x="3690" y="2764"/>
                </a:lnTo>
                <a:lnTo>
                  <a:pt x="3684" y="2770"/>
                </a:lnTo>
                <a:lnTo>
                  <a:pt x="3680" y="2774"/>
                </a:lnTo>
                <a:lnTo>
                  <a:pt x="3676" y="2776"/>
                </a:lnTo>
                <a:lnTo>
                  <a:pt x="3662" y="2778"/>
                </a:lnTo>
                <a:lnTo>
                  <a:pt x="3650" y="2776"/>
                </a:lnTo>
                <a:lnTo>
                  <a:pt x="3638" y="2774"/>
                </a:lnTo>
                <a:lnTo>
                  <a:pt x="3628" y="2772"/>
                </a:lnTo>
                <a:lnTo>
                  <a:pt x="3616" y="2770"/>
                </a:lnTo>
                <a:lnTo>
                  <a:pt x="3604" y="2770"/>
                </a:lnTo>
                <a:lnTo>
                  <a:pt x="3596" y="2774"/>
                </a:lnTo>
                <a:lnTo>
                  <a:pt x="3588" y="2778"/>
                </a:lnTo>
                <a:lnTo>
                  <a:pt x="3582" y="2780"/>
                </a:lnTo>
                <a:lnTo>
                  <a:pt x="3574" y="2782"/>
                </a:lnTo>
                <a:lnTo>
                  <a:pt x="3568" y="2782"/>
                </a:lnTo>
                <a:lnTo>
                  <a:pt x="3562" y="2780"/>
                </a:lnTo>
                <a:lnTo>
                  <a:pt x="3560" y="2780"/>
                </a:lnTo>
                <a:lnTo>
                  <a:pt x="3558" y="2776"/>
                </a:lnTo>
                <a:lnTo>
                  <a:pt x="3558" y="2772"/>
                </a:lnTo>
                <a:lnTo>
                  <a:pt x="3560" y="2768"/>
                </a:lnTo>
                <a:lnTo>
                  <a:pt x="3566" y="2760"/>
                </a:lnTo>
                <a:lnTo>
                  <a:pt x="3570" y="2756"/>
                </a:lnTo>
                <a:lnTo>
                  <a:pt x="3574" y="2756"/>
                </a:lnTo>
                <a:lnTo>
                  <a:pt x="3578" y="2752"/>
                </a:lnTo>
                <a:close/>
                <a:moveTo>
                  <a:pt x="3092" y="2546"/>
                </a:moveTo>
                <a:lnTo>
                  <a:pt x="3092" y="2546"/>
                </a:lnTo>
                <a:lnTo>
                  <a:pt x="3106" y="2534"/>
                </a:lnTo>
                <a:lnTo>
                  <a:pt x="3118" y="2526"/>
                </a:lnTo>
                <a:lnTo>
                  <a:pt x="3160" y="2506"/>
                </a:lnTo>
                <a:lnTo>
                  <a:pt x="3164" y="2504"/>
                </a:lnTo>
                <a:lnTo>
                  <a:pt x="3168" y="2500"/>
                </a:lnTo>
                <a:lnTo>
                  <a:pt x="3172" y="2496"/>
                </a:lnTo>
                <a:lnTo>
                  <a:pt x="3176" y="2484"/>
                </a:lnTo>
                <a:lnTo>
                  <a:pt x="3180" y="2478"/>
                </a:lnTo>
                <a:lnTo>
                  <a:pt x="3186" y="2474"/>
                </a:lnTo>
                <a:lnTo>
                  <a:pt x="3188" y="2474"/>
                </a:lnTo>
                <a:lnTo>
                  <a:pt x="3190" y="2474"/>
                </a:lnTo>
                <a:lnTo>
                  <a:pt x="3190" y="2478"/>
                </a:lnTo>
                <a:lnTo>
                  <a:pt x="3190" y="2482"/>
                </a:lnTo>
                <a:lnTo>
                  <a:pt x="3188" y="2486"/>
                </a:lnTo>
                <a:lnTo>
                  <a:pt x="3192" y="2484"/>
                </a:lnTo>
                <a:lnTo>
                  <a:pt x="3196" y="2476"/>
                </a:lnTo>
                <a:lnTo>
                  <a:pt x="3202" y="2464"/>
                </a:lnTo>
                <a:lnTo>
                  <a:pt x="3206" y="2456"/>
                </a:lnTo>
                <a:lnTo>
                  <a:pt x="3208" y="2456"/>
                </a:lnTo>
                <a:lnTo>
                  <a:pt x="3210" y="2462"/>
                </a:lnTo>
                <a:lnTo>
                  <a:pt x="3206" y="2470"/>
                </a:lnTo>
                <a:lnTo>
                  <a:pt x="3204" y="2478"/>
                </a:lnTo>
                <a:lnTo>
                  <a:pt x="3216" y="2472"/>
                </a:lnTo>
                <a:lnTo>
                  <a:pt x="3220" y="2468"/>
                </a:lnTo>
                <a:lnTo>
                  <a:pt x="3220" y="2466"/>
                </a:lnTo>
                <a:lnTo>
                  <a:pt x="3218" y="2458"/>
                </a:lnTo>
                <a:lnTo>
                  <a:pt x="3216" y="2452"/>
                </a:lnTo>
                <a:lnTo>
                  <a:pt x="3216" y="2450"/>
                </a:lnTo>
                <a:lnTo>
                  <a:pt x="3218" y="2448"/>
                </a:lnTo>
                <a:lnTo>
                  <a:pt x="3220" y="2448"/>
                </a:lnTo>
                <a:lnTo>
                  <a:pt x="3224" y="2448"/>
                </a:lnTo>
                <a:lnTo>
                  <a:pt x="3236" y="2454"/>
                </a:lnTo>
                <a:lnTo>
                  <a:pt x="3248" y="2458"/>
                </a:lnTo>
                <a:lnTo>
                  <a:pt x="3254" y="2460"/>
                </a:lnTo>
                <a:lnTo>
                  <a:pt x="3260" y="2460"/>
                </a:lnTo>
                <a:lnTo>
                  <a:pt x="3268" y="2460"/>
                </a:lnTo>
                <a:lnTo>
                  <a:pt x="3272" y="2462"/>
                </a:lnTo>
                <a:lnTo>
                  <a:pt x="3276" y="2462"/>
                </a:lnTo>
                <a:lnTo>
                  <a:pt x="3284" y="2462"/>
                </a:lnTo>
                <a:lnTo>
                  <a:pt x="3288" y="2462"/>
                </a:lnTo>
                <a:lnTo>
                  <a:pt x="3292" y="2466"/>
                </a:lnTo>
                <a:lnTo>
                  <a:pt x="3296" y="2482"/>
                </a:lnTo>
                <a:lnTo>
                  <a:pt x="3300" y="2490"/>
                </a:lnTo>
                <a:lnTo>
                  <a:pt x="3302" y="2498"/>
                </a:lnTo>
                <a:lnTo>
                  <a:pt x="3308" y="2504"/>
                </a:lnTo>
                <a:lnTo>
                  <a:pt x="3316" y="2510"/>
                </a:lnTo>
                <a:lnTo>
                  <a:pt x="3322" y="2510"/>
                </a:lnTo>
                <a:lnTo>
                  <a:pt x="3328" y="2510"/>
                </a:lnTo>
                <a:lnTo>
                  <a:pt x="3340" y="2508"/>
                </a:lnTo>
                <a:lnTo>
                  <a:pt x="3344" y="2508"/>
                </a:lnTo>
                <a:lnTo>
                  <a:pt x="3348" y="2510"/>
                </a:lnTo>
                <a:lnTo>
                  <a:pt x="3350" y="2514"/>
                </a:lnTo>
                <a:lnTo>
                  <a:pt x="3348" y="2520"/>
                </a:lnTo>
                <a:lnTo>
                  <a:pt x="3344" y="2528"/>
                </a:lnTo>
                <a:lnTo>
                  <a:pt x="3346" y="2532"/>
                </a:lnTo>
                <a:lnTo>
                  <a:pt x="3358" y="2542"/>
                </a:lnTo>
                <a:lnTo>
                  <a:pt x="3360" y="2546"/>
                </a:lnTo>
                <a:lnTo>
                  <a:pt x="3360" y="2550"/>
                </a:lnTo>
                <a:lnTo>
                  <a:pt x="3358" y="2556"/>
                </a:lnTo>
                <a:lnTo>
                  <a:pt x="3356" y="2564"/>
                </a:lnTo>
                <a:lnTo>
                  <a:pt x="3356" y="2566"/>
                </a:lnTo>
                <a:lnTo>
                  <a:pt x="3358" y="2568"/>
                </a:lnTo>
                <a:lnTo>
                  <a:pt x="3362" y="2570"/>
                </a:lnTo>
                <a:lnTo>
                  <a:pt x="3364" y="2570"/>
                </a:lnTo>
                <a:lnTo>
                  <a:pt x="3366" y="2570"/>
                </a:lnTo>
                <a:lnTo>
                  <a:pt x="3368" y="2572"/>
                </a:lnTo>
                <a:lnTo>
                  <a:pt x="3370" y="2574"/>
                </a:lnTo>
                <a:lnTo>
                  <a:pt x="3368" y="2576"/>
                </a:lnTo>
                <a:lnTo>
                  <a:pt x="3364" y="2578"/>
                </a:lnTo>
                <a:lnTo>
                  <a:pt x="3364" y="2582"/>
                </a:lnTo>
                <a:lnTo>
                  <a:pt x="3362" y="2586"/>
                </a:lnTo>
                <a:lnTo>
                  <a:pt x="3362" y="2590"/>
                </a:lnTo>
                <a:lnTo>
                  <a:pt x="3366" y="2592"/>
                </a:lnTo>
                <a:lnTo>
                  <a:pt x="3372" y="2592"/>
                </a:lnTo>
                <a:lnTo>
                  <a:pt x="3380" y="2590"/>
                </a:lnTo>
                <a:lnTo>
                  <a:pt x="3382" y="2592"/>
                </a:lnTo>
                <a:lnTo>
                  <a:pt x="3382" y="2596"/>
                </a:lnTo>
                <a:lnTo>
                  <a:pt x="3382" y="2602"/>
                </a:lnTo>
                <a:lnTo>
                  <a:pt x="3386" y="2604"/>
                </a:lnTo>
                <a:lnTo>
                  <a:pt x="3392" y="2604"/>
                </a:lnTo>
                <a:lnTo>
                  <a:pt x="3402" y="2608"/>
                </a:lnTo>
                <a:lnTo>
                  <a:pt x="3416" y="2612"/>
                </a:lnTo>
                <a:lnTo>
                  <a:pt x="3432" y="2612"/>
                </a:lnTo>
                <a:lnTo>
                  <a:pt x="3446" y="2614"/>
                </a:lnTo>
                <a:lnTo>
                  <a:pt x="3460" y="2616"/>
                </a:lnTo>
                <a:lnTo>
                  <a:pt x="3470" y="2616"/>
                </a:lnTo>
                <a:lnTo>
                  <a:pt x="3478" y="2616"/>
                </a:lnTo>
                <a:lnTo>
                  <a:pt x="3484" y="2616"/>
                </a:lnTo>
                <a:lnTo>
                  <a:pt x="3484" y="2618"/>
                </a:lnTo>
                <a:lnTo>
                  <a:pt x="3484" y="2620"/>
                </a:lnTo>
                <a:lnTo>
                  <a:pt x="3484" y="2622"/>
                </a:lnTo>
                <a:lnTo>
                  <a:pt x="3484" y="2624"/>
                </a:lnTo>
                <a:lnTo>
                  <a:pt x="3490" y="2626"/>
                </a:lnTo>
                <a:lnTo>
                  <a:pt x="3508" y="2626"/>
                </a:lnTo>
                <a:lnTo>
                  <a:pt x="3514" y="2626"/>
                </a:lnTo>
                <a:lnTo>
                  <a:pt x="3518" y="2630"/>
                </a:lnTo>
                <a:lnTo>
                  <a:pt x="3526" y="2644"/>
                </a:lnTo>
                <a:lnTo>
                  <a:pt x="3532" y="2654"/>
                </a:lnTo>
                <a:lnTo>
                  <a:pt x="3536" y="2658"/>
                </a:lnTo>
                <a:lnTo>
                  <a:pt x="3538" y="2658"/>
                </a:lnTo>
                <a:lnTo>
                  <a:pt x="3540" y="2656"/>
                </a:lnTo>
                <a:lnTo>
                  <a:pt x="3542" y="2656"/>
                </a:lnTo>
                <a:lnTo>
                  <a:pt x="3544" y="2660"/>
                </a:lnTo>
                <a:lnTo>
                  <a:pt x="3544" y="2666"/>
                </a:lnTo>
                <a:lnTo>
                  <a:pt x="3544" y="2670"/>
                </a:lnTo>
                <a:lnTo>
                  <a:pt x="3546" y="2674"/>
                </a:lnTo>
                <a:lnTo>
                  <a:pt x="3552" y="2682"/>
                </a:lnTo>
                <a:lnTo>
                  <a:pt x="3558" y="2688"/>
                </a:lnTo>
                <a:lnTo>
                  <a:pt x="3560" y="2694"/>
                </a:lnTo>
                <a:lnTo>
                  <a:pt x="3560" y="2696"/>
                </a:lnTo>
                <a:lnTo>
                  <a:pt x="3558" y="2696"/>
                </a:lnTo>
                <a:lnTo>
                  <a:pt x="3554" y="2694"/>
                </a:lnTo>
                <a:lnTo>
                  <a:pt x="3548" y="2690"/>
                </a:lnTo>
                <a:lnTo>
                  <a:pt x="3546" y="2688"/>
                </a:lnTo>
                <a:lnTo>
                  <a:pt x="3544" y="2690"/>
                </a:lnTo>
                <a:lnTo>
                  <a:pt x="3544" y="2692"/>
                </a:lnTo>
                <a:lnTo>
                  <a:pt x="3544" y="2694"/>
                </a:lnTo>
                <a:lnTo>
                  <a:pt x="3546" y="2700"/>
                </a:lnTo>
                <a:lnTo>
                  <a:pt x="3548" y="2704"/>
                </a:lnTo>
                <a:lnTo>
                  <a:pt x="3548" y="2708"/>
                </a:lnTo>
                <a:lnTo>
                  <a:pt x="3546" y="2710"/>
                </a:lnTo>
                <a:lnTo>
                  <a:pt x="3542" y="2710"/>
                </a:lnTo>
                <a:lnTo>
                  <a:pt x="3538" y="2710"/>
                </a:lnTo>
                <a:lnTo>
                  <a:pt x="3530" y="2704"/>
                </a:lnTo>
                <a:lnTo>
                  <a:pt x="3520" y="2698"/>
                </a:lnTo>
                <a:lnTo>
                  <a:pt x="3516" y="2698"/>
                </a:lnTo>
                <a:lnTo>
                  <a:pt x="3514" y="2700"/>
                </a:lnTo>
                <a:lnTo>
                  <a:pt x="3510" y="2702"/>
                </a:lnTo>
                <a:lnTo>
                  <a:pt x="3510" y="2698"/>
                </a:lnTo>
                <a:lnTo>
                  <a:pt x="3508" y="2694"/>
                </a:lnTo>
                <a:lnTo>
                  <a:pt x="3508" y="2692"/>
                </a:lnTo>
                <a:lnTo>
                  <a:pt x="3506" y="2694"/>
                </a:lnTo>
                <a:lnTo>
                  <a:pt x="3502" y="2694"/>
                </a:lnTo>
                <a:lnTo>
                  <a:pt x="3502" y="2692"/>
                </a:lnTo>
                <a:lnTo>
                  <a:pt x="3504" y="2688"/>
                </a:lnTo>
                <a:lnTo>
                  <a:pt x="3506" y="2684"/>
                </a:lnTo>
                <a:lnTo>
                  <a:pt x="3502" y="2682"/>
                </a:lnTo>
                <a:lnTo>
                  <a:pt x="3498" y="2682"/>
                </a:lnTo>
                <a:lnTo>
                  <a:pt x="3496" y="2678"/>
                </a:lnTo>
                <a:lnTo>
                  <a:pt x="3496" y="2674"/>
                </a:lnTo>
                <a:lnTo>
                  <a:pt x="3494" y="2668"/>
                </a:lnTo>
                <a:lnTo>
                  <a:pt x="3494" y="2666"/>
                </a:lnTo>
                <a:lnTo>
                  <a:pt x="3492" y="2666"/>
                </a:lnTo>
                <a:lnTo>
                  <a:pt x="3486" y="2666"/>
                </a:lnTo>
                <a:lnTo>
                  <a:pt x="3482" y="2664"/>
                </a:lnTo>
                <a:lnTo>
                  <a:pt x="3480" y="2664"/>
                </a:lnTo>
                <a:lnTo>
                  <a:pt x="3478" y="2664"/>
                </a:lnTo>
                <a:lnTo>
                  <a:pt x="3480" y="2668"/>
                </a:lnTo>
                <a:lnTo>
                  <a:pt x="3486" y="2674"/>
                </a:lnTo>
                <a:lnTo>
                  <a:pt x="3492" y="2684"/>
                </a:lnTo>
                <a:lnTo>
                  <a:pt x="3496" y="2694"/>
                </a:lnTo>
                <a:lnTo>
                  <a:pt x="3496" y="2700"/>
                </a:lnTo>
                <a:lnTo>
                  <a:pt x="3494" y="2706"/>
                </a:lnTo>
                <a:lnTo>
                  <a:pt x="3486" y="2714"/>
                </a:lnTo>
                <a:lnTo>
                  <a:pt x="3482" y="2720"/>
                </a:lnTo>
                <a:lnTo>
                  <a:pt x="3480" y="2728"/>
                </a:lnTo>
                <a:lnTo>
                  <a:pt x="3478" y="2736"/>
                </a:lnTo>
                <a:lnTo>
                  <a:pt x="3478" y="2746"/>
                </a:lnTo>
                <a:lnTo>
                  <a:pt x="3478" y="2764"/>
                </a:lnTo>
                <a:lnTo>
                  <a:pt x="3476" y="2772"/>
                </a:lnTo>
                <a:lnTo>
                  <a:pt x="3474" y="2776"/>
                </a:lnTo>
                <a:lnTo>
                  <a:pt x="3470" y="2780"/>
                </a:lnTo>
                <a:lnTo>
                  <a:pt x="3464" y="2784"/>
                </a:lnTo>
                <a:lnTo>
                  <a:pt x="3450" y="2792"/>
                </a:lnTo>
                <a:lnTo>
                  <a:pt x="3444" y="2778"/>
                </a:lnTo>
                <a:lnTo>
                  <a:pt x="3440" y="2758"/>
                </a:lnTo>
                <a:lnTo>
                  <a:pt x="3438" y="2748"/>
                </a:lnTo>
                <a:lnTo>
                  <a:pt x="3434" y="2740"/>
                </a:lnTo>
                <a:lnTo>
                  <a:pt x="3430" y="2736"/>
                </a:lnTo>
                <a:lnTo>
                  <a:pt x="3424" y="2734"/>
                </a:lnTo>
                <a:lnTo>
                  <a:pt x="3418" y="2736"/>
                </a:lnTo>
                <a:lnTo>
                  <a:pt x="3414" y="2740"/>
                </a:lnTo>
                <a:lnTo>
                  <a:pt x="3408" y="2748"/>
                </a:lnTo>
                <a:lnTo>
                  <a:pt x="3404" y="2754"/>
                </a:lnTo>
                <a:lnTo>
                  <a:pt x="3402" y="2758"/>
                </a:lnTo>
                <a:lnTo>
                  <a:pt x="3398" y="2758"/>
                </a:lnTo>
                <a:lnTo>
                  <a:pt x="3394" y="2758"/>
                </a:lnTo>
                <a:lnTo>
                  <a:pt x="3392" y="2756"/>
                </a:lnTo>
                <a:lnTo>
                  <a:pt x="3388" y="2750"/>
                </a:lnTo>
                <a:lnTo>
                  <a:pt x="3390" y="2742"/>
                </a:lnTo>
                <a:lnTo>
                  <a:pt x="3392" y="2738"/>
                </a:lnTo>
                <a:lnTo>
                  <a:pt x="3394" y="2734"/>
                </a:lnTo>
                <a:lnTo>
                  <a:pt x="3402" y="2730"/>
                </a:lnTo>
                <a:lnTo>
                  <a:pt x="3406" y="2724"/>
                </a:lnTo>
                <a:lnTo>
                  <a:pt x="3410" y="2716"/>
                </a:lnTo>
                <a:lnTo>
                  <a:pt x="3412" y="2704"/>
                </a:lnTo>
                <a:lnTo>
                  <a:pt x="3414" y="2698"/>
                </a:lnTo>
                <a:lnTo>
                  <a:pt x="3412" y="2692"/>
                </a:lnTo>
                <a:lnTo>
                  <a:pt x="3410" y="2684"/>
                </a:lnTo>
                <a:lnTo>
                  <a:pt x="3408" y="2680"/>
                </a:lnTo>
                <a:lnTo>
                  <a:pt x="3408" y="2678"/>
                </a:lnTo>
                <a:lnTo>
                  <a:pt x="3412" y="2676"/>
                </a:lnTo>
                <a:lnTo>
                  <a:pt x="3414" y="2676"/>
                </a:lnTo>
                <a:lnTo>
                  <a:pt x="3414" y="2672"/>
                </a:lnTo>
                <a:lnTo>
                  <a:pt x="3412" y="2666"/>
                </a:lnTo>
                <a:lnTo>
                  <a:pt x="3402" y="2660"/>
                </a:lnTo>
                <a:lnTo>
                  <a:pt x="3392" y="2656"/>
                </a:lnTo>
                <a:lnTo>
                  <a:pt x="3384" y="2652"/>
                </a:lnTo>
                <a:lnTo>
                  <a:pt x="3380" y="2648"/>
                </a:lnTo>
                <a:lnTo>
                  <a:pt x="3378" y="2644"/>
                </a:lnTo>
                <a:lnTo>
                  <a:pt x="3374" y="2644"/>
                </a:lnTo>
                <a:lnTo>
                  <a:pt x="3366" y="2642"/>
                </a:lnTo>
                <a:lnTo>
                  <a:pt x="3362" y="2638"/>
                </a:lnTo>
                <a:lnTo>
                  <a:pt x="3358" y="2636"/>
                </a:lnTo>
                <a:lnTo>
                  <a:pt x="3356" y="2636"/>
                </a:lnTo>
                <a:lnTo>
                  <a:pt x="3352" y="2638"/>
                </a:lnTo>
                <a:lnTo>
                  <a:pt x="3346" y="2642"/>
                </a:lnTo>
                <a:lnTo>
                  <a:pt x="3342" y="2646"/>
                </a:lnTo>
                <a:lnTo>
                  <a:pt x="3342" y="2648"/>
                </a:lnTo>
                <a:lnTo>
                  <a:pt x="3342" y="2652"/>
                </a:lnTo>
                <a:lnTo>
                  <a:pt x="3344" y="2654"/>
                </a:lnTo>
                <a:lnTo>
                  <a:pt x="3346" y="2656"/>
                </a:lnTo>
                <a:lnTo>
                  <a:pt x="3340" y="2658"/>
                </a:lnTo>
                <a:lnTo>
                  <a:pt x="3334" y="2662"/>
                </a:lnTo>
                <a:lnTo>
                  <a:pt x="3330" y="2666"/>
                </a:lnTo>
                <a:lnTo>
                  <a:pt x="3328" y="2670"/>
                </a:lnTo>
                <a:lnTo>
                  <a:pt x="3328" y="2676"/>
                </a:lnTo>
                <a:lnTo>
                  <a:pt x="3326" y="2686"/>
                </a:lnTo>
                <a:lnTo>
                  <a:pt x="3324" y="2690"/>
                </a:lnTo>
                <a:lnTo>
                  <a:pt x="3322" y="2692"/>
                </a:lnTo>
                <a:lnTo>
                  <a:pt x="3320" y="2690"/>
                </a:lnTo>
                <a:lnTo>
                  <a:pt x="3318" y="2686"/>
                </a:lnTo>
                <a:lnTo>
                  <a:pt x="3318" y="2678"/>
                </a:lnTo>
                <a:lnTo>
                  <a:pt x="3318" y="2674"/>
                </a:lnTo>
                <a:lnTo>
                  <a:pt x="3318" y="2672"/>
                </a:lnTo>
                <a:lnTo>
                  <a:pt x="3314" y="2676"/>
                </a:lnTo>
                <a:lnTo>
                  <a:pt x="3308" y="2682"/>
                </a:lnTo>
                <a:lnTo>
                  <a:pt x="3300" y="2692"/>
                </a:lnTo>
                <a:lnTo>
                  <a:pt x="3296" y="2694"/>
                </a:lnTo>
                <a:lnTo>
                  <a:pt x="3294" y="2696"/>
                </a:lnTo>
                <a:lnTo>
                  <a:pt x="3296" y="2704"/>
                </a:lnTo>
                <a:lnTo>
                  <a:pt x="3296" y="2712"/>
                </a:lnTo>
                <a:lnTo>
                  <a:pt x="3294" y="2716"/>
                </a:lnTo>
                <a:lnTo>
                  <a:pt x="3290" y="2724"/>
                </a:lnTo>
                <a:lnTo>
                  <a:pt x="3288" y="2732"/>
                </a:lnTo>
                <a:lnTo>
                  <a:pt x="3286" y="2736"/>
                </a:lnTo>
                <a:lnTo>
                  <a:pt x="3288" y="2740"/>
                </a:lnTo>
                <a:lnTo>
                  <a:pt x="3288" y="2748"/>
                </a:lnTo>
                <a:lnTo>
                  <a:pt x="3286" y="2752"/>
                </a:lnTo>
                <a:lnTo>
                  <a:pt x="3284" y="2756"/>
                </a:lnTo>
                <a:lnTo>
                  <a:pt x="3288" y="2768"/>
                </a:lnTo>
                <a:lnTo>
                  <a:pt x="3292" y="2780"/>
                </a:lnTo>
                <a:lnTo>
                  <a:pt x="3294" y="2792"/>
                </a:lnTo>
                <a:lnTo>
                  <a:pt x="3296" y="2802"/>
                </a:lnTo>
                <a:lnTo>
                  <a:pt x="3296" y="2812"/>
                </a:lnTo>
                <a:lnTo>
                  <a:pt x="3294" y="2820"/>
                </a:lnTo>
                <a:lnTo>
                  <a:pt x="3290" y="2830"/>
                </a:lnTo>
                <a:lnTo>
                  <a:pt x="3282" y="2848"/>
                </a:lnTo>
                <a:lnTo>
                  <a:pt x="3276" y="2856"/>
                </a:lnTo>
                <a:lnTo>
                  <a:pt x="3272" y="2862"/>
                </a:lnTo>
                <a:lnTo>
                  <a:pt x="3266" y="2866"/>
                </a:lnTo>
                <a:lnTo>
                  <a:pt x="3260" y="2868"/>
                </a:lnTo>
                <a:lnTo>
                  <a:pt x="3254" y="2868"/>
                </a:lnTo>
                <a:lnTo>
                  <a:pt x="3248" y="2866"/>
                </a:lnTo>
                <a:lnTo>
                  <a:pt x="3242" y="2860"/>
                </a:lnTo>
                <a:lnTo>
                  <a:pt x="3236" y="2852"/>
                </a:lnTo>
                <a:lnTo>
                  <a:pt x="3232" y="2844"/>
                </a:lnTo>
                <a:lnTo>
                  <a:pt x="3230" y="2836"/>
                </a:lnTo>
                <a:lnTo>
                  <a:pt x="3230" y="2824"/>
                </a:lnTo>
                <a:lnTo>
                  <a:pt x="3230" y="2810"/>
                </a:lnTo>
                <a:lnTo>
                  <a:pt x="3230" y="2804"/>
                </a:lnTo>
                <a:lnTo>
                  <a:pt x="3230" y="2796"/>
                </a:lnTo>
                <a:lnTo>
                  <a:pt x="3228" y="2782"/>
                </a:lnTo>
                <a:lnTo>
                  <a:pt x="3230" y="2774"/>
                </a:lnTo>
                <a:lnTo>
                  <a:pt x="3232" y="2764"/>
                </a:lnTo>
                <a:lnTo>
                  <a:pt x="3234" y="2748"/>
                </a:lnTo>
                <a:lnTo>
                  <a:pt x="3234" y="2740"/>
                </a:lnTo>
                <a:lnTo>
                  <a:pt x="3236" y="2736"/>
                </a:lnTo>
                <a:lnTo>
                  <a:pt x="3238" y="2732"/>
                </a:lnTo>
                <a:lnTo>
                  <a:pt x="3240" y="2730"/>
                </a:lnTo>
                <a:lnTo>
                  <a:pt x="3244" y="2728"/>
                </a:lnTo>
                <a:lnTo>
                  <a:pt x="3242" y="2724"/>
                </a:lnTo>
                <a:lnTo>
                  <a:pt x="3242" y="2720"/>
                </a:lnTo>
                <a:lnTo>
                  <a:pt x="3242" y="2714"/>
                </a:lnTo>
                <a:lnTo>
                  <a:pt x="3246" y="2704"/>
                </a:lnTo>
                <a:lnTo>
                  <a:pt x="3250" y="2694"/>
                </a:lnTo>
                <a:lnTo>
                  <a:pt x="3248" y="2690"/>
                </a:lnTo>
                <a:lnTo>
                  <a:pt x="3246" y="2688"/>
                </a:lnTo>
                <a:lnTo>
                  <a:pt x="3240" y="2688"/>
                </a:lnTo>
                <a:lnTo>
                  <a:pt x="3238" y="2690"/>
                </a:lnTo>
                <a:lnTo>
                  <a:pt x="3234" y="2696"/>
                </a:lnTo>
                <a:lnTo>
                  <a:pt x="3230" y="2704"/>
                </a:lnTo>
                <a:lnTo>
                  <a:pt x="3226" y="2706"/>
                </a:lnTo>
                <a:lnTo>
                  <a:pt x="3224" y="2706"/>
                </a:lnTo>
                <a:lnTo>
                  <a:pt x="3224" y="2698"/>
                </a:lnTo>
                <a:lnTo>
                  <a:pt x="3228" y="2688"/>
                </a:lnTo>
                <a:lnTo>
                  <a:pt x="3230" y="2684"/>
                </a:lnTo>
                <a:lnTo>
                  <a:pt x="3234" y="2682"/>
                </a:lnTo>
                <a:lnTo>
                  <a:pt x="3238" y="2678"/>
                </a:lnTo>
                <a:lnTo>
                  <a:pt x="3238" y="2676"/>
                </a:lnTo>
                <a:lnTo>
                  <a:pt x="3240" y="2672"/>
                </a:lnTo>
                <a:lnTo>
                  <a:pt x="3244" y="2666"/>
                </a:lnTo>
                <a:lnTo>
                  <a:pt x="3252" y="2654"/>
                </a:lnTo>
                <a:lnTo>
                  <a:pt x="3258" y="2640"/>
                </a:lnTo>
                <a:lnTo>
                  <a:pt x="3264" y="2630"/>
                </a:lnTo>
                <a:lnTo>
                  <a:pt x="3266" y="2630"/>
                </a:lnTo>
                <a:lnTo>
                  <a:pt x="3266" y="2632"/>
                </a:lnTo>
                <a:lnTo>
                  <a:pt x="3268" y="2634"/>
                </a:lnTo>
                <a:lnTo>
                  <a:pt x="3270" y="2636"/>
                </a:lnTo>
                <a:lnTo>
                  <a:pt x="3274" y="2632"/>
                </a:lnTo>
                <a:lnTo>
                  <a:pt x="3278" y="2630"/>
                </a:lnTo>
                <a:lnTo>
                  <a:pt x="3280" y="2632"/>
                </a:lnTo>
                <a:lnTo>
                  <a:pt x="3280" y="2636"/>
                </a:lnTo>
                <a:lnTo>
                  <a:pt x="3278" y="2640"/>
                </a:lnTo>
                <a:lnTo>
                  <a:pt x="3280" y="2642"/>
                </a:lnTo>
                <a:lnTo>
                  <a:pt x="3284" y="2636"/>
                </a:lnTo>
                <a:lnTo>
                  <a:pt x="3292" y="2628"/>
                </a:lnTo>
                <a:lnTo>
                  <a:pt x="3296" y="2624"/>
                </a:lnTo>
                <a:lnTo>
                  <a:pt x="3302" y="2624"/>
                </a:lnTo>
                <a:lnTo>
                  <a:pt x="3310" y="2624"/>
                </a:lnTo>
                <a:lnTo>
                  <a:pt x="3316" y="2622"/>
                </a:lnTo>
                <a:lnTo>
                  <a:pt x="3322" y="2618"/>
                </a:lnTo>
                <a:lnTo>
                  <a:pt x="3324" y="2616"/>
                </a:lnTo>
                <a:lnTo>
                  <a:pt x="3328" y="2616"/>
                </a:lnTo>
                <a:lnTo>
                  <a:pt x="3336" y="2620"/>
                </a:lnTo>
                <a:lnTo>
                  <a:pt x="3346" y="2626"/>
                </a:lnTo>
                <a:lnTo>
                  <a:pt x="3352" y="2628"/>
                </a:lnTo>
                <a:lnTo>
                  <a:pt x="3356" y="2628"/>
                </a:lnTo>
                <a:lnTo>
                  <a:pt x="3358" y="2628"/>
                </a:lnTo>
                <a:lnTo>
                  <a:pt x="3358" y="2626"/>
                </a:lnTo>
                <a:lnTo>
                  <a:pt x="3358" y="2620"/>
                </a:lnTo>
                <a:lnTo>
                  <a:pt x="3360" y="2620"/>
                </a:lnTo>
                <a:lnTo>
                  <a:pt x="3362" y="2620"/>
                </a:lnTo>
                <a:lnTo>
                  <a:pt x="3370" y="2624"/>
                </a:lnTo>
                <a:lnTo>
                  <a:pt x="3380" y="2624"/>
                </a:lnTo>
                <a:lnTo>
                  <a:pt x="3386" y="2624"/>
                </a:lnTo>
                <a:lnTo>
                  <a:pt x="3388" y="2622"/>
                </a:lnTo>
                <a:lnTo>
                  <a:pt x="3388" y="2618"/>
                </a:lnTo>
                <a:lnTo>
                  <a:pt x="3384" y="2614"/>
                </a:lnTo>
                <a:lnTo>
                  <a:pt x="3380" y="2612"/>
                </a:lnTo>
                <a:lnTo>
                  <a:pt x="3378" y="2610"/>
                </a:lnTo>
                <a:lnTo>
                  <a:pt x="3376" y="2602"/>
                </a:lnTo>
                <a:lnTo>
                  <a:pt x="3374" y="2598"/>
                </a:lnTo>
                <a:lnTo>
                  <a:pt x="3374" y="2596"/>
                </a:lnTo>
                <a:lnTo>
                  <a:pt x="3368" y="2596"/>
                </a:lnTo>
                <a:lnTo>
                  <a:pt x="3360" y="2596"/>
                </a:lnTo>
                <a:lnTo>
                  <a:pt x="3348" y="2594"/>
                </a:lnTo>
                <a:lnTo>
                  <a:pt x="3346" y="2592"/>
                </a:lnTo>
                <a:lnTo>
                  <a:pt x="3344" y="2590"/>
                </a:lnTo>
                <a:lnTo>
                  <a:pt x="3346" y="2582"/>
                </a:lnTo>
                <a:lnTo>
                  <a:pt x="3346" y="2578"/>
                </a:lnTo>
                <a:lnTo>
                  <a:pt x="3344" y="2578"/>
                </a:lnTo>
                <a:lnTo>
                  <a:pt x="3342" y="2578"/>
                </a:lnTo>
                <a:lnTo>
                  <a:pt x="3330" y="2582"/>
                </a:lnTo>
                <a:lnTo>
                  <a:pt x="3314" y="2584"/>
                </a:lnTo>
                <a:lnTo>
                  <a:pt x="3300" y="2586"/>
                </a:lnTo>
                <a:lnTo>
                  <a:pt x="3294" y="2588"/>
                </a:lnTo>
                <a:lnTo>
                  <a:pt x="3288" y="2590"/>
                </a:lnTo>
                <a:lnTo>
                  <a:pt x="3282" y="2596"/>
                </a:lnTo>
                <a:lnTo>
                  <a:pt x="3274" y="2596"/>
                </a:lnTo>
                <a:lnTo>
                  <a:pt x="3268" y="2594"/>
                </a:lnTo>
                <a:lnTo>
                  <a:pt x="3258" y="2594"/>
                </a:lnTo>
                <a:lnTo>
                  <a:pt x="3254" y="2594"/>
                </a:lnTo>
                <a:lnTo>
                  <a:pt x="3250" y="2592"/>
                </a:lnTo>
                <a:lnTo>
                  <a:pt x="3244" y="2584"/>
                </a:lnTo>
                <a:lnTo>
                  <a:pt x="3238" y="2576"/>
                </a:lnTo>
                <a:lnTo>
                  <a:pt x="3234" y="2572"/>
                </a:lnTo>
                <a:lnTo>
                  <a:pt x="3228" y="2568"/>
                </a:lnTo>
                <a:lnTo>
                  <a:pt x="3222" y="2568"/>
                </a:lnTo>
                <a:lnTo>
                  <a:pt x="3218" y="2568"/>
                </a:lnTo>
                <a:lnTo>
                  <a:pt x="3212" y="2572"/>
                </a:lnTo>
                <a:lnTo>
                  <a:pt x="3208" y="2574"/>
                </a:lnTo>
                <a:lnTo>
                  <a:pt x="3206" y="2574"/>
                </a:lnTo>
                <a:lnTo>
                  <a:pt x="3206" y="2572"/>
                </a:lnTo>
                <a:lnTo>
                  <a:pt x="3204" y="2566"/>
                </a:lnTo>
                <a:lnTo>
                  <a:pt x="3202" y="2558"/>
                </a:lnTo>
                <a:lnTo>
                  <a:pt x="3200" y="2554"/>
                </a:lnTo>
                <a:lnTo>
                  <a:pt x="3198" y="2554"/>
                </a:lnTo>
                <a:lnTo>
                  <a:pt x="3192" y="2558"/>
                </a:lnTo>
                <a:lnTo>
                  <a:pt x="3180" y="2566"/>
                </a:lnTo>
                <a:lnTo>
                  <a:pt x="3176" y="2570"/>
                </a:lnTo>
                <a:lnTo>
                  <a:pt x="3172" y="2574"/>
                </a:lnTo>
                <a:lnTo>
                  <a:pt x="3164" y="2574"/>
                </a:lnTo>
                <a:lnTo>
                  <a:pt x="3156" y="2576"/>
                </a:lnTo>
                <a:lnTo>
                  <a:pt x="3152" y="2578"/>
                </a:lnTo>
                <a:lnTo>
                  <a:pt x="3146" y="2582"/>
                </a:lnTo>
                <a:lnTo>
                  <a:pt x="3134" y="2588"/>
                </a:lnTo>
                <a:lnTo>
                  <a:pt x="3126" y="2588"/>
                </a:lnTo>
                <a:lnTo>
                  <a:pt x="3120" y="2588"/>
                </a:lnTo>
                <a:lnTo>
                  <a:pt x="3110" y="2588"/>
                </a:lnTo>
                <a:lnTo>
                  <a:pt x="3106" y="2588"/>
                </a:lnTo>
                <a:lnTo>
                  <a:pt x="3106" y="2586"/>
                </a:lnTo>
                <a:lnTo>
                  <a:pt x="3108" y="2580"/>
                </a:lnTo>
                <a:lnTo>
                  <a:pt x="3112" y="2572"/>
                </a:lnTo>
                <a:lnTo>
                  <a:pt x="3112" y="2570"/>
                </a:lnTo>
                <a:lnTo>
                  <a:pt x="3108" y="2568"/>
                </a:lnTo>
                <a:lnTo>
                  <a:pt x="3104" y="2568"/>
                </a:lnTo>
                <a:lnTo>
                  <a:pt x="3098" y="2570"/>
                </a:lnTo>
                <a:lnTo>
                  <a:pt x="3088" y="2576"/>
                </a:lnTo>
                <a:lnTo>
                  <a:pt x="3076" y="2580"/>
                </a:lnTo>
                <a:lnTo>
                  <a:pt x="3070" y="2582"/>
                </a:lnTo>
                <a:lnTo>
                  <a:pt x="3064" y="2582"/>
                </a:lnTo>
                <a:lnTo>
                  <a:pt x="3060" y="2580"/>
                </a:lnTo>
                <a:lnTo>
                  <a:pt x="3058" y="2578"/>
                </a:lnTo>
                <a:lnTo>
                  <a:pt x="3060" y="2574"/>
                </a:lnTo>
                <a:lnTo>
                  <a:pt x="3064" y="2570"/>
                </a:lnTo>
                <a:lnTo>
                  <a:pt x="3076" y="2560"/>
                </a:lnTo>
                <a:lnTo>
                  <a:pt x="3092" y="2546"/>
                </a:lnTo>
                <a:close/>
                <a:moveTo>
                  <a:pt x="4624" y="6618"/>
                </a:moveTo>
                <a:lnTo>
                  <a:pt x="4624" y="6618"/>
                </a:lnTo>
                <a:lnTo>
                  <a:pt x="4628" y="6626"/>
                </a:lnTo>
                <a:lnTo>
                  <a:pt x="4624" y="6618"/>
                </a:lnTo>
                <a:close/>
                <a:moveTo>
                  <a:pt x="3752" y="4008"/>
                </a:moveTo>
                <a:lnTo>
                  <a:pt x="3752" y="4008"/>
                </a:lnTo>
                <a:lnTo>
                  <a:pt x="3760" y="4004"/>
                </a:lnTo>
                <a:lnTo>
                  <a:pt x="3768" y="4002"/>
                </a:lnTo>
                <a:lnTo>
                  <a:pt x="3776" y="4002"/>
                </a:lnTo>
                <a:lnTo>
                  <a:pt x="3782" y="4002"/>
                </a:lnTo>
                <a:lnTo>
                  <a:pt x="3786" y="3998"/>
                </a:lnTo>
                <a:lnTo>
                  <a:pt x="3788" y="3994"/>
                </a:lnTo>
                <a:lnTo>
                  <a:pt x="3790" y="3992"/>
                </a:lnTo>
                <a:lnTo>
                  <a:pt x="3786" y="3990"/>
                </a:lnTo>
                <a:lnTo>
                  <a:pt x="3778" y="3990"/>
                </a:lnTo>
                <a:lnTo>
                  <a:pt x="3774" y="3988"/>
                </a:lnTo>
                <a:lnTo>
                  <a:pt x="3770" y="3984"/>
                </a:lnTo>
                <a:lnTo>
                  <a:pt x="3766" y="3978"/>
                </a:lnTo>
                <a:lnTo>
                  <a:pt x="3760" y="3974"/>
                </a:lnTo>
                <a:lnTo>
                  <a:pt x="3752" y="3970"/>
                </a:lnTo>
                <a:lnTo>
                  <a:pt x="3736" y="3968"/>
                </a:lnTo>
                <a:lnTo>
                  <a:pt x="3722" y="3966"/>
                </a:lnTo>
                <a:lnTo>
                  <a:pt x="3722" y="3964"/>
                </a:lnTo>
                <a:lnTo>
                  <a:pt x="3726" y="3960"/>
                </a:lnTo>
                <a:lnTo>
                  <a:pt x="3726" y="3958"/>
                </a:lnTo>
                <a:lnTo>
                  <a:pt x="3728" y="3954"/>
                </a:lnTo>
                <a:lnTo>
                  <a:pt x="3726" y="3950"/>
                </a:lnTo>
                <a:lnTo>
                  <a:pt x="3724" y="3948"/>
                </a:lnTo>
                <a:lnTo>
                  <a:pt x="3720" y="3948"/>
                </a:lnTo>
                <a:lnTo>
                  <a:pt x="3712" y="3948"/>
                </a:lnTo>
                <a:lnTo>
                  <a:pt x="3708" y="3948"/>
                </a:lnTo>
                <a:lnTo>
                  <a:pt x="3706" y="3944"/>
                </a:lnTo>
                <a:lnTo>
                  <a:pt x="3702" y="3942"/>
                </a:lnTo>
                <a:lnTo>
                  <a:pt x="3700" y="3942"/>
                </a:lnTo>
                <a:lnTo>
                  <a:pt x="3696" y="3942"/>
                </a:lnTo>
                <a:lnTo>
                  <a:pt x="3692" y="3944"/>
                </a:lnTo>
                <a:lnTo>
                  <a:pt x="3690" y="3944"/>
                </a:lnTo>
                <a:lnTo>
                  <a:pt x="3688" y="3940"/>
                </a:lnTo>
                <a:lnTo>
                  <a:pt x="3684" y="3936"/>
                </a:lnTo>
                <a:lnTo>
                  <a:pt x="3682" y="3936"/>
                </a:lnTo>
                <a:lnTo>
                  <a:pt x="3678" y="3934"/>
                </a:lnTo>
                <a:lnTo>
                  <a:pt x="3670" y="3928"/>
                </a:lnTo>
                <a:lnTo>
                  <a:pt x="3656" y="3912"/>
                </a:lnTo>
                <a:lnTo>
                  <a:pt x="3650" y="3910"/>
                </a:lnTo>
                <a:lnTo>
                  <a:pt x="3650" y="3914"/>
                </a:lnTo>
                <a:lnTo>
                  <a:pt x="3650" y="3916"/>
                </a:lnTo>
                <a:lnTo>
                  <a:pt x="3650" y="3918"/>
                </a:lnTo>
                <a:lnTo>
                  <a:pt x="3646" y="3916"/>
                </a:lnTo>
                <a:lnTo>
                  <a:pt x="3644" y="3912"/>
                </a:lnTo>
                <a:lnTo>
                  <a:pt x="3644" y="3906"/>
                </a:lnTo>
                <a:lnTo>
                  <a:pt x="3644" y="3902"/>
                </a:lnTo>
                <a:lnTo>
                  <a:pt x="3642" y="3902"/>
                </a:lnTo>
                <a:lnTo>
                  <a:pt x="3636" y="3900"/>
                </a:lnTo>
                <a:lnTo>
                  <a:pt x="3626" y="3898"/>
                </a:lnTo>
                <a:lnTo>
                  <a:pt x="3618" y="3894"/>
                </a:lnTo>
                <a:lnTo>
                  <a:pt x="3610" y="3890"/>
                </a:lnTo>
                <a:lnTo>
                  <a:pt x="3602" y="3884"/>
                </a:lnTo>
                <a:lnTo>
                  <a:pt x="3594" y="3882"/>
                </a:lnTo>
                <a:lnTo>
                  <a:pt x="3584" y="3882"/>
                </a:lnTo>
                <a:lnTo>
                  <a:pt x="3580" y="3880"/>
                </a:lnTo>
                <a:lnTo>
                  <a:pt x="3576" y="3880"/>
                </a:lnTo>
                <a:lnTo>
                  <a:pt x="3572" y="3876"/>
                </a:lnTo>
                <a:lnTo>
                  <a:pt x="3566" y="3868"/>
                </a:lnTo>
                <a:lnTo>
                  <a:pt x="3560" y="3862"/>
                </a:lnTo>
                <a:lnTo>
                  <a:pt x="3554" y="3858"/>
                </a:lnTo>
                <a:lnTo>
                  <a:pt x="3550" y="3856"/>
                </a:lnTo>
                <a:lnTo>
                  <a:pt x="3544" y="3856"/>
                </a:lnTo>
                <a:lnTo>
                  <a:pt x="3536" y="3854"/>
                </a:lnTo>
                <a:lnTo>
                  <a:pt x="3534" y="3854"/>
                </a:lnTo>
                <a:lnTo>
                  <a:pt x="3530" y="3850"/>
                </a:lnTo>
                <a:lnTo>
                  <a:pt x="3526" y="3846"/>
                </a:lnTo>
                <a:lnTo>
                  <a:pt x="3524" y="3846"/>
                </a:lnTo>
                <a:lnTo>
                  <a:pt x="3520" y="3846"/>
                </a:lnTo>
                <a:lnTo>
                  <a:pt x="3514" y="3848"/>
                </a:lnTo>
                <a:lnTo>
                  <a:pt x="3510" y="3848"/>
                </a:lnTo>
                <a:lnTo>
                  <a:pt x="3506" y="3844"/>
                </a:lnTo>
                <a:lnTo>
                  <a:pt x="3502" y="3840"/>
                </a:lnTo>
                <a:lnTo>
                  <a:pt x="3498" y="3842"/>
                </a:lnTo>
                <a:lnTo>
                  <a:pt x="3496" y="3844"/>
                </a:lnTo>
                <a:lnTo>
                  <a:pt x="3492" y="3846"/>
                </a:lnTo>
                <a:lnTo>
                  <a:pt x="3486" y="3846"/>
                </a:lnTo>
                <a:lnTo>
                  <a:pt x="3478" y="3844"/>
                </a:lnTo>
                <a:lnTo>
                  <a:pt x="3468" y="3842"/>
                </a:lnTo>
                <a:lnTo>
                  <a:pt x="3462" y="3842"/>
                </a:lnTo>
                <a:lnTo>
                  <a:pt x="3458" y="3842"/>
                </a:lnTo>
                <a:lnTo>
                  <a:pt x="3456" y="3844"/>
                </a:lnTo>
                <a:lnTo>
                  <a:pt x="3448" y="3850"/>
                </a:lnTo>
                <a:lnTo>
                  <a:pt x="3444" y="3850"/>
                </a:lnTo>
                <a:lnTo>
                  <a:pt x="3436" y="3852"/>
                </a:lnTo>
                <a:lnTo>
                  <a:pt x="3420" y="3854"/>
                </a:lnTo>
                <a:lnTo>
                  <a:pt x="3406" y="3858"/>
                </a:lnTo>
                <a:lnTo>
                  <a:pt x="3394" y="3864"/>
                </a:lnTo>
                <a:lnTo>
                  <a:pt x="3386" y="3870"/>
                </a:lnTo>
                <a:lnTo>
                  <a:pt x="3380" y="3876"/>
                </a:lnTo>
                <a:lnTo>
                  <a:pt x="3376" y="3882"/>
                </a:lnTo>
                <a:lnTo>
                  <a:pt x="3374" y="3888"/>
                </a:lnTo>
                <a:lnTo>
                  <a:pt x="3374" y="3894"/>
                </a:lnTo>
                <a:lnTo>
                  <a:pt x="3374" y="3898"/>
                </a:lnTo>
                <a:lnTo>
                  <a:pt x="3372" y="3902"/>
                </a:lnTo>
                <a:lnTo>
                  <a:pt x="3364" y="3904"/>
                </a:lnTo>
                <a:lnTo>
                  <a:pt x="3354" y="3904"/>
                </a:lnTo>
                <a:lnTo>
                  <a:pt x="3352" y="3906"/>
                </a:lnTo>
                <a:lnTo>
                  <a:pt x="3352" y="3910"/>
                </a:lnTo>
                <a:lnTo>
                  <a:pt x="3352" y="3912"/>
                </a:lnTo>
                <a:lnTo>
                  <a:pt x="3354" y="3912"/>
                </a:lnTo>
                <a:lnTo>
                  <a:pt x="3360" y="3914"/>
                </a:lnTo>
                <a:lnTo>
                  <a:pt x="3364" y="3912"/>
                </a:lnTo>
                <a:lnTo>
                  <a:pt x="3366" y="3912"/>
                </a:lnTo>
                <a:lnTo>
                  <a:pt x="3368" y="3914"/>
                </a:lnTo>
                <a:lnTo>
                  <a:pt x="3370" y="3916"/>
                </a:lnTo>
                <a:lnTo>
                  <a:pt x="3374" y="3914"/>
                </a:lnTo>
                <a:lnTo>
                  <a:pt x="3380" y="3910"/>
                </a:lnTo>
                <a:lnTo>
                  <a:pt x="3390" y="3908"/>
                </a:lnTo>
                <a:lnTo>
                  <a:pt x="3390" y="3904"/>
                </a:lnTo>
                <a:lnTo>
                  <a:pt x="3394" y="3900"/>
                </a:lnTo>
                <a:lnTo>
                  <a:pt x="3402" y="3894"/>
                </a:lnTo>
                <a:lnTo>
                  <a:pt x="3414" y="3890"/>
                </a:lnTo>
                <a:lnTo>
                  <a:pt x="3420" y="3886"/>
                </a:lnTo>
                <a:lnTo>
                  <a:pt x="3426" y="3880"/>
                </a:lnTo>
                <a:lnTo>
                  <a:pt x="3434" y="3876"/>
                </a:lnTo>
                <a:lnTo>
                  <a:pt x="3442" y="3872"/>
                </a:lnTo>
                <a:lnTo>
                  <a:pt x="3450" y="3870"/>
                </a:lnTo>
                <a:lnTo>
                  <a:pt x="3460" y="3868"/>
                </a:lnTo>
                <a:lnTo>
                  <a:pt x="3474" y="3870"/>
                </a:lnTo>
                <a:lnTo>
                  <a:pt x="3482" y="3874"/>
                </a:lnTo>
                <a:lnTo>
                  <a:pt x="3484" y="3876"/>
                </a:lnTo>
                <a:lnTo>
                  <a:pt x="3482" y="3876"/>
                </a:lnTo>
                <a:lnTo>
                  <a:pt x="3474" y="3880"/>
                </a:lnTo>
                <a:lnTo>
                  <a:pt x="3466" y="3884"/>
                </a:lnTo>
                <a:lnTo>
                  <a:pt x="3466" y="3886"/>
                </a:lnTo>
                <a:lnTo>
                  <a:pt x="3468" y="3888"/>
                </a:lnTo>
                <a:lnTo>
                  <a:pt x="3478" y="3894"/>
                </a:lnTo>
                <a:lnTo>
                  <a:pt x="3486" y="3898"/>
                </a:lnTo>
                <a:lnTo>
                  <a:pt x="3496" y="3900"/>
                </a:lnTo>
                <a:lnTo>
                  <a:pt x="3514" y="3900"/>
                </a:lnTo>
                <a:lnTo>
                  <a:pt x="3524" y="3900"/>
                </a:lnTo>
                <a:lnTo>
                  <a:pt x="3532" y="3902"/>
                </a:lnTo>
                <a:lnTo>
                  <a:pt x="3536" y="3904"/>
                </a:lnTo>
                <a:lnTo>
                  <a:pt x="3540" y="3908"/>
                </a:lnTo>
                <a:lnTo>
                  <a:pt x="3550" y="3914"/>
                </a:lnTo>
                <a:lnTo>
                  <a:pt x="3556" y="3918"/>
                </a:lnTo>
                <a:lnTo>
                  <a:pt x="3564" y="3922"/>
                </a:lnTo>
                <a:lnTo>
                  <a:pt x="3574" y="3924"/>
                </a:lnTo>
                <a:lnTo>
                  <a:pt x="3580" y="3926"/>
                </a:lnTo>
                <a:lnTo>
                  <a:pt x="3592" y="3926"/>
                </a:lnTo>
                <a:lnTo>
                  <a:pt x="3596" y="3926"/>
                </a:lnTo>
                <a:lnTo>
                  <a:pt x="3600" y="3926"/>
                </a:lnTo>
                <a:lnTo>
                  <a:pt x="3604" y="3930"/>
                </a:lnTo>
                <a:lnTo>
                  <a:pt x="3606" y="3934"/>
                </a:lnTo>
                <a:lnTo>
                  <a:pt x="3610" y="3946"/>
                </a:lnTo>
                <a:lnTo>
                  <a:pt x="3616" y="3958"/>
                </a:lnTo>
                <a:lnTo>
                  <a:pt x="3620" y="3962"/>
                </a:lnTo>
                <a:lnTo>
                  <a:pt x="3624" y="3966"/>
                </a:lnTo>
                <a:lnTo>
                  <a:pt x="3630" y="3968"/>
                </a:lnTo>
                <a:lnTo>
                  <a:pt x="3638" y="3968"/>
                </a:lnTo>
                <a:lnTo>
                  <a:pt x="3654" y="3970"/>
                </a:lnTo>
                <a:lnTo>
                  <a:pt x="3662" y="3972"/>
                </a:lnTo>
                <a:lnTo>
                  <a:pt x="3666" y="3974"/>
                </a:lnTo>
                <a:lnTo>
                  <a:pt x="3668" y="3978"/>
                </a:lnTo>
                <a:lnTo>
                  <a:pt x="3668" y="3982"/>
                </a:lnTo>
                <a:lnTo>
                  <a:pt x="3666" y="3986"/>
                </a:lnTo>
                <a:lnTo>
                  <a:pt x="3662" y="3990"/>
                </a:lnTo>
                <a:lnTo>
                  <a:pt x="3648" y="4000"/>
                </a:lnTo>
                <a:lnTo>
                  <a:pt x="3642" y="4004"/>
                </a:lnTo>
                <a:lnTo>
                  <a:pt x="3640" y="4008"/>
                </a:lnTo>
                <a:lnTo>
                  <a:pt x="3642" y="4010"/>
                </a:lnTo>
                <a:lnTo>
                  <a:pt x="3648" y="4010"/>
                </a:lnTo>
                <a:lnTo>
                  <a:pt x="3678" y="4008"/>
                </a:lnTo>
                <a:lnTo>
                  <a:pt x="3698" y="4006"/>
                </a:lnTo>
                <a:lnTo>
                  <a:pt x="3712" y="4006"/>
                </a:lnTo>
                <a:lnTo>
                  <a:pt x="3720" y="4008"/>
                </a:lnTo>
                <a:lnTo>
                  <a:pt x="3728" y="4010"/>
                </a:lnTo>
                <a:lnTo>
                  <a:pt x="3732" y="4012"/>
                </a:lnTo>
                <a:lnTo>
                  <a:pt x="3736" y="4012"/>
                </a:lnTo>
                <a:lnTo>
                  <a:pt x="3742" y="4012"/>
                </a:lnTo>
                <a:lnTo>
                  <a:pt x="3752" y="4008"/>
                </a:lnTo>
                <a:close/>
                <a:moveTo>
                  <a:pt x="3664" y="4082"/>
                </a:moveTo>
                <a:lnTo>
                  <a:pt x="3664" y="4082"/>
                </a:lnTo>
                <a:lnTo>
                  <a:pt x="3646" y="4080"/>
                </a:lnTo>
                <a:lnTo>
                  <a:pt x="3634" y="4078"/>
                </a:lnTo>
                <a:lnTo>
                  <a:pt x="3624" y="4082"/>
                </a:lnTo>
                <a:lnTo>
                  <a:pt x="3618" y="4088"/>
                </a:lnTo>
                <a:lnTo>
                  <a:pt x="3616" y="4092"/>
                </a:lnTo>
                <a:lnTo>
                  <a:pt x="3614" y="4094"/>
                </a:lnTo>
                <a:lnTo>
                  <a:pt x="3626" y="4098"/>
                </a:lnTo>
                <a:lnTo>
                  <a:pt x="3632" y="4102"/>
                </a:lnTo>
                <a:lnTo>
                  <a:pt x="3634" y="4106"/>
                </a:lnTo>
                <a:lnTo>
                  <a:pt x="3638" y="4110"/>
                </a:lnTo>
                <a:lnTo>
                  <a:pt x="3652" y="4116"/>
                </a:lnTo>
                <a:lnTo>
                  <a:pt x="3664" y="4118"/>
                </a:lnTo>
                <a:lnTo>
                  <a:pt x="3668" y="4116"/>
                </a:lnTo>
                <a:lnTo>
                  <a:pt x="3670" y="4112"/>
                </a:lnTo>
                <a:lnTo>
                  <a:pt x="3672" y="4110"/>
                </a:lnTo>
                <a:lnTo>
                  <a:pt x="3676" y="4110"/>
                </a:lnTo>
                <a:lnTo>
                  <a:pt x="3688" y="4110"/>
                </a:lnTo>
                <a:lnTo>
                  <a:pt x="3696" y="4112"/>
                </a:lnTo>
                <a:lnTo>
                  <a:pt x="3702" y="4112"/>
                </a:lnTo>
                <a:lnTo>
                  <a:pt x="3702" y="4110"/>
                </a:lnTo>
                <a:lnTo>
                  <a:pt x="3702" y="4106"/>
                </a:lnTo>
                <a:lnTo>
                  <a:pt x="3698" y="4100"/>
                </a:lnTo>
                <a:lnTo>
                  <a:pt x="3692" y="4092"/>
                </a:lnTo>
                <a:lnTo>
                  <a:pt x="3680" y="4088"/>
                </a:lnTo>
                <a:lnTo>
                  <a:pt x="3664" y="4082"/>
                </a:lnTo>
                <a:close/>
                <a:moveTo>
                  <a:pt x="4016" y="4068"/>
                </a:moveTo>
                <a:lnTo>
                  <a:pt x="4016" y="4068"/>
                </a:lnTo>
                <a:lnTo>
                  <a:pt x="4004" y="4058"/>
                </a:lnTo>
                <a:lnTo>
                  <a:pt x="4000" y="4054"/>
                </a:lnTo>
                <a:lnTo>
                  <a:pt x="3992" y="4054"/>
                </a:lnTo>
                <a:lnTo>
                  <a:pt x="3982" y="4054"/>
                </a:lnTo>
                <a:lnTo>
                  <a:pt x="3976" y="4052"/>
                </a:lnTo>
                <a:lnTo>
                  <a:pt x="3974" y="4050"/>
                </a:lnTo>
                <a:lnTo>
                  <a:pt x="3974" y="4048"/>
                </a:lnTo>
                <a:lnTo>
                  <a:pt x="3976" y="4046"/>
                </a:lnTo>
                <a:lnTo>
                  <a:pt x="3980" y="4046"/>
                </a:lnTo>
                <a:lnTo>
                  <a:pt x="3988" y="4042"/>
                </a:lnTo>
                <a:lnTo>
                  <a:pt x="3988" y="4040"/>
                </a:lnTo>
                <a:lnTo>
                  <a:pt x="3982" y="4038"/>
                </a:lnTo>
                <a:lnTo>
                  <a:pt x="3970" y="4040"/>
                </a:lnTo>
                <a:lnTo>
                  <a:pt x="3964" y="4040"/>
                </a:lnTo>
                <a:lnTo>
                  <a:pt x="3960" y="4038"/>
                </a:lnTo>
                <a:lnTo>
                  <a:pt x="3958" y="4034"/>
                </a:lnTo>
                <a:lnTo>
                  <a:pt x="3956" y="4030"/>
                </a:lnTo>
                <a:lnTo>
                  <a:pt x="3954" y="4024"/>
                </a:lnTo>
                <a:lnTo>
                  <a:pt x="3952" y="4022"/>
                </a:lnTo>
                <a:lnTo>
                  <a:pt x="3948" y="4022"/>
                </a:lnTo>
                <a:lnTo>
                  <a:pt x="3944" y="4022"/>
                </a:lnTo>
                <a:lnTo>
                  <a:pt x="3938" y="4022"/>
                </a:lnTo>
                <a:lnTo>
                  <a:pt x="3928" y="4016"/>
                </a:lnTo>
                <a:lnTo>
                  <a:pt x="3918" y="4010"/>
                </a:lnTo>
                <a:lnTo>
                  <a:pt x="3914" y="4008"/>
                </a:lnTo>
                <a:lnTo>
                  <a:pt x="3910" y="4010"/>
                </a:lnTo>
                <a:lnTo>
                  <a:pt x="3906" y="4012"/>
                </a:lnTo>
                <a:lnTo>
                  <a:pt x="3902" y="4012"/>
                </a:lnTo>
                <a:lnTo>
                  <a:pt x="3894" y="4010"/>
                </a:lnTo>
                <a:lnTo>
                  <a:pt x="3888" y="4012"/>
                </a:lnTo>
                <a:lnTo>
                  <a:pt x="3886" y="4014"/>
                </a:lnTo>
                <a:lnTo>
                  <a:pt x="3882" y="4018"/>
                </a:lnTo>
                <a:lnTo>
                  <a:pt x="3874" y="4016"/>
                </a:lnTo>
                <a:lnTo>
                  <a:pt x="3868" y="4018"/>
                </a:lnTo>
                <a:lnTo>
                  <a:pt x="3862" y="4016"/>
                </a:lnTo>
                <a:lnTo>
                  <a:pt x="3856" y="4014"/>
                </a:lnTo>
                <a:lnTo>
                  <a:pt x="3844" y="4008"/>
                </a:lnTo>
                <a:lnTo>
                  <a:pt x="3830" y="4008"/>
                </a:lnTo>
                <a:lnTo>
                  <a:pt x="3818" y="4010"/>
                </a:lnTo>
                <a:lnTo>
                  <a:pt x="3814" y="4012"/>
                </a:lnTo>
                <a:lnTo>
                  <a:pt x="3812" y="4016"/>
                </a:lnTo>
                <a:lnTo>
                  <a:pt x="3814" y="4022"/>
                </a:lnTo>
                <a:lnTo>
                  <a:pt x="3818" y="4024"/>
                </a:lnTo>
                <a:lnTo>
                  <a:pt x="3826" y="4024"/>
                </a:lnTo>
                <a:lnTo>
                  <a:pt x="3838" y="4028"/>
                </a:lnTo>
                <a:lnTo>
                  <a:pt x="3842" y="4032"/>
                </a:lnTo>
                <a:lnTo>
                  <a:pt x="3844" y="4034"/>
                </a:lnTo>
                <a:lnTo>
                  <a:pt x="3842" y="4040"/>
                </a:lnTo>
                <a:lnTo>
                  <a:pt x="3840" y="4044"/>
                </a:lnTo>
                <a:lnTo>
                  <a:pt x="3842" y="4050"/>
                </a:lnTo>
                <a:lnTo>
                  <a:pt x="3844" y="4056"/>
                </a:lnTo>
                <a:lnTo>
                  <a:pt x="3852" y="4064"/>
                </a:lnTo>
                <a:lnTo>
                  <a:pt x="3860" y="4074"/>
                </a:lnTo>
                <a:lnTo>
                  <a:pt x="3860" y="4076"/>
                </a:lnTo>
                <a:lnTo>
                  <a:pt x="3854" y="4076"/>
                </a:lnTo>
                <a:lnTo>
                  <a:pt x="3846" y="4078"/>
                </a:lnTo>
                <a:lnTo>
                  <a:pt x="3838" y="4080"/>
                </a:lnTo>
                <a:lnTo>
                  <a:pt x="3828" y="4080"/>
                </a:lnTo>
                <a:lnTo>
                  <a:pt x="3804" y="4076"/>
                </a:lnTo>
                <a:lnTo>
                  <a:pt x="3794" y="4074"/>
                </a:lnTo>
                <a:lnTo>
                  <a:pt x="3784" y="4072"/>
                </a:lnTo>
                <a:lnTo>
                  <a:pt x="3776" y="4074"/>
                </a:lnTo>
                <a:lnTo>
                  <a:pt x="3774" y="4074"/>
                </a:lnTo>
                <a:lnTo>
                  <a:pt x="3772" y="4078"/>
                </a:lnTo>
                <a:lnTo>
                  <a:pt x="3770" y="4082"/>
                </a:lnTo>
                <a:lnTo>
                  <a:pt x="3770" y="4086"/>
                </a:lnTo>
                <a:lnTo>
                  <a:pt x="3772" y="4088"/>
                </a:lnTo>
                <a:lnTo>
                  <a:pt x="3776" y="4090"/>
                </a:lnTo>
                <a:lnTo>
                  <a:pt x="3784" y="4092"/>
                </a:lnTo>
                <a:lnTo>
                  <a:pt x="3788" y="4094"/>
                </a:lnTo>
                <a:lnTo>
                  <a:pt x="3794" y="4100"/>
                </a:lnTo>
                <a:lnTo>
                  <a:pt x="3798" y="4102"/>
                </a:lnTo>
                <a:lnTo>
                  <a:pt x="3800" y="4102"/>
                </a:lnTo>
                <a:lnTo>
                  <a:pt x="3802" y="4098"/>
                </a:lnTo>
                <a:lnTo>
                  <a:pt x="3804" y="4094"/>
                </a:lnTo>
                <a:lnTo>
                  <a:pt x="3808" y="4094"/>
                </a:lnTo>
                <a:lnTo>
                  <a:pt x="3816" y="4094"/>
                </a:lnTo>
                <a:lnTo>
                  <a:pt x="3828" y="4098"/>
                </a:lnTo>
                <a:lnTo>
                  <a:pt x="3836" y="4100"/>
                </a:lnTo>
                <a:lnTo>
                  <a:pt x="3842" y="4098"/>
                </a:lnTo>
                <a:lnTo>
                  <a:pt x="3852" y="4096"/>
                </a:lnTo>
                <a:lnTo>
                  <a:pt x="3858" y="4096"/>
                </a:lnTo>
                <a:lnTo>
                  <a:pt x="3864" y="4096"/>
                </a:lnTo>
                <a:lnTo>
                  <a:pt x="3872" y="4098"/>
                </a:lnTo>
                <a:lnTo>
                  <a:pt x="3882" y="4102"/>
                </a:lnTo>
                <a:lnTo>
                  <a:pt x="3886" y="4110"/>
                </a:lnTo>
                <a:lnTo>
                  <a:pt x="3890" y="4114"/>
                </a:lnTo>
                <a:lnTo>
                  <a:pt x="3894" y="4118"/>
                </a:lnTo>
                <a:lnTo>
                  <a:pt x="3896" y="4118"/>
                </a:lnTo>
                <a:lnTo>
                  <a:pt x="3900" y="4116"/>
                </a:lnTo>
                <a:lnTo>
                  <a:pt x="3902" y="4112"/>
                </a:lnTo>
                <a:lnTo>
                  <a:pt x="3908" y="4104"/>
                </a:lnTo>
                <a:lnTo>
                  <a:pt x="3914" y="4094"/>
                </a:lnTo>
                <a:lnTo>
                  <a:pt x="3920" y="4086"/>
                </a:lnTo>
                <a:lnTo>
                  <a:pt x="3926" y="4084"/>
                </a:lnTo>
                <a:lnTo>
                  <a:pt x="3928" y="4086"/>
                </a:lnTo>
                <a:lnTo>
                  <a:pt x="3930" y="4088"/>
                </a:lnTo>
                <a:lnTo>
                  <a:pt x="3932" y="4094"/>
                </a:lnTo>
                <a:lnTo>
                  <a:pt x="3936" y="4096"/>
                </a:lnTo>
                <a:lnTo>
                  <a:pt x="3942" y="4092"/>
                </a:lnTo>
                <a:lnTo>
                  <a:pt x="3952" y="4086"/>
                </a:lnTo>
                <a:lnTo>
                  <a:pt x="3956" y="4084"/>
                </a:lnTo>
                <a:lnTo>
                  <a:pt x="3964" y="4082"/>
                </a:lnTo>
                <a:lnTo>
                  <a:pt x="3978" y="4082"/>
                </a:lnTo>
                <a:lnTo>
                  <a:pt x="3992" y="4084"/>
                </a:lnTo>
                <a:lnTo>
                  <a:pt x="4002" y="4090"/>
                </a:lnTo>
                <a:lnTo>
                  <a:pt x="4004" y="4090"/>
                </a:lnTo>
                <a:lnTo>
                  <a:pt x="4008" y="4090"/>
                </a:lnTo>
                <a:lnTo>
                  <a:pt x="4012" y="4088"/>
                </a:lnTo>
                <a:lnTo>
                  <a:pt x="4016" y="4086"/>
                </a:lnTo>
                <a:lnTo>
                  <a:pt x="4018" y="4082"/>
                </a:lnTo>
                <a:lnTo>
                  <a:pt x="4018" y="4078"/>
                </a:lnTo>
                <a:lnTo>
                  <a:pt x="4018" y="4072"/>
                </a:lnTo>
                <a:lnTo>
                  <a:pt x="4016" y="4068"/>
                </a:lnTo>
                <a:close/>
                <a:moveTo>
                  <a:pt x="4132" y="7870"/>
                </a:moveTo>
                <a:lnTo>
                  <a:pt x="4132" y="7870"/>
                </a:lnTo>
                <a:lnTo>
                  <a:pt x="4124" y="7870"/>
                </a:lnTo>
                <a:lnTo>
                  <a:pt x="4118" y="7870"/>
                </a:lnTo>
                <a:lnTo>
                  <a:pt x="4112" y="7866"/>
                </a:lnTo>
                <a:lnTo>
                  <a:pt x="4106" y="7864"/>
                </a:lnTo>
                <a:lnTo>
                  <a:pt x="4098" y="7860"/>
                </a:lnTo>
                <a:lnTo>
                  <a:pt x="4090" y="7854"/>
                </a:lnTo>
                <a:lnTo>
                  <a:pt x="4080" y="7846"/>
                </a:lnTo>
                <a:lnTo>
                  <a:pt x="4070" y="7840"/>
                </a:lnTo>
                <a:lnTo>
                  <a:pt x="4058" y="7832"/>
                </a:lnTo>
                <a:lnTo>
                  <a:pt x="4046" y="7820"/>
                </a:lnTo>
                <a:lnTo>
                  <a:pt x="4034" y="7808"/>
                </a:lnTo>
                <a:lnTo>
                  <a:pt x="4028" y="7798"/>
                </a:lnTo>
                <a:lnTo>
                  <a:pt x="4026" y="7788"/>
                </a:lnTo>
                <a:lnTo>
                  <a:pt x="4024" y="7786"/>
                </a:lnTo>
                <a:lnTo>
                  <a:pt x="4020" y="7786"/>
                </a:lnTo>
                <a:lnTo>
                  <a:pt x="4012" y="7784"/>
                </a:lnTo>
                <a:lnTo>
                  <a:pt x="4010" y="7782"/>
                </a:lnTo>
                <a:lnTo>
                  <a:pt x="4010" y="7778"/>
                </a:lnTo>
                <a:lnTo>
                  <a:pt x="4012" y="7774"/>
                </a:lnTo>
                <a:lnTo>
                  <a:pt x="4018" y="7768"/>
                </a:lnTo>
                <a:lnTo>
                  <a:pt x="4018" y="7770"/>
                </a:lnTo>
                <a:lnTo>
                  <a:pt x="4020" y="7772"/>
                </a:lnTo>
                <a:lnTo>
                  <a:pt x="4022" y="7776"/>
                </a:lnTo>
                <a:lnTo>
                  <a:pt x="4024" y="7776"/>
                </a:lnTo>
                <a:lnTo>
                  <a:pt x="4024" y="7772"/>
                </a:lnTo>
                <a:lnTo>
                  <a:pt x="4020" y="7762"/>
                </a:lnTo>
                <a:lnTo>
                  <a:pt x="4006" y="7748"/>
                </a:lnTo>
                <a:lnTo>
                  <a:pt x="4006" y="7884"/>
                </a:lnTo>
                <a:lnTo>
                  <a:pt x="4014" y="7882"/>
                </a:lnTo>
                <a:lnTo>
                  <a:pt x="4016" y="7880"/>
                </a:lnTo>
                <a:lnTo>
                  <a:pt x="4020" y="7878"/>
                </a:lnTo>
                <a:lnTo>
                  <a:pt x="4026" y="7880"/>
                </a:lnTo>
                <a:lnTo>
                  <a:pt x="4040" y="7884"/>
                </a:lnTo>
                <a:lnTo>
                  <a:pt x="4056" y="7886"/>
                </a:lnTo>
                <a:lnTo>
                  <a:pt x="4074" y="7888"/>
                </a:lnTo>
                <a:lnTo>
                  <a:pt x="4080" y="7888"/>
                </a:lnTo>
                <a:lnTo>
                  <a:pt x="4084" y="7890"/>
                </a:lnTo>
                <a:lnTo>
                  <a:pt x="4092" y="7894"/>
                </a:lnTo>
                <a:lnTo>
                  <a:pt x="4096" y="7894"/>
                </a:lnTo>
                <a:lnTo>
                  <a:pt x="4098" y="7892"/>
                </a:lnTo>
                <a:lnTo>
                  <a:pt x="4104" y="7890"/>
                </a:lnTo>
                <a:lnTo>
                  <a:pt x="4110" y="7888"/>
                </a:lnTo>
                <a:lnTo>
                  <a:pt x="4116" y="7886"/>
                </a:lnTo>
                <a:lnTo>
                  <a:pt x="4120" y="7884"/>
                </a:lnTo>
                <a:lnTo>
                  <a:pt x="4122" y="7886"/>
                </a:lnTo>
                <a:lnTo>
                  <a:pt x="4126" y="7890"/>
                </a:lnTo>
                <a:lnTo>
                  <a:pt x="4128" y="7888"/>
                </a:lnTo>
                <a:lnTo>
                  <a:pt x="4130" y="7886"/>
                </a:lnTo>
                <a:lnTo>
                  <a:pt x="4134" y="7886"/>
                </a:lnTo>
                <a:lnTo>
                  <a:pt x="4136" y="7886"/>
                </a:lnTo>
                <a:lnTo>
                  <a:pt x="4138" y="7886"/>
                </a:lnTo>
                <a:lnTo>
                  <a:pt x="4144" y="7878"/>
                </a:lnTo>
                <a:lnTo>
                  <a:pt x="4146" y="7872"/>
                </a:lnTo>
                <a:lnTo>
                  <a:pt x="4144" y="7868"/>
                </a:lnTo>
                <a:lnTo>
                  <a:pt x="4140" y="7868"/>
                </a:lnTo>
                <a:lnTo>
                  <a:pt x="4132" y="7870"/>
                </a:lnTo>
                <a:close/>
                <a:moveTo>
                  <a:pt x="3988" y="7750"/>
                </a:moveTo>
                <a:lnTo>
                  <a:pt x="3988" y="7750"/>
                </a:lnTo>
                <a:lnTo>
                  <a:pt x="3984" y="7750"/>
                </a:lnTo>
                <a:lnTo>
                  <a:pt x="3982" y="7748"/>
                </a:lnTo>
                <a:lnTo>
                  <a:pt x="3980" y="7742"/>
                </a:lnTo>
                <a:lnTo>
                  <a:pt x="3976" y="7738"/>
                </a:lnTo>
                <a:lnTo>
                  <a:pt x="3974" y="7736"/>
                </a:lnTo>
                <a:lnTo>
                  <a:pt x="3972" y="7736"/>
                </a:lnTo>
                <a:lnTo>
                  <a:pt x="3968" y="7740"/>
                </a:lnTo>
                <a:lnTo>
                  <a:pt x="3964" y="7746"/>
                </a:lnTo>
                <a:lnTo>
                  <a:pt x="3960" y="7754"/>
                </a:lnTo>
                <a:lnTo>
                  <a:pt x="3956" y="7758"/>
                </a:lnTo>
                <a:lnTo>
                  <a:pt x="3952" y="7758"/>
                </a:lnTo>
                <a:lnTo>
                  <a:pt x="3946" y="7754"/>
                </a:lnTo>
                <a:lnTo>
                  <a:pt x="3942" y="7752"/>
                </a:lnTo>
                <a:lnTo>
                  <a:pt x="3936" y="7752"/>
                </a:lnTo>
                <a:lnTo>
                  <a:pt x="3934" y="7754"/>
                </a:lnTo>
                <a:lnTo>
                  <a:pt x="3936" y="7756"/>
                </a:lnTo>
                <a:lnTo>
                  <a:pt x="3938" y="7756"/>
                </a:lnTo>
                <a:lnTo>
                  <a:pt x="3940" y="7760"/>
                </a:lnTo>
                <a:lnTo>
                  <a:pt x="3940" y="7762"/>
                </a:lnTo>
                <a:lnTo>
                  <a:pt x="3944" y="7762"/>
                </a:lnTo>
                <a:lnTo>
                  <a:pt x="3946" y="7764"/>
                </a:lnTo>
                <a:lnTo>
                  <a:pt x="3946" y="7768"/>
                </a:lnTo>
                <a:lnTo>
                  <a:pt x="3942" y="7772"/>
                </a:lnTo>
                <a:lnTo>
                  <a:pt x="3940" y="7772"/>
                </a:lnTo>
                <a:lnTo>
                  <a:pt x="3936" y="7766"/>
                </a:lnTo>
                <a:lnTo>
                  <a:pt x="3934" y="7766"/>
                </a:lnTo>
                <a:lnTo>
                  <a:pt x="3932" y="7772"/>
                </a:lnTo>
                <a:lnTo>
                  <a:pt x="3932" y="7782"/>
                </a:lnTo>
                <a:lnTo>
                  <a:pt x="3936" y="7792"/>
                </a:lnTo>
                <a:lnTo>
                  <a:pt x="3940" y="7796"/>
                </a:lnTo>
                <a:lnTo>
                  <a:pt x="3944" y="7796"/>
                </a:lnTo>
                <a:lnTo>
                  <a:pt x="3958" y="7792"/>
                </a:lnTo>
                <a:lnTo>
                  <a:pt x="3970" y="7788"/>
                </a:lnTo>
                <a:lnTo>
                  <a:pt x="3974" y="7788"/>
                </a:lnTo>
                <a:lnTo>
                  <a:pt x="3978" y="7792"/>
                </a:lnTo>
                <a:lnTo>
                  <a:pt x="3978" y="7798"/>
                </a:lnTo>
                <a:lnTo>
                  <a:pt x="3974" y="7802"/>
                </a:lnTo>
                <a:lnTo>
                  <a:pt x="3968" y="7804"/>
                </a:lnTo>
                <a:lnTo>
                  <a:pt x="3962" y="7806"/>
                </a:lnTo>
                <a:lnTo>
                  <a:pt x="3948" y="7812"/>
                </a:lnTo>
                <a:lnTo>
                  <a:pt x="3944" y="7816"/>
                </a:lnTo>
                <a:lnTo>
                  <a:pt x="3944" y="7822"/>
                </a:lnTo>
                <a:lnTo>
                  <a:pt x="3948" y="7830"/>
                </a:lnTo>
                <a:lnTo>
                  <a:pt x="3954" y="7836"/>
                </a:lnTo>
                <a:lnTo>
                  <a:pt x="3962" y="7842"/>
                </a:lnTo>
                <a:lnTo>
                  <a:pt x="3970" y="7846"/>
                </a:lnTo>
                <a:lnTo>
                  <a:pt x="3984" y="7852"/>
                </a:lnTo>
                <a:lnTo>
                  <a:pt x="3990" y="7856"/>
                </a:lnTo>
                <a:lnTo>
                  <a:pt x="3992" y="7858"/>
                </a:lnTo>
                <a:lnTo>
                  <a:pt x="3978" y="7856"/>
                </a:lnTo>
                <a:lnTo>
                  <a:pt x="3972" y="7852"/>
                </a:lnTo>
                <a:lnTo>
                  <a:pt x="3970" y="7850"/>
                </a:lnTo>
                <a:lnTo>
                  <a:pt x="3968" y="7852"/>
                </a:lnTo>
                <a:lnTo>
                  <a:pt x="3966" y="7854"/>
                </a:lnTo>
                <a:lnTo>
                  <a:pt x="3964" y="7852"/>
                </a:lnTo>
                <a:lnTo>
                  <a:pt x="3958" y="7850"/>
                </a:lnTo>
                <a:lnTo>
                  <a:pt x="3952" y="7846"/>
                </a:lnTo>
                <a:lnTo>
                  <a:pt x="3950" y="7846"/>
                </a:lnTo>
                <a:lnTo>
                  <a:pt x="3946" y="7848"/>
                </a:lnTo>
                <a:lnTo>
                  <a:pt x="3944" y="7850"/>
                </a:lnTo>
                <a:lnTo>
                  <a:pt x="3944" y="7852"/>
                </a:lnTo>
                <a:lnTo>
                  <a:pt x="3946" y="7854"/>
                </a:lnTo>
                <a:lnTo>
                  <a:pt x="3946" y="7856"/>
                </a:lnTo>
                <a:lnTo>
                  <a:pt x="3944" y="7856"/>
                </a:lnTo>
                <a:lnTo>
                  <a:pt x="3938" y="7852"/>
                </a:lnTo>
                <a:lnTo>
                  <a:pt x="3918" y="7838"/>
                </a:lnTo>
                <a:lnTo>
                  <a:pt x="3914" y="7836"/>
                </a:lnTo>
                <a:lnTo>
                  <a:pt x="3912" y="7838"/>
                </a:lnTo>
                <a:lnTo>
                  <a:pt x="3914" y="7840"/>
                </a:lnTo>
                <a:lnTo>
                  <a:pt x="3920" y="7846"/>
                </a:lnTo>
                <a:lnTo>
                  <a:pt x="3924" y="7848"/>
                </a:lnTo>
                <a:lnTo>
                  <a:pt x="3926" y="7850"/>
                </a:lnTo>
                <a:lnTo>
                  <a:pt x="3922" y="7850"/>
                </a:lnTo>
                <a:lnTo>
                  <a:pt x="3918" y="7850"/>
                </a:lnTo>
                <a:lnTo>
                  <a:pt x="3914" y="7852"/>
                </a:lnTo>
                <a:lnTo>
                  <a:pt x="3912" y="7856"/>
                </a:lnTo>
                <a:lnTo>
                  <a:pt x="3910" y="7858"/>
                </a:lnTo>
                <a:lnTo>
                  <a:pt x="3904" y="7858"/>
                </a:lnTo>
                <a:lnTo>
                  <a:pt x="3896" y="7852"/>
                </a:lnTo>
                <a:lnTo>
                  <a:pt x="3894" y="7854"/>
                </a:lnTo>
                <a:lnTo>
                  <a:pt x="3894" y="7856"/>
                </a:lnTo>
                <a:lnTo>
                  <a:pt x="3892" y="7856"/>
                </a:lnTo>
                <a:lnTo>
                  <a:pt x="3888" y="7856"/>
                </a:lnTo>
                <a:lnTo>
                  <a:pt x="3878" y="7854"/>
                </a:lnTo>
                <a:lnTo>
                  <a:pt x="3876" y="7854"/>
                </a:lnTo>
                <a:lnTo>
                  <a:pt x="3876" y="7856"/>
                </a:lnTo>
                <a:lnTo>
                  <a:pt x="3880" y="7858"/>
                </a:lnTo>
                <a:lnTo>
                  <a:pt x="3882" y="7862"/>
                </a:lnTo>
                <a:lnTo>
                  <a:pt x="3882" y="7864"/>
                </a:lnTo>
                <a:lnTo>
                  <a:pt x="3878" y="7862"/>
                </a:lnTo>
                <a:lnTo>
                  <a:pt x="3874" y="7860"/>
                </a:lnTo>
                <a:lnTo>
                  <a:pt x="3870" y="7858"/>
                </a:lnTo>
                <a:lnTo>
                  <a:pt x="3870" y="7860"/>
                </a:lnTo>
                <a:lnTo>
                  <a:pt x="3872" y="7864"/>
                </a:lnTo>
                <a:lnTo>
                  <a:pt x="3872" y="7868"/>
                </a:lnTo>
                <a:lnTo>
                  <a:pt x="3872" y="7870"/>
                </a:lnTo>
                <a:lnTo>
                  <a:pt x="3876" y="7870"/>
                </a:lnTo>
                <a:lnTo>
                  <a:pt x="3880" y="7870"/>
                </a:lnTo>
                <a:lnTo>
                  <a:pt x="3886" y="7870"/>
                </a:lnTo>
                <a:lnTo>
                  <a:pt x="3890" y="7870"/>
                </a:lnTo>
                <a:lnTo>
                  <a:pt x="3890" y="7872"/>
                </a:lnTo>
                <a:lnTo>
                  <a:pt x="3892" y="7872"/>
                </a:lnTo>
                <a:lnTo>
                  <a:pt x="3894" y="7868"/>
                </a:lnTo>
                <a:lnTo>
                  <a:pt x="3896" y="7864"/>
                </a:lnTo>
                <a:lnTo>
                  <a:pt x="3898" y="7862"/>
                </a:lnTo>
                <a:lnTo>
                  <a:pt x="3900" y="7864"/>
                </a:lnTo>
                <a:lnTo>
                  <a:pt x="3900" y="7866"/>
                </a:lnTo>
                <a:lnTo>
                  <a:pt x="3898" y="7870"/>
                </a:lnTo>
                <a:lnTo>
                  <a:pt x="3900" y="7872"/>
                </a:lnTo>
                <a:lnTo>
                  <a:pt x="3904" y="7872"/>
                </a:lnTo>
                <a:lnTo>
                  <a:pt x="3908" y="7870"/>
                </a:lnTo>
                <a:lnTo>
                  <a:pt x="3912" y="7868"/>
                </a:lnTo>
                <a:lnTo>
                  <a:pt x="3910" y="7872"/>
                </a:lnTo>
                <a:lnTo>
                  <a:pt x="3908" y="7876"/>
                </a:lnTo>
                <a:lnTo>
                  <a:pt x="3910" y="7876"/>
                </a:lnTo>
                <a:lnTo>
                  <a:pt x="3912" y="7876"/>
                </a:lnTo>
                <a:lnTo>
                  <a:pt x="3916" y="7876"/>
                </a:lnTo>
                <a:lnTo>
                  <a:pt x="3918" y="7880"/>
                </a:lnTo>
                <a:lnTo>
                  <a:pt x="3920" y="7882"/>
                </a:lnTo>
                <a:lnTo>
                  <a:pt x="3924" y="7880"/>
                </a:lnTo>
                <a:lnTo>
                  <a:pt x="3928" y="7880"/>
                </a:lnTo>
                <a:lnTo>
                  <a:pt x="3934" y="7880"/>
                </a:lnTo>
                <a:lnTo>
                  <a:pt x="3938" y="7882"/>
                </a:lnTo>
                <a:lnTo>
                  <a:pt x="3942" y="7880"/>
                </a:lnTo>
                <a:lnTo>
                  <a:pt x="3946" y="7880"/>
                </a:lnTo>
                <a:lnTo>
                  <a:pt x="3948" y="7880"/>
                </a:lnTo>
                <a:lnTo>
                  <a:pt x="3950" y="7882"/>
                </a:lnTo>
                <a:lnTo>
                  <a:pt x="3952" y="7882"/>
                </a:lnTo>
                <a:lnTo>
                  <a:pt x="3954" y="7880"/>
                </a:lnTo>
                <a:lnTo>
                  <a:pt x="3958" y="7880"/>
                </a:lnTo>
                <a:lnTo>
                  <a:pt x="3960" y="7880"/>
                </a:lnTo>
                <a:lnTo>
                  <a:pt x="3962" y="7876"/>
                </a:lnTo>
                <a:lnTo>
                  <a:pt x="3962" y="7874"/>
                </a:lnTo>
                <a:lnTo>
                  <a:pt x="3964" y="7876"/>
                </a:lnTo>
                <a:lnTo>
                  <a:pt x="3966" y="7880"/>
                </a:lnTo>
                <a:lnTo>
                  <a:pt x="3974" y="7884"/>
                </a:lnTo>
                <a:lnTo>
                  <a:pt x="3994" y="7888"/>
                </a:lnTo>
                <a:lnTo>
                  <a:pt x="3998" y="7888"/>
                </a:lnTo>
                <a:lnTo>
                  <a:pt x="4000" y="7886"/>
                </a:lnTo>
                <a:lnTo>
                  <a:pt x="4000" y="7882"/>
                </a:lnTo>
                <a:lnTo>
                  <a:pt x="4002" y="7882"/>
                </a:lnTo>
                <a:lnTo>
                  <a:pt x="4006" y="7884"/>
                </a:lnTo>
                <a:lnTo>
                  <a:pt x="4006" y="7748"/>
                </a:lnTo>
                <a:lnTo>
                  <a:pt x="4004" y="7744"/>
                </a:lnTo>
                <a:lnTo>
                  <a:pt x="4000" y="7744"/>
                </a:lnTo>
                <a:lnTo>
                  <a:pt x="3996" y="7744"/>
                </a:lnTo>
                <a:lnTo>
                  <a:pt x="3992" y="7748"/>
                </a:lnTo>
                <a:lnTo>
                  <a:pt x="3988" y="7750"/>
                </a:lnTo>
                <a:close/>
                <a:moveTo>
                  <a:pt x="3812" y="7278"/>
                </a:moveTo>
                <a:lnTo>
                  <a:pt x="3812" y="7278"/>
                </a:lnTo>
                <a:lnTo>
                  <a:pt x="3812" y="7282"/>
                </a:lnTo>
                <a:lnTo>
                  <a:pt x="3814" y="7286"/>
                </a:lnTo>
                <a:lnTo>
                  <a:pt x="3814" y="7288"/>
                </a:lnTo>
                <a:lnTo>
                  <a:pt x="3814" y="7290"/>
                </a:lnTo>
                <a:lnTo>
                  <a:pt x="3816" y="7292"/>
                </a:lnTo>
                <a:lnTo>
                  <a:pt x="3820" y="7294"/>
                </a:lnTo>
                <a:lnTo>
                  <a:pt x="3826" y="7292"/>
                </a:lnTo>
                <a:lnTo>
                  <a:pt x="3834" y="7286"/>
                </a:lnTo>
                <a:lnTo>
                  <a:pt x="3836" y="7282"/>
                </a:lnTo>
                <a:lnTo>
                  <a:pt x="3834" y="7280"/>
                </a:lnTo>
                <a:lnTo>
                  <a:pt x="3834" y="7278"/>
                </a:lnTo>
                <a:lnTo>
                  <a:pt x="3838" y="7278"/>
                </a:lnTo>
                <a:lnTo>
                  <a:pt x="3840" y="7274"/>
                </a:lnTo>
                <a:lnTo>
                  <a:pt x="3840" y="7270"/>
                </a:lnTo>
                <a:lnTo>
                  <a:pt x="3834" y="7264"/>
                </a:lnTo>
                <a:lnTo>
                  <a:pt x="3830" y="7262"/>
                </a:lnTo>
                <a:lnTo>
                  <a:pt x="3826" y="7264"/>
                </a:lnTo>
                <a:lnTo>
                  <a:pt x="3826" y="7266"/>
                </a:lnTo>
                <a:lnTo>
                  <a:pt x="3824" y="7266"/>
                </a:lnTo>
                <a:lnTo>
                  <a:pt x="3822" y="7266"/>
                </a:lnTo>
                <a:lnTo>
                  <a:pt x="3820" y="7266"/>
                </a:lnTo>
                <a:lnTo>
                  <a:pt x="3820" y="7268"/>
                </a:lnTo>
                <a:lnTo>
                  <a:pt x="3820" y="7272"/>
                </a:lnTo>
                <a:lnTo>
                  <a:pt x="3818" y="7276"/>
                </a:lnTo>
                <a:lnTo>
                  <a:pt x="3816" y="7276"/>
                </a:lnTo>
                <a:lnTo>
                  <a:pt x="3814" y="7276"/>
                </a:lnTo>
                <a:lnTo>
                  <a:pt x="3812" y="7278"/>
                </a:lnTo>
                <a:close/>
                <a:moveTo>
                  <a:pt x="3916" y="7824"/>
                </a:moveTo>
                <a:lnTo>
                  <a:pt x="3916" y="7824"/>
                </a:lnTo>
                <a:lnTo>
                  <a:pt x="3916" y="7830"/>
                </a:lnTo>
                <a:lnTo>
                  <a:pt x="3920" y="7834"/>
                </a:lnTo>
                <a:lnTo>
                  <a:pt x="3938" y="7846"/>
                </a:lnTo>
                <a:lnTo>
                  <a:pt x="3940" y="7846"/>
                </a:lnTo>
                <a:lnTo>
                  <a:pt x="3940" y="7844"/>
                </a:lnTo>
                <a:lnTo>
                  <a:pt x="3938" y="7840"/>
                </a:lnTo>
                <a:lnTo>
                  <a:pt x="3934" y="7836"/>
                </a:lnTo>
                <a:lnTo>
                  <a:pt x="3926" y="7830"/>
                </a:lnTo>
                <a:lnTo>
                  <a:pt x="3928" y="7828"/>
                </a:lnTo>
                <a:lnTo>
                  <a:pt x="3930" y="7830"/>
                </a:lnTo>
                <a:lnTo>
                  <a:pt x="3936" y="7834"/>
                </a:lnTo>
                <a:lnTo>
                  <a:pt x="3938" y="7834"/>
                </a:lnTo>
                <a:lnTo>
                  <a:pt x="3938" y="7830"/>
                </a:lnTo>
                <a:lnTo>
                  <a:pt x="3936" y="7826"/>
                </a:lnTo>
                <a:lnTo>
                  <a:pt x="3932" y="7822"/>
                </a:lnTo>
                <a:lnTo>
                  <a:pt x="3932" y="7816"/>
                </a:lnTo>
                <a:lnTo>
                  <a:pt x="3932" y="7804"/>
                </a:lnTo>
                <a:lnTo>
                  <a:pt x="3930" y="7802"/>
                </a:lnTo>
                <a:lnTo>
                  <a:pt x="3926" y="7806"/>
                </a:lnTo>
                <a:lnTo>
                  <a:pt x="3924" y="7810"/>
                </a:lnTo>
                <a:lnTo>
                  <a:pt x="3922" y="7816"/>
                </a:lnTo>
                <a:lnTo>
                  <a:pt x="3924" y="7820"/>
                </a:lnTo>
                <a:lnTo>
                  <a:pt x="3922" y="7820"/>
                </a:lnTo>
                <a:lnTo>
                  <a:pt x="3918" y="7820"/>
                </a:lnTo>
                <a:lnTo>
                  <a:pt x="3916" y="7824"/>
                </a:lnTo>
                <a:close/>
                <a:moveTo>
                  <a:pt x="3886" y="7846"/>
                </a:moveTo>
                <a:lnTo>
                  <a:pt x="3886" y="7846"/>
                </a:lnTo>
                <a:lnTo>
                  <a:pt x="3890" y="7846"/>
                </a:lnTo>
                <a:lnTo>
                  <a:pt x="3890" y="7844"/>
                </a:lnTo>
                <a:lnTo>
                  <a:pt x="3892" y="7842"/>
                </a:lnTo>
                <a:lnTo>
                  <a:pt x="3896" y="7842"/>
                </a:lnTo>
                <a:lnTo>
                  <a:pt x="3898" y="7846"/>
                </a:lnTo>
                <a:lnTo>
                  <a:pt x="3898" y="7848"/>
                </a:lnTo>
                <a:lnTo>
                  <a:pt x="3898" y="7850"/>
                </a:lnTo>
                <a:lnTo>
                  <a:pt x="3904" y="7852"/>
                </a:lnTo>
                <a:lnTo>
                  <a:pt x="3906" y="7852"/>
                </a:lnTo>
                <a:lnTo>
                  <a:pt x="3908" y="7848"/>
                </a:lnTo>
                <a:lnTo>
                  <a:pt x="3908" y="7838"/>
                </a:lnTo>
                <a:lnTo>
                  <a:pt x="3908" y="7834"/>
                </a:lnTo>
                <a:lnTo>
                  <a:pt x="3904" y="7834"/>
                </a:lnTo>
                <a:lnTo>
                  <a:pt x="3902" y="7834"/>
                </a:lnTo>
                <a:lnTo>
                  <a:pt x="3900" y="7830"/>
                </a:lnTo>
                <a:lnTo>
                  <a:pt x="3896" y="7828"/>
                </a:lnTo>
                <a:lnTo>
                  <a:pt x="3890" y="7826"/>
                </a:lnTo>
                <a:lnTo>
                  <a:pt x="3886" y="7828"/>
                </a:lnTo>
                <a:lnTo>
                  <a:pt x="3884" y="7828"/>
                </a:lnTo>
                <a:lnTo>
                  <a:pt x="3886" y="7832"/>
                </a:lnTo>
                <a:lnTo>
                  <a:pt x="3886" y="7836"/>
                </a:lnTo>
                <a:lnTo>
                  <a:pt x="3884" y="7840"/>
                </a:lnTo>
                <a:lnTo>
                  <a:pt x="3884" y="7842"/>
                </a:lnTo>
                <a:lnTo>
                  <a:pt x="3886" y="7846"/>
                </a:lnTo>
                <a:close/>
                <a:moveTo>
                  <a:pt x="3794" y="7210"/>
                </a:moveTo>
                <a:lnTo>
                  <a:pt x="3794" y="7210"/>
                </a:lnTo>
                <a:lnTo>
                  <a:pt x="3800" y="7210"/>
                </a:lnTo>
                <a:lnTo>
                  <a:pt x="3802" y="7208"/>
                </a:lnTo>
                <a:lnTo>
                  <a:pt x="3802" y="7206"/>
                </a:lnTo>
                <a:lnTo>
                  <a:pt x="3802" y="7204"/>
                </a:lnTo>
                <a:lnTo>
                  <a:pt x="3800" y="7198"/>
                </a:lnTo>
                <a:lnTo>
                  <a:pt x="3800" y="7196"/>
                </a:lnTo>
                <a:lnTo>
                  <a:pt x="3804" y="7194"/>
                </a:lnTo>
                <a:lnTo>
                  <a:pt x="3808" y="7194"/>
                </a:lnTo>
                <a:lnTo>
                  <a:pt x="3808" y="7188"/>
                </a:lnTo>
                <a:lnTo>
                  <a:pt x="3804" y="7184"/>
                </a:lnTo>
                <a:lnTo>
                  <a:pt x="3804" y="7182"/>
                </a:lnTo>
                <a:lnTo>
                  <a:pt x="3806" y="7182"/>
                </a:lnTo>
                <a:lnTo>
                  <a:pt x="3810" y="7180"/>
                </a:lnTo>
                <a:lnTo>
                  <a:pt x="3810" y="7178"/>
                </a:lnTo>
                <a:lnTo>
                  <a:pt x="3802" y="7168"/>
                </a:lnTo>
                <a:lnTo>
                  <a:pt x="3798" y="7162"/>
                </a:lnTo>
                <a:lnTo>
                  <a:pt x="3800" y="7160"/>
                </a:lnTo>
                <a:lnTo>
                  <a:pt x="3802" y="7160"/>
                </a:lnTo>
                <a:lnTo>
                  <a:pt x="3804" y="7158"/>
                </a:lnTo>
                <a:lnTo>
                  <a:pt x="3802" y="7156"/>
                </a:lnTo>
                <a:lnTo>
                  <a:pt x="3802" y="7152"/>
                </a:lnTo>
                <a:lnTo>
                  <a:pt x="3802" y="7150"/>
                </a:lnTo>
                <a:lnTo>
                  <a:pt x="3812" y="7148"/>
                </a:lnTo>
                <a:lnTo>
                  <a:pt x="3814" y="7148"/>
                </a:lnTo>
                <a:lnTo>
                  <a:pt x="3816" y="7146"/>
                </a:lnTo>
                <a:lnTo>
                  <a:pt x="3816" y="7142"/>
                </a:lnTo>
                <a:lnTo>
                  <a:pt x="3810" y="7130"/>
                </a:lnTo>
                <a:lnTo>
                  <a:pt x="3808" y="7122"/>
                </a:lnTo>
                <a:lnTo>
                  <a:pt x="3804" y="7122"/>
                </a:lnTo>
                <a:lnTo>
                  <a:pt x="3800" y="7122"/>
                </a:lnTo>
                <a:lnTo>
                  <a:pt x="3794" y="7122"/>
                </a:lnTo>
                <a:lnTo>
                  <a:pt x="3794" y="7120"/>
                </a:lnTo>
                <a:lnTo>
                  <a:pt x="3792" y="7118"/>
                </a:lnTo>
                <a:lnTo>
                  <a:pt x="3790" y="7118"/>
                </a:lnTo>
                <a:lnTo>
                  <a:pt x="3786" y="7120"/>
                </a:lnTo>
                <a:lnTo>
                  <a:pt x="3786" y="7122"/>
                </a:lnTo>
                <a:lnTo>
                  <a:pt x="3786" y="7128"/>
                </a:lnTo>
                <a:lnTo>
                  <a:pt x="3788" y="7134"/>
                </a:lnTo>
                <a:lnTo>
                  <a:pt x="3786" y="7140"/>
                </a:lnTo>
                <a:lnTo>
                  <a:pt x="3782" y="7146"/>
                </a:lnTo>
                <a:lnTo>
                  <a:pt x="3780" y="7152"/>
                </a:lnTo>
                <a:lnTo>
                  <a:pt x="3780" y="7160"/>
                </a:lnTo>
                <a:lnTo>
                  <a:pt x="3782" y="7166"/>
                </a:lnTo>
                <a:lnTo>
                  <a:pt x="3782" y="7172"/>
                </a:lnTo>
                <a:lnTo>
                  <a:pt x="3778" y="7186"/>
                </a:lnTo>
                <a:lnTo>
                  <a:pt x="3774" y="7198"/>
                </a:lnTo>
                <a:lnTo>
                  <a:pt x="3776" y="7202"/>
                </a:lnTo>
                <a:lnTo>
                  <a:pt x="3776" y="7204"/>
                </a:lnTo>
                <a:lnTo>
                  <a:pt x="3784" y="7208"/>
                </a:lnTo>
                <a:lnTo>
                  <a:pt x="3794" y="7210"/>
                </a:lnTo>
                <a:close/>
                <a:moveTo>
                  <a:pt x="3820" y="7234"/>
                </a:moveTo>
                <a:lnTo>
                  <a:pt x="3820" y="7234"/>
                </a:lnTo>
                <a:lnTo>
                  <a:pt x="3818" y="7238"/>
                </a:lnTo>
                <a:lnTo>
                  <a:pt x="3818" y="7240"/>
                </a:lnTo>
                <a:lnTo>
                  <a:pt x="3820" y="7242"/>
                </a:lnTo>
                <a:lnTo>
                  <a:pt x="3822" y="7242"/>
                </a:lnTo>
                <a:lnTo>
                  <a:pt x="3822" y="7238"/>
                </a:lnTo>
                <a:lnTo>
                  <a:pt x="3822" y="7234"/>
                </a:lnTo>
                <a:lnTo>
                  <a:pt x="3820" y="7234"/>
                </a:lnTo>
                <a:close/>
                <a:moveTo>
                  <a:pt x="3798" y="7230"/>
                </a:moveTo>
                <a:lnTo>
                  <a:pt x="3798" y="7230"/>
                </a:lnTo>
                <a:lnTo>
                  <a:pt x="3796" y="7228"/>
                </a:lnTo>
                <a:lnTo>
                  <a:pt x="3794" y="7228"/>
                </a:lnTo>
                <a:lnTo>
                  <a:pt x="3792" y="7230"/>
                </a:lnTo>
                <a:lnTo>
                  <a:pt x="3788" y="7230"/>
                </a:lnTo>
                <a:lnTo>
                  <a:pt x="3784" y="7230"/>
                </a:lnTo>
                <a:lnTo>
                  <a:pt x="3782" y="7232"/>
                </a:lnTo>
                <a:lnTo>
                  <a:pt x="3784" y="7234"/>
                </a:lnTo>
                <a:lnTo>
                  <a:pt x="3788" y="7238"/>
                </a:lnTo>
                <a:lnTo>
                  <a:pt x="3790" y="7238"/>
                </a:lnTo>
                <a:lnTo>
                  <a:pt x="3792" y="7236"/>
                </a:lnTo>
                <a:lnTo>
                  <a:pt x="3798" y="7236"/>
                </a:lnTo>
                <a:lnTo>
                  <a:pt x="3798" y="7234"/>
                </a:lnTo>
                <a:lnTo>
                  <a:pt x="3798" y="7230"/>
                </a:lnTo>
                <a:close/>
                <a:moveTo>
                  <a:pt x="3790" y="7312"/>
                </a:moveTo>
                <a:lnTo>
                  <a:pt x="3790" y="7312"/>
                </a:lnTo>
                <a:lnTo>
                  <a:pt x="3792" y="7312"/>
                </a:lnTo>
                <a:lnTo>
                  <a:pt x="3796" y="7312"/>
                </a:lnTo>
                <a:lnTo>
                  <a:pt x="3798" y="7314"/>
                </a:lnTo>
                <a:lnTo>
                  <a:pt x="3802" y="7314"/>
                </a:lnTo>
                <a:lnTo>
                  <a:pt x="3802" y="7312"/>
                </a:lnTo>
                <a:lnTo>
                  <a:pt x="3798" y="7302"/>
                </a:lnTo>
                <a:lnTo>
                  <a:pt x="3796" y="7300"/>
                </a:lnTo>
                <a:lnTo>
                  <a:pt x="3794" y="7300"/>
                </a:lnTo>
                <a:lnTo>
                  <a:pt x="3790" y="7302"/>
                </a:lnTo>
                <a:lnTo>
                  <a:pt x="3786" y="7302"/>
                </a:lnTo>
                <a:lnTo>
                  <a:pt x="3782" y="7302"/>
                </a:lnTo>
                <a:lnTo>
                  <a:pt x="3780" y="7304"/>
                </a:lnTo>
                <a:lnTo>
                  <a:pt x="3782" y="7306"/>
                </a:lnTo>
                <a:lnTo>
                  <a:pt x="3784" y="7308"/>
                </a:lnTo>
                <a:lnTo>
                  <a:pt x="3788" y="7308"/>
                </a:lnTo>
                <a:lnTo>
                  <a:pt x="3790" y="7312"/>
                </a:lnTo>
                <a:close/>
                <a:moveTo>
                  <a:pt x="3774" y="7298"/>
                </a:moveTo>
                <a:lnTo>
                  <a:pt x="3774" y="7298"/>
                </a:lnTo>
                <a:lnTo>
                  <a:pt x="3774" y="7300"/>
                </a:lnTo>
                <a:lnTo>
                  <a:pt x="3778" y="7298"/>
                </a:lnTo>
                <a:lnTo>
                  <a:pt x="3782" y="7298"/>
                </a:lnTo>
                <a:lnTo>
                  <a:pt x="3790" y="7296"/>
                </a:lnTo>
                <a:lnTo>
                  <a:pt x="3792" y="7296"/>
                </a:lnTo>
                <a:lnTo>
                  <a:pt x="3790" y="7296"/>
                </a:lnTo>
                <a:lnTo>
                  <a:pt x="3786" y="7292"/>
                </a:lnTo>
                <a:lnTo>
                  <a:pt x="3782" y="7290"/>
                </a:lnTo>
                <a:lnTo>
                  <a:pt x="3778" y="7292"/>
                </a:lnTo>
                <a:lnTo>
                  <a:pt x="3774" y="7298"/>
                </a:lnTo>
                <a:close/>
                <a:moveTo>
                  <a:pt x="3778" y="7284"/>
                </a:moveTo>
                <a:lnTo>
                  <a:pt x="3778" y="7284"/>
                </a:lnTo>
                <a:lnTo>
                  <a:pt x="3782" y="7284"/>
                </a:lnTo>
                <a:lnTo>
                  <a:pt x="3786" y="7284"/>
                </a:lnTo>
                <a:lnTo>
                  <a:pt x="3792" y="7282"/>
                </a:lnTo>
                <a:lnTo>
                  <a:pt x="3794" y="7280"/>
                </a:lnTo>
                <a:lnTo>
                  <a:pt x="3794" y="7278"/>
                </a:lnTo>
                <a:lnTo>
                  <a:pt x="3792" y="7278"/>
                </a:lnTo>
                <a:lnTo>
                  <a:pt x="3788" y="7276"/>
                </a:lnTo>
                <a:lnTo>
                  <a:pt x="3778" y="7276"/>
                </a:lnTo>
                <a:lnTo>
                  <a:pt x="3774" y="7278"/>
                </a:lnTo>
                <a:lnTo>
                  <a:pt x="3772" y="7280"/>
                </a:lnTo>
                <a:lnTo>
                  <a:pt x="3774" y="7282"/>
                </a:lnTo>
                <a:lnTo>
                  <a:pt x="3778" y="7284"/>
                </a:lnTo>
                <a:close/>
                <a:moveTo>
                  <a:pt x="3800" y="7272"/>
                </a:moveTo>
                <a:lnTo>
                  <a:pt x="3800" y="7272"/>
                </a:lnTo>
                <a:lnTo>
                  <a:pt x="3796" y="7274"/>
                </a:lnTo>
                <a:lnTo>
                  <a:pt x="3796" y="7276"/>
                </a:lnTo>
                <a:lnTo>
                  <a:pt x="3798" y="7282"/>
                </a:lnTo>
                <a:lnTo>
                  <a:pt x="3800" y="7284"/>
                </a:lnTo>
                <a:lnTo>
                  <a:pt x="3804" y="7282"/>
                </a:lnTo>
                <a:lnTo>
                  <a:pt x="3806" y="7280"/>
                </a:lnTo>
                <a:lnTo>
                  <a:pt x="3806" y="7276"/>
                </a:lnTo>
                <a:lnTo>
                  <a:pt x="3802" y="7274"/>
                </a:lnTo>
                <a:lnTo>
                  <a:pt x="3800" y="7272"/>
                </a:lnTo>
                <a:close/>
                <a:moveTo>
                  <a:pt x="3804" y="7324"/>
                </a:moveTo>
                <a:lnTo>
                  <a:pt x="3804" y="7324"/>
                </a:lnTo>
                <a:lnTo>
                  <a:pt x="3800" y="7326"/>
                </a:lnTo>
                <a:lnTo>
                  <a:pt x="3798" y="7330"/>
                </a:lnTo>
                <a:lnTo>
                  <a:pt x="3798" y="7336"/>
                </a:lnTo>
                <a:lnTo>
                  <a:pt x="3800" y="7340"/>
                </a:lnTo>
                <a:lnTo>
                  <a:pt x="3802" y="7342"/>
                </a:lnTo>
                <a:lnTo>
                  <a:pt x="3804" y="7340"/>
                </a:lnTo>
                <a:lnTo>
                  <a:pt x="3804" y="7334"/>
                </a:lnTo>
                <a:lnTo>
                  <a:pt x="3806" y="7328"/>
                </a:lnTo>
                <a:lnTo>
                  <a:pt x="3806" y="7326"/>
                </a:lnTo>
                <a:lnTo>
                  <a:pt x="3804" y="7324"/>
                </a:lnTo>
                <a:close/>
                <a:moveTo>
                  <a:pt x="3774" y="7342"/>
                </a:moveTo>
                <a:lnTo>
                  <a:pt x="3774" y="7342"/>
                </a:lnTo>
                <a:lnTo>
                  <a:pt x="3776" y="7340"/>
                </a:lnTo>
                <a:lnTo>
                  <a:pt x="3780" y="7334"/>
                </a:lnTo>
                <a:lnTo>
                  <a:pt x="3782" y="7332"/>
                </a:lnTo>
                <a:lnTo>
                  <a:pt x="3780" y="7330"/>
                </a:lnTo>
                <a:lnTo>
                  <a:pt x="3776" y="7326"/>
                </a:lnTo>
                <a:lnTo>
                  <a:pt x="3772" y="7326"/>
                </a:lnTo>
                <a:lnTo>
                  <a:pt x="3770" y="7328"/>
                </a:lnTo>
                <a:lnTo>
                  <a:pt x="3770" y="7330"/>
                </a:lnTo>
                <a:lnTo>
                  <a:pt x="3770" y="7332"/>
                </a:lnTo>
                <a:lnTo>
                  <a:pt x="3772" y="7336"/>
                </a:lnTo>
                <a:lnTo>
                  <a:pt x="3772" y="7340"/>
                </a:lnTo>
                <a:lnTo>
                  <a:pt x="3772" y="7342"/>
                </a:lnTo>
                <a:lnTo>
                  <a:pt x="3774" y="7342"/>
                </a:lnTo>
                <a:close/>
                <a:moveTo>
                  <a:pt x="3792" y="7332"/>
                </a:moveTo>
                <a:lnTo>
                  <a:pt x="3792" y="7332"/>
                </a:lnTo>
                <a:lnTo>
                  <a:pt x="3790" y="7332"/>
                </a:lnTo>
                <a:lnTo>
                  <a:pt x="3786" y="7332"/>
                </a:lnTo>
                <a:lnTo>
                  <a:pt x="3786" y="7336"/>
                </a:lnTo>
                <a:lnTo>
                  <a:pt x="3786" y="7338"/>
                </a:lnTo>
                <a:lnTo>
                  <a:pt x="3788" y="7340"/>
                </a:lnTo>
                <a:lnTo>
                  <a:pt x="3792" y="7338"/>
                </a:lnTo>
                <a:lnTo>
                  <a:pt x="3792" y="7336"/>
                </a:lnTo>
                <a:lnTo>
                  <a:pt x="3792" y="7332"/>
                </a:lnTo>
                <a:close/>
                <a:moveTo>
                  <a:pt x="3796" y="7352"/>
                </a:moveTo>
                <a:lnTo>
                  <a:pt x="3796" y="7352"/>
                </a:lnTo>
                <a:lnTo>
                  <a:pt x="3800" y="7348"/>
                </a:lnTo>
                <a:lnTo>
                  <a:pt x="3802" y="7346"/>
                </a:lnTo>
                <a:lnTo>
                  <a:pt x="3800" y="7344"/>
                </a:lnTo>
                <a:lnTo>
                  <a:pt x="3796" y="7344"/>
                </a:lnTo>
                <a:lnTo>
                  <a:pt x="3794" y="7346"/>
                </a:lnTo>
                <a:lnTo>
                  <a:pt x="3792" y="7350"/>
                </a:lnTo>
                <a:lnTo>
                  <a:pt x="3792" y="7354"/>
                </a:lnTo>
                <a:lnTo>
                  <a:pt x="3796" y="7352"/>
                </a:lnTo>
                <a:close/>
                <a:moveTo>
                  <a:pt x="3746" y="7354"/>
                </a:moveTo>
                <a:lnTo>
                  <a:pt x="3746" y="7354"/>
                </a:lnTo>
                <a:lnTo>
                  <a:pt x="3746" y="7356"/>
                </a:lnTo>
                <a:lnTo>
                  <a:pt x="3746" y="7358"/>
                </a:lnTo>
                <a:lnTo>
                  <a:pt x="3744" y="7358"/>
                </a:lnTo>
                <a:lnTo>
                  <a:pt x="3746" y="7360"/>
                </a:lnTo>
                <a:lnTo>
                  <a:pt x="3748" y="7362"/>
                </a:lnTo>
                <a:lnTo>
                  <a:pt x="3750" y="7362"/>
                </a:lnTo>
                <a:lnTo>
                  <a:pt x="3756" y="7358"/>
                </a:lnTo>
                <a:lnTo>
                  <a:pt x="3758" y="7354"/>
                </a:lnTo>
                <a:lnTo>
                  <a:pt x="3758" y="7350"/>
                </a:lnTo>
                <a:lnTo>
                  <a:pt x="3758" y="7348"/>
                </a:lnTo>
                <a:lnTo>
                  <a:pt x="3758" y="7346"/>
                </a:lnTo>
                <a:lnTo>
                  <a:pt x="3754" y="7346"/>
                </a:lnTo>
                <a:lnTo>
                  <a:pt x="3746" y="7348"/>
                </a:lnTo>
                <a:lnTo>
                  <a:pt x="3744" y="7350"/>
                </a:lnTo>
                <a:lnTo>
                  <a:pt x="3746" y="7354"/>
                </a:lnTo>
                <a:close/>
                <a:moveTo>
                  <a:pt x="3772" y="7272"/>
                </a:moveTo>
                <a:lnTo>
                  <a:pt x="3772" y="7272"/>
                </a:lnTo>
                <a:lnTo>
                  <a:pt x="3776" y="7270"/>
                </a:lnTo>
                <a:lnTo>
                  <a:pt x="3778" y="7268"/>
                </a:lnTo>
                <a:lnTo>
                  <a:pt x="3780" y="7266"/>
                </a:lnTo>
                <a:lnTo>
                  <a:pt x="3778" y="7264"/>
                </a:lnTo>
                <a:lnTo>
                  <a:pt x="3776" y="7264"/>
                </a:lnTo>
                <a:lnTo>
                  <a:pt x="3770" y="7266"/>
                </a:lnTo>
                <a:lnTo>
                  <a:pt x="3768" y="7268"/>
                </a:lnTo>
                <a:lnTo>
                  <a:pt x="3768" y="7270"/>
                </a:lnTo>
                <a:lnTo>
                  <a:pt x="3768" y="7272"/>
                </a:lnTo>
                <a:lnTo>
                  <a:pt x="3772" y="7272"/>
                </a:lnTo>
                <a:close/>
                <a:moveTo>
                  <a:pt x="3786" y="7272"/>
                </a:moveTo>
                <a:lnTo>
                  <a:pt x="3786" y="7272"/>
                </a:lnTo>
                <a:lnTo>
                  <a:pt x="3792" y="7272"/>
                </a:lnTo>
                <a:lnTo>
                  <a:pt x="3792" y="7268"/>
                </a:lnTo>
                <a:lnTo>
                  <a:pt x="3790" y="7268"/>
                </a:lnTo>
                <a:lnTo>
                  <a:pt x="3786" y="7268"/>
                </a:lnTo>
                <a:lnTo>
                  <a:pt x="3778" y="7272"/>
                </a:lnTo>
                <a:lnTo>
                  <a:pt x="3786" y="7272"/>
                </a:lnTo>
                <a:close/>
                <a:moveTo>
                  <a:pt x="3786" y="7256"/>
                </a:moveTo>
                <a:lnTo>
                  <a:pt x="3786" y="7256"/>
                </a:lnTo>
                <a:lnTo>
                  <a:pt x="3788" y="7260"/>
                </a:lnTo>
                <a:lnTo>
                  <a:pt x="3790" y="7258"/>
                </a:lnTo>
                <a:lnTo>
                  <a:pt x="3792" y="7256"/>
                </a:lnTo>
                <a:lnTo>
                  <a:pt x="3790" y="7252"/>
                </a:lnTo>
                <a:lnTo>
                  <a:pt x="3786" y="7252"/>
                </a:lnTo>
                <a:lnTo>
                  <a:pt x="3786" y="7256"/>
                </a:lnTo>
                <a:close/>
                <a:moveTo>
                  <a:pt x="3800" y="7238"/>
                </a:moveTo>
                <a:lnTo>
                  <a:pt x="3800" y="7238"/>
                </a:lnTo>
                <a:lnTo>
                  <a:pt x="3800" y="7242"/>
                </a:lnTo>
                <a:lnTo>
                  <a:pt x="3800" y="7244"/>
                </a:lnTo>
                <a:lnTo>
                  <a:pt x="3802" y="7248"/>
                </a:lnTo>
                <a:lnTo>
                  <a:pt x="3804" y="7248"/>
                </a:lnTo>
                <a:lnTo>
                  <a:pt x="3806" y="7246"/>
                </a:lnTo>
                <a:lnTo>
                  <a:pt x="3804" y="7242"/>
                </a:lnTo>
                <a:lnTo>
                  <a:pt x="3802" y="7240"/>
                </a:lnTo>
                <a:lnTo>
                  <a:pt x="3800" y="7238"/>
                </a:lnTo>
                <a:close/>
                <a:moveTo>
                  <a:pt x="3756" y="7220"/>
                </a:moveTo>
                <a:lnTo>
                  <a:pt x="3756" y="7220"/>
                </a:lnTo>
                <a:lnTo>
                  <a:pt x="3758" y="7222"/>
                </a:lnTo>
                <a:lnTo>
                  <a:pt x="3762" y="7220"/>
                </a:lnTo>
                <a:lnTo>
                  <a:pt x="3764" y="7220"/>
                </a:lnTo>
                <a:lnTo>
                  <a:pt x="3762" y="7216"/>
                </a:lnTo>
                <a:lnTo>
                  <a:pt x="3760" y="7216"/>
                </a:lnTo>
                <a:lnTo>
                  <a:pt x="3756" y="7216"/>
                </a:lnTo>
                <a:lnTo>
                  <a:pt x="3754" y="7218"/>
                </a:lnTo>
                <a:lnTo>
                  <a:pt x="3756" y="7220"/>
                </a:lnTo>
                <a:close/>
                <a:moveTo>
                  <a:pt x="3762" y="7342"/>
                </a:moveTo>
                <a:lnTo>
                  <a:pt x="3762" y="7342"/>
                </a:lnTo>
                <a:lnTo>
                  <a:pt x="3766" y="7340"/>
                </a:lnTo>
                <a:lnTo>
                  <a:pt x="3766" y="7338"/>
                </a:lnTo>
                <a:lnTo>
                  <a:pt x="3766" y="7334"/>
                </a:lnTo>
                <a:lnTo>
                  <a:pt x="3764" y="7332"/>
                </a:lnTo>
                <a:lnTo>
                  <a:pt x="3762" y="7334"/>
                </a:lnTo>
                <a:lnTo>
                  <a:pt x="3760" y="7338"/>
                </a:lnTo>
                <a:lnTo>
                  <a:pt x="3760" y="7340"/>
                </a:lnTo>
                <a:lnTo>
                  <a:pt x="3762" y="7342"/>
                </a:lnTo>
                <a:close/>
                <a:moveTo>
                  <a:pt x="3790" y="7328"/>
                </a:moveTo>
                <a:lnTo>
                  <a:pt x="3790" y="7328"/>
                </a:lnTo>
                <a:lnTo>
                  <a:pt x="3792" y="7328"/>
                </a:lnTo>
                <a:lnTo>
                  <a:pt x="3794" y="7326"/>
                </a:lnTo>
                <a:lnTo>
                  <a:pt x="3796" y="7324"/>
                </a:lnTo>
                <a:lnTo>
                  <a:pt x="3794" y="7324"/>
                </a:lnTo>
                <a:lnTo>
                  <a:pt x="3790" y="7322"/>
                </a:lnTo>
                <a:lnTo>
                  <a:pt x="3788" y="7322"/>
                </a:lnTo>
                <a:lnTo>
                  <a:pt x="3786" y="7324"/>
                </a:lnTo>
                <a:lnTo>
                  <a:pt x="3786" y="7328"/>
                </a:lnTo>
                <a:lnTo>
                  <a:pt x="3790" y="7328"/>
                </a:lnTo>
                <a:close/>
                <a:moveTo>
                  <a:pt x="3800" y="7296"/>
                </a:moveTo>
                <a:lnTo>
                  <a:pt x="3800" y="7296"/>
                </a:lnTo>
                <a:lnTo>
                  <a:pt x="3800" y="7294"/>
                </a:lnTo>
                <a:lnTo>
                  <a:pt x="3798" y="7290"/>
                </a:lnTo>
                <a:lnTo>
                  <a:pt x="3796" y="7286"/>
                </a:lnTo>
                <a:lnTo>
                  <a:pt x="3794" y="7286"/>
                </a:lnTo>
                <a:lnTo>
                  <a:pt x="3792" y="7290"/>
                </a:lnTo>
                <a:lnTo>
                  <a:pt x="3794" y="7292"/>
                </a:lnTo>
                <a:lnTo>
                  <a:pt x="3796" y="7296"/>
                </a:lnTo>
                <a:lnTo>
                  <a:pt x="3800" y="7296"/>
                </a:lnTo>
                <a:close/>
                <a:moveTo>
                  <a:pt x="4018" y="7914"/>
                </a:moveTo>
                <a:lnTo>
                  <a:pt x="4018" y="7914"/>
                </a:lnTo>
                <a:lnTo>
                  <a:pt x="4014" y="7912"/>
                </a:lnTo>
                <a:lnTo>
                  <a:pt x="4016" y="7910"/>
                </a:lnTo>
                <a:lnTo>
                  <a:pt x="4020" y="7910"/>
                </a:lnTo>
                <a:lnTo>
                  <a:pt x="4022" y="7908"/>
                </a:lnTo>
                <a:lnTo>
                  <a:pt x="4020" y="7908"/>
                </a:lnTo>
                <a:lnTo>
                  <a:pt x="4016" y="7904"/>
                </a:lnTo>
                <a:lnTo>
                  <a:pt x="4006" y="7904"/>
                </a:lnTo>
                <a:lnTo>
                  <a:pt x="4002" y="7902"/>
                </a:lnTo>
                <a:lnTo>
                  <a:pt x="4010" y="7900"/>
                </a:lnTo>
                <a:lnTo>
                  <a:pt x="4016" y="7898"/>
                </a:lnTo>
                <a:lnTo>
                  <a:pt x="4018" y="7896"/>
                </a:lnTo>
                <a:lnTo>
                  <a:pt x="4016" y="7892"/>
                </a:lnTo>
                <a:lnTo>
                  <a:pt x="4014" y="7890"/>
                </a:lnTo>
                <a:lnTo>
                  <a:pt x="4008" y="7890"/>
                </a:lnTo>
                <a:lnTo>
                  <a:pt x="4002" y="7890"/>
                </a:lnTo>
                <a:lnTo>
                  <a:pt x="3994" y="7892"/>
                </a:lnTo>
                <a:lnTo>
                  <a:pt x="3988" y="7892"/>
                </a:lnTo>
                <a:lnTo>
                  <a:pt x="3982" y="7892"/>
                </a:lnTo>
                <a:lnTo>
                  <a:pt x="3976" y="7894"/>
                </a:lnTo>
                <a:lnTo>
                  <a:pt x="3958" y="7898"/>
                </a:lnTo>
                <a:lnTo>
                  <a:pt x="3952" y="7900"/>
                </a:lnTo>
                <a:lnTo>
                  <a:pt x="3950" y="7900"/>
                </a:lnTo>
                <a:lnTo>
                  <a:pt x="3950" y="7902"/>
                </a:lnTo>
                <a:lnTo>
                  <a:pt x="3960" y="7908"/>
                </a:lnTo>
                <a:lnTo>
                  <a:pt x="3962" y="7908"/>
                </a:lnTo>
                <a:lnTo>
                  <a:pt x="3962" y="7910"/>
                </a:lnTo>
                <a:lnTo>
                  <a:pt x="3960" y="7910"/>
                </a:lnTo>
                <a:lnTo>
                  <a:pt x="3958" y="7912"/>
                </a:lnTo>
                <a:lnTo>
                  <a:pt x="3966" y="7916"/>
                </a:lnTo>
                <a:lnTo>
                  <a:pt x="3972" y="7918"/>
                </a:lnTo>
                <a:lnTo>
                  <a:pt x="3976" y="7920"/>
                </a:lnTo>
                <a:lnTo>
                  <a:pt x="3982" y="7924"/>
                </a:lnTo>
                <a:lnTo>
                  <a:pt x="3986" y="7924"/>
                </a:lnTo>
                <a:lnTo>
                  <a:pt x="3986" y="7922"/>
                </a:lnTo>
                <a:lnTo>
                  <a:pt x="3978" y="7912"/>
                </a:lnTo>
                <a:lnTo>
                  <a:pt x="3976" y="7908"/>
                </a:lnTo>
                <a:lnTo>
                  <a:pt x="3978" y="7906"/>
                </a:lnTo>
                <a:lnTo>
                  <a:pt x="3982" y="7906"/>
                </a:lnTo>
                <a:lnTo>
                  <a:pt x="3986" y="7908"/>
                </a:lnTo>
                <a:lnTo>
                  <a:pt x="3990" y="7908"/>
                </a:lnTo>
                <a:lnTo>
                  <a:pt x="3994" y="7908"/>
                </a:lnTo>
                <a:lnTo>
                  <a:pt x="3996" y="7906"/>
                </a:lnTo>
                <a:lnTo>
                  <a:pt x="3996" y="7908"/>
                </a:lnTo>
                <a:lnTo>
                  <a:pt x="3994" y="7916"/>
                </a:lnTo>
                <a:lnTo>
                  <a:pt x="3994" y="7920"/>
                </a:lnTo>
                <a:lnTo>
                  <a:pt x="3996" y="7922"/>
                </a:lnTo>
                <a:lnTo>
                  <a:pt x="3998" y="7924"/>
                </a:lnTo>
                <a:lnTo>
                  <a:pt x="4000" y="7924"/>
                </a:lnTo>
                <a:lnTo>
                  <a:pt x="4002" y="7922"/>
                </a:lnTo>
                <a:lnTo>
                  <a:pt x="4006" y="7920"/>
                </a:lnTo>
                <a:lnTo>
                  <a:pt x="4008" y="7920"/>
                </a:lnTo>
                <a:lnTo>
                  <a:pt x="4008" y="7922"/>
                </a:lnTo>
                <a:lnTo>
                  <a:pt x="4012" y="7924"/>
                </a:lnTo>
                <a:lnTo>
                  <a:pt x="4014" y="7924"/>
                </a:lnTo>
                <a:lnTo>
                  <a:pt x="4018" y="7924"/>
                </a:lnTo>
                <a:lnTo>
                  <a:pt x="4020" y="7928"/>
                </a:lnTo>
                <a:lnTo>
                  <a:pt x="4020" y="7930"/>
                </a:lnTo>
                <a:lnTo>
                  <a:pt x="4022" y="7930"/>
                </a:lnTo>
                <a:lnTo>
                  <a:pt x="4026" y="7934"/>
                </a:lnTo>
                <a:lnTo>
                  <a:pt x="4028" y="7936"/>
                </a:lnTo>
                <a:lnTo>
                  <a:pt x="4030" y="7934"/>
                </a:lnTo>
                <a:lnTo>
                  <a:pt x="4032" y="7930"/>
                </a:lnTo>
                <a:lnTo>
                  <a:pt x="4030" y="7926"/>
                </a:lnTo>
                <a:lnTo>
                  <a:pt x="4028" y="7924"/>
                </a:lnTo>
                <a:lnTo>
                  <a:pt x="4028" y="7922"/>
                </a:lnTo>
                <a:lnTo>
                  <a:pt x="4026" y="7918"/>
                </a:lnTo>
                <a:lnTo>
                  <a:pt x="4018" y="7914"/>
                </a:lnTo>
                <a:close/>
                <a:moveTo>
                  <a:pt x="3972" y="7890"/>
                </a:moveTo>
                <a:lnTo>
                  <a:pt x="3972" y="7890"/>
                </a:lnTo>
                <a:lnTo>
                  <a:pt x="3980" y="7888"/>
                </a:lnTo>
                <a:lnTo>
                  <a:pt x="3968" y="7886"/>
                </a:lnTo>
                <a:lnTo>
                  <a:pt x="3962" y="7884"/>
                </a:lnTo>
                <a:lnTo>
                  <a:pt x="3956" y="7886"/>
                </a:lnTo>
                <a:lnTo>
                  <a:pt x="3946" y="7888"/>
                </a:lnTo>
                <a:lnTo>
                  <a:pt x="3944" y="7890"/>
                </a:lnTo>
                <a:lnTo>
                  <a:pt x="3944" y="7892"/>
                </a:lnTo>
                <a:lnTo>
                  <a:pt x="3952" y="7894"/>
                </a:lnTo>
                <a:lnTo>
                  <a:pt x="3958" y="7894"/>
                </a:lnTo>
                <a:lnTo>
                  <a:pt x="3972" y="7890"/>
                </a:lnTo>
                <a:close/>
                <a:moveTo>
                  <a:pt x="3932" y="7886"/>
                </a:moveTo>
                <a:lnTo>
                  <a:pt x="3932" y="7886"/>
                </a:lnTo>
                <a:lnTo>
                  <a:pt x="3924" y="7888"/>
                </a:lnTo>
                <a:lnTo>
                  <a:pt x="3922" y="7890"/>
                </a:lnTo>
                <a:lnTo>
                  <a:pt x="3918" y="7890"/>
                </a:lnTo>
                <a:lnTo>
                  <a:pt x="3910" y="7890"/>
                </a:lnTo>
                <a:lnTo>
                  <a:pt x="3910" y="7892"/>
                </a:lnTo>
                <a:lnTo>
                  <a:pt x="3910" y="7894"/>
                </a:lnTo>
                <a:lnTo>
                  <a:pt x="3912" y="7896"/>
                </a:lnTo>
                <a:lnTo>
                  <a:pt x="3914" y="7898"/>
                </a:lnTo>
                <a:lnTo>
                  <a:pt x="3924" y="7898"/>
                </a:lnTo>
                <a:lnTo>
                  <a:pt x="3928" y="7900"/>
                </a:lnTo>
                <a:lnTo>
                  <a:pt x="3928" y="7904"/>
                </a:lnTo>
                <a:lnTo>
                  <a:pt x="3928" y="7906"/>
                </a:lnTo>
                <a:lnTo>
                  <a:pt x="3934" y="7904"/>
                </a:lnTo>
                <a:lnTo>
                  <a:pt x="3938" y="7902"/>
                </a:lnTo>
                <a:lnTo>
                  <a:pt x="3938" y="7898"/>
                </a:lnTo>
                <a:lnTo>
                  <a:pt x="3938" y="7896"/>
                </a:lnTo>
                <a:lnTo>
                  <a:pt x="3934" y="7894"/>
                </a:lnTo>
                <a:lnTo>
                  <a:pt x="3928" y="7894"/>
                </a:lnTo>
                <a:lnTo>
                  <a:pt x="3930" y="7892"/>
                </a:lnTo>
                <a:lnTo>
                  <a:pt x="3934" y="7892"/>
                </a:lnTo>
                <a:lnTo>
                  <a:pt x="3940" y="7890"/>
                </a:lnTo>
                <a:lnTo>
                  <a:pt x="3940" y="7888"/>
                </a:lnTo>
                <a:lnTo>
                  <a:pt x="3938" y="7886"/>
                </a:lnTo>
                <a:lnTo>
                  <a:pt x="3932" y="7886"/>
                </a:lnTo>
                <a:close/>
                <a:moveTo>
                  <a:pt x="3908" y="7882"/>
                </a:moveTo>
                <a:lnTo>
                  <a:pt x="3908" y="7882"/>
                </a:lnTo>
                <a:lnTo>
                  <a:pt x="3902" y="7880"/>
                </a:lnTo>
                <a:lnTo>
                  <a:pt x="3898" y="7880"/>
                </a:lnTo>
                <a:lnTo>
                  <a:pt x="3894" y="7882"/>
                </a:lnTo>
                <a:lnTo>
                  <a:pt x="3892" y="7884"/>
                </a:lnTo>
                <a:lnTo>
                  <a:pt x="3892" y="7886"/>
                </a:lnTo>
                <a:lnTo>
                  <a:pt x="3894" y="7886"/>
                </a:lnTo>
                <a:lnTo>
                  <a:pt x="3898" y="7886"/>
                </a:lnTo>
                <a:lnTo>
                  <a:pt x="3902" y="7884"/>
                </a:lnTo>
                <a:lnTo>
                  <a:pt x="3904" y="7884"/>
                </a:lnTo>
                <a:lnTo>
                  <a:pt x="3906" y="7886"/>
                </a:lnTo>
                <a:lnTo>
                  <a:pt x="3910" y="7886"/>
                </a:lnTo>
                <a:lnTo>
                  <a:pt x="3912" y="7886"/>
                </a:lnTo>
                <a:lnTo>
                  <a:pt x="3912" y="7884"/>
                </a:lnTo>
                <a:lnTo>
                  <a:pt x="3910" y="7882"/>
                </a:lnTo>
                <a:lnTo>
                  <a:pt x="3908" y="7882"/>
                </a:lnTo>
                <a:close/>
                <a:moveTo>
                  <a:pt x="4038" y="7944"/>
                </a:moveTo>
                <a:lnTo>
                  <a:pt x="4038" y="7944"/>
                </a:lnTo>
                <a:lnTo>
                  <a:pt x="4040" y="7946"/>
                </a:lnTo>
                <a:lnTo>
                  <a:pt x="4046" y="7946"/>
                </a:lnTo>
                <a:lnTo>
                  <a:pt x="4050" y="7944"/>
                </a:lnTo>
                <a:lnTo>
                  <a:pt x="4052" y="7942"/>
                </a:lnTo>
                <a:lnTo>
                  <a:pt x="4048" y="7940"/>
                </a:lnTo>
                <a:lnTo>
                  <a:pt x="4044" y="7940"/>
                </a:lnTo>
                <a:lnTo>
                  <a:pt x="4038" y="7942"/>
                </a:lnTo>
                <a:lnTo>
                  <a:pt x="4038" y="7944"/>
                </a:lnTo>
                <a:close/>
                <a:moveTo>
                  <a:pt x="4056" y="7930"/>
                </a:moveTo>
                <a:lnTo>
                  <a:pt x="4056" y="7930"/>
                </a:lnTo>
                <a:lnTo>
                  <a:pt x="4054" y="7932"/>
                </a:lnTo>
                <a:lnTo>
                  <a:pt x="4052" y="7932"/>
                </a:lnTo>
                <a:lnTo>
                  <a:pt x="4050" y="7934"/>
                </a:lnTo>
                <a:lnTo>
                  <a:pt x="4050" y="7936"/>
                </a:lnTo>
                <a:lnTo>
                  <a:pt x="4056" y="7940"/>
                </a:lnTo>
                <a:lnTo>
                  <a:pt x="4060" y="7940"/>
                </a:lnTo>
                <a:lnTo>
                  <a:pt x="4060" y="7938"/>
                </a:lnTo>
                <a:lnTo>
                  <a:pt x="4058" y="7932"/>
                </a:lnTo>
                <a:lnTo>
                  <a:pt x="4056" y="7928"/>
                </a:lnTo>
                <a:lnTo>
                  <a:pt x="4056" y="7930"/>
                </a:lnTo>
                <a:close/>
                <a:moveTo>
                  <a:pt x="3872" y="7846"/>
                </a:moveTo>
                <a:lnTo>
                  <a:pt x="3872" y="7846"/>
                </a:lnTo>
                <a:lnTo>
                  <a:pt x="3872" y="7850"/>
                </a:lnTo>
                <a:lnTo>
                  <a:pt x="3874" y="7850"/>
                </a:lnTo>
                <a:lnTo>
                  <a:pt x="3876" y="7850"/>
                </a:lnTo>
                <a:lnTo>
                  <a:pt x="3876" y="7848"/>
                </a:lnTo>
                <a:lnTo>
                  <a:pt x="3876" y="7846"/>
                </a:lnTo>
                <a:lnTo>
                  <a:pt x="3878" y="7844"/>
                </a:lnTo>
                <a:lnTo>
                  <a:pt x="3880" y="7844"/>
                </a:lnTo>
                <a:lnTo>
                  <a:pt x="3880" y="7840"/>
                </a:lnTo>
                <a:lnTo>
                  <a:pt x="3882" y="7838"/>
                </a:lnTo>
                <a:lnTo>
                  <a:pt x="3882" y="7836"/>
                </a:lnTo>
                <a:lnTo>
                  <a:pt x="3882" y="7834"/>
                </a:lnTo>
                <a:lnTo>
                  <a:pt x="3882" y="7832"/>
                </a:lnTo>
                <a:lnTo>
                  <a:pt x="3882" y="7828"/>
                </a:lnTo>
                <a:lnTo>
                  <a:pt x="3884" y="7826"/>
                </a:lnTo>
                <a:lnTo>
                  <a:pt x="3880" y="7824"/>
                </a:lnTo>
                <a:lnTo>
                  <a:pt x="3874" y="7822"/>
                </a:lnTo>
                <a:lnTo>
                  <a:pt x="3872" y="7822"/>
                </a:lnTo>
                <a:lnTo>
                  <a:pt x="3870" y="7824"/>
                </a:lnTo>
                <a:lnTo>
                  <a:pt x="3868" y="7826"/>
                </a:lnTo>
                <a:lnTo>
                  <a:pt x="3866" y="7826"/>
                </a:lnTo>
                <a:lnTo>
                  <a:pt x="3864" y="7824"/>
                </a:lnTo>
                <a:lnTo>
                  <a:pt x="3860" y="7824"/>
                </a:lnTo>
                <a:lnTo>
                  <a:pt x="3860" y="7826"/>
                </a:lnTo>
                <a:lnTo>
                  <a:pt x="3860" y="7828"/>
                </a:lnTo>
                <a:lnTo>
                  <a:pt x="3864" y="7836"/>
                </a:lnTo>
                <a:lnTo>
                  <a:pt x="3872" y="7840"/>
                </a:lnTo>
                <a:lnTo>
                  <a:pt x="3874" y="7842"/>
                </a:lnTo>
                <a:lnTo>
                  <a:pt x="3872" y="7846"/>
                </a:lnTo>
                <a:close/>
                <a:moveTo>
                  <a:pt x="3834" y="7700"/>
                </a:moveTo>
                <a:lnTo>
                  <a:pt x="3834" y="7700"/>
                </a:lnTo>
                <a:lnTo>
                  <a:pt x="3828" y="7706"/>
                </a:lnTo>
                <a:lnTo>
                  <a:pt x="3826" y="7708"/>
                </a:lnTo>
                <a:lnTo>
                  <a:pt x="3826" y="7710"/>
                </a:lnTo>
                <a:lnTo>
                  <a:pt x="3828" y="7710"/>
                </a:lnTo>
                <a:lnTo>
                  <a:pt x="3830" y="7710"/>
                </a:lnTo>
                <a:lnTo>
                  <a:pt x="3834" y="7706"/>
                </a:lnTo>
                <a:lnTo>
                  <a:pt x="3836" y="7702"/>
                </a:lnTo>
                <a:lnTo>
                  <a:pt x="3834" y="7700"/>
                </a:lnTo>
                <a:close/>
                <a:moveTo>
                  <a:pt x="3852" y="7832"/>
                </a:moveTo>
                <a:lnTo>
                  <a:pt x="3852" y="7832"/>
                </a:lnTo>
                <a:lnTo>
                  <a:pt x="3854" y="7834"/>
                </a:lnTo>
                <a:lnTo>
                  <a:pt x="3856" y="7834"/>
                </a:lnTo>
                <a:lnTo>
                  <a:pt x="3854" y="7828"/>
                </a:lnTo>
                <a:lnTo>
                  <a:pt x="3854" y="7826"/>
                </a:lnTo>
                <a:lnTo>
                  <a:pt x="3856" y="7824"/>
                </a:lnTo>
                <a:lnTo>
                  <a:pt x="3858" y="7822"/>
                </a:lnTo>
                <a:lnTo>
                  <a:pt x="3862" y="7820"/>
                </a:lnTo>
                <a:lnTo>
                  <a:pt x="3864" y="7818"/>
                </a:lnTo>
                <a:lnTo>
                  <a:pt x="3862" y="7816"/>
                </a:lnTo>
                <a:lnTo>
                  <a:pt x="3860" y="7814"/>
                </a:lnTo>
                <a:lnTo>
                  <a:pt x="3856" y="7812"/>
                </a:lnTo>
                <a:lnTo>
                  <a:pt x="3854" y="7812"/>
                </a:lnTo>
                <a:lnTo>
                  <a:pt x="3852" y="7808"/>
                </a:lnTo>
                <a:lnTo>
                  <a:pt x="3852" y="7806"/>
                </a:lnTo>
                <a:lnTo>
                  <a:pt x="3848" y="7804"/>
                </a:lnTo>
                <a:lnTo>
                  <a:pt x="3846" y="7802"/>
                </a:lnTo>
                <a:lnTo>
                  <a:pt x="3842" y="7802"/>
                </a:lnTo>
                <a:lnTo>
                  <a:pt x="3840" y="7804"/>
                </a:lnTo>
                <a:lnTo>
                  <a:pt x="3840" y="7802"/>
                </a:lnTo>
                <a:lnTo>
                  <a:pt x="3838" y="7800"/>
                </a:lnTo>
                <a:lnTo>
                  <a:pt x="3836" y="7802"/>
                </a:lnTo>
                <a:lnTo>
                  <a:pt x="3834" y="7804"/>
                </a:lnTo>
                <a:lnTo>
                  <a:pt x="3834" y="7802"/>
                </a:lnTo>
                <a:lnTo>
                  <a:pt x="3834" y="7798"/>
                </a:lnTo>
                <a:lnTo>
                  <a:pt x="3830" y="7794"/>
                </a:lnTo>
                <a:lnTo>
                  <a:pt x="3826" y="7792"/>
                </a:lnTo>
                <a:lnTo>
                  <a:pt x="3824" y="7796"/>
                </a:lnTo>
                <a:lnTo>
                  <a:pt x="3824" y="7798"/>
                </a:lnTo>
                <a:lnTo>
                  <a:pt x="3818" y="7798"/>
                </a:lnTo>
                <a:lnTo>
                  <a:pt x="3816" y="7796"/>
                </a:lnTo>
                <a:lnTo>
                  <a:pt x="3814" y="7798"/>
                </a:lnTo>
                <a:lnTo>
                  <a:pt x="3816" y="7802"/>
                </a:lnTo>
                <a:lnTo>
                  <a:pt x="3818" y="7804"/>
                </a:lnTo>
                <a:lnTo>
                  <a:pt x="3818" y="7806"/>
                </a:lnTo>
                <a:lnTo>
                  <a:pt x="3816" y="7806"/>
                </a:lnTo>
                <a:lnTo>
                  <a:pt x="3810" y="7804"/>
                </a:lnTo>
                <a:lnTo>
                  <a:pt x="3808" y="7804"/>
                </a:lnTo>
                <a:lnTo>
                  <a:pt x="3804" y="7808"/>
                </a:lnTo>
                <a:lnTo>
                  <a:pt x="3804" y="7810"/>
                </a:lnTo>
                <a:lnTo>
                  <a:pt x="3806" y="7810"/>
                </a:lnTo>
                <a:lnTo>
                  <a:pt x="3808" y="7812"/>
                </a:lnTo>
                <a:lnTo>
                  <a:pt x="3808" y="7814"/>
                </a:lnTo>
                <a:lnTo>
                  <a:pt x="3808" y="7816"/>
                </a:lnTo>
                <a:lnTo>
                  <a:pt x="3812" y="7814"/>
                </a:lnTo>
                <a:lnTo>
                  <a:pt x="3816" y="7814"/>
                </a:lnTo>
                <a:lnTo>
                  <a:pt x="3818" y="7814"/>
                </a:lnTo>
                <a:lnTo>
                  <a:pt x="3818" y="7818"/>
                </a:lnTo>
                <a:lnTo>
                  <a:pt x="3818" y="7824"/>
                </a:lnTo>
                <a:lnTo>
                  <a:pt x="3820" y="7828"/>
                </a:lnTo>
                <a:lnTo>
                  <a:pt x="3824" y="7830"/>
                </a:lnTo>
                <a:lnTo>
                  <a:pt x="3826" y="7832"/>
                </a:lnTo>
                <a:lnTo>
                  <a:pt x="3828" y="7830"/>
                </a:lnTo>
                <a:lnTo>
                  <a:pt x="3828" y="7826"/>
                </a:lnTo>
                <a:lnTo>
                  <a:pt x="3828" y="7822"/>
                </a:lnTo>
                <a:lnTo>
                  <a:pt x="3828" y="7820"/>
                </a:lnTo>
                <a:lnTo>
                  <a:pt x="3830" y="7822"/>
                </a:lnTo>
                <a:lnTo>
                  <a:pt x="3834" y="7822"/>
                </a:lnTo>
                <a:lnTo>
                  <a:pt x="3836" y="7822"/>
                </a:lnTo>
                <a:lnTo>
                  <a:pt x="3838" y="7822"/>
                </a:lnTo>
                <a:lnTo>
                  <a:pt x="3838" y="7826"/>
                </a:lnTo>
                <a:lnTo>
                  <a:pt x="3836" y="7830"/>
                </a:lnTo>
                <a:lnTo>
                  <a:pt x="3832" y="7834"/>
                </a:lnTo>
                <a:lnTo>
                  <a:pt x="3830" y="7836"/>
                </a:lnTo>
                <a:lnTo>
                  <a:pt x="3834" y="7838"/>
                </a:lnTo>
                <a:lnTo>
                  <a:pt x="3838" y="7838"/>
                </a:lnTo>
                <a:lnTo>
                  <a:pt x="3842" y="7836"/>
                </a:lnTo>
                <a:lnTo>
                  <a:pt x="3844" y="7834"/>
                </a:lnTo>
                <a:lnTo>
                  <a:pt x="3846" y="7834"/>
                </a:lnTo>
                <a:lnTo>
                  <a:pt x="3848" y="7834"/>
                </a:lnTo>
                <a:lnTo>
                  <a:pt x="3848" y="7832"/>
                </a:lnTo>
                <a:lnTo>
                  <a:pt x="3850" y="7832"/>
                </a:lnTo>
                <a:lnTo>
                  <a:pt x="3852" y="7832"/>
                </a:lnTo>
                <a:close/>
                <a:moveTo>
                  <a:pt x="3856" y="7838"/>
                </a:moveTo>
                <a:lnTo>
                  <a:pt x="3856" y="7838"/>
                </a:lnTo>
                <a:lnTo>
                  <a:pt x="3854" y="7840"/>
                </a:lnTo>
                <a:lnTo>
                  <a:pt x="3850" y="7842"/>
                </a:lnTo>
                <a:lnTo>
                  <a:pt x="3850" y="7846"/>
                </a:lnTo>
                <a:lnTo>
                  <a:pt x="3852" y="7846"/>
                </a:lnTo>
                <a:lnTo>
                  <a:pt x="3854" y="7846"/>
                </a:lnTo>
                <a:lnTo>
                  <a:pt x="3860" y="7842"/>
                </a:lnTo>
                <a:lnTo>
                  <a:pt x="3860" y="7838"/>
                </a:lnTo>
                <a:lnTo>
                  <a:pt x="3860" y="7836"/>
                </a:lnTo>
                <a:lnTo>
                  <a:pt x="3858" y="7836"/>
                </a:lnTo>
                <a:lnTo>
                  <a:pt x="3856" y="7838"/>
                </a:lnTo>
                <a:close/>
                <a:moveTo>
                  <a:pt x="3780" y="7788"/>
                </a:moveTo>
                <a:lnTo>
                  <a:pt x="3780" y="7788"/>
                </a:lnTo>
                <a:lnTo>
                  <a:pt x="3782" y="7788"/>
                </a:lnTo>
                <a:lnTo>
                  <a:pt x="3786" y="7788"/>
                </a:lnTo>
                <a:lnTo>
                  <a:pt x="3786" y="7784"/>
                </a:lnTo>
                <a:lnTo>
                  <a:pt x="3786" y="7782"/>
                </a:lnTo>
                <a:lnTo>
                  <a:pt x="3784" y="7782"/>
                </a:lnTo>
                <a:lnTo>
                  <a:pt x="3782" y="7784"/>
                </a:lnTo>
                <a:lnTo>
                  <a:pt x="3780" y="7786"/>
                </a:lnTo>
                <a:lnTo>
                  <a:pt x="3780" y="7788"/>
                </a:lnTo>
                <a:close/>
                <a:moveTo>
                  <a:pt x="3800" y="7744"/>
                </a:moveTo>
                <a:lnTo>
                  <a:pt x="3800" y="7744"/>
                </a:lnTo>
                <a:lnTo>
                  <a:pt x="3800" y="7742"/>
                </a:lnTo>
                <a:lnTo>
                  <a:pt x="3802" y="7740"/>
                </a:lnTo>
                <a:lnTo>
                  <a:pt x="3802" y="7738"/>
                </a:lnTo>
                <a:lnTo>
                  <a:pt x="3802" y="7734"/>
                </a:lnTo>
                <a:lnTo>
                  <a:pt x="3800" y="7732"/>
                </a:lnTo>
                <a:lnTo>
                  <a:pt x="3798" y="7732"/>
                </a:lnTo>
                <a:lnTo>
                  <a:pt x="3790" y="7740"/>
                </a:lnTo>
                <a:lnTo>
                  <a:pt x="3788" y="7742"/>
                </a:lnTo>
                <a:lnTo>
                  <a:pt x="3788" y="7744"/>
                </a:lnTo>
                <a:lnTo>
                  <a:pt x="3792" y="7752"/>
                </a:lnTo>
                <a:lnTo>
                  <a:pt x="3794" y="7752"/>
                </a:lnTo>
                <a:lnTo>
                  <a:pt x="3796" y="7752"/>
                </a:lnTo>
                <a:lnTo>
                  <a:pt x="3798" y="7748"/>
                </a:lnTo>
                <a:lnTo>
                  <a:pt x="3800" y="7744"/>
                </a:lnTo>
                <a:close/>
                <a:moveTo>
                  <a:pt x="3808" y="7788"/>
                </a:moveTo>
                <a:lnTo>
                  <a:pt x="3808" y="7788"/>
                </a:lnTo>
                <a:lnTo>
                  <a:pt x="3810" y="7790"/>
                </a:lnTo>
                <a:lnTo>
                  <a:pt x="3812" y="7788"/>
                </a:lnTo>
                <a:lnTo>
                  <a:pt x="3814" y="7788"/>
                </a:lnTo>
                <a:lnTo>
                  <a:pt x="3818" y="7790"/>
                </a:lnTo>
                <a:lnTo>
                  <a:pt x="3822" y="7792"/>
                </a:lnTo>
                <a:lnTo>
                  <a:pt x="3824" y="7790"/>
                </a:lnTo>
                <a:lnTo>
                  <a:pt x="3820" y="7786"/>
                </a:lnTo>
                <a:lnTo>
                  <a:pt x="3814" y="7780"/>
                </a:lnTo>
                <a:lnTo>
                  <a:pt x="3812" y="7778"/>
                </a:lnTo>
                <a:lnTo>
                  <a:pt x="3810" y="7778"/>
                </a:lnTo>
                <a:lnTo>
                  <a:pt x="3808" y="7776"/>
                </a:lnTo>
                <a:lnTo>
                  <a:pt x="3806" y="7774"/>
                </a:lnTo>
                <a:lnTo>
                  <a:pt x="3804" y="7772"/>
                </a:lnTo>
                <a:lnTo>
                  <a:pt x="3804" y="7774"/>
                </a:lnTo>
                <a:lnTo>
                  <a:pt x="3802" y="7774"/>
                </a:lnTo>
                <a:lnTo>
                  <a:pt x="3800" y="7774"/>
                </a:lnTo>
                <a:lnTo>
                  <a:pt x="3792" y="7768"/>
                </a:lnTo>
                <a:lnTo>
                  <a:pt x="3780" y="7764"/>
                </a:lnTo>
                <a:lnTo>
                  <a:pt x="3776" y="7762"/>
                </a:lnTo>
                <a:lnTo>
                  <a:pt x="3770" y="7758"/>
                </a:lnTo>
                <a:lnTo>
                  <a:pt x="3764" y="7754"/>
                </a:lnTo>
                <a:lnTo>
                  <a:pt x="3760" y="7752"/>
                </a:lnTo>
                <a:lnTo>
                  <a:pt x="3762" y="7756"/>
                </a:lnTo>
                <a:lnTo>
                  <a:pt x="3766" y="7760"/>
                </a:lnTo>
                <a:lnTo>
                  <a:pt x="3766" y="7762"/>
                </a:lnTo>
                <a:lnTo>
                  <a:pt x="3766" y="7764"/>
                </a:lnTo>
                <a:lnTo>
                  <a:pt x="3768" y="7766"/>
                </a:lnTo>
                <a:lnTo>
                  <a:pt x="3772" y="7768"/>
                </a:lnTo>
                <a:lnTo>
                  <a:pt x="3774" y="7770"/>
                </a:lnTo>
                <a:lnTo>
                  <a:pt x="3778" y="7772"/>
                </a:lnTo>
                <a:lnTo>
                  <a:pt x="3784" y="7774"/>
                </a:lnTo>
                <a:lnTo>
                  <a:pt x="3790" y="7776"/>
                </a:lnTo>
                <a:lnTo>
                  <a:pt x="3792" y="7778"/>
                </a:lnTo>
                <a:lnTo>
                  <a:pt x="3796" y="7780"/>
                </a:lnTo>
                <a:lnTo>
                  <a:pt x="3798" y="7782"/>
                </a:lnTo>
                <a:lnTo>
                  <a:pt x="3800" y="7782"/>
                </a:lnTo>
                <a:lnTo>
                  <a:pt x="3800" y="7780"/>
                </a:lnTo>
                <a:lnTo>
                  <a:pt x="3804" y="7782"/>
                </a:lnTo>
                <a:lnTo>
                  <a:pt x="3806" y="7784"/>
                </a:lnTo>
                <a:lnTo>
                  <a:pt x="3806" y="7786"/>
                </a:lnTo>
                <a:lnTo>
                  <a:pt x="3806" y="7788"/>
                </a:lnTo>
                <a:lnTo>
                  <a:pt x="3808" y="7788"/>
                </a:lnTo>
                <a:close/>
                <a:moveTo>
                  <a:pt x="3790" y="7696"/>
                </a:moveTo>
                <a:lnTo>
                  <a:pt x="3790" y="7696"/>
                </a:lnTo>
                <a:lnTo>
                  <a:pt x="3790" y="7694"/>
                </a:lnTo>
                <a:lnTo>
                  <a:pt x="3790" y="7690"/>
                </a:lnTo>
                <a:lnTo>
                  <a:pt x="3786" y="7680"/>
                </a:lnTo>
                <a:lnTo>
                  <a:pt x="3784" y="7682"/>
                </a:lnTo>
                <a:lnTo>
                  <a:pt x="3784" y="7686"/>
                </a:lnTo>
                <a:lnTo>
                  <a:pt x="3782" y="7688"/>
                </a:lnTo>
                <a:lnTo>
                  <a:pt x="3780" y="7692"/>
                </a:lnTo>
                <a:lnTo>
                  <a:pt x="3784" y="7694"/>
                </a:lnTo>
                <a:lnTo>
                  <a:pt x="3786" y="7696"/>
                </a:lnTo>
                <a:lnTo>
                  <a:pt x="3790" y="7696"/>
                </a:lnTo>
                <a:close/>
                <a:moveTo>
                  <a:pt x="3758" y="7690"/>
                </a:moveTo>
                <a:lnTo>
                  <a:pt x="3758" y="7690"/>
                </a:lnTo>
                <a:lnTo>
                  <a:pt x="3756" y="7686"/>
                </a:lnTo>
                <a:lnTo>
                  <a:pt x="3754" y="7688"/>
                </a:lnTo>
                <a:lnTo>
                  <a:pt x="3754" y="7692"/>
                </a:lnTo>
                <a:lnTo>
                  <a:pt x="3754" y="7696"/>
                </a:lnTo>
                <a:lnTo>
                  <a:pt x="3750" y="7692"/>
                </a:lnTo>
                <a:lnTo>
                  <a:pt x="3750" y="7690"/>
                </a:lnTo>
                <a:lnTo>
                  <a:pt x="3748" y="7690"/>
                </a:lnTo>
                <a:lnTo>
                  <a:pt x="3746" y="7694"/>
                </a:lnTo>
                <a:lnTo>
                  <a:pt x="3746" y="7698"/>
                </a:lnTo>
                <a:lnTo>
                  <a:pt x="3746" y="7702"/>
                </a:lnTo>
                <a:lnTo>
                  <a:pt x="3748" y="7704"/>
                </a:lnTo>
                <a:lnTo>
                  <a:pt x="3748" y="7706"/>
                </a:lnTo>
                <a:lnTo>
                  <a:pt x="3746" y="7708"/>
                </a:lnTo>
                <a:lnTo>
                  <a:pt x="3748" y="7712"/>
                </a:lnTo>
                <a:lnTo>
                  <a:pt x="3750" y="7714"/>
                </a:lnTo>
                <a:lnTo>
                  <a:pt x="3750" y="7716"/>
                </a:lnTo>
                <a:lnTo>
                  <a:pt x="3754" y="7708"/>
                </a:lnTo>
                <a:lnTo>
                  <a:pt x="3758" y="7698"/>
                </a:lnTo>
                <a:lnTo>
                  <a:pt x="3758" y="7694"/>
                </a:lnTo>
                <a:lnTo>
                  <a:pt x="3758" y="7690"/>
                </a:lnTo>
                <a:close/>
                <a:moveTo>
                  <a:pt x="3778" y="7704"/>
                </a:moveTo>
                <a:lnTo>
                  <a:pt x="3778" y="7704"/>
                </a:lnTo>
                <a:lnTo>
                  <a:pt x="3782" y="7704"/>
                </a:lnTo>
                <a:lnTo>
                  <a:pt x="3782" y="7702"/>
                </a:lnTo>
                <a:lnTo>
                  <a:pt x="3782" y="7700"/>
                </a:lnTo>
                <a:lnTo>
                  <a:pt x="3778" y="7694"/>
                </a:lnTo>
                <a:lnTo>
                  <a:pt x="3774" y="7692"/>
                </a:lnTo>
                <a:lnTo>
                  <a:pt x="3772" y="7690"/>
                </a:lnTo>
                <a:lnTo>
                  <a:pt x="3770" y="7692"/>
                </a:lnTo>
                <a:lnTo>
                  <a:pt x="3772" y="7694"/>
                </a:lnTo>
                <a:lnTo>
                  <a:pt x="3772" y="7696"/>
                </a:lnTo>
                <a:lnTo>
                  <a:pt x="3772" y="7698"/>
                </a:lnTo>
                <a:lnTo>
                  <a:pt x="3774" y="7700"/>
                </a:lnTo>
                <a:lnTo>
                  <a:pt x="3778" y="7704"/>
                </a:lnTo>
                <a:close/>
                <a:moveTo>
                  <a:pt x="3786" y="7706"/>
                </a:moveTo>
                <a:lnTo>
                  <a:pt x="3786" y="7706"/>
                </a:lnTo>
                <a:lnTo>
                  <a:pt x="3786" y="7708"/>
                </a:lnTo>
                <a:lnTo>
                  <a:pt x="3788" y="7710"/>
                </a:lnTo>
                <a:lnTo>
                  <a:pt x="3796" y="7716"/>
                </a:lnTo>
                <a:lnTo>
                  <a:pt x="3800" y="7722"/>
                </a:lnTo>
                <a:lnTo>
                  <a:pt x="3802" y="7720"/>
                </a:lnTo>
                <a:lnTo>
                  <a:pt x="3798" y="7714"/>
                </a:lnTo>
                <a:lnTo>
                  <a:pt x="3792" y="7706"/>
                </a:lnTo>
                <a:lnTo>
                  <a:pt x="3788" y="7704"/>
                </a:lnTo>
                <a:lnTo>
                  <a:pt x="3786" y="7706"/>
                </a:lnTo>
                <a:close/>
                <a:moveTo>
                  <a:pt x="3782" y="7732"/>
                </a:moveTo>
                <a:lnTo>
                  <a:pt x="3782" y="7732"/>
                </a:lnTo>
                <a:lnTo>
                  <a:pt x="3784" y="7732"/>
                </a:lnTo>
                <a:lnTo>
                  <a:pt x="3786" y="7732"/>
                </a:lnTo>
                <a:lnTo>
                  <a:pt x="3792" y="7728"/>
                </a:lnTo>
                <a:lnTo>
                  <a:pt x="3794" y="7726"/>
                </a:lnTo>
                <a:lnTo>
                  <a:pt x="3792" y="7724"/>
                </a:lnTo>
                <a:lnTo>
                  <a:pt x="3782" y="7718"/>
                </a:lnTo>
                <a:lnTo>
                  <a:pt x="3778" y="7714"/>
                </a:lnTo>
                <a:lnTo>
                  <a:pt x="3774" y="7714"/>
                </a:lnTo>
                <a:lnTo>
                  <a:pt x="3772" y="7714"/>
                </a:lnTo>
                <a:lnTo>
                  <a:pt x="3774" y="7718"/>
                </a:lnTo>
                <a:lnTo>
                  <a:pt x="3776" y="7718"/>
                </a:lnTo>
                <a:lnTo>
                  <a:pt x="3778" y="7718"/>
                </a:lnTo>
                <a:lnTo>
                  <a:pt x="3780" y="7720"/>
                </a:lnTo>
                <a:lnTo>
                  <a:pt x="3782" y="7722"/>
                </a:lnTo>
                <a:lnTo>
                  <a:pt x="3780" y="7724"/>
                </a:lnTo>
                <a:lnTo>
                  <a:pt x="3780" y="7726"/>
                </a:lnTo>
                <a:lnTo>
                  <a:pt x="3782" y="7732"/>
                </a:lnTo>
                <a:close/>
                <a:moveTo>
                  <a:pt x="3760" y="7702"/>
                </a:moveTo>
                <a:lnTo>
                  <a:pt x="3760" y="7702"/>
                </a:lnTo>
                <a:lnTo>
                  <a:pt x="3756" y="7712"/>
                </a:lnTo>
                <a:lnTo>
                  <a:pt x="3756" y="7716"/>
                </a:lnTo>
                <a:lnTo>
                  <a:pt x="3758" y="7714"/>
                </a:lnTo>
                <a:lnTo>
                  <a:pt x="3760" y="7710"/>
                </a:lnTo>
                <a:lnTo>
                  <a:pt x="3764" y="7704"/>
                </a:lnTo>
                <a:lnTo>
                  <a:pt x="3764" y="7700"/>
                </a:lnTo>
                <a:lnTo>
                  <a:pt x="3764" y="7698"/>
                </a:lnTo>
                <a:lnTo>
                  <a:pt x="3762" y="7698"/>
                </a:lnTo>
                <a:lnTo>
                  <a:pt x="3760" y="7702"/>
                </a:lnTo>
                <a:close/>
                <a:moveTo>
                  <a:pt x="3764" y="7720"/>
                </a:moveTo>
                <a:lnTo>
                  <a:pt x="3764" y="7720"/>
                </a:lnTo>
                <a:lnTo>
                  <a:pt x="3756" y="7720"/>
                </a:lnTo>
                <a:lnTo>
                  <a:pt x="3754" y="7720"/>
                </a:lnTo>
                <a:lnTo>
                  <a:pt x="3752" y="7722"/>
                </a:lnTo>
                <a:lnTo>
                  <a:pt x="3754" y="7724"/>
                </a:lnTo>
                <a:lnTo>
                  <a:pt x="3758" y="7726"/>
                </a:lnTo>
                <a:lnTo>
                  <a:pt x="3762" y="7726"/>
                </a:lnTo>
                <a:lnTo>
                  <a:pt x="3764" y="7724"/>
                </a:lnTo>
                <a:lnTo>
                  <a:pt x="3766" y="7722"/>
                </a:lnTo>
                <a:lnTo>
                  <a:pt x="3764" y="7720"/>
                </a:lnTo>
                <a:close/>
                <a:moveTo>
                  <a:pt x="3744" y="7666"/>
                </a:moveTo>
                <a:lnTo>
                  <a:pt x="3744" y="7666"/>
                </a:lnTo>
                <a:lnTo>
                  <a:pt x="3742" y="7666"/>
                </a:lnTo>
                <a:lnTo>
                  <a:pt x="3740" y="7668"/>
                </a:lnTo>
                <a:lnTo>
                  <a:pt x="3740" y="7676"/>
                </a:lnTo>
                <a:lnTo>
                  <a:pt x="3736" y="7682"/>
                </a:lnTo>
                <a:lnTo>
                  <a:pt x="3736" y="7686"/>
                </a:lnTo>
                <a:lnTo>
                  <a:pt x="3740" y="7686"/>
                </a:lnTo>
                <a:lnTo>
                  <a:pt x="3742" y="7684"/>
                </a:lnTo>
                <a:lnTo>
                  <a:pt x="3744" y="7682"/>
                </a:lnTo>
                <a:lnTo>
                  <a:pt x="3744" y="7678"/>
                </a:lnTo>
                <a:lnTo>
                  <a:pt x="3746" y="7674"/>
                </a:lnTo>
                <a:lnTo>
                  <a:pt x="3748" y="7670"/>
                </a:lnTo>
                <a:lnTo>
                  <a:pt x="3744" y="7666"/>
                </a:lnTo>
                <a:close/>
                <a:moveTo>
                  <a:pt x="3780" y="7668"/>
                </a:moveTo>
                <a:lnTo>
                  <a:pt x="3780" y="7668"/>
                </a:lnTo>
                <a:lnTo>
                  <a:pt x="3778" y="7668"/>
                </a:lnTo>
                <a:lnTo>
                  <a:pt x="3778" y="7670"/>
                </a:lnTo>
                <a:lnTo>
                  <a:pt x="3778" y="7672"/>
                </a:lnTo>
                <a:lnTo>
                  <a:pt x="3782" y="7674"/>
                </a:lnTo>
                <a:lnTo>
                  <a:pt x="3784" y="7674"/>
                </a:lnTo>
                <a:lnTo>
                  <a:pt x="3784" y="7672"/>
                </a:lnTo>
                <a:lnTo>
                  <a:pt x="3782" y="7668"/>
                </a:lnTo>
                <a:lnTo>
                  <a:pt x="3780" y="7668"/>
                </a:lnTo>
                <a:close/>
                <a:moveTo>
                  <a:pt x="3792" y="7664"/>
                </a:moveTo>
                <a:lnTo>
                  <a:pt x="3792" y="7664"/>
                </a:lnTo>
                <a:lnTo>
                  <a:pt x="3790" y="7662"/>
                </a:lnTo>
                <a:lnTo>
                  <a:pt x="3788" y="7662"/>
                </a:lnTo>
                <a:lnTo>
                  <a:pt x="3784" y="7664"/>
                </a:lnTo>
                <a:lnTo>
                  <a:pt x="3784" y="7668"/>
                </a:lnTo>
                <a:lnTo>
                  <a:pt x="3786" y="7670"/>
                </a:lnTo>
                <a:lnTo>
                  <a:pt x="3788" y="7670"/>
                </a:lnTo>
                <a:lnTo>
                  <a:pt x="3790" y="7668"/>
                </a:lnTo>
                <a:lnTo>
                  <a:pt x="3792" y="7664"/>
                </a:lnTo>
                <a:close/>
                <a:moveTo>
                  <a:pt x="3766" y="7668"/>
                </a:moveTo>
                <a:lnTo>
                  <a:pt x="3766" y="7668"/>
                </a:lnTo>
                <a:lnTo>
                  <a:pt x="3766" y="7664"/>
                </a:lnTo>
                <a:lnTo>
                  <a:pt x="3766" y="7662"/>
                </a:lnTo>
                <a:lnTo>
                  <a:pt x="3762" y="7662"/>
                </a:lnTo>
                <a:lnTo>
                  <a:pt x="3758" y="7662"/>
                </a:lnTo>
                <a:lnTo>
                  <a:pt x="3756" y="7664"/>
                </a:lnTo>
                <a:lnTo>
                  <a:pt x="3752" y="7670"/>
                </a:lnTo>
                <a:lnTo>
                  <a:pt x="3748" y="7674"/>
                </a:lnTo>
                <a:lnTo>
                  <a:pt x="3750" y="7676"/>
                </a:lnTo>
                <a:lnTo>
                  <a:pt x="3756" y="7674"/>
                </a:lnTo>
                <a:lnTo>
                  <a:pt x="3758" y="7674"/>
                </a:lnTo>
                <a:lnTo>
                  <a:pt x="3760" y="7670"/>
                </a:lnTo>
                <a:lnTo>
                  <a:pt x="3760" y="7668"/>
                </a:lnTo>
                <a:lnTo>
                  <a:pt x="3762" y="7670"/>
                </a:lnTo>
                <a:lnTo>
                  <a:pt x="3764" y="7672"/>
                </a:lnTo>
                <a:lnTo>
                  <a:pt x="3766" y="7672"/>
                </a:lnTo>
                <a:lnTo>
                  <a:pt x="3766" y="7670"/>
                </a:lnTo>
                <a:lnTo>
                  <a:pt x="3766" y="7668"/>
                </a:lnTo>
                <a:close/>
                <a:moveTo>
                  <a:pt x="3780" y="7662"/>
                </a:moveTo>
                <a:lnTo>
                  <a:pt x="3780" y="7662"/>
                </a:lnTo>
                <a:lnTo>
                  <a:pt x="3780" y="7660"/>
                </a:lnTo>
                <a:lnTo>
                  <a:pt x="3780" y="7652"/>
                </a:lnTo>
                <a:lnTo>
                  <a:pt x="3778" y="7646"/>
                </a:lnTo>
                <a:lnTo>
                  <a:pt x="3776" y="7644"/>
                </a:lnTo>
                <a:lnTo>
                  <a:pt x="3774" y="7648"/>
                </a:lnTo>
                <a:lnTo>
                  <a:pt x="3776" y="7654"/>
                </a:lnTo>
                <a:lnTo>
                  <a:pt x="3776" y="7660"/>
                </a:lnTo>
                <a:lnTo>
                  <a:pt x="3778" y="7662"/>
                </a:lnTo>
                <a:lnTo>
                  <a:pt x="3780" y="7662"/>
                </a:lnTo>
                <a:close/>
                <a:moveTo>
                  <a:pt x="3770" y="7568"/>
                </a:moveTo>
                <a:lnTo>
                  <a:pt x="3770" y="7568"/>
                </a:lnTo>
                <a:lnTo>
                  <a:pt x="3768" y="7570"/>
                </a:lnTo>
                <a:lnTo>
                  <a:pt x="3766" y="7568"/>
                </a:lnTo>
                <a:lnTo>
                  <a:pt x="3768" y="7562"/>
                </a:lnTo>
                <a:lnTo>
                  <a:pt x="3770" y="7558"/>
                </a:lnTo>
                <a:lnTo>
                  <a:pt x="3770" y="7552"/>
                </a:lnTo>
                <a:lnTo>
                  <a:pt x="3770" y="7534"/>
                </a:lnTo>
                <a:lnTo>
                  <a:pt x="3770" y="7520"/>
                </a:lnTo>
                <a:lnTo>
                  <a:pt x="3768" y="7516"/>
                </a:lnTo>
                <a:lnTo>
                  <a:pt x="3766" y="7514"/>
                </a:lnTo>
                <a:lnTo>
                  <a:pt x="3762" y="7514"/>
                </a:lnTo>
                <a:lnTo>
                  <a:pt x="3760" y="7514"/>
                </a:lnTo>
                <a:lnTo>
                  <a:pt x="3758" y="7512"/>
                </a:lnTo>
                <a:lnTo>
                  <a:pt x="3756" y="7514"/>
                </a:lnTo>
                <a:lnTo>
                  <a:pt x="3748" y="7520"/>
                </a:lnTo>
                <a:lnTo>
                  <a:pt x="3746" y="7522"/>
                </a:lnTo>
                <a:lnTo>
                  <a:pt x="3748" y="7524"/>
                </a:lnTo>
                <a:lnTo>
                  <a:pt x="3750" y="7526"/>
                </a:lnTo>
                <a:lnTo>
                  <a:pt x="3750" y="7528"/>
                </a:lnTo>
                <a:lnTo>
                  <a:pt x="3752" y="7530"/>
                </a:lnTo>
                <a:lnTo>
                  <a:pt x="3756" y="7534"/>
                </a:lnTo>
                <a:lnTo>
                  <a:pt x="3756" y="7538"/>
                </a:lnTo>
                <a:lnTo>
                  <a:pt x="3754" y="7548"/>
                </a:lnTo>
                <a:lnTo>
                  <a:pt x="3752" y="7550"/>
                </a:lnTo>
                <a:lnTo>
                  <a:pt x="3748" y="7548"/>
                </a:lnTo>
                <a:lnTo>
                  <a:pt x="3746" y="7546"/>
                </a:lnTo>
                <a:lnTo>
                  <a:pt x="3742" y="7546"/>
                </a:lnTo>
                <a:lnTo>
                  <a:pt x="3740" y="7548"/>
                </a:lnTo>
                <a:lnTo>
                  <a:pt x="3740" y="7546"/>
                </a:lnTo>
                <a:lnTo>
                  <a:pt x="3738" y="7546"/>
                </a:lnTo>
                <a:lnTo>
                  <a:pt x="3734" y="7546"/>
                </a:lnTo>
                <a:lnTo>
                  <a:pt x="3732" y="7548"/>
                </a:lnTo>
                <a:lnTo>
                  <a:pt x="3730" y="7550"/>
                </a:lnTo>
                <a:lnTo>
                  <a:pt x="3732" y="7556"/>
                </a:lnTo>
                <a:lnTo>
                  <a:pt x="3736" y="7560"/>
                </a:lnTo>
                <a:lnTo>
                  <a:pt x="3738" y="7568"/>
                </a:lnTo>
                <a:lnTo>
                  <a:pt x="3740" y="7572"/>
                </a:lnTo>
                <a:lnTo>
                  <a:pt x="3742" y="7578"/>
                </a:lnTo>
                <a:lnTo>
                  <a:pt x="3746" y="7582"/>
                </a:lnTo>
                <a:lnTo>
                  <a:pt x="3748" y="7584"/>
                </a:lnTo>
                <a:lnTo>
                  <a:pt x="3750" y="7580"/>
                </a:lnTo>
                <a:lnTo>
                  <a:pt x="3750" y="7572"/>
                </a:lnTo>
                <a:lnTo>
                  <a:pt x="3748" y="7568"/>
                </a:lnTo>
                <a:lnTo>
                  <a:pt x="3748" y="7564"/>
                </a:lnTo>
                <a:lnTo>
                  <a:pt x="3748" y="7562"/>
                </a:lnTo>
                <a:lnTo>
                  <a:pt x="3750" y="7562"/>
                </a:lnTo>
                <a:lnTo>
                  <a:pt x="3754" y="7564"/>
                </a:lnTo>
                <a:lnTo>
                  <a:pt x="3758" y="7568"/>
                </a:lnTo>
                <a:lnTo>
                  <a:pt x="3756" y="7570"/>
                </a:lnTo>
                <a:lnTo>
                  <a:pt x="3754" y="7572"/>
                </a:lnTo>
                <a:lnTo>
                  <a:pt x="3754" y="7576"/>
                </a:lnTo>
                <a:lnTo>
                  <a:pt x="3756" y="7578"/>
                </a:lnTo>
                <a:lnTo>
                  <a:pt x="3754" y="7580"/>
                </a:lnTo>
                <a:lnTo>
                  <a:pt x="3754" y="7586"/>
                </a:lnTo>
                <a:lnTo>
                  <a:pt x="3754" y="7588"/>
                </a:lnTo>
                <a:lnTo>
                  <a:pt x="3756" y="7590"/>
                </a:lnTo>
                <a:lnTo>
                  <a:pt x="3762" y="7592"/>
                </a:lnTo>
                <a:lnTo>
                  <a:pt x="3766" y="7590"/>
                </a:lnTo>
                <a:lnTo>
                  <a:pt x="3768" y="7588"/>
                </a:lnTo>
                <a:lnTo>
                  <a:pt x="3770" y="7584"/>
                </a:lnTo>
                <a:lnTo>
                  <a:pt x="3770" y="7578"/>
                </a:lnTo>
                <a:lnTo>
                  <a:pt x="3772" y="7574"/>
                </a:lnTo>
                <a:lnTo>
                  <a:pt x="3774" y="7572"/>
                </a:lnTo>
                <a:lnTo>
                  <a:pt x="3774" y="7570"/>
                </a:lnTo>
                <a:lnTo>
                  <a:pt x="3772" y="7568"/>
                </a:lnTo>
                <a:lnTo>
                  <a:pt x="3770" y="7568"/>
                </a:lnTo>
                <a:close/>
                <a:moveTo>
                  <a:pt x="3742" y="7626"/>
                </a:moveTo>
                <a:lnTo>
                  <a:pt x="3742" y="7626"/>
                </a:lnTo>
                <a:lnTo>
                  <a:pt x="3744" y="7622"/>
                </a:lnTo>
                <a:lnTo>
                  <a:pt x="3746" y="7620"/>
                </a:lnTo>
                <a:lnTo>
                  <a:pt x="3742" y="7618"/>
                </a:lnTo>
                <a:lnTo>
                  <a:pt x="3736" y="7618"/>
                </a:lnTo>
                <a:lnTo>
                  <a:pt x="3730" y="7618"/>
                </a:lnTo>
                <a:lnTo>
                  <a:pt x="3730" y="7620"/>
                </a:lnTo>
                <a:lnTo>
                  <a:pt x="3732" y="7624"/>
                </a:lnTo>
                <a:lnTo>
                  <a:pt x="3732" y="7626"/>
                </a:lnTo>
                <a:lnTo>
                  <a:pt x="3728" y="7632"/>
                </a:lnTo>
                <a:lnTo>
                  <a:pt x="3730" y="7634"/>
                </a:lnTo>
                <a:lnTo>
                  <a:pt x="3734" y="7636"/>
                </a:lnTo>
                <a:lnTo>
                  <a:pt x="3738" y="7636"/>
                </a:lnTo>
                <a:lnTo>
                  <a:pt x="3738" y="7634"/>
                </a:lnTo>
                <a:lnTo>
                  <a:pt x="3738" y="7630"/>
                </a:lnTo>
                <a:lnTo>
                  <a:pt x="3742" y="7626"/>
                </a:lnTo>
                <a:close/>
                <a:moveTo>
                  <a:pt x="3778" y="7630"/>
                </a:moveTo>
                <a:lnTo>
                  <a:pt x="3778" y="7630"/>
                </a:lnTo>
                <a:lnTo>
                  <a:pt x="3776" y="7626"/>
                </a:lnTo>
                <a:lnTo>
                  <a:pt x="3776" y="7622"/>
                </a:lnTo>
                <a:lnTo>
                  <a:pt x="3774" y="7620"/>
                </a:lnTo>
                <a:lnTo>
                  <a:pt x="3772" y="7616"/>
                </a:lnTo>
                <a:lnTo>
                  <a:pt x="3768" y="7616"/>
                </a:lnTo>
                <a:lnTo>
                  <a:pt x="3766" y="7616"/>
                </a:lnTo>
                <a:lnTo>
                  <a:pt x="3766" y="7618"/>
                </a:lnTo>
                <a:lnTo>
                  <a:pt x="3770" y="7622"/>
                </a:lnTo>
                <a:lnTo>
                  <a:pt x="3770" y="7624"/>
                </a:lnTo>
                <a:lnTo>
                  <a:pt x="3768" y="7624"/>
                </a:lnTo>
                <a:lnTo>
                  <a:pt x="3768" y="7628"/>
                </a:lnTo>
                <a:lnTo>
                  <a:pt x="3772" y="7636"/>
                </a:lnTo>
                <a:lnTo>
                  <a:pt x="3776" y="7638"/>
                </a:lnTo>
                <a:lnTo>
                  <a:pt x="3780" y="7638"/>
                </a:lnTo>
                <a:lnTo>
                  <a:pt x="3782" y="7638"/>
                </a:lnTo>
                <a:lnTo>
                  <a:pt x="3784" y="7636"/>
                </a:lnTo>
                <a:lnTo>
                  <a:pt x="3778" y="7630"/>
                </a:lnTo>
                <a:close/>
                <a:moveTo>
                  <a:pt x="3736" y="7582"/>
                </a:moveTo>
                <a:lnTo>
                  <a:pt x="3736" y="7582"/>
                </a:lnTo>
                <a:lnTo>
                  <a:pt x="3738" y="7584"/>
                </a:lnTo>
                <a:lnTo>
                  <a:pt x="3740" y="7584"/>
                </a:lnTo>
                <a:lnTo>
                  <a:pt x="3738" y="7576"/>
                </a:lnTo>
                <a:lnTo>
                  <a:pt x="3736" y="7568"/>
                </a:lnTo>
                <a:lnTo>
                  <a:pt x="3734" y="7566"/>
                </a:lnTo>
                <a:lnTo>
                  <a:pt x="3730" y="7566"/>
                </a:lnTo>
                <a:lnTo>
                  <a:pt x="3728" y="7566"/>
                </a:lnTo>
                <a:lnTo>
                  <a:pt x="3726" y="7568"/>
                </a:lnTo>
                <a:lnTo>
                  <a:pt x="3726" y="7578"/>
                </a:lnTo>
                <a:lnTo>
                  <a:pt x="3726" y="7580"/>
                </a:lnTo>
                <a:lnTo>
                  <a:pt x="3728" y="7580"/>
                </a:lnTo>
                <a:lnTo>
                  <a:pt x="3732" y="7576"/>
                </a:lnTo>
                <a:lnTo>
                  <a:pt x="3734" y="7576"/>
                </a:lnTo>
                <a:lnTo>
                  <a:pt x="3734" y="7578"/>
                </a:lnTo>
                <a:lnTo>
                  <a:pt x="3734" y="7580"/>
                </a:lnTo>
                <a:lnTo>
                  <a:pt x="3736" y="7582"/>
                </a:lnTo>
                <a:close/>
                <a:moveTo>
                  <a:pt x="3742" y="7612"/>
                </a:moveTo>
                <a:lnTo>
                  <a:pt x="3742" y="7612"/>
                </a:lnTo>
                <a:lnTo>
                  <a:pt x="3746" y="7610"/>
                </a:lnTo>
                <a:lnTo>
                  <a:pt x="3746" y="7612"/>
                </a:lnTo>
                <a:lnTo>
                  <a:pt x="3748" y="7612"/>
                </a:lnTo>
                <a:lnTo>
                  <a:pt x="3752" y="7610"/>
                </a:lnTo>
                <a:lnTo>
                  <a:pt x="3754" y="7608"/>
                </a:lnTo>
                <a:lnTo>
                  <a:pt x="3752" y="7606"/>
                </a:lnTo>
                <a:lnTo>
                  <a:pt x="3752" y="7604"/>
                </a:lnTo>
                <a:lnTo>
                  <a:pt x="3754" y="7602"/>
                </a:lnTo>
                <a:lnTo>
                  <a:pt x="3758" y="7600"/>
                </a:lnTo>
                <a:lnTo>
                  <a:pt x="3758" y="7598"/>
                </a:lnTo>
                <a:lnTo>
                  <a:pt x="3756" y="7598"/>
                </a:lnTo>
                <a:lnTo>
                  <a:pt x="3752" y="7598"/>
                </a:lnTo>
                <a:lnTo>
                  <a:pt x="3750" y="7600"/>
                </a:lnTo>
                <a:lnTo>
                  <a:pt x="3750" y="7598"/>
                </a:lnTo>
                <a:lnTo>
                  <a:pt x="3750" y="7596"/>
                </a:lnTo>
                <a:lnTo>
                  <a:pt x="3748" y="7594"/>
                </a:lnTo>
                <a:lnTo>
                  <a:pt x="3746" y="7594"/>
                </a:lnTo>
                <a:lnTo>
                  <a:pt x="3742" y="7592"/>
                </a:lnTo>
                <a:lnTo>
                  <a:pt x="3740" y="7590"/>
                </a:lnTo>
                <a:lnTo>
                  <a:pt x="3734" y="7590"/>
                </a:lnTo>
                <a:lnTo>
                  <a:pt x="3732" y="7592"/>
                </a:lnTo>
                <a:lnTo>
                  <a:pt x="3736" y="7596"/>
                </a:lnTo>
                <a:lnTo>
                  <a:pt x="3740" y="7598"/>
                </a:lnTo>
                <a:lnTo>
                  <a:pt x="3742" y="7600"/>
                </a:lnTo>
                <a:lnTo>
                  <a:pt x="3742" y="7602"/>
                </a:lnTo>
                <a:lnTo>
                  <a:pt x="3738" y="7602"/>
                </a:lnTo>
                <a:lnTo>
                  <a:pt x="3736" y="7600"/>
                </a:lnTo>
                <a:lnTo>
                  <a:pt x="3732" y="7600"/>
                </a:lnTo>
                <a:lnTo>
                  <a:pt x="3730" y="7606"/>
                </a:lnTo>
                <a:lnTo>
                  <a:pt x="3730" y="7608"/>
                </a:lnTo>
                <a:lnTo>
                  <a:pt x="3730" y="7610"/>
                </a:lnTo>
                <a:lnTo>
                  <a:pt x="3734" y="7610"/>
                </a:lnTo>
                <a:lnTo>
                  <a:pt x="3738" y="7608"/>
                </a:lnTo>
                <a:lnTo>
                  <a:pt x="3738" y="7610"/>
                </a:lnTo>
                <a:lnTo>
                  <a:pt x="3736" y="7612"/>
                </a:lnTo>
                <a:lnTo>
                  <a:pt x="3738" y="7614"/>
                </a:lnTo>
                <a:lnTo>
                  <a:pt x="3740" y="7614"/>
                </a:lnTo>
                <a:lnTo>
                  <a:pt x="3742" y="7612"/>
                </a:lnTo>
                <a:close/>
                <a:moveTo>
                  <a:pt x="3758" y="7644"/>
                </a:moveTo>
                <a:lnTo>
                  <a:pt x="3758" y="7644"/>
                </a:lnTo>
                <a:lnTo>
                  <a:pt x="3754" y="7644"/>
                </a:lnTo>
                <a:lnTo>
                  <a:pt x="3750" y="7644"/>
                </a:lnTo>
                <a:lnTo>
                  <a:pt x="3750" y="7646"/>
                </a:lnTo>
                <a:lnTo>
                  <a:pt x="3752" y="7646"/>
                </a:lnTo>
                <a:lnTo>
                  <a:pt x="3756" y="7648"/>
                </a:lnTo>
                <a:lnTo>
                  <a:pt x="3756" y="7650"/>
                </a:lnTo>
                <a:lnTo>
                  <a:pt x="3756" y="7652"/>
                </a:lnTo>
                <a:lnTo>
                  <a:pt x="3760" y="7654"/>
                </a:lnTo>
                <a:lnTo>
                  <a:pt x="3762" y="7654"/>
                </a:lnTo>
                <a:lnTo>
                  <a:pt x="3764" y="7652"/>
                </a:lnTo>
                <a:lnTo>
                  <a:pt x="3768" y="7650"/>
                </a:lnTo>
                <a:lnTo>
                  <a:pt x="3770" y="7650"/>
                </a:lnTo>
                <a:lnTo>
                  <a:pt x="3772" y="7650"/>
                </a:lnTo>
                <a:lnTo>
                  <a:pt x="3772" y="7648"/>
                </a:lnTo>
                <a:lnTo>
                  <a:pt x="3772" y="7642"/>
                </a:lnTo>
                <a:lnTo>
                  <a:pt x="3770" y="7638"/>
                </a:lnTo>
                <a:lnTo>
                  <a:pt x="3766" y="7634"/>
                </a:lnTo>
                <a:lnTo>
                  <a:pt x="3764" y="7634"/>
                </a:lnTo>
                <a:lnTo>
                  <a:pt x="3762" y="7636"/>
                </a:lnTo>
                <a:lnTo>
                  <a:pt x="3764" y="7642"/>
                </a:lnTo>
                <a:lnTo>
                  <a:pt x="3764" y="7644"/>
                </a:lnTo>
                <a:lnTo>
                  <a:pt x="3758" y="7644"/>
                </a:lnTo>
                <a:close/>
                <a:moveTo>
                  <a:pt x="3752" y="7630"/>
                </a:moveTo>
                <a:lnTo>
                  <a:pt x="3752" y="7630"/>
                </a:lnTo>
                <a:lnTo>
                  <a:pt x="3750" y="7634"/>
                </a:lnTo>
                <a:lnTo>
                  <a:pt x="3752" y="7636"/>
                </a:lnTo>
                <a:lnTo>
                  <a:pt x="3754" y="7640"/>
                </a:lnTo>
                <a:lnTo>
                  <a:pt x="3758" y="7640"/>
                </a:lnTo>
                <a:lnTo>
                  <a:pt x="3760" y="7640"/>
                </a:lnTo>
                <a:lnTo>
                  <a:pt x="3760" y="7636"/>
                </a:lnTo>
                <a:lnTo>
                  <a:pt x="3756" y="7632"/>
                </a:lnTo>
                <a:lnTo>
                  <a:pt x="3754" y="7630"/>
                </a:lnTo>
                <a:lnTo>
                  <a:pt x="3752" y="7630"/>
                </a:lnTo>
                <a:close/>
                <a:moveTo>
                  <a:pt x="3770" y="7654"/>
                </a:moveTo>
                <a:lnTo>
                  <a:pt x="3770" y="7654"/>
                </a:lnTo>
                <a:lnTo>
                  <a:pt x="3768" y="7654"/>
                </a:lnTo>
                <a:lnTo>
                  <a:pt x="3766" y="7654"/>
                </a:lnTo>
                <a:lnTo>
                  <a:pt x="3766" y="7656"/>
                </a:lnTo>
                <a:lnTo>
                  <a:pt x="3770" y="7660"/>
                </a:lnTo>
                <a:lnTo>
                  <a:pt x="3772" y="7660"/>
                </a:lnTo>
                <a:lnTo>
                  <a:pt x="3772" y="7658"/>
                </a:lnTo>
                <a:lnTo>
                  <a:pt x="3772" y="7656"/>
                </a:lnTo>
                <a:lnTo>
                  <a:pt x="3770" y="7654"/>
                </a:lnTo>
                <a:close/>
                <a:moveTo>
                  <a:pt x="3750" y="7544"/>
                </a:moveTo>
                <a:lnTo>
                  <a:pt x="3750" y="7544"/>
                </a:lnTo>
                <a:lnTo>
                  <a:pt x="3752" y="7542"/>
                </a:lnTo>
                <a:lnTo>
                  <a:pt x="3752" y="7536"/>
                </a:lnTo>
                <a:lnTo>
                  <a:pt x="3750" y="7534"/>
                </a:lnTo>
                <a:lnTo>
                  <a:pt x="3746" y="7534"/>
                </a:lnTo>
                <a:lnTo>
                  <a:pt x="3742" y="7534"/>
                </a:lnTo>
                <a:lnTo>
                  <a:pt x="3740" y="7538"/>
                </a:lnTo>
                <a:lnTo>
                  <a:pt x="3740" y="7540"/>
                </a:lnTo>
                <a:lnTo>
                  <a:pt x="3742" y="7540"/>
                </a:lnTo>
                <a:lnTo>
                  <a:pt x="3746" y="7540"/>
                </a:lnTo>
                <a:lnTo>
                  <a:pt x="3750" y="7544"/>
                </a:lnTo>
                <a:close/>
                <a:moveTo>
                  <a:pt x="3750" y="7500"/>
                </a:moveTo>
                <a:lnTo>
                  <a:pt x="3750" y="7500"/>
                </a:lnTo>
                <a:lnTo>
                  <a:pt x="3748" y="7504"/>
                </a:lnTo>
                <a:lnTo>
                  <a:pt x="3750" y="7506"/>
                </a:lnTo>
                <a:lnTo>
                  <a:pt x="3762" y="7510"/>
                </a:lnTo>
                <a:lnTo>
                  <a:pt x="3768" y="7512"/>
                </a:lnTo>
                <a:lnTo>
                  <a:pt x="3770" y="7508"/>
                </a:lnTo>
                <a:lnTo>
                  <a:pt x="3772" y="7506"/>
                </a:lnTo>
                <a:lnTo>
                  <a:pt x="3770" y="7506"/>
                </a:lnTo>
                <a:lnTo>
                  <a:pt x="3768" y="7506"/>
                </a:lnTo>
                <a:lnTo>
                  <a:pt x="3766" y="7504"/>
                </a:lnTo>
                <a:lnTo>
                  <a:pt x="3766" y="7502"/>
                </a:lnTo>
                <a:lnTo>
                  <a:pt x="3766" y="7500"/>
                </a:lnTo>
                <a:lnTo>
                  <a:pt x="3766" y="7496"/>
                </a:lnTo>
                <a:lnTo>
                  <a:pt x="3766" y="7492"/>
                </a:lnTo>
                <a:lnTo>
                  <a:pt x="3762" y="7482"/>
                </a:lnTo>
                <a:lnTo>
                  <a:pt x="3760" y="7482"/>
                </a:lnTo>
                <a:lnTo>
                  <a:pt x="3758" y="7484"/>
                </a:lnTo>
                <a:lnTo>
                  <a:pt x="3758" y="7490"/>
                </a:lnTo>
                <a:lnTo>
                  <a:pt x="3758" y="7492"/>
                </a:lnTo>
                <a:lnTo>
                  <a:pt x="3760" y="7498"/>
                </a:lnTo>
                <a:lnTo>
                  <a:pt x="3758" y="7500"/>
                </a:lnTo>
                <a:lnTo>
                  <a:pt x="3756" y="7498"/>
                </a:lnTo>
                <a:lnTo>
                  <a:pt x="3754" y="7498"/>
                </a:lnTo>
                <a:lnTo>
                  <a:pt x="3750" y="7500"/>
                </a:lnTo>
                <a:close/>
                <a:moveTo>
                  <a:pt x="3790" y="7468"/>
                </a:moveTo>
                <a:lnTo>
                  <a:pt x="3790" y="7468"/>
                </a:lnTo>
                <a:lnTo>
                  <a:pt x="3794" y="7470"/>
                </a:lnTo>
                <a:lnTo>
                  <a:pt x="3796" y="7466"/>
                </a:lnTo>
                <a:lnTo>
                  <a:pt x="3794" y="7464"/>
                </a:lnTo>
                <a:lnTo>
                  <a:pt x="3788" y="7462"/>
                </a:lnTo>
                <a:lnTo>
                  <a:pt x="3784" y="7462"/>
                </a:lnTo>
                <a:lnTo>
                  <a:pt x="3778" y="7462"/>
                </a:lnTo>
                <a:lnTo>
                  <a:pt x="3772" y="7462"/>
                </a:lnTo>
                <a:lnTo>
                  <a:pt x="3770" y="7464"/>
                </a:lnTo>
                <a:lnTo>
                  <a:pt x="3770" y="7466"/>
                </a:lnTo>
                <a:lnTo>
                  <a:pt x="3772" y="7468"/>
                </a:lnTo>
                <a:lnTo>
                  <a:pt x="3778" y="7468"/>
                </a:lnTo>
                <a:lnTo>
                  <a:pt x="3784" y="7466"/>
                </a:lnTo>
                <a:lnTo>
                  <a:pt x="3790" y="7468"/>
                </a:lnTo>
                <a:close/>
                <a:moveTo>
                  <a:pt x="3742" y="7476"/>
                </a:moveTo>
                <a:lnTo>
                  <a:pt x="3742" y="7476"/>
                </a:lnTo>
                <a:lnTo>
                  <a:pt x="3740" y="7476"/>
                </a:lnTo>
                <a:lnTo>
                  <a:pt x="3738" y="7478"/>
                </a:lnTo>
                <a:lnTo>
                  <a:pt x="3740" y="7482"/>
                </a:lnTo>
                <a:lnTo>
                  <a:pt x="3746" y="7496"/>
                </a:lnTo>
                <a:lnTo>
                  <a:pt x="3748" y="7496"/>
                </a:lnTo>
                <a:lnTo>
                  <a:pt x="3750" y="7496"/>
                </a:lnTo>
                <a:lnTo>
                  <a:pt x="3754" y="7494"/>
                </a:lnTo>
                <a:lnTo>
                  <a:pt x="3754" y="7492"/>
                </a:lnTo>
                <a:lnTo>
                  <a:pt x="3754" y="7490"/>
                </a:lnTo>
                <a:lnTo>
                  <a:pt x="3756" y="7484"/>
                </a:lnTo>
                <a:lnTo>
                  <a:pt x="3754" y="7482"/>
                </a:lnTo>
                <a:lnTo>
                  <a:pt x="3752" y="7480"/>
                </a:lnTo>
                <a:lnTo>
                  <a:pt x="3742" y="7476"/>
                </a:lnTo>
                <a:close/>
                <a:moveTo>
                  <a:pt x="3730" y="7544"/>
                </a:moveTo>
                <a:lnTo>
                  <a:pt x="3730" y="7544"/>
                </a:lnTo>
                <a:lnTo>
                  <a:pt x="3730" y="7542"/>
                </a:lnTo>
                <a:lnTo>
                  <a:pt x="3732" y="7540"/>
                </a:lnTo>
                <a:lnTo>
                  <a:pt x="3734" y="7538"/>
                </a:lnTo>
                <a:lnTo>
                  <a:pt x="3734" y="7534"/>
                </a:lnTo>
                <a:lnTo>
                  <a:pt x="3734" y="7532"/>
                </a:lnTo>
                <a:lnTo>
                  <a:pt x="3732" y="7534"/>
                </a:lnTo>
                <a:lnTo>
                  <a:pt x="3730" y="7536"/>
                </a:lnTo>
                <a:lnTo>
                  <a:pt x="3726" y="7538"/>
                </a:lnTo>
                <a:lnTo>
                  <a:pt x="3724" y="7538"/>
                </a:lnTo>
                <a:lnTo>
                  <a:pt x="3722" y="7540"/>
                </a:lnTo>
                <a:lnTo>
                  <a:pt x="3722" y="7542"/>
                </a:lnTo>
                <a:lnTo>
                  <a:pt x="3724" y="7546"/>
                </a:lnTo>
                <a:lnTo>
                  <a:pt x="3728" y="7548"/>
                </a:lnTo>
                <a:lnTo>
                  <a:pt x="3730" y="7544"/>
                </a:lnTo>
                <a:close/>
                <a:moveTo>
                  <a:pt x="3742" y="7474"/>
                </a:moveTo>
                <a:lnTo>
                  <a:pt x="3742" y="7474"/>
                </a:lnTo>
                <a:lnTo>
                  <a:pt x="3746" y="7472"/>
                </a:lnTo>
                <a:lnTo>
                  <a:pt x="3748" y="7474"/>
                </a:lnTo>
                <a:lnTo>
                  <a:pt x="3750" y="7476"/>
                </a:lnTo>
                <a:lnTo>
                  <a:pt x="3754" y="7476"/>
                </a:lnTo>
                <a:lnTo>
                  <a:pt x="3756" y="7474"/>
                </a:lnTo>
                <a:lnTo>
                  <a:pt x="3758" y="7468"/>
                </a:lnTo>
                <a:lnTo>
                  <a:pt x="3756" y="7462"/>
                </a:lnTo>
                <a:lnTo>
                  <a:pt x="3756" y="7460"/>
                </a:lnTo>
                <a:lnTo>
                  <a:pt x="3754" y="7460"/>
                </a:lnTo>
                <a:lnTo>
                  <a:pt x="3752" y="7464"/>
                </a:lnTo>
                <a:lnTo>
                  <a:pt x="3750" y="7466"/>
                </a:lnTo>
                <a:lnTo>
                  <a:pt x="3744" y="7468"/>
                </a:lnTo>
                <a:lnTo>
                  <a:pt x="3740" y="7470"/>
                </a:lnTo>
                <a:lnTo>
                  <a:pt x="3738" y="7472"/>
                </a:lnTo>
                <a:lnTo>
                  <a:pt x="3738" y="7474"/>
                </a:lnTo>
                <a:lnTo>
                  <a:pt x="3742" y="7474"/>
                </a:lnTo>
                <a:close/>
                <a:moveTo>
                  <a:pt x="3732" y="7494"/>
                </a:moveTo>
                <a:lnTo>
                  <a:pt x="3732" y="7494"/>
                </a:lnTo>
                <a:lnTo>
                  <a:pt x="3734" y="7494"/>
                </a:lnTo>
                <a:lnTo>
                  <a:pt x="3736" y="7494"/>
                </a:lnTo>
                <a:lnTo>
                  <a:pt x="3736" y="7502"/>
                </a:lnTo>
                <a:lnTo>
                  <a:pt x="3738" y="7510"/>
                </a:lnTo>
                <a:lnTo>
                  <a:pt x="3738" y="7512"/>
                </a:lnTo>
                <a:lnTo>
                  <a:pt x="3740" y="7512"/>
                </a:lnTo>
                <a:lnTo>
                  <a:pt x="3744" y="7508"/>
                </a:lnTo>
                <a:lnTo>
                  <a:pt x="3746" y="7504"/>
                </a:lnTo>
                <a:lnTo>
                  <a:pt x="3740" y="7492"/>
                </a:lnTo>
                <a:lnTo>
                  <a:pt x="3738" y="7486"/>
                </a:lnTo>
                <a:lnTo>
                  <a:pt x="3736" y="7480"/>
                </a:lnTo>
                <a:lnTo>
                  <a:pt x="3734" y="7472"/>
                </a:lnTo>
                <a:lnTo>
                  <a:pt x="3732" y="7472"/>
                </a:lnTo>
                <a:lnTo>
                  <a:pt x="3728" y="7474"/>
                </a:lnTo>
                <a:lnTo>
                  <a:pt x="3726" y="7478"/>
                </a:lnTo>
                <a:lnTo>
                  <a:pt x="3726" y="7480"/>
                </a:lnTo>
                <a:lnTo>
                  <a:pt x="3728" y="7484"/>
                </a:lnTo>
                <a:lnTo>
                  <a:pt x="3728" y="7488"/>
                </a:lnTo>
                <a:lnTo>
                  <a:pt x="3726" y="7490"/>
                </a:lnTo>
                <a:lnTo>
                  <a:pt x="3726" y="7494"/>
                </a:lnTo>
                <a:lnTo>
                  <a:pt x="3728" y="7494"/>
                </a:lnTo>
                <a:lnTo>
                  <a:pt x="3732" y="7494"/>
                </a:lnTo>
                <a:close/>
                <a:moveTo>
                  <a:pt x="3722" y="7504"/>
                </a:moveTo>
                <a:lnTo>
                  <a:pt x="3722" y="7504"/>
                </a:lnTo>
                <a:lnTo>
                  <a:pt x="3722" y="7508"/>
                </a:lnTo>
                <a:lnTo>
                  <a:pt x="3724" y="7510"/>
                </a:lnTo>
                <a:lnTo>
                  <a:pt x="3728" y="7510"/>
                </a:lnTo>
                <a:lnTo>
                  <a:pt x="3732" y="7510"/>
                </a:lnTo>
                <a:lnTo>
                  <a:pt x="3734" y="7506"/>
                </a:lnTo>
                <a:lnTo>
                  <a:pt x="3734" y="7502"/>
                </a:lnTo>
                <a:lnTo>
                  <a:pt x="3732" y="7498"/>
                </a:lnTo>
                <a:lnTo>
                  <a:pt x="3730" y="7498"/>
                </a:lnTo>
                <a:lnTo>
                  <a:pt x="3728" y="7500"/>
                </a:lnTo>
                <a:lnTo>
                  <a:pt x="3724" y="7498"/>
                </a:lnTo>
                <a:lnTo>
                  <a:pt x="3722" y="7500"/>
                </a:lnTo>
                <a:lnTo>
                  <a:pt x="3722" y="7504"/>
                </a:lnTo>
                <a:close/>
                <a:moveTo>
                  <a:pt x="3732" y="7530"/>
                </a:moveTo>
                <a:lnTo>
                  <a:pt x="3732" y="7530"/>
                </a:lnTo>
                <a:lnTo>
                  <a:pt x="3734" y="7530"/>
                </a:lnTo>
                <a:lnTo>
                  <a:pt x="3736" y="7530"/>
                </a:lnTo>
                <a:lnTo>
                  <a:pt x="3738" y="7532"/>
                </a:lnTo>
                <a:lnTo>
                  <a:pt x="3738" y="7530"/>
                </a:lnTo>
                <a:lnTo>
                  <a:pt x="3738" y="7524"/>
                </a:lnTo>
                <a:lnTo>
                  <a:pt x="3732" y="7522"/>
                </a:lnTo>
                <a:lnTo>
                  <a:pt x="3728" y="7522"/>
                </a:lnTo>
                <a:lnTo>
                  <a:pt x="3724" y="7522"/>
                </a:lnTo>
                <a:lnTo>
                  <a:pt x="3722" y="7524"/>
                </a:lnTo>
                <a:lnTo>
                  <a:pt x="3722" y="7528"/>
                </a:lnTo>
                <a:lnTo>
                  <a:pt x="3722" y="7530"/>
                </a:lnTo>
                <a:lnTo>
                  <a:pt x="3726" y="7530"/>
                </a:lnTo>
                <a:lnTo>
                  <a:pt x="3732" y="7530"/>
                </a:lnTo>
                <a:close/>
                <a:moveTo>
                  <a:pt x="3746" y="7456"/>
                </a:moveTo>
                <a:lnTo>
                  <a:pt x="3746" y="7456"/>
                </a:lnTo>
                <a:lnTo>
                  <a:pt x="3742" y="7454"/>
                </a:lnTo>
                <a:lnTo>
                  <a:pt x="3740" y="7456"/>
                </a:lnTo>
                <a:lnTo>
                  <a:pt x="3738" y="7458"/>
                </a:lnTo>
                <a:lnTo>
                  <a:pt x="3740" y="7462"/>
                </a:lnTo>
                <a:lnTo>
                  <a:pt x="3742" y="7462"/>
                </a:lnTo>
                <a:lnTo>
                  <a:pt x="3744" y="7462"/>
                </a:lnTo>
                <a:lnTo>
                  <a:pt x="3746" y="7460"/>
                </a:lnTo>
                <a:lnTo>
                  <a:pt x="3746" y="7456"/>
                </a:lnTo>
                <a:close/>
                <a:moveTo>
                  <a:pt x="3788" y="7418"/>
                </a:moveTo>
                <a:lnTo>
                  <a:pt x="3788" y="7418"/>
                </a:lnTo>
                <a:lnTo>
                  <a:pt x="3788" y="7414"/>
                </a:lnTo>
                <a:lnTo>
                  <a:pt x="3784" y="7414"/>
                </a:lnTo>
                <a:lnTo>
                  <a:pt x="3780" y="7414"/>
                </a:lnTo>
                <a:lnTo>
                  <a:pt x="3780" y="7416"/>
                </a:lnTo>
                <a:lnTo>
                  <a:pt x="3780" y="7420"/>
                </a:lnTo>
                <a:lnTo>
                  <a:pt x="3782" y="7420"/>
                </a:lnTo>
                <a:lnTo>
                  <a:pt x="3786" y="7420"/>
                </a:lnTo>
                <a:lnTo>
                  <a:pt x="3788" y="7418"/>
                </a:lnTo>
                <a:close/>
                <a:moveTo>
                  <a:pt x="3732" y="7512"/>
                </a:moveTo>
                <a:lnTo>
                  <a:pt x="3732" y="7512"/>
                </a:lnTo>
                <a:lnTo>
                  <a:pt x="3724" y="7514"/>
                </a:lnTo>
                <a:lnTo>
                  <a:pt x="3722" y="7518"/>
                </a:lnTo>
                <a:lnTo>
                  <a:pt x="3724" y="7518"/>
                </a:lnTo>
                <a:lnTo>
                  <a:pt x="3732" y="7516"/>
                </a:lnTo>
                <a:lnTo>
                  <a:pt x="3736" y="7514"/>
                </a:lnTo>
                <a:lnTo>
                  <a:pt x="3736" y="7512"/>
                </a:lnTo>
                <a:lnTo>
                  <a:pt x="3734" y="7512"/>
                </a:lnTo>
                <a:lnTo>
                  <a:pt x="3732" y="7512"/>
                </a:lnTo>
                <a:close/>
                <a:moveTo>
                  <a:pt x="3746" y="7528"/>
                </a:moveTo>
                <a:lnTo>
                  <a:pt x="3746" y="7528"/>
                </a:lnTo>
                <a:lnTo>
                  <a:pt x="3746" y="7526"/>
                </a:lnTo>
                <a:lnTo>
                  <a:pt x="3740" y="7520"/>
                </a:lnTo>
                <a:lnTo>
                  <a:pt x="3738" y="7518"/>
                </a:lnTo>
                <a:lnTo>
                  <a:pt x="3738" y="7520"/>
                </a:lnTo>
                <a:lnTo>
                  <a:pt x="3740" y="7524"/>
                </a:lnTo>
                <a:lnTo>
                  <a:pt x="3742" y="7528"/>
                </a:lnTo>
                <a:lnTo>
                  <a:pt x="3744" y="7530"/>
                </a:lnTo>
                <a:lnTo>
                  <a:pt x="3746" y="7528"/>
                </a:lnTo>
                <a:close/>
                <a:moveTo>
                  <a:pt x="3772" y="7494"/>
                </a:moveTo>
                <a:lnTo>
                  <a:pt x="3772" y="7494"/>
                </a:lnTo>
                <a:lnTo>
                  <a:pt x="3782" y="7496"/>
                </a:lnTo>
                <a:lnTo>
                  <a:pt x="3786" y="7496"/>
                </a:lnTo>
                <a:lnTo>
                  <a:pt x="3780" y="7492"/>
                </a:lnTo>
                <a:lnTo>
                  <a:pt x="3772" y="7486"/>
                </a:lnTo>
                <a:lnTo>
                  <a:pt x="3768" y="7480"/>
                </a:lnTo>
                <a:lnTo>
                  <a:pt x="3766" y="7482"/>
                </a:lnTo>
                <a:lnTo>
                  <a:pt x="3766" y="7486"/>
                </a:lnTo>
                <a:lnTo>
                  <a:pt x="3768" y="7492"/>
                </a:lnTo>
                <a:lnTo>
                  <a:pt x="3772" y="7494"/>
                </a:lnTo>
                <a:close/>
                <a:moveTo>
                  <a:pt x="4194" y="7874"/>
                </a:moveTo>
                <a:lnTo>
                  <a:pt x="4194" y="7874"/>
                </a:lnTo>
                <a:lnTo>
                  <a:pt x="4188" y="7874"/>
                </a:lnTo>
                <a:lnTo>
                  <a:pt x="4184" y="7874"/>
                </a:lnTo>
                <a:lnTo>
                  <a:pt x="4180" y="7874"/>
                </a:lnTo>
                <a:lnTo>
                  <a:pt x="4176" y="7876"/>
                </a:lnTo>
                <a:lnTo>
                  <a:pt x="4166" y="7878"/>
                </a:lnTo>
                <a:lnTo>
                  <a:pt x="4164" y="7880"/>
                </a:lnTo>
                <a:lnTo>
                  <a:pt x="4166" y="7884"/>
                </a:lnTo>
                <a:lnTo>
                  <a:pt x="4170" y="7884"/>
                </a:lnTo>
                <a:lnTo>
                  <a:pt x="4174" y="7880"/>
                </a:lnTo>
                <a:lnTo>
                  <a:pt x="4178" y="7878"/>
                </a:lnTo>
                <a:lnTo>
                  <a:pt x="4180" y="7878"/>
                </a:lnTo>
                <a:lnTo>
                  <a:pt x="4182" y="7880"/>
                </a:lnTo>
                <a:lnTo>
                  <a:pt x="4186" y="7880"/>
                </a:lnTo>
                <a:lnTo>
                  <a:pt x="4190" y="7878"/>
                </a:lnTo>
                <a:lnTo>
                  <a:pt x="4192" y="7880"/>
                </a:lnTo>
                <a:lnTo>
                  <a:pt x="4196" y="7880"/>
                </a:lnTo>
                <a:lnTo>
                  <a:pt x="4200" y="7878"/>
                </a:lnTo>
                <a:lnTo>
                  <a:pt x="4200" y="7876"/>
                </a:lnTo>
                <a:lnTo>
                  <a:pt x="4198" y="7874"/>
                </a:lnTo>
                <a:lnTo>
                  <a:pt x="4194" y="7874"/>
                </a:lnTo>
                <a:close/>
                <a:moveTo>
                  <a:pt x="4054" y="7888"/>
                </a:moveTo>
                <a:lnTo>
                  <a:pt x="4054" y="7888"/>
                </a:lnTo>
                <a:lnTo>
                  <a:pt x="4026" y="7886"/>
                </a:lnTo>
                <a:lnTo>
                  <a:pt x="4018" y="7888"/>
                </a:lnTo>
                <a:lnTo>
                  <a:pt x="4020" y="7890"/>
                </a:lnTo>
                <a:lnTo>
                  <a:pt x="4022" y="7892"/>
                </a:lnTo>
                <a:lnTo>
                  <a:pt x="4024" y="7894"/>
                </a:lnTo>
                <a:lnTo>
                  <a:pt x="4024" y="7896"/>
                </a:lnTo>
                <a:lnTo>
                  <a:pt x="4024" y="7898"/>
                </a:lnTo>
                <a:lnTo>
                  <a:pt x="4026" y="7906"/>
                </a:lnTo>
                <a:lnTo>
                  <a:pt x="4028" y="7906"/>
                </a:lnTo>
                <a:lnTo>
                  <a:pt x="4032" y="7908"/>
                </a:lnTo>
                <a:lnTo>
                  <a:pt x="4042" y="7908"/>
                </a:lnTo>
                <a:lnTo>
                  <a:pt x="4046" y="7906"/>
                </a:lnTo>
                <a:lnTo>
                  <a:pt x="4046" y="7904"/>
                </a:lnTo>
                <a:lnTo>
                  <a:pt x="4046" y="7902"/>
                </a:lnTo>
                <a:lnTo>
                  <a:pt x="4050" y="7902"/>
                </a:lnTo>
                <a:lnTo>
                  <a:pt x="4054" y="7904"/>
                </a:lnTo>
                <a:lnTo>
                  <a:pt x="4054" y="7906"/>
                </a:lnTo>
                <a:lnTo>
                  <a:pt x="4054" y="7910"/>
                </a:lnTo>
                <a:lnTo>
                  <a:pt x="4058" y="7910"/>
                </a:lnTo>
                <a:lnTo>
                  <a:pt x="4062" y="7910"/>
                </a:lnTo>
                <a:lnTo>
                  <a:pt x="4066" y="7908"/>
                </a:lnTo>
                <a:lnTo>
                  <a:pt x="4068" y="7898"/>
                </a:lnTo>
                <a:lnTo>
                  <a:pt x="4070" y="7894"/>
                </a:lnTo>
                <a:lnTo>
                  <a:pt x="4068" y="7892"/>
                </a:lnTo>
                <a:lnTo>
                  <a:pt x="4064" y="7890"/>
                </a:lnTo>
                <a:lnTo>
                  <a:pt x="4060" y="7888"/>
                </a:lnTo>
                <a:lnTo>
                  <a:pt x="4054" y="7888"/>
                </a:lnTo>
                <a:close/>
                <a:moveTo>
                  <a:pt x="4070" y="7910"/>
                </a:moveTo>
                <a:lnTo>
                  <a:pt x="4070" y="7910"/>
                </a:lnTo>
                <a:lnTo>
                  <a:pt x="4070" y="7912"/>
                </a:lnTo>
                <a:lnTo>
                  <a:pt x="4074" y="7912"/>
                </a:lnTo>
                <a:lnTo>
                  <a:pt x="4076" y="7910"/>
                </a:lnTo>
                <a:lnTo>
                  <a:pt x="4078" y="7908"/>
                </a:lnTo>
                <a:lnTo>
                  <a:pt x="4076" y="7904"/>
                </a:lnTo>
                <a:lnTo>
                  <a:pt x="4074" y="7906"/>
                </a:lnTo>
                <a:lnTo>
                  <a:pt x="4070" y="7908"/>
                </a:lnTo>
                <a:lnTo>
                  <a:pt x="4070" y="7910"/>
                </a:lnTo>
                <a:close/>
                <a:moveTo>
                  <a:pt x="4088" y="7908"/>
                </a:moveTo>
                <a:lnTo>
                  <a:pt x="4088" y="7908"/>
                </a:lnTo>
                <a:lnTo>
                  <a:pt x="4092" y="7908"/>
                </a:lnTo>
                <a:lnTo>
                  <a:pt x="4094" y="7906"/>
                </a:lnTo>
                <a:lnTo>
                  <a:pt x="4094" y="7904"/>
                </a:lnTo>
                <a:lnTo>
                  <a:pt x="4092" y="7902"/>
                </a:lnTo>
                <a:lnTo>
                  <a:pt x="4090" y="7902"/>
                </a:lnTo>
                <a:lnTo>
                  <a:pt x="4088" y="7904"/>
                </a:lnTo>
                <a:lnTo>
                  <a:pt x="4086" y="7906"/>
                </a:lnTo>
                <a:lnTo>
                  <a:pt x="4088" y="7908"/>
                </a:lnTo>
                <a:close/>
                <a:moveTo>
                  <a:pt x="1488" y="2116"/>
                </a:moveTo>
                <a:lnTo>
                  <a:pt x="1488" y="2116"/>
                </a:lnTo>
                <a:lnTo>
                  <a:pt x="1490" y="2118"/>
                </a:lnTo>
                <a:lnTo>
                  <a:pt x="1492" y="2118"/>
                </a:lnTo>
                <a:lnTo>
                  <a:pt x="1494" y="2118"/>
                </a:lnTo>
                <a:lnTo>
                  <a:pt x="1498" y="2114"/>
                </a:lnTo>
                <a:lnTo>
                  <a:pt x="1498" y="2110"/>
                </a:lnTo>
                <a:lnTo>
                  <a:pt x="1496" y="2108"/>
                </a:lnTo>
                <a:lnTo>
                  <a:pt x="1492" y="2110"/>
                </a:lnTo>
                <a:lnTo>
                  <a:pt x="1490" y="2112"/>
                </a:lnTo>
                <a:lnTo>
                  <a:pt x="1488" y="2116"/>
                </a:lnTo>
                <a:close/>
                <a:moveTo>
                  <a:pt x="1514" y="2102"/>
                </a:moveTo>
                <a:lnTo>
                  <a:pt x="1514" y="2102"/>
                </a:lnTo>
                <a:lnTo>
                  <a:pt x="1518" y="2098"/>
                </a:lnTo>
                <a:lnTo>
                  <a:pt x="1522" y="2092"/>
                </a:lnTo>
                <a:lnTo>
                  <a:pt x="1524" y="2088"/>
                </a:lnTo>
                <a:lnTo>
                  <a:pt x="1522" y="2088"/>
                </a:lnTo>
                <a:lnTo>
                  <a:pt x="1516" y="2094"/>
                </a:lnTo>
                <a:lnTo>
                  <a:pt x="1508" y="2100"/>
                </a:lnTo>
                <a:lnTo>
                  <a:pt x="1506" y="2102"/>
                </a:lnTo>
                <a:lnTo>
                  <a:pt x="1508" y="2106"/>
                </a:lnTo>
                <a:lnTo>
                  <a:pt x="1510" y="2106"/>
                </a:lnTo>
                <a:lnTo>
                  <a:pt x="1514" y="2102"/>
                </a:lnTo>
                <a:close/>
                <a:moveTo>
                  <a:pt x="1474" y="2094"/>
                </a:moveTo>
                <a:lnTo>
                  <a:pt x="1474" y="2094"/>
                </a:lnTo>
                <a:lnTo>
                  <a:pt x="1476" y="2096"/>
                </a:lnTo>
                <a:lnTo>
                  <a:pt x="1480" y="2092"/>
                </a:lnTo>
                <a:lnTo>
                  <a:pt x="1478" y="2088"/>
                </a:lnTo>
                <a:lnTo>
                  <a:pt x="1474" y="2088"/>
                </a:lnTo>
                <a:lnTo>
                  <a:pt x="1470" y="2090"/>
                </a:lnTo>
                <a:lnTo>
                  <a:pt x="1470" y="2092"/>
                </a:lnTo>
                <a:lnTo>
                  <a:pt x="1474" y="2094"/>
                </a:lnTo>
                <a:close/>
                <a:moveTo>
                  <a:pt x="1420" y="2104"/>
                </a:moveTo>
                <a:lnTo>
                  <a:pt x="1420" y="2104"/>
                </a:lnTo>
                <a:lnTo>
                  <a:pt x="1418" y="2100"/>
                </a:lnTo>
                <a:lnTo>
                  <a:pt x="1416" y="2096"/>
                </a:lnTo>
                <a:lnTo>
                  <a:pt x="1408" y="2088"/>
                </a:lnTo>
                <a:lnTo>
                  <a:pt x="1406" y="2084"/>
                </a:lnTo>
                <a:lnTo>
                  <a:pt x="1406" y="2082"/>
                </a:lnTo>
                <a:lnTo>
                  <a:pt x="1408" y="2080"/>
                </a:lnTo>
                <a:lnTo>
                  <a:pt x="1406" y="2078"/>
                </a:lnTo>
                <a:lnTo>
                  <a:pt x="1404" y="2072"/>
                </a:lnTo>
                <a:lnTo>
                  <a:pt x="1402" y="2074"/>
                </a:lnTo>
                <a:lnTo>
                  <a:pt x="1400" y="2076"/>
                </a:lnTo>
                <a:lnTo>
                  <a:pt x="1398" y="2080"/>
                </a:lnTo>
                <a:lnTo>
                  <a:pt x="1402" y="2088"/>
                </a:lnTo>
                <a:lnTo>
                  <a:pt x="1410" y="2100"/>
                </a:lnTo>
                <a:lnTo>
                  <a:pt x="1414" y="2106"/>
                </a:lnTo>
                <a:lnTo>
                  <a:pt x="1418" y="2108"/>
                </a:lnTo>
                <a:lnTo>
                  <a:pt x="1420" y="2108"/>
                </a:lnTo>
                <a:lnTo>
                  <a:pt x="1420" y="2104"/>
                </a:lnTo>
                <a:close/>
                <a:moveTo>
                  <a:pt x="628" y="1922"/>
                </a:moveTo>
                <a:lnTo>
                  <a:pt x="628" y="1922"/>
                </a:lnTo>
                <a:lnTo>
                  <a:pt x="624" y="1918"/>
                </a:lnTo>
                <a:lnTo>
                  <a:pt x="624" y="1916"/>
                </a:lnTo>
                <a:lnTo>
                  <a:pt x="624" y="1912"/>
                </a:lnTo>
                <a:lnTo>
                  <a:pt x="622" y="1908"/>
                </a:lnTo>
                <a:lnTo>
                  <a:pt x="618" y="1906"/>
                </a:lnTo>
                <a:lnTo>
                  <a:pt x="616" y="1906"/>
                </a:lnTo>
                <a:lnTo>
                  <a:pt x="612" y="1908"/>
                </a:lnTo>
                <a:lnTo>
                  <a:pt x="608" y="1906"/>
                </a:lnTo>
                <a:lnTo>
                  <a:pt x="602" y="1902"/>
                </a:lnTo>
                <a:lnTo>
                  <a:pt x="596" y="1900"/>
                </a:lnTo>
                <a:lnTo>
                  <a:pt x="592" y="1900"/>
                </a:lnTo>
                <a:lnTo>
                  <a:pt x="592" y="1902"/>
                </a:lnTo>
                <a:lnTo>
                  <a:pt x="592" y="1904"/>
                </a:lnTo>
                <a:lnTo>
                  <a:pt x="594" y="1908"/>
                </a:lnTo>
                <a:lnTo>
                  <a:pt x="592" y="1910"/>
                </a:lnTo>
                <a:lnTo>
                  <a:pt x="588" y="1914"/>
                </a:lnTo>
                <a:lnTo>
                  <a:pt x="580" y="1914"/>
                </a:lnTo>
                <a:lnTo>
                  <a:pt x="578" y="1912"/>
                </a:lnTo>
                <a:lnTo>
                  <a:pt x="574" y="1908"/>
                </a:lnTo>
                <a:lnTo>
                  <a:pt x="570" y="1904"/>
                </a:lnTo>
                <a:lnTo>
                  <a:pt x="568" y="1906"/>
                </a:lnTo>
                <a:lnTo>
                  <a:pt x="566" y="1912"/>
                </a:lnTo>
                <a:lnTo>
                  <a:pt x="564" y="1918"/>
                </a:lnTo>
                <a:lnTo>
                  <a:pt x="564" y="1922"/>
                </a:lnTo>
                <a:lnTo>
                  <a:pt x="562" y="1924"/>
                </a:lnTo>
                <a:lnTo>
                  <a:pt x="558" y="1922"/>
                </a:lnTo>
                <a:lnTo>
                  <a:pt x="550" y="1922"/>
                </a:lnTo>
                <a:lnTo>
                  <a:pt x="544" y="1924"/>
                </a:lnTo>
                <a:lnTo>
                  <a:pt x="538" y="1926"/>
                </a:lnTo>
                <a:lnTo>
                  <a:pt x="534" y="1932"/>
                </a:lnTo>
                <a:lnTo>
                  <a:pt x="530" y="1936"/>
                </a:lnTo>
                <a:lnTo>
                  <a:pt x="530" y="1940"/>
                </a:lnTo>
                <a:lnTo>
                  <a:pt x="530" y="1944"/>
                </a:lnTo>
                <a:lnTo>
                  <a:pt x="534" y="1952"/>
                </a:lnTo>
                <a:lnTo>
                  <a:pt x="538" y="1962"/>
                </a:lnTo>
                <a:lnTo>
                  <a:pt x="542" y="1968"/>
                </a:lnTo>
                <a:lnTo>
                  <a:pt x="544" y="1970"/>
                </a:lnTo>
                <a:lnTo>
                  <a:pt x="548" y="1970"/>
                </a:lnTo>
                <a:lnTo>
                  <a:pt x="550" y="1968"/>
                </a:lnTo>
                <a:lnTo>
                  <a:pt x="556" y="1964"/>
                </a:lnTo>
                <a:lnTo>
                  <a:pt x="560" y="1964"/>
                </a:lnTo>
                <a:lnTo>
                  <a:pt x="562" y="1964"/>
                </a:lnTo>
                <a:lnTo>
                  <a:pt x="564" y="1966"/>
                </a:lnTo>
                <a:lnTo>
                  <a:pt x="562" y="1968"/>
                </a:lnTo>
                <a:lnTo>
                  <a:pt x="560" y="1972"/>
                </a:lnTo>
                <a:lnTo>
                  <a:pt x="556" y="1978"/>
                </a:lnTo>
                <a:lnTo>
                  <a:pt x="556" y="1980"/>
                </a:lnTo>
                <a:lnTo>
                  <a:pt x="560" y="1980"/>
                </a:lnTo>
                <a:lnTo>
                  <a:pt x="566" y="1976"/>
                </a:lnTo>
                <a:lnTo>
                  <a:pt x="574" y="1970"/>
                </a:lnTo>
                <a:lnTo>
                  <a:pt x="576" y="1966"/>
                </a:lnTo>
                <a:lnTo>
                  <a:pt x="576" y="1962"/>
                </a:lnTo>
                <a:lnTo>
                  <a:pt x="578" y="1956"/>
                </a:lnTo>
                <a:lnTo>
                  <a:pt x="580" y="1954"/>
                </a:lnTo>
                <a:lnTo>
                  <a:pt x="586" y="1950"/>
                </a:lnTo>
                <a:lnTo>
                  <a:pt x="596" y="1948"/>
                </a:lnTo>
                <a:lnTo>
                  <a:pt x="610" y="1946"/>
                </a:lnTo>
                <a:lnTo>
                  <a:pt x="620" y="1940"/>
                </a:lnTo>
                <a:lnTo>
                  <a:pt x="628" y="1936"/>
                </a:lnTo>
                <a:lnTo>
                  <a:pt x="632" y="1930"/>
                </a:lnTo>
                <a:lnTo>
                  <a:pt x="632" y="1924"/>
                </a:lnTo>
                <a:lnTo>
                  <a:pt x="632" y="1922"/>
                </a:lnTo>
                <a:lnTo>
                  <a:pt x="628" y="1922"/>
                </a:lnTo>
                <a:close/>
                <a:moveTo>
                  <a:pt x="620" y="1874"/>
                </a:moveTo>
                <a:lnTo>
                  <a:pt x="620" y="1874"/>
                </a:lnTo>
                <a:lnTo>
                  <a:pt x="616" y="1870"/>
                </a:lnTo>
                <a:lnTo>
                  <a:pt x="612" y="1868"/>
                </a:lnTo>
                <a:lnTo>
                  <a:pt x="608" y="1870"/>
                </a:lnTo>
                <a:lnTo>
                  <a:pt x="608" y="1876"/>
                </a:lnTo>
                <a:lnTo>
                  <a:pt x="608" y="1880"/>
                </a:lnTo>
                <a:lnTo>
                  <a:pt x="606" y="1880"/>
                </a:lnTo>
                <a:lnTo>
                  <a:pt x="602" y="1880"/>
                </a:lnTo>
                <a:lnTo>
                  <a:pt x="596" y="1882"/>
                </a:lnTo>
                <a:lnTo>
                  <a:pt x="592" y="1886"/>
                </a:lnTo>
                <a:lnTo>
                  <a:pt x="592" y="1890"/>
                </a:lnTo>
                <a:lnTo>
                  <a:pt x="594" y="1894"/>
                </a:lnTo>
                <a:lnTo>
                  <a:pt x="600" y="1898"/>
                </a:lnTo>
                <a:lnTo>
                  <a:pt x="606" y="1900"/>
                </a:lnTo>
                <a:lnTo>
                  <a:pt x="610" y="1898"/>
                </a:lnTo>
                <a:lnTo>
                  <a:pt x="614" y="1894"/>
                </a:lnTo>
                <a:lnTo>
                  <a:pt x="618" y="1890"/>
                </a:lnTo>
                <a:lnTo>
                  <a:pt x="622" y="1890"/>
                </a:lnTo>
                <a:lnTo>
                  <a:pt x="632" y="1888"/>
                </a:lnTo>
                <a:lnTo>
                  <a:pt x="636" y="1886"/>
                </a:lnTo>
                <a:lnTo>
                  <a:pt x="640" y="1884"/>
                </a:lnTo>
                <a:lnTo>
                  <a:pt x="640" y="1880"/>
                </a:lnTo>
                <a:lnTo>
                  <a:pt x="636" y="1874"/>
                </a:lnTo>
                <a:lnTo>
                  <a:pt x="634" y="1872"/>
                </a:lnTo>
                <a:lnTo>
                  <a:pt x="632" y="1872"/>
                </a:lnTo>
                <a:lnTo>
                  <a:pt x="628" y="1874"/>
                </a:lnTo>
                <a:lnTo>
                  <a:pt x="624" y="1876"/>
                </a:lnTo>
                <a:lnTo>
                  <a:pt x="622" y="1876"/>
                </a:lnTo>
                <a:lnTo>
                  <a:pt x="620" y="1874"/>
                </a:lnTo>
                <a:close/>
                <a:moveTo>
                  <a:pt x="830" y="1754"/>
                </a:moveTo>
                <a:lnTo>
                  <a:pt x="830" y="1754"/>
                </a:lnTo>
                <a:lnTo>
                  <a:pt x="820" y="1766"/>
                </a:lnTo>
                <a:lnTo>
                  <a:pt x="804" y="1784"/>
                </a:lnTo>
                <a:lnTo>
                  <a:pt x="802" y="1786"/>
                </a:lnTo>
                <a:lnTo>
                  <a:pt x="806" y="1786"/>
                </a:lnTo>
                <a:lnTo>
                  <a:pt x="818" y="1782"/>
                </a:lnTo>
                <a:lnTo>
                  <a:pt x="822" y="1780"/>
                </a:lnTo>
                <a:lnTo>
                  <a:pt x="826" y="1776"/>
                </a:lnTo>
                <a:lnTo>
                  <a:pt x="828" y="1772"/>
                </a:lnTo>
                <a:lnTo>
                  <a:pt x="834" y="1764"/>
                </a:lnTo>
                <a:lnTo>
                  <a:pt x="840" y="1756"/>
                </a:lnTo>
                <a:lnTo>
                  <a:pt x="840" y="1752"/>
                </a:lnTo>
                <a:lnTo>
                  <a:pt x="838" y="1752"/>
                </a:lnTo>
                <a:lnTo>
                  <a:pt x="836" y="1750"/>
                </a:lnTo>
                <a:lnTo>
                  <a:pt x="830" y="1754"/>
                </a:lnTo>
                <a:close/>
                <a:moveTo>
                  <a:pt x="864" y="1744"/>
                </a:moveTo>
                <a:lnTo>
                  <a:pt x="864" y="1744"/>
                </a:lnTo>
                <a:lnTo>
                  <a:pt x="856" y="1742"/>
                </a:lnTo>
                <a:lnTo>
                  <a:pt x="852" y="1744"/>
                </a:lnTo>
                <a:lnTo>
                  <a:pt x="852" y="1748"/>
                </a:lnTo>
                <a:lnTo>
                  <a:pt x="852" y="1756"/>
                </a:lnTo>
                <a:lnTo>
                  <a:pt x="856" y="1758"/>
                </a:lnTo>
                <a:lnTo>
                  <a:pt x="860" y="1756"/>
                </a:lnTo>
                <a:lnTo>
                  <a:pt x="870" y="1752"/>
                </a:lnTo>
                <a:lnTo>
                  <a:pt x="874" y="1750"/>
                </a:lnTo>
                <a:lnTo>
                  <a:pt x="874" y="1748"/>
                </a:lnTo>
                <a:lnTo>
                  <a:pt x="872" y="1746"/>
                </a:lnTo>
                <a:lnTo>
                  <a:pt x="864" y="1744"/>
                </a:lnTo>
                <a:close/>
                <a:moveTo>
                  <a:pt x="1368" y="1942"/>
                </a:moveTo>
                <a:lnTo>
                  <a:pt x="1368" y="1942"/>
                </a:lnTo>
                <a:lnTo>
                  <a:pt x="1372" y="1942"/>
                </a:lnTo>
                <a:lnTo>
                  <a:pt x="1372" y="1940"/>
                </a:lnTo>
                <a:lnTo>
                  <a:pt x="1372" y="1934"/>
                </a:lnTo>
                <a:lnTo>
                  <a:pt x="1370" y="1928"/>
                </a:lnTo>
                <a:lnTo>
                  <a:pt x="1370" y="1924"/>
                </a:lnTo>
                <a:lnTo>
                  <a:pt x="1372" y="1922"/>
                </a:lnTo>
                <a:lnTo>
                  <a:pt x="1372" y="1920"/>
                </a:lnTo>
                <a:lnTo>
                  <a:pt x="1370" y="1912"/>
                </a:lnTo>
                <a:lnTo>
                  <a:pt x="1360" y="1892"/>
                </a:lnTo>
                <a:lnTo>
                  <a:pt x="1358" y="1888"/>
                </a:lnTo>
                <a:lnTo>
                  <a:pt x="1356" y="1886"/>
                </a:lnTo>
                <a:lnTo>
                  <a:pt x="1350" y="1886"/>
                </a:lnTo>
                <a:lnTo>
                  <a:pt x="1344" y="1884"/>
                </a:lnTo>
                <a:lnTo>
                  <a:pt x="1342" y="1884"/>
                </a:lnTo>
                <a:lnTo>
                  <a:pt x="1338" y="1880"/>
                </a:lnTo>
                <a:lnTo>
                  <a:pt x="1332" y="1876"/>
                </a:lnTo>
                <a:lnTo>
                  <a:pt x="1332" y="1878"/>
                </a:lnTo>
                <a:lnTo>
                  <a:pt x="1334" y="1894"/>
                </a:lnTo>
                <a:lnTo>
                  <a:pt x="1338" y="1912"/>
                </a:lnTo>
                <a:lnTo>
                  <a:pt x="1340" y="1922"/>
                </a:lnTo>
                <a:lnTo>
                  <a:pt x="1344" y="1932"/>
                </a:lnTo>
                <a:lnTo>
                  <a:pt x="1348" y="1940"/>
                </a:lnTo>
                <a:lnTo>
                  <a:pt x="1346" y="1942"/>
                </a:lnTo>
                <a:lnTo>
                  <a:pt x="1342" y="1946"/>
                </a:lnTo>
                <a:lnTo>
                  <a:pt x="1342" y="1950"/>
                </a:lnTo>
                <a:lnTo>
                  <a:pt x="1342" y="1956"/>
                </a:lnTo>
                <a:lnTo>
                  <a:pt x="1342" y="1960"/>
                </a:lnTo>
                <a:lnTo>
                  <a:pt x="1346" y="1960"/>
                </a:lnTo>
                <a:lnTo>
                  <a:pt x="1358" y="1954"/>
                </a:lnTo>
                <a:lnTo>
                  <a:pt x="1360" y="1952"/>
                </a:lnTo>
                <a:lnTo>
                  <a:pt x="1362" y="1950"/>
                </a:lnTo>
                <a:lnTo>
                  <a:pt x="1362" y="1946"/>
                </a:lnTo>
                <a:lnTo>
                  <a:pt x="1362" y="1944"/>
                </a:lnTo>
                <a:lnTo>
                  <a:pt x="1368" y="1942"/>
                </a:lnTo>
                <a:close/>
                <a:moveTo>
                  <a:pt x="1338" y="1970"/>
                </a:moveTo>
                <a:lnTo>
                  <a:pt x="1338" y="1970"/>
                </a:lnTo>
                <a:lnTo>
                  <a:pt x="1334" y="1956"/>
                </a:lnTo>
                <a:lnTo>
                  <a:pt x="1332" y="1946"/>
                </a:lnTo>
                <a:lnTo>
                  <a:pt x="1326" y="1938"/>
                </a:lnTo>
                <a:lnTo>
                  <a:pt x="1316" y="1932"/>
                </a:lnTo>
                <a:lnTo>
                  <a:pt x="1312" y="1930"/>
                </a:lnTo>
                <a:lnTo>
                  <a:pt x="1308" y="1930"/>
                </a:lnTo>
                <a:lnTo>
                  <a:pt x="1304" y="1932"/>
                </a:lnTo>
                <a:lnTo>
                  <a:pt x="1302" y="1934"/>
                </a:lnTo>
                <a:lnTo>
                  <a:pt x="1302" y="1942"/>
                </a:lnTo>
                <a:lnTo>
                  <a:pt x="1302" y="1946"/>
                </a:lnTo>
                <a:lnTo>
                  <a:pt x="1310" y="1952"/>
                </a:lnTo>
                <a:lnTo>
                  <a:pt x="1312" y="1958"/>
                </a:lnTo>
                <a:lnTo>
                  <a:pt x="1312" y="1966"/>
                </a:lnTo>
                <a:lnTo>
                  <a:pt x="1312" y="1970"/>
                </a:lnTo>
                <a:lnTo>
                  <a:pt x="1312" y="1972"/>
                </a:lnTo>
                <a:lnTo>
                  <a:pt x="1316" y="1976"/>
                </a:lnTo>
                <a:lnTo>
                  <a:pt x="1320" y="1978"/>
                </a:lnTo>
                <a:lnTo>
                  <a:pt x="1320" y="1980"/>
                </a:lnTo>
                <a:lnTo>
                  <a:pt x="1320" y="1984"/>
                </a:lnTo>
                <a:lnTo>
                  <a:pt x="1322" y="1988"/>
                </a:lnTo>
                <a:lnTo>
                  <a:pt x="1324" y="1988"/>
                </a:lnTo>
                <a:lnTo>
                  <a:pt x="1326" y="1988"/>
                </a:lnTo>
                <a:lnTo>
                  <a:pt x="1326" y="1992"/>
                </a:lnTo>
                <a:lnTo>
                  <a:pt x="1326" y="1998"/>
                </a:lnTo>
                <a:lnTo>
                  <a:pt x="1326" y="2002"/>
                </a:lnTo>
                <a:lnTo>
                  <a:pt x="1332" y="2006"/>
                </a:lnTo>
                <a:lnTo>
                  <a:pt x="1338" y="2016"/>
                </a:lnTo>
                <a:lnTo>
                  <a:pt x="1340" y="2016"/>
                </a:lnTo>
                <a:lnTo>
                  <a:pt x="1342" y="2014"/>
                </a:lnTo>
                <a:lnTo>
                  <a:pt x="1342" y="2008"/>
                </a:lnTo>
                <a:lnTo>
                  <a:pt x="1340" y="1998"/>
                </a:lnTo>
                <a:lnTo>
                  <a:pt x="1340" y="1992"/>
                </a:lnTo>
                <a:lnTo>
                  <a:pt x="1340" y="1990"/>
                </a:lnTo>
                <a:lnTo>
                  <a:pt x="1342" y="1984"/>
                </a:lnTo>
                <a:lnTo>
                  <a:pt x="1338" y="1970"/>
                </a:lnTo>
                <a:close/>
                <a:moveTo>
                  <a:pt x="1294" y="1940"/>
                </a:moveTo>
                <a:lnTo>
                  <a:pt x="1294" y="1940"/>
                </a:lnTo>
                <a:lnTo>
                  <a:pt x="1292" y="1942"/>
                </a:lnTo>
                <a:lnTo>
                  <a:pt x="1292" y="1946"/>
                </a:lnTo>
                <a:lnTo>
                  <a:pt x="1292" y="1954"/>
                </a:lnTo>
                <a:lnTo>
                  <a:pt x="1292" y="1962"/>
                </a:lnTo>
                <a:lnTo>
                  <a:pt x="1294" y="1962"/>
                </a:lnTo>
                <a:lnTo>
                  <a:pt x="1298" y="1962"/>
                </a:lnTo>
                <a:lnTo>
                  <a:pt x="1300" y="1960"/>
                </a:lnTo>
                <a:lnTo>
                  <a:pt x="1300" y="1956"/>
                </a:lnTo>
                <a:lnTo>
                  <a:pt x="1300" y="1948"/>
                </a:lnTo>
                <a:lnTo>
                  <a:pt x="1296" y="1942"/>
                </a:lnTo>
                <a:lnTo>
                  <a:pt x="1294" y="1940"/>
                </a:lnTo>
                <a:close/>
                <a:moveTo>
                  <a:pt x="1300" y="1922"/>
                </a:moveTo>
                <a:lnTo>
                  <a:pt x="1300" y="1922"/>
                </a:lnTo>
                <a:lnTo>
                  <a:pt x="1298" y="1916"/>
                </a:lnTo>
                <a:lnTo>
                  <a:pt x="1300" y="1914"/>
                </a:lnTo>
                <a:lnTo>
                  <a:pt x="1304" y="1916"/>
                </a:lnTo>
                <a:lnTo>
                  <a:pt x="1314" y="1922"/>
                </a:lnTo>
                <a:lnTo>
                  <a:pt x="1324" y="1928"/>
                </a:lnTo>
                <a:lnTo>
                  <a:pt x="1330" y="1930"/>
                </a:lnTo>
                <a:lnTo>
                  <a:pt x="1332" y="1930"/>
                </a:lnTo>
                <a:lnTo>
                  <a:pt x="1334" y="1928"/>
                </a:lnTo>
                <a:lnTo>
                  <a:pt x="1332" y="1920"/>
                </a:lnTo>
                <a:lnTo>
                  <a:pt x="1328" y="1910"/>
                </a:lnTo>
                <a:lnTo>
                  <a:pt x="1328" y="1908"/>
                </a:lnTo>
                <a:lnTo>
                  <a:pt x="1330" y="1902"/>
                </a:lnTo>
                <a:lnTo>
                  <a:pt x="1330" y="1900"/>
                </a:lnTo>
                <a:lnTo>
                  <a:pt x="1328" y="1896"/>
                </a:lnTo>
                <a:lnTo>
                  <a:pt x="1320" y="1890"/>
                </a:lnTo>
                <a:lnTo>
                  <a:pt x="1302" y="1882"/>
                </a:lnTo>
                <a:lnTo>
                  <a:pt x="1294" y="1880"/>
                </a:lnTo>
                <a:lnTo>
                  <a:pt x="1288" y="1882"/>
                </a:lnTo>
                <a:lnTo>
                  <a:pt x="1284" y="1884"/>
                </a:lnTo>
                <a:lnTo>
                  <a:pt x="1278" y="1884"/>
                </a:lnTo>
                <a:lnTo>
                  <a:pt x="1274" y="1884"/>
                </a:lnTo>
                <a:lnTo>
                  <a:pt x="1272" y="1886"/>
                </a:lnTo>
                <a:lnTo>
                  <a:pt x="1268" y="1892"/>
                </a:lnTo>
                <a:lnTo>
                  <a:pt x="1266" y="1898"/>
                </a:lnTo>
                <a:lnTo>
                  <a:pt x="1266" y="1902"/>
                </a:lnTo>
                <a:lnTo>
                  <a:pt x="1268" y="1906"/>
                </a:lnTo>
                <a:lnTo>
                  <a:pt x="1276" y="1910"/>
                </a:lnTo>
                <a:lnTo>
                  <a:pt x="1278" y="1912"/>
                </a:lnTo>
                <a:lnTo>
                  <a:pt x="1280" y="1914"/>
                </a:lnTo>
                <a:lnTo>
                  <a:pt x="1280" y="1918"/>
                </a:lnTo>
                <a:lnTo>
                  <a:pt x="1280" y="1924"/>
                </a:lnTo>
                <a:lnTo>
                  <a:pt x="1284" y="1928"/>
                </a:lnTo>
                <a:lnTo>
                  <a:pt x="1288" y="1932"/>
                </a:lnTo>
                <a:lnTo>
                  <a:pt x="1294" y="1934"/>
                </a:lnTo>
                <a:lnTo>
                  <a:pt x="1298" y="1932"/>
                </a:lnTo>
                <a:lnTo>
                  <a:pt x="1302" y="1926"/>
                </a:lnTo>
                <a:lnTo>
                  <a:pt x="1302" y="1924"/>
                </a:lnTo>
                <a:lnTo>
                  <a:pt x="1300" y="1922"/>
                </a:lnTo>
                <a:close/>
                <a:moveTo>
                  <a:pt x="1404" y="1984"/>
                </a:moveTo>
                <a:lnTo>
                  <a:pt x="1404" y="1984"/>
                </a:lnTo>
                <a:lnTo>
                  <a:pt x="1406" y="1982"/>
                </a:lnTo>
                <a:lnTo>
                  <a:pt x="1408" y="1976"/>
                </a:lnTo>
                <a:lnTo>
                  <a:pt x="1410" y="1970"/>
                </a:lnTo>
                <a:lnTo>
                  <a:pt x="1408" y="1964"/>
                </a:lnTo>
                <a:lnTo>
                  <a:pt x="1404" y="1962"/>
                </a:lnTo>
                <a:lnTo>
                  <a:pt x="1400" y="1962"/>
                </a:lnTo>
                <a:lnTo>
                  <a:pt x="1394" y="1962"/>
                </a:lnTo>
                <a:lnTo>
                  <a:pt x="1388" y="1960"/>
                </a:lnTo>
                <a:lnTo>
                  <a:pt x="1382" y="1956"/>
                </a:lnTo>
                <a:lnTo>
                  <a:pt x="1374" y="1956"/>
                </a:lnTo>
                <a:lnTo>
                  <a:pt x="1370" y="1958"/>
                </a:lnTo>
                <a:lnTo>
                  <a:pt x="1370" y="1962"/>
                </a:lnTo>
                <a:lnTo>
                  <a:pt x="1370" y="1966"/>
                </a:lnTo>
                <a:lnTo>
                  <a:pt x="1370" y="1970"/>
                </a:lnTo>
                <a:lnTo>
                  <a:pt x="1372" y="1970"/>
                </a:lnTo>
                <a:lnTo>
                  <a:pt x="1378" y="1970"/>
                </a:lnTo>
                <a:lnTo>
                  <a:pt x="1380" y="1970"/>
                </a:lnTo>
                <a:lnTo>
                  <a:pt x="1382" y="1972"/>
                </a:lnTo>
                <a:lnTo>
                  <a:pt x="1382" y="1976"/>
                </a:lnTo>
                <a:lnTo>
                  <a:pt x="1382" y="1982"/>
                </a:lnTo>
                <a:lnTo>
                  <a:pt x="1382" y="1992"/>
                </a:lnTo>
                <a:lnTo>
                  <a:pt x="1384" y="1994"/>
                </a:lnTo>
                <a:lnTo>
                  <a:pt x="1386" y="1996"/>
                </a:lnTo>
                <a:lnTo>
                  <a:pt x="1390" y="1996"/>
                </a:lnTo>
                <a:lnTo>
                  <a:pt x="1398" y="1996"/>
                </a:lnTo>
                <a:lnTo>
                  <a:pt x="1402" y="1996"/>
                </a:lnTo>
                <a:lnTo>
                  <a:pt x="1404" y="1996"/>
                </a:lnTo>
                <a:lnTo>
                  <a:pt x="1404" y="1992"/>
                </a:lnTo>
                <a:lnTo>
                  <a:pt x="1404" y="1988"/>
                </a:lnTo>
                <a:lnTo>
                  <a:pt x="1404" y="1986"/>
                </a:lnTo>
                <a:lnTo>
                  <a:pt x="1404" y="1984"/>
                </a:lnTo>
                <a:close/>
                <a:moveTo>
                  <a:pt x="1376" y="1988"/>
                </a:moveTo>
                <a:lnTo>
                  <a:pt x="1376" y="1988"/>
                </a:lnTo>
                <a:lnTo>
                  <a:pt x="1378" y="1980"/>
                </a:lnTo>
                <a:lnTo>
                  <a:pt x="1376" y="1978"/>
                </a:lnTo>
                <a:lnTo>
                  <a:pt x="1374" y="1976"/>
                </a:lnTo>
                <a:lnTo>
                  <a:pt x="1370" y="1974"/>
                </a:lnTo>
                <a:lnTo>
                  <a:pt x="1366" y="1970"/>
                </a:lnTo>
                <a:lnTo>
                  <a:pt x="1364" y="1966"/>
                </a:lnTo>
                <a:lnTo>
                  <a:pt x="1360" y="1966"/>
                </a:lnTo>
                <a:lnTo>
                  <a:pt x="1356" y="1968"/>
                </a:lnTo>
                <a:lnTo>
                  <a:pt x="1352" y="1972"/>
                </a:lnTo>
                <a:lnTo>
                  <a:pt x="1350" y="1974"/>
                </a:lnTo>
                <a:lnTo>
                  <a:pt x="1350" y="1978"/>
                </a:lnTo>
                <a:lnTo>
                  <a:pt x="1354" y="1984"/>
                </a:lnTo>
                <a:lnTo>
                  <a:pt x="1364" y="1996"/>
                </a:lnTo>
                <a:lnTo>
                  <a:pt x="1366" y="2000"/>
                </a:lnTo>
                <a:lnTo>
                  <a:pt x="1364" y="2000"/>
                </a:lnTo>
                <a:lnTo>
                  <a:pt x="1362" y="2000"/>
                </a:lnTo>
                <a:lnTo>
                  <a:pt x="1358" y="2000"/>
                </a:lnTo>
                <a:lnTo>
                  <a:pt x="1356" y="2004"/>
                </a:lnTo>
                <a:lnTo>
                  <a:pt x="1356" y="2010"/>
                </a:lnTo>
                <a:lnTo>
                  <a:pt x="1358" y="2020"/>
                </a:lnTo>
                <a:lnTo>
                  <a:pt x="1360" y="2022"/>
                </a:lnTo>
                <a:lnTo>
                  <a:pt x="1362" y="2022"/>
                </a:lnTo>
                <a:lnTo>
                  <a:pt x="1362" y="2018"/>
                </a:lnTo>
                <a:lnTo>
                  <a:pt x="1364" y="2014"/>
                </a:lnTo>
                <a:lnTo>
                  <a:pt x="1364" y="2012"/>
                </a:lnTo>
                <a:lnTo>
                  <a:pt x="1366" y="2014"/>
                </a:lnTo>
                <a:lnTo>
                  <a:pt x="1368" y="2020"/>
                </a:lnTo>
                <a:lnTo>
                  <a:pt x="1370" y="2020"/>
                </a:lnTo>
                <a:lnTo>
                  <a:pt x="1372" y="2012"/>
                </a:lnTo>
                <a:lnTo>
                  <a:pt x="1374" y="2008"/>
                </a:lnTo>
                <a:lnTo>
                  <a:pt x="1374" y="2002"/>
                </a:lnTo>
                <a:lnTo>
                  <a:pt x="1374" y="1996"/>
                </a:lnTo>
                <a:lnTo>
                  <a:pt x="1376" y="1988"/>
                </a:lnTo>
                <a:close/>
                <a:moveTo>
                  <a:pt x="1392" y="2016"/>
                </a:moveTo>
                <a:lnTo>
                  <a:pt x="1392" y="2016"/>
                </a:lnTo>
                <a:lnTo>
                  <a:pt x="1384" y="2016"/>
                </a:lnTo>
                <a:lnTo>
                  <a:pt x="1382" y="2016"/>
                </a:lnTo>
                <a:lnTo>
                  <a:pt x="1384" y="2018"/>
                </a:lnTo>
                <a:lnTo>
                  <a:pt x="1384" y="2020"/>
                </a:lnTo>
                <a:lnTo>
                  <a:pt x="1382" y="2020"/>
                </a:lnTo>
                <a:lnTo>
                  <a:pt x="1378" y="2022"/>
                </a:lnTo>
                <a:lnTo>
                  <a:pt x="1376" y="2024"/>
                </a:lnTo>
                <a:lnTo>
                  <a:pt x="1376" y="2028"/>
                </a:lnTo>
                <a:lnTo>
                  <a:pt x="1376" y="2030"/>
                </a:lnTo>
                <a:lnTo>
                  <a:pt x="1378" y="2030"/>
                </a:lnTo>
                <a:lnTo>
                  <a:pt x="1384" y="2028"/>
                </a:lnTo>
                <a:lnTo>
                  <a:pt x="1386" y="2026"/>
                </a:lnTo>
                <a:lnTo>
                  <a:pt x="1392" y="2026"/>
                </a:lnTo>
                <a:lnTo>
                  <a:pt x="1396" y="2024"/>
                </a:lnTo>
                <a:lnTo>
                  <a:pt x="1396" y="2022"/>
                </a:lnTo>
                <a:lnTo>
                  <a:pt x="1396" y="2018"/>
                </a:lnTo>
                <a:lnTo>
                  <a:pt x="1392" y="2016"/>
                </a:lnTo>
                <a:close/>
                <a:moveTo>
                  <a:pt x="1406" y="2070"/>
                </a:moveTo>
                <a:lnTo>
                  <a:pt x="1406" y="2070"/>
                </a:lnTo>
                <a:lnTo>
                  <a:pt x="1410" y="2070"/>
                </a:lnTo>
                <a:lnTo>
                  <a:pt x="1410" y="2072"/>
                </a:lnTo>
                <a:lnTo>
                  <a:pt x="1412" y="2074"/>
                </a:lnTo>
                <a:lnTo>
                  <a:pt x="1416" y="2072"/>
                </a:lnTo>
                <a:lnTo>
                  <a:pt x="1418" y="2074"/>
                </a:lnTo>
                <a:lnTo>
                  <a:pt x="1424" y="2080"/>
                </a:lnTo>
                <a:lnTo>
                  <a:pt x="1426" y="2084"/>
                </a:lnTo>
                <a:lnTo>
                  <a:pt x="1426" y="2086"/>
                </a:lnTo>
                <a:lnTo>
                  <a:pt x="1426" y="2088"/>
                </a:lnTo>
                <a:lnTo>
                  <a:pt x="1428" y="2090"/>
                </a:lnTo>
                <a:lnTo>
                  <a:pt x="1430" y="2092"/>
                </a:lnTo>
                <a:lnTo>
                  <a:pt x="1432" y="2090"/>
                </a:lnTo>
                <a:lnTo>
                  <a:pt x="1434" y="2090"/>
                </a:lnTo>
                <a:lnTo>
                  <a:pt x="1434" y="2094"/>
                </a:lnTo>
                <a:lnTo>
                  <a:pt x="1436" y="2102"/>
                </a:lnTo>
                <a:lnTo>
                  <a:pt x="1440" y="2106"/>
                </a:lnTo>
                <a:lnTo>
                  <a:pt x="1444" y="2106"/>
                </a:lnTo>
                <a:lnTo>
                  <a:pt x="1448" y="2104"/>
                </a:lnTo>
                <a:lnTo>
                  <a:pt x="1450" y="2100"/>
                </a:lnTo>
                <a:lnTo>
                  <a:pt x="1450" y="2096"/>
                </a:lnTo>
                <a:lnTo>
                  <a:pt x="1450" y="2092"/>
                </a:lnTo>
                <a:lnTo>
                  <a:pt x="1450" y="2088"/>
                </a:lnTo>
                <a:lnTo>
                  <a:pt x="1450" y="2084"/>
                </a:lnTo>
                <a:lnTo>
                  <a:pt x="1448" y="2084"/>
                </a:lnTo>
                <a:lnTo>
                  <a:pt x="1448" y="2082"/>
                </a:lnTo>
                <a:lnTo>
                  <a:pt x="1448" y="2076"/>
                </a:lnTo>
                <a:lnTo>
                  <a:pt x="1450" y="2070"/>
                </a:lnTo>
                <a:lnTo>
                  <a:pt x="1448" y="2070"/>
                </a:lnTo>
                <a:lnTo>
                  <a:pt x="1446" y="2070"/>
                </a:lnTo>
                <a:lnTo>
                  <a:pt x="1444" y="2068"/>
                </a:lnTo>
                <a:lnTo>
                  <a:pt x="1444" y="2066"/>
                </a:lnTo>
                <a:lnTo>
                  <a:pt x="1442" y="2062"/>
                </a:lnTo>
                <a:lnTo>
                  <a:pt x="1440" y="2062"/>
                </a:lnTo>
                <a:lnTo>
                  <a:pt x="1438" y="2062"/>
                </a:lnTo>
                <a:lnTo>
                  <a:pt x="1434" y="2060"/>
                </a:lnTo>
                <a:lnTo>
                  <a:pt x="1432" y="2058"/>
                </a:lnTo>
                <a:lnTo>
                  <a:pt x="1428" y="2058"/>
                </a:lnTo>
                <a:lnTo>
                  <a:pt x="1424" y="2060"/>
                </a:lnTo>
                <a:lnTo>
                  <a:pt x="1422" y="2058"/>
                </a:lnTo>
                <a:lnTo>
                  <a:pt x="1422" y="2056"/>
                </a:lnTo>
                <a:lnTo>
                  <a:pt x="1424" y="2052"/>
                </a:lnTo>
                <a:lnTo>
                  <a:pt x="1430" y="2052"/>
                </a:lnTo>
                <a:lnTo>
                  <a:pt x="1436" y="2056"/>
                </a:lnTo>
                <a:lnTo>
                  <a:pt x="1440" y="2058"/>
                </a:lnTo>
                <a:lnTo>
                  <a:pt x="1442" y="2058"/>
                </a:lnTo>
                <a:lnTo>
                  <a:pt x="1434" y="2050"/>
                </a:lnTo>
                <a:lnTo>
                  <a:pt x="1430" y="2044"/>
                </a:lnTo>
                <a:lnTo>
                  <a:pt x="1428" y="2038"/>
                </a:lnTo>
                <a:lnTo>
                  <a:pt x="1426" y="2032"/>
                </a:lnTo>
                <a:lnTo>
                  <a:pt x="1422" y="2026"/>
                </a:lnTo>
                <a:lnTo>
                  <a:pt x="1416" y="2022"/>
                </a:lnTo>
                <a:lnTo>
                  <a:pt x="1410" y="2022"/>
                </a:lnTo>
                <a:lnTo>
                  <a:pt x="1406" y="2022"/>
                </a:lnTo>
                <a:lnTo>
                  <a:pt x="1404" y="2020"/>
                </a:lnTo>
                <a:lnTo>
                  <a:pt x="1404" y="2018"/>
                </a:lnTo>
                <a:lnTo>
                  <a:pt x="1404" y="2014"/>
                </a:lnTo>
                <a:lnTo>
                  <a:pt x="1404" y="2008"/>
                </a:lnTo>
                <a:lnTo>
                  <a:pt x="1402" y="2004"/>
                </a:lnTo>
                <a:lnTo>
                  <a:pt x="1400" y="2002"/>
                </a:lnTo>
                <a:lnTo>
                  <a:pt x="1398" y="2002"/>
                </a:lnTo>
                <a:lnTo>
                  <a:pt x="1396" y="2004"/>
                </a:lnTo>
                <a:lnTo>
                  <a:pt x="1390" y="2004"/>
                </a:lnTo>
                <a:lnTo>
                  <a:pt x="1386" y="2002"/>
                </a:lnTo>
                <a:lnTo>
                  <a:pt x="1386" y="2004"/>
                </a:lnTo>
                <a:lnTo>
                  <a:pt x="1384" y="2006"/>
                </a:lnTo>
                <a:lnTo>
                  <a:pt x="1382" y="2008"/>
                </a:lnTo>
                <a:lnTo>
                  <a:pt x="1382" y="2010"/>
                </a:lnTo>
                <a:lnTo>
                  <a:pt x="1390" y="2012"/>
                </a:lnTo>
                <a:lnTo>
                  <a:pt x="1396" y="2014"/>
                </a:lnTo>
                <a:lnTo>
                  <a:pt x="1398" y="2018"/>
                </a:lnTo>
                <a:lnTo>
                  <a:pt x="1398" y="2022"/>
                </a:lnTo>
                <a:lnTo>
                  <a:pt x="1398" y="2028"/>
                </a:lnTo>
                <a:lnTo>
                  <a:pt x="1400" y="2030"/>
                </a:lnTo>
                <a:lnTo>
                  <a:pt x="1402" y="2034"/>
                </a:lnTo>
                <a:lnTo>
                  <a:pt x="1402" y="2038"/>
                </a:lnTo>
                <a:lnTo>
                  <a:pt x="1400" y="2040"/>
                </a:lnTo>
                <a:lnTo>
                  <a:pt x="1398" y="2040"/>
                </a:lnTo>
                <a:lnTo>
                  <a:pt x="1396" y="2040"/>
                </a:lnTo>
                <a:lnTo>
                  <a:pt x="1394" y="2042"/>
                </a:lnTo>
                <a:lnTo>
                  <a:pt x="1392" y="2046"/>
                </a:lnTo>
                <a:lnTo>
                  <a:pt x="1394" y="2048"/>
                </a:lnTo>
                <a:lnTo>
                  <a:pt x="1402" y="2050"/>
                </a:lnTo>
                <a:lnTo>
                  <a:pt x="1406" y="2050"/>
                </a:lnTo>
                <a:lnTo>
                  <a:pt x="1404" y="2052"/>
                </a:lnTo>
                <a:lnTo>
                  <a:pt x="1404" y="2056"/>
                </a:lnTo>
                <a:lnTo>
                  <a:pt x="1406" y="2060"/>
                </a:lnTo>
                <a:lnTo>
                  <a:pt x="1408" y="2062"/>
                </a:lnTo>
                <a:lnTo>
                  <a:pt x="1406" y="2064"/>
                </a:lnTo>
                <a:lnTo>
                  <a:pt x="1404" y="2064"/>
                </a:lnTo>
                <a:lnTo>
                  <a:pt x="1398" y="2064"/>
                </a:lnTo>
                <a:lnTo>
                  <a:pt x="1398" y="2066"/>
                </a:lnTo>
                <a:lnTo>
                  <a:pt x="1398" y="2068"/>
                </a:lnTo>
                <a:lnTo>
                  <a:pt x="1400" y="2070"/>
                </a:lnTo>
                <a:lnTo>
                  <a:pt x="1406" y="2070"/>
                </a:lnTo>
                <a:close/>
                <a:moveTo>
                  <a:pt x="3826" y="3942"/>
                </a:moveTo>
                <a:lnTo>
                  <a:pt x="3826" y="3942"/>
                </a:lnTo>
                <a:lnTo>
                  <a:pt x="3824" y="3946"/>
                </a:lnTo>
                <a:lnTo>
                  <a:pt x="3822" y="3946"/>
                </a:lnTo>
                <a:lnTo>
                  <a:pt x="3818" y="3946"/>
                </a:lnTo>
                <a:lnTo>
                  <a:pt x="3812" y="3946"/>
                </a:lnTo>
                <a:lnTo>
                  <a:pt x="3808" y="3948"/>
                </a:lnTo>
                <a:lnTo>
                  <a:pt x="3804" y="3952"/>
                </a:lnTo>
                <a:lnTo>
                  <a:pt x="3802" y="3956"/>
                </a:lnTo>
                <a:lnTo>
                  <a:pt x="3802" y="3960"/>
                </a:lnTo>
                <a:lnTo>
                  <a:pt x="3806" y="3960"/>
                </a:lnTo>
                <a:lnTo>
                  <a:pt x="3818" y="3958"/>
                </a:lnTo>
                <a:lnTo>
                  <a:pt x="3824" y="3956"/>
                </a:lnTo>
                <a:lnTo>
                  <a:pt x="3828" y="3952"/>
                </a:lnTo>
                <a:lnTo>
                  <a:pt x="3830" y="3948"/>
                </a:lnTo>
                <a:lnTo>
                  <a:pt x="3830" y="3944"/>
                </a:lnTo>
                <a:lnTo>
                  <a:pt x="3830" y="3940"/>
                </a:lnTo>
                <a:lnTo>
                  <a:pt x="3828" y="3940"/>
                </a:lnTo>
                <a:lnTo>
                  <a:pt x="3826" y="3942"/>
                </a:lnTo>
                <a:close/>
                <a:moveTo>
                  <a:pt x="3640" y="3780"/>
                </a:moveTo>
                <a:lnTo>
                  <a:pt x="3640" y="3780"/>
                </a:lnTo>
                <a:lnTo>
                  <a:pt x="3642" y="3776"/>
                </a:lnTo>
                <a:lnTo>
                  <a:pt x="3644" y="3772"/>
                </a:lnTo>
                <a:lnTo>
                  <a:pt x="3642" y="3766"/>
                </a:lnTo>
                <a:lnTo>
                  <a:pt x="3636" y="3760"/>
                </a:lnTo>
                <a:lnTo>
                  <a:pt x="3632" y="3754"/>
                </a:lnTo>
                <a:lnTo>
                  <a:pt x="3630" y="3748"/>
                </a:lnTo>
                <a:lnTo>
                  <a:pt x="3630" y="3744"/>
                </a:lnTo>
                <a:lnTo>
                  <a:pt x="3626" y="3742"/>
                </a:lnTo>
                <a:lnTo>
                  <a:pt x="3622" y="3744"/>
                </a:lnTo>
                <a:lnTo>
                  <a:pt x="3622" y="3748"/>
                </a:lnTo>
                <a:lnTo>
                  <a:pt x="3622" y="3754"/>
                </a:lnTo>
                <a:lnTo>
                  <a:pt x="3620" y="3764"/>
                </a:lnTo>
                <a:lnTo>
                  <a:pt x="3616" y="3772"/>
                </a:lnTo>
                <a:lnTo>
                  <a:pt x="3618" y="3776"/>
                </a:lnTo>
                <a:lnTo>
                  <a:pt x="3622" y="3780"/>
                </a:lnTo>
                <a:lnTo>
                  <a:pt x="3628" y="3786"/>
                </a:lnTo>
                <a:lnTo>
                  <a:pt x="3632" y="3788"/>
                </a:lnTo>
                <a:lnTo>
                  <a:pt x="3634" y="3786"/>
                </a:lnTo>
                <a:lnTo>
                  <a:pt x="3640" y="3780"/>
                </a:lnTo>
                <a:close/>
                <a:moveTo>
                  <a:pt x="3646" y="3816"/>
                </a:moveTo>
                <a:lnTo>
                  <a:pt x="3646" y="3816"/>
                </a:lnTo>
                <a:lnTo>
                  <a:pt x="3650" y="3814"/>
                </a:lnTo>
                <a:lnTo>
                  <a:pt x="3652" y="3810"/>
                </a:lnTo>
                <a:lnTo>
                  <a:pt x="3652" y="3804"/>
                </a:lnTo>
                <a:lnTo>
                  <a:pt x="3650" y="3796"/>
                </a:lnTo>
                <a:lnTo>
                  <a:pt x="3646" y="3790"/>
                </a:lnTo>
                <a:lnTo>
                  <a:pt x="3644" y="3792"/>
                </a:lnTo>
                <a:lnTo>
                  <a:pt x="3642" y="3792"/>
                </a:lnTo>
                <a:lnTo>
                  <a:pt x="3640" y="3792"/>
                </a:lnTo>
                <a:lnTo>
                  <a:pt x="3638" y="3790"/>
                </a:lnTo>
                <a:lnTo>
                  <a:pt x="3636" y="3790"/>
                </a:lnTo>
                <a:lnTo>
                  <a:pt x="3634" y="3794"/>
                </a:lnTo>
                <a:lnTo>
                  <a:pt x="3634" y="3802"/>
                </a:lnTo>
                <a:lnTo>
                  <a:pt x="3640" y="3808"/>
                </a:lnTo>
                <a:lnTo>
                  <a:pt x="3642" y="3814"/>
                </a:lnTo>
                <a:lnTo>
                  <a:pt x="3644" y="3816"/>
                </a:lnTo>
                <a:lnTo>
                  <a:pt x="3646" y="3816"/>
                </a:lnTo>
                <a:close/>
                <a:moveTo>
                  <a:pt x="3596" y="3668"/>
                </a:moveTo>
                <a:lnTo>
                  <a:pt x="3596" y="3668"/>
                </a:lnTo>
                <a:lnTo>
                  <a:pt x="3590" y="3666"/>
                </a:lnTo>
                <a:lnTo>
                  <a:pt x="3590" y="3670"/>
                </a:lnTo>
                <a:lnTo>
                  <a:pt x="3596" y="3674"/>
                </a:lnTo>
                <a:lnTo>
                  <a:pt x="3598" y="3676"/>
                </a:lnTo>
                <a:lnTo>
                  <a:pt x="3602" y="3676"/>
                </a:lnTo>
                <a:lnTo>
                  <a:pt x="3616" y="3670"/>
                </a:lnTo>
                <a:lnTo>
                  <a:pt x="3624" y="3668"/>
                </a:lnTo>
                <a:lnTo>
                  <a:pt x="3630" y="3668"/>
                </a:lnTo>
                <a:lnTo>
                  <a:pt x="3632" y="3668"/>
                </a:lnTo>
                <a:lnTo>
                  <a:pt x="3634" y="3666"/>
                </a:lnTo>
                <a:lnTo>
                  <a:pt x="3634" y="3664"/>
                </a:lnTo>
                <a:lnTo>
                  <a:pt x="3632" y="3662"/>
                </a:lnTo>
                <a:lnTo>
                  <a:pt x="3626" y="3662"/>
                </a:lnTo>
                <a:lnTo>
                  <a:pt x="3618" y="3664"/>
                </a:lnTo>
                <a:lnTo>
                  <a:pt x="3608" y="3662"/>
                </a:lnTo>
                <a:lnTo>
                  <a:pt x="3604" y="3660"/>
                </a:lnTo>
                <a:lnTo>
                  <a:pt x="3602" y="3660"/>
                </a:lnTo>
                <a:lnTo>
                  <a:pt x="3602" y="3664"/>
                </a:lnTo>
                <a:lnTo>
                  <a:pt x="3602" y="3668"/>
                </a:lnTo>
                <a:lnTo>
                  <a:pt x="3600" y="3670"/>
                </a:lnTo>
                <a:lnTo>
                  <a:pt x="3596" y="3668"/>
                </a:lnTo>
                <a:close/>
                <a:moveTo>
                  <a:pt x="3666" y="3688"/>
                </a:moveTo>
                <a:lnTo>
                  <a:pt x="3666" y="3688"/>
                </a:lnTo>
                <a:lnTo>
                  <a:pt x="3668" y="3686"/>
                </a:lnTo>
                <a:lnTo>
                  <a:pt x="3668" y="3680"/>
                </a:lnTo>
                <a:lnTo>
                  <a:pt x="3668" y="3674"/>
                </a:lnTo>
                <a:lnTo>
                  <a:pt x="3664" y="3670"/>
                </a:lnTo>
                <a:lnTo>
                  <a:pt x="3658" y="3666"/>
                </a:lnTo>
                <a:lnTo>
                  <a:pt x="3654" y="3660"/>
                </a:lnTo>
                <a:lnTo>
                  <a:pt x="3648" y="3656"/>
                </a:lnTo>
                <a:lnTo>
                  <a:pt x="3640" y="3654"/>
                </a:lnTo>
                <a:lnTo>
                  <a:pt x="3634" y="3654"/>
                </a:lnTo>
                <a:lnTo>
                  <a:pt x="3644" y="3658"/>
                </a:lnTo>
                <a:lnTo>
                  <a:pt x="3648" y="3660"/>
                </a:lnTo>
                <a:lnTo>
                  <a:pt x="3650" y="3662"/>
                </a:lnTo>
                <a:lnTo>
                  <a:pt x="3654" y="3666"/>
                </a:lnTo>
                <a:lnTo>
                  <a:pt x="3658" y="3672"/>
                </a:lnTo>
                <a:lnTo>
                  <a:pt x="3662" y="3676"/>
                </a:lnTo>
                <a:lnTo>
                  <a:pt x="3662" y="3678"/>
                </a:lnTo>
                <a:lnTo>
                  <a:pt x="3660" y="3682"/>
                </a:lnTo>
                <a:lnTo>
                  <a:pt x="3658" y="3690"/>
                </a:lnTo>
                <a:lnTo>
                  <a:pt x="3658" y="3694"/>
                </a:lnTo>
                <a:lnTo>
                  <a:pt x="3656" y="3696"/>
                </a:lnTo>
                <a:lnTo>
                  <a:pt x="3654" y="3698"/>
                </a:lnTo>
                <a:lnTo>
                  <a:pt x="3652" y="3700"/>
                </a:lnTo>
                <a:lnTo>
                  <a:pt x="3658" y="3706"/>
                </a:lnTo>
                <a:lnTo>
                  <a:pt x="3660" y="3708"/>
                </a:lnTo>
                <a:lnTo>
                  <a:pt x="3660" y="3706"/>
                </a:lnTo>
                <a:lnTo>
                  <a:pt x="3662" y="3700"/>
                </a:lnTo>
                <a:lnTo>
                  <a:pt x="3664" y="3694"/>
                </a:lnTo>
                <a:lnTo>
                  <a:pt x="3666" y="3688"/>
                </a:lnTo>
                <a:close/>
                <a:moveTo>
                  <a:pt x="3840" y="3888"/>
                </a:moveTo>
                <a:lnTo>
                  <a:pt x="3840" y="3888"/>
                </a:lnTo>
                <a:lnTo>
                  <a:pt x="3838" y="3886"/>
                </a:lnTo>
                <a:lnTo>
                  <a:pt x="3834" y="3884"/>
                </a:lnTo>
                <a:lnTo>
                  <a:pt x="3828" y="3882"/>
                </a:lnTo>
                <a:lnTo>
                  <a:pt x="3824" y="3884"/>
                </a:lnTo>
                <a:lnTo>
                  <a:pt x="3824" y="3886"/>
                </a:lnTo>
                <a:lnTo>
                  <a:pt x="3826" y="3888"/>
                </a:lnTo>
                <a:lnTo>
                  <a:pt x="3830" y="3888"/>
                </a:lnTo>
                <a:lnTo>
                  <a:pt x="3834" y="3890"/>
                </a:lnTo>
                <a:lnTo>
                  <a:pt x="3838" y="3890"/>
                </a:lnTo>
                <a:lnTo>
                  <a:pt x="3840" y="3890"/>
                </a:lnTo>
                <a:lnTo>
                  <a:pt x="3840" y="3888"/>
                </a:lnTo>
                <a:close/>
                <a:moveTo>
                  <a:pt x="3700" y="3740"/>
                </a:moveTo>
                <a:lnTo>
                  <a:pt x="3700" y="3740"/>
                </a:lnTo>
                <a:lnTo>
                  <a:pt x="3686" y="3726"/>
                </a:lnTo>
                <a:lnTo>
                  <a:pt x="3680" y="3724"/>
                </a:lnTo>
                <a:lnTo>
                  <a:pt x="3678" y="3726"/>
                </a:lnTo>
                <a:lnTo>
                  <a:pt x="3682" y="3730"/>
                </a:lnTo>
                <a:lnTo>
                  <a:pt x="3686" y="3734"/>
                </a:lnTo>
                <a:lnTo>
                  <a:pt x="3694" y="3740"/>
                </a:lnTo>
                <a:lnTo>
                  <a:pt x="3700" y="3746"/>
                </a:lnTo>
                <a:lnTo>
                  <a:pt x="3702" y="3750"/>
                </a:lnTo>
                <a:lnTo>
                  <a:pt x="3702" y="3752"/>
                </a:lnTo>
                <a:lnTo>
                  <a:pt x="3698" y="3756"/>
                </a:lnTo>
                <a:lnTo>
                  <a:pt x="3694" y="3760"/>
                </a:lnTo>
                <a:lnTo>
                  <a:pt x="3694" y="3762"/>
                </a:lnTo>
                <a:lnTo>
                  <a:pt x="3696" y="3764"/>
                </a:lnTo>
                <a:lnTo>
                  <a:pt x="3702" y="3774"/>
                </a:lnTo>
                <a:lnTo>
                  <a:pt x="3702" y="3776"/>
                </a:lnTo>
                <a:lnTo>
                  <a:pt x="3704" y="3776"/>
                </a:lnTo>
                <a:lnTo>
                  <a:pt x="3702" y="3766"/>
                </a:lnTo>
                <a:lnTo>
                  <a:pt x="3704" y="3758"/>
                </a:lnTo>
                <a:lnTo>
                  <a:pt x="3706" y="3752"/>
                </a:lnTo>
                <a:lnTo>
                  <a:pt x="3704" y="3746"/>
                </a:lnTo>
                <a:lnTo>
                  <a:pt x="3700" y="3740"/>
                </a:lnTo>
                <a:close/>
                <a:moveTo>
                  <a:pt x="3780" y="3864"/>
                </a:moveTo>
                <a:lnTo>
                  <a:pt x="3780" y="3864"/>
                </a:lnTo>
                <a:lnTo>
                  <a:pt x="3776" y="3862"/>
                </a:lnTo>
                <a:lnTo>
                  <a:pt x="3774" y="3864"/>
                </a:lnTo>
                <a:lnTo>
                  <a:pt x="3776" y="3868"/>
                </a:lnTo>
                <a:lnTo>
                  <a:pt x="3780" y="3872"/>
                </a:lnTo>
                <a:lnTo>
                  <a:pt x="3782" y="3872"/>
                </a:lnTo>
                <a:lnTo>
                  <a:pt x="3786" y="3872"/>
                </a:lnTo>
                <a:lnTo>
                  <a:pt x="3788" y="3874"/>
                </a:lnTo>
                <a:lnTo>
                  <a:pt x="3790" y="3876"/>
                </a:lnTo>
                <a:lnTo>
                  <a:pt x="3790" y="3880"/>
                </a:lnTo>
                <a:lnTo>
                  <a:pt x="3786" y="3886"/>
                </a:lnTo>
                <a:lnTo>
                  <a:pt x="3782" y="3890"/>
                </a:lnTo>
                <a:lnTo>
                  <a:pt x="3780" y="3894"/>
                </a:lnTo>
                <a:lnTo>
                  <a:pt x="3780" y="3896"/>
                </a:lnTo>
                <a:lnTo>
                  <a:pt x="3786" y="3892"/>
                </a:lnTo>
                <a:lnTo>
                  <a:pt x="3792" y="3886"/>
                </a:lnTo>
                <a:lnTo>
                  <a:pt x="3796" y="3882"/>
                </a:lnTo>
                <a:lnTo>
                  <a:pt x="3796" y="3876"/>
                </a:lnTo>
                <a:lnTo>
                  <a:pt x="3796" y="3870"/>
                </a:lnTo>
                <a:lnTo>
                  <a:pt x="3794" y="3866"/>
                </a:lnTo>
                <a:lnTo>
                  <a:pt x="3792" y="3866"/>
                </a:lnTo>
                <a:lnTo>
                  <a:pt x="3788" y="3866"/>
                </a:lnTo>
                <a:lnTo>
                  <a:pt x="3780" y="3864"/>
                </a:lnTo>
                <a:close/>
                <a:moveTo>
                  <a:pt x="3708" y="3820"/>
                </a:moveTo>
                <a:lnTo>
                  <a:pt x="3708" y="3820"/>
                </a:lnTo>
                <a:lnTo>
                  <a:pt x="3708" y="3824"/>
                </a:lnTo>
                <a:lnTo>
                  <a:pt x="3714" y="3828"/>
                </a:lnTo>
                <a:lnTo>
                  <a:pt x="3718" y="3832"/>
                </a:lnTo>
                <a:lnTo>
                  <a:pt x="3720" y="3832"/>
                </a:lnTo>
                <a:lnTo>
                  <a:pt x="3720" y="3830"/>
                </a:lnTo>
                <a:lnTo>
                  <a:pt x="3718" y="3828"/>
                </a:lnTo>
                <a:lnTo>
                  <a:pt x="3712" y="3820"/>
                </a:lnTo>
                <a:lnTo>
                  <a:pt x="3710" y="3818"/>
                </a:lnTo>
                <a:lnTo>
                  <a:pt x="3708" y="3820"/>
                </a:lnTo>
                <a:close/>
                <a:moveTo>
                  <a:pt x="3724" y="3770"/>
                </a:moveTo>
                <a:lnTo>
                  <a:pt x="3724" y="3770"/>
                </a:lnTo>
                <a:lnTo>
                  <a:pt x="3720" y="3768"/>
                </a:lnTo>
                <a:lnTo>
                  <a:pt x="3720" y="3770"/>
                </a:lnTo>
                <a:lnTo>
                  <a:pt x="3722" y="3772"/>
                </a:lnTo>
                <a:lnTo>
                  <a:pt x="3724" y="3778"/>
                </a:lnTo>
                <a:lnTo>
                  <a:pt x="3730" y="3788"/>
                </a:lnTo>
                <a:lnTo>
                  <a:pt x="3732" y="3794"/>
                </a:lnTo>
                <a:lnTo>
                  <a:pt x="3730" y="3798"/>
                </a:lnTo>
                <a:lnTo>
                  <a:pt x="3730" y="3800"/>
                </a:lnTo>
                <a:lnTo>
                  <a:pt x="3734" y="3798"/>
                </a:lnTo>
                <a:lnTo>
                  <a:pt x="3736" y="3796"/>
                </a:lnTo>
                <a:lnTo>
                  <a:pt x="3736" y="3794"/>
                </a:lnTo>
                <a:lnTo>
                  <a:pt x="3732" y="3788"/>
                </a:lnTo>
                <a:lnTo>
                  <a:pt x="3730" y="3780"/>
                </a:lnTo>
                <a:lnTo>
                  <a:pt x="3724" y="3770"/>
                </a:lnTo>
                <a:close/>
                <a:moveTo>
                  <a:pt x="3748" y="3850"/>
                </a:moveTo>
                <a:lnTo>
                  <a:pt x="3748" y="3850"/>
                </a:lnTo>
                <a:lnTo>
                  <a:pt x="3754" y="3858"/>
                </a:lnTo>
                <a:lnTo>
                  <a:pt x="3756" y="3862"/>
                </a:lnTo>
                <a:lnTo>
                  <a:pt x="3756" y="3856"/>
                </a:lnTo>
                <a:lnTo>
                  <a:pt x="3750" y="3848"/>
                </a:lnTo>
                <a:lnTo>
                  <a:pt x="3748" y="3844"/>
                </a:lnTo>
                <a:lnTo>
                  <a:pt x="3748" y="3842"/>
                </a:lnTo>
                <a:lnTo>
                  <a:pt x="3744" y="3832"/>
                </a:lnTo>
                <a:lnTo>
                  <a:pt x="3740" y="3826"/>
                </a:lnTo>
                <a:lnTo>
                  <a:pt x="3736" y="3820"/>
                </a:lnTo>
                <a:lnTo>
                  <a:pt x="3734" y="3820"/>
                </a:lnTo>
                <a:lnTo>
                  <a:pt x="3736" y="3824"/>
                </a:lnTo>
                <a:lnTo>
                  <a:pt x="3742" y="3838"/>
                </a:lnTo>
                <a:lnTo>
                  <a:pt x="3744" y="3844"/>
                </a:lnTo>
                <a:lnTo>
                  <a:pt x="3742" y="3844"/>
                </a:lnTo>
                <a:lnTo>
                  <a:pt x="3742" y="3846"/>
                </a:lnTo>
                <a:lnTo>
                  <a:pt x="3748" y="3850"/>
                </a:lnTo>
                <a:close/>
                <a:moveTo>
                  <a:pt x="3494" y="4042"/>
                </a:moveTo>
                <a:lnTo>
                  <a:pt x="3494" y="4042"/>
                </a:lnTo>
                <a:lnTo>
                  <a:pt x="3502" y="4042"/>
                </a:lnTo>
                <a:lnTo>
                  <a:pt x="3506" y="4040"/>
                </a:lnTo>
                <a:lnTo>
                  <a:pt x="3506" y="4038"/>
                </a:lnTo>
                <a:lnTo>
                  <a:pt x="3504" y="4036"/>
                </a:lnTo>
                <a:lnTo>
                  <a:pt x="3500" y="4036"/>
                </a:lnTo>
                <a:lnTo>
                  <a:pt x="3496" y="4038"/>
                </a:lnTo>
                <a:lnTo>
                  <a:pt x="3494" y="4040"/>
                </a:lnTo>
                <a:lnTo>
                  <a:pt x="3494" y="4042"/>
                </a:lnTo>
                <a:close/>
                <a:moveTo>
                  <a:pt x="3432" y="3908"/>
                </a:moveTo>
                <a:lnTo>
                  <a:pt x="3432" y="3908"/>
                </a:lnTo>
                <a:lnTo>
                  <a:pt x="3428" y="3908"/>
                </a:lnTo>
                <a:lnTo>
                  <a:pt x="3426" y="3912"/>
                </a:lnTo>
                <a:lnTo>
                  <a:pt x="3426" y="3916"/>
                </a:lnTo>
                <a:lnTo>
                  <a:pt x="3426" y="3920"/>
                </a:lnTo>
                <a:lnTo>
                  <a:pt x="3428" y="3926"/>
                </a:lnTo>
                <a:lnTo>
                  <a:pt x="3432" y="3928"/>
                </a:lnTo>
                <a:lnTo>
                  <a:pt x="3438" y="3930"/>
                </a:lnTo>
                <a:lnTo>
                  <a:pt x="3444" y="3930"/>
                </a:lnTo>
                <a:lnTo>
                  <a:pt x="3448" y="3928"/>
                </a:lnTo>
                <a:lnTo>
                  <a:pt x="3448" y="3926"/>
                </a:lnTo>
                <a:lnTo>
                  <a:pt x="3446" y="3918"/>
                </a:lnTo>
                <a:lnTo>
                  <a:pt x="3440" y="3910"/>
                </a:lnTo>
                <a:lnTo>
                  <a:pt x="3436" y="3908"/>
                </a:lnTo>
                <a:lnTo>
                  <a:pt x="3432" y="3908"/>
                </a:lnTo>
                <a:close/>
                <a:moveTo>
                  <a:pt x="4328" y="4390"/>
                </a:moveTo>
                <a:lnTo>
                  <a:pt x="4328" y="4390"/>
                </a:lnTo>
                <a:lnTo>
                  <a:pt x="4326" y="4392"/>
                </a:lnTo>
                <a:lnTo>
                  <a:pt x="4324" y="4394"/>
                </a:lnTo>
                <a:lnTo>
                  <a:pt x="4324" y="4402"/>
                </a:lnTo>
                <a:lnTo>
                  <a:pt x="4326" y="4406"/>
                </a:lnTo>
                <a:lnTo>
                  <a:pt x="4328" y="4408"/>
                </a:lnTo>
                <a:lnTo>
                  <a:pt x="4332" y="4410"/>
                </a:lnTo>
                <a:lnTo>
                  <a:pt x="4338" y="4410"/>
                </a:lnTo>
                <a:lnTo>
                  <a:pt x="4340" y="4408"/>
                </a:lnTo>
                <a:lnTo>
                  <a:pt x="4340" y="4406"/>
                </a:lnTo>
                <a:lnTo>
                  <a:pt x="4338" y="4400"/>
                </a:lnTo>
                <a:lnTo>
                  <a:pt x="4334" y="4392"/>
                </a:lnTo>
                <a:lnTo>
                  <a:pt x="4330" y="4390"/>
                </a:lnTo>
                <a:lnTo>
                  <a:pt x="4328" y="4390"/>
                </a:lnTo>
                <a:close/>
                <a:moveTo>
                  <a:pt x="3606" y="3880"/>
                </a:moveTo>
                <a:lnTo>
                  <a:pt x="3606" y="3880"/>
                </a:lnTo>
                <a:lnTo>
                  <a:pt x="3610" y="3882"/>
                </a:lnTo>
                <a:lnTo>
                  <a:pt x="3614" y="3882"/>
                </a:lnTo>
                <a:lnTo>
                  <a:pt x="3616" y="3880"/>
                </a:lnTo>
                <a:lnTo>
                  <a:pt x="3614" y="3878"/>
                </a:lnTo>
                <a:lnTo>
                  <a:pt x="3604" y="3876"/>
                </a:lnTo>
                <a:lnTo>
                  <a:pt x="3602" y="3878"/>
                </a:lnTo>
                <a:lnTo>
                  <a:pt x="3606" y="3880"/>
                </a:lnTo>
                <a:close/>
                <a:moveTo>
                  <a:pt x="3620" y="3884"/>
                </a:moveTo>
                <a:lnTo>
                  <a:pt x="3620" y="3884"/>
                </a:lnTo>
                <a:lnTo>
                  <a:pt x="3618" y="3886"/>
                </a:lnTo>
                <a:lnTo>
                  <a:pt x="3620" y="3888"/>
                </a:lnTo>
                <a:lnTo>
                  <a:pt x="3630" y="3892"/>
                </a:lnTo>
                <a:lnTo>
                  <a:pt x="3632" y="3892"/>
                </a:lnTo>
                <a:lnTo>
                  <a:pt x="3628" y="3888"/>
                </a:lnTo>
                <a:lnTo>
                  <a:pt x="3624" y="3884"/>
                </a:lnTo>
                <a:lnTo>
                  <a:pt x="3620" y="3884"/>
                </a:lnTo>
                <a:close/>
                <a:moveTo>
                  <a:pt x="3838" y="4066"/>
                </a:moveTo>
                <a:lnTo>
                  <a:pt x="3838" y="4066"/>
                </a:lnTo>
                <a:lnTo>
                  <a:pt x="3838" y="4064"/>
                </a:lnTo>
                <a:lnTo>
                  <a:pt x="3836" y="4062"/>
                </a:lnTo>
                <a:lnTo>
                  <a:pt x="3828" y="4058"/>
                </a:lnTo>
                <a:lnTo>
                  <a:pt x="3822" y="4056"/>
                </a:lnTo>
                <a:lnTo>
                  <a:pt x="3818" y="4058"/>
                </a:lnTo>
                <a:lnTo>
                  <a:pt x="3818" y="4060"/>
                </a:lnTo>
                <a:lnTo>
                  <a:pt x="3820" y="4064"/>
                </a:lnTo>
                <a:lnTo>
                  <a:pt x="3826" y="4066"/>
                </a:lnTo>
                <a:lnTo>
                  <a:pt x="3834" y="4068"/>
                </a:lnTo>
                <a:lnTo>
                  <a:pt x="3836" y="4068"/>
                </a:lnTo>
                <a:lnTo>
                  <a:pt x="3838" y="4066"/>
                </a:lnTo>
                <a:close/>
                <a:moveTo>
                  <a:pt x="3986" y="4384"/>
                </a:moveTo>
                <a:lnTo>
                  <a:pt x="3986" y="4384"/>
                </a:lnTo>
                <a:lnTo>
                  <a:pt x="3982" y="4384"/>
                </a:lnTo>
                <a:lnTo>
                  <a:pt x="3984" y="4386"/>
                </a:lnTo>
                <a:lnTo>
                  <a:pt x="3986" y="4392"/>
                </a:lnTo>
                <a:lnTo>
                  <a:pt x="3992" y="4396"/>
                </a:lnTo>
                <a:lnTo>
                  <a:pt x="4000" y="4402"/>
                </a:lnTo>
                <a:lnTo>
                  <a:pt x="4000" y="4400"/>
                </a:lnTo>
                <a:lnTo>
                  <a:pt x="3998" y="4396"/>
                </a:lnTo>
                <a:lnTo>
                  <a:pt x="3994" y="4392"/>
                </a:lnTo>
                <a:lnTo>
                  <a:pt x="3992" y="4390"/>
                </a:lnTo>
                <a:lnTo>
                  <a:pt x="3990" y="4388"/>
                </a:lnTo>
                <a:lnTo>
                  <a:pt x="3988" y="4386"/>
                </a:lnTo>
                <a:lnTo>
                  <a:pt x="3986" y="4384"/>
                </a:lnTo>
                <a:close/>
                <a:moveTo>
                  <a:pt x="4018" y="4394"/>
                </a:moveTo>
                <a:lnTo>
                  <a:pt x="4018" y="4394"/>
                </a:lnTo>
                <a:lnTo>
                  <a:pt x="4018" y="4396"/>
                </a:lnTo>
                <a:lnTo>
                  <a:pt x="4020" y="4402"/>
                </a:lnTo>
                <a:lnTo>
                  <a:pt x="4020" y="4404"/>
                </a:lnTo>
                <a:lnTo>
                  <a:pt x="4022" y="4402"/>
                </a:lnTo>
                <a:lnTo>
                  <a:pt x="4024" y="4398"/>
                </a:lnTo>
                <a:lnTo>
                  <a:pt x="4024" y="4392"/>
                </a:lnTo>
                <a:lnTo>
                  <a:pt x="4022" y="4390"/>
                </a:lnTo>
                <a:lnTo>
                  <a:pt x="4020" y="4388"/>
                </a:lnTo>
                <a:lnTo>
                  <a:pt x="4016" y="4388"/>
                </a:lnTo>
                <a:lnTo>
                  <a:pt x="4014" y="4388"/>
                </a:lnTo>
                <a:lnTo>
                  <a:pt x="4014" y="4392"/>
                </a:lnTo>
                <a:lnTo>
                  <a:pt x="4018" y="4394"/>
                </a:lnTo>
                <a:close/>
                <a:moveTo>
                  <a:pt x="4194" y="4446"/>
                </a:moveTo>
                <a:lnTo>
                  <a:pt x="4194" y="4446"/>
                </a:lnTo>
                <a:lnTo>
                  <a:pt x="4192" y="4448"/>
                </a:lnTo>
                <a:lnTo>
                  <a:pt x="4190" y="4448"/>
                </a:lnTo>
                <a:lnTo>
                  <a:pt x="4186" y="4446"/>
                </a:lnTo>
                <a:lnTo>
                  <a:pt x="4182" y="4446"/>
                </a:lnTo>
                <a:lnTo>
                  <a:pt x="4180" y="4446"/>
                </a:lnTo>
                <a:lnTo>
                  <a:pt x="4178" y="4450"/>
                </a:lnTo>
                <a:lnTo>
                  <a:pt x="4178" y="4452"/>
                </a:lnTo>
                <a:lnTo>
                  <a:pt x="4180" y="4454"/>
                </a:lnTo>
                <a:lnTo>
                  <a:pt x="4186" y="4454"/>
                </a:lnTo>
                <a:lnTo>
                  <a:pt x="4194" y="4456"/>
                </a:lnTo>
                <a:lnTo>
                  <a:pt x="4198" y="4456"/>
                </a:lnTo>
                <a:lnTo>
                  <a:pt x="4202" y="4454"/>
                </a:lnTo>
                <a:lnTo>
                  <a:pt x="4204" y="4448"/>
                </a:lnTo>
                <a:lnTo>
                  <a:pt x="4202" y="4444"/>
                </a:lnTo>
                <a:lnTo>
                  <a:pt x="4198" y="4444"/>
                </a:lnTo>
                <a:lnTo>
                  <a:pt x="4194" y="4446"/>
                </a:lnTo>
                <a:close/>
                <a:moveTo>
                  <a:pt x="4316" y="4544"/>
                </a:moveTo>
                <a:lnTo>
                  <a:pt x="4316" y="4544"/>
                </a:lnTo>
                <a:lnTo>
                  <a:pt x="4316" y="4546"/>
                </a:lnTo>
                <a:lnTo>
                  <a:pt x="4318" y="4546"/>
                </a:lnTo>
                <a:lnTo>
                  <a:pt x="4320" y="4542"/>
                </a:lnTo>
                <a:lnTo>
                  <a:pt x="4320" y="4540"/>
                </a:lnTo>
                <a:lnTo>
                  <a:pt x="4318" y="4540"/>
                </a:lnTo>
                <a:lnTo>
                  <a:pt x="4316" y="4544"/>
                </a:lnTo>
                <a:close/>
                <a:moveTo>
                  <a:pt x="4310" y="4554"/>
                </a:moveTo>
                <a:lnTo>
                  <a:pt x="4310" y="4554"/>
                </a:lnTo>
                <a:lnTo>
                  <a:pt x="4312" y="4556"/>
                </a:lnTo>
                <a:lnTo>
                  <a:pt x="4316" y="4552"/>
                </a:lnTo>
                <a:lnTo>
                  <a:pt x="4318" y="4548"/>
                </a:lnTo>
                <a:lnTo>
                  <a:pt x="4318" y="4546"/>
                </a:lnTo>
                <a:lnTo>
                  <a:pt x="4316" y="4548"/>
                </a:lnTo>
                <a:lnTo>
                  <a:pt x="4314" y="4550"/>
                </a:lnTo>
                <a:lnTo>
                  <a:pt x="4310" y="4554"/>
                </a:lnTo>
                <a:close/>
                <a:moveTo>
                  <a:pt x="4316" y="4558"/>
                </a:moveTo>
                <a:lnTo>
                  <a:pt x="4316" y="4558"/>
                </a:lnTo>
                <a:lnTo>
                  <a:pt x="4312" y="4558"/>
                </a:lnTo>
                <a:lnTo>
                  <a:pt x="4310" y="4562"/>
                </a:lnTo>
                <a:lnTo>
                  <a:pt x="4308" y="4564"/>
                </a:lnTo>
                <a:lnTo>
                  <a:pt x="4308" y="4566"/>
                </a:lnTo>
                <a:lnTo>
                  <a:pt x="4314" y="4568"/>
                </a:lnTo>
                <a:lnTo>
                  <a:pt x="4316" y="4566"/>
                </a:lnTo>
                <a:lnTo>
                  <a:pt x="4318" y="4562"/>
                </a:lnTo>
                <a:lnTo>
                  <a:pt x="4318" y="4560"/>
                </a:lnTo>
                <a:lnTo>
                  <a:pt x="4316" y="4558"/>
                </a:lnTo>
                <a:close/>
                <a:moveTo>
                  <a:pt x="4306" y="4570"/>
                </a:moveTo>
                <a:lnTo>
                  <a:pt x="4306" y="4570"/>
                </a:lnTo>
                <a:lnTo>
                  <a:pt x="4304" y="4572"/>
                </a:lnTo>
                <a:lnTo>
                  <a:pt x="4306" y="4572"/>
                </a:lnTo>
                <a:lnTo>
                  <a:pt x="4310" y="4574"/>
                </a:lnTo>
                <a:lnTo>
                  <a:pt x="4312" y="4572"/>
                </a:lnTo>
                <a:lnTo>
                  <a:pt x="4314" y="4570"/>
                </a:lnTo>
                <a:lnTo>
                  <a:pt x="4312" y="4570"/>
                </a:lnTo>
                <a:lnTo>
                  <a:pt x="4306" y="4570"/>
                </a:lnTo>
                <a:close/>
                <a:moveTo>
                  <a:pt x="4322" y="4564"/>
                </a:moveTo>
                <a:lnTo>
                  <a:pt x="4322" y="4564"/>
                </a:lnTo>
                <a:lnTo>
                  <a:pt x="4320" y="4564"/>
                </a:lnTo>
                <a:lnTo>
                  <a:pt x="4318" y="4566"/>
                </a:lnTo>
                <a:lnTo>
                  <a:pt x="4318" y="4568"/>
                </a:lnTo>
                <a:lnTo>
                  <a:pt x="4322" y="4566"/>
                </a:lnTo>
                <a:lnTo>
                  <a:pt x="4322" y="4564"/>
                </a:lnTo>
                <a:close/>
                <a:moveTo>
                  <a:pt x="4320" y="4550"/>
                </a:moveTo>
                <a:lnTo>
                  <a:pt x="4320" y="4550"/>
                </a:lnTo>
                <a:lnTo>
                  <a:pt x="4316" y="4550"/>
                </a:lnTo>
                <a:lnTo>
                  <a:pt x="4316" y="4552"/>
                </a:lnTo>
                <a:lnTo>
                  <a:pt x="4316" y="4556"/>
                </a:lnTo>
                <a:lnTo>
                  <a:pt x="4320" y="4554"/>
                </a:lnTo>
                <a:lnTo>
                  <a:pt x="4320" y="4552"/>
                </a:lnTo>
                <a:lnTo>
                  <a:pt x="4320" y="4550"/>
                </a:lnTo>
                <a:close/>
                <a:moveTo>
                  <a:pt x="4334" y="4434"/>
                </a:moveTo>
                <a:lnTo>
                  <a:pt x="4334" y="4434"/>
                </a:lnTo>
                <a:lnTo>
                  <a:pt x="4334" y="4432"/>
                </a:lnTo>
                <a:lnTo>
                  <a:pt x="4330" y="4432"/>
                </a:lnTo>
                <a:lnTo>
                  <a:pt x="4324" y="4436"/>
                </a:lnTo>
                <a:lnTo>
                  <a:pt x="4322" y="4442"/>
                </a:lnTo>
                <a:lnTo>
                  <a:pt x="4326" y="4442"/>
                </a:lnTo>
                <a:lnTo>
                  <a:pt x="4332" y="4438"/>
                </a:lnTo>
                <a:lnTo>
                  <a:pt x="4334" y="4434"/>
                </a:lnTo>
                <a:close/>
                <a:moveTo>
                  <a:pt x="4296" y="4460"/>
                </a:moveTo>
                <a:lnTo>
                  <a:pt x="4296" y="4460"/>
                </a:lnTo>
                <a:lnTo>
                  <a:pt x="4288" y="4462"/>
                </a:lnTo>
                <a:lnTo>
                  <a:pt x="4288" y="4464"/>
                </a:lnTo>
                <a:lnTo>
                  <a:pt x="4290" y="4466"/>
                </a:lnTo>
                <a:lnTo>
                  <a:pt x="4294" y="4470"/>
                </a:lnTo>
                <a:lnTo>
                  <a:pt x="4296" y="4472"/>
                </a:lnTo>
                <a:lnTo>
                  <a:pt x="4296" y="4476"/>
                </a:lnTo>
                <a:lnTo>
                  <a:pt x="4296" y="4482"/>
                </a:lnTo>
                <a:lnTo>
                  <a:pt x="4294" y="4486"/>
                </a:lnTo>
                <a:lnTo>
                  <a:pt x="4282" y="4492"/>
                </a:lnTo>
                <a:lnTo>
                  <a:pt x="4278" y="4496"/>
                </a:lnTo>
                <a:lnTo>
                  <a:pt x="4280" y="4498"/>
                </a:lnTo>
                <a:lnTo>
                  <a:pt x="4300" y="4496"/>
                </a:lnTo>
                <a:lnTo>
                  <a:pt x="4308" y="4496"/>
                </a:lnTo>
                <a:lnTo>
                  <a:pt x="4314" y="4492"/>
                </a:lnTo>
                <a:lnTo>
                  <a:pt x="4316" y="4488"/>
                </a:lnTo>
                <a:lnTo>
                  <a:pt x="4316" y="4482"/>
                </a:lnTo>
                <a:lnTo>
                  <a:pt x="4314" y="4472"/>
                </a:lnTo>
                <a:lnTo>
                  <a:pt x="4314" y="4468"/>
                </a:lnTo>
                <a:lnTo>
                  <a:pt x="4316" y="4464"/>
                </a:lnTo>
                <a:lnTo>
                  <a:pt x="4320" y="4460"/>
                </a:lnTo>
                <a:lnTo>
                  <a:pt x="4316" y="4458"/>
                </a:lnTo>
                <a:lnTo>
                  <a:pt x="4296" y="4460"/>
                </a:lnTo>
                <a:close/>
                <a:moveTo>
                  <a:pt x="4290" y="4390"/>
                </a:moveTo>
                <a:lnTo>
                  <a:pt x="4290" y="4390"/>
                </a:lnTo>
                <a:lnTo>
                  <a:pt x="4286" y="4392"/>
                </a:lnTo>
                <a:lnTo>
                  <a:pt x="4284" y="4396"/>
                </a:lnTo>
                <a:lnTo>
                  <a:pt x="4284" y="4400"/>
                </a:lnTo>
                <a:lnTo>
                  <a:pt x="4288" y="4400"/>
                </a:lnTo>
                <a:lnTo>
                  <a:pt x="4290" y="4398"/>
                </a:lnTo>
                <a:lnTo>
                  <a:pt x="4292" y="4394"/>
                </a:lnTo>
                <a:lnTo>
                  <a:pt x="4292" y="4390"/>
                </a:lnTo>
                <a:lnTo>
                  <a:pt x="4290" y="4390"/>
                </a:lnTo>
                <a:close/>
                <a:moveTo>
                  <a:pt x="4308" y="4332"/>
                </a:moveTo>
                <a:lnTo>
                  <a:pt x="4308" y="4332"/>
                </a:lnTo>
                <a:lnTo>
                  <a:pt x="4306" y="4332"/>
                </a:lnTo>
                <a:lnTo>
                  <a:pt x="4304" y="4336"/>
                </a:lnTo>
                <a:lnTo>
                  <a:pt x="4304" y="4340"/>
                </a:lnTo>
                <a:lnTo>
                  <a:pt x="4306" y="4344"/>
                </a:lnTo>
                <a:lnTo>
                  <a:pt x="4308" y="4344"/>
                </a:lnTo>
                <a:lnTo>
                  <a:pt x="4310" y="4340"/>
                </a:lnTo>
                <a:lnTo>
                  <a:pt x="4310" y="4336"/>
                </a:lnTo>
                <a:lnTo>
                  <a:pt x="4308" y="4332"/>
                </a:lnTo>
                <a:close/>
                <a:moveTo>
                  <a:pt x="4316" y="4300"/>
                </a:moveTo>
                <a:lnTo>
                  <a:pt x="4316" y="4300"/>
                </a:lnTo>
                <a:lnTo>
                  <a:pt x="4314" y="4302"/>
                </a:lnTo>
                <a:lnTo>
                  <a:pt x="4312" y="4306"/>
                </a:lnTo>
                <a:lnTo>
                  <a:pt x="4312" y="4312"/>
                </a:lnTo>
                <a:lnTo>
                  <a:pt x="4314" y="4316"/>
                </a:lnTo>
                <a:lnTo>
                  <a:pt x="4318" y="4316"/>
                </a:lnTo>
                <a:lnTo>
                  <a:pt x="4320" y="4314"/>
                </a:lnTo>
                <a:lnTo>
                  <a:pt x="4322" y="4308"/>
                </a:lnTo>
                <a:lnTo>
                  <a:pt x="4322" y="4304"/>
                </a:lnTo>
                <a:lnTo>
                  <a:pt x="4320" y="4300"/>
                </a:lnTo>
                <a:lnTo>
                  <a:pt x="4320" y="4298"/>
                </a:lnTo>
                <a:lnTo>
                  <a:pt x="4316" y="4300"/>
                </a:lnTo>
                <a:close/>
                <a:moveTo>
                  <a:pt x="4296" y="4230"/>
                </a:moveTo>
                <a:lnTo>
                  <a:pt x="4296" y="4230"/>
                </a:lnTo>
                <a:lnTo>
                  <a:pt x="4298" y="4236"/>
                </a:lnTo>
                <a:lnTo>
                  <a:pt x="4300" y="4240"/>
                </a:lnTo>
                <a:lnTo>
                  <a:pt x="4300" y="4242"/>
                </a:lnTo>
                <a:lnTo>
                  <a:pt x="4304" y="4242"/>
                </a:lnTo>
                <a:lnTo>
                  <a:pt x="4304" y="4238"/>
                </a:lnTo>
                <a:lnTo>
                  <a:pt x="4304" y="4232"/>
                </a:lnTo>
                <a:lnTo>
                  <a:pt x="4304" y="4226"/>
                </a:lnTo>
                <a:lnTo>
                  <a:pt x="4300" y="4222"/>
                </a:lnTo>
                <a:lnTo>
                  <a:pt x="4296" y="4222"/>
                </a:lnTo>
                <a:lnTo>
                  <a:pt x="4296" y="4224"/>
                </a:lnTo>
                <a:lnTo>
                  <a:pt x="4296" y="4228"/>
                </a:lnTo>
                <a:lnTo>
                  <a:pt x="4296" y="4230"/>
                </a:lnTo>
                <a:close/>
                <a:moveTo>
                  <a:pt x="4370" y="4338"/>
                </a:moveTo>
                <a:lnTo>
                  <a:pt x="4370" y="4338"/>
                </a:lnTo>
                <a:lnTo>
                  <a:pt x="4370" y="4344"/>
                </a:lnTo>
                <a:lnTo>
                  <a:pt x="4372" y="4348"/>
                </a:lnTo>
                <a:lnTo>
                  <a:pt x="4374" y="4350"/>
                </a:lnTo>
                <a:lnTo>
                  <a:pt x="4378" y="4348"/>
                </a:lnTo>
                <a:lnTo>
                  <a:pt x="4378" y="4344"/>
                </a:lnTo>
                <a:lnTo>
                  <a:pt x="4378" y="4342"/>
                </a:lnTo>
                <a:lnTo>
                  <a:pt x="4374" y="4338"/>
                </a:lnTo>
                <a:lnTo>
                  <a:pt x="4372" y="4334"/>
                </a:lnTo>
                <a:lnTo>
                  <a:pt x="4370" y="4336"/>
                </a:lnTo>
                <a:lnTo>
                  <a:pt x="4370" y="4338"/>
                </a:lnTo>
                <a:close/>
                <a:moveTo>
                  <a:pt x="4316" y="4280"/>
                </a:moveTo>
                <a:lnTo>
                  <a:pt x="4316" y="4280"/>
                </a:lnTo>
                <a:lnTo>
                  <a:pt x="4320" y="4280"/>
                </a:lnTo>
                <a:lnTo>
                  <a:pt x="4320" y="4282"/>
                </a:lnTo>
                <a:lnTo>
                  <a:pt x="4320" y="4284"/>
                </a:lnTo>
                <a:lnTo>
                  <a:pt x="4322" y="4284"/>
                </a:lnTo>
                <a:lnTo>
                  <a:pt x="4324" y="4280"/>
                </a:lnTo>
                <a:lnTo>
                  <a:pt x="4324" y="4276"/>
                </a:lnTo>
                <a:lnTo>
                  <a:pt x="4322" y="4270"/>
                </a:lnTo>
                <a:lnTo>
                  <a:pt x="4316" y="4264"/>
                </a:lnTo>
                <a:lnTo>
                  <a:pt x="4312" y="4260"/>
                </a:lnTo>
                <a:lnTo>
                  <a:pt x="4308" y="4258"/>
                </a:lnTo>
                <a:lnTo>
                  <a:pt x="4306" y="4262"/>
                </a:lnTo>
                <a:lnTo>
                  <a:pt x="4308" y="4266"/>
                </a:lnTo>
                <a:lnTo>
                  <a:pt x="4310" y="4270"/>
                </a:lnTo>
                <a:lnTo>
                  <a:pt x="4310" y="4274"/>
                </a:lnTo>
                <a:lnTo>
                  <a:pt x="4312" y="4278"/>
                </a:lnTo>
                <a:lnTo>
                  <a:pt x="4316" y="4280"/>
                </a:lnTo>
                <a:close/>
                <a:moveTo>
                  <a:pt x="4284" y="4188"/>
                </a:moveTo>
                <a:lnTo>
                  <a:pt x="4284" y="4188"/>
                </a:lnTo>
                <a:lnTo>
                  <a:pt x="4284" y="4196"/>
                </a:lnTo>
                <a:lnTo>
                  <a:pt x="4284" y="4200"/>
                </a:lnTo>
                <a:lnTo>
                  <a:pt x="4288" y="4204"/>
                </a:lnTo>
                <a:lnTo>
                  <a:pt x="4292" y="4204"/>
                </a:lnTo>
                <a:lnTo>
                  <a:pt x="4292" y="4202"/>
                </a:lnTo>
                <a:lnTo>
                  <a:pt x="4292" y="4200"/>
                </a:lnTo>
                <a:lnTo>
                  <a:pt x="4292" y="4194"/>
                </a:lnTo>
                <a:lnTo>
                  <a:pt x="4290" y="4190"/>
                </a:lnTo>
                <a:lnTo>
                  <a:pt x="4288" y="4186"/>
                </a:lnTo>
                <a:lnTo>
                  <a:pt x="4286" y="4186"/>
                </a:lnTo>
                <a:lnTo>
                  <a:pt x="4284" y="4186"/>
                </a:lnTo>
                <a:lnTo>
                  <a:pt x="4284" y="4188"/>
                </a:lnTo>
                <a:close/>
                <a:moveTo>
                  <a:pt x="4294" y="4192"/>
                </a:moveTo>
                <a:lnTo>
                  <a:pt x="4294" y="4192"/>
                </a:lnTo>
                <a:lnTo>
                  <a:pt x="4296" y="4194"/>
                </a:lnTo>
                <a:lnTo>
                  <a:pt x="4300" y="4192"/>
                </a:lnTo>
                <a:lnTo>
                  <a:pt x="4304" y="4192"/>
                </a:lnTo>
                <a:lnTo>
                  <a:pt x="4306" y="4192"/>
                </a:lnTo>
                <a:lnTo>
                  <a:pt x="4308" y="4192"/>
                </a:lnTo>
                <a:lnTo>
                  <a:pt x="4308" y="4190"/>
                </a:lnTo>
                <a:lnTo>
                  <a:pt x="4306" y="4188"/>
                </a:lnTo>
                <a:lnTo>
                  <a:pt x="4304" y="4188"/>
                </a:lnTo>
                <a:lnTo>
                  <a:pt x="4302" y="4186"/>
                </a:lnTo>
                <a:lnTo>
                  <a:pt x="4300" y="4184"/>
                </a:lnTo>
                <a:lnTo>
                  <a:pt x="4298" y="4180"/>
                </a:lnTo>
                <a:lnTo>
                  <a:pt x="4296" y="4178"/>
                </a:lnTo>
                <a:lnTo>
                  <a:pt x="4294" y="4180"/>
                </a:lnTo>
                <a:lnTo>
                  <a:pt x="4294" y="4182"/>
                </a:lnTo>
                <a:lnTo>
                  <a:pt x="4294" y="4186"/>
                </a:lnTo>
                <a:lnTo>
                  <a:pt x="4294" y="4188"/>
                </a:lnTo>
                <a:lnTo>
                  <a:pt x="4292" y="4188"/>
                </a:lnTo>
                <a:lnTo>
                  <a:pt x="4294" y="4192"/>
                </a:lnTo>
                <a:close/>
                <a:moveTo>
                  <a:pt x="4306" y="4210"/>
                </a:moveTo>
                <a:lnTo>
                  <a:pt x="4306" y="4210"/>
                </a:lnTo>
                <a:lnTo>
                  <a:pt x="4306" y="4208"/>
                </a:lnTo>
                <a:lnTo>
                  <a:pt x="4306" y="4206"/>
                </a:lnTo>
                <a:lnTo>
                  <a:pt x="4306" y="4204"/>
                </a:lnTo>
                <a:lnTo>
                  <a:pt x="4304" y="4204"/>
                </a:lnTo>
                <a:lnTo>
                  <a:pt x="4302" y="4206"/>
                </a:lnTo>
                <a:lnTo>
                  <a:pt x="4302" y="4208"/>
                </a:lnTo>
                <a:lnTo>
                  <a:pt x="4304" y="4208"/>
                </a:lnTo>
                <a:lnTo>
                  <a:pt x="4306" y="4210"/>
                </a:lnTo>
                <a:close/>
                <a:moveTo>
                  <a:pt x="4108" y="4082"/>
                </a:moveTo>
                <a:lnTo>
                  <a:pt x="4108" y="4082"/>
                </a:lnTo>
                <a:lnTo>
                  <a:pt x="4088" y="4080"/>
                </a:lnTo>
                <a:lnTo>
                  <a:pt x="4074" y="4080"/>
                </a:lnTo>
                <a:lnTo>
                  <a:pt x="4070" y="4082"/>
                </a:lnTo>
                <a:lnTo>
                  <a:pt x="4066" y="4086"/>
                </a:lnTo>
                <a:lnTo>
                  <a:pt x="4066" y="4090"/>
                </a:lnTo>
                <a:lnTo>
                  <a:pt x="4066" y="4098"/>
                </a:lnTo>
                <a:lnTo>
                  <a:pt x="4066" y="4104"/>
                </a:lnTo>
                <a:lnTo>
                  <a:pt x="4068" y="4106"/>
                </a:lnTo>
                <a:lnTo>
                  <a:pt x="4072" y="4108"/>
                </a:lnTo>
                <a:lnTo>
                  <a:pt x="4082" y="4106"/>
                </a:lnTo>
                <a:lnTo>
                  <a:pt x="4094" y="4106"/>
                </a:lnTo>
                <a:lnTo>
                  <a:pt x="4098" y="4106"/>
                </a:lnTo>
                <a:lnTo>
                  <a:pt x="4104" y="4108"/>
                </a:lnTo>
                <a:lnTo>
                  <a:pt x="4114" y="4106"/>
                </a:lnTo>
                <a:lnTo>
                  <a:pt x="4124" y="4100"/>
                </a:lnTo>
                <a:lnTo>
                  <a:pt x="4128" y="4096"/>
                </a:lnTo>
                <a:lnTo>
                  <a:pt x="4130" y="4092"/>
                </a:lnTo>
                <a:lnTo>
                  <a:pt x="4128" y="4088"/>
                </a:lnTo>
                <a:lnTo>
                  <a:pt x="4124" y="4086"/>
                </a:lnTo>
                <a:lnTo>
                  <a:pt x="4118" y="4084"/>
                </a:lnTo>
                <a:lnTo>
                  <a:pt x="4108" y="4082"/>
                </a:lnTo>
                <a:close/>
                <a:moveTo>
                  <a:pt x="4132" y="4100"/>
                </a:moveTo>
                <a:lnTo>
                  <a:pt x="4132" y="4100"/>
                </a:lnTo>
                <a:lnTo>
                  <a:pt x="4134" y="4100"/>
                </a:lnTo>
                <a:lnTo>
                  <a:pt x="4138" y="4100"/>
                </a:lnTo>
                <a:lnTo>
                  <a:pt x="4142" y="4098"/>
                </a:lnTo>
                <a:lnTo>
                  <a:pt x="4142" y="4096"/>
                </a:lnTo>
                <a:lnTo>
                  <a:pt x="4140" y="4096"/>
                </a:lnTo>
                <a:lnTo>
                  <a:pt x="4136" y="4096"/>
                </a:lnTo>
                <a:lnTo>
                  <a:pt x="4132" y="4098"/>
                </a:lnTo>
                <a:lnTo>
                  <a:pt x="4132" y="4100"/>
                </a:lnTo>
                <a:close/>
                <a:moveTo>
                  <a:pt x="4158" y="4118"/>
                </a:moveTo>
                <a:lnTo>
                  <a:pt x="4158" y="4118"/>
                </a:lnTo>
                <a:lnTo>
                  <a:pt x="4158" y="4120"/>
                </a:lnTo>
                <a:lnTo>
                  <a:pt x="4160" y="4120"/>
                </a:lnTo>
                <a:lnTo>
                  <a:pt x="4166" y="4118"/>
                </a:lnTo>
                <a:lnTo>
                  <a:pt x="4170" y="4116"/>
                </a:lnTo>
                <a:lnTo>
                  <a:pt x="4170" y="4114"/>
                </a:lnTo>
                <a:lnTo>
                  <a:pt x="4162" y="4114"/>
                </a:lnTo>
                <a:lnTo>
                  <a:pt x="4158" y="4116"/>
                </a:lnTo>
                <a:lnTo>
                  <a:pt x="4158" y="4118"/>
                </a:lnTo>
                <a:close/>
                <a:moveTo>
                  <a:pt x="4228" y="4096"/>
                </a:moveTo>
                <a:lnTo>
                  <a:pt x="4228" y="4096"/>
                </a:lnTo>
                <a:lnTo>
                  <a:pt x="4230" y="4096"/>
                </a:lnTo>
                <a:lnTo>
                  <a:pt x="4232" y="4096"/>
                </a:lnTo>
                <a:lnTo>
                  <a:pt x="4234" y="4094"/>
                </a:lnTo>
                <a:lnTo>
                  <a:pt x="4236" y="4090"/>
                </a:lnTo>
                <a:lnTo>
                  <a:pt x="4234" y="4090"/>
                </a:lnTo>
                <a:lnTo>
                  <a:pt x="4232" y="4090"/>
                </a:lnTo>
                <a:lnTo>
                  <a:pt x="4228" y="4094"/>
                </a:lnTo>
                <a:lnTo>
                  <a:pt x="4228" y="4096"/>
                </a:lnTo>
                <a:close/>
                <a:moveTo>
                  <a:pt x="4232" y="4104"/>
                </a:moveTo>
                <a:lnTo>
                  <a:pt x="4232" y="4104"/>
                </a:lnTo>
                <a:lnTo>
                  <a:pt x="4234" y="4104"/>
                </a:lnTo>
                <a:lnTo>
                  <a:pt x="4234" y="4102"/>
                </a:lnTo>
                <a:lnTo>
                  <a:pt x="4234" y="4100"/>
                </a:lnTo>
                <a:lnTo>
                  <a:pt x="4234" y="4098"/>
                </a:lnTo>
                <a:lnTo>
                  <a:pt x="4232" y="4098"/>
                </a:lnTo>
                <a:lnTo>
                  <a:pt x="4230" y="4100"/>
                </a:lnTo>
                <a:lnTo>
                  <a:pt x="4230" y="4102"/>
                </a:lnTo>
                <a:lnTo>
                  <a:pt x="4232" y="4104"/>
                </a:lnTo>
                <a:close/>
                <a:moveTo>
                  <a:pt x="4266" y="4164"/>
                </a:moveTo>
                <a:lnTo>
                  <a:pt x="4266" y="4164"/>
                </a:lnTo>
                <a:lnTo>
                  <a:pt x="4266" y="4166"/>
                </a:lnTo>
                <a:lnTo>
                  <a:pt x="4264" y="4168"/>
                </a:lnTo>
                <a:lnTo>
                  <a:pt x="4266" y="4170"/>
                </a:lnTo>
                <a:lnTo>
                  <a:pt x="4268" y="4170"/>
                </a:lnTo>
                <a:lnTo>
                  <a:pt x="4268" y="4166"/>
                </a:lnTo>
                <a:lnTo>
                  <a:pt x="4268" y="4164"/>
                </a:lnTo>
                <a:lnTo>
                  <a:pt x="4266" y="4164"/>
                </a:lnTo>
                <a:close/>
                <a:moveTo>
                  <a:pt x="4250" y="4144"/>
                </a:moveTo>
                <a:lnTo>
                  <a:pt x="4250" y="4144"/>
                </a:lnTo>
                <a:lnTo>
                  <a:pt x="4250" y="4148"/>
                </a:lnTo>
                <a:lnTo>
                  <a:pt x="4252" y="4148"/>
                </a:lnTo>
                <a:lnTo>
                  <a:pt x="4254" y="4148"/>
                </a:lnTo>
                <a:lnTo>
                  <a:pt x="4254" y="4146"/>
                </a:lnTo>
                <a:lnTo>
                  <a:pt x="4254" y="4144"/>
                </a:lnTo>
                <a:lnTo>
                  <a:pt x="4252" y="4144"/>
                </a:lnTo>
                <a:lnTo>
                  <a:pt x="4250" y="4144"/>
                </a:lnTo>
                <a:close/>
                <a:moveTo>
                  <a:pt x="4242" y="4134"/>
                </a:moveTo>
                <a:lnTo>
                  <a:pt x="4242" y="4134"/>
                </a:lnTo>
                <a:lnTo>
                  <a:pt x="4242" y="4138"/>
                </a:lnTo>
                <a:lnTo>
                  <a:pt x="4244" y="4140"/>
                </a:lnTo>
                <a:lnTo>
                  <a:pt x="4246" y="4142"/>
                </a:lnTo>
                <a:lnTo>
                  <a:pt x="4248" y="4140"/>
                </a:lnTo>
                <a:lnTo>
                  <a:pt x="4248" y="4138"/>
                </a:lnTo>
                <a:lnTo>
                  <a:pt x="4246" y="4134"/>
                </a:lnTo>
                <a:lnTo>
                  <a:pt x="4242" y="4134"/>
                </a:lnTo>
                <a:close/>
                <a:moveTo>
                  <a:pt x="4282" y="4154"/>
                </a:moveTo>
                <a:lnTo>
                  <a:pt x="4282" y="4154"/>
                </a:lnTo>
                <a:lnTo>
                  <a:pt x="4286" y="4154"/>
                </a:lnTo>
                <a:lnTo>
                  <a:pt x="4288" y="4152"/>
                </a:lnTo>
                <a:lnTo>
                  <a:pt x="4288" y="4150"/>
                </a:lnTo>
                <a:lnTo>
                  <a:pt x="4286" y="4146"/>
                </a:lnTo>
                <a:lnTo>
                  <a:pt x="4282" y="4146"/>
                </a:lnTo>
                <a:lnTo>
                  <a:pt x="4280" y="4148"/>
                </a:lnTo>
                <a:lnTo>
                  <a:pt x="4280" y="4152"/>
                </a:lnTo>
                <a:lnTo>
                  <a:pt x="4282" y="4154"/>
                </a:lnTo>
                <a:close/>
                <a:moveTo>
                  <a:pt x="4284" y="4126"/>
                </a:moveTo>
                <a:lnTo>
                  <a:pt x="4284" y="4126"/>
                </a:lnTo>
                <a:lnTo>
                  <a:pt x="4286" y="4124"/>
                </a:lnTo>
                <a:lnTo>
                  <a:pt x="4286" y="4122"/>
                </a:lnTo>
                <a:lnTo>
                  <a:pt x="4284" y="4118"/>
                </a:lnTo>
                <a:lnTo>
                  <a:pt x="4282" y="4118"/>
                </a:lnTo>
                <a:lnTo>
                  <a:pt x="4280" y="4120"/>
                </a:lnTo>
                <a:lnTo>
                  <a:pt x="4280" y="4124"/>
                </a:lnTo>
                <a:lnTo>
                  <a:pt x="4284" y="4126"/>
                </a:lnTo>
                <a:close/>
                <a:moveTo>
                  <a:pt x="1780" y="2486"/>
                </a:moveTo>
                <a:lnTo>
                  <a:pt x="1780" y="2486"/>
                </a:lnTo>
                <a:lnTo>
                  <a:pt x="1790" y="2488"/>
                </a:lnTo>
                <a:lnTo>
                  <a:pt x="1794" y="2486"/>
                </a:lnTo>
                <a:lnTo>
                  <a:pt x="1796" y="2484"/>
                </a:lnTo>
                <a:lnTo>
                  <a:pt x="1800" y="2484"/>
                </a:lnTo>
                <a:lnTo>
                  <a:pt x="1802" y="2484"/>
                </a:lnTo>
                <a:lnTo>
                  <a:pt x="1802" y="2480"/>
                </a:lnTo>
                <a:lnTo>
                  <a:pt x="1800" y="2474"/>
                </a:lnTo>
                <a:lnTo>
                  <a:pt x="1796" y="2470"/>
                </a:lnTo>
                <a:lnTo>
                  <a:pt x="1794" y="2466"/>
                </a:lnTo>
                <a:lnTo>
                  <a:pt x="1794" y="2464"/>
                </a:lnTo>
                <a:lnTo>
                  <a:pt x="1792" y="2460"/>
                </a:lnTo>
                <a:lnTo>
                  <a:pt x="1788" y="2456"/>
                </a:lnTo>
                <a:lnTo>
                  <a:pt x="1782" y="2448"/>
                </a:lnTo>
                <a:lnTo>
                  <a:pt x="1778" y="2440"/>
                </a:lnTo>
                <a:lnTo>
                  <a:pt x="1774" y="2434"/>
                </a:lnTo>
                <a:lnTo>
                  <a:pt x="1770" y="2430"/>
                </a:lnTo>
                <a:lnTo>
                  <a:pt x="1766" y="2428"/>
                </a:lnTo>
                <a:lnTo>
                  <a:pt x="1754" y="2426"/>
                </a:lnTo>
                <a:lnTo>
                  <a:pt x="1744" y="2420"/>
                </a:lnTo>
                <a:lnTo>
                  <a:pt x="1738" y="2414"/>
                </a:lnTo>
                <a:lnTo>
                  <a:pt x="1738" y="2412"/>
                </a:lnTo>
                <a:lnTo>
                  <a:pt x="1738" y="2408"/>
                </a:lnTo>
                <a:lnTo>
                  <a:pt x="1740" y="2406"/>
                </a:lnTo>
                <a:lnTo>
                  <a:pt x="1738" y="2404"/>
                </a:lnTo>
                <a:lnTo>
                  <a:pt x="1732" y="2398"/>
                </a:lnTo>
                <a:lnTo>
                  <a:pt x="1724" y="2390"/>
                </a:lnTo>
                <a:lnTo>
                  <a:pt x="1720" y="2384"/>
                </a:lnTo>
                <a:lnTo>
                  <a:pt x="1716" y="2376"/>
                </a:lnTo>
                <a:lnTo>
                  <a:pt x="1712" y="2372"/>
                </a:lnTo>
                <a:lnTo>
                  <a:pt x="1704" y="2368"/>
                </a:lnTo>
                <a:lnTo>
                  <a:pt x="1680" y="2362"/>
                </a:lnTo>
                <a:lnTo>
                  <a:pt x="1656" y="2356"/>
                </a:lnTo>
                <a:lnTo>
                  <a:pt x="1646" y="2354"/>
                </a:lnTo>
                <a:lnTo>
                  <a:pt x="1640" y="2350"/>
                </a:lnTo>
                <a:lnTo>
                  <a:pt x="1632" y="2344"/>
                </a:lnTo>
                <a:lnTo>
                  <a:pt x="1620" y="2340"/>
                </a:lnTo>
                <a:lnTo>
                  <a:pt x="1608" y="2340"/>
                </a:lnTo>
                <a:lnTo>
                  <a:pt x="1602" y="2340"/>
                </a:lnTo>
                <a:lnTo>
                  <a:pt x="1596" y="2342"/>
                </a:lnTo>
                <a:lnTo>
                  <a:pt x="1596" y="2344"/>
                </a:lnTo>
                <a:lnTo>
                  <a:pt x="1596" y="2346"/>
                </a:lnTo>
                <a:lnTo>
                  <a:pt x="1600" y="2354"/>
                </a:lnTo>
                <a:lnTo>
                  <a:pt x="1608" y="2358"/>
                </a:lnTo>
                <a:lnTo>
                  <a:pt x="1612" y="2360"/>
                </a:lnTo>
                <a:lnTo>
                  <a:pt x="1618" y="2358"/>
                </a:lnTo>
                <a:lnTo>
                  <a:pt x="1626" y="2358"/>
                </a:lnTo>
                <a:lnTo>
                  <a:pt x="1632" y="2358"/>
                </a:lnTo>
                <a:lnTo>
                  <a:pt x="1634" y="2360"/>
                </a:lnTo>
                <a:lnTo>
                  <a:pt x="1630" y="2360"/>
                </a:lnTo>
                <a:lnTo>
                  <a:pt x="1624" y="2362"/>
                </a:lnTo>
                <a:lnTo>
                  <a:pt x="1618" y="2364"/>
                </a:lnTo>
                <a:lnTo>
                  <a:pt x="1616" y="2366"/>
                </a:lnTo>
                <a:lnTo>
                  <a:pt x="1616" y="2368"/>
                </a:lnTo>
                <a:lnTo>
                  <a:pt x="1618" y="2372"/>
                </a:lnTo>
                <a:lnTo>
                  <a:pt x="1622" y="2374"/>
                </a:lnTo>
                <a:lnTo>
                  <a:pt x="1622" y="2376"/>
                </a:lnTo>
                <a:lnTo>
                  <a:pt x="1620" y="2378"/>
                </a:lnTo>
                <a:lnTo>
                  <a:pt x="1616" y="2380"/>
                </a:lnTo>
                <a:lnTo>
                  <a:pt x="1614" y="2382"/>
                </a:lnTo>
                <a:lnTo>
                  <a:pt x="1616" y="2384"/>
                </a:lnTo>
                <a:lnTo>
                  <a:pt x="1618" y="2384"/>
                </a:lnTo>
                <a:lnTo>
                  <a:pt x="1620" y="2384"/>
                </a:lnTo>
                <a:lnTo>
                  <a:pt x="1624" y="2382"/>
                </a:lnTo>
                <a:lnTo>
                  <a:pt x="1630" y="2380"/>
                </a:lnTo>
                <a:lnTo>
                  <a:pt x="1632" y="2382"/>
                </a:lnTo>
                <a:lnTo>
                  <a:pt x="1634" y="2384"/>
                </a:lnTo>
                <a:lnTo>
                  <a:pt x="1636" y="2388"/>
                </a:lnTo>
                <a:lnTo>
                  <a:pt x="1638" y="2386"/>
                </a:lnTo>
                <a:lnTo>
                  <a:pt x="1642" y="2382"/>
                </a:lnTo>
                <a:lnTo>
                  <a:pt x="1644" y="2382"/>
                </a:lnTo>
                <a:lnTo>
                  <a:pt x="1646" y="2382"/>
                </a:lnTo>
                <a:lnTo>
                  <a:pt x="1648" y="2384"/>
                </a:lnTo>
                <a:lnTo>
                  <a:pt x="1646" y="2388"/>
                </a:lnTo>
                <a:lnTo>
                  <a:pt x="1644" y="2392"/>
                </a:lnTo>
                <a:lnTo>
                  <a:pt x="1644" y="2396"/>
                </a:lnTo>
                <a:lnTo>
                  <a:pt x="1646" y="2398"/>
                </a:lnTo>
                <a:lnTo>
                  <a:pt x="1648" y="2398"/>
                </a:lnTo>
                <a:lnTo>
                  <a:pt x="1652" y="2398"/>
                </a:lnTo>
                <a:lnTo>
                  <a:pt x="1656" y="2394"/>
                </a:lnTo>
                <a:lnTo>
                  <a:pt x="1662" y="2392"/>
                </a:lnTo>
                <a:lnTo>
                  <a:pt x="1664" y="2394"/>
                </a:lnTo>
                <a:lnTo>
                  <a:pt x="1666" y="2398"/>
                </a:lnTo>
                <a:lnTo>
                  <a:pt x="1668" y="2402"/>
                </a:lnTo>
                <a:lnTo>
                  <a:pt x="1670" y="2404"/>
                </a:lnTo>
                <a:lnTo>
                  <a:pt x="1676" y="2408"/>
                </a:lnTo>
                <a:lnTo>
                  <a:pt x="1678" y="2410"/>
                </a:lnTo>
                <a:lnTo>
                  <a:pt x="1674" y="2412"/>
                </a:lnTo>
                <a:lnTo>
                  <a:pt x="1670" y="2416"/>
                </a:lnTo>
                <a:lnTo>
                  <a:pt x="1668" y="2420"/>
                </a:lnTo>
                <a:lnTo>
                  <a:pt x="1670" y="2424"/>
                </a:lnTo>
                <a:lnTo>
                  <a:pt x="1676" y="2424"/>
                </a:lnTo>
                <a:lnTo>
                  <a:pt x="1688" y="2422"/>
                </a:lnTo>
                <a:lnTo>
                  <a:pt x="1692" y="2424"/>
                </a:lnTo>
                <a:lnTo>
                  <a:pt x="1694" y="2428"/>
                </a:lnTo>
                <a:lnTo>
                  <a:pt x="1696" y="2432"/>
                </a:lnTo>
                <a:lnTo>
                  <a:pt x="1700" y="2434"/>
                </a:lnTo>
                <a:lnTo>
                  <a:pt x="1702" y="2434"/>
                </a:lnTo>
                <a:lnTo>
                  <a:pt x="1702" y="2438"/>
                </a:lnTo>
                <a:lnTo>
                  <a:pt x="1702" y="2444"/>
                </a:lnTo>
                <a:lnTo>
                  <a:pt x="1706" y="2448"/>
                </a:lnTo>
                <a:lnTo>
                  <a:pt x="1710" y="2452"/>
                </a:lnTo>
                <a:lnTo>
                  <a:pt x="1716" y="2452"/>
                </a:lnTo>
                <a:lnTo>
                  <a:pt x="1722" y="2450"/>
                </a:lnTo>
                <a:lnTo>
                  <a:pt x="1728" y="2450"/>
                </a:lnTo>
                <a:lnTo>
                  <a:pt x="1730" y="2452"/>
                </a:lnTo>
                <a:lnTo>
                  <a:pt x="1728" y="2456"/>
                </a:lnTo>
                <a:lnTo>
                  <a:pt x="1728" y="2458"/>
                </a:lnTo>
                <a:lnTo>
                  <a:pt x="1728" y="2460"/>
                </a:lnTo>
                <a:lnTo>
                  <a:pt x="1730" y="2466"/>
                </a:lnTo>
                <a:lnTo>
                  <a:pt x="1738" y="2472"/>
                </a:lnTo>
                <a:lnTo>
                  <a:pt x="1750" y="2474"/>
                </a:lnTo>
                <a:lnTo>
                  <a:pt x="1758" y="2476"/>
                </a:lnTo>
                <a:lnTo>
                  <a:pt x="1764" y="2480"/>
                </a:lnTo>
                <a:lnTo>
                  <a:pt x="1770" y="2482"/>
                </a:lnTo>
                <a:lnTo>
                  <a:pt x="1780" y="2486"/>
                </a:lnTo>
                <a:close/>
                <a:moveTo>
                  <a:pt x="1446" y="2194"/>
                </a:moveTo>
                <a:lnTo>
                  <a:pt x="1446" y="2194"/>
                </a:lnTo>
                <a:lnTo>
                  <a:pt x="1450" y="2192"/>
                </a:lnTo>
                <a:lnTo>
                  <a:pt x="1452" y="2188"/>
                </a:lnTo>
                <a:lnTo>
                  <a:pt x="1454" y="2178"/>
                </a:lnTo>
                <a:lnTo>
                  <a:pt x="1452" y="2168"/>
                </a:lnTo>
                <a:lnTo>
                  <a:pt x="1454" y="2162"/>
                </a:lnTo>
                <a:lnTo>
                  <a:pt x="1454" y="2158"/>
                </a:lnTo>
                <a:lnTo>
                  <a:pt x="1460" y="2144"/>
                </a:lnTo>
                <a:lnTo>
                  <a:pt x="1460" y="2140"/>
                </a:lnTo>
                <a:lnTo>
                  <a:pt x="1458" y="2140"/>
                </a:lnTo>
                <a:lnTo>
                  <a:pt x="1452" y="2144"/>
                </a:lnTo>
                <a:lnTo>
                  <a:pt x="1446" y="2144"/>
                </a:lnTo>
                <a:lnTo>
                  <a:pt x="1442" y="2146"/>
                </a:lnTo>
                <a:lnTo>
                  <a:pt x="1444" y="2148"/>
                </a:lnTo>
                <a:lnTo>
                  <a:pt x="1446" y="2154"/>
                </a:lnTo>
                <a:lnTo>
                  <a:pt x="1446" y="2160"/>
                </a:lnTo>
                <a:lnTo>
                  <a:pt x="1442" y="2166"/>
                </a:lnTo>
                <a:lnTo>
                  <a:pt x="1434" y="2168"/>
                </a:lnTo>
                <a:lnTo>
                  <a:pt x="1428" y="2170"/>
                </a:lnTo>
                <a:lnTo>
                  <a:pt x="1422" y="2168"/>
                </a:lnTo>
                <a:lnTo>
                  <a:pt x="1422" y="2166"/>
                </a:lnTo>
                <a:lnTo>
                  <a:pt x="1428" y="2164"/>
                </a:lnTo>
                <a:lnTo>
                  <a:pt x="1436" y="2162"/>
                </a:lnTo>
                <a:lnTo>
                  <a:pt x="1440" y="2156"/>
                </a:lnTo>
                <a:lnTo>
                  <a:pt x="1440" y="2152"/>
                </a:lnTo>
                <a:lnTo>
                  <a:pt x="1436" y="2144"/>
                </a:lnTo>
                <a:lnTo>
                  <a:pt x="1432" y="2142"/>
                </a:lnTo>
                <a:lnTo>
                  <a:pt x="1430" y="2142"/>
                </a:lnTo>
                <a:lnTo>
                  <a:pt x="1428" y="2142"/>
                </a:lnTo>
                <a:lnTo>
                  <a:pt x="1426" y="2140"/>
                </a:lnTo>
                <a:lnTo>
                  <a:pt x="1422" y="2138"/>
                </a:lnTo>
                <a:lnTo>
                  <a:pt x="1420" y="2140"/>
                </a:lnTo>
                <a:lnTo>
                  <a:pt x="1418" y="2140"/>
                </a:lnTo>
                <a:lnTo>
                  <a:pt x="1414" y="2138"/>
                </a:lnTo>
                <a:lnTo>
                  <a:pt x="1410" y="2136"/>
                </a:lnTo>
                <a:lnTo>
                  <a:pt x="1406" y="2136"/>
                </a:lnTo>
                <a:lnTo>
                  <a:pt x="1404" y="2138"/>
                </a:lnTo>
                <a:lnTo>
                  <a:pt x="1406" y="2142"/>
                </a:lnTo>
                <a:lnTo>
                  <a:pt x="1404" y="2146"/>
                </a:lnTo>
                <a:lnTo>
                  <a:pt x="1404" y="2152"/>
                </a:lnTo>
                <a:lnTo>
                  <a:pt x="1404" y="2156"/>
                </a:lnTo>
                <a:lnTo>
                  <a:pt x="1406" y="2164"/>
                </a:lnTo>
                <a:lnTo>
                  <a:pt x="1410" y="2170"/>
                </a:lnTo>
                <a:lnTo>
                  <a:pt x="1408" y="2172"/>
                </a:lnTo>
                <a:lnTo>
                  <a:pt x="1410" y="2178"/>
                </a:lnTo>
                <a:lnTo>
                  <a:pt x="1414" y="2180"/>
                </a:lnTo>
                <a:lnTo>
                  <a:pt x="1418" y="2180"/>
                </a:lnTo>
                <a:lnTo>
                  <a:pt x="1422" y="2180"/>
                </a:lnTo>
                <a:lnTo>
                  <a:pt x="1426" y="2184"/>
                </a:lnTo>
                <a:lnTo>
                  <a:pt x="1428" y="2186"/>
                </a:lnTo>
                <a:lnTo>
                  <a:pt x="1426" y="2186"/>
                </a:lnTo>
                <a:lnTo>
                  <a:pt x="1422" y="2186"/>
                </a:lnTo>
                <a:lnTo>
                  <a:pt x="1418" y="2186"/>
                </a:lnTo>
                <a:lnTo>
                  <a:pt x="1418" y="2188"/>
                </a:lnTo>
                <a:lnTo>
                  <a:pt x="1422" y="2192"/>
                </a:lnTo>
                <a:lnTo>
                  <a:pt x="1426" y="2196"/>
                </a:lnTo>
                <a:lnTo>
                  <a:pt x="1426" y="2198"/>
                </a:lnTo>
                <a:lnTo>
                  <a:pt x="1428" y="2198"/>
                </a:lnTo>
                <a:lnTo>
                  <a:pt x="1434" y="2200"/>
                </a:lnTo>
                <a:lnTo>
                  <a:pt x="1438" y="2198"/>
                </a:lnTo>
                <a:lnTo>
                  <a:pt x="1440" y="2198"/>
                </a:lnTo>
                <a:lnTo>
                  <a:pt x="1442" y="2196"/>
                </a:lnTo>
                <a:lnTo>
                  <a:pt x="1446" y="2194"/>
                </a:lnTo>
                <a:close/>
                <a:moveTo>
                  <a:pt x="1478" y="2250"/>
                </a:moveTo>
                <a:lnTo>
                  <a:pt x="1478" y="2250"/>
                </a:lnTo>
                <a:lnTo>
                  <a:pt x="1480" y="2246"/>
                </a:lnTo>
                <a:lnTo>
                  <a:pt x="1480" y="2244"/>
                </a:lnTo>
                <a:lnTo>
                  <a:pt x="1478" y="2244"/>
                </a:lnTo>
                <a:lnTo>
                  <a:pt x="1476" y="2244"/>
                </a:lnTo>
                <a:lnTo>
                  <a:pt x="1472" y="2246"/>
                </a:lnTo>
                <a:lnTo>
                  <a:pt x="1472" y="2244"/>
                </a:lnTo>
                <a:lnTo>
                  <a:pt x="1470" y="2242"/>
                </a:lnTo>
                <a:lnTo>
                  <a:pt x="1468" y="2240"/>
                </a:lnTo>
                <a:lnTo>
                  <a:pt x="1464" y="2238"/>
                </a:lnTo>
                <a:lnTo>
                  <a:pt x="1460" y="2234"/>
                </a:lnTo>
                <a:lnTo>
                  <a:pt x="1458" y="2230"/>
                </a:lnTo>
                <a:lnTo>
                  <a:pt x="1460" y="2224"/>
                </a:lnTo>
                <a:lnTo>
                  <a:pt x="1460" y="2222"/>
                </a:lnTo>
                <a:lnTo>
                  <a:pt x="1458" y="2222"/>
                </a:lnTo>
                <a:lnTo>
                  <a:pt x="1454" y="2220"/>
                </a:lnTo>
                <a:lnTo>
                  <a:pt x="1452" y="2216"/>
                </a:lnTo>
                <a:lnTo>
                  <a:pt x="1456" y="2216"/>
                </a:lnTo>
                <a:lnTo>
                  <a:pt x="1460" y="2216"/>
                </a:lnTo>
                <a:lnTo>
                  <a:pt x="1464" y="2214"/>
                </a:lnTo>
                <a:lnTo>
                  <a:pt x="1464" y="2212"/>
                </a:lnTo>
                <a:lnTo>
                  <a:pt x="1464" y="2210"/>
                </a:lnTo>
                <a:lnTo>
                  <a:pt x="1462" y="2210"/>
                </a:lnTo>
                <a:lnTo>
                  <a:pt x="1464" y="2206"/>
                </a:lnTo>
                <a:lnTo>
                  <a:pt x="1464" y="2204"/>
                </a:lnTo>
                <a:lnTo>
                  <a:pt x="1462" y="2202"/>
                </a:lnTo>
                <a:lnTo>
                  <a:pt x="1460" y="2200"/>
                </a:lnTo>
                <a:lnTo>
                  <a:pt x="1458" y="2198"/>
                </a:lnTo>
                <a:lnTo>
                  <a:pt x="1458" y="2196"/>
                </a:lnTo>
                <a:lnTo>
                  <a:pt x="1456" y="2194"/>
                </a:lnTo>
                <a:lnTo>
                  <a:pt x="1454" y="2194"/>
                </a:lnTo>
                <a:lnTo>
                  <a:pt x="1448" y="2198"/>
                </a:lnTo>
                <a:lnTo>
                  <a:pt x="1446" y="2200"/>
                </a:lnTo>
                <a:lnTo>
                  <a:pt x="1442" y="2202"/>
                </a:lnTo>
                <a:lnTo>
                  <a:pt x="1434" y="2204"/>
                </a:lnTo>
                <a:lnTo>
                  <a:pt x="1428" y="2204"/>
                </a:lnTo>
                <a:lnTo>
                  <a:pt x="1426" y="2204"/>
                </a:lnTo>
                <a:lnTo>
                  <a:pt x="1428" y="2206"/>
                </a:lnTo>
                <a:lnTo>
                  <a:pt x="1430" y="2208"/>
                </a:lnTo>
                <a:lnTo>
                  <a:pt x="1436" y="2208"/>
                </a:lnTo>
                <a:lnTo>
                  <a:pt x="1440" y="2208"/>
                </a:lnTo>
                <a:lnTo>
                  <a:pt x="1442" y="2210"/>
                </a:lnTo>
                <a:lnTo>
                  <a:pt x="1442" y="2212"/>
                </a:lnTo>
                <a:lnTo>
                  <a:pt x="1438" y="2212"/>
                </a:lnTo>
                <a:lnTo>
                  <a:pt x="1436" y="2214"/>
                </a:lnTo>
                <a:lnTo>
                  <a:pt x="1436" y="2218"/>
                </a:lnTo>
                <a:lnTo>
                  <a:pt x="1440" y="2222"/>
                </a:lnTo>
                <a:lnTo>
                  <a:pt x="1444" y="2222"/>
                </a:lnTo>
                <a:lnTo>
                  <a:pt x="1448" y="2222"/>
                </a:lnTo>
                <a:lnTo>
                  <a:pt x="1448" y="2224"/>
                </a:lnTo>
                <a:lnTo>
                  <a:pt x="1446" y="2226"/>
                </a:lnTo>
                <a:lnTo>
                  <a:pt x="1446" y="2228"/>
                </a:lnTo>
                <a:lnTo>
                  <a:pt x="1450" y="2232"/>
                </a:lnTo>
                <a:lnTo>
                  <a:pt x="1460" y="2242"/>
                </a:lnTo>
                <a:lnTo>
                  <a:pt x="1466" y="2246"/>
                </a:lnTo>
                <a:lnTo>
                  <a:pt x="1466" y="2248"/>
                </a:lnTo>
                <a:lnTo>
                  <a:pt x="1466" y="2250"/>
                </a:lnTo>
                <a:lnTo>
                  <a:pt x="1468" y="2252"/>
                </a:lnTo>
                <a:lnTo>
                  <a:pt x="1470" y="2256"/>
                </a:lnTo>
                <a:lnTo>
                  <a:pt x="1472" y="2258"/>
                </a:lnTo>
                <a:lnTo>
                  <a:pt x="1476" y="2260"/>
                </a:lnTo>
                <a:lnTo>
                  <a:pt x="1480" y="2262"/>
                </a:lnTo>
                <a:lnTo>
                  <a:pt x="1486" y="2262"/>
                </a:lnTo>
                <a:lnTo>
                  <a:pt x="1488" y="2260"/>
                </a:lnTo>
                <a:lnTo>
                  <a:pt x="1488" y="2258"/>
                </a:lnTo>
                <a:lnTo>
                  <a:pt x="1486" y="2254"/>
                </a:lnTo>
                <a:lnTo>
                  <a:pt x="1482" y="2252"/>
                </a:lnTo>
                <a:lnTo>
                  <a:pt x="1480" y="2252"/>
                </a:lnTo>
                <a:lnTo>
                  <a:pt x="1478" y="2252"/>
                </a:lnTo>
                <a:lnTo>
                  <a:pt x="1478" y="2250"/>
                </a:lnTo>
                <a:close/>
                <a:moveTo>
                  <a:pt x="1658" y="2400"/>
                </a:moveTo>
                <a:lnTo>
                  <a:pt x="1658" y="2400"/>
                </a:lnTo>
                <a:lnTo>
                  <a:pt x="1656" y="2402"/>
                </a:lnTo>
                <a:lnTo>
                  <a:pt x="1656" y="2406"/>
                </a:lnTo>
                <a:lnTo>
                  <a:pt x="1660" y="2410"/>
                </a:lnTo>
                <a:lnTo>
                  <a:pt x="1664" y="2412"/>
                </a:lnTo>
                <a:lnTo>
                  <a:pt x="1668" y="2412"/>
                </a:lnTo>
                <a:lnTo>
                  <a:pt x="1668" y="2408"/>
                </a:lnTo>
                <a:lnTo>
                  <a:pt x="1666" y="2402"/>
                </a:lnTo>
                <a:lnTo>
                  <a:pt x="1662" y="2400"/>
                </a:lnTo>
                <a:lnTo>
                  <a:pt x="1660" y="2398"/>
                </a:lnTo>
                <a:lnTo>
                  <a:pt x="1658" y="2400"/>
                </a:lnTo>
                <a:close/>
                <a:moveTo>
                  <a:pt x="1514" y="2172"/>
                </a:moveTo>
                <a:lnTo>
                  <a:pt x="1514" y="2172"/>
                </a:lnTo>
                <a:lnTo>
                  <a:pt x="1508" y="2170"/>
                </a:lnTo>
                <a:lnTo>
                  <a:pt x="1508" y="2172"/>
                </a:lnTo>
                <a:lnTo>
                  <a:pt x="1512" y="2182"/>
                </a:lnTo>
                <a:lnTo>
                  <a:pt x="1516" y="2184"/>
                </a:lnTo>
                <a:lnTo>
                  <a:pt x="1520" y="2186"/>
                </a:lnTo>
                <a:lnTo>
                  <a:pt x="1524" y="2190"/>
                </a:lnTo>
                <a:lnTo>
                  <a:pt x="1528" y="2196"/>
                </a:lnTo>
                <a:lnTo>
                  <a:pt x="1532" y="2200"/>
                </a:lnTo>
                <a:lnTo>
                  <a:pt x="1534" y="2200"/>
                </a:lnTo>
                <a:lnTo>
                  <a:pt x="1536" y="2196"/>
                </a:lnTo>
                <a:lnTo>
                  <a:pt x="1536" y="2190"/>
                </a:lnTo>
                <a:lnTo>
                  <a:pt x="1532" y="2186"/>
                </a:lnTo>
                <a:lnTo>
                  <a:pt x="1528" y="2180"/>
                </a:lnTo>
                <a:lnTo>
                  <a:pt x="1514" y="2172"/>
                </a:lnTo>
                <a:close/>
                <a:moveTo>
                  <a:pt x="1548" y="2182"/>
                </a:moveTo>
                <a:lnTo>
                  <a:pt x="1548" y="2182"/>
                </a:lnTo>
                <a:lnTo>
                  <a:pt x="1538" y="2170"/>
                </a:lnTo>
                <a:lnTo>
                  <a:pt x="1526" y="2158"/>
                </a:lnTo>
                <a:lnTo>
                  <a:pt x="1520" y="2156"/>
                </a:lnTo>
                <a:lnTo>
                  <a:pt x="1518" y="2156"/>
                </a:lnTo>
                <a:lnTo>
                  <a:pt x="1518" y="2160"/>
                </a:lnTo>
                <a:lnTo>
                  <a:pt x="1520" y="2164"/>
                </a:lnTo>
                <a:lnTo>
                  <a:pt x="1524" y="2172"/>
                </a:lnTo>
                <a:lnTo>
                  <a:pt x="1526" y="2174"/>
                </a:lnTo>
                <a:lnTo>
                  <a:pt x="1530" y="2176"/>
                </a:lnTo>
                <a:lnTo>
                  <a:pt x="1532" y="2176"/>
                </a:lnTo>
                <a:lnTo>
                  <a:pt x="1536" y="2180"/>
                </a:lnTo>
                <a:lnTo>
                  <a:pt x="1542" y="2194"/>
                </a:lnTo>
                <a:lnTo>
                  <a:pt x="1544" y="2196"/>
                </a:lnTo>
                <a:lnTo>
                  <a:pt x="1548" y="2196"/>
                </a:lnTo>
                <a:lnTo>
                  <a:pt x="1550" y="2196"/>
                </a:lnTo>
                <a:lnTo>
                  <a:pt x="1550" y="2194"/>
                </a:lnTo>
                <a:lnTo>
                  <a:pt x="1548" y="2192"/>
                </a:lnTo>
                <a:lnTo>
                  <a:pt x="1550" y="2190"/>
                </a:lnTo>
                <a:lnTo>
                  <a:pt x="1550" y="2186"/>
                </a:lnTo>
                <a:lnTo>
                  <a:pt x="1548" y="2182"/>
                </a:lnTo>
                <a:close/>
                <a:moveTo>
                  <a:pt x="1518" y="2154"/>
                </a:moveTo>
                <a:lnTo>
                  <a:pt x="1518" y="2154"/>
                </a:lnTo>
                <a:lnTo>
                  <a:pt x="1520" y="2152"/>
                </a:lnTo>
                <a:lnTo>
                  <a:pt x="1518" y="2148"/>
                </a:lnTo>
                <a:lnTo>
                  <a:pt x="1516" y="2144"/>
                </a:lnTo>
                <a:lnTo>
                  <a:pt x="1510" y="2144"/>
                </a:lnTo>
                <a:lnTo>
                  <a:pt x="1506" y="2144"/>
                </a:lnTo>
                <a:lnTo>
                  <a:pt x="1502" y="2146"/>
                </a:lnTo>
                <a:lnTo>
                  <a:pt x="1500" y="2150"/>
                </a:lnTo>
                <a:lnTo>
                  <a:pt x="1500" y="2156"/>
                </a:lnTo>
                <a:lnTo>
                  <a:pt x="1500" y="2158"/>
                </a:lnTo>
                <a:lnTo>
                  <a:pt x="1502" y="2156"/>
                </a:lnTo>
                <a:lnTo>
                  <a:pt x="1504" y="2154"/>
                </a:lnTo>
                <a:lnTo>
                  <a:pt x="1508" y="2154"/>
                </a:lnTo>
                <a:lnTo>
                  <a:pt x="1512" y="2158"/>
                </a:lnTo>
                <a:lnTo>
                  <a:pt x="1514" y="2158"/>
                </a:lnTo>
                <a:lnTo>
                  <a:pt x="1518" y="2154"/>
                </a:lnTo>
                <a:close/>
                <a:moveTo>
                  <a:pt x="1568" y="2192"/>
                </a:moveTo>
                <a:lnTo>
                  <a:pt x="1568" y="2192"/>
                </a:lnTo>
                <a:lnTo>
                  <a:pt x="1566" y="2192"/>
                </a:lnTo>
                <a:lnTo>
                  <a:pt x="1566" y="2194"/>
                </a:lnTo>
                <a:lnTo>
                  <a:pt x="1566" y="2198"/>
                </a:lnTo>
                <a:lnTo>
                  <a:pt x="1566" y="2204"/>
                </a:lnTo>
                <a:lnTo>
                  <a:pt x="1564" y="2206"/>
                </a:lnTo>
                <a:lnTo>
                  <a:pt x="1562" y="2208"/>
                </a:lnTo>
                <a:lnTo>
                  <a:pt x="1560" y="2212"/>
                </a:lnTo>
                <a:lnTo>
                  <a:pt x="1560" y="2216"/>
                </a:lnTo>
                <a:lnTo>
                  <a:pt x="1562" y="2216"/>
                </a:lnTo>
                <a:lnTo>
                  <a:pt x="1566" y="2216"/>
                </a:lnTo>
                <a:lnTo>
                  <a:pt x="1570" y="2212"/>
                </a:lnTo>
                <a:lnTo>
                  <a:pt x="1572" y="2208"/>
                </a:lnTo>
                <a:lnTo>
                  <a:pt x="1574" y="2206"/>
                </a:lnTo>
                <a:lnTo>
                  <a:pt x="1576" y="2208"/>
                </a:lnTo>
                <a:lnTo>
                  <a:pt x="1576" y="2210"/>
                </a:lnTo>
                <a:lnTo>
                  <a:pt x="1576" y="2212"/>
                </a:lnTo>
                <a:lnTo>
                  <a:pt x="1572" y="2216"/>
                </a:lnTo>
                <a:lnTo>
                  <a:pt x="1566" y="2220"/>
                </a:lnTo>
                <a:lnTo>
                  <a:pt x="1566" y="2222"/>
                </a:lnTo>
                <a:lnTo>
                  <a:pt x="1568" y="2226"/>
                </a:lnTo>
                <a:lnTo>
                  <a:pt x="1572" y="2228"/>
                </a:lnTo>
                <a:lnTo>
                  <a:pt x="1576" y="2228"/>
                </a:lnTo>
                <a:lnTo>
                  <a:pt x="1578" y="2224"/>
                </a:lnTo>
                <a:lnTo>
                  <a:pt x="1580" y="2222"/>
                </a:lnTo>
                <a:lnTo>
                  <a:pt x="1580" y="2224"/>
                </a:lnTo>
                <a:lnTo>
                  <a:pt x="1580" y="2230"/>
                </a:lnTo>
                <a:lnTo>
                  <a:pt x="1580" y="2232"/>
                </a:lnTo>
                <a:lnTo>
                  <a:pt x="1582" y="2234"/>
                </a:lnTo>
                <a:lnTo>
                  <a:pt x="1586" y="2232"/>
                </a:lnTo>
                <a:lnTo>
                  <a:pt x="1586" y="2230"/>
                </a:lnTo>
                <a:lnTo>
                  <a:pt x="1588" y="2214"/>
                </a:lnTo>
                <a:lnTo>
                  <a:pt x="1586" y="2210"/>
                </a:lnTo>
                <a:lnTo>
                  <a:pt x="1584" y="2206"/>
                </a:lnTo>
                <a:lnTo>
                  <a:pt x="1578" y="2198"/>
                </a:lnTo>
                <a:lnTo>
                  <a:pt x="1572" y="2194"/>
                </a:lnTo>
                <a:lnTo>
                  <a:pt x="1568" y="2192"/>
                </a:lnTo>
                <a:close/>
                <a:moveTo>
                  <a:pt x="1560" y="2224"/>
                </a:moveTo>
                <a:lnTo>
                  <a:pt x="1560" y="2224"/>
                </a:lnTo>
                <a:lnTo>
                  <a:pt x="1562" y="2232"/>
                </a:lnTo>
                <a:lnTo>
                  <a:pt x="1570" y="2242"/>
                </a:lnTo>
                <a:lnTo>
                  <a:pt x="1572" y="2242"/>
                </a:lnTo>
                <a:lnTo>
                  <a:pt x="1572" y="2240"/>
                </a:lnTo>
                <a:lnTo>
                  <a:pt x="1572" y="2236"/>
                </a:lnTo>
                <a:lnTo>
                  <a:pt x="1568" y="2230"/>
                </a:lnTo>
                <a:lnTo>
                  <a:pt x="1562" y="2224"/>
                </a:lnTo>
                <a:lnTo>
                  <a:pt x="1560" y="2224"/>
                </a:lnTo>
                <a:close/>
                <a:moveTo>
                  <a:pt x="1582" y="2244"/>
                </a:moveTo>
                <a:lnTo>
                  <a:pt x="1582" y="2244"/>
                </a:lnTo>
                <a:lnTo>
                  <a:pt x="1580" y="2244"/>
                </a:lnTo>
                <a:lnTo>
                  <a:pt x="1580" y="2248"/>
                </a:lnTo>
                <a:lnTo>
                  <a:pt x="1582" y="2252"/>
                </a:lnTo>
                <a:lnTo>
                  <a:pt x="1584" y="2254"/>
                </a:lnTo>
                <a:lnTo>
                  <a:pt x="1586" y="2252"/>
                </a:lnTo>
                <a:lnTo>
                  <a:pt x="1586" y="2248"/>
                </a:lnTo>
                <a:lnTo>
                  <a:pt x="1586" y="2244"/>
                </a:lnTo>
                <a:lnTo>
                  <a:pt x="1582" y="2244"/>
                </a:lnTo>
                <a:close/>
                <a:moveTo>
                  <a:pt x="4140" y="1656"/>
                </a:moveTo>
                <a:lnTo>
                  <a:pt x="4140" y="1656"/>
                </a:lnTo>
                <a:lnTo>
                  <a:pt x="4136" y="1658"/>
                </a:lnTo>
                <a:lnTo>
                  <a:pt x="4134" y="1662"/>
                </a:lnTo>
                <a:lnTo>
                  <a:pt x="4136" y="1668"/>
                </a:lnTo>
                <a:lnTo>
                  <a:pt x="4142" y="1674"/>
                </a:lnTo>
                <a:lnTo>
                  <a:pt x="4148" y="1678"/>
                </a:lnTo>
                <a:lnTo>
                  <a:pt x="4154" y="1680"/>
                </a:lnTo>
                <a:lnTo>
                  <a:pt x="4160" y="1680"/>
                </a:lnTo>
                <a:lnTo>
                  <a:pt x="4164" y="1678"/>
                </a:lnTo>
                <a:lnTo>
                  <a:pt x="4166" y="1672"/>
                </a:lnTo>
                <a:lnTo>
                  <a:pt x="4168" y="1668"/>
                </a:lnTo>
                <a:lnTo>
                  <a:pt x="4166" y="1664"/>
                </a:lnTo>
                <a:lnTo>
                  <a:pt x="4164" y="1660"/>
                </a:lnTo>
                <a:lnTo>
                  <a:pt x="4160" y="1658"/>
                </a:lnTo>
                <a:lnTo>
                  <a:pt x="4154" y="1656"/>
                </a:lnTo>
                <a:lnTo>
                  <a:pt x="4148" y="1654"/>
                </a:lnTo>
                <a:lnTo>
                  <a:pt x="4140" y="1656"/>
                </a:lnTo>
                <a:close/>
                <a:moveTo>
                  <a:pt x="4268" y="2596"/>
                </a:moveTo>
                <a:lnTo>
                  <a:pt x="4268" y="2596"/>
                </a:lnTo>
                <a:lnTo>
                  <a:pt x="4260" y="2594"/>
                </a:lnTo>
                <a:lnTo>
                  <a:pt x="4244" y="2596"/>
                </a:lnTo>
                <a:lnTo>
                  <a:pt x="4226" y="2596"/>
                </a:lnTo>
                <a:lnTo>
                  <a:pt x="4216" y="2594"/>
                </a:lnTo>
                <a:lnTo>
                  <a:pt x="4206" y="2592"/>
                </a:lnTo>
                <a:lnTo>
                  <a:pt x="4198" y="2588"/>
                </a:lnTo>
                <a:lnTo>
                  <a:pt x="4194" y="2584"/>
                </a:lnTo>
                <a:lnTo>
                  <a:pt x="4192" y="2578"/>
                </a:lnTo>
                <a:lnTo>
                  <a:pt x="4190" y="2572"/>
                </a:lnTo>
                <a:lnTo>
                  <a:pt x="4190" y="2568"/>
                </a:lnTo>
                <a:lnTo>
                  <a:pt x="4188" y="2566"/>
                </a:lnTo>
                <a:lnTo>
                  <a:pt x="4186" y="2568"/>
                </a:lnTo>
                <a:lnTo>
                  <a:pt x="4180" y="2574"/>
                </a:lnTo>
                <a:lnTo>
                  <a:pt x="4174" y="2586"/>
                </a:lnTo>
                <a:lnTo>
                  <a:pt x="4174" y="2588"/>
                </a:lnTo>
                <a:lnTo>
                  <a:pt x="4176" y="2588"/>
                </a:lnTo>
                <a:lnTo>
                  <a:pt x="4180" y="2590"/>
                </a:lnTo>
                <a:lnTo>
                  <a:pt x="4182" y="2592"/>
                </a:lnTo>
                <a:lnTo>
                  <a:pt x="4184" y="2596"/>
                </a:lnTo>
                <a:lnTo>
                  <a:pt x="4184" y="2600"/>
                </a:lnTo>
                <a:lnTo>
                  <a:pt x="4184" y="2602"/>
                </a:lnTo>
                <a:lnTo>
                  <a:pt x="4190" y="2602"/>
                </a:lnTo>
                <a:lnTo>
                  <a:pt x="4196" y="2602"/>
                </a:lnTo>
                <a:lnTo>
                  <a:pt x="4198" y="2604"/>
                </a:lnTo>
                <a:lnTo>
                  <a:pt x="4202" y="2606"/>
                </a:lnTo>
                <a:lnTo>
                  <a:pt x="4208" y="2612"/>
                </a:lnTo>
                <a:lnTo>
                  <a:pt x="4214" y="2614"/>
                </a:lnTo>
                <a:lnTo>
                  <a:pt x="4226" y="2616"/>
                </a:lnTo>
                <a:lnTo>
                  <a:pt x="4248" y="2624"/>
                </a:lnTo>
                <a:lnTo>
                  <a:pt x="4252" y="2626"/>
                </a:lnTo>
                <a:lnTo>
                  <a:pt x="4256" y="2626"/>
                </a:lnTo>
                <a:lnTo>
                  <a:pt x="4256" y="2620"/>
                </a:lnTo>
                <a:lnTo>
                  <a:pt x="4256" y="2612"/>
                </a:lnTo>
                <a:lnTo>
                  <a:pt x="4256" y="2608"/>
                </a:lnTo>
                <a:lnTo>
                  <a:pt x="4258" y="2604"/>
                </a:lnTo>
                <a:lnTo>
                  <a:pt x="4264" y="2600"/>
                </a:lnTo>
                <a:lnTo>
                  <a:pt x="4268" y="2598"/>
                </a:lnTo>
                <a:lnTo>
                  <a:pt x="4270" y="2596"/>
                </a:lnTo>
                <a:lnTo>
                  <a:pt x="4268" y="2596"/>
                </a:lnTo>
                <a:close/>
                <a:moveTo>
                  <a:pt x="4356" y="2612"/>
                </a:moveTo>
                <a:lnTo>
                  <a:pt x="4356" y="2612"/>
                </a:lnTo>
                <a:lnTo>
                  <a:pt x="4346" y="2608"/>
                </a:lnTo>
                <a:lnTo>
                  <a:pt x="4342" y="2606"/>
                </a:lnTo>
                <a:lnTo>
                  <a:pt x="4340" y="2604"/>
                </a:lnTo>
                <a:lnTo>
                  <a:pt x="4338" y="2596"/>
                </a:lnTo>
                <a:lnTo>
                  <a:pt x="4340" y="2582"/>
                </a:lnTo>
                <a:lnTo>
                  <a:pt x="4340" y="2568"/>
                </a:lnTo>
                <a:lnTo>
                  <a:pt x="4338" y="2566"/>
                </a:lnTo>
                <a:lnTo>
                  <a:pt x="4336" y="2564"/>
                </a:lnTo>
                <a:lnTo>
                  <a:pt x="4334" y="2564"/>
                </a:lnTo>
                <a:lnTo>
                  <a:pt x="4330" y="2568"/>
                </a:lnTo>
                <a:lnTo>
                  <a:pt x="4318" y="2582"/>
                </a:lnTo>
                <a:lnTo>
                  <a:pt x="4306" y="2598"/>
                </a:lnTo>
                <a:lnTo>
                  <a:pt x="4298" y="2612"/>
                </a:lnTo>
                <a:lnTo>
                  <a:pt x="4296" y="2620"/>
                </a:lnTo>
                <a:lnTo>
                  <a:pt x="4294" y="2628"/>
                </a:lnTo>
                <a:lnTo>
                  <a:pt x="4296" y="2636"/>
                </a:lnTo>
                <a:lnTo>
                  <a:pt x="4298" y="2646"/>
                </a:lnTo>
                <a:lnTo>
                  <a:pt x="4302" y="2652"/>
                </a:lnTo>
                <a:lnTo>
                  <a:pt x="4304" y="2652"/>
                </a:lnTo>
                <a:lnTo>
                  <a:pt x="4306" y="2652"/>
                </a:lnTo>
                <a:lnTo>
                  <a:pt x="4312" y="2644"/>
                </a:lnTo>
                <a:lnTo>
                  <a:pt x="4314" y="2632"/>
                </a:lnTo>
                <a:lnTo>
                  <a:pt x="4320" y="2622"/>
                </a:lnTo>
                <a:lnTo>
                  <a:pt x="4322" y="2620"/>
                </a:lnTo>
                <a:lnTo>
                  <a:pt x="4324" y="2618"/>
                </a:lnTo>
                <a:lnTo>
                  <a:pt x="4326" y="2620"/>
                </a:lnTo>
                <a:lnTo>
                  <a:pt x="4326" y="2622"/>
                </a:lnTo>
                <a:lnTo>
                  <a:pt x="4324" y="2634"/>
                </a:lnTo>
                <a:lnTo>
                  <a:pt x="4324" y="2646"/>
                </a:lnTo>
                <a:lnTo>
                  <a:pt x="4324" y="2648"/>
                </a:lnTo>
                <a:lnTo>
                  <a:pt x="4326" y="2650"/>
                </a:lnTo>
                <a:lnTo>
                  <a:pt x="4334" y="2646"/>
                </a:lnTo>
                <a:lnTo>
                  <a:pt x="4344" y="2640"/>
                </a:lnTo>
                <a:lnTo>
                  <a:pt x="4354" y="2632"/>
                </a:lnTo>
                <a:lnTo>
                  <a:pt x="4362" y="2622"/>
                </a:lnTo>
                <a:lnTo>
                  <a:pt x="4364" y="2620"/>
                </a:lnTo>
                <a:lnTo>
                  <a:pt x="4364" y="2616"/>
                </a:lnTo>
                <a:lnTo>
                  <a:pt x="4360" y="2614"/>
                </a:lnTo>
                <a:lnTo>
                  <a:pt x="4356" y="2612"/>
                </a:lnTo>
                <a:close/>
                <a:moveTo>
                  <a:pt x="4284" y="2440"/>
                </a:moveTo>
                <a:lnTo>
                  <a:pt x="4284" y="2440"/>
                </a:lnTo>
                <a:lnTo>
                  <a:pt x="4286" y="2438"/>
                </a:lnTo>
                <a:lnTo>
                  <a:pt x="4284" y="2436"/>
                </a:lnTo>
                <a:lnTo>
                  <a:pt x="4280" y="2430"/>
                </a:lnTo>
                <a:lnTo>
                  <a:pt x="4272" y="2424"/>
                </a:lnTo>
                <a:lnTo>
                  <a:pt x="4260" y="2416"/>
                </a:lnTo>
                <a:lnTo>
                  <a:pt x="4246" y="2410"/>
                </a:lnTo>
                <a:lnTo>
                  <a:pt x="4230" y="2404"/>
                </a:lnTo>
                <a:lnTo>
                  <a:pt x="4212" y="2398"/>
                </a:lnTo>
                <a:lnTo>
                  <a:pt x="4194" y="2396"/>
                </a:lnTo>
                <a:lnTo>
                  <a:pt x="4178" y="2394"/>
                </a:lnTo>
                <a:lnTo>
                  <a:pt x="4170" y="2394"/>
                </a:lnTo>
                <a:lnTo>
                  <a:pt x="4168" y="2396"/>
                </a:lnTo>
                <a:lnTo>
                  <a:pt x="4172" y="2398"/>
                </a:lnTo>
                <a:lnTo>
                  <a:pt x="4186" y="2408"/>
                </a:lnTo>
                <a:lnTo>
                  <a:pt x="4202" y="2418"/>
                </a:lnTo>
                <a:lnTo>
                  <a:pt x="4220" y="2430"/>
                </a:lnTo>
                <a:lnTo>
                  <a:pt x="4246" y="2442"/>
                </a:lnTo>
                <a:lnTo>
                  <a:pt x="4258" y="2446"/>
                </a:lnTo>
                <a:lnTo>
                  <a:pt x="4270" y="2446"/>
                </a:lnTo>
                <a:lnTo>
                  <a:pt x="4278" y="2446"/>
                </a:lnTo>
                <a:lnTo>
                  <a:pt x="4282" y="2444"/>
                </a:lnTo>
                <a:lnTo>
                  <a:pt x="4284" y="2440"/>
                </a:lnTo>
                <a:close/>
                <a:moveTo>
                  <a:pt x="4640" y="2510"/>
                </a:moveTo>
                <a:lnTo>
                  <a:pt x="4640" y="2510"/>
                </a:lnTo>
                <a:lnTo>
                  <a:pt x="4646" y="2502"/>
                </a:lnTo>
                <a:lnTo>
                  <a:pt x="4646" y="2496"/>
                </a:lnTo>
                <a:lnTo>
                  <a:pt x="4644" y="2496"/>
                </a:lnTo>
                <a:lnTo>
                  <a:pt x="4640" y="2496"/>
                </a:lnTo>
                <a:lnTo>
                  <a:pt x="4628" y="2506"/>
                </a:lnTo>
                <a:lnTo>
                  <a:pt x="4622" y="2514"/>
                </a:lnTo>
                <a:lnTo>
                  <a:pt x="4616" y="2522"/>
                </a:lnTo>
                <a:lnTo>
                  <a:pt x="4612" y="2528"/>
                </a:lnTo>
                <a:lnTo>
                  <a:pt x="4608" y="2528"/>
                </a:lnTo>
                <a:lnTo>
                  <a:pt x="4608" y="2526"/>
                </a:lnTo>
                <a:lnTo>
                  <a:pt x="4608" y="2520"/>
                </a:lnTo>
                <a:lnTo>
                  <a:pt x="4608" y="2512"/>
                </a:lnTo>
                <a:lnTo>
                  <a:pt x="4612" y="2504"/>
                </a:lnTo>
                <a:lnTo>
                  <a:pt x="4616" y="2498"/>
                </a:lnTo>
                <a:lnTo>
                  <a:pt x="4622" y="2492"/>
                </a:lnTo>
                <a:lnTo>
                  <a:pt x="4630" y="2488"/>
                </a:lnTo>
                <a:lnTo>
                  <a:pt x="4634" y="2484"/>
                </a:lnTo>
                <a:lnTo>
                  <a:pt x="4636" y="2480"/>
                </a:lnTo>
                <a:lnTo>
                  <a:pt x="4638" y="2476"/>
                </a:lnTo>
                <a:lnTo>
                  <a:pt x="4636" y="2474"/>
                </a:lnTo>
                <a:lnTo>
                  <a:pt x="4634" y="2472"/>
                </a:lnTo>
                <a:lnTo>
                  <a:pt x="4630" y="2472"/>
                </a:lnTo>
                <a:lnTo>
                  <a:pt x="4626" y="2474"/>
                </a:lnTo>
                <a:lnTo>
                  <a:pt x="4620" y="2476"/>
                </a:lnTo>
                <a:lnTo>
                  <a:pt x="4614" y="2476"/>
                </a:lnTo>
                <a:lnTo>
                  <a:pt x="4608" y="2474"/>
                </a:lnTo>
                <a:lnTo>
                  <a:pt x="4602" y="2470"/>
                </a:lnTo>
                <a:lnTo>
                  <a:pt x="4600" y="2466"/>
                </a:lnTo>
                <a:lnTo>
                  <a:pt x="4600" y="2460"/>
                </a:lnTo>
                <a:lnTo>
                  <a:pt x="4602" y="2456"/>
                </a:lnTo>
                <a:lnTo>
                  <a:pt x="4610" y="2448"/>
                </a:lnTo>
                <a:lnTo>
                  <a:pt x="4616" y="2442"/>
                </a:lnTo>
                <a:lnTo>
                  <a:pt x="4618" y="2436"/>
                </a:lnTo>
                <a:lnTo>
                  <a:pt x="4614" y="2430"/>
                </a:lnTo>
                <a:lnTo>
                  <a:pt x="4610" y="2426"/>
                </a:lnTo>
                <a:lnTo>
                  <a:pt x="4602" y="2424"/>
                </a:lnTo>
                <a:lnTo>
                  <a:pt x="4590" y="2422"/>
                </a:lnTo>
                <a:lnTo>
                  <a:pt x="4578" y="2422"/>
                </a:lnTo>
                <a:lnTo>
                  <a:pt x="4566" y="2426"/>
                </a:lnTo>
                <a:lnTo>
                  <a:pt x="4554" y="2428"/>
                </a:lnTo>
                <a:lnTo>
                  <a:pt x="4548" y="2428"/>
                </a:lnTo>
                <a:lnTo>
                  <a:pt x="4546" y="2428"/>
                </a:lnTo>
                <a:lnTo>
                  <a:pt x="4546" y="2426"/>
                </a:lnTo>
                <a:lnTo>
                  <a:pt x="4546" y="2422"/>
                </a:lnTo>
                <a:lnTo>
                  <a:pt x="4542" y="2420"/>
                </a:lnTo>
                <a:lnTo>
                  <a:pt x="4536" y="2422"/>
                </a:lnTo>
                <a:lnTo>
                  <a:pt x="4528" y="2422"/>
                </a:lnTo>
                <a:lnTo>
                  <a:pt x="4524" y="2420"/>
                </a:lnTo>
                <a:lnTo>
                  <a:pt x="4520" y="2418"/>
                </a:lnTo>
                <a:lnTo>
                  <a:pt x="4518" y="2414"/>
                </a:lnTo>
                <a:lnTo>
                  <a:pt x="4518" y="2408"/>
                </a:lnTo>
                <a:lnTo>
                  <a:pt x="4520" y="2404"/>
                </a:lnTo>
                <a:lnTo>
                  <a:pt x="4524" y="2400"/>
                </a:lnTo>
                <a:lnTo>
                  <a:pt x="4528" y="2398"/>
                </a:lnTo>
                <a:lnTo>
                  <a:pt x="4532" y="2396"/>
                </a:lnTo>
                <a:lnTo>
                  <a:pt x="4532" y="2392"/>
                </a:lnTo>
                <a:lnTo>
                  <a:pt x="4530" y="2388"/>
                </a:lnTo>
                <a:lnTo>
                  <a:pt x="4526" y="2386"/>
                </a:lnTo>
                <a:lnTo>
                  <a:pt x="4522" y="2384"/>
                </a:lnTo>
                <a:lnTo>
                  <a:pt x="4514" y="2384"/>
                </a:lnTo>
                <a:lnTo>
                  <a:pt x="4506" y="2388"/>
                </a:lnTo>
                <a:lnTo>
                  <a:pt x="4496" y="2394"/>
                </a:lnTo>
                <a:lnTo>
                  <a:pt x="4490" y="2400"/>
                </a:lnTo>
                <a:lnTo>
                  <a:pt x="4486" y="2402"/>
                </a:lnTo>
                <a:lnTo>
                  <a:pt x="4484" y="2400"/>
                </a:lnTo>
                <a:lnTo>
                  <a:pt x="4486" y="2394"/>
                </a:lnTo>
                <a:lnTo>
                  <a:pt x="4496" y="2374"/>
                </a:lnTo>
                <a:lnTo>
                  <a:pt x="4508" y="2354"/>
                </a:lnTo>
                <a:lnTo>
                  <a:pt x="4518" y="2336"/>
                </a:lnTo>
                <a:lnTo>
                  <a:pt x="4526" y="2322"/>
                </a:lnTo>
                <a:lnTo>
                  <a:pt x="4536" y="2308"/>
                </a:lnTo>
                <a:lnTo>
                  <a:pt x="4538" y="2304"/>
                </a:lnTo>
                <a:lnTo>
                  <a:pt x="4540" y="2298"/>
                </a:lnTo>
                <a:lnTo>
                  <a:pt x="4538" y="2294"/>
                </a:lnTo>
                <a:lnTo>
                  <a:pt x="4536" y="2292"/>
                </a:lnTo>
                <a:lnTo>
                  <a:pt x="4530" y="2290"/>
                </a:lnTo>
                <a:lnTo>
                  <a:pt x="4524" y="2292"/>
                </a:lnTo>
                <a:lnTo>
                  <a:pt x="4514" y="2294"/>
                </a:lnTo>
                <a:lnTo>
                  <a:pt x="4504" y="2298"/>
                </a:lnTo>
                <a:lnTo>
                  <a:pt x="4494" y="2304"/>
                </a:lnTo>
                <a:lnTo>
                  <a:pt x="4488" y="2310"/>
                </a:lnTo>
                <a:lnTo>
                  <a:pt x="4484" y="2316"/>
                </a:lnTo>
                <a:lnTo>
                  <a:pt x="4482" y="2320"/>
                </a:lnTo>
                <a:lnTo>
                  <a:pt x="4480" y="2328"/>
                </a:lnTo>
                <a:lnTo>
                  <a:pt x="4478" y="2332"/>
                </a:lnTo>
                <a:lnTo>
                  <a:pt x="4472" y="2336"/>
                </a:lnTo>
                <a:lnTo>
                  <a:pt x="4466" y="2342"/>
                </a:lnTo>
                <a:lnTo>
                  <a:pt x="4460" y="2350"/>
                </a:lnTo>
                <a:lnTo>
                  <a:pt x="4448" y="2376"/>
                </a:lnTo>
                <a:lnTo>
                  <a:pt x="4434" y="2408"/>
                </a:lnTo>
                <a:lnTo>
                  <a:pt x="4420" y="2440"/>
                </a:lnTo>
                <a:lnTo>
                  <a:pt x="4410" y="2460"/>
                </a:lnTo>
                <a:lnTo>
                  <a:pt x="4408" y="2464"/>
                </a:lnTo>
                <a:lnTo>
                  <a:pt x="4406" y="2462"/>
                </a:lnTo>
                <a:lnTo>
                  <a:pt x="4406" y="2460"/>
                </a:lnTo>
                <a:lnTo>
                  <a:pt x="4402" y="2462"/>
                </a:lnTo>
                <a:lnTo>
                  <a:pt x="4396" y="2464"/>
                </a:lnTo>
                <a:lnTo>
                  <a:pt x="4386" y="2474"/>
                </a:lnTo>
                <a:lnTo>
                  <a:pt x="4384" y="2476"/>
                </a:lnTo>
                <a:lnTo>
                  <a:pt x="4384" y="2478"/>
                </a:lnTo>
                <a:lnTo>
                  <a:pt x="4384" y="2480"/>
                </a:lnTo>
                <a:lnTo>
                  <a:pt x="4388" y="2482"/>
                </a:lnTo>
                <a:lnTo>
                  <a:pt x="4402" y="2484"/>
                </a:lnTo>
                <a:lnTo>
                  <a:pt x="4406" y="2486"/>
                </a:lnTo>
                <a:lnTo>
                  <a:pt x="4406" y="2488"/>
                </a:lnTo>
                <a:lnTo>
                  <a:pt x="4394" y="2498"/>
                </a:lnTo>
                <a:lnTo>
                  <a:pt x="4386" y="2504"/>
                </a:lnTo>
                <a:lnTo>
                  <a:pt x="4380" y="2510"/>
                </a:lnTo>
                <a:lnTo>
                  <a:pt x="4378" y="2514"/>
                </a:lnTo>
                <a:lnTo>
                  <a:pt x="4378" y="2516"/>
                </a:lnTo>
                <a:lnTo>
                  <a:pt x="4378" y="2520"/>
                </a:lnTo>
                <a:lnTo>
                  <a:pt x="4382" y="2524"/>
                </a:lnTo>
                <a:lnTo>
                  <a:pt x="4384" y="2528"/>
                </a:lnTo>
                <a:lnTo>
                  <a:pt x="4390" y="2530"/>
                </a:lnTo>
                <a:lnTo>
                  <a:pt x="4398" y="2530"/>
                </a:lnTo>
                <a:lnTo>
                  <a:pt x="4416" y="2526"/>
                </a:lnTo>
                <a:lnTo>
                  <a:pt x="4426" y="2524"/>
                </a:lnTo>
                <a:lnTo>
                  <a:pt x="4434" y="2524"/>
                </a:lnTo>
                <a:lnTo>
                  <a:pt x="4446" y="2528"/>
                </a:lnTo>
                <a:lnTo>
                  <a:pt x="4452" y="2530"/>
                </a:lnTo>
                <a:lnTo>
                  <a:pt x="4462" y="2532"/>
                </a:lnTo>
                <a:lnTo>
                  <a:pt x="4474" y="2532"/>
                </a:lnTo>
                <a:lnTo>
                  <a:pt x="4490" y="2530"/>
                </a:lnTo>
                <a:lnTo>
                  <a:pt x="4504" y="2528"/>
                </a:lnTo>
                <a:lnTo>
                  <a:pt x="4512" y="2528"/>
                </a:lnTo>
                <a:lnTo>
                  <a:pt x="4514" y="2530"/>
                </a:lnTo>
                <a:lnTo>
                  <a:pt x="4512" y="2532"/>
                </a:lnTo>
                <a:lnTo>
                  <a:pt x="4512" y="2534"/>
                </a:lnTo>
                <a:lnTo>
                  <a:pt x="4514" y="2536"/>
                </a:lnTo>
                <a:lnTo>
                  <a:pt x="4520" y="2538"/>
                </a:lnTo>
                <a:lnTo>
                  <a:pt x="4532" y="2536"/>
                </a:lnTo>
                <a:lnTo>
                  <a:pt x="4544" y="2536"/>
                </a:lnTo>
                <a:lnTo>
                  <a:pt x="4548" y="2538"/>
                </a:lnTo>
                <a:lnTo>
                  <a:pt x="4546" y="2542"/>
                </a:lnTo>
                <a:lnTo>
                  <a:pt x="4540" y="2548"/>
                </a:lnTo>
                <a:lnTo>
                  <a:pt x="4522" y="2560"/>
                </a:lnTo>
                <a:lnTo>
                  <a:pt x="4516" y="2564"/>
                </a:lnTo>
                <a:lnTo>
                  <a:pt x="4514" y="2570"/>
                </a:lnTo>
                <a:lnTo>
                  <a:pt x="4514" y="2574"/>
                </a:lnTo>
                <a:lnTo>
                  <a:pt x="4518" y="2576"/>
                </a:lnTo>
                <a:lnTo>
                  <a:pt x="4522" y="2578"/>
                </a:lnTo>
                <a:lnTo>
                  <a:pt x="4526" y="2578"/>
                </a:lnTo>
                <a:lnTo>
                  <a:pt x="4532" y="2576"/>
                </a:lnTo>
                <a:lnTo>
                  <a:pt x="4540" y="2572"/>
                </a:lnTo>
                <a:lnTo>
                  <a:pt x="4546" y="2566"/>
                </a:lnTo>
                <a:lnTo>
                  <a:pt x="4552" y="2558"/>
                </a:lnTo>
                <a:lnTo>
                  <a:pt x="4558" y="2550"/>
                </a:lnTo>
                <a:lnTo>
                  <a:pt x="4564" y="2546"/>
                </a:lnTo>
                <a:lnTo>
                  <a:pt x="4566" y="2544"/>
                </a:lnTo>
                <a:lnTo>
                  <a:pt x="4570" y="2544"/>
                </a:lnTo>
                <a:lnTo>
                  <a:pt x="4572" y="2542"/>
                </a:lnTo>
                <a:lnTo>
                  <a:pt x="4576" y="2540"/>
                </a:lnTo>
                <a:lnTo>
                  <a:pt x="4578" y="2538"/>
                </a:lnTo>
                <a:lnTo>
                  <a:pt x="4582" y="2530"/>
                </a:lnTo>
                <a:lnTo>
                  <a:pt x="4586" y="2524"/>
                </a:lnTo>
                <a:lnTo>
                  <a:pt x="4590" y="2520"/>
                </a:lnTo>
                <a:lnTo>
                  <a:pt x="4594" y="2518"/>
                </a:lnTo>
                <a:lnTo>
                  <a:pt x="4596" y="2520"/>
                </a:lnTo>
                <a:lnTo>
                  <a:pt x="4598" y="2524"/>
                </a:lnTo>
                <a:lnTo>
                  <a:pt x="4598" y="2530"/>
                </a:lnTo>
                <a:lnTo>
                  <a:pt x="4598" y="2538"/>
                </a:lnTo>
                <a:lnTo>
                  <a:pt x="4594" y="2548"/>
                </a:lnTo>
                <a:lnTo>
                  <a:pt x="4590" y="2564"/>
                </a:lnTo>
                <a:lnTo>
                  <a:pt x="4588" y="2574"/>
                </a:lnTo>
                <a:lnTo>
                  <a:pt x="4588" y="2576"/>
                </a:lnTo>
                <a:lnTo>
                  <a:pt x="4592" y="2576"/>
                </a:lnTo>
                <a:lnTo>
                  <a:pt x="4600" y="2570"/>
                </a:lnTo>
                <a:lnTo>
                  <a:pt x="4606" y="2566"/>
                </a:lnTo>
                <a:lnTo>
                  <a:pt x="4608" y="2566"/>
                </a:lnTo>
                <a:lnTo>
                  <a:pt x="4610" y="2568"/>
                </a:lnTo>
                <a:lnTo>
                  <a:pt x="4612" y="2572"/>
                </a:lnTo>
                <a:lnTo>
                  <a:pt x="4614" y="2576"/>
                </a:lnTo>
                <a:lnTo>
                  <a:pt x="4618" y="2580"/>
                </a:lnTo>
                <a:lnTo>
                  <a:pt x="4624" y="2584"/>
                </a:lnTo>
                <a:lnTo>
                  <a:pt x="4630" y="2586"/>
                </a:lnTo>
                <a:lnTo>
                  <a:pt x="4638" y="2584"/>
                </a:lnTo>
                <a:lnTo>
                  <a:pt x="4642" y="2582"/>
                </a:lnTo>
                <a:lnTo>
                  <a:pt x="4644" y="2580"/>
                </a:lnTo>
                <a:lnTo>
                  <a:pt x="4644" y="2574"/>
                </a:lnTo>
                <a:lnTo>
                  <a:pt x="4644" y="2560"/>
                </a:lnTo>
                <a:lnTo>
                  <a:pt x="4644" y="2550"/>
                </a:lnTo>
                <a:lnTo>
                  <a:pt x="4648" y="2536"/>
                </a:lnTo>
                <a:lnTo>
                  <a:pt x="4650" y="2526"/>
                </a:lnTo>
                <a:lnTo>
                  <a:pt x="4650" y="2522"/>
                </a:lnTo>
                <a:lnTo>
                  <a:pt x="4648" y="2520"/>
                </a:lnTo>
                <a:lnTo>
                  <a:pt x="4644" y="2520"/>
                </a:lnTo>
                <a:lnTo>
                  <a:pt x="4640" y="2522"/>
                </a:lnTo>
                <a:lnTo>
                  <a:pt x="4636" y="2520"/>
                </a:lnTo>
                <a:lnTo>
                  <a:pt x="4636" y="2518"/>
                </a:lnTo>
                <a:lnTo>
                  <a:pt x="4640" y="2510"/>
                </a:lnTo>
                <a:close/>
                <a:moveTo>
                  <a:pt x="3266" y="1234"/>
                </a:moveTo>
                <a:lnTo>
                  <a:pt x="3266" y="1234"/>
                </a:lnTo>
                <a:lnTo>
                  <a:pt x="3276" y="1242"/>
                </a:lnTo>
                <a:lnTo>
                  <a:pt x="3278" y="1244"/>
                </a:lnTo>
                <a:lnTo>
                  <a:pt x="3280" y="1244"/>
                </a:lnTo>
                <a:lnTo>
                  <a:pt x="3284" y="1240"/>
                </a:lnTo>
                <a:lnTo>
                  <a:pt x="3286" y="1234"/>
                </a:lnTo>
                <a:lnTo>
                  <a:pt x="3286" y="1218"/>
                </a:lnTo>
                <a:lnTo>
                  <a:pt x="3282" y="1206"/>
                </a:lnTo>
                <a:lnTo>
                  <a:pt x="3280" y="1204"/>
                </a:lnTo>
                <a:lnTo>
                  <a:pt x="3276" y="1206"/>
                </a:lnTo>
                <a:lnTo>
                  <a:pt x="3272" y="1208"/>
                </a:lnTo>
                <a:lnTo>
                  <a:pt x="3268" y="1210"/>
                </a:lnTo>
                <a:lnTo>
                  <a:pt x="3264" y="1216"/>
                </a:lnTo>
                <a:lnTo>
                  <a:pt x="3262" y="1220"/>
                </a:lnTo>
                <a:lnTo>
                  <a:pt x="3264" y="1228"/>
                </a:lnTo>
                <a:lnTo>
                  <a:pt x="3266" y="1234"/>
                </a:lnTo>
                <a:close/>
                <a:moveTo>
                  <a:pt x="1702" y="940"/>
                </a:moveTo>
                <a:lnTo>
                  <a:pt x="1702" y="940"/>
                </a:lnTo>
                <a:lnTo>
                  <a:pt x="1718" y="944"/>
                </a:lnTo>
                <a:lnTo>
                  <a:pt x="1736" y="950"/>
                </a:lnTo>
                <a:lnTo>
                  <a:pt x="1766" y="960"/>
                </a:lnTo>
                <a:lnTo>
                  <a:pt x="1776" y="966"/>
                </a:lnTo>
                <a:lnTo>
                  <a:pt x="1784" y="972"/>
                </a:lnTo>
                <a:lnTo>
                  <a:pt x="1790" y="978"/>
                </a:lnTo>
                <a:lnTo>
                  <a:pt x="1794" y="984"/>
                </a:lnTo>
                <a:lnTo>
                  <a:pt x="1800" y="996"/>
                </a:lnTo>
                <a:lnTo>
                  <a:pt x="1804" y="1002"/>
                </a:lnTo>
                <a:lnTo>
                  <a:pt x="1808" y="1004"/>
                </a:lnTo>
                <a:lnTo>
                  <a:pt x="1814" y="1006"/>
                </a:lnTo>
                <a:lnTo>
                  <a:pt x="1820" y="1006"/>
                </a:lnTo>
                <a:lnTo>
                  <a:pt x="1832" y="1002"/>
                </a:lnTo>
                <a:lnTo>
                  <a:pt x="1846" y="994"/>
                </a:lnTo>
                <a:lnTo>
                  <a:pt x="1860" y="984"/>
                </a:lnTo>
                <a:lnTo>
                  <a:pt x="1866" y="982"/>
                </a:lnTo>
                <a:lnTo>
                  <a:pt x="1870" y="980"/>
                </a:lnTo>
                <a:lnTo>
                  <a:pt x="1878" y="982"/>
                </a:lnTo>
                <a:lnTo>
                  <a:pt x="1882" y="982"/>
                </a:lnTo>
                <a:lnTo>
                  <a:pt x="1888" y="984"/>
                </a:lnTo>
                <a:lnTo>
                  <a:pt x="1896" y="982"/>
                </a:lnTo>
                <a:lnTo>
                  <a:pt x="1906" y="978"/>
                </a:lnTo>
                <a:lnTo>
                  <a:pt x="1912" y="976"/>
                </a:lnTo>
                <a:lnTo>
                  <a:pt x="1914" y="972"/>
                </a:lnTo>
                <a:lnTo>
                  <a:pt x="1920" y="964"/>
                </a:lnTo>
                <a:lnTo>
                  <a:pt x="1922" y="954"/>
                </a:lnTo>
                <a:lnTo>
                  <a:pt x="1922" y="946"/>
                </a:lnTo>
                <a:lnTo>
                  <a:pt x="1922" y="936"/>
                </a:lnTo>
                <a:lnTo>
                  <a:pt x="1926" y="930"/>
                </a:lnTo>
                <a:lnTo>
                  <a:pt x="1932" y="924"/>
                </a:lnTo>
                <a:lnTo>
                  <a:pt x="1942" y="920"/>
                </a:lnTo>
                <a:lnTo>
                  <a:pt x="1952" y="918"/>
                </a:lnTo>
                <a:lnTo>
                  <a:pt x="1958" y="914"/>
                </a:lnTo>
                <a:lnTo>
                  <a:pt x="1962" y="910"/>
                </a:lnTo>
                <a:lnTo>
                  <a:pt x="1964" y="904"/>
                </a:lnTo>
                <a:lnTo>
                  <a:pt x="1966" y="898"/>
                </a:lnTo>
                <a:lnTo>
                  <a:pt x="1970" y="892"/>
                </a:lnTo>
                <a:lnTo>
                  <a:pt x="1978" y="886"/>
                </a:lnTo>
                <a:lnTo>
                  <a:pt x="1992" y="880"/>
                </a:lnTo>
                <a:lnTo>
                  <a:pt x="2020" y="868"/>
                </a:lnTo>
                <a:lnTo>
                  <a:pt x="2046" y="856"/>
                </a:lnTo>
                <a:lnTo>
                  <a:pt x="2070" y="846"/>
                </a:lnTo>
                <a:lnTo>
                  <a:pt x="2090" y="840"/>
                </a:lnTo>
                <a:lnTo>
                  <a:pt x="2106" y="836"/>
                </a:lnTo>
                <a:lnTo>
                  <a:pt x="2116" y="832"/>
                </a:lnTo>
                <a:lnTo>
                  <a:pt x="2122" y="826"/>
                </a:lnTo>
                <a:lnTo>
                  <a:pt x="2124" y="822"/>
                </a:lnTo>
                <a:lnTo>
                  <a:pt x="2122" y="818"/>
                </a:lnTo>
                <a:lnTo>
                  <a:pt x="2118" y="814"/>
                </a:lnTo>
                <a:lnTo>
                  <a:pt x="2106" y="810"/>
                </a:lnTo>
                <a:lnTo>
                  <a:pt x="2096" y="806"/>
                </a:lnTo>
                <a:lnTo>
                  <a:pt x="2088" y="800"/>
                </a:lnTo>
                <a:lnTo>
                  <a:pt x="2068" y="786"/>
                </a:lnTo>
                <a:lnTo>
                  <a:pt x="2058" y="778"/>
                </a:lnTo>
                <a:lnTo>
                  <a:pt x="2046" y="772"/>
                </a:lnTo>
                <a:lnTo>
                  <a:pt x="2032" y="768"/>
                </a:lnTo>
                <a:lnTo>
                  <a:pt x="2016" y="766"/>
                </a:lnTo>
                <a:lnTo>
                  <a:pt x="2002" y="768"/>
                </a:lnTo>
                <a:lnTo>
                  <a:pt x="1992" y="770"/>
                </a:lnTo>
                <a:lnTo>
                  <a:pt x="1986" y="772"/>
                </a:lnTo>
                <a:lnTo>
                  <a:pt x="1982" y="776"/>
                </a:lnTo>
                <a:lnTo>
                  <a:pt x="1980" y="782"/>
                </a:lnTo>
                <a:lnTo>
                  <a:pt x="1978" y="784"/>
                </a:lnTo>
                <a:lnTo>
                  <a:pt x="1974" y="786"/>
                </a:lnTo>
                <a:lnTo>
                  <a:pt x="1970" y="786"/>
                </a:lnTo>
                <a:lnTo>
                  <a:pt x="1972" y="782"/>
                </a:lnTo>
                <a:lnTo>
                  <a:pt x="1972" y="776"/>
                </a:lnTo>
                <a:lnTo>
                  <a:pt x="1970" y="774"/>
                </a:lnTo>
                <a:lnTo>
                  <a:pt x="1968" y="772"/>
                </a:lnTo>
                <a:lnTo>
                  <a:pt x="1964" y="770"/>
                </a:lnTo>
                <a:lnTo>
                  <a:pt x="1958" y="770"/>
                </a:lnTo>
                <a:lnTo>
                  <a:pt x="1948" y="770"/>
                </a:lnTo>
                <a:lnTo>
                  <a:pt x="1932" y="766"/>
                </a:lnTo>
                <a:lnTo>
                  <a:pt x="1918" y="762"/>
                </a:lnTo>
                <a:lnTo>
                  <a:pt x="1906" y="756"/>
                </a:lnTo>
                <a:lnTo>
                  <a:pt x="1890" y="748"/>
                </a:lnTo>
                <a:lnTo>
                  <a:pt x="1884" y="746"/>
                </a:lnTo>
                <a:lnTo>
                  <a:pt x="1876" y="744"/>
                </a:lnTo>
                <a:lnTo>
                  <a:pt x="1866" y="744"/>
                </a:lnTo>
                <a:lnTo>
                  <a:pt x="1854" y="748"/>
                </a:lnTo>
                <a:lnTo>
                  <a:pt x="1836" y="752"/>
                </a:lnTo>
                <a:lnTo>
                  <a:pt x="1818" y="754"/>
                </a:lnTo>
                <a:lnTo>
                  <a:pt x="1780" y="758"/>
                </a:lnTo>
                <a:lnTo>
                  <a:pt x="1754" y="760"/>
                </a:lnTo>
                <a:lnTo>
                  <a:pt x="1748" y="762"/>
                </a:lnTo>
                <a:lnTo>
                  <a:pt x="1746" y="764"/>
                </a:lnTo>
                <a:lnTo>
                  <a:pt x="1748" y="766"/>
                </a:lnTo>
                <a:lnTo>
                  <a:pt x="1752" y="770"/>
                </a:lnTo>
                <a:lnTo>
                  <a:pt x="1754" y="774"/>
                </a:lnTo>
                <a:lnTo>
                  <a:pt x="1758" y="782"/>
                </a:lnTo>
                <a:lnTo>
                  <a:pt x="1760" y="786"/>
                </a:lnTo>
                <a:lnTo>
                  <a:pt x="1762" y="790"/>
                </a:lnTo>
                <a:lnTo>
                  <a:pt x="1768" y="794"/>
                </a:lnTo>
                <a:lnTo>
                  <a:pt x="1774" y="798"/>
                </a:lnTo>
                <a:lnTo>
                  <a:pt x="1782" y="800"/>
                </a:lnTo>
                <a:lnTo>
                  <a:pt x="1784" y="804"/>
                </a:lnTo>
                <a:lnTo>
                  <a:pt x="1784" y="806"/>
                </a:lnTo>
                <a:lnTo>
                  <a:pt x="1782" y="808"/>
                </a:lnTo>
                <a:lnTo>
                  <a:pt x="1774" y="814"/>
                </a:lnTo>
                <a:lnTo>
                  <a:pt x="1772" y="818"/>
                </a:lnTo>
                <a:lnTo>
                  <a:pt x="1772" y="822"/>
                </a:lnTo>
                <a:lnTo>
                  <a:pt x="1770" y="824"/>
                </a:lnTo>
                <a:lnTo>
                  <a:pt x="1768" y="826"/>
                </a:lnTo>
                <a:lnTo>
                  <a:pt x="1764" y="828"/>
                </a:lnTo>
                <a:lnTo>
                  <a:pt x="1758" y="828"/>
                </a:lnTo>
                <a:lnTo>
                  <a:pt x="1756" y="832"/>
                </a:lnTo>
                <a:lnTo>
                  <a:pt x="1754" y="836"/>
                </a:lnTo>
                <a:lnTo>
                  <a:pt x="1754" y="840"/>
                </a:lnTo>
                <a:lnTo>
                  <a:pt x="1752" y="844"/>
                </a:lnTo>
                <a:lnTo>
                  <a:pt x="1746" y="850"/>
                </a:lnTo>
                <a:lnTo>
                  <a:pt x="1742" y="856"/>
                </a:lnTo>
                <a:lnTo>
                  <a:pt x="1742" y="858"/>
                </a:lnTo>
                <a:lnTo>
                  <a:pt x="1744" y="860"/>
                </a:lnTo>
                <a:lnTo>
                  <a:pt x="1752" y="864"/>
                </a:lnTo>
                <a:lnTo>
                  <a:pt x="1754" y="868"/>
                </a:lnTo>
                <a:lnTo>
                  <a:pt x="1752" y="870"/>
                </a:lnTo>
                <a:lnTo>
                  <a:pt x="1742" y="872"/>
                </a:lnTo>
                <a:lnTo>
                  <a:pt x="1732" y="874"/>
                </a:lnTo>
                <a:lnTo>
                  <a:pt x="1728" y="876"/>
                </a:lnTo>
                <a:lnTo>
                  <a:pt x="1728" y="880"/>
                </a:lnTo>
                <a:lnTo>
                  <a:pt x="1732" y="886"/>
                </a:lnTo>
                <a:lnTo>
                  <a:pt x="1732" y="890"/>
                </a:lnTo>
                <a:lnTo>
                  <a:pt x="1730" y="894"/>
                </a:lnTo>
                <a:lnTo>
                  <a:pt x="1720" y="906"/>
                </a:lnTo>
                <a:lnTo>
                  <a:pt x="1710" y="918"/>
                </a:lnTo>
                <a:lnTo>
                  <a:pt x="1706" y="922"/>
                </a:lnTo>
                <a:lnTo>
                  <a:pt x="1704" y="928"/>
                </a:lnTo>
                <a:lnTo>
                  <a:pt x="1702" y="934"/>
                </a:lnTo>
                <a:lnTo>
                  <a:pt x="1700" y="936"/>
                </a:lnTo>
                <a:lnTo>
                  <a:pt x="1698" y="938"/>
                </a:lnTo>
                <a:lnTo>
                  <a:pt x="1702" y="940"/>
                </a:lnTo>
                <a:close/>
                <a:moveTo>
                  <a:pt x="2646" y="1098"/>
                </a:moveTo>
                <a:lnTo>
                  <a:pt x="2646" y="1098"/>
                </a:lnTo>
                <a:lnTo>
                  <a:pt x="2652" y="1096"/>
                </a:lnTo>
                <a:lnTo>
                  <a:pt x="2656" y="1096"/>
                </a:lnTo>
                <a:lnTo>
                  <a:pt x="2660" y="1100"/>
                </a:lnTo>
                <a:lnTo>
                  <a:pt x="2664" y="1102"/>
                </a:lnTo>
                <a:lnTo>
                  <a:pt x="2670" y="1108"/>
                </a:lnTo>
                <a:lnTo>
                  <a:pt x="2672" y="1108"/>
                </a:lnTo>
                <a:lnTo>
                  <a:pt x="2676" y="1106"/>
                </a:lnTo>
                <a:lnTo>
                  <a:pt x="2680" y="1102"/>
                </a:lnTo>
                <a:lnTo>
                  <a:pt x="2684" y="1104"/>
                </a:lnTo>
                <a:lnTo>
                  <a:pt x="2688" y="1108"/>
                </a:lnTo>
                <a:lnTo>
                  <a:pt x="2692" y="1108"/>
                </a:lnTo>
                <a:lnTo>
                  <a:pt x="2696" y="1110"/>
                </a:lnTo>
                <a:lnTo>
                  <a:pt x="2700" y="1108"/>
                </a:lnTo>
                <a:lnTo>
                  <a:pt x="2704" y="1106"/>
                </a:lnTo>
                <a:lnTo>
                  <a:pt x="2706" y="1104"/>
                </a:lnTo>
                <a:lnTo>
                  <a:pt x="2706" y="1100"/>
                </a:lnTo>
                <a:lnTo>
                  <a:pt x="2706" y="1090"/>
                </a:lnTo>
                <a:lnTo>
                  <a:pt x="2704" y="1078"/>
                </a:lnTo>
                <a:lnTo>
                  <a:pt x="2702" y="1074"/>
                </a:lnTo>
                <a:lnTo>
                  <a:pt x="2698" y="1072"/>
                </a:lnTo>
                <a:lnTo>
                  <a:pt x="2690" y="1074"/>
                </a:lnTo>
                <a:lnTo>
                  <a:pt x="2682" y="1074"/>
                </a:lnTo>
                <a:lnTo>
                  <a:pt x="2678" y="1072"/>
                </a:lnTo>
                <a:lnTo>
                  <a:pt x="2678" y="1070"/>
                </a:lnTo>
                <a:lnTo>
                  <a:pt x="2676" y="1066"/>
                </a:lnTo>
                <a:lnTo>
                  <a:pt x="2676" y="1064"/>
                </a:lnTo>
                <a:lnTo>
                  <a:pt x="2668" y="1064"/>
                </a:lnTo>
                <a:lnTo>
                  <a:pt x="2662" y="1062"/>
                </a:lnTo>
                <a:lnTo>
                  <a:pt x="2654" y="1060"/>
                </a:lnTo>
                <a:lnTo>
                  <a:pt x="2644" y="1054"/>
                </a:lnTo>
                <a:lnTo>
                  <a:pt x="2630" y="1044"/>
                </a:lnTo>
                <a:lnTo>
                  <a:pt x="2624" y="1038"/>
                </a:lnTo>
                <a:lnTo>
                  <a:pt x="2618" y="1036"/>
                </a:lnTo>
                <a:lnTo>
                  <a:pt x="2616" y="1036"/>
                </a:lnTo>
                <a:lnTo>
                  <a:pt x="2616" y="1042"/>
                </a:lnTo>
                <a:lnTo>
                  <a:pt x="2616" y="1044"/>
                </a:lnTo>
                <a:lnTo>
                  <a:pt x="2612" y="1046"/>
                </a:lnTo>
                <a:lnTo>
                  <a:pt x="2602" y="1042"/>
                </a:lnTo>
                <a:lnTo>
                  <a:pt x="2588" y="1036"/>
                </a:lnTo>
                <a:lnTo>
                  <a:pt x="2582" y="1030"/>
                </a:lnTo>
                <a:lnTo>
                  <a:pt x="2578" y="1026"/>
                </a:lnTo>
                <a:lnTo>
                  <a:pt x="2574" y="1020"/>
                </a:lnTo>
                <a:lnTo>
                  <a:pt x="2568" y="1016"/>
                </a:lnTo>
                <a:lnTo>
                  <a:pt x="2560" y="1010"/>
                </a:lnTo>
                <a:lnTo>
                  <a:pt x="2556" y="1006"/>
                </a:lnTo>
                <a:lnTo>
                  <a:pt x="2556" y="1004"/>
                </a:lnTo>
                <a:lnTo>
                  <a:pt x="2556" y="1002"/>
                </a:lnTo>
                <a:lnTo>
                  <a:pt x="2558" y="998"/>
                </a:lnTo>
                <a:lnTo>
                  <a:pt x="2564" y="988"/>
                </a:lnTo>
                <a:lnTo>
                  <a:pt x="2566" y="982"/>
                </a:lnTo>
                <a:lnTo>
                  <a:pt x="2566" y="976"/>
                </a:lnTo>
                <a:lnTo>
                  <a:pt x="2566" y="970"/>
                </a:lnTo>
                <a:lnTo>
                  <a:pt x="2562" y="964"/>
                </a:lnTo>
                <a:lnTo>
                  <a:pt x="2558" y="958"/>
                </a:lnTo>
                <a:lnTo>
                  <a:pt x="2552" y="952"/>
                </a:lnTo>
                <a:lnTo>
                  <a:pt x="2546" y="946"/>
                </a:lnTo>
                <a:lnTo>
                  <a:pt x="2542" y="938"/>
                </a:lnTo>
                <a:lnTo>
                  <a:pt x="2536" y="916"/>
                </a:lnTo>
                <a:lnTo>
                  <a:pt x="2530" y="894"/>
                </a:lnTo>
                <a:lnTo>
                  <a:pt x="2526" y="882"/>
                </a:lnTo>
                <a:lnTo>
                  <a:pt x="2520" y="874"/>
                </a:lnTo>
                <a:lnTo>
                  <a:pt x="2510" y="864"/>
                </a:lnTo>
                <a:lnTo>
                  <a:pt x="2502" y="860"/>
                </a:lnTo>
                <a:lnTo>
                  <a:pt x="2494" y="856"/>
                </a:lnTo>
                <a:lnTo>
                  <a:pt x="2476" y="846"/>
                </a:lnTo>
                <a:lnTo>
                  <a:pt x="2468" y="840"/>
                </a:lnTo>
                <a:lnTo>
                  <a:pt x="2464" y="838"/>
                </a:lnTo>
                <a:lnTo>
                  <a:pt x="2460" y="840"/>
                </a:lnTo>
                <a:lnTo>
                  <a:pt x="2460" y="842"/>
                </a:lnTo>
                <a:lnTo>
                  <a:pt x="2456" y="844"/>
                </a:lnTo>
                <a:lnTo>
                  <a:pt x="2454" y="846"/>
                </a:lnTo>
                <a:lnTo>
                  <a:pt x="2446" y="844"/>
                </a:lnTo>
                <a:lnTo>
                  <a:pt x="2434" y="840"/>
                </a:lnTo>
                <a:lnTo>
                  <a:pt x="2422" y="838"/>
                </a:lnTo>
                <a:lnTo>
                  <a:pt x="2416" y="838"/>
                </a:lnTo>
                <a:lnTo>
                  <a:pt x="2412" y="840"/>
                </a:lnTo>
                <a:lnTo>
                  <a:pt x="2408" y="844"/>
                </a:lnTo>
                <a:lnTo>
                  <a:pt x="2406" y="848"/>
                </a:lnTo>
                <a:lnTo>
                  <a:pt x="2408" y="854"/>
                </a:lnTo>
                <a:lnTo>
                  <a:pt x="2410" y="864"/>
                </a:lnTo>
                <a:lnTo>
                  <a:pt x="2414" y="872"/>
                </a:lnTo>
                <a:lnTo>
                  <a:pt x="2416" y="882"/>
                </a:lnTo>
                <a:lnTo>
                  <a:pt x="2422" y="904"/>
                </a:lnTo>
                <a:lnTo>
                  <a:pt x="2424" y="914"/>
                </a:lnTo>
                <a:lnTo>
                  <a:pt x="2428" y="924"/>
                </a:lnTo>
                <a:lnTo>
                  <a:pt x="2434" y="934"/>
                </a:lnTo>
                <a:lnTo>
                  <a:pt x="2444" y="942"/>
                </a:lnTo>
                <a:lnTo>
                  <a:pt x="2448" y="946"/>
                </a:lnTo>
                <a:lnTo>
                  <a:pt x="2448" y="950"/>
                </a:lnTo>
                <a:lnTo>
                  <a:pt x="2448" y="952"/>
                </a:lnTo>
                <a:lnTo>
                  <a:pt x="2446" y="954"/>
                </a:lnTo>
                <a:lnTo>
                  <a:pt x="2438" y="958"/>
                </a:lnTo>
                <a:lnTo>
                  <a:pt x="2432" y="962"/>
                </a:lnTo>
                <a:lnTo>
                  <a:pt x="2428" y="966"/>
                </a:lnTo>
                <a:lnTo>
                  <a:pt x="2426" y="966"/>
                </a:lnTo>
                <a:lnTo>
                  <a:pt x="2424" y="964"/>
                </a:lnTo>
                <a:lnTo>
                  <a:pt x="2416" y="956"/>
                </a:lnTo>
                <a:lnTo>
                  <a:pt x="2404" y="940"/>
                </a:lnTo>
                <a:lnTo>
                  <a:pt x="2400" y="928"/>
                </a:lnTo>
                <a:lnTo>
                  <a:pt x="2396" y="918"/>
                </a:lnTo>
                <a:lnTo>
                  <a:pt x="2392" y="902"/>
                </a:lnTo>
                <a:lnTo>
                  <a:pt x="2388" y="896"/>
                </a:lnTo>
                <a:lnTo>
                  <a:pt x="2384" y="890"/>
                </a:lnTo>
                <a:lnTo>
                  <a:pt x="2376" y="886"/>
                </a:lnTo>
                <a:lnTo>
                  <a:pt x="2366" y="882"/>
                </a:lnTo>
                <a:lnTo>
                  <a:pt x="2354" y="876"/>
                </a:lnTo>
                <a:lnTo>
                  <a:pt x="2352" y="874"/>
                </a:lnTo>
                <a:lnTo>
                  <a:pt x="2354" y="874"/>
                </a:lnTo>
                <a:lnTo>
                  <a:pt x="2354" y="872"/>
                </a:lnTo>
                <a:lnTo>
                  <a:pt x="2354" y="870"/>
                </a:lnTo>
                <a:lnTo>
                  <a:pt x="2350" y="868"/>
                </a:lnTo>
                <a:lnTo>
                  <a:pt x="2344" y="866"/>
                </a:lnTo>
                <a:lnTo>
                  <a:pt x="2324" y="860"/>
                </a:lnTo>
                <a:lnTo>
                  <a:pt x="2312" y="862"/>
                </a:lnTo>
                <a:lnTo>
                  <a:pt x="2308" y="862"/>
                </a:lnTo>
                <a:lnTo>
                  <a:pt x="2308" y="864"/>
                </a:lnTo>
                <a:lnTo>
                  <a:pt x="2310" y="868"/>
                </a:lnTo>
                <a:lnTo>
                  <a:pt x="2316" y="872"/>
                </a:lnTo>
                <a:lnTo>
                  <a:pt x="2324" y="876"/>
                </a:lnTo>
                <a:lnTo>
                  <a:pt x="2326" y="878"/>
                </a:lnTo>
                <a:lnTo>
                  <a:pt x="2328" y="882"/>
                </a:lnTo>
                <a:lnTo>
                  <a:pt x="2328" y="884"/>
                </a:lnTo>
                <a:lnTo>
                  <a:pt x="2326" y="886"/>
                </a:lnTo>
                <a:lnTo>
                  <a:pt x="2332" y="888"/>
                </a:lnTo>
                <a:lnTo>
                  <a:pt x="2342" y="892"/>
                </a:lnTo>
                <a:lnTo>
                  <a:pt x="2346" y="896"/>
                </a:lnTo>
                <a:lnTo>
                  <a:pt x="2346" y="898"/>
                </a:lnTo>
                <a:lnTo>
                  <a:pt x="2342" y="900"/>
                </a:lnTo>
                <a:lnTo>
                  <a:pt x="2326" y="896"/>
                </a:lnTo>
                <a:lnTo>
                  <a:pt x="2314" y="894"/>
                </a:lnTo>
                <a:lnTo>
                  <a:pt x="2306" y="896"/>
                </a:lnTo>
                <a:lnTo>
                  <a:pt x="2302" y="900"/>
                </a:lnTo>
                <a:lnTo>
                  <a:pt x="2300" y="906"/>
                </a:lnTo>
                <a:lnTo>
                  <a:pt x="2298" y="910"/>
                </a:lnTo>
                <a:lnTo>
                  <a:pt x="2296" y="914"/>
                </a:lnTo>
                <a:lnTo>
                  <a:pt x="2292" y="914"/>
                </a:lnTo>
                <a:lnTo>
                  <a:pt x="2288" y="910"/>
                </a:lnTo>
                <a:lnTo>
                  <a:pt x="2284" y="904"/>
                </a:lnTo>
                <a:lnTo>
                  <a:pt x="2284" y="900"/>
                </a:lnTo>
                <a:lnTo>
                  <a:pt x="2288" y="892"/>
                </a:lnTo>
                <a:lnTo>
                  <a:pt x="2290" y="888"/>
                </a:lnTo>
                <a:lnTo>
                  <a:pt x="2288" y="884"/>
                </a:lnTo>
                <a:lnTo>
                  <a:pt x="2280" y="880"/>
                </a:lnTo>
                <a:lnTo>
                  <a:pt x="2266" y="876"/>
                </a:lnTo>
                <a:lnTo>
                  <a:pt x="2240" y="868"/>
                </a:lnTo>
                <a:lnTo>
                  <a:pt x="2222" y="866"/>
                </a:lnTo>
                <a:lnTo>
                  <a:pt x="2210" y="866"/>
                </a:lnTo>
                <a:lnTo>
                  <a:pt x="2200" y="870"/>
                </a:lnTo>
                <a:lnTo>
                  <a:pt x="2196" y="874"/>
                </a:lnTo>
                <a:lnTo>
                  <a:pt x="2194" y="876"/>
                </a:lnTo>
                <a:lnTo>
                  <a:pt x="2196" y="880"/>
                </a:lnTo>
                <a:lnTo>
                  <a:pt x="2196" y="884"/>
                </a:lnTo>
                <a:lnTo>
                  <a:pt x="2192" y="886"/>
                </a:lnTo>
                <a:lnTo>
                  <a:pt x="2168" y="894"/>
                </a:lnTo>
                <a:lnTo>
                  <a:pt x="2160" y="894"/>
                </a:lnTo>
                <a:lnTo>
                  <a:pt x="2158" y="894"/>
                </a:lnTo>
                <a:lnTo>
                  <a:pt x="2162" y="890"/>
                </a:lnTo>
                <a:lnTo>
                  <a:pt x="2174" y="880"/>
                </a:lnTo>
                <a:lnTo>
                  <a:pt x="2176" y="876"/>
                </a:lnTo>
                <a:lnTo>
                  <a:pt x="2178" y="872"/>
                </a:lnTo>
                <a:lnTo>
                  <a:pt x="2176" y="868"/>
                </a:lnTo>
                <a:lnTo>
                  <a:pt x="2178" y="864"/>
                </a:lnTo>
                <a:lnTo>
                  <a:pt x="2180" y="856"/>
                </a:lnTo>
                <a:lnTo>
                  <a:pt x="2180" y="852"/>
                </a:lnTo>
                <a:lnTo>
                  <a:pt x="2178" y="848"/>
                </a:lnTo>
                <a:lnTo>
                  <a:pt x="2174" y="842"/>
                </a:lnTo>
                <a:lnTo>
                  <a:pt x="2166" y="838"/>
                </a:lnTo>
                <a:lnTo>
                  <a:pt x="2158" y="836"/>
                </a:lnTo>
                <a:lnTo>
                  <a:pt x="2146" y="836"/>
                </a:lnTo>
                <a:lnTo>
                  <a:pt x="2134" y="838"/>
                </a:lnTo>
                <a:lnTo>
                  <a:pt x="2120" y="842"/>
                </a:lnTo>
                <a:lnTo>
                  <a:pt x="2094" y="854"/>
                </a:lnTo>
                <a:lnTo>
                  <a:pt x="2070" y="862"/>
                </a:lnTo>
                <a:lnTo>
                  <a:pt x="2052" y="868"/>
                </a:lnTo>
                <a:lnTo>
                  <a:pt x="2036" y="876"/>
                </a:lnTo>
                <a:lnTo>
                  <a:pt x="2004" y="896"/>
                </a:lnTo>
                <a:lnTo>
                  <a:pt x="1996" y="900"/>
                </a:lnTo>
                <a:lnTo>
                  <a:pt x="1992" y="904"/>
                </a:lnTo>
                <a:lnTo>
                  <a:pt x="1992" y="908"/>
                </a:lnTo>
                <a:lnTo>
                  <a:pt x="1996" y="910"/>
                </a:lnTo>
                <a:lnTo>
                  <a:pt x="2006" y="914"/>
                </a:lnTo>
                <a:lnTo>
                  <a:pt x="2010" y="916"/>
                </a:lnTo>
                <a:lnTo>
                  <a:pt x="2012" y="918"/>
                </a:lnTo>
                <a:lnTo>
                  <a:pt x="2012" y="920"/>
                </a:lnTo>
                <a:lnTo>
                  <a:pt x="2010" y="922"/>
                </a:lnTo>
                <a:lnTo>
                  <a:pt x="2002" y="924"/>
                </a:lnTo>
                <a:lnTo>
                  <a:pt x="1992" y="928"/>
                </a:lnTo>
                <a:lnTo>
                  <a:pt x="1986" y="932"/>
                </a:lnTo>
                <a:lnTo>
                  <a:pt x="1980" y="938"/>
                </a:lnTo>
                <a:lnTo>
                  <a:pt x="1976" y="946"/>
                </a:lnTo>
                <a:lnTo>
                  <a:pt x="1972" y="952"/>
                </a:lnTo>
                <a:lnTo>
                  <a:pt x="1972" y="958"/>
                </a:lnTo>
                <a:lnTo>
                  <a:pt x="1972" y="962"/>
                </a:lnTo>
                <a:lnTo>
                  <a:pt x="1972" y="966"/>
                </a:lnTo>
                <a:lnTo>
                  <a:pt x="1976" y="966"/>
                </a:lnTo>
                <a:lnTo>
                  <a:pt x="1980" y="966"/>
                </a:lnTo>
                <a:lnTo>
                  <a:pt x="1986" y="964"/>
                </a:lnTo>
                <a:lnTo>
                  <a:pt x="1990" y="962"/>
                </a:lnTo>
                <a:lnTo>
                  <a:pt x="1994" y="962"/>
                </a:lnTo>
                <a:lnTo>
                  <a:pt x="1996" y="964"/>
                </a:lnTo>
                <a:lnTo>
                  <a:pt x="1998" y="966"/>
                </a:lnTo>
                <a:lnTo>
                  <a:pt x="2000" y="974"/>
                </a:lnTo>
                <a:lnTo>
                  <a:pt x="2004" y="982"/>
                </a:lnTo>
                <a:lnTo>
                  <a:pt x="2008" y="984"/>
                </a:lnTo>
                <a:lnTo>
                  <a:pt x="2016" y="986"/>
                </a:lnTo>
                <a:lnTo>
                  <a:pt x="2036" y="984"/>
                </a:lnTo>
                <a:lnTo>
                  <a:pt x="2058" y="980"/>
                </a:lnTo>
                <a:lnTo>
                  <a:pt x="2074" y="976"/>
                </a:lnTo>
                <a:lnTo>
                  <a:pt x="2086" y="976"/>
                </a:lnTo>
                <a:lnTo>
                  <a:pt x="2090" y="976"/>
                </a:lnTo>
                <a:lnTo>
                  <a:pt x="2092" y="978"/>
                </a:lnTo>
                <a:lnTo>
                  <a:pt x="2092" y="982"/>
                </a:lnTo>
                <a:lnTo>
                  <a:pt x="2084" y="986"/>
                </a:lnTo>
                <a:lnTo>
                  <a:pt x="2070" y="990"/>
                </a:lnTo>
                <a:lnTo>
                  <a:pt x="2046" y="996"/>
                </a:lnTo>
                <a:lnTo>
                  <a:pt x="2016" y="1002"/>
                </a:lnTo>
                <a:lnTo>
                  <a:pt x="2008" y="1006"/>
                </a:lnTo>
                <a:lnTo>
                  <a:pt x="2004" y="1010"/>
                </a:lnTo>
                <a:lnTo>
                  <a:pt x="2002" y="1014"/>
                </a:lnTo>
                <a:lnTo>
                  <a:pt x="2004" y="1018"/>
                </a:lnTo>
                <a:lnTo>
                  <a:pt x="2008" y="1022"/>
                </a:lnTo>
                <a:lnTo>
                  <a:pt x="2014" y="1028"/>
                </a:lnTo>
                <a:lnTo>
                  <a:pt x="2028" y="1036"/>
                </a:lnTo>
                <a:lnTo>
                  <a:pt x="2036" y="1040"/>
                </a:lnTo>
                <a:lnTo>
                  <a:pt x="2048" y="1042"/>
                </a:lnTo>
                <a:lnTo>
                  <a:pt x="2066" y="1040"/>
                </a:lnTo>
                <a:lnTo>
                  <a:pt x="2082" y="1038"/>
                </a:lnTo>
                <a:lnTo>
                  <a:pt x="2090" y="1040"/>
                </a:lnTo>
                <a:lnTo>
                  <a:pt x="2102" y="1042"/>
                </a:lnTo>
                <a:lnTo>
                  <a:pt x="2124" y="1044"/>
                </a:lnTo>
                <a:lnTo>
                  <a:pt x="2148" y="1042"/>
                </a:lnTo>
                <a:lnTo>
                  <a:pt x="2164" y="1038"/>
                </a:lnTo>
                <a:lnTo>
                  <a:pt x="2180" y="1036"/>
                </a:lnTo>
                <a:lnTo>
                  <a:pt x="2190" y="1038"/>
                </a:lnTo>
                <a:lnTo>
                  <a:pt x="2202" y="1040"/>
                </a:lnTo>
                <a:lnTo>
                  <a:pt x="2220" y="1044"/>
                </a:lnTo>
                <a:lnTo>
                  <a:pt x="2232" y="1044"/>
                </a:lnTo>
                <a:lnTo>
                  <a:pt x="2238" y="1044"/>
                </a:lnTo>
                <a:lnTo>
                  <a:pt x="2248" y="1050"/>
                </a:lnTo>
                <a:lnTo>
                  <a:pt x="2260" y="1056"/>
                </a:lnTo>
                <a:lnTo>
                  <a:pt x="2272" y="1062"/>
                </a:lnTo>
                <a:lnTo>
                  <a:pt x="2276" y="1064"/>
                </a:lnTo>
                <a:lnTo>
                  <a:pt x="2276" y="1066"/>
                </a:lnTo>
                <a:lnTo>
                  <a:pt x="2264" y="1066"/>
                </a:lnTo>
                <a:lnTo>
                  <a:pt x="2252" y="1066"/>
                </a:lnTo>
                <a:lnTo>
                  <a:pt x="2246" y="1066"/>
                </a:lnTo>
                <a:lnTo>
                  <a:pt x="2238" y="1068"/>
                </a:lnTo>
                <a:lnTo>
                  <a:pt x="2218" y="1066"/>
                </a:lnTo>
                <a:lnTo>
                  <a:pt x="2180" y="1064"/>
                </a:lnTo>
                <a:lnTo>
                  <a:pt x="2138" y="1066"/>
                </a:lnTo>
                <a:lnTo>
                  <a:pt x="2096" y="1070"/>
                </a:lnTo>
                <a:lnTo>
                  <a:pt x="2060" y="1076"/>
                </a:lnTo>
                <a:lnTo>
                  <a:pt x="2048" y="1080"/>
                </a:lnTo>
                <a:lnTo>
                  <a:pt x="2042" y="1084"/>
                </a:lnTo>
                <a:lnTo>
                  <a:pt x="2040" y="1088"/>
                </a:lnTo>
                <a:lnTo>
                  <a:pt x="2040" y="1090"/>
                </a:lnTo>
                <a:lnTo>
                  <a:pt x="2044" y="1096"/>
                </a:lnTo>
                <a:lnTo>
                  <a:pt x="2048" y="1104"/>
                </a:lnTo>
                <a:lnTo>
                  <a:pt x="2056" y="1110"/>
                </a:lnTo>
                <a:lnTo>
                  <a:pt x="2072" y="1124"/>
                </a:lnTo>
                <a:lnTo>
                  <a:pt x="2080" y="1130"/>
                </a:lnTo>
                <a:lnTo>
                  <a:pt x="2092" y="1134"/>
                </a:lnTo>
                <a:lnTo>
                  <a:pt x="2108" y="1138"/>
                </a:lnTo>
                <a:lnTo>
                  <a:pt x="2126" y="1138"/>
                </a:lnTo>
                <a:lnTo>
                  <a:pt x="2160" y="1140"/>
                </a:lnTo>
                <a:lnTo>
                  <a:pt x="2184" y="1140"/>
                </a:lnTo>
                <a:lnTo>
                  <a:pt x="2190" y="1140"/>
                </a:lnTo>
                <a:lnTo>
                  <a:pt x="2194" y="1144"/>
                </a:lnTo>
                <a:lnTo>
                  <a:pt x="2194" y="1150"/>
                </a:lnTo>
                <a:lnTo>
                  <a:pt x="2194" y="1154"/>
                </a:lnTo>
                <a:lnTo>
                  <a:pt x="2192" y="1166"/>
                </a:lnTo>
                <a:lnTo>
                  <a:pt x="2192" y="1172"/>
                </a:lnTo>
                <a:lnTo>
                  <a:pt x="2196" y="1178"/>
                </a:lnTo>
                <a:lnTo>
                  <a:pt x="2202" y="1184"/>
                </a:lnTo>
                <a:lnTo>
                  <a:pt x="2208" y="1190"/>
                </a:lnTo>
                <a:lnTo>
                  <a:pt x="2216" y="1194"/>
                </a:lnTo>
                <a:lnTo>
                  <a:pt x="2230" y="1194"/>
                </a:lnTo>
                <a:lnTo>
                  <a:pt x="2254" y="1192"/>
                </a:lnTo>
                <a:lnTo>
                  <a:pt x="2270" y="1192"/>
                </a:lnTo>
                <a:lnTo>
                  <a:pt x="2284" y="1194"/>
                </a:lnTo>
                <a:lnTo>
                  <a:pt x="2294" y="1192"/>
                </a:lnTo>
                <a:lnTo>
                  <a:pt x="2312" y="1188"/>
                </a:lnTo>
                <a:lnTo>
                  <a:pt x="2340" y="1182"/>
                </a:lnTo>
                <a:lnTo>
                  <a:pt x="2370" y="1176"/>
                </a:lnTo>
                <a:lnTo>
                  <a:pt x="2382" y="1172"/>
                </a:lnTo>
                <a:lnTo>
                  <a:pt x="2392" y="1168"/>
                </a:lnTo>
                <a:lnTo>
                  <a:pt x="2398" y="1164"/>
                </a:lnTo>
                <a:lnTo>
                  <a:pt x="2406" y="1162"/>
                </a:lnTo>
                <a:lnTo>
                  <a:pt x="2420" y="1160"/>
                </a:lnTo>
                <a:lnTo>
                  <a:pt x="2434" y="1158"/>
                </a:lnTo>
                <a:lnTo>
                  <a:pt x="2440" y="1156"/>
                </a:lnTo>
                <a:lnTo>
                  <a:pt x="2450" y="1152"/>
                </a:lnTo>
                <a:lnTo>
                  <a:pt x="2456" y="1148"/>
                </a:lnTo>
                <a:lnTo>
                  <a:pt x="2460" y="1144"/>
                </a:lnTo>
                <a:lnTo>
                  <a:pt x="2460" y="1140"/>
                </a:lnTo>
                <a:lnTo>
                  <a:pt x="2460" y="1138"/>
                </a:lnTo>
                <a:lnTo>
                  <a:pt x="2460" y="1134"/>
                </a:lnTo>
                <a:lnTo>
                  <a:pt x="2460" y="1132"/>
                </a:lnTo>
                <a:lnTo>
                  <a:pt x="2464" y="1128"/>
                </a:lnTo>
                <a:lnTo>
                  <a:pt x="2470" y="1126"/>
                </a:lnTo>
                <a:lnTo>
                  <a:pt x="2478" y="1124"/>
                </a:lnTo>
                <a:lnTo>
                  <a:pt x="2482" y="1124"/>
                </a:lnTo>
                <a:lnTo>
                  <a:pt x="2484" y="1126"/>
                </a:lnTo>
                <a:lnTo>
                  <a:pt x="2486" y="1130"/>
                </a:lnTo>
                <a:lnTo>
                  <a:pt x="2484" y="1140"/>
                </a:lnTo>
                <a:lnTo>
                  <a:pt x="2484" y="1146"/>
                </a:lnTo>
                <a:lnTo>
                  <a:pt x="2486" y="1146"/>
                </a:lnTo>
                <a:lnTo>
                  <a:pt x="2488" y="1146"/>
                </a:lnTo>
                <a:lnTo>
                  <a:pt x="2500" y="1146"/>
                </a:lnTo>
                <a:lnTo>
                  <a:pt x="2510" y="1146"/>
                </a:lnTo>
                <a:lnTo>
                  <a:pt x="2524" y="1150"/>
                </a:lnTo>
                <a:lnTo>
                  <a:pt x="2534" y="1152"/>
                </a:lnTo>
                <a:lnTo>
                  <a:pt x="2540" y="1156"/>
                </a:lnTo>
                <a:lnTo>
                  <a:pt x="2538" y="1156"/>
                </a:lnTo>
                <a:lnTo>
                  <a:pt x="2536" y="1158"/>
                </a:lnTo>
                <a:lnTo>
                  <a:pt x="2532" y="1160"/>
                </a:lnTo>
                <a:lnTo>
                  <a:pt x="2532" y="1162"/>
                </a:lnTo>
                <a:lnTo>
                  <a:pt x="2540" y="1164"/>
                </a:lnTo>
                <a:lnTo>
                  <a:pt x="2548" y="1166"/>
                </a:lnTo>
                <a:lnTo>
                  <a:pt x="2552" y="1168"/>
                </a:lnTo>
                <a:lnTo>
                  <a:pt x="2558" y="1166"/>
                </a:lnTo>
                <a:lnTo>
                  <a:pt x="2562" y="1164"/>
                </a:lnTo>
                <a:lnTo>
                  <a:pt x="2566" y="1164"/>
                </a:lnTo>
                <a:lnTo>
                  <a:pt x="2572" y="1164"/>
                </a:lnTo>
                <a:lnTo>
                  <a:pt x="2582" y="1166"/>
                </a:lnTo>
                <a:lnTo>
                  <a:pt x="2600" y="1170"/>
                </a:lnTo>
                <a:lnTo>
                  <a:pt x="2606" y="1170"/>
                </a:lnTo>
                <a:lnTo>
                  <a:pt x="2610" y="1170"/>
                </a:lnTo>
                <a:lnTo>
                  <a:pt x="2618" y="1172"/>
                </a:lnTo>
                <a:lnTo>
                  <a:pt x="2624" y="1172"/>
                </a:lnTo>
                <a:lnTo>
                  <a:pt x="2630" y="1172"/>
                </a:lnTo>
                <a:lnTo>
                  <a:pt x="2638" y="1166"/>
                </a:lnTo>
                <a:lnTo>
                  <a:pt x="2646" y="1160"/>
                </a:lnTo>
                <a:lnTo>
                  <a:pt x="2650" y="1158"/>
                </a:lnTo>
                <a:lnTo>
                  <a:pt x="2656" y="1158"/>
                </a:lnTo>
                <a:lnTo>
                  <a:pt x="2664" y="1156"/>
                </a:lnTo>
                <a:lnTo>
                  <a:pt x="2670" y="1152"/>
                </a:lnTo>
                <a:lnTo>
                  <a:pt x="2672" y="1148"/>
                </a:lnTo>
                <a:lnTo>
                  <a:pt x="2672" y="1146"/>
                </a:lnTo>
                <a:lnTo>
                  <a:pt x="2670" y="1142"/>
                </a:lnTo>
                <a:lnTo>
                  <a:pt x="2666" y="1138"/>
                </a:lnTo>
                <a:lnTo>
                  <a:pt x="2662" y="1136"/>
                </a:lnTo>
                <a:lnTo>
                  <a:pt x="2660" y="1134"/>
                </a:lnTo>
                <a:lnTo>
                  <a:pt x="2662" y="1128"/>
                </a:lnTo>
                <a:lnTo>
                  <a:pt x="2664" y="1126"/>
                </a:lnTo>
                <a:lnTo>
                  <a:pt x="2662" y="1124"/>
                </a:lnTo>
                <a:lnTo>
                  <a:pt x="2658" y="1122"/>
                </a:lnTo>
                <a:lnTo>
                  <a:pt x="2652" y="1122"/>
                </a:lnTo>
                <a:lnTo>
                  <a:pt x="2644" y="1124"/>
                </a:lnTo>
                <a:lnTo>
                  <a:pt x="2630" y="1132"/>
                </a:lnTo>
                <a:lnTo>
                  <a:pt x="2620" y="1136"/>
                </a:lnTo>
                <a:lnTo>
                  <a:pt x="2618" y="1136"/>
                </a:lnTo>
                <a:lnTo>
                  <a:pt x="2620" y="1132"/>
                </a:lnTo>
                <a:lnTo>
                  <a:pt x="2622" y="1126"/>
                </a:lnTo>
                <a:lnTo>
                  <a:pt x="2620" y="1122"/>
                </a:lnTo>
                <a:lnTo>
                  <a:pt x="2616" y="1118"/>
                </a:lnTo>
                <a:lnTo>
                  <a:pt x="2612" y="1116"/>
                </a:lnTo>
                <a:lnTo>
                  <a:pt x="2604" y="1112"/>
                </a:lnTo>
                <a:lnTo>
                  <a:pt x="2600" y="1110"/>
                </a:lnTo>
                <a:lnTo>
                  <a:pt x="2602" y="1108"/>
                </a:lnTo>
                <a:lnTo>
                  <a:pt x="2604" y="1108"/>
                </a:lnTo>
                <a:lnTo>
                  <a:pt x="2608" y="1108"/>
                </a:lnTo>
                <a:lnTo>
                  <a:pt x="2620" y="1112"/>
                </a:lnTo>
                <a:lnTo>
                  <a:pt x="2632" y="1116"/>
                </a:lnTo>
                <a:lnTo>
                  <a:pt x="2636" y="1118"/>
                </a:lnTo>
                <a:lnTo>
                  <a:pt x="2640" y="1116"/>
                </a:lnTo>
                <a:lnTo>
                  <a:pt x="2644" y="1112"/>
                </a:lnTo>
                <a:lnTo>
                  <a:pt x="2640" y="1108"/>
                </a:lnTo>
                <a:lnTo>
                  <a:pt x="2638" y="1106"/>
                </a:lnTo>
                <a:lnTo>
                  <a:pt x="2638" y="1104"/>
                </a:lnTo>
                <a:lnTo>
                  <a:pt x="2640" y="1102"/>
                </a:lnTo>
                <a:lnTo>
                  <a:pt x="2646" y="1098"/>
                </a:lnTo>
                <a:close/>
                <a:moveTo>
                  <a:pt x="2506" y="806"/>
                </a:moveTo>
                <a:lnTo>
                  <a:pt x="2506" y="806"/>
                </a:lnTo>
                <a:lnTo>
                  <a:pt x="2492" y="808"/>
                </a:lnTo>
                <a:lnTo>
                  <a:pt x="2480" y="812"/>
                </a:lnTo>
                <a:lnTo>
                  <a:pt x="2470" y="814"/>
                </a:lnTo>
                <a:lnTo>
                  <a:pt x="2464" y="818"/>
                </a:lnTo>
                <a:lnTo>
                  <a:pt x="2460" y="822"/>
                </a:lnTo>
                <a:lnTo>
                  <a:pt x="2460" y="824"/>
                </a:lnTo>
                <a:lnTo>
                  <a:pt x="2462" y="828"/>
                </a:lnTo>
                <a:lnTo>
                  <a:pt x="2468" y="830"/>
                </a:lnTo>
                <a:lnTo>
                  <a:pt x="2480" y="834"/>
                </a:lnTo>
                <a:lnTo>
                  <a:pt x="2488" y="836"/>
                </a:lnTo>
                <a:lnTo>
                  <a:pt x="2492" y="840"/>
                </a:lnTo>
                <a:lnTo>
                  <a:pt x="2494" y="846"/>
                </a:lnTo>
                <a:lnTo>
                  <a:pt x="2498" y="850"/>
                </a:lnTo>
                <a:lnTo>
                  <a:pt x="2504" y="856"/>
                </a:lnTo>
                <a:lnTo>
                  <a:pt x="2514" y="862"/>
                </a:lnTo>
                <a:lnTo>
                  <a:pt x="2524" y="872"/>
                </a:lnTo>
                <a:lnTo>
                  <a:pt x="2530" y="874"/>
                </a:lnTo>
                <a:lnTo>
                  <a:pt x="2530" y="870"/>
                </a:lnTo>
                <a:lnTo>
                  <a:pt x="2532" y="868"/>
                </a:lnTo>
                <a:lnTo>
                  <a:pt x="2534" y="866"/>
                </a:lnTo>
                <a:lnTo>
                  <a:pt x="2540" y="862"/>
                </a:lnTo>
                <a:lnTo>
                  <a:pt x="2546" y="852"/>
                </a:lnTo>
                <a:lnTo>
                  <a:pt x="2560" y="830"/>
                </a:lnTo>
                <a:lnTo>
                  <a:pt x="2562" y="826"/>
                </a:lnTo>
                <a:lnTo>
                  <a:pt x="2562" y="822"/>
                </a:lnTo>
                <a:lnTo>
                  <a:pt x="2560" y="818"/>
                </a:lnTo>
                <a:lnTo>
                  <a:pt x="2554" y="816"/>
                </a:lnTo>
                <a:lnTo>
                  <a:pt x="2546" y="812"/>
                </a:lnTo>
                <a:lnTo>
                  <a:pt x="2540" y="808"/>
                </a:lnTo>
                <a:lnTo>
                  <a:pt x="2530" y="806"/>
                </a:lnTo>
                <a:lnTo>
                  <a:pt x="2506" y="806"/>
                </a:lnTo>
                <a:close/>
                <a:moveTo>
                  <a:pt x="4290" y="1312"/>
                </a:moveTo>
                <a:lnTo>
                  <a:pt x="4290" y="1312"/>
                </a:lnTo>
                <a:lnTo>
                  <a:pt x="4284" y="1304"/>
                </a:lnTo>
                <a:lnTo>
                  <a:pt x="4280" y="1300"/>
                </a:lnTo>
                <a:lnTo>
                  <a:pt x="4274" y="1296"/>
                </a:lnTo>
                <a:lnTo>
                  <a:pt x="4268" y="1296"/>
                </a:lnTo>
                <a:lnTo>
                  <a:pt x="4256" y="1296"/>
                </a:lnTo>
                <a:lnTo>
                  <a:pt x="4246" y="1300"/>
                </a:lnTo>
                <a:lnTo>
                  <a:pt x="4236" y="1304"/>
                </a:lnTo>
                <a:lnTo>
                  <a:pt x="4230" y="1304"/>
                </a:lnTo>
                <a:lnTo>
                  <a:pt x="4228" y="1304"/>
                </a:lnTo>
                <a:lnTo>
                  <a:pt x="4228" y="1302"/>
                </a:lnTo>
                <a:lnTo>
                  <a:pt x="4230" y="1292"/>
                </a:lnTo>
                <a:lnTo>
                  <a:pt x="4232" y="1282"/>
                </a:lnTo>
                <a:lnTo>
                  <a:pt x="4232" y="1280"/>
                </a:lnTo>
                <a:lnTo>
                  <a:pt x="4230" y="1278"/>
                </a:lnTo>
                <a:lnTo>
                  <a:pt x="4224" y="1278"/>
                </a:lnTo>
                <a:lnTo>
                  <a:pt x="4216" y="1280"/>
                </a:lnTo>
                <a:lnTo>
                  <a:pt x="4202" y="1284"/>
                </a:lnTo>
                <a:lnTo>
                  <a:pt x="4200" y="1284"/>
                </a:lnTo>
                <a:lnTo>
                  <a:pt x="4198" y="1282"/>
                </a:lnTo>
                <a:lnTo>
                  <a:pt x="4200" y="1276"/>
                </a:lnTo>
                <a:lnTo>
                  <a:pt x="4202" y="1268"/>
                </a:lnTo>
                <a:lnTo>
                  <a:pt x="4202" y="1264"/>
                </a:lnTo>
                <a:lnTo>
                  <a:pt x="4200" y="1258"/>
                </a:lnTo>
                <a:lnTo>
                  <a:pt x="4196" y="1254"/>
                </a:lnTo>
                <a:lnTo>
                  <a:pt x="4182" y="1248"/>
                </a:lnTo>
                <a:lnTo>
                  <a:pt x="4162" y="1234"/>
                </a:lnTo>
                <a:lnTo>
                  <a:pt x="4150" y="1228"/>
                </a:lnTo>
                <a:lnTo>
                  <a:pt x="4136" y="1224"/>
                </a:lnTo>
                <a:lnTo>
                  <a:pt x="4124" y="1224"/>
                </a:lnTo>
                <a:lnTo>
                  <a:pt x="4112" y="1224"/>
                </a:lnTo>
                <a:lnTo>
                  <a:pt x="4100" y="1224"/>
                </a:lnTo>
                <a:lnTo>
                  <a:pt x="4090" y="1222"/>
                </a:lnTo>
                <a:lnTo>
                  <a:pt x="4084" y="1216"/>
                </a:lnTo>
                <a:lnTo>
                  <a:pt x="4082" y="1214"/>
                </a:lnTo>
                <a:lnTo>
                  <a:pt x="4080" y="1208"/>
                </a:lnTo>
                <a:lnTo>
                  <a:pt x="4080" y="1204"/>
                </a:lnTo>
                <a:lnTo>
                  <a:pt x="4076" y="1200"/>
                </a:lnTo>
                <a:lnTo>
                  <a:pt x="4072" y="1196"/>
                </a:lnTo>
                <a:lnTo>
                  <a:pt x="4066" y="1194"/>
                </a:lnTo>
                <a:lnTo>
                  <a:pt x="4054" y="1192"/>
                </a:lnTo>
                <a:lnTo>
                  <a:pt x="4040" y="1192"/>
                </a:lnTo>
                <a:lnTo>
                  <a:pt x="4030" y="1192"/>
                </a:lnTo>
                <a:lnTo>
                  <a:pt x="4024" y="1192"/>
                </a:lnTo>
                <a:lnTo>
                  <a:pt x="4022" y="1190"/>
                </a:lnTo>
                <a:lnTo>
                  <a:pt x="4022" y="1188"/>
                </a:lnTo>
                <a:lnTo>
                  <a:pt x="4032" y="1182"/>
                </a:lnTo>
                <a:lnTo>
                  <a:pt x="4038" y="1178"/>
                </a:lnTo>
                <a:lnTo>
                  <a:pt x="4040" y="1172"/>
                </a:lnTo>
                <a:lnTo>
                  <a:pt x="4042" y="1168"/>
                </a:lnTo>
                <a:lnTo>
                  <a:pt x="4042" y="1164"/>
                </a:lnTo>
                <a:lnTo>
                  <a:pt x="4040" y="1156"/>
                </a:lnTo>
                <a:lnTo>
                  <a:pt x="4036" y="1150"/>
                </a:lnTo>
                <a:lnTo>
                  <a:pt x="4030" y="1144"/>
                </a:lnTo>
                <a:lnTo>
                  <a:pt x="4028" y="1142"/>
                </a:lnTo>
                <a:lnTo>
                  <a:pt x="4032" y="1140"/>
                </a:lnTo>
                <a:lnTo>
                  <a:pt x="4042" y="1142"/>
                </a:lnTo>
                <a:lnTo>
                  <a:pt x="4056" y="1144"/>
                </a:lnTo>
                <a:lnTo>
                  <a:pt x="4068" y="1144"/>
                </a:lnTo>
                <a:lnTo>
                  <a:pt x="4078" y="1142"/>
                </a:lnTo>
                <a:lnTo>
                  <a:pt x="4084" y="1140"/>
                </a:lnTo>
                <a:lnTo>
                  <a:pt x="4084" y="1138"/>
                </a:lnTo>
                <a:lnTo>
                  <a:pt x="4084" y="1136"/>
                </a:lnTo>
                <a:lnTo>
                  <a:pt x="4078" y="1130"/>
                </a:lnTo>
                <a:lnTo>
                  <a:pt x="4066" y="1126"/>
                </a:lnTo>
                <a:lnTo>
                  <a:pt x="4046" y="1122"/>
                </a:lnTo>
                <a:lnTo>
                  <a:pt x="4018" y="1116"/>
                </a:lnTo>
                <a:lnTo>
                  <a:pt x="4016" y="1116"/>
                </a:lnTo>
                <a:lnTo>
                  <a:pt x="4016" y="1114"/>
                </a:lnTo>
                <a:lnTo>
                  <a:pt x="4020" y="1112"/>
                </a:lnTo>
                <a:lnTo>
                  <a:pt x="4040" y="1110"/>
                </a:lnTo>
                <a:lnTo>
                  <a:pt x="4052" y="1106"/>
                </a:lnTo>
                <a:lnTo>
                  <a:pt x="4062" y="1102"/>
                </a:lnTo>
                <a:lnTo>
                  <a:pt x="4064" y="1098"/>
                </a:lnTo>
                <a:lnTo>
                  <a:pt x="4066" y="1094"/>
                </a:lnTo>
                <a:lnTo>
                  <a:pt x="4066" y="1092"/>
                </a:lnTo>
                <a:lnTo>
                  <a:pt x="4066" y="1088"/>
                </a:lnTo>
                <a:lnTo>
                  <a:pt x="4062" y="1082"/>
                </a:lnTo>
                <a:lnTo>
                  <a:pt x="4054" y="1074"/>
                </a:lnTo>
                <a:lnTo>
                  <a:pt x="4044" y="1070"/>
                </a:lnTo>
                <a:lnTo>
                  <a:pt x="4036" y="1066"/>
                </a:lnTo>
                <a:lnTo>
                  <a:pt x="4026" y="1066"/>
                </a:lnTo>
                <a:lnTo>
                  <a:pt x="4020" y="1068"/>
                </a:lnTo>
                <a:lnTo>
                  <a:pt x="4014" y="1070"/>
                </a:lnTo>
                <a:lnTo>
                  <a:pt x="4004" y="1074"/>
                </a:lnTo>
                <a:lnTo>
                  <a:pt x="3988" y="1074"/>
                </a:lnTo>
                <a:lnTo>
                  <a:pt x="3982" y="1072"/>
                </a:lnTo>
                <a:lnTo>
                  <a:pt x="3980" y="1070"/>
                </a:lnTo>
                <a:lnTo>
                  <a:pt x="3982" y="1066"/>
                </a:lnTo>
                <a:lnTo>
                  <a:pt x="3994" y="1062"/>
                </a:lnTo>
                <a:lnTo>
                  <a:pt x="4014" y="1054"/>
                </a:lnTo>
                <a:lnTo>
                  <a:pt x="4020" y="1052"/>
                </a:lnTo>
                <a:lnTo>
                  <a:pt x="4022" y="1050"/>
                </a:lnTo>
                <a:lnTo>
                  <a:pt x="4018" y="1046"/>
                </a:lnTo>
                <a:lnTo>
                  <a:pt x="4012" y="1042"/>
                </a:lnTo>
                <a:lnTo>
                  <a:pt x="3984" y="1030"/>
                </a:lnTo>
                <a:lnTo>
                  <a:pt x="3966" y="1024"/>
                </a:lnTo>
                <a:lnTo>
                  <a:pt x="3952" y="1022"/>
                </a:lnTo>
                <a:lnTo>
                  <a:pt x="3942" y="1024"/>
                </a:lnTo>
                <a:lnTo>
                  <a:pt x="3934" y="1028"/>
                </a:lnTo>
                <a:lnTo>
                  <a:pt x="3930" y="1030"/>
                </a:lnTo>
                <a:lnTo>
                  <a:pt x="3926" y="1030"/>
                </a:lnTo>
                <a:lnTo>
                  <a:pt x="3926" y="1026"/>
                </a:lnTo>
                <a:lnTo>
                  <a:pt x="3928" y="1018"/>
                </a:lnTo>
                <a:lnTo>
                  <a:pt x="3928" y="1008"/>
                </a:lnTo>
                <a:lnTo>
                  <a:pt x="3926" y="1004"/>
                </a:lnTo>
                <a:lnTo>
                  <a:pt x="3922" y="1002"/>
                </a:lnTo>
                <a:lnTo>
                  <a:pt x="3916" y="1002"/>
                </a:lnTo>
                <a:lnTo>
                  <a:pt x="3908" y="1004"/>
                </a:lnTo>
                <a:lnTo>
                  <a:pt x="3904" y="1002"/>
                </a:lnTo>
                <a:lnTo>
                  <a:pt x="3904" y="996"/>
                </a:lnTo>
                <a:lnTo>
                  <a:pt x="3902" y="988"/>
                </a:lnTo>
                <a:lnTo>
                  <a:pt x="3896" y="982"/>
                </a:lnTo>
                <a:lnTo>
                  <a:pt x="3888" y="974"/>
                </a:lnTo>
                <a:lnTo>
                  <a:pt x="3880" y="970"/>
                </a:lnTo>
                <a:lnTo>
                  <a:pt x="3868" y="968"/>
                </a:lnTo>
                <a:lnTo>
                  <a:pt x="3858" y="968"/>
                </a:lnTo>
                <a:lnTo>
                  <a:pt x="3846" y="972"/>
                </a:lnTo>
                <a:lnTo>
                  <a:pt x="3836" y="980"/>
                </a:lnTo>
                <a:lnTo>
                  <a:pt x="3826" y="986"/>
                </a:lnTo>
                <a:lnTo>
                  <a:pt x="3820" y="988"/>
                </a:lnTo>
                <a:lnTo>
                  <a:pt x="3814" y="988"/>
                </a:lnTo>
                <a:lnTo>
                  <a:pt x="3810" y="982"/>
                </a:lnTo>
                <a:lnTo>
                  <a:pt x="3806" y="976"/>
                </a:lnTo>
                <a:lnTo>
                  <a:pt x="3802" y="966"/>
                </a:lnTo>
                <a:lnTo>
                  <a:pt x="3792" y="944"/>
                </a:lnTo>
                <a:lnTo>
                  <a:pt x="3788" y="936"/>
                </a:lnTo>
                <a:lnTo>
                  <a:pt x="3784" y="932"/>
                </a:lnTo>
                <a:lnTo>
                  <a:pt x="3778" y="930"/>
                </a:lnTo>
                <a:lnTo>
                  <a:pt x="3774" y="932"/>
                </a:lnTo>
                <a:lnTo>
                  <a:pt x="3768" y="932"/>
                </a:lnTo>
                <a:lnTo>
                  <a:pt x="3762" y="930"/>
                </a:lnTo>
                <a:lnTo>
                  <a:pt x="3758" y="926"/>
                </a:lnTo>
                <a:lnTo>
                  <a:pt x="3750" y="918"/>
                </a:lnTo>
                <a:lnTo>
                  <a:pt x="3744" y="908"/>
                </a:lnTo>
                <a:lnTo>
                  <a:pt x="3736" y="902"/>
                </a:lnTo>
                <a:lnTo>
                  <a:pt x="3726" y="898"/>
                </a:lnTo>
                <a:lnTo>
                  <a:pt x="3718" y="896"/>
                </a:lnTo>
                <a:lnTo>
                  <a:pt x="3700" y="896"/>
                </a:lnTo>
                <a:lnTo>
                  <a:pt x="3692" y="894"/>
                </a:lnTo>
                <a:lnTo>
                  <a:pt x="3686" y="892"/>
                </a:lnTo>
                <a:lnTo>
                  <a:pt x="3668" y="884"/>
                </a:lnTo>
                <a:lnTo>
                  <a:pt x="3658" y="882"/>
                </a:lnTo>
                <a:lnTo>
                  <a:pt x="3646" y="880"/>
                </a:lnTo>
                <a:lnTo>
                  <a:pt x="3636" y="882"/>
                </a:lnTo>
                <a:lnTo>
                  <a:pt x="3624" y="884"/>
                </a:lnTo>
                <a:lnTo>
                  <a:pt x="3614" y="892"/>
                </a:lnTo>
                <a:lnTo>
                  <a:pt x="3606" y="904"/>
                </a:lnTo>
                <a:lnTo>
                  <a:pt x="3604" y="908"/>
                </a:lnTo>
                <a:lnTo>
                  <a:pt x="3600" y="912"/>
                </a:lnTo>
                <a:lnTo>
                  <a:pt x="3596" y="914"/>
                </a:lnTo>
                <a:lnTo>
                  <a:pt x="3592" y="916"/>
                </a:lnTo>
                <a:lnTo>
                  <a:pt x="3584" y="914"/>
                </a:lnTo>
                <a:lnTo>
                  <a:pt x="3578" y="908"/>
                </a:lnTo>
                <a:lnTo>
                  <a:pt x="3570" y="904"/>
                </a:lnTo>
                <a:lnTo>
                  <a:pt x="3560" y="900"/>
                </a:lnTo>
                <a:lnTo>
                  <a:pt x="3556" y="900"/>
                </a:lnTo>
                <a:lnTo>
                  <a:pt x="3552" y="900"/>
                </a:lnTo>
                <a:lnTo>
                  <a:pt x="3548" y="902"/>
                </a:lnTo>
                <a:lnTo>
                  <a:pt x="3544" y="906"/>
                </a:lnTo>
                <a:lnTo>
                  <a:pt x="3536" y="916"/>
                </a:lnTo>
                <a:lnTo>
                  <a:pt x="3528" y="922"/>
                </a:lnTo>
                <a:lnTo>
                  <a:pt x="3520" y="926"/>
                </a:lnTo>
                <a:lnTo>
                  <a:pt x="3516" y="928"/>
                </a:lnTo>
                <a:lnTo>
                  <a:pt x="3512" y="930"/>
                </a:lnTo>
                <a:lnTo>
                  <a:pt x="3510" y="928"/>
                </a:lnTo>
                <a:lnTo>
                  <a:pt x="3512" y="922"/>
                </a:lnTo>
                <a:lnTo>
                  <a:pt x="3518" y="916"/>
                </a:lnTo>
                <a:lnTo>
                  <a:pt x="3522" y="908"/>
                </a:lnTo>
                <a:lnTo>
                  <a:pt x="3526" y="898"/>
                </a:lnTo>
                <a:lnTo>
                  <a:pt x="3528" y="888"/>
                </a:lnTo>
                <a:lnTo>
                  <a:pt x="3528" y="878"/>
                </a:lnTo>
                <a:lnTo>
                  <a:pt x="3526" y="870"/>
                </a:lnTo>
                <a:lnTo>
                  <a:pt x="3522" y="862"/>
                </a:lnTo>
                <a:lnTo>
                  <a:pt x="3516" y="856"/>
                </a:lnTo>
                <a:lnTo>
                  <a:pt x="3508" y="850"/>
                </a:lnTo>
                <a:lnTo>
                  <a:pt x="3500" y="848"/>
                </a:lnTo>
                <a:lnTo>
                  <a:pt x="3498" y="842"/>
                </a:lnTo>
                <a:lnTo>
                  <a:pt x="3496" y="836"/>
                </a:lnTo>
                <a:lnTo>
                  <a:pt x="3494" y="828"/>
                </a:lnTo>
                <a:lnTo>
                  <a:pt x="3494" y="822"/>
                </a:lnTo>
                <a:lnTo>
                  <a:pt x="3492" y="816"/>
                </a:lnTo>
                <a:lnTo>
                  <a:pt x="3488" y="812"/>
                </a:lnTo>
                <a:lnTo>
                  <a:pt x="3480" y="808"/>
                </a:lnTo>
                <a:lnTo>
                  <a:pt x="3466" y="808"/>
                </a:lnTo>
                <a:lnTo>
                  <a:pt x="3446" y="808"/>
                </a:lnTo>
                <a:lnTo>
                  <a:pt x="3424" y="810"/>
                </a:lnTo>
                <a:lnTo>
                  <a:pt x="3400" y="816"/>
                </a:lnTo>
                <a:lnTo>
                  <a:pt x="3376" y="822"/>
                </a:lnTo>
                <a:lnTo>
                  <a:pt x="3358" y="830"/>
                </a:lnTo>
                <a:lnTo>
                  <a:pt x="3350" y="834"/>
                </a:lnTo>
                <a:lnTo>
                  <a:pt x="3344" y="840"/>
                </a:lnTo>
                <a:lnTo>
                  <a:pt x="3340" y="846"/>
                </a:lnTo>
                <a:lnTo>
                  <a:pt x="3340" y="854"/>
                </a:lnTo>
                <a:lnTo>
                  <a:pt x="3338" y="858"/>
                </a:lnTo>
                <a:lnTo>
                  <a:pt x="3336" y="864"/>
                </a:lnTo>
                <a:lnTo>
                  <a:pt x="3334" y="866"/>
                </a:lnTo>
                <a:lnTo>
                  <a:pt x="3332" y="868"/>
                </a:lnTo>
                <a:lnTo>
                  <a:pt x="3326" y="868"/>
                </a:lnTo>
                <a:lnTo>
                  <a:pt x="3320" y="868"/>
                </a:lnTo>
                <a:lnTo>
                  <a:pt x="3314" y="868"/>
                </a:lnTo>
                <a:lnTo>
                  <a:pt x="3312" y="870"/>
                </a:lnTo>
                <a:lnTo>
                  <a:pt x="3312" y="872"/>
                </a:lnTo>
                <a:lnTo>
                  <a:pt x="3314" y="880"/>
                </a:lnTo>
                <a:lnTo>
                  <a:pt x="3322" y="898"/>
                </a:lnTo>
                <a:lnTo>
                  <a:pt x="3328" y="914"/>
                </a:lnTo>
                <a:lnTo>
                  <a:pt x="3330" y="920"/>
                </a:lnTo>
                <a:lnTo>
                  <a:pt x="3330" y="924"/>
                </a:lnTo>
                <a:lnTo>
                  <a:pt x="3328" y="926"/>
                </a:lnTo>
                <a:lnTo>
                  <a:pt x="3326" y="928"/>
                </a:lnTo>
                <a:lnTo>
                  <a:pt x="3320" y="930"/>
                </a:lnTo>
                <a:lnTo>
                  <a:pt x="3314" y="930"/>
                </a:lnTo>
                <a:lnTo>
                  <a:pt x="3310" y="932"/>
                </a:lnTo>
                <a:lnTo>
                  <a:pt x="3308" y="934"/>
                </a:lnTo>
                <a:lnTo>
                  <a:pt x="3310" y="936"/>
                </a:lnTo>
                <a:lnTo>
                  <a:pt x="3316" y="946"/>
                </a:lnTo>
                <a:lnTo>
                  <a:pt x="3324" y="956"/>
                </a:lnTo>
                <a:lnTo>
                  <a:pt x="3334" y="960"/>
                </a:lnTo>
                <a:lnTo>
                  <a:pt x="3340" y="962"/>
                </a:lnTo>
                <a:lnTo>
                  <a:pt x="3348" y="962"/>
                </a:lnTo>
                <a:lnTo>
                  <a:pt x="3354" y="962"/>
                </a:lnTo>
                <a:lnTo>
                  <a:pt x="3358" y="962"/>
                </a:lnTo>
                <a:lnTo>
                  <a:pt x="3362" y="966"/>
                </a:lnTo>
                <a:lnTo>
                  <a:pt x="3364" y="974"/>
                </a:lnTo>
                <a:lnTo>
                  <a:pt x="3362" y="978"/>
                </a:lnTo>
                <a:lnTo>
                  <a:pt x="3360" y="980"/>
                </a:lnTo>
                <a:lnTo>
                  <a:pt x="3356" y="982"/>
                </a:lnTo>
                <a:lnTo>
                  <a:pt x="3350" y="982"/>
                </a:lnTo>
                <a:lnTo>
                  <a:pt x="3336" y="978"/>
                </a:lnTo>
                <a:lnTo>
                  <a:pt x="3320" y="970"/>
                </a:lnTo>
                <a:lnTo>
                  <a:pt x="3304" y="960"/>
                </a:lnTo>
                <a:lnTo>
                  <a:pt x="3294" y="948"/>
                </a:lnTo>
                <a:lnTo>
                  <a:pt x="3290" y="940"/>
                </a:lnTo>
                <a:lnTo>
                  <a:pt x="3288" y="934"/>
                </a:lnTo>
                <a:lnTo>
                  <a:pt x="3288" y="926"/>
                </a:lnTo>
                <a:lnTo>
                  <a:pt x="3290" y="920"/>
                </a:lnTo>
                <a:lnTo>
                  <a:pt x="3294" y="908"/>
                </a:lnTo>
                <a:lnTo>
                  <a:pt x="3294" y="900"/>
                </a:lnTo>
                <a:lnTo>
                  <a:pt x="3290" y="894"/>
                </a:lnTo>
                <a:lnTo>
                  <a:pt x="3286" y="890"/>
                </a:lnTo>
                <a:lnTo>
                  <a:pt x="3282" y="886"/>
                </a:lnTo>
                <a:lnTo>
                  <a:pt x="3280" y="880"/>
                </a:lnTo>
                <a:lnTo>
                  <a:pt x="3284" y="872"/>
                </a:lnTo>
                <a:lnTo>
                  <a:pt x="3294" y="856"/>
                </a:lnTo>
                <a:lnTo>
                  <a:pt x="3308" y="842"/>
                </a:lnTo>
                <a:lnTo>
                  <a:pt x="3320" y="832"/>
                </a:lnTo>
                <a:lnTo>
                  <a:pt x="3330" y="824"/>
                </a:lnTo>
                <a:lnTo>
                  <a:pt x="3338" y="820"/>
                </a:lnTo>
                <a:lnTo>
                  <a:pt x="3348" y="814"/>
                </a:lnTo>
                <a:lnTo>
                  <a:pt x="3352" y="812"/>
                </a:lnTo>
                <a:lnTo>
                  <a:pt x="3354" y="808"/>
                </a:lnTo>
                <a:lnTo>
                  <a:pt x="3352" y="804"/>
                </a:lnTo>
                <a:lnTo>
                  <a:pt x="3350" y="802"/>
                </a:lnTo>
                <a:lnTo>
                  <a:pt x="3340" y="800"/>
                </a:lnTo>
                <a:lnTo>
                  <a:pt x="3324" y="798"/>
                </a:lnTo>
                <a:lnTo>
                  <a:pt x="3304" y="798"/>
                </a:lnTo>
                <a:lnTo>
                  <a:pt x="3280" y="800"/>
                </a:lnTo>
                <a:lnTo>
                  <a:pt x="3256" y="806"/>
                </a:lnTo>
                <a:lnTo>
                  <a:pt x="3232" y="814"/>
                </a:lnTo>
                <a:lnTo>
                  <a:pt x="3210" y="824"/>
                </a:lnTo>
                <a:lnTo>
                  <a:pt x="3192" y="836"/>
                </a:lnTo>
                <a:lnTo>
                  <a:pt x="3182" y="846"/>
                </a:lnTo>
                <a:lnTo>
                  <a:pt x="3176" y="852"/>
                </a:lnTo>
                <a:lnTo>
                  <a:pt x="3172" y="858"/>
                </a:lnTo>
                <a:lnTo>
                  <a:pt x="3172" y="868"/>
                </a:lnTo>
                <a:lnTo>
                  <a:pt x="3170" y="874"/>
                </a:lnTo>
                <a:lnTo>
                  <a:pt x="3164" y="880"/>
                </a:lnTo>
                <a:lnTo>
                  <a:pt x="3158" y="886"/>
                </a:lnTo>
                <a:lnTo>
                  <a:pt x="3154" y="894"/>
                </a:lnTo>
                <a:lnTo>
                  <a:pt x="3148" y="910"/>
                </a:lnTo>
                <a:lnTo>
                  <a:pt x="3146" y="928"/>
                </a:lnTo>
                <a:lnTo>
                  <a:pt x="3142" y="954"/>
                </a:lnTo>
                <a:lnTo>
                  <a:pt x="3140" y="966"/>
                </a:lnTo>
                <a:lnTo>
                  <a:pt x="3140" y="976"/>
                </a:lnTo>
                <a:lnTo>
                  <a:pt x="3142" y="982"/>
                </a:lnTo>
                <a:lnTo>
                  <a:pt x="3148" y="986"/>
                </a:lnTo>
                <a:lnTo>
                  <a:pt x="3156" y="990"/>
                </a:lnTo>
                <a:lnTo>
                  <a:pt x="3166" y="992"/>
                </a:lnTo>
                <a:lnTo>
                  <a:pt x="3198" y="994"/>
                </a:lnTo>
                <a:lnTo>
                  <a:pt x="3216" y="996"/>
                </a:lnTo>
                <a:lnTo>
                  <a:pt x="3230" y="1000"/>
                </a:lnTo>
                <a:lnTo>
                  <a:pt x="3240" y="1004"/>
                </a:lnTo>
                <a:lnTo>
                  <a:pt x="3246" y="1008"/>
                </a:lnTo>
                <a:lnTo>
                  <a:pt x="3246" y="1012"/>
                </a:lnTo>
                <a:lnTo>
                  <a:pt x="3244" y="1016"/>
                </a:lnTo>
                <a:lnTo>
                  <a:pt x="3234" y="1016"/>
                </a:lnTo>
                <a:lnTo>
                  <a:pt x="3220" y="1016"/>
                </a:lnTo>
                <a:lnTo>
                  <a:pt x="3190" y="1014"/>
                </a:lnTo>
                <a:lnTo>
                  <a:pt x="3180" y="1014"/>
                </a:lnTo>
                <a:lnTo>
                  <a:pt x="3174" y="1016"/>
                </a:lnTo>
                <a:lnTo>
                  <a:pt x="3172" y="1018"/>
                </a:lnTo>
                <a:lnTo>
                  <a:pt x="3172" y="1020"/>
                </a:lnTo>
                <a:lnTo>
                  <a:pt x="3174" y="1026"/>
                </a:lnTo>
                <a:lnTo>
                  <a:pt x="3180" y="1036"/>
                </a:lnTo>
                <a:lnTo>
                  <a:pt x="3192" y="1048"/>
                </a:lnTo>
                <a:lnTo>
                  <a:pt x="3208" y="1060"/>
                </a:lnTo>
                <a:lnTo>
                  <a:pt x="3222" y="1066"/>
                </a:lnTo>
                <a:lnTo>
                  <a:pt x="3234" y="1068"/>
                </a:lnTo>
                <a:lnTo>
                  <a:pt x="3248" y="1068"/>
                </a:lnTo>
                <a:lnTo>
                  <a:pt x="3260" y="1066"/>
                </a:lnTo>
                <a:lnTo>
                  <a:pt x="3270" y="1066"/>
                </a:lnTo>
                <a:lnTo>
                  <a:pt x="3282" y="1068"/>
                </a:lnTo>
                <a:lnTo>
                  <a:pt x="3292" y="1074"/>
                </a:lnTo>
                <a:lnTo>
                  <a:pt x="3304" y="1082"/>
                </a:lnTo>
                <a:lnTo>
                  <a:pt x="3314" y="1086"/>
                </a:lnTo>
                <a:lnTo>
                  <a:pt x="3324" y="1086"/>
                </a:lnTo>
                <a:lnTo>
                  <a:pt x="3334" y="1086"/>
                </a:lnTo>
                <a:lnTo>
                  <a:pt x="3350" y="1084"/>
                </a:lnTo>
                <a:lnTo>
                  <a:pt x="3360" y="1082"/>
                </a:lnTo>
                <a:lnTo>
                  <a:pt x="3374" y="1086"/>
                </a:lnTo>
                <a:lnTo>
                  <a:pt x="3386" y="1088"/>
                </a:lnTo>
                <a:lnTo>
                  <a:pt x="3400" y="1088"/>
                </a:lnTo>
                <a:lnTo>
                  <a:pt x="3408" y="1086"/>
                </a:lnTo>
                <a:lnTo>
                  <a:pt x="3416" y="1088"/>
                </a:lnTo>
                <a:lnTo>
                  <a:pt x="3428" y="1090"/>
                </a:lnTo>
                <a:lnTo>
                  <a:pt x="3444" y="1094"/>
                </a:lnTo>
                <a:lnTo>
                  <a:pt x="3456" y="1096"/>
                </a:lnTo>
                <a:lnTo>
                  <a:pt x="3464" y="1096"/>
                </a:lnTo>
                <a:lnTo>
                  <a:pt x="3470" y="1094"/>
                </a:lnTo>
                <a:lnTo>
                  <a:pt x="3472" y="1090"/>
                </a:lnTo>
                <a:lnTo>
                  <a:pt x="3476" y="1088"/>
                </a:lnTo>
                <a:lnTo>
                  <a:pt x="3480" y="1086"/>
                </a:lnTo>
                <a:lnTo>
                  <a:pt x="3486" y="1088"/>
                </a:lnTo>
                <a:lnTo>
                  <a:pt x="3496" y="1096"/>
                </a:lnTo>
                <a:lnTo>
                  <a:pt x="3514" y="1108"/>
                </a:lnTo>
                <a:lnTo>
                  <a:pt x="3518" y="1110"/>
                </a:lnTo>
                <a:lnTo>
                  <a:pt x="3520" y="1110"/>
                </a:lnTo>
                <a:lnTo>
                  <a:pt x="3520" y="1108"/>
                </a:lnTo>
                <a:lnTo>
                  <a:pt x="3516" y="1102"/>
                </a:lnTo>
                <a:lnTo>
                  <a:pt x="3504" y="1088"/>
                </a:lnTo>
                <a:lnTo>
                  <a:pt x="3498" y="1082"/>
                </a:lnTo>
                <a:lnTo>
                  <a:pt x="3498" y="1080"/>
                </a:lnTo>
                <a:lnTo>
                  <a:pt x="3500" y="1080"/>
                </a:lnTo>
                <a:lnTo>
                  <a:pt x="3508" y="1078"/>
                </a:lnTo>
                <a:lnTo>
                  <a:pt x="3520" y="1080"/>
                </a:lnTo>
                <a:lnTo>
                  <a:pt x="3550" y="1088"/>
                </a:lnTo>
                <a:lnTo>
                  <a:pt x="3584" y="1094"/>
                </a:lnTo>
                <a:lnTo>
                  <a:pt x="3590" y="1094"/>
                </a:lnTo>
                <a:lnTo>
                  <a:pt x="3596" y="1094"/>
                </a:lnTo>
                <a:lnTo>
                  <a:pt x="3598" y="1092"/>
                </a:lnTo>
                <a:lnTo>
                  <a:pt x="3600" y="1088"/>
                </a:lnTo>
                <a:lnTo>
                  <a:pt x="3602" y="1080"/>
                </a:lnTo>
                <a:lnTo>
                  <a:pt x="3600" y="1072"/>
                </a:lnTo>
                <a:lnTo>
                  <a:pt x="3596" y="1058"/>
                </a:lnTo>
                <a:lnTo>
                  <a:pt x="3596" y="1056"/>
                </a:lnTo>
                <a:lnTo>
                  <a:pt x="3598" y="1056"/>
                </a:lnTo>
                <a:lnTo>
                  <a:pt x="3604" y="1062"/>
                </a:lnTo>
                <a:lnTo>
                  <a:pt x="3612" y="1068"/>
                </a:lnTo>
                <a:lnTo>
                  <a:pt x="3618" y="1070"/>
                </a:lnTo>
                <a:lnTo>
                  <a:pt x="3626" y="1070"/>
                </a:lnTo>
                <a:lnTo>
                  <a:pt x="3630" y="1070"/>
                </a:lnTo>
                <a:lnTo>
                  <a:pt x="3636" y="1070"/>
                </a:lnTo>
                <a:lnTo>
                  <a:pt x="3638" y="1070"/>
                </a:lnTo>
                <a:lnTo>
                  <a:pt x="3640" y="1074"/>
                </a:lnTo>
                <a:lnTo>
                  <a:pt x="3642" y="1082"/>
                </a:lnTo>
                <a:lnTo>
                  <a:pt x="3642" y="1092"/>
                </a:lnTo>
                <a:lnTo>
                  <a:pt x="3644" y="1100"/>
                </a:lnTo>
                <a:lnTo>
                  <a:pt x="3648" y="1104"/>
                </a:lnTo>
                <a:lnTo>
                  <a:pt x="3652" y="1108"/>
                </a:lnTo>
                <a:lnTo>
                  <a:pt x="3670" y="1114"/>
                </a:lnTo>
                <a:lnTo>
                  <a:pt x="3696" y="1124"/>
                </a:lnTo>
                <a:lnTo>
                  <a:pt x="3710" y="1130"/>
                </a:lnTo>
                <a:lnTo>
                  <a:pt x="3720" y="1136"/>
                </a:lnTo>
                <a:lnTo>
                  <a:pt x="3724" y="1142"/>
                </a:lnTo>
                <a:lnTo>
                  <a:pt x="3724" y="1146"/>
                </a:lnTo>
                <a:lnTo>
                  <a:pt x="3722" y="1150"/>
                </a:lnTo>
                <a:lnTo>
                  <a:pt x="3716" y="1152"/>
                </a:lnTo>
                <a:lnTo>
                  <a:pt x="3708" y="1154"/>
                </a:lnTo>
                <a:lnTo>
                  <a:pt x="3698" y="1154"/>
                </a:lnTo>
                <a:lnTo>
                  <a:pt x="3690" y="1156"/>
                </a:lnTo>
                <a:lnTo>
                  <a:pt x="3684" y="1158"/>
                </a:lnTo>
                <a:lnTo>
                  <a:pt x="3680" y="1162"/>
                </a:lnTo>
                <a:lnTo>
                  <a:pt x="3678" y="1168"/>
                </a:lnTo>
                <a:lnTo>
                  <a:pt x="3678" y="1172"/>
                </a:lnTo>
                <a:lnTo>
                  <a:pt x="3684" y="1176"/>
                </a:lnTo>
                <a:lnTo>
                  <a:pt x="3692" y="1176"/>
                </a:lnTo>
                <a:lnTo>
                  <a:pt x="3704" y="1174"/>
                </a:lnTo>
                <a:lnTo>
                  <a:pt x="3718" y="1172"/>
                </a:lnTo>
                <a:lnTo>
                  <a:pt x="3732" y="1172"/>
                </a:lnTo>
                <a:lnTo>
                  <a:pt x="3746" y="1174"/>
                </a:lnTo>
                <a:lnTo>
                  <a:pt x="3760" y="1176"/>
                </a:lnTo>
                <a:lnTo>
                  <a:pt x="3772" y="1182"/>
                </a:lnTo>
                <a:lnTo>
                  <a:pt x="3782" y="1186"/>
                </a:lnTo>
                <a:lnTo>
                  <a:pt x="3788" y="1192"/>
                </a:lnTo>
                <a:lnTo>
                  <a:pt x="3794" y="1198"/>
                </a:lnTo>
                <a:lnTo>
                  <a:pt x="3798" y="1202"/>
                </a:lnTo>
                <a:lnTo>
                  <a:pt x="3802" y="1206"/>
                </a:lnTo>
                <a:lnTo>
                  <a:pt x="3816" y="1210"/>
                </a:lnTo>
                <a:lnTo>
                  <a:pt x="3822" y="1214"/>
                </a:lnTo>
                <a:lnTo>
                  <a:pt x="3828" y="1218"/>
                </a:lnTo>
                <a:lnTo>
                  <a:pt x="3832" y="1226"/>
                </a:lnTo>
                <a:lnTo>
                  <a:pt x="3836" y="1236"/>
                </a:lnTo>
                <a:lnTo>
                  <a:pt x="3838" y="1248"/>
                </a:lnTo>
                <a:lnTo>
                  <a:pt x="3844" y="1256"/>
                </a:lnTo>
                <a:lnTo>
                  <a:pt x="3852" y="1272"/>
                </a:lnTo>
                <a:lnTo>
                  <a:pt x="3856" y="1278"/>
                </a:lnTo>
                <a:lnTo>
                  <a:pt x="3858" y="1282"/>
                </a:lnTo>
                <a:lnTo>
                  <a:pt x="3856" y="1288"/>
                </a:lnTo>
                <a:lnTo>
                  <a:pt x="3850" y="1292"/>
                </a:lnTo>
                <a:lnTo>
                  <a:pt x="3836" y="1302"/>
                </a:lnTo>
                <a:lnTo>
                  <a:pt x="3824" y="1314"/>
                </a:lnTo>
                <a:lnTo>
                  <a:pt x="3808" y="1330"/>
                </a:lnTo>
                <a:lnTo>
                  <a:pt x="3788" y="1346"/>
                </a:lnTo>
                <a:lnTo>
                  <a:pt x="3784" y="1350"/>
                </a:lnTo>
                <a:lnTo>
                  <a:pt x="3782" y="1356"/>
                </a:lnTo>
                <a:lnTo>
                  <a:pt x="3780" y="1362"/>
                </a:lnTo>
                <a:lnTo>
                  <a:pt x="3782" y="1366"/>
                </a:lnTo>
                <a:lnTo>
                  <a:pt x="3786" y="1378"/>
                </a:lnTo>
                <a:lnTo>
                  <a:pt x="3794" y="1388"/>
                </a:lnTo>
                <a:lnTo>
                  <a:pt x="3806" y="1402"/>
                </a:lnTo>
                <a:lnTo>
                  <a:pt x="3806" y="1404"/>
                </a:lnTo>
                <a:lnTo>
                  <a:pt x="3798" y="1402"/>
                </a:lnTo>
                <a:lnTo>
                  <a:pt x="3786" y="1400"/>
                </a:lnTo>
                <a:lnTo>
                  <a:pt x="3776" y="1402"/>
                </a:lnTo>
                <a:lnTo>
                  <a:pt x="3768" y="1406"/>
                </a:lnTo>
                <a:lnTo>
                  <a:pt x="3760" y="1410"/>
                </a:lnTo>
                <a:lnTo>
                  <a:pt x="3750" y="1414"/>
                </a:lnTo>
                <a:lnTo>
                  <a:pt x="3736" y="1416"/>
                </a:lnTo>
                <a:lnTo>
                  <a:pt x="3716" y="1416"/>
                </a:lnTo>
                <a:lnTo>
                  <a:pt x="3692" y="1412"/>
                </a:lnTo>
                <a:lnTo>
                  <a:pt x="3670" y="1408"/>
                </a:lnTo>
                <a:lnTo>
                  <a:pt x="3656" y="1406"/>
                </a:lnTo>
                <a:lnTo>
                  <a:pt x="3650" y="1406"/>
                </a:lnTo>
                <a:lnTo>
                  <a:pt x="3650" y="1410"/>
                </a:lnTo>
                <a:lnTo>
                  <a:pt x="3650" y="1414"/>
                </a:lnTo>
                <a:lnTo>
                  <a:pt x="3650" y="1420"/>
                </a:lnTo>
                <a:lnTo>
                  <a:pt x="3646" y="1428"/>
                </a:lnTo>
                <a:lnTo>
                  <a:pt x="3634" y="1436"/>
                </a:lnTo>
                <a:lnTo>
                  <a:pt x="3628" y="1440"/>
                </a:lnTo>
                <a:lnTo>
                  <a:pt x="3624" y="1444"/>
                </a:lnTo>
                <a:lnTo>
                  <a:pt x="3622" y="1450"/>
                </a:lnTo>
                <a:lnTo>
                  <a:pt x="3622" y="1456"/>
                </a:lnTo>
                <a:lnTo>
                  <a:pt x="3622" y="1460"/>
                </a:lnTo>
                <a:lnTo>
                  <a:pt x="3624" y="1466"/>
                </a:lnTo>
                <a:lnTo>
                  <a:pt x="3634" y="1476"/>
                </a:lnTo>
                <a:lnTo>
                  <a:pt x="3646" y="1484"/>
                </a:lnTo>
                <a:lnTo>
                  <a:pt x="3654" y="1486"/>
                </a:lnTo>
                <a:lnTo>
                  <a:pt x="3664" y="1488"/>
                </a:lnTo>
                <a:lnTo>
                  <a:pt x="3672" y="1488"/>
                </a:lnTo>
                <a:lnTo>
                  <a:pt x="3682" y="1486"/>
                </a:lnTo>
                <a:lnTo>
                  <a:pt x="3692" y="1484"/>
                </a:lnTo>
                <a:lnTo>
                  <a:pt x="3702" y="1480"/>
                </a:lnTo>
                <a:lnTo>
                  <a:pt x="3720" y="1472"/>
                </a:lnTo>
                <a:lnTo>
                  <a:pt x="3732" y="1472"/>
                </a:lnTo>
                <a:lnTo>
                  <a:pt x="3742" y="1474"/>
                </a:lnTo>
                <a:lnTo>
                  <a:pt x="3748" y="1478"/>
                </a:lnTo>
                <a:lnTo>
                  <a:pt x="3752" y="1482"/>
                </a:lnTo>
                <a:lnTo>
                  <a:pt x="3758" y="1484"/>
                </a:lnTo>
                <a:lnTo>
                  <a:pt x="3762" y="1484"/>
                </a:lnTo>
                <a:lnTo>
                  <a:pt x="3768" y="1478"/>
                </a:lnTo>
                <a:lnTo>
                  <a:pt x="3776" y="1472"/>
                </a:lnTo>
                <a:lnTo>
                  <a:pt x="3780" y="1470"/>
                </a:lnTo>
                <a:lnTo>
                  <a:pt x="3782" y="1474"/>
                </a:lnTo>
                <a:lnTo>
                  <a:pt x="3784" y="1478"/>
                </a:lnTo>
                <a:lnTo>
                  <a:pt x="3786" y="1486"/>
                </a:lnTo>
                <a:lnTo>
                  <a:pt x="3788" y="1486"/>
                </a:lnTo>
                <a:lnTo>
                  <a:pt x="3792" y="1482"/>
                </a:lnTo>
                <a:lnTo>
                  <a:pt x="3796" y="1472"/>
                </a:lnTo>
                <a:lnTo>
                  <a:pt x="3798" y="1470"/>
                </a:lnTo>
                <a:lnTo>
                  <a:pt x="3802" y="1468"/>
                </a:lnTo>
                <a:lnTo>
                  <a:pt x="3806" y="1470"/>
                </a:lnTo>
                <a:lnTo>
                  <a:pt x="3812" y="1476"/>
                </a:lnTo>
                <a:lnTo>
                  <a:pt x="3836" y="1502"/>
                </a:lnTo>
                <a:lnTo>
                  <a:pt x="3848" y="1516"/>
                </a:lnTo>
                <a:lnTo>
                  <a:pt x="3858" y="1524"/>
                </a:lnTo>
                <a:lnTo>
                  <a:pt x="3864" y="1526"/>
                </a:lnTo>
                <a:lnTo>
                  <a:pt x="3868" y="1524"/>
                </a:lnTo>
                <a:lnTo>
                  <a:pt x="3872" y="1522"/>
                </a:lnTo>
                <a:lnTo>
                  <a:pt x="3876" y="1522"/>
                </a:lnTo>
                <a:lnTo>
                  <a:pt x="3882" y="1524"/>
                </a:lnTo>
                <a:lnTo>
                  <a:pt x="3890" y="1530"/>
                </a:lnTo>
                <a:lnTo>
                  <a:pt x="3896" y="1536"/>
                </a:lnTo>
                <a:lnTo>
                  <a:pt x="3896" y="1538"/>
                </a:lnTo>
                <a:lnTo>
                  <a:pt x="3896" y="1540"/>
                </a:lnTo>
                <a:lnTo>
                  <a:pt x="3890" y="1540"/>
                </a:lnTo>
                <a:lnTo>
                  <a:pt x="3882" y="1542"/>
                </a:lnTo>
                <a:lnTo>
                  <a:pt x="3876" y="1542"/>
                </a:lnTo>
                <a:lnTo>
                  <a:pt x="3872" y="1544"/>
                </a:lnTo>
                <a:lnTo>
                  <a:pt x="3872" y="1546"/>
                </a:lnTo>
                <a:lnTo>
                  <a:pt x="3872" y="1550"/>
                </a:lnTo>
                <a:lnTo>
                  <a:pt x="3874" y="1554"/>
                </a:lnTo>
                <a:lnTo>
                  <a:pt x="3884" y="1566"/>
                </a:lnTo>
                <a:lnTo>
                  <a:pt x="3896" y="1572"/>
                </a:lnTo>
                <a:lnTo>
                  <a:pt x="3908" y="1578"/>
                </a:lnTo>
                <a:lnTo>
                  <a:pt x="3934" y="1584"/>
                </a:lnTo>
                <a:lnTo>
                  <a:pt x="3956" y="1590"/>
                </a:lnTo>
                <a:lnTo>
                  <a:pt x="3966" y="1596"/>
                </a:lnTo>
                <a:lnTo>
                  <a:pt x="3974" y="1602"/>
                </a:lnTo>
                <a:lnTo>
                  <a:pt x="3982" y="1610"/>
                </a:lnTo>
                <a:lnTo>
                  <a:pt x="3994" y="1616"/>
                </a:lnTo>
                <a:lnTo>
                  <a:pt x="4008" y="1620"/>
                </a:lnTo>
                <a:lnTo>
                  <a:pt x="4024" y="1626"/>
                </a:lnTo>
                <a:lnTo>
                  <a:pt x="4058" y="1634"/>
                </a:lnTo>
                <a:lnTo>
                  <a:pt x="4090" y="1644"/>
                </a:lnTo>
                <a:lnTo>
                  <a:pt x="4102" y="1648"/>
                </a:lnTo>
                <a:lnTo>
                  <a:pt x="4110" y="1648"/>
                </a:lnTo>
                <a:lnTo>
                  <a:pt x="4112" y="1646"/>
                </a:lnTo>
                <a:lnTo>
                  <a:pt x="4114" y="1644"/>
                </a:lnTo>
                <a:lnTo>
                  <a:pt x="4114" y="1638"/>
                </a:lnTo>
                <a:lnTo>
                  <a:pt x="4112" y="1630"/>
                </a:lnTo>
                <a:lnTo>
                  <a:pt x="4106" y="1620"/>
                </a:lnTo>
                <a:lnTo>
                  <a:pt x="4098" y="1610"/>
                </a:lnTo>
                <a:lnTo>
                  <a:pt x="4088" y="1600"/>
                </a:lnTo>
                <a:lnTo>
                  <a:pt x="4076" y="1588"/>
                </a:lnTo>
                <a:lnTo>
                  <a:pt x="4060" y="1578"/>
                </a:lnTo>
                <a:lnTo>
                  <a:pt x="4028" y="1556"/>
                </a:lnTo>
                <a:lnTo>
                  <a:pt x="4014" y="1546"/>
                </a:lnTo>
                <a:lnTo>
                  <a:pt x="4002" y="1536"/>
                </a:lnTo>
                <a:lnTo>
                  <a:pt x="3994" y="1528"/>
                </a:lnTo>
                <a:lnTo>
                  <a:pt x="3994" y="1526"/>
                </a:lnTo>
                <a:lnTo>
                  <a:pt x="3994" y="1522"/>
                </a:lnTo>
                <a:lnTo>
                  <a:pt x="3996" y="1520"/>
                </a:lnTo>
                <a:lnTo>
                  <a:pt x="3998" y="1520"/>
                </a:lnTo>
                <a:lnTo>
                  <a:pt x="4004" y="1522"/>
                </a:lnTo>
                <a:lnTo>
                  <a:pt x="4020" y="1534"/>
                </a:lnTo>
                <a:lnTo>
                  <a:pt x="4036" y="1544"/>
                </a:lnTo>
                <a:lnTo>
                  <a:pt x="4040" y="1546"/>
                </a:lnTo>
                <a:lnTo>
                  <a:pt x="4042" y="1544"/>
                </a:lnTo>
                <a:lnTo>
                  <a:pt x="4042" y="1542"/>
                </a:lnTo>
                <a:lnTo>
                  <a:pt x="4044" y="1540"/>
                </a:lnTo>
                <a:lnTo>
                  <a:pt x="4048" y="1540"/>
                </a:lnTo>
                <a:lnTo>
                  <a:pt x="4064" y="1552"/>
                </a:lnTo>
                <a:lnTo>
                  <a:pt x="4074" y="1560"/>
                </a:lnTo>
                <a:lnTo>
                  <a:pt x="4084" y="1568"/>
                </a:lnTo>
                <a:lnTo>
                  <a:pt x="4096" y="1574"/>
                </a:lnTo>
                <a:lnTo>
                  <a:pt x="4108" y="1576"/>
                </a:lnTo>
                <a:lnTo>
                  <a:pt x="4120" y="1580"/>
                </a:lnTo>
                <a:lnTo>
                  <a:pt x="4130" y="1586"/>
                </a:lnTo>
                <a:lnTo>
                  <a:pt x="4138" y="1594"/>
                </a:lnTo>
                <a:lnTo>
                  <a:pt x="4146" y="1602"/>
                </a:lnTo>
                <a:lnTo>
                  <a:pt x="4150" y="1610"/>
                </a:lnTo>
                <a:lnTo>
                  <a:pt x="4154" y="1612"/>
                </a:lnTo>
                <a:lnTo>
                  <a:pt x="4154" y="1610"/>
                </a:lnTo>
                <a:lnTo>
                  <a:pt x="4154" y="1600"/>
                </a:lnTo>
                <a:lnTo>
                  <a:pt x="4152" y="1590"/>
                </a:lnTo>
                <a:lnTo>
                  <a:pt x="4152" y="1586"/>
                </a:lnTo>
                <a:lnTo>
                  <a:pt x="4154" y="1584"/>
                </a:lnTo>
                <a:lnTo>
                  <a:pt x="4156" y="1586"/>
                </a:lnTo>
                <a:lnTo>
                  <a:pt x="4158" y="1586"/>
                </a:lnTo>
                <a:lnTo>
                  <a:pt x="4160" y="1584"/>
                </a:lnTo>
                <a:lnTo>
                  <a:pt x="4160" y="1576"/>
                </a:lnTo>
                <a:lnTo>
                  <a:pt x="4158" y="1564"/>
                </a:lnTo>
                <a:lnTo>
                  <a:pt x="4158" y="1548"/>
                </a:lnTo>
                <a:lnTo>
                  <a:pt x="4160" y="1552"/>
                </a:lnTo>
                <a:lnTo>
                  <a:pt x="4162" y="1556"/>
                </a:lnTo>
                <a:lnTo>
                  <a:pt x="4166" y="1556"/>
                </a:lnTo>
                <a:lnTo>
                  <a:pt x="4168" y="1554"/>
                </a:lnTo>
                <a:lnTo>
                  <a:pt x="4172" y="1544"/>
                </a:lnTo>
                <a:lnTo>
                  <a:pt x="4172" y="1532"/>
                </a:lnTo>
                <a:lnTo>
                  <a:pt x="4170" y="1524"/>
                </a:lnTo>
                <a:lnTo>
                  <a:pt x="4166" y="1522"/>
                </a:lnTo>
                <a:lnTo>
                  <a:pt x="4162" y="1520"/>
                </a:lnTo>
                <a:lnTo>
                  <a:pt x="4158" y="1520"/>
                </a:lnTo>
                <a:lnTo>
                  <a:pt x="4154" y="1520"/>
                </a:lnTo>
                <a:lnTo>
                  <a:pt x="4156" y="1516"/>
                </a:lnTo>
                <a:lnTo>
                  <a:pt x="4158" y="1510"/>
                </a:lnTo>
                <a:lnTo>
                  <a:pt x="4162" y="1504"/>
                </a:lnTo>
                <a:lnTo>
                  <a:pt x="4162" y="1500"/>
                </a:lnTo>
                <a:lnTo>
                  <a:pt x="4158" y="1498"/>
                </a:lnTo>
                <a:lnTo>
                  <a:pt x="4152" y="1498"/>
                </a:lnTo>
                <a:lnTo>
                  <a:pt x="4146" y="1496"/>
                </a:lnTo>
                <a:lnTo>
                  <a:pt x="4142" y="1494"/>
                </a:lnTo>
                <a:lnTo>
                  <a:pt x="4140" y="1492"/>
                </a:lnTo>
                <a:lnTo>
                  <a:pt x="4142" y="1486"/>
                </a:lnTo>
                <a:lnTo>
                  <a:pt x="4148" y="1478"/>
                </a:lnTo>
                <a:lnTo>
                  <a:pt x="4150" y="1474"/>
                </a:lnTo>
                <a:lnTo>
                  <a:pt x="4150" y="1468"/>
                </a:lnTo>
                <a:lnTo>
                  <a:pt x="4146" y="1464"/>
                </a:lnTo>
                <a:lnTo>
                  <a:pt x="4140" y="1460"/>
                </a:lnTo>
                <a:lnTo>
                  <a:pt x="4132" y="1456"/>
                </a:lnTo>
                <a:lnTo>
                  <a:pt x="4106" y="1446"/>
                </a:lnTo>
                <a:lnTo>
                  <a:pt x="4092" y="1438"/>
                </a:lnTo>
                <a:lnTo>
                  <a:pt x="4082" y="1430"/>
                </a:lnTo>
                <a:lnTo>
                  <a:pt x="4076" y="1420"/>
                </a:lnTo>
                <a:lnTo>
                  <a:pt x="4072" y="1408"/>
                </a:lnTo>
                <a:lnTo>
                  <a:pt x="4068" y="1400"/>
                </a:lnTo>
                <a:lnTo>
                  <a:pt x="4064" y="1394"/>
                </a:lnTo>
                <a:lnTo>
                  <a:pt x="4060" y="1390"/>
                </a:lnTo>
                <a:lnTo>
                  <a:pt x="4052" y="1390"/>
                </a:lnTo>
                <a:lnTo>
                  <a:pt x="4044" y="1392"/>
                </a:lnTo>
                <a:lnTo>
                  <a:pt x="4038" y="1392"/>
                </a:lnTo>
                <a:lnTo>
                  <a:pt x="4032" y="1390"/>
                </a:lnTo>
                <a:lnTo>
                  <a:pt x="4030" y="1388"/>
                </a:lnTo>
                <a:lnTo>
                  <a:pt x="4030" y="1384"/>
                </a:lnTo>
                <a:lnTo>
                  <a:pt x="4034" y="1380"/>
                </a:lnTo>
                <a:lnTo>
                  <a:pt x="4040" y="1378"/>
                </a:lnTo>
                <a:lnTo>
                  <a:pt x="4048" y="1376"/>
                </a:lnTo>
                <a:lnTo>
                  <a:pt x="4054" y="1374"/>
                </a:lnTo>
                <a:lnTo>
                  <a:pt x="4056" y="1372"/>
                </a:lnTo>
                <a:lnTo>
                  <a:pt x="4058" y="1370"/>
                </a:lnTo>
                <a:lnTo>
                  <a:pt x="4058" y="1368"/>
                </a:lnTo>
                <a:lnTo>
                  <a:pt x="4054" y="1360"/>
                </a:lnTo>
                <a:lnTo>
                  <a:pt x="4050" y="1354"/>
                </a:lnTo>
                <a:lnTo>
                  <a:pt x="4042" y="1344"/>
                </a:lnTo>
                <a:lnTo>
                  <a:pt x="4042" y="1342"/>
                </a:lnTo>
                <a:lnTo>
                  <a:pt x="4044" y="1342"/>
                </a:lnTo>
                <a:lnTo>
                  <a:pt x="4050" y="1344"/>
                </a:lnTo>
                <a:lnTo>
                  <a:pt x="4058" y="1344"/>
                </a:lnTo>
                <a:lnTo>
                  <a:pt x="4064" y="1342"/>
                </a:lnTo>
                <a:lnTo>
                  <a:pt x="4068" y="1340"/>
                </a:lnTo>
                <a:lnTo>
                  <a:pt x="4070" y="1336"/>
                </a:lnTo>
                <a:lnTo>
                  <a:pt x="4072" y="1332"/>
                </a:lnTo>
                <a:lnTo>
                  <a:pt x="4074" y="1332"/>
                </a:lnTo>
                <a:lnTo>
                  <a:pt x="4078" y="1334"/>
                </a:lnTo>
                <a:lnTo>
                  <a:pt x="4084" y="1342"/>
                </a:lnTo>
                <a:lnTo>
                  <a:pt x="4090" y="1350"/>
                </a:lnTo>
                <a:lnTo>
                  <a:pt x="4094" y="1354"/>
                </a:lnTo>
                <a:lnTo>
                  <a:pt x="4100" y="1356"/>
                </a:lnTo>
                <a:lnTo>
                  <a:pt x="4104" y="1356"/>
                </a:lnTo>
                <a:lnTo>
                  <a:pt x="4110" y="1356"/>
                </a:lnTo>
                <a:lnTo>
                  <a:pt x="4112" y="1360"/>
                </a:lnTo>
                <a:lnTo>
                  <a:pt x="4114" y="1364"/>
                </a:lnTo>
                <a:lnTo>
                  <a:pt x="4116" y="1370"/>
                </a:lnTo>
                <a:lnTo>
                  <a:pt x="4120" y="1374"/>
                </a:lnTo>
                <a:lnTo>
                  <a:pt x="4126" y="1376"/>
                </a:lnTo>
                <a:lnTo>
                  <a:pt x="4130" y="1378"/>
                </a:lnTo>
                <a:lnTo>
                  <a:pt x="4132" y="1380"/>
                </a:lnTo>
                <a:lnTo>
                  <a:pt x="4134" y="1384"/>
                </a:lnTo>
                <a:lnTo>
                  <a:pt x="4134" y="1388"/>
                </a:lnTo>
                <a:lnTo>
                  <a:pt x="4134" y="1394"/>
                </a:lnTo>
                <a:lnTo>
                  <a:pt x="4138" y="1398"/>
                </a:lnTo>
                <a:lnTo>
                  <a:pt x="4148" y="1410"/>
                </a:lnTo>
                <a:lnTo>
                  <a:pt x="4162" y="1424"/>
                </a:lnTo>
                <a:lnTo>
                  <a:pt x="4180" y="1434"/>
                </a:lnTo>
                <a:lnTo>
                  <a:pt x="4196" y="1442"/>
                </a:lnTo>
                <a:lnTo>
                  <a:pt x="4204" y="1444"/>
                </a:lnTo>
                <a:lnTo>
                  <a:pt x="4210" y="1446"/>
                </a:lnTo>
                <a:lnTo>
                  <a:pt x="4216" y="1444"/>
                </a:lnTo>
                <a:lnTo>
                  <a:pt x="4218" y="1440"/>
                </a:lnTo>
                <a:lnTo>
                  <a:pt x="4220" y="1434"/>
                </a:lnTo>
                <a:lnTo>
                  <a:pt x="4220" y="1426"/>
                </a:lnTo>
                <a:lnTo>
                  <a:pt x="4218" y="1416"/>
                </a:lnTo>
                <a:lnTo>
                  <a:pt x="4218" y="1408"/>
                </a:lnTo>
                <a:lnTo>
                  <a:pt x="4220" y="1404"/>
                </a:lnTo>
                <a:lnTo>
                  <a:pt x="4224" y="1400"/>
                </a:lnTo>
                <a:lnTo>
                  <a:pt x="4228" y="1396"/>
                </a:lnTo>
                <a:lnTo>
                  <a:pt x="4232" y="1396"/>
                </a:lnTo>
                <a:lnTo>
                  <a:pt x="4242" y="1394"/>
                </a:lnTo>
                <a:lnTo>
                  <a:pt x="4260" y="1394"/>
                </a:lnTo>
                <a:lnTo>
                  <a:pt x="4262" y="1394"/>
                </a:lnTo>
                <a:lnTo>
                  <a:pt x="4264" y="1392"/>
                </a:lnTo>
                <a:lnTo>
                  <a:pt x="4264" y="1390"/>
                </a:lnTo>
                <a:lnTo>
                  <a:pt x="4262" y="1386"/>
                </a:lnTo>
                <a:lnTo>
                  <a:pt x="4258" y="1378"/>
                </a:lnTo>
                <a:lnTo>
                  <a:pt x="4258" y="1374"/>
                </a:lnTo>
                <a:lnTo>
                  <a:pt x="4260" y="1372"/>
                </a:lnTo>
                <a:lnTo>
                  <a:pt x="4262" y="1370"/>
                </a:lnTo>
                <a:lnTo>
                  <a:pt x="4268" y="1368"/>
                </a:lnTo>
                <a:lnTo>
                  <a:pt x="4270" y="1366"/>
                </a:lnTo>
                <a:lnTo>
                  <a:pt x="4268" y="1360"/>
                </a:lnTo>
                <a:lnTo>
                  <a:pt x="4266" y="1358"/>
                </a:lnTo>
                <a:lnTo>
                  <a:pt x="4266" y="1356"/>
                </a:lnTo>
                <a:lnTo>
                  <a:pt x="4270" y="1352"/>
                </a:lnTo>
                <a:lnTo>
                  <a:pt x="4284" y="1346"/>
                </a:lnTo>
                <a:lnTo>
                  <a:pt x="4290" y="1340"/>
                </a:lnTo>
                <a:lnTo>
                  <a:pt x="4294" y="1334"/>
                </a:lnTo>
                <a:lnTo>
                  <a:pt x="4296" y="1330"/>
                </a:lnTo>
                <a:lnTo>
                  <a:pt x="4296" y="1324"/>
                </a:lnTo>
                <a:lnTo>
                  <a:pt x="4290" y="1312"/>
                </a:lnTo>
                <a:close/>
                <a:moveTo>
                  <a:pt x="3666" y="1230"/>
                </a:moveTo>
                <a:lnTo>
                  <a:pt x="3666" y="1230"/>
                </a:lnTo>
                <a:lnTo>
                  <a:pt x="3660" y="1240"/>
                </a:lnTo>
                <a:lnTo>
                  <a:pt x="3656" y="1250"/>
                </a:lnTo>
                <a:lnTo>
                  <a:pt x="3656" y="1258"/>
                </a:lnTo>
                <a:lnTo>
                  <a:pt x="3658" y="1266"/>
                </a:lnTo>
                <a:lnTo>
                  <a:pt x="3664" y="1272"/>
                </a:lnTo>
                <a:lnTo>
                  <a:pt x="3674" y="1278"/>
                </a:lnTo>
                <a:lnTo>
                  <a:pt x="3690" y="1280"/>
                </a:lnTo>
                <a:lnTo>
                  <a:pt x="3710" y="1280"/>
                </a:lnTo>
                <a:lnTo>
                  <a:pt x="3730" y="1278"/>
                </a:lnTo>
                <a:lnTo>
                  <a:pt x="3742" y="1274"/>
                </a:lnTo>
                <a:lnTo>
                  <a:pt x="3748" y="1268"/>
                </a:lnTo>
                <a:lnTo>
                  <a:pt x="3750" y="1262"/>
                </a:lnTo>
                <a:lnTo>
                  <a:pt x="3750" y="1252"/>
                </a:lnTo>
                <a:lnTo>
                  <a:pt x="3748" y="1244"/>
                </a:lnTo>
                <a:lnTo>
                  <a:pt x="3746" y="1234"/>
                </a:lnTo>
                <a:lnTo>
                  <a:pt x="3748" y="1226"/>
                </a:lnTo>
                <a:lnTo>
                  <a:pt x="3748" y="1220"/>
                </a:lnTo>
                <a:lnTo>
                  <a:pt x="3746" y="1216"/>
                </a:lnTo>
                <a:lnTo>
                  <a:pt x="3744" y="1212"/>
                </a:lnTo>
                <a:lnTo>
                  <a:pt x="3740" y="1210"/>
                </a:lnTo>
                <a:lnTo>
                  <a:pt x="3730" y="1206"/>
                </a:lnTo>
                <a:lnTo>
                  <a:pt x="3716" y="1204"/>
                </a:lnTo>
                <a:lnTo>
                  <a:pt x="3702" y="1204"/>
                </a:lnTo>
                <a:lnTo>
                  <a:pt x="3688" y="1208"/>
                </a:lnTo>
                <a:lnTo>
                  <a:pt x="3676" y="1218"/>
                </a:lnTo>
                <a:lnTo>
                  <a:pt x="3670" y="1222"/>
                </a:lnTo>
                <a:lnTo>
                  <a:pt x="3666" y="1230"/>
                </a:lnTo>
                <a:close/>
                <a:moveTo>
                  <a:pt x="3526" y="1508"/>
                </a:moveTo>
                <a:lnTo>
                  <a:pt x="3526" y="1508"/>
                </a:lnTo>
                <a:lnTo>
                  <a:pt x="3516" y="1498"/>
                </a:lnTo>
                <a:lnTo>
                  <a:pt x="3512" y="1496"/>
                </a:lnTo>
                <a:lnTo>
                  <a:pt x="3510" y="1498"/>
                </a:lnTo>
                <a:lnTo>
                  <a:pt x="3504" y="1500"/>
                </a:lnTo>
                <a:lnTo>
                  <a:pt x="3498" y="1502"/>
                </a:lnTo>
                <a:lnTo>
                  <a:pt x="3490" y="1500"/>
                </a:lnTo>
                <a:lnTo>
                  <a:pt x="3484" y="1496"/>
                </a:lnTo>
                <a:lnTo>
                  <a:pt x="3478" y="1490"/>
                </a:lnTo>
                <a:lnTo>
                  <a:pt x="3474" y="1478"/>
                </a:lnTo>
                <a:lnTo>
                  <a:pt x="3472" y="1470"/>
                </a:lnTo>
                <a:lnTo>
                  <a:pt x="3466" y="1464"/>
                </a:lnTo>
                <a:lnTo>
                  <a:pt x="3458" y="1458"/>
                </a:lnTo>
                <a:lnTo>
                  <a:pt x="3446" y="1452"/>
                </a:lnTo>
                <a:lnTo>
                  <a:pt x="3432" y="1446"/>
                </a:lnTo>
                <a:lnTo>
                  <a:pt x="3418" y="1438"/>
                </a:lnTo>
                <a:lnTo>
                  <a:pt x="3396" y="1420"/>
                </a:lnTo>
                <a:lnTo>
                  <a:pt x="3386" y="1414"/>
                </a:lnTo>
                <a:lnTo>
                  <a:pt x="3376" y="1408"/>
                </a:lnTo>
                <a:lnTo>
                  <a:pt x="3368" y="1408"/>
                </a:lnTo>
                <a:lnTo>
                  <a:pt x="3364" y="1408"/>
                </a:lnTo>
                <a:lnTo>
                  <a:pt x="3362" y="1412"/>
                </a:lnTo>
                <a:lnTo>
                  <a:pt x="3358" y="1414"/>
                </a:lnTo>
                <a:lnTo>
                  <a:pt x="3356" y="1416"/>
                </a:lnTo>
                <a:lnTo>
                  <a:pt x="3352" y="1414"/>
                </a:lnTo>
                <a:lnTo>
                  <a:pt x="3350" y="1414"/>
                </a:lnTo>
                <a:lnTo>
                  <a:pt x="3346" y="1408"/>
                </a:lnTo>
                <a:lnTo>
                  <a:pt x="3340" y="1400"/>
                </a:lnTo>
                <a:lnTo>
                  <a:pt x="3336" y="1390"/>
                </a:lnTo>
                <a:lnTo>
                  <a:pt x="3330" y="1382"/>
                </a:lnTo>
                <a:lnTo>
                  <a:pt x="3324" y="1378"/>
                </a:lnTo>
                <a:lnTo>
                  <a:pt x="3320" y="1376"/>
                </a:lnTo>
                <a:lnTo>
                  <a:pt x="3316" y="1376"/>
                </a:lnTo>
                <a:lnTo>
                  <a:pt x="3312" y="1378"/>
                </a:lnTo>
                <a:lnTo>
                  <a:pt x="3308" y="1380"/>
                </a:lnTo>
                <a:lnTo>
                  <a:pt x="3302" y="1390"/>
                </a:lnTo>
                <a:lnTo>
                  <a:pt x="3296" y="1402"/>
                </a:lnTo>
                <a:lnTo>
                  <a:pt x="3292" y="1416"/>
                </a:lnTo>
                <a:lnTo>
                  <a:pt x="3290" y="1434"/>
                </a:lnTo>
                <a:lnTo>
                  <a:pt x="3288" y="1450"/>
                </a:lnTo>
                <a:lnTo>
                  <a:pt x="3290" y="1466"/>
                </a:lnTo>
                <a:lnTo>
                  <a:pt x="3292" y="1480"/>
                </a:lnTo>
                <a:lnTo>
                  <a:pt x="3292" y="1488"/>
                </a:lnTo>
                <a:lnTo>
                  <a:pt x="3292" y="1492"/>
                </a:lnTo>
                <a:lnTo>
                  <a:pt x="3290" y="1496"/>
                </a:lnTo>
                <a:lnTo>
                  <a:pt x="3288" y="1500"/>
                </a:lnTo>
                <a:lnTo>
                  <a:pt x="3282" y="1506"/>
                </a:lnTo>
                <a:lnTo>
                  <a:pt x="3272" y="1510"/>
                </a:lnTo>
                <a:lnTo>
                  <a:pt x="3264" y="1514"/>
                </a:lnTo>
                <a:lnTo>
                  <a:pt x="3258" y="1518"/>
                </a:lnTo>
                <a:lnTo>
                  <a:pt x="3256" y="1522"/>
                </a:lnTo>
                <a:lnTo>
                  <a:pt x="3256" y="1524"/>
                </a:lnTo>
                <a:lnTo>
                  <a:pt x="3256" y="1528"/>
                </a:lnTo>
                <a:lnTo>
                  <a:pt x="3258" y="1534"/>
                </a:lnTo>
                <a:lnTo>
                  <a:pt x="3260" y="1536"/>
                </a:lnTo>
                <a:lnTo>
                  <a:pt x="3262" y="1536"/>
                </a:lnTo>
                <a:lnTo>
                  <a:pt x="3270" y="1536"/>
                </a:lnTo>
                <a:lnTo>
                  <a:pt x="3294" y="1532"/>
                </a:lnTo>
                <a:lnTo>
                  <a:pt x="3304" y="1530"/>
                </a:lnTo>
                <a:lnTo>
                  <a:pt x="3314" y="1530"/>
                </a:lnTo>
                <a:lnTo>
                  <a:pt x="3318" y="1532"/>
                </a:lnTo>
                <a:lnTo>
                  <a:pt x="3320" y="1534"/>
                </a:lnTo>
                <a:lnTo>
                  <a:pt x="3322" y="1536"/>
                </a:lnTo>
                <a:lnTo>
                  <a:pt x="3322" y="1542"/>
                </a:lnTo>
                <a:lnTo>
                  <a:pt x="3322" y="1550"/>
                </a:lnTo>
                <a:lnTo>
                  <a:pt x="3324" y="1558"/>
                </a:lnTo>
                <a:lnTo>
                  <a:pt x="3330" y="1562"/>
                </a:lnTo>
                <a:lnTo>
                  <a:pt x="3336" y="1566"/>
                </a:lnTo>
                <a:lnTo>
                  <a:pt x="3344" y="1566"/>
                </a:lnTo>
                <a:lnTo>
                  <a:pt x="3350" y="1564"/>
                </a:lnTo>
                <a:lnTo>
                  <a:pt x="3358" y="1560"/>
                </a:lnTo>
                <a:lnTo>
                  <a:pt x="3364" y="1550"/>
                </a:lnTo>
                <a:lnTo>
                  <a:pt x="3368" y="1542"/>
                </a:lnTo>
                <a:lnTo>
                  <a:pt x="3374" y="1538"/>
                </a:lnTo>
                <a:lnTo>
                  <a:pt x="3378" y="1534"/>
                </a:lnTo>
                <a:lnTo>
                  <a:pt x="3384" y="1534"/>
                </a:lnTo>
                <a:lnTo>
                  <a:pt x="3388" y="1534"/>
                </a:lnTo>
                <a:lnTo>
                  <a:pt x="3392" y="1530"/>
                </a:lnTo>
                <a:lnTo>
                  <a:pt x="3396" y="1526"/>
                </a:lnTo>
                <a:lnTo>
                  <a:pt x="3400" y="1518"/>
                </a:lnTo>
                <a:lnTo>
                  <a:pt x="3404" y="1508"/>
                </a:lnTo>
                <a:lnTo>
                  <a:pt x="3410" y="1502"/>
                </a:lnTo>
                <a:lnTo>
                  <a:pt x="3416" y="1500"/>
                </a:lnTo>
                <a:lnTo>
                  <a:pt x="3424" y="1500"/>
                </a:lnTo>
                <a:lnTo>
                  <a:pt x="3432" y="1502"/>
                </a:lnTo>
                <a:lnTo>
                  <a:pt x="3438" y="1506"/>
                </a:lnTo>
                <a:lnTo>
                  <a:pt x="3444" y="1512"/>
                </a:lnTo>
                <a:lnTo>
                  <a:pt x="3446" y="1518"/>
                </a:lnTo>
                <a:lnTo>
                  <a:pt x="3448" y="1524"/>
                </a:lnTo>
                <a:lnTo>
                  <a:pt x="3450" y="1528"/>
                </a:lnTo>
                <a:lnTo>
                  <a:pt x="3452" y="1530"/>
                </a:lnTo>
                <a:lnTo>
                  <a:pt x="3456" y="1530"/>
                </a:lnTo>
                <a:lnTo>
                  <a:pt x="3468" y="1532"/>
                </a:lnTo>
                <a:lnTo>
                  <a:pt x="3488" y="1534"/>
                </a:lnTo>
                <a:lnTo>
                  <a:pt x="3498" y="1536"/>
                </a:lnTo>
                <a:lnTo>
                  <a:pt x="3508" y="1538"/>
                </a:lnTo>
                <a:lnTo>
                  <a:pt x="3518" y="1536"/>
                </a:lnTo>
                <a:lnTo>
                  <a:pt x="3526" y="1534"/>
                </a:lnTo>
                <a:lnTo>
                  <a:pt x="3532" y="1528"/>
                </a:lnTo>
                <a:lnTo>
                  <a:pt x="3534" y="1522"/>
                </a:lnTo>
                <a:lnTo>
                  <a:pt x="3532" y="1516"/>
                </a:lnTo>
                <a:lnTo>
                  <a:pt x="3526" y="1508"/>
                </a:lnTo>
                <a:close/>
                <a:moveTo>
                  <a:pt x="3466" y="1576"/>
                </a:moveTo>
                <a:lnTo>
                  <a:pt x="3466" y="1576"/>
                </a:lnTo>
                <a:lnTo>
                  <a:pt x="3462" y="1574"/>
                </a:lnTo>
                <a:lnTo>
                  <a:pt x="3456" y="1572"/>
                </a:lnTo>
                <a:lnTo>
                  <a:pt x="3442" y="1574"/>
                </a:lnTo>
                <a:lnTo>
                  <a:pt x="3428" y="1578"/>
                </a:lnTo>
                <a:lnTo>
                  <a:pt x="3412" y="1584"/>
                </a:lnTo>
                <a:lnTo>
                  <a:pt x="3400" y="1594"/>
                </a:lnTo>
                <a:lnTo>
                  <a:pt x="3392" y="1604"/>
                </a:lnTo>
                <a:lnTo>
                  <a:pt x="3390" y="1608"/>
                </a:lnTo>
                <a:lnTo>
                  <a:pt x="3388" y="1614"/>
                </a:lnTo>
                <a:lnTo>
                  <a:pt x="3390" y="1620"/>
                </a:lnTo>
                <a:lnTo>
                  <a:pt x="3394" y="1624"/>
                </a:lnTo>
                <a:lnTo>
                  <a:pt x="3398" y="1628"/>
                </a:lnTo>
                <a:lnTo>
                  <a:pt x="3404" y="1630"/>
                </a:lnTo>
                <a:lnTo>
                  <a:pt x="3410" y="1630"/>
                </a:lnTo>
                <a:lnTo>
                  <a:pt x="3416" y="1628"/>
                </a:lnTo>
                <a:lnTo>
                  <a:pt x="3432" y="1622"/>
                </a:lnTo>
                <a:lnTo>
                  <a:pt x="3446" y="1614"/>
                </a:lnTo>
                <a:lnTo>
                  <a:pt x="3458" y="1602"/>
                </a:lnTo>
                <a:lnTo>
                  <a:pt x="3466" y="1592"/>
                </a:lnTo>
                <a:lnTo>
                  <a:pt x="3468" y="1586"/>
                </a:lnTo>
                <a:lnTo>
                  <a:pt x="3470" y="1582"/>
                </a:lnTo>
                <a:lnTo>
                  <a:pt x="3468" y="1578"/>
                </a:lnTo>
                <a:lnTo>
                  <a:pt x="3466" y="1576"/>
                </a:lnTo>
                <a:close/>
                <a:moveTo>
                  <a:pt x="3512" y="820"/>
                </a:moveTo>
                <a:lnTo>
                  <a:pt x="3512" y="820"/>
                </a:lnTo>
                <a:lnTo>
                  <a:pt x="3510" y="830"/>
                </a:lnTo>
                <a:lnTo>
                  <a:pt x="3512" y="836"/>
                </a:lnTo>
                <a:lnTo>
                  <a:pt x="3516" y="840"/>
                </a:lnTo>
                <a:lnTo>
                  <a:pt x="3528" y="844"/>
                </a:lnTo>
                <a:lnTo>
                  <a:pt x="3534" y="848"/>
                </a:lnTo>
                <a:lnTo>
                  <a:pt x="3536" y="850"/>
                </a:lnTo>
                <a:lnTo>
                  <a:pt x="3538" y="858"/>
                </a:lnTo>
                <a:lnTo>
                  <a:pt x="3538" y="862"/>
                </a:lnTo>
                <a:lnTo>
                  <a:pt x="3542" y="866"/>
                </a:lnTo>
                <a:lnTo>
                  <a:pt x="3546" y="872"/>
                </a:lnTo>
                <a:lnTo>
                  <a:pt x="3556" y="878"/>
                </a:lnTo>
                <a:lnTo>
                  <a:pt x="3568" y="882"/>
                </a:lnTo>
                <a:lnTo>
                  <a:pt x="3576" y="882"/>
                </a:lnTo>
                <a:lnTo>
                  <a:pt x="3582" y="880"/>
                </a:lnTo>
                <a:lnTo>
                  <a:pt x="3590" y="878"/>
                </a:lnTo>
                <a:lnTo>
                  <a:pt x="3604" y="872"/>
                </a:lnTo>
                <a:lnTo>
                  <a:pt x="3614" y="872"/>
                </a:lnTo>
                <a:lnTo>
                  <a:pt x="3628" y="872"/>
                </a:lnTo>
                <a:lnTo>
                  <a:pt x="3658" y="876"/>
                </a:lnTo>
                <a:lnTo>
                  <a:pt x="3686" y="876"/>
                </a:lnTo>
                <a:lnTo>
                  <a:pt x="3696" y="876"/>
                </a:lnTo>
                <a:lnTo>
                  <a:pt x="3702" y="872"/>
                </a:lnTo>
                <a:lnTo>
                  <a:pt x="3704" y="870"/>
                </a:lnTo>
                <a:lnTo>
                  <a:pt x="3704" y="868"/>
                </a:lnTo>
                <a:lnTo>
                  <a:pt x="3698" y="862"/>
                </a:lnTo>
                <a:lnTo>
                  <a:pt x="3684" y="846"/>
                </a:lnTo>
                <a:lnTo>
                  <a:pt x="3676" y="838"/>
                </a:lnTo>
                <a:lnTo>
                  <a:pt x="3666" y="830"/>
                </a:lnTo>
                <a:lnTo>
                  <a:pt x="3654" y="824"/>
                </a:lnTo>
                <a:lnTo>
                  <a:pt x="3642" y="818"/>
                </a:lnTo>
                <a:lnTo>
                  <a:pt x="3626" y="814"/>
                </a:lnTo>
                <a:lnTo>
                  <a:pt x="3606" y="814"/>
                </a:lnTo>
                <a:lnTo>
                  <a:pt x="3586" y="814"/>
                </a:lnTo>
                <a:lnTo>
                  <a:pt x="3568" y="812"/>
                </a:lnTo>
                <a:lnTo>
                  <a:pt x="3540" y="806"/>
                </a:lnTo>
                <a:lnTo>
                  <a:pt x="3528" y="806"/>
                </a:lnTo>
                <a:lnTo>
                  <a:pt x="3520" y="808"/>
                </a:lnTo>
                <a:lnTo>
                  <a:pt x="3518" y="808"/>
                </a:lnTo>
                <a:lnTo>
                  <a:pt x="3516" y="812"/>
                </a:lnTo>
                <a:lnTo>
                  <a:pt x="3512" y="820"/>
                </a:lnTo>
                <a:close/>
                <a:moveTo>
                  <a:pt x="3202" y="736"/>
                </a:moveTo>
                <a:lnTo>
                  <a:pt x="3202" y="736"/>
                </a:lnTo>
                <a:lnTo>
                  <a:pt x="3202" y="744"/>
                </a:lnTo>
                <a:lnTo>
                  <a:pt x="3202" y="748"/>
                </a:lnTo>
                <a:lnTo>
                  <a:pt x="3204" y="750"/>
                </a:lnTo>
                <a:lnTo>
                  <a:pt x="3212" y="752"/>
                </a:lnTo>
                <a:lnTo>
                  <a:pt x="3224" y="752"/>
                </a:lnTo>
                <a:lnTo>
                  <a:pt x="3266" y="752"/>
                </a:lnTo>
                <a:lnTo>
                  <a:pt x="3332" y="752"/>
                </a:lnTo>
                <a:lnTo>
                  <a:pt x="3366" y="750"/>
                </a:lnTo>
                <a:lnTo>
                  <a:pt x="3390" y="746"/>
                </a:lnTo>
                <a:lnTo>
                  <a:pt x="3406" y="740"/>
                </a:lnTo>
                <a:lnTo>
                  <a:pt x="3414" y="734"/>
                </a:lnTo>
                <a:lnTo>
                  <a:pt x="3420" y="730"/>
                </a:lnTo>
                <a:lnTo>
                  <a:pt x="3420" y="726"/>
                </a:lnTo>
                <a:lnTo>
                  <a:pt x="3422" y="726"/>
                </a:lnTo>
                <a:lnTo>
                  <a:pt x="3424" y="732"/>
                </a:lnTo>
                <a:lnTo>
                  <a:pt x="3426" y="736"/>
                </a:lnTo>
                <a:lnTo>
                  <a:pt x="3430" y="740"/>
                </a:lnTo>
                <a:lnTo>
                  <a:pt x="3444" y="746"/>
                </a:lnTo>
                <a:lnTo>
                  <a:pt x="3464" y="748"/>
                </a:lnTo>
                <a:lnTo>
                  <a:pt x="3486" y="750"/>
                </a:lnTo>
                <a:lnTo>
                  <a:pt x="3506" y="750"/>
                </a:lnTo>
                <a:lnTo>
                  <a:pt x="3524" y="746"/>
                </a:lnTo>
                <a:lnTo>
                  <a:pt x="3536" y="742"/>
                </a:lnTo>
                <a:lnTo>
                  <a:pt x="3540" y="738"/>
                </a:lnTo>
                <a:lnTo>
                  <a:pt x="3542" y="734"/>
                </a:lnTo>
                <a:lnTo>
                  <a:pt x="3544" y="728"/>
                </a:lnTo>
                <a:lnTo>
                  <a:pt x="3548" y="724"/>
                </a:lnTo>
                <a:lnTo>
                  <a:pt x="3554" y="722"/>
                </a:lnTo>
                <a:lnTo>
                  <a:pt x="3562" y="720"/>
                </a:lnTo>
                <a:lnTo>
                  <a:pt x="3566" y="718"/>
                </a:lnTo>
                <a:lnTo>
                  <a:pt x="3570" y="716"/>
                </a:lnTo>
                <a:lnTo>
                  <a:pt x="3568" y="714"/>
                </a:lnTo>
                <a:lnTo>
                  <a:pt x="3560" y="710"/>
                </a:lnTo>
                <a:lnTo>
                  <a:pt x="3554" y="706"/>
                </a:lnTo>
                <a:lnTo>
                  <a:pt x="3552" y="704"/>
                </a:lnTo>
                <a:lnTo>
                  <a:pt x="3552" y="700"/>
                </a:lnTo>
                <a:lnTo>
                  <a:pt x="3556" y="698"/>
                </a:lnTo>
                <a:lnTo>
                  <a:pt x="3560" y="694"/>
                </a:lnTo>
                <a:lnTo>
                  <a:pt x="3562" y="688"/>
                </a:lnTo>
                <a:lnTo>
                  <a:pt x="3564" y="682"/>
                </a:lnTo>
                <a:lnTo>
                  <a:pt x="3560" y="674"/>
                </a:lnTo>
                <a:lnTo>
                  <a:pt x="3554" y="668"/>
                </a:lnTo>
                <a:lnTo>
                  <a:pt x="3548" y="664"/>
                </a:lnTo>
                <a:lnTo>
                  <a:pt x="3540" y="660"/>
                </a:lnTo>
                <a:lnTo>
                  <a:pt x="3532" y="660"/>
                </a:lnTo>
                <a:lnTo>
                  <a:pt x="3516" y="658"/>
                </a:lnTo>
                <a:lnTo>
                  <a:pt x="3508" y="656"/>
                </a:lnTo>
                <a:lnTo>
                  <a:pt x="3502" y="652"/>
                </a:lnTo>
                <a:lnTo>
                  <a:pt x="3496" y="648"/>
                </a:lnTo>
                <a:lnTo>
                  <a:pt x="3486" y="646"/>
                </a:lnTo>
                <a:lnTo>
                  <a:pt x="3474" y="644"/>
                </a:lnTo>
                <a:lnTo>
                  <a:pt x="3460" y="644"/>
                </a:lnTo>
                <a:lnTo>
                  <a:pt x="3420" y="648"/>
                </a:lnTo>
                <a:lnTo>
                  <a:pt x="3366" y="654"/>
                </a:lnTo>
                <a:lnTo>
                  <a:pt x="3340" y="658"/>
                </a:lnTo>
                <a:lnTo>
                  <a:pt x="3324" y="664"/>
                </a:lnTo>
                <a:lnTo>
                  <a:pt x="3314" y="668"/>
                </a:lnTo>
                <a:lnTo>
                  <a:pt x="3308" y="672"/>
                </a:lnTo>
                <a:lnTo>
                  <a:pt x="3302" y="676"/>
                </a:lnTo>
                <a:lnTo>
                  <a:pt x="3298" y="678"/>
                </a:lnTo>
                <a:lnTo>
                  <a:pt x="3290" y="676"/>
                </a:lnTo>
                <a:lnTo>
                  <a:pt x="3276" y="672"/>
                </a:lnTo>
                <a:lnTo>
                  <a:pt x="3262" y="668"/>
                </a:lnTo>
                <a:lnTo>
                  <a:pt x="3250" y="666"/>
                </a:lnTo>
                <a:lnTo>
                  <a:pt x="3242" y="668"/>
                </a:lnTo>
                <a:lnTo>
                  <a:pt x="3236" y="670"/>
                </a:lnTo>
                <a:lnTo>
                  <a:pt x="3228" y="672"/>
                </a:lnTo>
                <a:lnTo>
                  <a:pt x="3222" y="672"/>
                </a:lnTo>
                <a:lnTo>
                  <a:pt x="3216" y="670"/>
                </a:lnTo>
                <a:lnTo>
                  <a:pt x="3206" y="664"/>
                </a:lnTo>
                <a:lnTo>
                  <a:pt x="3198" y="658"/>
                </a:lnTo>
                <a:lnTo>
                  <a:pt x="3194" y="658"/>
                </a:lnTo>
                <a:lnTo>
                  <a:pt x="3190" y="660"/>
                </a:lnTo>
                <a:lnTo>
                  <a:pt x="3190" y="664"/>
                </a:lnTo>
                <a:lnTo>
                  <a:pt x="3188" y="668"/>
                </a:lnTo>
                <a:lnTo>
                  <a:pt x="3186" y="672"/>
                </a:lnTo>
                <a:lnTo>
                  <a:pt x="3184" y="674"/>
                </a:lnTo>
                <a:lnTo>
                  <a:pt x="3178" y="672"/>
                </a:lnTo>
                <a:lnTo>
                  <a:pt x="3172" y="668"/>
                </a:lnTo>
                <a:lnTo>
                  <a:pt x="3170" y="664"/>
                </a:lnTo>
                <a:lnTo>
                  <a:pt x="3170" y="662"/>
                </a:lnTo>
                <a:lnTo>
                  <a:pt x="3170" y="658"/>
                </a:lnTo>
                <a:lnTo>
                  <a:pt x="3172" y="654"/>
                </a:lnTo>
                <a:lnTo>
                  <a:pt x="3170" y="650"/>
                </a:lnTo>
                <a:lnTo>
                  <a:pt x="3168" y="646"/>
                </a:lnTo>
                <a:lnTo>
                  <a:pt x="3162" y="638"/>
                </a:lnTo>
                <a:lnTo>
                  <a:pt x="3154" y="634"/>
                </a:lnTo>
                <a:lnTo>
                  <a:pt x="3146" y="630"/>
                </a:lnTo>
                <a:lnTo>
                  <a:pt x="3142" y="630"/>
                </a:lnTo>
                <a:lnTo>
                  <a:pt x="3136" y="632"/>
                </a:lnTo>
                <a:lnTo>
                  <a:pt x="3128" y="634"/>
                </a:lnTo>
                <a:lnTo>
                  <a:pt x="3126" y="632"/>
                </a:lnTo>
                <a:lnTo>
                  <a:pt x="3124" y="628"/>
                </a:lnTo>
                <a:lnTo>
                  <a:pt x="3124" y="624"/>
                </a:lnTo>
                <a:lnTo>
                  <a:pt x="3124" y="622"/>
                </a:lnTo>
                <a:lnTo>
                  <a:pt x="3130" y="620"/>
                </a:lnTo>
                <a:lnTo>
                  <a:pt x="3150" y="622"/>
                </a:lnTo>
                <a:lnTo>
                  <a:pt x="3170" y="622"/>
                </a:lnTo>
                <a:lnTo>
                  <a:pt x="3176" y="620"/>
                </a:lnTo>
                <a:lnTo>
                  <a:pt x="3176" y="618"/>
                </a:lnTo>
                <a:lnTo>
                  <a:pt x="3176" y="616"/>
                </a:lnTo>
                <a:lnTo>
                  <a:pt x="3174" y="610"/>
                </a:lnTo>
                <a:lnTo>
                  <a:pt x="3170" y="608"/>
                </a:lnTo>
                <a:lnTo>
                  <a:pt x="3156" y="604"/>
                </a:lnTo>
                <a:lnTo>
                  <a:pt x="3138" y="602"/>
                </a:lnTo>
                <a:lnTo>
                  <a:pt x="3130" y="598"/>
                </a:lnTo>
                <a:lnTo>
                  <a:pt x="3120" y="594"/>
                </a:lnTo>
                <a:lnTo>
                  <a:pt x="3100" y="584"/>
                </a:lnTo>
                <a:lnTo>
                  <a:pt x="3092" y="582"/>
                </a:lnTo>
                <a:lnTo>
                  <a:pt x="3084" y="580"/>
                </a:lnTo>
                <a:lnTo>
                  <a:pt x="3066" y="580"/>
                </a:lnTo>
                <a:lnTo>
                  <a:pt x="3042" y="584"/>
                </a:lnTo>
                <a:lnTo>
                  <a:pt x="3030" y="586"/>
                </a:lnTo>
                <a:lnTo>
                  <a:pt x="3022" y="582"/>
                </a:lnTo>
                <a:lnTo>
                  <a:pt x="3014" y="578"/>
                </a:lnTo>
                <a:lnTo>
                  <a:pt x="3008" y="574"/>
                </a:lnTo>
                <a:lnTo>
                  <a:pt x="2996" y="562"/>
                </a:lnTo>
                <a:lnTo>
                  <a:pt x="2990" y="560"/>
                </a:lnTo>
                <a:lnTo>
                  <a:pt x="2984" y="558"/>
                </a:lnTo>
                <a:lnTo>
                  <a:pt x="2974" y="560"/>
                </a:lnTo>
                <a:lnTo>
                  <a:pt x="2964" y="558"/>
                </a:lnTo>
                <a:lnTo>
                  <a:pt x="2938" y="556"/>
                </a:lnTo>
                <a:lnTo>
                  <a:pt x="2908" y="552"/>
                </a:lnTo>
                <a:lnTo>
                  <a:pt x="2876" y="550"/>
                </a:lnTo>
                <a:lnTo>
                  <a:pt x="2870" y="550"/>
                </a:lnTo>
                <a:lnTo>
                  <a:pt x="2866" y="552"/>
                </a:lnTo>
                <a:lnTo>
                  <a:pt x="2862" y="554"/>
                </a:lnTo>
                <a:lnTo>
                  <a:pt x="2860" y="558"/>
                </a:lnTo>
                <a:lnTo>
                  <a:pt x="2862" y="562"/>
                </a:lnTo>
                <a:lnTo>
                  <a:pt x="2864" y="568"/>
                </a:lnTo>
                <a:lnTo>
                  <a:pt x="2870" y="574"/>
                </a:lnTo>
                <a:lnTo>
                  <a:pt x="2878" y="582"/>
                </a:lnTo>
                <a:lnTo>
                  <a:pt x="2888" y="588"/>
                </a:lnTo>
                <a:lnTo>
                  <a:pt x="2896" y="592"/>
                </a:lnTo>
                <a:lnTo>
                  <a:pt x="2910" y="598"/>
                </a:lnTo>
                <a:lnTo>
                  <a:pt x="2920" y="602"/>
                </a:lnTo>
                <a:lnTo>
                  <a:pt x="2922" y="604"/>
                </a:lnTo>
                <a:lnTo>
                  <a:pt x="2924" y="610"/>
                </a:lnTo>
                <a:lnTo>
                  <a:pt x="2926" y="614"/>
                </a:lnTo>
                <a:lnTo>
                  <a:pt x="2930" y="618"/>
                </a:lnTo>
                <a:lnTo>
                  <a:pt x="2938" y="620"/>
                </a:lnTo>
                <a:lnTo>
                  <a:pt x="2948" y="620"/>
                </a:lnTo>
                <a:lnTo>
                  <a:pt x="2972" y="616"/>
                </a:lnTo>
                <a:lnTo>
                  <a:pt x="3000" y="610"/>
                </a:lnTo>
                <a:lnTo>
                  <a:pt x="3012" y="608"/>
                </a:lnTo>
                <a:lnTo>
                  <a:pt x="3020" y="610"/>
                </a:lnTo>
                <a:lnTo>
                  <a:pt x="3026" y="612"/>
                </a:lnTo>
                <a:lnTo>
                  <a:pt x="3030" y="616"/>
                </a:lnTo>
                <a:lnTo>
                  <a:pt x="3040" y="626"/>
                </a:lnTo>
                <a:lnTo>
                  <a:pt x="3046" y="634"/>
                </a:lnTo>
                <a:lnTo>
                  <a:pt x="3054" y="640"/>
                </a:lnTo>
                <a:lnTo>
                  <a:pt x="3060" y="644"/>
                </a:lnTo>
                <a:lnTo>
                  <a:pt x="3062" y="648"/>
                </a:lnTo>
                <a:lnTo>
                  <a:pt x="3064" y="650"/>
                </a:lnTo>
                <a:lnTo>
                  <a:pt x="3064" y="654"/>
                </a:lnTo>
                <a:lnTo>
                  <a:pt x="3060" y="662"/>
                </a:lnTo>
                <a:lnTo>
                  <a:pt x="3056" y="670"/>
                </a:lnTo>
                <a:lnTo>
                  <a:pt x="3050" y="678"/>
                </a:lnTo>
                <a:lnTo>
                  <a:pt x="3046" y="684"/>
                </a:lnTo>
                <a:lnTo>
                  <a:pt x="3046" y="690"/>
                </a:lnTo>
                <a:lnTo>
                  <a:pt x="3046" y="692"/>
                </a:lnTo>
                <a:lnTo>
                  <a:pt x="3050" y="694"/>
                </a:lnTo>
                <a:lnTo>
                  <a:pt x="3056" y="698"/>
                </a:lnTo>
                <a:lnTo>
                  <a:pt x="3058" y="704"/>
                </a:lnTo>
                <a:lnTo>
                  <a:pt x="3060" y="714"/>
                </a:lnTo>
                <a:lnTo>
                  <a:pt x="3060" y="720"/>
                </a:lnTo>
                <a:lnTo>
                  <a:pt x="3062" y="724"/>
                </a:lnTo>
                <a:lnTo>
                  <a:pt x="3068" y="730"/>
                </a:lnTo>
                <a:lnTo>
                  <a:pt x="3076" y="736"/>
                </a:lnTo>
                <a:lnTo>
                  <a:pt x="3086" y="740"/>
                </a:lnTo>
                <a:lnTo>
                  <a:pt x="3092" y="740"/>
                </a:lnTo>
                <a:lnTo>
                  <a:pt x="3096" y="740"/>
                </a:lnTo>
                <a:lnTo>
                  <a:pt x="3100" y="738"/>
                </a:lnTo>
                <a:lnTo>
                  <a:pt x="3104" y="736"/>
                </a:lnTo>
                <a:lnTo>
                  <a:pt x="3110" y="736"/>
                </a:lnTo>
                <a:lnTo>
                  <a:pt x="3120" y="738"/>
                </a:lnTo>
                <a:lnTo>
                  <a:pt x="3134" y="744"/>
                </a:lnTo>
                <a:lnTo>
                  <a:pt x="3142" y="746"/>
                </a:lnTo>
                <a:lnTo>
                  <a:pt x="3150" y="748"/>
                </a:lnTo>
                <a:lnTo>
                  <a:pt x="3164" y="748"/>
                </a:lnTo>
                <a:lnTo>
                  <a:pt x="3176" y="744"/>
                </a:lnTo>
                <a:lnTo>
                  <a:pt x="3186" y="738"/>
                </a:lnTo>
                <a:lnTo>
                  <a:pt x="3200" y="730"/>
                </a:lnTo>
                <a:lnTo>
                  <a:pt x="3202" y="730"/>
                </a:lnTo>
                <a:lnTo>
                  <a:pt x="3202" y="736"/>
                </a:lnTo>
                <a:close/>
                <a:moveTo>
                  <a:pt x="2978" y="738"/>
                </a:moveTo>
                <a:lnTo>
                  <a:pt x="2978" y="738"/>
                </a:lnTo>
                <a:lnTo>
                  <a:pt x="2992" y="738"/>
                </a:lnTo>
                <a:lnTo>
                  <a:pt x="3004" y="734"/>
                </a:lnTo>
                <a:lnTo>
                  <a:pt x="3008" y="728"/>
                </a:lnTo>
                <a:lnTo>
                  <a:pt x="3010" y="720"/>
                </a:lnTo>
                <a:lnTo>
                  <a:pt x="3008" y="710"/>
                </a:lnTo>
                <a:lnTo>
                  <a:pt x="3004" y="700"/>
                </a:lnTo>
                <a:lnTo>
                  <a:pt x="2996" y="688"/>
                </a:lnTo>
                <a:lnTo>
                  <a:pt x="2986" y="678"/>
                </a:lnTo>
                <a:lnTo>
                  <a:pt x="2974" y="668"/>
                </a:lnTo>
                <a:lnTo>
                  <a:pt x="2964" y="664"/>
                </a:lnTo>
                <a:lnTo>
                  <a:pt x="2952" y="660"/>
                </a:lnTo>
                <a:lnTo>
                  <a:pt x="2940" y="662"/>
                </a:lnTo>
                <a:lnTo>
                  <a:pt x="2928" y="664"/>
                </a:lnTo>
                <a:lnTo>
                  <a:pt x="2918" y="670"/>
                </a:lnTo>
                <a:lnTo>
                  <a:pt x="2908" y="676"/>
                </a:lnTo>
                <a:lnTo>
                  <a:pt x="2898" y="684"/>
                </a:lnTo>
                <a:lnTo>
                  <a:pt x="2888" y="698"/>
                </a:lnTo>
                <a:lnTo>
                  <a:pt x="2884" y="704"/>
                </a:lnTo>
                <a:lnTo>
                  <a:pt x="2882" y="708"/>
                </a:lnTo>
                <a:lnTo>
                  <a:pt x="2884" y="714"/>
                </a:lnTo>
                <a:lnTo>
                  <a:pt x="2886" y="718"/>
                </a:lnTo>
                <a:lnTo>
                  <a:pt x="2894" y="720"/>
                </a:lnTo>
                <a:lnTo>
                  <a:pt x="2904" y="722"/>
                </a:lnTo>
                <a:lnTo>
                  <a:pt x="2914" y="724"/>
                </a:lnTo>
                <a:lnTo>
                  <a:pt x="2924" y="726"/>
                </a:lnTo>
                <a:lnTo>
                  <a:pt x="2936" y="732"/>
                </a:lnTo>
                <a:lnTo>
                  <a:pt x="2950" y="736"/>
                </a:lnTo>
                <a:lnTo>
                  <a:pt x="2962" y="738"/>
                </a:lnTo>
                <a:lnTo>
                  <a:pt x="2978" y="738"/>
                </a:lnTo>
                <a:close/>
                <a:moveTo>
                  <a:pt x="3076" y="866"/>
                </a:moveTo>
                <a:lnTo>
                  <a:pt x="3076" y="866"/>
                </a:lnTo>
                <a:lnTo>
                  <a:pt x="3086" y="852"/>
                </a:lnTo>
                <a:lnTo>
                  <a:pt x="3098" y="840"/>
                </a:lnTo>
                <a:lnTo>
                  <a:pt x="3118" y="818"/>
                </a:lnTo>
                <a:lnTo>
                  <a:pt x="3126" y="810"/>
                </a:lnTo>
                <a:lnTo>
                  <a:pt x="3128" y="806"/>
                </a:lnTo>
                <a:lnTo>
                  <a:pt x="3128" y="802"/>
                </a:lnTo>
                <a:lnTo>
                  <a:pt x="3128" y="798"/>
                </a:lnTo>
                <a:lnTo>
                  <a:pt x="3126" y="794"/>
                </a:lnTo>
                <a:lnTo>
                  <a:pt x="3122" y="792"/>
                </a:lnTo>
                <a:lnTo>
                  <a:pt x="3114" y="790"/>
                </a:lnTo>
                <a:lnTo>
                  <a:pt x="3102" y="786"/>
                </a:lnTo>
                <a:lnTo>
                  <a:pt x="3090" y="784"/>
                </a:lnTo>
                <a:lnTo>
                  <a:pt x="3084" y="786"/>
                </a:lnTo>
                <a:lnTo>
                  <a:pt x="3076" y="788"/>
                </a:lnTo>
                <a:lnTo>
                  <a:pt x="3066" y="790"/>
                </a:lnTo>
                <a:lnTo>
                  <a:pt x="3058" y="790"/>
                </a:lnTo>
                <a:lnTo>
                  <a:pt x="3050" y="786"/>
                </a:lnTo>
                <a:lnTo>
                  <a:pt x="3034" y="778"/>
                </a:lnTo>
                <a:lnTo>
                  <a:pt x="3026" y="776"/>
                </a:lnTo>
                <a:lnTo>
                  <a:pt x="3016" y="774"/>
                </a:lnTo>
                <a:lnTo>
                  <a:pt x="3006" y="772"/>
                </a:lnTo>
                <a:lnTo>
                  <a:pt x="2994" y="774"/>
                </a:lnTo>
                <a:lnTo>
                  <a:pt x="2958" y="780"/>
                </a:lnTo>
                <a:lnTo>
                  <a:pt x="2940" y="784"/>
                </a:lnTo>
                <a:lnTo>
                  <a:pt x="2932" y="788"/>
                </a:lnTo>
                <a:lnTo>
                  <a:pt x="2928" y="792"/>
                </a:lnTo>
                <a:lnTo>
                  <a:pt x="2928" y="796"/>
                </a:lnTo>
                <a:lnTo>
                  <a:pt x="2932" y="802"/>
                </a:lnTo>
                <a:lnTo>
                  <a:pt x="2932" y="804"/>
                </a:lnTo>
                <a:lnTo>
                  <a:pt x="2928" y="804"/>
                </a:lnTo>
                <a:lnTo>
                  <a:pt x="2918" y="804"/>
                </a:lnTo>
                <a:lnTo>
                  <a:pt x="2916" y="806"/>
                </a:lnTo>
                <a:lnTo>
                  <a:pt x="2914" y="808"/>
                </a:lnTo>
                <a:lnTo>
                  <a:pt x="2910" y="822"/>
                </a:lnTo>
                <a:lnTo>
                  <a:pt x="2910" y="846"/>
                </a:lnTo>
                <a:lnTo>
                  <a:pt x="2910" y="860"/>
                </a:lnTo>
                <a:lnTo>
                  <a:pt x="2912" y="872"/>
                </a:lnTo>
                <a:lnTo>
                  <a:pt x="2916" y="880"/>
                </a:lnTo>
                <a:lnTo>
                  <a:pt x="2920" y="888"/>
                </a:lnTo>
                <a:lnTo>
                  <a:pt x="2928" y="900"/>
                </a:lnTo>
                <a:lnTo>
                  <a:pt x="2930" y="906"/>
                </a:lnTo>
                <a:lnTo>
                  <a:pt x="2930" y="916"/>
                </a:lnTo>
                <a:lnTo>
                  <a:pt x="2930" y="924"/>
                </a:lnTo>
                <a:lnTo>
                  <a:pt x="2932" y="928"/>
                </a:lnTo>
                <a:lnTo>
                  <a:pt x="2936" y="930"/>
                </a:lnTo>
                <a:lnTo>
                  <a:pt x="2942" y="930"/>
                </a:lnTo>
                <a:lnTo>
                  <a:pt x="2956" y="928"/>
                </a:lnTo>
                <a:lnTo>
                  <a:pt x="2964" y="930"/>
                </a:lnTo>
                <a:lnTo>
                  <a:pt x="2974" y="934"/>
                </a:lnTo>
                <a:lnTo>
                  <a:pt x="2978" y="936"/>
                </a:lnTo>
                <a:lnTo>
                  <a:pt x="2980" y="934"/>
                </a:lnTo>
                <a:lnTo>
                  <a:pt x="2986" y="918"/>
                </a:lnTo>
                <a:lnTo>
                  <a:pt x="2988" y="914"/>
                </a:lnTo>
                <a:lnTo>
                  <a:pt x="2992" y="910"/>
                </a:lnTo>
                <a:lnTo>
                  <a:pt x="2998" y="908"/>
                </a:lnTo>
                <a:lnTo>
                  <a:pt x="3000" y="906"/>
                </a:lnTo>
                <a:lnTo>
                  <a:pt x="3002" y="902"/>
                </a:lnTo>
                <a:lnTo>
                  <a:pt x="3000" y="896"/>
                </a:lnTo>
                <a:lnTo>
                  <a:pt x="2996" y="888"/>
                </a:lnTo>
                <a:lnTo>
                  <a:pt x="2994" y="882"/>
                </a:lnTo>
                <a:lnTo>
                  <a:pt x="2994" y="880"/>
                </a:lnTo>
                <a:lnTo>
                  <a:pt x="2996" y="878"/>
                </a:lnTo>
                <a:lnTo>
                  <a:pt x="2998" y="876"/>
                </a:lnTo>
                <a:lnTo>
                  <a:pt x="3010" y="878"/>
                </a:lnTo>
                <a:lnTo>
                  <a:pt x="3022" y="880"/>
                </a:lnTo>
                <a:lnTo>
                  <a:pt x="3038" y="880"/>
                </a:lnTo>
                <a:lnTo>
                  <a:pt x="3052" y="880"/>
                </a:lnTo>
                <a:lnTo>
                  <a:pt x="3060" y="878"/>
                </a:lnTo>
                <a:lnTo>
                  <a:pt x="3066" y="876"/>
                </a:lnTo>
                <a:lnTo>
                  <a:pt x="3072" y="872"/>
                </a:lnTo>
                <a:lnTo>
                  <a:pt x="3076" y="866"/>
                </a:lnTo>
                <a:close/>
                <a:moveTo>
                  <a:pt x="2888" y="892"/>
                </a:moveTo>
                <a:lnTo>
                  <a:pt x="2888" y="892"/>
                </a:lnTo>
                <a:lnTo>
                  <a:pt x="2884" y="884"/>
                </a:lnTo>
                <a:lnTo>
                  <a:pt x="2880" y="882"/>
                </a:lnTo>
                <a:lnTo>
                  <a:pt x="2876" y="882"/>
                </a:lnTo>
                <a:lnTo>
                  <a:pt x="2872" y="884"/>
                </a:lnTo>
                <a:lnTo>
                  <a:pt x="2868" y="886"/>
                </a:lnTo>
                <a:lnTo>
                  <a:pt x="2864" y="888"/>
                </a:lnTo>
                <a:lnTo>
                  <a:pt x="2858" y="884"/>
                </a:lnTo>
                <a:lnTo>
                  <a:pt x="2852" y="876"/>
                </a:lnTo>
                <a:lnTo>
                  <a:pt x="2846" y="868"/>
                </a:lnTo>
                <a:lnTo>
                  <a:pt x="2838" y="862"/>
                </a:lnTo>
                <a:lnTo>
                  <a:pt x="2824" y="854"/>
                </a:lnTo>
                <a:lnTo>
                  <a:pt x="2820" y="850"/>
                </a:lnTo>
                <a:lnTo>
                  <a:pt x="2820" y="848"/>
                </a:lnTo>
                <a:lnTo>
                  <a:pt x="2826" y="846"/>
                </a:lnTo>
                <a:lnTo>
                  <a:pt x="2838" y="842"/>
                </a:lnTo>
                <a:lnTo>
                  <a:pt x="2850" y="838"/>
                </a:lnTo>
                <a:lnTo>
                  <a:pt x="2856" y="836"/>
                </a:lnTo>
                <a:lnTo>
                  <a:pt x="2856" y="832"/>
                </a:lnTo>
                <a:lnTo>
                  <a:pt x="2852" y="830"/>
                </a:lnTo>
                <a:lnTo>
                  <a:pt x="2848" y="828"/>
                </a:lnTo>
                <a:lnTo>
                  <a:pt x="2846" y="826"/>
                </a:lnTo>
                <a:lnTo>
                  <a:pt x="2846" y="822"/>
                </a:lnTo>
                <a:lnTo>
                  <a:pt x="2852" y="818"/>
                </a:lnTo>
                <a:lnTo>
                  <a:pt x="2860" y="814"/>
                </a:lnTo>
                <a:lnTo>
                  <a:pt x="2862" y="808"/>
                </a:lnTo>
                <a:lnTo>
                  <a:pt x="2862" y="804"/>
                </a:lnTo>
                <a:lnTo>
                  <a:pt x="2856" y="800"/>
                </a:lnTo>
                <a:lnTo>
                  <a:pt x="2848" y="798"/>
                </a:lnTo>
                <a:lnTo>
                  <a:pt x="2838" y="796"/>
                </a:lnTo>
                <a:lnTo>
                  <a:pt x="2824" y="798"/>
                </a:lnTo>
                <a:lnTo>
                  <a:pt x="2810" y="802"/>
                </a:lnTo>
                <a:lnTo>
                  <a:pt x="2796" y="806"/>
                </a:lnTo>
                <a:lnTo>
                  <a:pt x="2782" y="806"/>
                </a:lnTo>
                <a:lnTo>
                  <a:pt x="2770" y="804"/>
                </a:lnTo>
                <a:lnTo>
                  <a:pt x="2760" y="800"/>
                </a:lnTo>
                <a:lnTo>
                  <a:pt x="2750" y="796"/>
                </a:lnTo>
                <a:lnTo>
                  <a:pt x="2740" y="794"/>
                </a:lnTo>
                <a:lnTo>
                  <a:pt x="2728" y="794"/>
                </a:lnTo>
                <a:lnTo>
                  <a:pt x="2718" y="798"/>
                </a:lnTo>
                <a:lnTo>
                  <a:pt x="2694" y="808"/>
                </a:lnTo>
                <a:lnTo>
                  <a:pt x="2686" y="812"/>
                </a:lnTo>
                <a:lnTo>
                  <a:pt x="2680" y="818"/>
                </a:lnTo>
                <a:lnTo>
                  <a:pt x="2676" y="822"/>
                </a:lnTo>
                <a:lnTo>
                  <a:pt x="2678" y="826"/>
                </a:lnTo>
                <a:lnTo>
                  <a:pt x="2682" y="832"/>
                </a:lnTo>
                <a:lnTo>
                  <a:pt x="2694" y="838"/>
                </a:lnTo>
                <a:lnTo>
                  <a:pt x="2702" y="840"/>
                </a:lnTo>
                <a:lnTo>
                  <a:pt x="2712" y="846"/>
                </a:lnTo>
                <a:lnTo>
                  <a:pt x="2718" y="850"/>
                </a:lnTo>
                <a:lnTo>
                  <a:pt x="2724" y="856"/>
                </a:lnTo>
                <a:lnTo>
                  <a:pt x="2726" y="862"/>
                </a:lnTo>
                <a:lnTo>
                  <a:pt x="2724" y="866"/>
                </a:lnTo>
                <a:lnTo>
                  <a:pt x="2722" y="872"/>
                </a:lnTo>
                <a:lnTo>
                  <a:pt x="2716" y="876"/>
                </a:lnTo>
                <a:lnTo>
                  <a:pt x="2710" y="880"/>
                </a:lnTo>
                <a:lnTo>
                  <a:pt x="2704" y="882"/>
                </a:lnTo>
                <a:lnTo>
                  <a:pt x="2698" y="882"/>
                </a:lnTo>
                <a:lnTo>
                  <a:pt x="2688" y="880"/>
                </a:lnTo>
                <a:lnTo>
                  <a:pt x="2678" y="874"/>
                </a:lnTo>
                <a:lnTo>
                  <a:pt x="2668" y="866"/>
                </a:lnTo>
                <a:lnTo>
                  <a:pt x="2660" y="860"/>
                </a:lnTo>
                <a:lnTo>
                  <a:pt x="2650" y="856"/>
                </a:lnTo>
                <a:lnTo>
                  <a:pt x="2646" y="856"/>
                </a:lnTo>
                <a:lnTo>
                  <a:pt x="2642" y="858"/>
                </a:lnTo>
                <a:lnTo>
                  <a:pt x="2636" y="860"/>
                </a:lnTo>
                <a:lnTo>
                  <a:pt x="2632" y="864"/>
                </a:lnTo>
                <a:lnTo>
                  <a:pt x="2630" y="872"/>
                </a:lnTo>
                <a:lnTo>
                  <a:pt x="2632" y="880"/>
                </a:lnTo>
                <a:lnTo>
                  <a:pt x="2636" y="888"/>
                </a:lnTo>
                <a:lnTo>
                  <a:pt x="2646" y="896"/>
                </a:lnTo>
                <a:lnTo>
                  <a:pt x="2656" y="904"/>
                </a:lnTo>
                <a:lnTo>
                  <a:pt x="2672" y="912"/>
                </a:lnTo>
                <a:lnTo>
                  <a:pt x="2688" y="918"/>
                </a:lnTo>
                <a:lnTo>
                  <a:pt x="2704" y="924"/>
                </a:lnTo>
                <a:lnTo>
                  <a:pt x="2722" y="932"/>
                </a:lnTo>
                <a:lnTo>
                  <a:pt x="2734" y="940"/>
                </a:lnTo>
                <a:lnTo>
                  <a:pt x="2746" y="952"/>
                </a:lnTo>
                <a:lnTo>
                  <a:pt x="2756" y="962"/>
                </a:lnTo>
                <a:lnTo>
                  <a:pt x="2772" y="982"/>
                </a:lnTo>
                <a:lnTo>
                  <a:pt x="2782" y="988"/>
                </a:lnTo>
                <a:lnTo>
                  <a:pt x="2792" y="992"/>
                </a:lnTo>
                <a:lnTo>
                  <a:pt x="2800" y="992"/>
                </a:lnTo>
                <a:lnTo>
                  <a:pt x="2806" y="988"/>
                </a:lnTo>
                <a:lnTo>
                  <a:pt x="2810" y="984"/>
                </a:lnTo>
                <a:lnTo>
                  <a:pt x="2810" y="978"/>
                </a:lnTo>
                <a:lnTo>
                  <a:pt x="2812" y="972"/>
                </a:lnTo>
                <a:lnTo>
                  <a:pt x="2814" y="966"/>
                </a:lnTo>
                <a:lnTo>
                  <a:pt x="2816" y="964"/>
                </a:lnTo>
                <a:lnTo>
                  <a:pt x="2822" y="964"/>
                </a:lnTo>
                <a:lnTo>
                  <a:pt x="2830" y="966"/>
                </a:lnTo>
                <a:lnTo>
                  <a:pt x="2840" y="966"/>
                </a:lnTo>
                <a:lnTo>
                  <a:pt x="2850" y="964"/>
                </a:lnTo>
                <a:lnTo>
                  <a:pt x="2860" y="960"/>
                </a:lnTo>
                <a:lnTo>
                  <a:pt x="2868" y="956"/>
                </a:lnTo>
                <a:lnTo>
                  <a:pt x="2876" y="948"/>
                </a:lnTo>
                <a:lnTo>
                  <a:pt x="2880" y="940"/>
                </a:lnTo>
                <a:lnTo>
                  <a:pt x="2882" y="932"/>
                </a:lnTo>
                <a:lnTo>
                  <a:pt x="2882" y="922"/>
                </a:lnTo>
                <a:lnTo>
                  <a:pt x="2884" y="918"/>
                </a:lnTo>
                <a:lnTo>
                  <a:pt x="2888" y="910"/>
                </a:lnTo>
                <a:lnTo>
                  <a:pt x="2888" y="908"/>
                </a:lnTo>
                <a:lnTo>
                  <a:pt x="2890" y="904"/>
                </a:lnTo>
                <a:lnTo>
                  <a:pt x="2890" y="900"/>
                </a:lnTo>
                <a:lnTo>
                  <a:pt x="2888" y="892"/>
                </a:lnTo>
                <a:close/>
                <a:moveTo>
                  <a:pt x="2794" y="1126"/>
                </a:moveTo>
                <a:lnTo>
                  <a:pt x="2794" y="1126"/>
                </a:lnTo>
                <a:lnTo>
                  <a:pt x="2784" y="1136"/>
                </a:lnTo>
                <a:lnTo>
                  <a:pt x="2776" y="1142"/>
                </a:lnTo>
                <a:lnTo>
                  <a:pt x="2768" y="1146"/>
                </a:lnTo>
                <a:lnTo>
                  <a:pt x="2760" y="1148"/>
                </a:lnTo>
                <a:lnTo>
                  <a:pt x="2756" y="1150"/>
                </a:lnTo>
                <a:lnTo>
                  <a:pt x="2754" y="1152"/>
                </a:lnTo>
                <a:lnTo>
                  <a:pt x="2756" y="1154"/>
                </a:lnTo>
                <a:lnTo>
                  <a:pt x="2762" y="1162"/>
                </a:lnTo>
                <a:lnTo>
                  <a:pt x="2772" y="1168"/>
                </a:lnTo>
                <a:lnTo>
                  <a:pt x="2786" y="1172"/>
                </a:lnTo>
                <a:lnTo>
                  <a:pt x="2826" y="1180"/>
                </a:lnTo>
                <a:lnTo>
                  <a:pt x="2836" y="1182"/>
                </a:lnTo>
                <a:lnTo>
                  <a:pt x="2848" y="1186"/>
                </a:lnTo>
                <a:lnTo>
                  <a:pt x="2864" y="1194"/>
                </a:lnTo>
                <a:lnTo>
                  <a:pt x="2872" y="1196"/>
                </a:lnTo>
                <a:lnTo>
                  <a:pt x="2880" y="1196"/>
                </a:lnTo>
                <a:lnTo>
                  <a:pt x="2888" y="1194"/>
                </a:lnTo>
                <a:lnTo>
                  <a:pt x="2896" y="1190"/>
                </a:lnTo>
                <a:lnTo>
                  <a:pt x="2902" y="1184"/>
                </a:lnTo>
                <a:lnTo>
                  <a:pt x="2908" y="1182"/>
                </a:lnTo>
                <a:lnTo>
                  <a:pt x="2916" y="1180"/>
                </a:lnTo>
                <a:lnTo>
                  <a:pt x="2924" y="1180"/>
                </a:lnTo>
                <a:lnTo>
                  <a:pt x="2926" y="1176"/>
                </a:lnTo>
                <a:lnTo>
                  <a:pt x="2930" y="1172"/>
                </a:lnTo>
                <a:lnTo>
                  <a:pt x="2932" y="1166"/>
                </a:lnTo>
                <a:lnTo>
                  <a:pt x="2932" y="1164"/>
                </a:lnTo>
                <a:lnTo>
                  <a:pt x="2928" y="1164"/>
                </a:lnTo>
                <a:lnTo>
                  <a:pt x="2922" y="1164"/>
                </a:lnTo>
                <a:lnTo>
                  <a:pt x="2916" y="1162"/>
                </a:lnTo>
                <a:lnTo>
                  <a:pt x="2910" y="1158"/>
                </a:lnTo>
                <a:lnTo>
                  <a:pt x="2904" y="1150"/>
                </a:lnTo>
                <a:lnTo>
                  <a:pt x="2900" y="1142"/>
                </a:lnTo>
                <a:lnTo>
                  <a:pt x="2896" y="1138"/>
                </a:lnTo>
                <a:lnTo>
                  <a:pt x="2892" y="1136"/>
                </a:lnTo>
                <a:lnTo>
                  <a:pt x="2888" y="1134"/>
                </a:lnTo>
                <a:lnTo>
                  <a:pt x="2876" y="1130"/>
                </a:lnTo>
                <a:lnTo>
                  <a:pt x="2868" y="1124"/>
                </a:lnTo>
                <a:lnTo>
                  <a:pt x="2858" y="1114"/>
                </a:lnTo>
                <a:lnTo>
                  <a:pt x="2848" y="1102"/>
                </a:lnTo>
                <a:lnTo>
                  <a:pt x="2838" y="1096"/>
                </a:lnTo>
                <a:lnTo>
                  <a:pt x="2830" y="1094"/>
                </a:lnTo>
                <a:lnTo>
                  <a:pt x="2822" y="1094"/>
                </a:lnTo>
                <a:lnTo>
                  <a:pt x="2816" y="1098"/>
                </a:lnTo>
                <a:lnTo>
                  <a:pt x="2808" y="1104"/>
                </a:lnTo>
                <a:lnTo>
                  <a:pt x="2794" y="1126"/>
                </a:lnTo>
                <a:close/>
                <a:moveTo>
                  <a:pt x="2544" y="400"/>
                </a:moveTo>
                <a:lnTo>
                  <a:pt x="2544" y="400"/>
                </a:lnTo>
                <a:lnTo>
                  <a:pt x="2544" y="408"/>
                </a:lnTo>
                <a:lnTo>
                  <a:pt x="2546" y="410"/>
                </a:lnTo>
                <a:lnTo>
                  <a:pt x="2550" y="408"/>
                </a:lnTo>
                <a:lnTo>
                  <a:pt x="2554" y="406"/>
                </a:lnTo>
                <a:lnTo>
                  <a:pt x="2560" y="404"/>
                </a:lnTo>
                <a:lnTo>
                  <a:pt x="2566" y="402"/>
                </a:lnTo>
                <a:lnTo>
                  <a:pt x="2572" y="406"/>
                </a:lnTo>
                <a:lnTo>
                  <a:pt x="2580" y="412"/>
                </a:lnTo>
                <a:lnTo>
                  <a:pt x="2586" y="422"/>
                </a:lnTo>
                <a:lnTo>
                  <a:pt x="2586" y="426"/>
                </a:lnTo>
                <a:lnTo>
                  <a:pt x="2582" y="428"/>
                </a:lnTo>
                <a:lnTo>
                  <a:pt x="2576" y="428"/>
                </a:lnTo>
                <a:lnTo>
                  <a:pt x="2558" y="428"/>
                </a:lnTo>
                <a:lnTo>
                  <a:pt x="2548" y="428"/>
                </a:lnTo>
                <a:lnTo>
                  <a:pt x="2540" y="430"/>
                </a:lnTo>
                <a:lnTo>
                  <a:pt x="2538" y="432"/>
                </a:lnTo>
                <a:lnTo>
                  <a:pt x="2538" y="436"/>
                </a:lnTo>
                <a:lnTo>
                  <a:pt x="2538" y="442"/>
                </a:lnTo>
                <a:lnTo>
                  <a:pt x="2542" y="446"/>
                </a:lnTo>
                <a:lnTo>
                  <a:pt x="2550" y="450"/>
                </a:lnTo>
                <a:lnTo>
                  <a:pt x="2560" y="452"/>
                </a:lnTo>
                <a:lnTo>
                  <a:pt x="2574" y="450"/>
                </a:lnTo>
                <a:lnTo>
                  <a:pt x="2592" y="446"/>
                </a:lnTo>
                <a:lnTo>
                  <a:pt x="2612" y="442"/>
                </a:lnTo>
                <a:lnTo>
                  <a:pt x="2622" y="440"/>
                </a:lnTo>
                <a:lnTo>
                  <a:pt x="2628" y="442"/>
                </a:lnTo>
                <a:lnTo>
                  <a:pt x="2628" y="444"/>
                </a:lnTo>
                <a:lnTo>
                  <a:pt x="2630" y="448"/>
                </a:lnTo>
                <a:lnTo>
                  <a:pt x="2634" y="450"/>
                </a:lnTo>
                <a:lnTo>
                  <a:pt x="2644" y="452"/>
                </a:lnTo>
                <a:lnTo>
                  <a:pt x="2660" y="450"/>
                </a:lnTo>
                <a:lnTo>
                  <a:pt x="2670" y="450"/>
                </a:lnTo>
                <a:lnTo>
                  <a:pt x="2678" y="450"/>
                </a:lnTo>
                <a:lnTo>
                  <a:pt x="2684" y="452"/>
                </a:lnTo>
                <a:lnTo>
                  <a:pt x="2688" y="454"/>
                </a:lnTo>
                <a:lnTo>
                  <a:pt x="2696" y="462"/>
                </a:lnTo>
                <a:lnTo>
                  <a:pt x="2700" y="470"/>
                </a:lnTo>
                <a:lnTo>
                  <a:pt x="2708" y="478"/>
                </a:lnTo>
                <a:lnTo>
                  <a:pt x="2712" y="482"/>
                </a:lnTo>
                <a:lnTo>
                  <a:pt x="2718" y="486"/>
                </a:lnTo>
                <a:lnTo>
                  <a:pt x="2724" y="488"/>
                </a:lnTo>
                <a:lnTo>
                  <a:pt x="2734" y="490"/>
                </a:lnTo>
                <a:lnTo>
                  <a:pt x="2746" y="490"/>
                </a:lnTo>
                <a:lnTo>
                  <a:pt x="2758" y="488"/>
                </a:lnTo>
                <a:lnTo>
                  <a:pt x="2768" y="486"/>
                </a:lnTo>
                <a:lnTo>
                  <a:pt x="2776" y="484"/>
                </a:lnTo>
                <a:lnTo>
                  <a:pt x="2780" y="480"/>
                </a:lnTo>
                <a:lnTo>
                  <a:pt x="2782" y="478"/>
                </a:lnTo>
                <a:lnTo>
                  <a:pt x="2780" y="474"/>
                </a:lnTo>
                <a:lnTo>
                  <a:pt x="2778" y="470"/>
                </a:lnTo>
                <a:lnTo>
                  <a:pt x="2772" y="462"/>
                </a:lnTo>
                <a:lnTo>
                  <a:pt x="2754" y="446"/>
                </a:lnTo>
                <a:lnTo>
                  <a:pt x="2750" y="442"/>
                </a:lnTo>
                <a:lnTo>
                  <a:pt x="2750" y="440"/>
                </a:lnTo>
                <a:lnTo>
                  <a:pt x="2752" y="438"/>
                </a:lnTo>
                <a:lnTo>
                  <a:pt x="2758" y="436"/>
                </a:lnTo>
                <a:lnTo>
                  <a:pt x="2762" y="432"/>
                </a:lnTo>
                <a:lnTo>
                  <a:pt x="2762" y="428"/>
                </a:lnTo>
                <a:lnTo>
                  <a:pt x="2762" y="422"/>
                </a:lnTo>
                <a:lnTo>
                  <a:pt x="2756" y="418"/>
                </a:lnTo>
                <a:lnTo>
                  <a:pt x="2750" y="414"/>
                </a:lnTo>
                <a:lnTo>
                  <a:pt x="2738" y="410"/>
                </a:lnTo>
                <a:lnTo>
                  <a:pt x="2724" y="408"/>
                </a:lnTo>
                <a:lnTo>
                  <a:pt x="2704" y="404"/>
                </a:lnTo>
                <a:lnTo>
                  <a:pt x="2702" y="402"/>
                </a:lnTo>
                <a:lnTo>
                  <a:pt x="2700" y="400"/>
                </a:lnTo>
                <a:lnTo>
                  <a:pt x="2698" y="398"/>
                </a:lnTo>
                <a:lnTo>
                  <a:pt x="2696" y="396"/>
                </a:lnTo>
                <a:lnTo>
                  <a:pt x="2690" y="392"/>
                </a:lnTo>
                <a:lnTo>
                  <a:pt x="2678" y="388"/>
                </a:lnTo>
                <a:lnTo>
                  <a:pt x="2664" y="384"/>
                </a:lnTo>
                <a:lnTo>
                  <a:pt x="2656" y="384"/>
                </a:lnTo>
                <a:lnTo>
                  <a:pt x="2648" y="388"/>
                </a:lnTo>
                <a:lnTo>
                  <a:pt x="2644" y="392"/>
                </a:lnTo>
                <a:lnTo>
                  <a:pt x="2642" y="394"/>
                </a:lnTo>
                <a:lnTo>
                  <a:pt x="2638" y="396"/>
                </a:lnTo>
                <a:lnTo>
                  <a:pt x="2636" y="394"/>
                </a:lnTo>
                <a:lnTo>
                  <a:pt x="2632" y="386"/>
                </a:lnTo>
                <a:lnTo>
                  <a:pt x="2630" y="382"/>
                </a:lnTo>
                <a:lnTo>
                  <a:pt x="2624" y="378"/>
                </a:lnTo>
                <a:lnTo>
                  <a:pt x="2610" y="370"/>
                </a:lnTo>
                <a:lnTo>
                  <a:pt x="2592" y="364"/>
                </a:lnTo>
                <a:lnTo>
                  <a:pt x="2574" y="360"/>
                </a:lnTo>
                <a:lnTo>
                  <a:pt x="2554" y="358"/>
                </a:lnTo>
                <a:lnTo>
                  <a:pt x="2536" y="360"/>
                </a:lnTo>
                <a:lnTo>
                  <a:pt x="2530" y="364"/>
                </a:lnTo>
                <a:lnTo>
                  <a:pt x="2524" y="366"/>
                </a:lnTo>
                <a:lnTo>
                  <a:pt x="2520" y="372"/>
                </a:lnTo>
                <a:lnTo>
                  <a:pt x="2516" y="378"/>
                </a:lnTo>
                <a:lnTo>
                  <a:pt x="2516" y="388"/>
                </a:lnTo>
                <a:lnTo>
                  <a:pt x="2516" y="390"/>
                </a:lnTo>
                <a:lnTo>
                  <a:pt x="2518" y="392"/>
                </a:lnTo>
                <a:lnTo>
                  <a:pt x="2522" y="392"/>
                </a:lnTo>
                <a:lnTo>
                  <a:pt x="2528" y="392"/>
                </a:lnTo>
                <a:lnTo>
                  <a:pt x="2534" y="390"/>
                </a:lnTo>
                <a:lnTo>
                  <a:pt x="2540" y="390"/>
                </a:lnTo>
                <a:lnTo>
                  <a:pt x="2544" y="392"/>
                </a:lnTo>
                <a:lnTo>
                  <a:pt x="2544" y="400"/>
                </a:lnTo>
                <a:close/>
                <a:moveTo>
                  <a:pt x="3116" y="190"/>
                </a:moveTo>
                <a:lnTo>
                  <a:pt x="3116" y="190"/>
                </a:lnTo>
                <a:lnTo>
                  <a:pt x="3124" y="194"/>
                </a:lnTo>
                <a:lnTo>
                  <a:pt x="3132" y="196"/>
                </a:lnTo>
                <a:lnTo>
                  <a:pt x="3146" y="194"/>
                </a:lnTo>
                <a:lnTo>
                  <a:pt x="3154" y="194"/>
                </a:lnTo>
                <a:lnTo>
                  <a:pt x="3152" y="196"/>
                </a:lnTo>
                <a:lnTo>
                  <a:pt x="3146" y="200"/>
                </a:lnTo>
                <a:lnTo>
                  <a:pt x="3140" y="206"/>
                </a:lnTo>
                <a:lnTo>
                  <a:pt x="3136" y="210"/>
                </a:lnTo>
                <a:lnTo>
                  <a:pt x="3134" y="216"/>
                </a:lnTo>
                <a:lnTo>
                  <a:pt x="3134" y="220"/>
                </a:lnTo>
                <a:lnTo>
                  <a:pt x="3138" y="226"/>
                </a:lnTo>
                <a:lnTo>
                  <a:pt x="3144" y="230"/>
                </a:lnTo>
                <a:lnTo>
                  <a:pt x="3154" y="234"/>
                </a:lnTo>
                <a:lnTo>
                  <a:pt x="3168" y="238"/>
                </a:lnTo>
                <a:lnTo>
                  <a:pt x="3182" y="242"/>
                </a:lnTo>
                <a:lnTo>
                  <a:pt x="3194" y="248"/>
                </a:lnTo>
                <a:lnTo>
                  <a:pt x="3216" y="256"/>
                </a:lnTo>
                <a:lnTo>
                  <a:pt x="3228" y="258"/>
                </a:lnTo>
                <a:lnTo>
                  <a:pt x="3240" y="258"/>
                </a:lnTo>
                <a:lnTo>
                  <a:pt x="3252" y="254"/>
                </a:lnTo>
                <a:lnTo>
                  <a:pt x="3264" y="246"/>
                </a:lnTo>
                <a:lnTo>
                  <a:pt x="3280" y="238"/>
                </a:lnTo>
                <a:lnTo>
                  <a:pt x="3294" y="232"/>
                </a:lnTo>
                <a:lnTo>
                  <a:pt x="3306" y="228"/>
                </a:lnTo>
                <a:lnTo>
                  <a:pt x="3318" y="226"/>
                </a:lnTo>
                <a:lnTo>
                  <a:pt x="3326" y="226"/>
                </a:lnTo>
                <a:lnTo>
                  <a:pt x="3330" y="226"/>
                </a:lnTo>
                <a:lnTo>
                  <a:pt x="3328" y="228"/>
                </a:lnTo>
                <a:lnTo>
                  <a:pt x="3322" y="230"/>
                </a:lnTo>
                <a:lnTo>
                  <a:pt x="3296" y="238"/>
                </a:lnTo>
                <a:lnTo>
                  <a:pt x="3286" y="244"/>
                </a:lnTo>
                <a:lnTo>
                  <a:pt x="3278" y="248"/>
                </a:lnTo>
                <a:lnTo>
                  <a:pt x="3276" y="252"/>
                </a:lnTo>
                <a:lnTo>
                  <a:pt x="3276" y="254"/>
                </a:lnTo>
                <a:lnTo>
                  <a:pt x="3276" y="256"/>
                </a:lnTo>
                <a:lnTo>
                  <a:pt x="3280" y="260"/>
                </a:lnTo>
                <a:lnTo>
                  <a:pt x="3296" y="264"/>
                </a:lnTo>
                <a:lnTo>
                  <a:pt x="3326" y="268"/>
                </a:lnTo>
                <a:lnTo>
                  <a:pt x="3356" y="268"/>
                </a:lnTo>
                <a:lnTo>
                  <a:pt x="3376" y="266"/>
                </a:lnTo>
                <a:lnTo>
                  <a:pt x="3390" y="264"/>
                </a:lnTo>
                <a:lnTo>
                  <a:pt x="3398" y="260"/>
                </a:lnTo>
                <a:lnTo>
                  <a:pt x="3406" y="254"/>
                </a:lnTo>
                <a:lnTo>
                  <a:pt x="3410" y="254"/>
                </a:lnTo>
                <a:lnTo>
                  <a:pt x="3418" y="256"/>
                </a:lnTo>
                <a:lnTo>
                  <a:pt x="3430" y="260"/>
                </a:lnTo>
                <a:lnTo>
                  <a:pt x="3446" y="262"/>
                </a:lnTo>
                <a:lnTo>
                  <a:pt x="3468" y="260"/>
                </a:lnTo>
                <a:lnTo>
                  <a:pt x="3490" y="256"/>
                </a:lnTo>
                <a:lnTo>
                  <a:pt x="3514" y="248"/>
                </a:lnTo>
                <a:lnTo>
                  <a:pt x="3540" y="240"/>
                </a:lnTo>
                <a:lnTo>
                  <a:pt x="3568" y="230"/>
                </a:lnTo>
                <a:lnTo>
                  <a:pt x="3592" y="216"/>
                </a:lnTo>
                <a:lnTo>
                  <a:pt x="3618" y="204"/>
                </a:lnTo>
                <a:lnTo>
                  <a:pt x="3618" y="206"/>
                </a:lnTo>
                <a:lnTo>
                  <a:pt x="3612" y="212"/>
                </a:lnTo>
                <a:lnTo>
                  <a:pt x="3608" y="220"/>
                </a:lnTo>
                <a:lnTo>
                  <a:pt x="3606" y="224"/>
                </a:lnTo>
                <a:lnTo>
                  <a:pt x="3606" y="226"/>
                </a:lnTo>
                <a:lnTo>
                  <a:pt x="3608" y="230"/>
                </a:lnTo>
                <a:lnTo>
                  <a:pt x="3612" y="232"/>
                </a:lnTo>
                <a:lnTo>
                  <a:pt x="3620" y="234"/>
                </a:lnTo>
                <a:lnTo>
                  <a:pt x="3630" y="236"/>
                </a:lnTo>
                <a:lnTo>
                  <a:pt x="3648" y="238"/>
                </a:lnTo>
                <a:lnTo>
                  <a:pt x="3656" y="238"/>
                </a:lnTo>
                <a:lnTo>
                  <a:pt x="3656" y="240"/>
                </a:lnTo>
                <a:lnTo>
                  <a:pt x="3654" y="240"/>
                </a:lnTo>
                <a:lnTo>
                  <a:pt x="3642" y="244"/>
                </a:lnTo>
                <a:lnTo>
                  <a:pt x="3596" y="252"/>
                </a:lnTo>
                <a:lnTo>
                  <a:pt x="3524" y="266"/>
                </a:lnTo>
                <a:lnTo>
                  <a:pt x="3460" y="278"/>
                </a:lnTo>
                <a:lnTo>
                  <a:pt x="3442" y="282"/>
                </a:lnTo>
                <a:lnTo>
                  <a:pt x="3434" y="284"/>
                </a:lnTo>
                <a:lnTo>
                  <a:pt x="3432" y="286"/>
                </a:lnTo>
                <a:lnTo>
                  <a:pt x="3430" y="288"/>
                </a:lnTo>
                <a:lnTo>
                  <a:pt x="3436" y="292"/>
                </a:lnTo>
                <a:lnTo>
                  <a:pt x="3458" y="308"/>
                </a:lnTo>
                <a:lnTo>
                  <a:pt x="3474" y="318"/>
                </a:lnTo>
                <a:lnTo>
                  <a:pt x="3490" y="326"/>
                </a:lnTo>
                <a:lnTo>
                  <a:pt x="3514" y="336"/>
                </a:lnTo>
                <a:lnTo>
                  <a:pt x="3522" y="340"/>
                </a:lnTo>
                <a:lnTo>
                  <a:pt x="3524" y="342"/>
                </a:lnTo>
                <a:lnTo>
                  <a:pt x="3520" y="344"/>
                </a:lnTo>
                <a:lnTo>
                  <a:pt x="3508" y="346"/>
                </a:lnTo>
                <a:lnTo>
                  <a:pt x="3494" y="348"/>
                </a:lnTo>
                <a:lnTo>
                  <a:pt x="3484" y="346"/>
                </a:lnTo>
                <a:lnTo>
                  <a:pt x="3474" y="342"/>
                </a:lnTo>
                <a:lnTo>
                  <a:pt x="3466" y="334"/>
                </a:lnTo>
                <a:lnTo>
                  <a:pt x="3452" y="318"/>
                </a:lnTo>
                <a:lnTo>
                  <a:pt x="3440" y="310"/>
                </a:lnTo>
                <a:lnTo>
                  <a:pt x="3428" y="304"/>
                </a:lnTo>
                <a:lnTo>
                  <a:pt x="3410" y="298"/>
                </a:lnTo>
                <a:lnTo>
                  <a:pt x="3388" y="292"/>
                </a:lnTo>
                <a:lnTo>
                  <a:pt x="3364" y="288"/>
                </a:lnTo>
                <a:lnTo>
                  <a:pt x="3340" y="284"/>
                </a:lnTo>
                <a:lnTo>
                  <a:pt x="3318" y="284"/>
                </a:lnTo>
                <a:lnTo>
                  <a:pt x="3300" y="286"/>
                </a:lnTo>
                <a:lnTo>
                  <a:pt x="3294" y="288"/>
                </a:lnTo>
                <a:lnTo>
                  <a:pt x="3288" y="290"/>
                </a:lnTo>
                <a:lnTo>
                  <a:pt x="3284" y="294"/>
                </a:lnTo>
                <a:lnTo>
                  <a:pt x="3282" y="298"/>
                </a:lnTo>
                <a:lnTo>
                  <a:pt x="3282" y="312"/>
                </a:lnTo>
                <a:lnTo>
                  <a:pt x="3284" y="316"/>
                </a:lnTo>
                <a:lnTo>
                  <a:pt x="3286" y="320"/>
                </a:lnTo>
                <a:lnTo>
                  <a:pt x="3300" y="326"/>
                </a:lnTo>
                <a:lnTo>
                  <a:pt x="3322" y="336"/>
                </a:lnTo>
                <a:lnTo>
                  <a:pt x="3336" y="342"/>
                </a:lnTo>
                <a:lnTo>
                  <a:pt x="3348" y="348"/>
                </a:lnTo>
                <a:lnTo>
                  <a:pt x="3366" y="362"/>
                </a:lnTo>
                <a:lnTo>
                  <a:pt x="3372" y="368"/>
                </a:lnTo>
                <a:lnTo>
                  <a:pt x="3376" y="374"/>
                </a:lnTo>
                <a:lnTo>
                  <a:pt x="3374" y="378"/>
                </a:lnTo>
                <a:lnTo>
                  <a:pt x="3370" y="380"/>
                </a:lnTo>
                <a:lnTo>
                  <a:pt x="3362" y="382"/>
                </a:lnTo>
                <a:lnTo>
                  <a:pt x="3358" y="384"/>
                </a:lnTo>
                <a:lnTo>
                  <a:pt x="3356" y="386"/>
                </a:lnTo>
                <a:lnTo>
                  <a:pt x="3358" y="390"/>
                </a:lnTo>
                <a:lnTo>
                  <a:pt x="3362" y="392"/>
                </a:lnTo>
                <a:lnTo>
                  <a:pt x="3370" y="394"/>
                </a:lnTo>
                <a:lnTo>
                  <a:pt x="3380" y="396"/>
                </a:lnTo>
                <a:lnTo>
                  <a:pt x="3394" y="398"/>
                </a:lnTo>
                <a:lnTo>
                  <a:pt x="3408" y="400"/>
                </a:lnTo>
                <a:lnTo>
                  <a:pt x="3420" y="402"/>
                </a:lnTo>
                <a:lnTo>
                  <a:pt x="3430" y="406"/>
                </a:lnTo>
                <a:lnTo>
                  <a:pt x="3434" y="408"/>
                </a:lnTo>
                <a:lnTo>
                  <a:pt x="3436" y="410"/>
                </a:lnTo>
                <a:lnTo>
                  <a:pt x="3434" y="412"/>
                </a:lnTo>
                <a:lnTo>
                  <a:pt x="3424" y="412"/>
                </a:lnTo>
                <a:lnTo>
                  <a:pt x="3412" y="410"/>
                </a:lnTo>
                <a:lnTo>
                  <a:pt x="3392" y="408"/>
                </a:lnTo>
                <a:lnTo>
                  <a:pt x="3370" y="408"/>
                </a:lnTo>
                <a:lnTo>
                  <a:pt x="3322" y="410"/>
                </a:lnTo>
                <a:lnTo>
                  <a:pt x="3300" y="412"/>
                </a:lnTo>
                <a:lnTo>
                  <a:pt x="3280" y="414"/>
                </a:lnTo>
                <a:lnTo>
                  <a:pt x="3264" y="420"/>
                </a:lnTo>
                <a:lnTo>
                  <a:pt x="3254" y="424"/>
                </a:lnTo>
                <a:lnTo>
                  <a:pt x="3250" y="430"/>
                </a:lnTo>
                <a:lnTo>
                  <a:pt x="3244" y="438"/>
                </a:lnTo>
                <a:lnTo>
                  <a:pt x="3242" y="446"/>
                </a:lnTo>
                <a:lnTo>
                  <a:pt x="3240" y="452"/>
                </a:lnTo>
                <a:lnTo>
                  <a:pt x="3242" y="458"/>
                </a:lnTo>
                <a:lnTo>
                  <a:pt x="3248" y="462"/>
                </a:lnTo>
                <a:lnTo>
                  <a:pt x="3256" y="464"/>
                </a:lnTo>
                <a:lnTo>
                  <a:pt x="3268" y="464"/>
                </a:lnTo>
                <a:lnTo>
                  <a:pt x="3280" y="460"/>
                </a:lnTo>
                <a:lnTo>
                  <a:pt x="3288" y="460"/>
                </a:lnTo>
                <a:lnTo>
                  <a:pt x="3294" y="462"/>
                </a:lnTo>
                <a:lnTo>
                  <a:pt x="3296" y="464"/>
                </a:lnTo>
                <a:lnTo>
                  <a:pt x="3298" y="466"/>
                </a:lnTo>
                <a:lnTo>
                  <a:pt x="3302" y="468"/>
                </a:lnTo>
                <a:lnTo>
                  <a:pt x="3308" y="468"/>
                </a:lnTo>
                <a:lnTo>
                  <a:pt x="3318" y="466"/>
                </a:lnTo>
                <a:lnTo>
                  <a:pt x="3328" y="464"/>
                </a:lnTo>
                <a:lnTo>
                  <a:pt x="3332" y="464"/>
                </a:lnTo>
                <a:lnTo>
                  <a:pt x="3332" y="468"/>
                </a:lnTo>
                <a:lnTo>
                  <a:pt x="3332" y="472"/>
                </a:lnTo>
                <a:lnTo>
                  <a:pt x="3330" y="476"/>
                </a:lnTo>
                <a:lnTo>
                  <a:pt x="3330" y="484"/>
                </a:lnTo>
                <a:lnTo>
                  <a:pt x="3332" y="494"/>
                </a:lnTo>
                <a:lnTo>
                  <a:pt x="3338" y="504"/>
                </a:lnTo>
                <a:lnTo>
                  <a:pt x="3342" y="508"/>
                </a:lnTo>
                <a:lnTo>
                  <a:pt x="3348" y="512"/>
                </a:lnTo>
                <a:lnTo>
                  <a:pt x="3354" y="514"/>
                </a:lnTo>
                <a:lnTo>
                  <a:pt x="3360" y="514"/>
                </a:lnTo>
                <a:lnTo>
                  <a:pt x="3374" y="514"/>
                </a:lnTo>
                <a:lnTo>
                  <a:pt x="3388" y="510"/>
                </a:lnTo>
                <a:lnTo>
                  <a:pt x="3402" y="502"/>
                </a:lnTo>
                <a:lnTo>
                  <a:pt x="3416" y="494"/>
                </a:lnTo>
                <a:lnTo>
                  <a:pt x="3428" y="484"/>
                </a:lnTo>
                <a:lnTo>
                  <a:pt x="3438" y="474"/>
                </a:lnTo>
                <a:lnTo>
                  <a:pt x="3444" y="470"/>
                </a:lnTo>
                <a:lnTo>
                  <a:pt x="3444" y="474"/>
                </a:lnTo>
                <a:lnTo>
                  <a:pt x="3438" y="482"/>
                </a:lnTo>
                <a:lnTo>
                  <a:pt x="3428" y="494"/>
                </a:lnTo>
                <a:lnTo>
                  <a:pt x="3414" y="508"/>
                </a:lnTo>
                <a:lnTo>
                  <a:pt x="3398" y="520"/>
                </a:lnTo>
                <a:lnTo>
                  <a:pt x="3388" y="524"/>
                </a:lnTo>
                <a:lnTo>
                  <a:pt x="3380" y="528"/>
                </a:lnTo>
                <a:lnTo>
                  <a:pt x="3370" y="530"/>
                </a:lnTo>
                <a:lnTo>
                  <a:pt x="3358" y="530"/>
                </a:lnTo>
                <a:lnTo>
                  <a:pt x="3342" y="526"/>
                </a:lnTo>
                <a:lnTo>
                  <a:pt x="3330" y="520"/>
                </a:lnTo>
                <a:lnTo>
                  <a:pt x="3318" y="512"/>
                </a:lnTo>
                <a:lnTo>
                  <a:pt x="3310" y="504"/>
                </a:lnTo>
                <a:lnTo>
                  <a:pt x="3300" y="496"/>
                </a:lnTo>
                <a:lnTo>
                  <a:pt x="3290" y="488"/>
                </a:lnTo>
                <a:lnTo>
                  <a:pt x="3278" y="484"/>
                </a:lnTo>
                <a:lnTo>
                  <a:pt x="3262" y="482"/>
                </a:lnTo>
                <a:lnTo>
                  <a:pt x="3234" y="482"/>
                </a:lnTo>
                <a:lnTo>
                  <a:pt x="3224" y="484"/>
                </a:lnTo>
                <a:lnTo>
                  <a:pt x="3216" y="486"/>
                </a:lnTo>
                <a:lnTo>
                  <a:pt x="3212" y="490"/>
                </a:lnTo>
                <a:lnTo>
                  <a:pt x="3212" y="494"/>
                </a:lnTo>
                <a:lnTo>
                  <a:pt x="3216" y="500"/>
                </a:lnTo>
                <a:lnTo>
                  <a:pt x="3222" y="506"/>
                </a:lnTo>
                <a:lnTo>
                  <a:pt x="3240" y="520"/>
                </a:lnTo>
                <a:lnTo>
                  <a:pt x="3254" y="532"/>
                </a:lnTo>
                <a:lnTo>
                  <a:pt x="3256" y="538"/>
                </a:lnTo>
                <a:lnTo>
                  <a:pt x="3256" y="540"/>
                </a:lnTo>
                <a:lnTo>
                  <a:pt x="3254" y="542"/>
                </a:lnTo>
                <a:lnTo>
                  <a:pt x="3246" y="544"/>
                </a:lnTo>
                <a:lnTo>
                  <a:pt x="3232" y="544"/>
                </a:lnTo>
                <a:lnTo>
                  <a:pt x="3214" y="546"/>
                </a:lnTo>
                <a:lnTo>
                  <a:pt x="3198" y="550"/>
                </a:lnTo>
                <a:lnTo>
                  <a:pt x="3182" y="556"/>
                </a:lnTo>
                <a:lnTo>
                  <a:pt x="3172" y="562"/>
                </a:lnTo>
                <a:lnTo>
                  <a:pt x="3164" y="570"/>
                </a:lnTo>
                <a:lnTo>
                  <a:pt x="3160" y="578"/>
                </a:lnTo>
                <a:lnTo>
                  <a:pt x="3160" y="582"/>
                </a:lnTo>
                <a:lnTo>
                  <a:pt x="3162" y="586"/>
                </a:lnTo>
                <a:lnTo>
                  <a:pt x="3164" y="590"/>
                </a:lnTo>
                <a:lnTo>
                  <a:pt x="3168" y="594"/>
                </a:lnTo>
                <a:lnTo>
                  <a:pt x="3172" y="596"/>
                </a:lnTo>
                <a:lnTo>
                  <a:pt x="3178" y="596"/>
                </a:lnTo>
                <a:lnTo>
                  <a:pt x="3186" y="596"/>
                </a:lnTo>
                <a:lnTo>
                  <a:pt x="3198" y="596"/>
                </a:lnTo>
                <a:lnTo>
                  <a:pt x="3204" y="598"/>
                </a:lnTo>
                <a:lnTo>
                  <a:pt x="3210" y="602"/>
                </a:lnTo>
                <a:lnTo>
                  <a:pt x="3218" y="606"/>
                </a:lnTo>
                <a:lnTo>
                  <a:pt x="3226" y="608"/>
                </a:lnTo>
                <a:lnTo>
                  <a:pt x="3234" y="608"/>
                </a:lnTo>
                <a:lnTo>
                  <a:pt x="3242" y="608"/>
                </a:lnTo>
                <a:lnTo>
                  <a:pt x="3258" y="602"/>
                </a:lnTo>
                <a:lnTo>
                  <a:pt x="3272" y="596"/>
                </a:lnTo>
                <a:lnTo>
                  <a:pt x="3278" y="594"/>
                </a:lnTo>
                <a:lnTo>
                  <a:pt x="3284" y="596"/>
                </a:lnTo>
                <a:lnTo>
                  <a:pt x="3298" y="600"/>
                </a:lnTo>
                <a:lnTo>
                  <a:pt x="3316" y="606"/>
                </a:lnTo>
                <a:lnTo>
                  <a:pt x="3328" y="608"/>
                </a:lnTo>
                <a:lnTo>
                  <a:pt x="3344" y="610"/>
                </a:lnTo>
                <a:lnTo>
                  <a:pt x="3358" y="610"/>
                </a:lnTo>
                <a:lnTo>
                  <a:pt x="3366" y="606"/>
                </a:lnTo>
                <a:lnTo>
                  <a:pt x="3372" y="604"/>
                </a:lnTo>
                <a:lnTo>
                  <a:pt x="3374" y="600"/>
                </a:lnTo>
                <a:lnTo>
                  <a:pt x="3378" y="596"/>
                </a:lnTo>
                <a:lnTo>
                  <a:pt x="3384" y="596"/>
                </a:lnTo>
                <a:lnTo>
                  <a:pt x="3394" y="596"/>
                </a:lnTo>
                <a:lnTo>
                  <a:pt x="3410" y="600"/>
                </a:lnTo>
                <a:lnTo>
                  <a:pt x="3418" y="602"/>
                </a:lnTo>
                <a:lnTo>
                  <a:pt x="3428" y="604"/>
                </a:lnTo>
                <a:lnTo>
                  <a:pt x="3448" y="604"/>
                </a:lnTo>
                <a:lnTo>
                  <a:pt x="3466" y="600"/>
                </a:lnTo>
                <a:lnTo>
                  <a:pt x="3484" y="596"/>
                </a:lnTo>
                <a:lnTo>
                  <a:pt x="3498" y="592"/>
                </a:lnTo>
                <a:lnTo>
                  <a:pt x="3508" y="590"/>
                </a:lnTo>
                <a:lnTo>
                  <a:pt x="3510" y="592"/>
                </a:lnTo>
                <a:lnTo>
                  <a:pt x="3512" y="594"/>
                </a:lnTo>
                <a:lnTo>
                  <a:pt x="3514" y="598"/>
                </a:lnTo>
                <a:lnTo>
                  <a:pt x="3512" y="602"/>
                </a:lnTo>
                <a:lnTo>
                  <a:pt x="3512" y="608"/>
                </a:lnTo>
                <a:lnTo>
                  <a:pt x="3512" y="612"/>
                </a:lnTo>
                <a:lnTo>
                  <a:pt x="3512" y="616"/>
                </a:lnTo>
                <a:lnTo>
                  <a:pt x="3516" y="618"/>
                </a:lnTo>
                <a:lnTo>
                  <a:pt x="3522" y="620"/>
                </a:lnTo>
                <a:lnTo>
                  <a:pt x="3534" y="620"/>
                </a:lnTo>
                <a:lnTo>
                  <a:pt x="3546" y="618"/>
                </a:lnTo>
                <a:lnTo>
                  <a:pt x="3558" y="612"/>
                </a:lnTo>
                <a:lnTo>
                  <a:pt x="3582" y="600"/>
                </a:lnTo>
                <a:lnTo>
                  <a:pt x="3592" y="596"/>
                </a:lnTo>
                <a:lnTo>
                  <a:pt x="3600" y="594"/>
                </a:lnTo>
                <a:lnTo>
                  <a:pt x="3616" y="594"/>
                </a:lnTo>
                <a:lnTo>
                  <a:pt x="3622" y="592"/>
                </a:lnTo>
                <a:lnTo>
                  <a:pt x="3628" y="588"/>
                </a:lnTo>
                <a:lnTo>
                  <a:pt x="3632" y="582"/>
                </a:lnTo>
                <a:lnTo>
                  <a:pt x="3634" y="570"/>
                </a:lnTo>
                <a:lnTo>
                  <a:pt x="3634" y="564"/>
                </a:lnTo>
                <a:lnTo>
                  <a:pt x="3634" y="560"/>
                </a:lnTo>
                <a:lnTo>
                  <a:pt x="3630" y="558"/>
                </a:lnTo>
                <a:lnTo>
                  <a:pt x="3628" y="556"/>
                </a:lnTo>
                <a:lnTo>
                  <a:pt x="3620" y="556"/>
                </a:lnTo>
                <a:lnTo>
                  <a:pt x="3610" y="556"/>
                </a:lnTo>
                <a:lnTo>
                  <a:pt x="3598" y="558"/>
                </a:lnTo>
                <a:lnTo>
                  <a:pt x="3590" y="558"/>
                </a:lnTo>
                <a:lnTo>
                  <a:pt x="3584" y="556"/>
                </a:lnTo>
                <a:lnTo>
                  <a:pt x="3582" y="552"/>
                </a:lnTo>
                <a:lnTo>
                  <a:pt x="3582" y="550"/>
                </a:lnTo>
                <a:lnTo>
                  <a:pt x="3582" y="542"/>
                </a:lnTo>
                <a:lnTo>
                  <a:pt x="3584" y="538"/>
                </a:lnTo>
                <a:lnTo>
                  <a:pt x="3588" y="534"/>
                </a:lnTo>
                <a:lnTo>
                  <a:pt x="3592" y="530"/>
                </a:lnTo>
                <a:lnTo>
                  <a:pt x="3604" y="524"/>
                </a:lnTo>
                <a:lnTo>
                  <a:pt x="3622" y="514"/>
                </a:lnTo>
                <a:lnTo>
                  <a:pt x="3626" y="512"/>
                </a:lnTo>
                <a:lnTo>
                  <a:pt x="3628" y="508"/>
                </a:lnTo>
                <a:lnTo>
                  <a:pt x="3630" y="504"/>
                </a:lnTo>
                <a:lnTo>
                  <a:pt x="3628" y="500"/>
                </a:lnTo>
                <a:lnTo>
                  <a:pt x="3626" y="492"/>
                </a:lnTo>
                <a:lnTo>
                  <a:pt x="3620" y="484"/>
                </a:lnTo>
                <a:lnTo>
                  <a:pt x="3618" y="478"/>
                </a:lnTo>
                <a:lnTo>
                  <a:pt x="3620" y="476"/>
                </a:lnTo>
                <a:lnTo>
                  <a:pt x="3622" y="474"/>
                </a:lnTo>
                <a:lnTo>
                  <a:pt x="3632" y="474"/>
                </a:lnTo>
                <a:lnTo>
                  <a:pt x="3654" y="476"/>
                </a:lnTo>
                <a:lnTo>
                  <a:pt x="3674" y="478"/>
                </a:lnTo>
                <a:lnTo>
                  <a:pt x="3692" y="476"/>
                </a:lnTo>
                <a:lnTo>
                  <a:pt x="3708" y="474"/>
                </a:lnTo>
                <a:lnTo>
                  <a:pt x="3722" y="468"/>
                </a:lnTo>
                <a:lnTo>
                  <a:pt x="3732" y="460"/>
                </a:lnTo>
                <a:lnTo>
                  <a:pt x="3738" y="454"/>
                </a:lnTo>
                <a:lnTo>
                  <a:pt x="3740" y="446"/>
                </a:lnTo>
                <a:lnTo>
                  <a:pt x="3740" y="442"/>
                </a:lnTo>
                <a:lnTo>
                  <a:pt x="3738" y="440"/>
                </a:lnTo>
                <a:lnTo>
                  <a:pt x="3736" y="436"/>
                </a:lnTo>
                <a:lnTo>
                  <a:pt x="3736" y="434"/>
                </a:lnTo>
                <a:lnTo>
                  <a:pt x="3740" y="430"/>
                </a:lnTo>
                <a:lnTo>
                  <a:pt x="3752" y="424"/>
                </a:lnTo>
                <a:lnTo>
                  <a:pt x="3756" y="420"/>
                </a:lnTo>
                <a:lnTo>
                  <a:pt x="3756" y="418"/>
                </a:lnTo>
                <a:lnTo>
                  <a:pt x="3756" y="416"/>
                </a:lnTo>
                <a:lnTo>
                  <a:pt x="3750" y="410"/>
                </a:lnTo>
                <a:lnTo>
                  <a:pt x="3734" y="400"/>
                </a:lnTo>
                <a:lnTo>
                  <a:pt x="3720" y="392"/>
                </a:lnTo>
                <a:lnTo>
                  <a:pt x="3718" y="390"/>
                </a:lnTo>
                <a:lnTo>
                  <a:pt x="3722" y="390"/>
                </a:lnTo>
                <a:lnTo>
                  <a:pt x="3734" y="390"/>
                </a:lnTo>
                <a:lnTo>
                  <a:pt x="3746" y="392"/>
                </a:lnTo>
                <a:lnTo>
                  <a:pt x="3758" y="392"/>
                </a:lnTo>
                <a:lnTo>
                  <a:pt x="3764" y="392"/>
                </a:lnTo>
                <a:lnTo>
                  <a:pt x="3766" y="390"/>
                </a:lnTo>
                <a:lnTo>
                  <a:pt x="3768" y="386"/>
                </a:lnTo>
                <a:lnTo>
                  <a:pt x="3766" y="384"/>
                </a:lnTo>
                <a:lnTo>
                  <a:pt x="3762" y="376"/>
                </a:lnTo>
                <a:lnTo>
                  <a:pt x="3758" y="370"/>
                </a:lnTo>
                <a:lnTo>
                  <a:pt x="3752" y="368"/>
                </a:lnTo>
                <a:lnTo>
                  <a:pt x="3746" y="368"/>
                </a:lnTo>
                <a:lnTo>
                  <a:pt x="3732" y="368"/>
                </a:lnTo>
                <a:lnTo>
                  <a:pt x="3712" y="372"/>
                </a:lnTo>
                <a:lnTo>
                  <a:pt x="3688" y="372"/>
                </a:lnTo>
                <a:lnTo>
                  <a:pt x="3666" y="372"/>
                </a:lnTo>
                <a:lnTo>
                  <a:pt x="3656" y="372"/>
                </a:lnTo>
                <a:lnTo>
                  <a:pt x="3650" y="370"/>
                </a:lnTo>
                <a:lnTo>
                  <a:pt x="3650" y="368"/>
                </a:lnTo>
                <a:lnTo>
                  <a:pt x="3652" y="364"/>
                </a:lnTo>
                <a:lnTo>
                  <a:pt x="3660" y="360"/>
                </a:lnTo>
                <a:lnTo>
                  <a:pt x="3676" y="358"/>
                </a:lnTo>
                <a:lnTo>
                  <a:pt x="3718" y="354"/>
                </a:lnTo>
                <a:lnTo>
                  <a:pt x="3764" y="352"/>
                </a:lnTo>
                <a:lnTo>
                  <a:pt x="3804" y="350"/>
                </a:lnTo>
                <a:lnTo>
                  <a:pt x="3816" y="348"/>
                </a:lnTo>
                <a:lnTo>
                  <a:pt x="3822" y="344"/>
                </a:lnTo>
                <a:lnTo>
                  <a:pt x="3824" y="338"/>
                </a:lnTo>
                <a:lnTo>
                  <a:pt x="3826" y="334"/>
                </a:lnTo>
                <a:lnTo>
                  <a:pt x="3824" y="328"/>
                </a:lnTo>
                <a:lnTo>
                  <a:pt x="3828" y="328"/>
                </a:lnTo>
                <a:lnTo>
                  <a:pt x="3834" y="330"/>
                </a:lnTo>
                <a:lnTo>
                  <a:pt x="3842" y="334"/>
                </a:lnTo>
                <a:lnTo>
                  <a:pt x="3852" y="336"/>
                </a:lnTo>
                <a:lnTo>
                  <a:pt x="3862" y="336"/>
                </a:lnTo>
                <a:lnTo>
                  <a:pt x="3872" y="336"/>
                </a:lnTo>
                <a:lnTo>
                  <a:pt x="3884" y="334"/>
                </a:lnTo>
                <a:lnTo>
                  <a:pt x="3894" y="330"/>
                </a:lnTo>
                <a:lnTo>
                  <a:pt x="3904" y="322"/>
                </a:lnTo>
                <a:lnTo>
                  <a:pt x="3914" y="312"/>
                </a:lnTo>
                <a:lnTo>
                  <a:pt x="3924" y="302"/>
                </a:lnTo>
                <a:lnTo>
                  <a:pt x="3938" y="292"/>
                </a:lnTo>
                <a:lnTo>
                  <a:pt x="3954" y="282"/>
                </a:lnTo>
                <a:lnTo>
                  <a:pt x="3974" y="272"/>
                </a:lnTo>
                <a:lnTo>
                  <a:pt x="4026" y="248"/>
                </a:lnTo>
                <a:lnTo>
                  <a:pt x="4092" y="222"/>
                </a:lnTo>
                <a:lnTo>
                  <a:pt x="4150" y="198"/>
                </a:lnTo>
                <a:lnTo>
                  <a:pt x="4164" y="190"/>
                </a:lnTo>
                <a:lnTo>
                  <a:pt x="4170" y="186"/>
                </a:lnTo>
                <a:lnTo>
                  <a:pt x="4170" y="184"/>
                </a:lnTo>
                <a:lnTo>
                  <a:pt x="4168" y="182"/>
                </a:lnTo>
                <a:lnTo>
                  <a:pt x="4156" y="182"/>
                </a:lnTo>
                <a:lnTo>
                  <a:pt x="4110" y="186"/>
                </a:lnTo>
                <a:lnTo>
                  <a:pt x="4086" y="188"/>
                </a:lnTo>
                <a:lnTo>
                  <a:pt x="4074" y="186"/>
                </a:lnTo>
                <a:lnTo>
                  <a:pt x="4072" y="186"/>
                </a:lnTo>
                <a:lnTo>
                  <a:pt x="4072" y="184"/>
                </a:lnTo>
                <a:lnTo>
                  <a:pt x="4078" y="182"/>
                </a:lnTo>
                <a:lnTo>
                  <a:pt x="4106" y="172"/>
                </a:lnTo>
                <a:lnTo>
                  <a:pt x="4144" y="164"/>
                </a:lnTo>
                <a:lnTo>
                  <a:pt x="4190" y="156"/>
                </a:lnTo>
                <a:lnTo>
                  <a:pt x="4244" y="144"/>
                </a:lnTo>
                <a:lnTo>
                  <a:pt x="4270" y="136"/>
                </a:lnTo>
                <a:lnTo>
                  <a:pt x="4290" y="128"/>
                </a:lnTo>
                <a:lnTo>
                  <a:pt x="4304" y="120"/>
                </a:lnTo>
                <a:lnTo>
                  <a:pt x="4308" y="116"/>
                </a:lnTo>
                <a:lnTo>
                  <a:pt x="4310" y="112"/>
                </a:lnTo>
                <a:lnTo>
                  <a:pt x="4308" y="108"/>
                </a:lnTo>
                <a:lnTo>
                  <a:pt x="4306" y="106"/>
                </a:lnTo>
                <a:lnTo>
                  <a:pt x="4296" y="102"/>
                </a:lnTo>
                <a:lnTo>
                  <a:pt x="4284" y="100"/>
                </a:lnTo>
                <a:lnTo>
                  <a:pt x="4268" y="100"/>
                </a:lnTo>
                <a:lnTo>
                  <a:pt x="4254" y="100"/>
                </a:lnTo>
                <a:lnTo>
                  <a:pt x="4240" y="98"/>
                </a:lnTo>
                <a:lnTo>
                  <a:pt x="4232" y="94"/>
                </a:lnTo>
                <a:lnTo>
                  <a:pt x="4230" y="90"/>
                </a:lnTo>
                <a:lnTo>
                  <a:pt x="4228" y="88"/>
                </a:lnTo>
                <a:lnTo>
                  <a:pt x="4228" y="84"/>
                </a:lnTo>
                <a:lnTo>
                  <a:pt x="4226" y="80"/>
                </a:lnTo>
                <a:lnTo>
                  <a:pt x="4218" y="74"/>
                </a:lnTo>
                <a:lnTo>
                  <a:pt x="4208" y="70"/>
                </a:lnTo>
                <a:lnTo>
                  <a:pt x="4194" y="66"/>
                </a:lnTo>
                <a:lnTo>
                  <a:pt x="4168" y="64"/>
                </a:lnTo>
                <a:lnTo>
                  <a:pt x="4150" y="64"/>
                </a:lnTo>
                <a:lnTo>
                  <a:pt x="4134" y="66"/>
                </a:lnTo>
                <a:lnTo>
                  <a:pt x="4124" y="64"/>
                </a:lnTo>
                <a:lnTo>
                  <a:pt x="4112" y="66"/>
                </a:lnTo>
                <a:lnTo>
                  <a:pt x="4092" y="72"/>
                </a:lnTo>
                <a:lnTo>
                  <a:pt x="4076" y="78"/>
                </a:lnTo>
                <a:lnTo>
                  <a:pt x="4062" y="82"/>
                </a:lnTo>
                <a:lnTo>
                  <a:pt x="4034" y="84"/>
                </a:lnTo>
                <a:lnTo>
                  <a:pt x="4020" y="84"/>
                </a:lnTo>
                <a:lnTo>
                  <a:pt x="4020" y="82"/>
                </a:lnTo>
                <a:lnTo>
                  <a:pt x="4022" y="82"/>
                </a:lnTo>
                <a:lnTo>
                  <a:pt x="4030" y="80"/>
                </a:lnTo>
                <a:lnTo>
                  <a:pt x="4058" y="74"/>
                </a:lnTo>
                <a:lnTo>
                  <a:pt x="4078" y="68"/>
                </a:lnTo>
                <a:lnTo>
                  <a:pt x="4082" y="64"/>
                </a:lnTo>
                <a:lnTo>
                  <a:pt x="4080" y="64"/>
                </a:lnTo>
                <a:lnTo>
                  <a:pt x="4080" y="62"/>
                </a:lnTo>
                <a:lnTo>
                  <a:pt x="4070" y="60"/>
                </a:lnTo>
                <a:lnTo>
                  <a:pt x="4052" y="60"/>
                </a:lnTo>
                <a:lnTo>
                  <a:pt x="4032" y="60"/>
                </a:lnTo>
                <a:lnTo>
                  <a:pt x="4014" y="56"/>
                </a:lnTo>
                <a:lnTo>
                  <a:pt x="3986" y="50"/>
                </a:lnTo>
                <a:lnTo>
                  <a:pt x="3972" y="46"/>
                </a:lnTo>
                <a:lnTo>
                  <a:pt x="3960" y="44"/>
                </a:lnTo>
                <a:lnTo>
                  <a:pt x="3946" y="44"/>
                </a:lnTo>
                <a:lnTo>
                  <a:pt x="3930" y="44"/>
                </a:lnTo>
                <a:lnTo>
                  <a:pt x="3902" y="48"/>
                </a:lnTo>
                <a:lnTo>
                  <a:pt x="3880" y="46"/>
                </a:lnTo>
                <a:lnTo>
                  <a:pt x="3860" y="48"/>
                </a:lnTo>
                <a:lnTo>
                  <a:pt x="3848" y="50"/>
                </a:lnTo>
                <a:lnTo>
                  <a:pt x="3834" y="54"/>
                </a:lnTo>
                <a:lnTo>
                  <a:pt x="3818" y="58"/>
                </a:lnTo>
                <a:lnTo>
                  <a:pt x="3800" y="58"/>
                </a:lnTo>
                <a:lnTo>
                  <a:pt x="3762" y="54"/>
                </a:lnTo>
                <a:lnTo>
                  <a:pt x="3738" y="52"/>
                </a:lnTo>
                <a:lnTo>
                  <a:pt x="3712" y="52"/>
                </a:lnTo>
                <a:lnTo>
                  <a:pt x="3682" y="56"/>
                </a:lnTo>
                <a:lnTo>
                  <a:pt x="3646" y="62"/>
                </a:lnTo>
                <a:lnTo>
                  <a:pt x="3630" y="66"/>
                </a:lnTo>
                <a:lnTo>
                  <a:pt x="3614" y="64"/>
                </a:lnTo>
                <a:lnTo>
                  <a:pt x="3598" y="62"/>
                </a:lnTo>
                <a:lnTo>
                  <a:pt x="3586" y="60"/>
                </a:lnTo>
                <a:lnTo>
                  <a:pt x="3574" y="56"/>
                </a:lnTo>
                <a:lnTo>
                  <a:pt x="3562" y="56"/>
                </a:lnTo>
                <a:lnTo>
                  <a:pt x="3550" y="56"/>
                </a:lnTo>
                <a:lnTo>
                  <a:pt x="3538" y="62"/>
                </a:lnTo>
                <a:lnTo>
                  <a:pt x="3526" y="66"/>
                </a:lnTo>
                <a:lnTo>
                  <a:pt x="3516" y="68"/>
                </a:lnTo>
                <a:lnTo>
                  <a:pt x="3504" y="68"/>
                </a:lnTo>
                <a:lnTo>
                  <a:pt x="3494" y="66"/>
                </a:lnTo>
                <a:lnTo>
                  <a:pt x="3488" y="66"/>
                </a:lnTo>
                <a:lnTo>
                  <a:pt x="3486" y="68"/>
                </a:lnTo>
                <a:lnTo>
                  <a:pt x="3488" y="72"/>
                </a:lnTo>
                <a:lnTo>
                  <a:pt x="3496" y="80"/>
                </a:lnTo>
                <a:lnTo>
                  <a:pt x="3502" y="88"/>
                </a:lnTo>
                <a:lnTo>
                  <a:pt x="3504" y="90"/>
                </a:lnTo>
                <a:lnTo>
                  <a:pt x="3502" y="90"/>
                </a:lnTo>
                <a:lnTo>
                  <a:pt x="3496" y="90"/>
                </a:lnTo>
                <a:lnTo>
                  <a:pt x="3486" y="88"/>
                </a:lnTo>
                <a:lnTo>
                  <a:pt x="3476" y="86"/>
                </a:lnTo>
                <a:lnTo>
                  <a:pt x="3464" y="86"/>
                </a:lnTo>
                <a:lnTo>
                  <a:pt x="3456" y="88"/>
                </a:lnTo>
                <a:lnTo>
                  <a:pt x="3452" y="90"/>
                </a:lnTo>
                <a:lnTo>
                  <a:pt x="3450" y="92"/>
                </a:lnTo>
                <a:lnTo>
                  <a:pt x="3448" y="100"/>
                </a:lnTo>
                <a:lnTo>
                  <a:pt x="3444" y="106"/>
                </a:lnTo>
                <a:lnTo>
                  <a:pt x="3438" y="110"/>
                </a:lnTo>
                <a:lnTo>
                  <a:pt x="3432" y="112"/>
                </a:lnTo>
                <a:lnTo>
                  <a:pt x="3424" y="114"/>
                </a:lnTo>
                <a:lnTo>
                  <a:pt x="3412" y="114"/>
                </a:lnTo>
                <a:lnTo>
                  <a:pt x="3384" y="110"/>
                </a:lnTo>
                <a:lnTo>
                  <a:pt x="3372" y="108"/>
                </a:lnTo>
                <a:lnTo>
                  <a:pt x="3366" y="106"/>
                </a:lnTo>
                <a:lnTo>
                  <a:pt x="3364" y="104"/>
                </a:lnTo>
                <a:lnTo>
                  <a:pt x="3364" y="102"/>
                </a:lnTo>
                <a:lnTo>
                  <a:pt x="3362" y="100"/>
                </a:lnTo>
                <a:lnTo>
                  <a:pt x="3360" y="98"/>
                </a:lnTo>
                <a:lnTo>
                  <a:pt x="3352" y="96"/>
                </a:lnTo>
                <a:lnTo>
                  <a:pt x="3336" y="94"/>
                </a:lnTo>
                <a:lnTo>
                  <a:pt x="3322" y="94"/>
                </a:lnTo>
                <a:lnTo>
                  <a:pt x="3316" y="96"/>
                </a:lnTo>
                <a:lnTo>
                  <a:pt x="3316" y="100"/>
                </a:lnTo>
                <a:lnTo>
                  <a:pt x="3318" y="104"/>
                </a:lnTo>
                <a:lnTo>
                  <a:pt x="3320" y="108"/>
                </a:lnTo>
                <a:lnTo>
                  <a:pt x="3322" y="110"/>
                </a:lnTo>
                <a:lnTo>
                  <a:pt x="3320" y="112"/>
                </a:lnTo>
                <a:lnTo>
                  <a:pt x="3312" y="116"/>
                </a:lnTo>
                <a:lnTo>
                  <a:pt x="3296" y="118"/>
                </a:lnTo>
                <a:lnTo>
                  <a:pt x="3280" y="120"/>
                </a:lnTo>
                <a:lnTo>
                  <a:pt x="3278" y="122"/>
                </a:lnTo>
                <a:lnTo>
                  <a:pt x="3278" y="124"/>
                </a:lnTo>
                <a:lnTo>
                  <a:pt x="3284" y="126"/>
                </a:lnTo>
                <a:lnTo>
                  <a:pt x="3296" y="130"/>
                </a:lnTo>
                <a:lnTo>
                  <a:pt x="3320" y="134"/>
                </a:lnTo>
                <a:lnTo>
                  <a:pt x="3326" y="138"/>
                </a:lnTo>
                <a:lnTo>
                  <a:pt x="3324" y="140"/>
                </a:lnTo>
                <a:lnTo>
                  <a:pt x="3322" y="140"/>
                </a:lnTo>
                <a:lnTo>
                  <a:pt x="3310" y="142"/>
                </a:lnTo>
                <a:lnTo>
                  <a:pt x="3300" y="142"/>
                </a:lnTo>
                <a:lnTo>
                  <a:pt x="3280" y="136"/>
                </a:lnTo>
                <a:lnTo>
                  <a:pt x="3268" y="134"/>
                </a:lnTo>
                <a:lnTo>
                  <a:pt x="3254" y="130"/>
                </a:lnTo>
                <a:lnTo>
                  <a:pt x="3238" y="130"/>
                </a:lnTo>
                <a:lnTo>
                  <a:pt x="3218" y="132"/>
                </a:lnTo>
                <a:lnTo>
                  <a:pt x="3202" y="134"/>
                </a:lnTo>
                <a:lnTo>
                  <a:pt x="3192" y="138"/>
                </a:lnTo>
                <a:lnTo>
                  <a:pt x="3184" y="142"/>
                </a:lnTo>
                <a:lnTo>
                  <a:pt x="3180" y="146"/>
                </a:lnTo>
                <a:lnTo>
                  <a:pt x="3176" y="148"/>
                </a:lnTo>
                <a:lnTo>
                  <a:pt x="3172" y="150"/>
                </a:lnTo>
                <a:lnTo>
                  <a:pt x="3164" y="150"/>
                </a:lnTo>
                <a:lnTo>
                  <a:pt x="3152" y="148"/>
                </a:lnTo>
                <a:lnTo>
                  <a:pt x="3138" y="148"/>
                </a:lnTo>
                <a:lnTo>
                  <a:pt x="3122" y="148"/>
                </a:lnTo>
                <a:lnTo>
                  <a:pt x="3108" y="152"/>
                </a:lnTo>
                <a:lnTo>
                  <a:pt x="3094" y="156"/>
                </a:lnTo>
                <a:lnTo>
                  <a:pt x="3084" y="162"/>
                </a:lnTo>
                <a:lnTo>
                  <a:pt x="3076" y="168"/>
                </a:lnTo>
                <a:lnTo>
                  <a:pt x="3074" y="174"/>
                </a:lnTo>
                <a:lnTo>
                  <a:pt x="3074" y="178"/>
                </a:lnTo>
                <a:lnTo>
                  <a:pt x="3076" y="180"/>
                </a:lnTo>
                <a:lnTo>
                  <a:pt x="3080" y="186"/>
                </a:lnTo>
                <a:lnTo>
                  <a:pt x="3084" y="188"/>
                </a:lnTo>
                <a:lnTo>
                  <a:pt x="3090" y="188"/>
                </a:lnTo>
                <a:lnTo>
                  <a:pt x="3094" y="188"/>
                </a:lnTo>
                <a:lnTo>
                  <a:pt x="3104" y="186"/>
                </a:lnTo>
                <a:lnTo>
                  <a:pt x="3110" y="188"/>
                </a:lnTo>
                <a:lnTo>
                  <a:pt x="3116" y="190"/>
                </a:lnTo>
                <a:close/>
                <a:moveTo>
                  <a:pt x="2922" y="360"/>
                </a:moveTo>
                <a:lnTo>
                  <a:pt x="2922" y="360"/>
                </a:lnTo>
                <a:lnTo>
                  <a:pt x="2936" y="368"/>
                </a:lnTo>
                <a:lnTo>
                  <a:pt x="2946" y="370"/>
                </a:lnTo>
                <a:lnTo>
                  <a:pt x="2956" y="368"/>
                </a:lnTo>
                <a:lnTo>
                  <a:pt x="2966" y="364"/>
                </a:lnTo>
                <a:lnTo>
                  <a:pt x="2978" y="360"/>
                </a:lnTo>
                <a:lnTo>
                  <a:pt x="2978" y="366"/>
                </a:lnTo>
                <a:lnTo>
                  <a:pt x="2976" y="368"/>
                </a:lnTo>
                <a:lnTo>
                  <a:pt x="2978" y="370"/>
                </a:lnTo>
                <a:lnTo>
                  <a:pt x="2986" y="370"/>
                </a:lnTo>
                <a:lnTo>
                  <a:pt x="3012" y="364"/>
                </a:lnTo>
                <a:lnTo>
                  <a:pt x="3038" y="358"/>
                </a:lnTo>
                <a:lnTo>
                  <a:pt x="3044" y="358"/>
                </a:lnTo>
                <a:lnTo>
                  <a:pt x="3046" y="360"/>
                </a:lnTo>
                <a:lnTo>
                  <a:pt x="3044" y="364"/>
                </a:lnTo>
                <a:lnTo>
                  <a:pt x="3042" y="366"/>
                </a:lnTo>
                <a:lnTo>
                  <a:pt x="3038" y="370"/>
                </a:lnTo>
                <a:lnTo>
                  <a:pt x="3026" y="376"/>
                </a:lnTo>
                <a:lnTo>
                  <a:pt x="3000" y="384"/>
                </a:lnTo>
                <a:lnTo>
                  <a:pt x="2986" y="388"/>
                </a:lnTo>
                <a:lnTo>
                  <a:pt x="2978" y="390"/>
                </a:lnTo>
                <a:lnTo>
                  <a:pt x="2974" y="394"/>
                </a:lnTo>
                <a:lnTo>
                  <a:pt x="2974" y="396"/>
                </a:lnTo>
                <a:lnTo>
                  <a:pt x="2976" y="398"/>
                </a:lnTo>
                <a:lnTo>
                  <a:pt x="2990" y="408"/>
                </a:lnTo>
                <a:lnTo>
                  <a:pt x="3002" y="420"/>
                </a:lnTo>
                <a:lnTo>
                  <a:pt x="3018" y="434"/>
                </a:lnTo>
                <a:lnTo>
                  <a:pt x="3036" y="444"/>
                </a:lnTo>
                <a:lnTo>
                  <a:pt x="3062" y="456"/>
                </a:lnTo>
                <a:lnTo>
                  <a:pt x="3092" y="464"/>
                </a:lnTo>
                <a:lnTo>
                  <a:pt x="3106" y="464"/>
                </a:lnTo>
                <a:lnTo>
                  <a:pt x="3118" y="464"/>
                </a:lnTo>
                <a:lnTo>
                  <a:pt x="3126" y="462"/>
                </a:lnTo>
                <a:lnTo>
                  <a:pt x="3128" y="458"/>
                </a:lnTo>
                <a:lnTo>
                  <a:pt x="3130" y="454"/>
                </a:lnTo>
                <a:lnTo>
                  <a:pt x="3132" y="448"/>
                </a:lnTo>
                <a:lnTo>
                  <a:pt x="3136" y="448"/>
                </a:lnTo>
                <a:lnTo>
                  <a:pt x="3142" y="448"/>
                </a:lnTo>
                <a:lnTo>
                  <a:pt x="3148" y="452"/>
                </a:lnTo>
                <a:lnTo>
                  <a:pt x="3154" y="454"/>
                </a:lnTo>
                <a:lnTo>
                  <a:pt x="3156" y="454"/>
                </a:lnTo>
                <a:lnTo>
                  <a:pt x="3158" y="452"/>
                </a:lnTo>
                <a:lnTo>
                  <a:pt x="3154" y="446"/>
                </a:lnTo>
                <a:lnTo>
                  <a:pt x="3150" y="436"/>
                </a:lnTo>
                <a:lnTo>
                  <a:pt x="3148" y="432"/>
                </a:lnTo>
                <a:lnTo>
                  <a:pt x="3150" y="430"/>
                </a:lnTo>
                <a:lnTo>
                  <a:pt x="3154" y="432"/>
                </a:lnTo>
                <a:lnTo>
                  <a:pt x="3166" y="440"/>
                </a:lnTo>
                <a:lnTo>
                  <a:pt x="3182" y="456"/>
                </a:lnTo>
                <a:lnTo>
                  <a:pt x="3188" y="462"/>
                </a:lnTo>
                <a:lnTo>
                  <a:pt x="3192" y="462"/>
                </a:lnTo>
                <a:lnTo>
                  <a:pt x="3192" y="460"/>
                </a:lnTo>
                <a:lnTo>
                  <a:pt x="3196" y="456"/>
                </a:lnTo>
                <a:lnTo>
                  <a:pt x="3196" y="450"/>
                </a:lnTo>
                <a:lnTo>
                  <a:pt x="3196" y="442"/>
                </a:lnTo>
                <a:lnTo>
                  <a:pt x="3198" y="434"/>
                </a:lnTo>
                <a:lnTo>
                  <a:pt x="3202" y="430"/>
                </a:lnTo>
                <a:lnTo>
                  <a:pt x="3204" y="430"/>
                </a:lnTo>
                <a:lnTo>
                  <a:pt x="3208" y="430"/>
                </a:lnTo>
                <a:lnTo>
                  <a:pt x="3216" y="430"/>
                </a:lnTo>
                <a:lnTo>
                  <a:pt x="3224" y="430"/>
                </a:lnTo>
                <a:lnTo>
                  <a:pt x="3234" y="426"/>
                </a:lnTo>
                <a:lnTo>
                  <a:pt x="3242" y="420"/>
                </a:lnTo>
                <a:lnTo>
                  <a:pt x="3282" y="394"/>
                </a:lnTo>
                <a:lnTo>
                  <a:pt x="3294" y="386"/>
                </a:lnTo>
                <a:lnTo>
                  <a:pt x="3308" y="382"/>
                </a:lnTo>
                <a:lnTo>
                  <a:pt x="3334" y="374"/>
                </a:lnTo>
                <a:lnTo>
                  <a:pt x="3342" y="372"/>
                </a:lnTo>
                <a:lnTo>
                  <a:pt x="3348" y="370"/>
                </a:lnTo>
                <a:lnTo>
                  <a:pt x="3348" y="368"/>
                </a:lnTo>
                <a:lnTo>
                  <a:pt x="3348" y="366"/>
                </a:lnTo>
                <a:lnTo>
                  <a:pt x="3340" y="362"/>
                </a:lnTo>
                <a:lnTo>
                  <a:pt x="3332" y="356"/>
                </a:lnTo>
                <a:lnTo>
                  <a:pt x="3324" y="352"/>
                </a:lnTo>
                <a:lnTo>
                  <a:pt x="3314" y="344"/>
                </a:lnTo>
                <a:lnTo>
                  <a:pt x="3306" y="342"/>
                </a:lnTo>
                <a:lnTo>
                  <a:pt x="3298" y="340"/>
                </a:lnTo>
                <a:lnTo>
                  <a:pt x="3286" y="340"/>
                </a:lnTo>
                <a:lnTo>
                  <a:pt x="3270" y="342"/>
                </a:lnTo>
                <a:lnTo>
                  <a:pt x="3256" y="344"/>
                </a:lnTo>
                <a:lnTo>
                  <a:pt x="3252" y="344"/>
                </a:lnTo>
                <a:lnTo>
                  <a:pt x="3254" y="342"/>
                </a:lnTo>
                <a:lnTo>
                  <a:pt x="3260" y="336"/>
                </a:lnTo>
                <a:lnTo>
                  <a:pt x="3266" y="332"/>
                </a:lnTo>
                <a:lnTo>
                  <a:pt x="3268" y="324"/>
                </a:lnTo>
                <a:lnTo>
                  <a:pt x="3270" y="320"/>
                </a:lnTo>
                <a:lnTo>
                  <a:pt x="3268" y="318"/>
                </a:lnTo>
                <a:lnTo>
                  <a:pt x="3264" y="314"/>
                </a:lnTo>
                <a:lnTo>
                  <a:pt x="3260" y="310"/>
                </a:lnTo>
                <a:lnTo>
                  <a:pt x="3250" y="302"/>
                </a:lnTo>
                <a:lnTo>
                  <a:pt x="3246" y="296"/>
                </a:lnTo>
                <a:lnTo>
                  <a:pt x="3244" y="290"/>
                </a:lnTo>
                <a:lnTo>
                  <a:pt x="3244" y="286"/>
                </a:lnTo>
                <a:lnTo>
                  <a:pt x="3244" y="282"/>
                </a:lnTo>
                <a:lnTo>
                  <a:pt x="3242" y="278"/>
                </a:lnTo>
                <a:lnTo>
                  <a:pt x="3234" y="274"/>
                </a:lnTo>
                <a:lnTo>
                  <a:pt x="3220" y="272"/>
                </a:lnTo>
                <a:lnTo>
                  <a:pt x="3206" y="272"/>
                </a:lnTo>
                <a:lnTo>
                  <a:pt x="3200" y="276"/>
                </a:lnTo>
                <a:lnTo>
                  <a:pt x="3196" y="280"/>
                </a:lnTo>
                <a:lnTo>
                  <a:pt x="3196" y="286"/>
                </a:lnTo>
                <a:lnTo>
                  <a:pt x="3198" y="292"/>
                </a:lnTo>
                <a:lnTo>
                  <a:pt x="3198" y="296"/>
                </a:lnTo>
                <a:lnTo>
                  <a:pt x="3196" y="298"/>
                </a:lnTo>
                <a:lnTo>
                  <a:pt x="3194" y="298"/>
                </a:lnTo>
                <a:lnTo>
                  <a:pt x="3186" y="296"/>
                </a:lnTo>
                <a:lnTo>
                  <a:pt x="3178" y="292"/>
                </a:lnTo>
                <a:lnTo>
                  <a:pt x="3174" y="286"/>
                </a:lnTo>
                <a:lnTo>
                  <a:pt x="3174" y="282"/>
                </a:lnTo>
                <a:lnTo>
                  <a:pt x="3176" y="278"/>
                </a:lnTo>
                <a:lnTo>
                  <a:pt x="3176" y="272"/>
                </a:lnTo>
                <a:lnTo>
                  <a:pt x="3174" y="270"/>
                </a:lnTo>
                <a:lnTo>
                  <a:pt x="3166" y="266"/>
                </a:lnTo>
                <a:lnTo>
                  <a:pt x="3152" y="264"/>
                </a:lnTo>
                <a:lnTo>
                  <a:pt x="3144" y="264"/>
                </a:lnTo>
                <a:lnTo>
                  <a:pt x="3134" y="260"/>
                </a:lnTo>
                <a:lnTo>
                  <a:pt x="3118" y="252"/>
                </a:lnTo>
                <a:lnTo>
                  <a:pt x="3082" y="228"/>
                </a:lnTo>
                <a:lnTo>
                  <a:pt x="3062" y="216"/>
                </a:lnTo>
                <a:lnTo>
                  <a:pt x="3040" y="204"/>
                </a:lnTo>
                <a:lnTo>
                  <a:pt x="3028" y="200"/>
                </a:lnTo>
                <a:lnTo>
                  <a:pt x="3014" y="198"/>
                </a:lnTo>
                <a:lnTo>
                  <a:pt x="3002" y="196"/>
                </a:lnTo>
                <a:lnTo>
                  <a:pt x="2988" y="196"/>
                </a:lnTo>
                <a:lnTo>
                  <a:pt x="2972" y="198"/>
                </a:lnTo>
                <a:lnTo>
                  <a:pt x="2970" y="200"/>
                </a:lnTo>
                <a:lnTo>
                  <a:pt x="2968" y="202"/>
                </a:lnTo>
                <a:lnTo>
                  <a:pt x="2970" y="206"/>
                </a:lnTo>
                <a:lnTo>
                  <a:pt x="2976" y="210"/>
                </a:lnTo>
                <a:lnTo>
                  <a:pt x="2982" y="214"/>
                </a:lnTo>
                <a:lnTo>
                  <a:pt x="2984" y="218"/>
                </a:lnTo>
                <a:lnTo>
                  <a:pt x="2982" y="220"/>
                </a:lnTo>
                <a:lnTo>
                  <a:pt x="2980" y="222"/>
                </a:lnTo>
                <a:lnTo>
                  <a:pt x="2966" y="222"/>
                </a:lnTo>
                <a:lnTo>
                  <a:pt x="2950" y="224"/>
                </a:lnTo>
                <a:lnTo>
                  <a:pt x="2940" y="226"/>
                </a:lnTo>
                <a:lnTo>
                  <a:pt x="2936" y="228"/>
                </a:lnTo>
                <a:lnTo>
                  <a:pt x="2932" y="232"/>
                </a:lnTo>
                <a:lnTo>
                  <a:pt x="2926" y="244"/>
                </a:lnTo>
                <a:lnTo>
                  <a:pt x="2924" y="250"/>
                </a:lnTo>
                <a:lnTo>
                  <a:pt x="2920" y="254"/>
                </a:lnTo>
                <a:lnTo>
                  <a:pt x="2910" y="260"/>
                </a:lnTo>
                <a:lnTo>
                  <a:pt x="2900" y="266"/>
                </a:lnTo>
                <a:lnTo>
                  <a:pt x="2894" y="272"/>
                </a:lnTo>
                <a:lnTo>
                  <a:pt x="2888" y="280"/>
                </a:lnTo>
                <a:lnTo>
                  <a:pt x="2886" y="284"/>
                </a:lnTo>
                <a:lnTo>
                  <a:pt x="2886" y="286"/>
                </a:lnTo>
                <a:lnTo>
                  <a:pt x="2888" y="290"/>
                </a:lnTo>
                <a:lnTo>
                  <a:pt x="2892" y="292"/>
                </a:lnTo>
                <a:lnTo>
                  <a:pt x="2904" y="294"/>
                </a:lnTo>
                <a:lnTo>
                  <a:pt x="2918" y="296"/>
                </a:lnTo>
                <a:lnTo>
                  <a:pt x="2946" y="296"/>
                </a:lnTo>
                <a:lnTo>
                  <a:pt x="2954" y="298"/>
                </a:lnTo>
                <a:lnTo>
                  <a:pt x="2958" y="298"/>
                </a:lnTo>
                <a:lnTo>
                  <a:pt x="2958" y="300"/>
                </a:lnTo>
                <a:lnTo>
                  <a:pt x="2954" y="302"/>
                </a:lnTo>
                <a:lnTo>
                  <a:pt x="2950" y="306"/>
                </a:lnTo>
                <a:lnTo>
                  <a:pt x="2940" y="308"/>
                </a:lnTo>
                <a:lnTo>
                  <a:pt x="2926" y="306"/>
                </a:lnTo>
                <a:lnTo>
                  <a:pt x="2910" y="304"/>
                </a:lnTo>
                <a:lnTo>
                  <a:pt x="2882" y="300"/>
                </a:lnTo>
                <a:lnTo>
                  <a:pt x="2874" y="302"/>
                </a:lnTo>
                <a:lnTo>
                  <a:pt x="2870" y="302"/>
                </a:lnTo>
                <a:lnTo>
                  <a:pt x="2870" y="306"/>
                </a:lnTo>
                <a:lnTo>
                  <a:pt x="2870" y="312"/>
                </a:lnTo>
                <a:lnTo>
                  <a:pt x="2872" y="318"/>
                </a:lnTo>
                <a:lnTo>
                  <a:pt x="2876" y="324"/>
                </a:lnTo>
                <a:lnTo>
                  <a:pt x="2884" y="330"/>
                </a:lnTo>
                <a:lnTo>
                  <a:pt x="2900" y="344"/>
                </a:lnTo>
                <a:lnTo>
                  <a:pt x="2922" y="360"/>
                </a:lnTo>
                <a:close/>
                <a:moveTo>
                  <a:pt x="2814" y="444"/>
                </a:moveTo>
                <a:lnTo>
                  <a:pt x="2814" y="444"/>
                </a:lnTo>
                <a:lnTo>
                  <a:pt x="2818" y="448"/>
                </a:lnTo>
                <a:lnTo>
                  <a:pt x="2820" y="450"/>
                </a:lnTo>
                <a:lnTo>
                  <a:pt x="2826" y="454"/>
                </a:lnTo>
                <a:lnTo>
                  <a:pt x="2842" y="458"/>
                </a:lnTo>
                <a:lnTo>
                  <a:pt x="2850" y="462"/>
                </a:lnTo>
                <a:lnTo>
                  <a:pt x="2850" y="464"/>
                </a:lnTo>
                <a:lnTo>
                  <a:pt x="2846" y="466"/>
                </a:lnTo>
                <a:lnTo>
                  <a:pt x="2840" y="468"/>
                </a:lnTo>
                <a:lnTo>
                  <a:pt x="2830" y="472"/>
                </a:lnTo>
                <a:lnTo>
                  <a:pt x="2832" y="474"/>
                </a:lnTo>
                <a:lnTo>
                  <a:pt x="2838" y="474"/>
                </a:lnTo>
                <a:lnTo>
                  <a:pt x="2848" y="476"/>
                </a:lnTo>
                <a:lnTo>
                  <a:pt x="2852" y="478"/>
                </a:lnTo>
                <a:lnTo>
                  <a:pt x="2856" y="482"/>
                </a:lnTo>
                <a:lnTo>
                  <a:pt x="2856" y="486"/>
                </a:lnTo>
                <a:lnTo>
                  <a:pt x="2858" y="490"/>
                </a:lnTo>
                <a:lnTo>
                  <a:pt x="2860" y="490"/>
                </a:lnTo>
                <a:lnTo>
                  <a:pt x="2864" y="490"/>
                </a:lnTo>
                <a:lnTo>
                  <a:pt x="2872" y="488"/>
                </a:lnTo>
                <a:lnTo>
                  <a:pt x="2884" y="484"/>
                </a:lnTo>
                <a:lnTo>
                  <a:pt x="2896" y="482"/>
                </a:lnTo>
                <a:lnTo>
                  <a:pt x="2920" y="478"/>
                </a:lnTo>
                <a:lnTo>
                  <a:pt x="2930" y="476"/>
                </a:lnTo>
                <a:lnTo>
                  <a:pt x="2938" y="474"/>
                </a:lnTo>
                <a:lnTo>
                  <a:pt x="2940" y="470"/>
                </a:lnTo>
                <a:lnTo>
                  <a:pt x="2938" y="466"/>
                </a:lnTo>
                <a:lnTo>
                  <a:pt x="2936" y="460"/>
                </a:lnTo>
                <a:lnTo>
                  <a:pt x="2938" y="456"/>
                </a:lnTo>
                <a:lnTo>
                  <a:pt x="2946" y="450"/>
                </a:lnTo>
                <a:lnTo>
                  <a:pt x="2948" y="448"/>
                </a:lnTo>
                <a:lnTo>
                  <a:pt x="2950" y="446"/>
                </a:lnTo>
                <a:lnTo>
                  <a:pt x="2946" y="442"/>
                </a:lnTo>
                <a:lnTo>
                  <a:pt x="2938" y="436"/>
                </a:lnTo>
                <a:lnTo>
                  <a:pt x="2928" y="432"/>
                </a:lnTo>
                <a:lnTo>
                  <a:pt x="2920" y="430"/>
                </a:lnTo>
                <a:lnTo>
                  <a:pt x="2908" y="430"/>
                </a:lnTo>
                <a:lnTo>
                  <a:pt x="2898" y="428"/>
                </a:lnTo>
                <a:lnTo>
                  <a:pt x="2890" y="424"/>
                </a:lnTo>
                <a:lnTo>
                  <a:pt x="2880" y="420"/>
                </a:lnTo>
                <a:lnTo>
                  <a:pt x="2868" y="412"/>
                </a:lnTo>
                <a:lnTo>
                  <a:pt x="2854" y="408"/>
                </a:lnTo>
                <a:lnTo>
                  <a:pt x="2840" y="406"/>
                </a:lnTo>
                <a:lnTo>
                  <a:pt x="2828" y="404"/>
                </a:lnTo>
                <a:lnTo>
                  <a:pt x="2816" y="406"/>
                </a:lnTo>
                <a:lnTo>
                  <a:pt x="2810" y="408"/>
                </a:lnTo>
                <a:lnTo>
                  <a:pt x="2806" y="414"/>
                </a:lnTo>
                <a:lnTo>
                  <a:pt x="2806" y="416"/>
                </a:lnTo>
                <a:lnTo>
                  <a:pt x="2806" y="420"/>
                </a:lnTo>
                <a:lnTo>
                  <a:pt x="2808" y="426"/>
                </a:lnTo>
                <a:lnTo>
                  <a:pt x="2808" y="430"/>
                </a:lnTo>
                <a:lnTo>
                  <a:pt x="2804" y="432"/>
                </a:lnTo>
                <a:lnTo>
                  <a:pt x="2802" y="434"/>
                </a:lnTo>
                <a:lnTo>
                  <a:pt x="2800" y="436"/>
                </a:lnTo>
                <a:lnTo>
                  <a:pt x="2800" y="438"/>
                </a:lnTo>
                <a:lnTo>
                  <a:pt x="2814" y="444"/>
                </a:lnTo>
                <a:close/>
                <a:moveTo>
                  <a:pt x="2764" y="326"/>
                </a:moveTo>
                <a:lnTo>
                  <a:pt x="2764" y="326"/>
                </a:lnTo>
                <a:lnTo>
                  <a:pt x="2774" y="334"/>
                </a:lnTo>
                <a:lnTo>
                  <a:pt x="2780" y="334"/>
                </a:lnTo>
                <a:lnTo>
                  <a:pt x="2784" y="334"/>
                </a:lnTo>
                <a:lnTo>
                  <a:pt x="2788" y="332"/>
                </a:lnTo>
                <a:lnTo>
                  <a:pt x="2790" y="330"/>
                </a:lnTo>
                <a:lnTo>
                  <a:pt x="2792" y="324"/>
                </a:lnTo>
                <a:lnTo>
                  <a:pt x="2792" y="316"/>
                </a:lnTo>
                <a:lnTo>
                  <a:pt x="2788" y="308"/>
                </a:lnTo>
                <a:lnTo>
                  <a:pt x="2780" y="302"/>
                </a:lnTo>
                <a:lnTo>
                  <a:pt x="2770" y="298"/>
                </a:lnTo>
                <a:lnTo>
                  <a:pt x="2760" y="296"/>
                </a:lnTo>
                <a:lnTo>
                  <a:pt x="2750" y="296"/>
                </a:lnTo>
                <a:lnTo>
                  <a:pt x="2742" y="298"/>
                </a:lnTo>
                <a:lnTo>
                  <a:pt x="2736" y="302"/>
                </a:lnTo>
                <a:lnTo>
                  <a:pt x="2734" y="306"/>
                </a:lnTo>
                <a:lnTo>
                  <a:pt x="2734" y="310"/>
                </a:lnTo>
                <a:lnTo>
                  <a:pt x="2736" y="314"/>
                </a:lnTo>
                <a:lnTo>
                  <a:pt x="2738" y="316"/>
                </a:lnTo>
                <a:lnTo>
                  <a:pt x="2744" y="320"/>
                </a:lnTo>
                <a:lnTo>
                  <a:pt x="2752" y="320"/>
                </a:lnTo>
                <a:lnTo>
                  <a:pt x="2758" y="322"/>
                </a:lnTo>
                <a:lnTo>
                  <a:pt x="2764" y="326"/>
                </a:lnTo>
                <a:close/>
                <a:moveTo>
                  <a:pt x="2352" y="636"/>
                </a:moveTo>
                <a:lnTo>
                  <a:pt x="2352" y="636"/>
                </a:lnTo>
                <a:lnTo>
                  <a:pt x="2346" y="642"/>
                </a:lnTo>
                <a:lnTo>
                  <a:pt x="2344" y="644"/>
                </a:lnTo>
                <a:lnTo>
                  <a:pt x="2346" y="646"/>
                </a:lnTo>
                <a:lnTo>
                  <a:pt x="2350" y="648"/>
                </a:lnTo>
                <a:lnTo>
                  <a:pt x="2360" y="650"/>
                </a:lnTo>
                <a:lnTo>
                  <a:pt x="2370" y="652"/>
                </a:lnTo>
                <a:lnTo>
                  <a:pt x="2378" y="654"/>
                </a:lnTo>
                <a:lnTo>
                  <a:pt x="2384" y="658"/>
                </a:lnTo>
                <a:lnTo>
                  <a:pt x="2386" y="662"/>
                </a:lnTo>
                <a:lnTo>
                  <a:pt x="2386" y="664"/>
                </a:lnTo>
                <a:lnTo>
                  <a:pt x="2382" y="670"/>
                </a:lnTo>
                <a:lnTo>
                  <a:pt x="2378" y="672"/>
                </a:lnTo>
                <a:lnTo>
                  <a:pt x="2370" y="672"/>
                </a:lnTo>
                <a:lnTo>
                  <a:pt x="2362" y="670"/>
                </a:lnTo>
                <a:lnTo>
                  <a:pt x="2340" y="666"/>
                </a:lnTo>
                <a:lnTo>
                  <a:pt x="2326" y="666"/>
                </a:lnTo>
                <a:lnTo>
                  <a:pt x="2312" y="668"/>
                </a:lnTo>
                <a:lnTo>
                  <a:pt x="2298" y="670"/>
                </a:lnTo>
                <a:lnTo>
                  <a:pt x="2292" y="670"/>
                </a:lnTo>
                <a:lnTo>
                  <a:pt x="2288" y="666"/>
                </a:lnTo>
                <a:lnTo>
                  <a:pt x="2286" y="662"/>
                </a:lnTo>
                <a:lnTo>
                  <a:pt x="2282" y="656"/>
                </a:lnTo>
                <a:lnTo>
                  <a:pt x="2278" y="648"/>
                </a:lnTo>
                <a:lnTo>
                  <a:pt x="2266" y="638"/>
                </a:lnTo>
                <a:lnTo>
                  <a:pt x="2250" y="624"/>
                </a:lnTo>
                <a:lnTo>
                  <a:pt x="2230" y="616"/>
                </a:lnTo>
                <a:lnTo>
                  <a:pt x="2216" y="612"/>
                </a:lnTo>
                <a:lnTo>
                  <a:pt x="2206" y="612"/>
                </a:lnTo>
                <a:lnTo>
                  <a:pt x="2196" y="614"/>
                </a:lnTo>
                <a:lnTo>
                  <a:pt x="2190" y="618"/>
                </a:lnTo>
                <a:lnTo>
                  <a:pt x="2186" y="620"/>
                </a:lnTo>
                <a:lnTo>
                  <a:pt x="2180" y="618"/>
                </a:lnTo>
                <a:lnTo>
                  <a:pt x="2174" y="610"/>
                </a:lnTo>
                <a:lnTo>
                  <a:pt x="2168" y="602"/>
                </a:lnTo>
                <a:lnTo>
                  <a:pt x="2160" y="596"/>
                </a:lnTo>
                <a:lnTo>
                  <a:pt x="2152" y="594"/>
                </a:lnTo>
                <a:lnTo>
                  <a:pt x="2142" y="596"/>
                </a:lnTo>
                <a:lnTo>
                  <a:pt x="2132" y="598"/>
                </a:lnTo>
                <a:lnTo>
                  <a:pt x="2120" y="602"/>
                </a:lnTo>
                <a:lnTo>
                  <a:pt x="2090" y="614"/>
                </a:lnTo>
                <a:lnTo>
                  <a:pt x="2072" y="622"/>
                </a:lnTo>
                <a:lnTo>
                  <a:pt x="2072" y="624"/>
                </a:lnTo>
                <a:lnTo>
                  <a:pt x="2072" y="626"/>
                </a:lnTo>
                <a:lnTo>
                  <a:pt x="2076" y="628"/>
                </a:lnTo>
                <a:lnTo>
                  <a:pt x="2076" y="632"/>
                </a:lnTo>
                <a:lnTo>
                  <a:pt x="2072" y="638"/>
                </a:lnTo>
                <a:lnTo>
                  <a:pt x="2062" y="646"/>
                </a:lnTo>
                <a:lnTo>
                  <a:pt x="2054" y="654"/>
                </a:lnTo>
                <a:lnTo>
                  <a:pt x="2050" y="658"/>
                </a:lnTo>
                <a:lnTo>
                  <a:pt x="2050" y="662"/>
                </a:lnTo>
                <a:lnTo>
                  <a:pt x="2052" y="662"/>
                </a:lnTo>
                <a:lnTo>
                  <a:pt x="2056" y="664"/>
                </a:lnTo>
                <a:lnTo>
                  <a:pt x="2056" y="666"/>
                </a:lnTo>
                <a:lnTo>
                  <a:pt x="2052" y="670"/>
                </a:lnTo>
                <a:lnTo>
                  <a:pt x="2044" y="676"/>
                </a:lnTo>
                <a:lnTo>
                  <a:pt x="2034" y="684"/>
                </a:lnTo>
                <a:lnTo>
                  <a:pt x="2030" y="690"/>
                </a:lnTo>
                <a:lnTo>
                  <a:pt x="2032" y="694"/>
                </a:lnTo>
                <a:lnTo>
                  <a:pt x="2036" y="696"/>
                </a:lnTo>
                <a:lnTo>
                  <a:pt x="2056" y="702"/>
                </a:lnTo>
                <a:lnTo>
                  <a:pt x="2084" y="710"/>
                </a:lnTo>
                <a:lnTo>
                  <a:pt x="2096" y="712"/>
                </a:lnTo>
                <a:lnTo>
                  <a:pt x="2106" y="712"/>
                </a:lnTo>
                <a:lnTo>
                  <a:pt x="2114" y="710"/>
                </a:lnTo>
                <a:lnTo>
                  <a:pt x="2118" y="708"/>
                </a:lnTo>
                <a:lnTo>
                  <a:pt x="2124" y="702"/>
                </a:lnTo>
                <a:lnTo>
                  <a:pt x="2126" y="702"/>
                </a:lnTo>
                <a:lnTo>
                  <a:pt x="2130" y="704"/>
                </a:lnTo>
                <a:lnTo>
                  <a:pt x="2136" y="712"/>
                </a:lnTo>
                <a:lnTo>
                  <a:pt x="2140" y="714"/>
                </a:lnTo>
                <a:lnTo>
                  <a:pt x="2144" y="716"/>
                </a:lnTo>
                <a:lnTo>
                  <a:pt x="2148" y="714"/>
                </a:lnTo>
                <a:lnTo>
                  <a:pt x="2154" y="714"/>
                </a:lnTo>
                <a:lnTo>
                  <a:pt x="2158" y="710"/>
                </a:lnTo>
                <a:lnTo>
                  <a:pt x="2164" y="704"/>
                </a:lnTo>
                <a:lnTo>
                  <a:pt x="2174" y="692"/>
                </a:lnTo>
                <a:lnTo>
                  <a:pt x="2180" y="686"/>
                </a:lnTo>
                <a:lnTo>
                  <a:pt x="2182" y="686"/>
                </a:lnTo>
                <a:lnTo>
                  <a:pt x="2184" y="688"/>
                </a:lnTo>
                <a:lnTo>
                  <a:pt x="2182" y="696"/>
                </a:lnTo>
                <a:lnTo>
                  <a:pt x="2182" y="700"/>
                </a:lnTo>
                <a:lnTo>
                  <a:pt x="2184" y="704"/>
                </a:lnTo>
                <a:lnTo>
                  <a:pt x="2188" y="706"/>
                </a:lnTo>
                <a:lnTo>
                  <a:pt x="2196" y="706"/>
                </a:lnTo>
                <a:lnTo>
                  <a:pt x="2222" y="704"/>
                </a:lnTo>
                <a:lnTo>
                  <a:pt x="2262" y="698"/>
                </a:lnTo>
                <a:lnTo>
                  <a:pt x="2282" y="694"/>
                </a:lnTo>
                <a:lnTo>
                  <a:pt x="2292" y="694"/>
                </a:lnTo>
                <a:lnTo>
                  <a:pt x="2296" y="696"/>
                </a:lnTo>
                <a:lnTo>
                  <a:pt x="2294" y="700"/>
                </a:lnTo>
                <a:lnTo>
                  <a:pt x="2286" y="702"/>
                </a:lnTo>
                <a:lnTo>
                  <a:pt x="2274" y="706"/>
                </a:lnTo>
                <a:lnTo>
                  <a:pt x="2258" y="710"/>
                </a:lnTo>
                <a:lnTo>
                  <a:pt x="2242" y="712"/>
                </a:lnTo>
                <a:lnTo>
                  <a:pt x="2206" y="718"/>
                </a:lnTo>
                <a:lnTo>
                  <a:pt x="2188" y="722"/>
                </a:lnTo>
                <a:lnTo>
                  <a:pt x="2176" y="726"/>
                </a:lnTo>
                <a:lnTo>
                  <a:pt x="2166" y="732"/>
                </a:lnTo>
                <a:lnTo>
                  <a:pt x="2164" y="734"/>
                </a:lnTo>
                <a:lnTo>
                  <a:pt x="2164" y="738"/>
                </a:lnTo>
                <a:lnTo>
                  <a:pt x="2164" y="740"/>
                </a:lnTo>
                <a:lnTo>
                  <a:pt x="2168" y="744"/>
                </a:lnTo>
                <a:lnTo>
                  <a:pt x="2184" y="752"/>
                </a:lnTo>
                <a:lnTo>
                  <a:pt x="2196" y="756"/>
                </a:lnTo>
                <a:lnTo>
                  <a:pt x="2210" y="758"/>
                </a:lnTo>
                <a:lnTo>
                  <a:pt x="2222" y="756"/>
                </a:lnTo>
                <a:lnTo>
                  <a:pt x="2236" y="756"/>
                </a:lnTo>
                <a:lnTo>
                  <a:pt x="2266" y="748"/>
                </a:lnTo>
                <a:lnTo>
                  <a:pt x="2298" y="740"/>
                </a:lnTo>
                <a:lnTo>
                  <a:pt x="2312" y="736"/>
                </a:lnTo>
                <a:lnTo>
                  <a:pt x="2326" y="730"/>
                </a:lnTo>
                <a:lnTo>
                  <a:pt x="2348" y="718"/>
                </a:lnTo>
                <a:lnTo>
                  <a:pt x="2360" y="714"/>
                </a:lnTo>
                <a:lnTo>
                  <a:pt x="2370" y="712"/>
                </a:lnTo>
                <a:lnTo>
                  <a:pt x="2380" y="712"/>
                </a:lnTo>
                <a:lnTo>
                  <a:pt x="2390" y="714"/>
                </a:lnTo>
                <a:lnTo>
                  <a:pt x="2400" y="716"/>
                </a:lnTo>
                <a:lnTo>
                  <a:pt x="2408" y="716"/>
                </a:lnTo>
                <a:lnTo>
                  <a:pt x="2412" y="716"/>
                </a:lnTo>
                <a:lnTo>
                  <a:pt x="2416" y="714"/>
                </a:lnTo>
                <a:lnTo>
                  <a:pt x="2420" y="712"/>
                </a:lnTo>
                <a:lnTo>
                  <a:pt x="2424" y="710"/>
                </a:lnTo>
                <a:lnTo>
                  <a:pt x="2430" y="710"/>
                </a:lnTo>
                <a:lnTo>
                  <a:pt x="2440" y="712"/>
                </a:lnTo>
                <a:lnTo>
                  <a:pt x="2450" y="714"/>
                </a:lnTo>
                <a:lnTo>
                  <a:pt x="2460" y="716"/>
                </a:lnTo>
                <a:lnTo>
                  <a:pt x="2472" y="714"/>
                </a:lnTo>
                <a:lnTo>
                  <a:pt x="2480" y="710"/>
                </a:lnTo>
                <a:lnTo>
                  <a:pt x="2490" y="704"/>
                </a:lnTo>
                <a:lnTo>
                  <a:pt x="2500" y="696"/>
                </a:lnTo>
                <a:lnTo>
                  <a:pt x="2512" y="684"/>
                </a:lnTo>
                <a:lnTo>
                  <a:pt x="2522" y="672"/>
                </a:lnTo>
                <a:lnTo>
                  <a:pt x="2526" y="664"/>
                </a:lnTo>
                <a:lnTo>
                  <a:pt x="2530" y="658"/>
                </a:lnTo>
                <a:lnTo>
                  <a:pt x="2530" y="654"/>
                </a:lnTo>
                <a:lnTo>
                  <a:pt x="2530" y="648"/>
                </a:lnTo>
                <a:lnTo>
                  <a:pt x="2526" y="644"/>
                </a:lnTo>
                <a:lnTo>
                  <a:pt x="2522" y="642"/>
                </a:lnTo>
                <a:lnTo>
                  <a:pt x="2512" y="636"/>
                </a:lnTo>
                <a:lnTo>
                  <a:pt x="2500" y="634"/>
                </a:lnTo>
                <a:lnTo>
                  <a:pt x="2486" y="632"/>
                </a:lnTo>
                <a:lnTo>
                  <a:pt x="2474" y="632"/>
                </a:lnTo>
                <a:lnTo>
                  <a:pt x="2466" y="634"/>
                </a:lnTo>
                <a:lnTo>
                  <a:pt x="2450" y="640"/>
                </a:lnTo>
                <a:lnTo>
                  <a:pt x="2436" y="646"/>
                </a:lnTo>
                <a:lnTo>
                  <a:pt x="2432" y="646"/>
                </a:lnTo>
                <a:lnTo>
                  <a:pt x="2428" y="646"/>
                </a:lnTo>
                <a:lnTo>
                  <a:pt x="2428" y="644"/>
                </a:lnTo>
                <a:lnTo>
                  <a:pt x="2430" y="638"/>
                </a:lnTo>
                <a:lnTo>
                  <a:pt x="2432" y="632"/>
                </a:lnTo>
                <a:lnTo>
                  <a:pt x="2430" y="630"/>
                </a:lnTo>
                <a:lnTo>
                  <a:pt x="2424" y="628"/>
                </a:lnTo>
                <a:lnTo>
                  <a:pt x="2420" y="626"/>
                </a:lnTo>
                <a:lnTo>
                  <a:pt x="2414" y="626"/>
                </a:lnTo>
                <a:lnTo>
                  <a:pt x="2412" y="624"/>
                </a:lnTo>
                <a:lnTo>
                  <a:pt x="2410" y="622"/>
                </a:lnTo>
                <a:lnTo>
                  <a:pt x="2414" y="618"/>
                </a:lnTo>
                <a:lnTo>
                  <a:pt x="2418" y="612"/>
                </a:lnTo>
                <a:lnTo>
                  <a:pt x="2418" y="610"/>
                </a:lnTo>
                <a:lnTo>
                  <a:pt x="2416" y="608"/>
                </a:lnTo>
                <a:lnTo>
                  <a:pt x="2414" y="606"/>
                </a:lnTo>
                <a:lnTo>
                  <a:pt x="2410" y="604"/>
                </a:lnTo>
                <a:lnTo>
                  <a:pt x="2406" y="600"/>
                </a:lnTo>
                <a:lnTo>
                  <a:pt x="2402" y="592"/>
                </a:lnTo>
                <a:lnTo>
                  <a:pt x="2400" y="582"/>
                </a:lnTo>
                <a:lnTo>
                  <a:pt x="2398" y="574"/>
                </a:lnTo>
                <a:lnTo>
                  <a:pt x="2394" y="568"/>
                </a:lnTo>
                <a:lnTo>
                  <a:pt x="2388" y="566"/>
                </a:lnTo>
                <a:lnTo>
                  <a:pt x="2380" y="568"/>
                </a:lnTo>
                <a:lnTo>
                  <a:pt x="2370" y="570"/>
                </a:lnTo>
                <a:lnTo>
                  <a:pt x="2358" y="576"/>
                </a:lnTo>
                <a:lnTo>
                  <a:pt x="2332" y="594"/>
                </a:lnTo>
                <a:lnTo>
                  <a:pt x="2324" y="598"/>
                </a:lnTo>
                <a:lnTo>
                  <a:pt x="2322" y="602"/>
                </a:lnTo>
                <a:lnTo>
                  <a:pt x="2320" y="604"/>
                </a:lnTo>
                <a:lnTo>
                  <a:pt x="2322" y="608"/>
                </a:lnTo>
                <a:lnTo>
                  <a:pt x="2328" y="612"/>
                </a:lnTo>
                <a:lnTo>
                  <a:pt x="2338" y="616"/>
                </a:lnTo>
                <a:lnTo>
                  <a:pt x="2350" y="620"/>
                </a:lnTo>
                <a:lnTo>
                  <a:pt x="2358" y="624"/>
                </a:lnTo>
                <a:lnTo>
                  <a:pt x="2360" y="626"/>
                </a:lnTo>
                <a:lnTo>
                  <a:pt x="2360" y="628"/>
                </a:lnTo>
                <a:lnTo>
                  <a:pt x="2358" y="632"/>
                </a:lnTo>
                <a:lnTo>
                  <a:pt x="2352" y="636"/>
                </a:lnTo>
                <a:close/>
                <a:moveTo>
                  <a:pt x="2556" y="544"/>
                </a:moveTo>
                <a:lnTo>
                  <a:pt x="2556" y="544"/>
                </a:lnTo>
                <a:lnTo>
                  <a:pt x="2566" y="544"/>
                </a:lnTo>
                <a:lnTo>
                  <a:pt x="2568" y="542"/>
                </a:lnTo>
                <a:lnTo>
                  <a:pt x="2570" y="540"/>
                </a:lnTo>
                <a:lnTo>
                  <a:pt x="2570" y="536"/>
                </a:lnTo>
                <a:lnTo>
                  <a:pt x="2568" y="532"/>
                </a:lnTo>
                <a:lnTo>
                  <a:pt x="2556" y="520"/>
                </a:lnTo>
                <a:lnTo>
                  <a:pt x="2546" y="512"/>
                </a:lnTo>
                <a:lnTo>
                  <a:pt x="2536" y="504"/>
                </a:lnTo>
                <a:lnTo>
                  <a:pt x="2526" y="500"/>
                </a:lnTo>
                <a:lnTo>
                  <a:pt x="2516" y="496"/>
                </a:lnTo>
                <a:lnTo>
                  <a:pt x="2508" y="494"/>
                </a:lnTo>
                <a:lnTo>
                  <a:pt x="2502" y="494"/>
                </a:lnTo>
                <a:lnTo>
                  <a:pt x="2500" y="496"/>
                </a:lnTo>
                <a:lnTo>
                  <a:pt x="2500" y="500"/>
                </a:lnTo>
                <a:lnTo>
                  <a:pt x="2508" y="514"/>
                </a:lnTo>
                <a:lnTo>
                  <a:pt x="2518" y="530"/>
                </a:lnTo>
                <a:lnTo>
                  <a:pt x="2524" y="536"/>
                </a:lnTo>
                <a:lnTo>
                  <a:pt x="2534" y="542"/>
                </a:lnTo>
                <a:lnTo>
                  <a:pt x="2544" y="544"/>
                </a:lnTo>
                <a:lnTo>
                  <a:pt x="2556" y="544"/>
                </a:lnTo>
                <a:close/>
                <a:moveTo>
                  <a:pt x="1828" y="630"/>
                </a:moveTo>
                <a:lnTo>
                  <a:pt x="1828" y="630"/>
                </a:lnTo>
                <a:lnTo>
                  <a:pt x="1826" y="636"/>
                </a:lnTo>
                <a:lnTo>
                  <a:pt x="1826" y="638"/>
                </a:lnTo>
                <a:lnTo>
                  <a:pt x="1828" y="640"/>
                </a:lnTo>
                <a:lnTo>
                  <a:pt x="1830" y="640"/>
                </a:lnTo>
                <a:lnTo>
                  <a:pt x="1838" y="638"/>
                </a:lnTo>
                <a:lnTo>
                  <a:pt x="1850" y="632"/>
                </a:lnTo>
                <a:lnTo>
                  <a:pt x="1856" y="628"/>
                </a:lnTo>
                <a:lnTo>
                  <a:pt x="1860" y="628"/>
                </a:lnTo>
                <a:lnTo>
                  <a:pt x="1864" y="628"/>
                </a:lnTo>
                <a:lnTo>
                  <a:pt x="1868" y="630"/>
                </a:lnTo>
                <a:lnTo>
                  <a:pt x="1874" y="634"/>
                </a:lnTo>
                <a:lnTo>
                  <a:pt x="1880" y="636"/>
                </a:lnTo>
                <a:lnTo>
                  <a:pt x="1886" y="636"/>
                </a:lnTo>
                <a:lnTo>
                  <a:pt x="1892" y="636"/>
                </a:lnTo>
                <a:lnTo>
                  <a:pt x="1896" y="632"/>
                </a:lnTo>
                <a:lnTo>
                  <a:pt x="1900" y="626"/>
                </a:lnTo>
                <a:lnTo>
                  <a:pt x="1902" y="626"/>
                </a:lnTo>
                <a:lnTo>
                  <a:pt x="1904" y="626"/>
                </a:lnTo>
                <a:lnTo>
                  <a:pt x="1908" y="634"/>
                </a:lnTo>
                <a:lnTo>
                  <a:pt x="1914" y="642"/>
                </a:lnTo>
                <a:lnTo>
                  <a:pt x="1920" y="646"/>
                </a:lnTo>
                <a:lnTo>
                  <a:pt x="1926" y="650"/>
                </a:lnTo>
                <a:lnTo>
                  <a:pt x="1934" y="650"/>
                </a:lnTo>
                <a:lnTo>
                  <a:pt x="1940" y="648"/>
                </a:lnTo>
                <a:lnTo>
                  <a:pt x="1946" y="642"/>
                </a:lnTo>
                <a:lnTo>
                  <a:pt x="1950" y="636"/>
                </a:lnTo>
                <a:lnTo>
                  <a:pt x="1952" y="624"/>
                </a:lnTo>
                <a:lnTo>
                  <a:pt x="1952" y="616"/>
                </a:lnTo>
                <a:lnTo>
                  <a:pt x="1954" y="614"/>
                </a:lnTo>
                <a:lnTo>
                  <a:pt x="1960" y="622"/>
                </a:lnTo>
                <a:lnTo>
                  <a:pt x="1964" y="626"/>
                </a:lnTo>
                <a:lnTo>
                  <a:pt x="1968" y="626"/>
                </a:lnTo>
                <a:lnTo>
                  <a:pt x="1970" y="626"/>
                </a:lnTo>
                <a:lnTo>
                  <a:pt x="1974" y="624"/>
                </a:lnTo>
                <a:lnTo>
                  <a:pt x="1978" y="620"/>
                </a:lnTo>
                <a:lnTo>
                  <a:pt x="1988" y="606"/>
                </a:lnTo>
                <a:lnTo>
                  <a:pt x="1994" y="594"/>
                </a:lnTo>
                <a:lnTo>
                  <a:pt x="1996" y="586"/>
                </a:lnTo>
                <a:lnTo>
                  <a:pt x="1996" y="580"/>
                </a:lnTo>
                <a:lnTo>
                  <a:pt x="1998" y="578"/>
                </a:lnTo>
                <a:lnTo>
                  <a:pt x="2000" y="576"/>
                </a:lnTo>
                <a:lnTo>
                  <a:pt x="2014" y="570"/>
                </a:lnTo>
                <a:lnTo>
                  <a:pt x="2020" y="568"/>
                </a:lnTo>
                <a:lnTo>
                  <a:pt x="2022" y="568"/>
                </a:lnTo>
                <a:lnTo>
                  <a:pt x="2024" y="570"/>
                </a:lnTo>
                <a:lnTo>
                  <a:pt x="2022" y="576"/>
                </a:lnTo>
                <a:lnTo>
                  <a:pt x="2020" y="582"/>
                </a:lnTo>
                <a:lnTo>
                  <a:pt x="2020" y="590"/>
                </a:lnTo>
                <a:lnTo>
                  <a:pt x="2020" y="600"/>
                </a:lnTo>
                <a:lnTo>
                  <a:pt x="2022" y="602"/>
                </a:lnTo>
                <a:lnTo>
                  <a:pt x="2024" y="606"/>
                </a:lnTo>
                <a:lnTo>
                  <a:pt x="2030" y="608"/>
                </a:lnTo>
                <a:lnTo>
                  <a:pt x="2036" y="610"/>
                </a:lnTo>
                <a:lnTo>
                  <a:pt x="2050" y="612"/>
                </a:lnTo>
                <a:lnTo>
                  <a:pt x="2056" y="610"/>
                </a:lnTo>
                <a:lnTo>
                  <a:pt x="2060" y="608"/>
                </a:lnTo>
                <a:lnTo>
                  <a:pt x="2060" y="602"/>
                </a:lnTo>
                <a:lnTo>
                  <a:pt x="2058" y="598"/>
                </a:lnTo>
                <a:lnTo>
                  <a:pt x="2058" y="594"/>
                </a:lnTo>
                <a:lnTo>
                  <a:pt x="2060" y="590"/>
                </a:lnTo>
                <a:lnTo>
                  <a:pt x="2068" y="588"/>
                </a:lnTo>
                <a:lnTo>
                  <a:pt x="2090" y="584"/>
                </a:lnTo>
                <a:lnTo>
                  <a:pt x="2098" y="580"/>
                </a:lnTo>
                <a:lnTo>
                  <a:pt x="2104" y="576"/>
                </a:lnTo>
                <a:lnTo>
                  <a:pt x="2108" y="572"/>
                </a:lnTo>
                <a:lnTo>
                  <a:pt x="2108" y="566"/>
                </a:lnTo>
                <a:lnTo>
                  <a:pt x="2104" y="560"/>
                </a:lnTo>
                <a:lnTo>
                  <a:pt x="2094" y="552"/>
                </a:lnTo>
                <a:lnTo>
                  <a:pt x="2088" y="550"/>
                </a:lnTo>
                <a:lnTo>
                  <a:pt x="2086" y="548"/>
                </a:lnTo>
                <a:lnTo>
                  <a:pt x="2086" y="544"/>
                </a:lnTo>
                <a:lnTo>
                  <a:pt x="2088" y="542"/>
                </a:lnTo>
                <a:lnTo>
                  <a:pt x="2094" y="538"/>
                </a:lnTo>
                <a:lnTo>
                  <a:pt x="2102" y="536"/>
                </a:lnTo>
                <a:lnTo>
                  <a:pt x="2110" y="532"/>
                </a:lnTo>
                <a:lnTo>
                  <a:pt x="2114" y="530"/>
                </a:lnTo>
                <a:lnTo>
                  <a:pt x="2114" y="528"/>
                </a:lnTo>
                <a:lnTo>
                  <a:pt x="2112" y="524"/>
                </a:lnTo>
                <a:lnTo>
                  <a:pt x="2102" y="520"/>
                </a:lnTo>
                <a:lnTo>
                  <a:pt x="2080" y="512"/>
                </a:lnTo>
                <a:lnTo>
                  <a:pt x="2074" y="510"/>
                </a:lnTo>
                <a:lnTo>
                  <a:pt x="2068" y="512"/>
                </a:lnTo>
                <a:lnTo>
                  <a:pt x="2064" y="512"/>
                </a:lnTo>
                <a:lnTo>
                  <a:pt x="2060" y="516"/>
                </a:lnTo>
                <a:lnTo>
                  <a:pt x="2052" y="524"/>
                </a:lnTo>
                <a:lnTo>
                  <a:pt x="2050" y="526"/>
                </a:lnTo>
                <a:lnTo>
                  <a:pt x="2046" y="528"/>
                </a:lnTo>
                <a:lnTo>
                  <a:pt x="2038" y="528"/>
                </a:lnTo>
                <a:lnTo>
                  <a:pt x="2016" y="522"/>
                </a:lnTo>
                <a:lnTo>
                  <a:pt x="2002" y="522"/>
                </a:lnTo>
                <a:lnTo>
                  <a:pt x="1984" y="526"/>
                </a:lnTo>
                <a:lnTo>
                  <a:pt x="1974" y="528"/>
                </a:lnTo>
                <a:lnTo>
                  <a:pt x="1964" y="534"/>
                </a:lnTo>
                <a:lnTo>
                  <a:pt x="1954" y="540"/>
                </a:lnTo>
                <a:lnTo>
                  <a:pt x="1942" y="548"/>
                </a:lnTo>
                <a:lnTo>
                  <a:pt x="1926" y="562"/>
                </a:lnTo>
                <a:lnTo>
                  <a:pt x="1916" y="568"/>
                </a:lnTo>
                <a:lnTo>
                  <a:pt x="1908" y="572"/>
                </a:lnTo>
                <a:lnTo>
                  <a:pt x="1904" y="574"/>
                </a:lnTo>
                <a:lnTo>
                  <a:pt x="1896" y="576"/>
                </a:lnTo>
                <a:lnTo>
                  <a:pt x="1890" y="580"/>
                </a:lnTo>
                <a:lnTo>
                  <a:pt x="1882" y="588"/>
                </a:lnTo>
                <a:lnTo>
                  <a:pt x="1872" y="596"/>
                </a:lnTo>
                <a:lnTo>
                  <a:pt x="1864" y="600"/>
                </a:lnTo>
                <a:lnTo>
                  <a:pt x="1858" y="600"/>
                </a:lnTo>
                <a:lnTo>
                  <a:pt x="1852" y="600"/>
                </a:lnTo>
                <a:lnTo>
                  <a:pt x="1848" y="598"/>
                </a:lnTo>
                <a:lnTo>
                  <a:pt x="1842" y="598"/>
                </a:lnTo>
                <a:lnTo>
                  <a:pt x="1834" y="600"/>
                </a:lnTo>
                <a:lnTo>
                  <a:pt x="1826" y="608"/>
                </a:lnTo>
                <a:lnTo>
                  <a:pt x="1818" y="616"/>
                </a:lnTo>
                <a:lnTo>
                  <a:pt x="1816" y="620"/>
                </a:lnTo>
                <a:lnTo>
                  <a:pt x="1816" y="622"/>
                </a:lnTo>
                <a:lnTo>
                  <a:pt x="1818" y="624"/>
                </a:lnTo>
                <a:lnTo>
                  <a:pt x="1826" y="626"/>
                </a:lnTo>
                <a:lnTo>
                  <a:pt x="1828" y="628"/>
                </a:lnTo>
                <a:lnTo>
                  <a:pt x="1828" y="630"/>
                </a:lnTo>
                <a:close/>
                <a:moveTo>
                  <a:pt x="2226" y="448"/>
                </a:moveTo>
                <a:lnTo>
                  <a:pt x="2226" y="448"/>
                </a:lnTo>
                <a:lnTo>
                  <a:pt x="2232" y="448"/>
                </a:lnTo>
                <a:lnTo>
                  <a:pt x="2240" y="448"/>
                </a:lnTo>
                <a:lnTo>
                  <a:pt x="2268" y="452"/>
                </a:lnTo>
                <a:lnTo>
                  <a:pt x="2278" y="452"/>
                </a:lnTo>
                <a:lnTo>
                  <a:pt x="2282" y="450"/>
                </a:lnTo>
                <a:lnTo>
                  <a:pt x="2290" y="448"/>
                </a:lnTo>
                <a:lnTo>
                  <a:pt x="2314" y="450"/>
                </a:lnTo>
                <a:lnTo>
                  <a:pt x="2330" y="450"/>
                </a:lnTo>
                <a:lnTo>
                  <a:pt x="2346" y="450"/>
                </a:lnTo>
                <a:lnTo>
                  <a:pt x="2358" y="448"/>
                </a:lnTo>
                <a:lnTo>
                  <a:pt x="2366" y="444"/>
                </a:lnTo>
                <a:lnTo>
                  <a:pt x="2368" y="440"/>
                </a:lnTo>
                <a:lnTo>
                  <a:pt x="2368" y="436"/>
                </a:lnTo>
                <a:lnTo>
                  <a:pt x="2368" y="434"/>
                </a:lnTo>
                <a:lnTo>
                  <a:pt x="2360" y="428"/>
                </a:lnTo>
                <a:lnTo>
                  <a:pt x="2344" y="422"/>
                </a:lnTo>
                <a:lnTo>
                  <a:pt x="2328" y="416"/>
                </a:lnTo>
                <a:lnTo>
                  <a:pt x="2314" y="414"/>
                </a:lnTo>
                <a:lnTo>
                  <a:pt x="2302" y="416"/>
                </a:lnTo>
                <a:lnTo>
                  <a:pt x="2292" y="418"/>
                </a:lnTo>
                <a:lnTo>
                  <a:pt x="2270" y="426"/>
                </a:lnTo>
                <a:lnTo>
                  <a:pt x="2258" y="430"/>
                </a:lnTo>
                <a:lnTo>
                  <a:pt x="2242" y="432"/>
                </a:lnTo>
                <a:lnTo>
                  <a:pt x="2228" y="434"/>
                </a:lnTo>
                <a:lnTo>
                  <a:pt x="2216" y="438"/>
                </a:lnTo>
                <a:lnTo>
                  <a:pt x="2210" y="442"/>
                </a:lnTo>
                <a:lnTo>
                  <a:pt x="2206" y="446"/>
                </a:lnTo>
                <a:lnTo>
                  <a:pt x="2208" y="450"/>
                </a:lnTo>
                <a:lnTo>
                  <a:pt x="2210" y="450"/>
                </a:lnTo>
                <a:lnTo>
                  <a:pt x="2218" y="450"/>
                </a:lnTo>
                <a:lnTo>
                  <a:pt x="2226" y="448"/>
                </a:lnTo>
                <a:close/>
                <a:moveTo>
                  <a:pt x="2308" y="518"/>
                </a:moveTo>
                <a:lnTo>
                  <a:pt x="2308" y="518"/>
                </a:lnTo>
                <a:lnTo>
                  <a:pt x="2322" y="516"/>
                </a:lnTo>
                <a:lnTo>
                  <a:pt x="2332" y="512"/>
                </a:lnTo>
                <a:lnTo>
                  <a:pt x="2338" y="508"/>
                </a:lnTo>
                <a:lnTo>
                  <a:pt x="2340" y="502"/>
                </a:lnTo>
                <a:lnTo>
                  <a:pt x="2340" y="498"/>
                </a:lnTo>
                <a:lnTo>
                  <a:pt x="2336" y="494"/>
                </a:lnTo>
                <a:lnTo>
                  <a:pt x="2328" y="490"/>
                </a:lnTo>
                <a:lnTo>
                  <a:pt x="2316" y="488"/>
                </a:lnTo>
                <a:lnTo>
                  <a:pt x="2308" y="488"/>
                </a:lnTo>
                <a:lnTo>
                  <a:pt x="2306" y="486"/>
                </a:lnTo>
                <a:lnTo>
                  <a:pt x="2320" y="484"/>
                </a:lnTo>
                <a:lnTo>
                  <a:pt x="2340" y="480"/>
                </a:lnTo>
                <a:lnTo>
                  <a:pt x="2350" y="476"/>
                </a:lnTo>
                <a:lnTo>
                  <a:pt x="2356" y="470"/>
                </a:lnTo>
                <a:lnTo>
                  <a:pt x="2356" y="468"/>
                </a:lnTo>
                <a:lnTo>
                  <a:pt x="2356" y="466"/>
                </a:lnTo>
                <a:lnTo>
                  <a:pt x="2350" y="464"/>
                </a:lnTo>
                <a:lnTo>
                  <a:pt x="2340" y="462"/>
                </a:lnTo>
                <a:lnTo>
                  <a:pt x="2326" y="462"/>
                </a:lnTo>
                <a:lnTo>
                  <a:pt x="2292" y="466"/>
                </a:lnTo>
                <a:lnTo>
                  <a:pt x="2252" y="472"/>
                </a:lnTo>
                <a:lnTo>
                  <a:pt x="2220" y="478"/>
                </a:lnTo>
                <a:lnTo>
                  <a:pt x="2212" y="482"/>
                </a:lnTo>
                <a:lnTo>
                  <a:pt x="2206" y="484"/>
                </a:lnTo>
                <a:lnTo>
                  <a:pt x="2204" y="488"/>
                </a:lnTo>
                <a:lnTo>
                  <a:pt x="2204" y="494"/>
                </a:lnTo>
                <a:lnTo>
                  <a:pt x="2210" y="508"/>
                </a:lnTo>
                <a:lnTo>
                  <a:pt x="2216" y="516"/>
                </a:lnTo>
                <a:lnTo>
                  <a:pt x="2224" y="522"/>
                </a:lnTo>
                <a:lnTo>
                  <a:pt x="2236" y="524"/>
                </a:lnTo>
                <a:lnTo>
                  <a:pt x="2248" y="526"/>
                </a:lnTo>
                <a:lnTo>
                  <a:pt x="2278" y="524"/>
                </a:lnTo>
                <a:lnTo>
                  <a:pt x="2308" y="518"/>
                </a:lnTo>
                <a:close/>
                <a:moveTo>
                  <a:pt x="2768" y="590"/>
                </a:moveTo>
                <a:lnTo>
                  <a:pt x="2768" y="590"/>
                </a:lnTo>
                <a:lnTo>
                  <a:pt x="2762" y="586"/>
                </a:lnTo>
                <a:lnTo>
                  <a:pt x="2756" y="584"/>
                </a:lnTo>
                <a:lnTo>
                  <a:pt x="2742" y="582"/>
                </a:lnTo>
                <a:lnTo>
                  <a:pt x="2728" y="584"/>
                </a:lnTo>
                <a:lnTo>
                  <a:pt x="2712" y="588"/>
                </a:lnTo>
                <a:lnTo>
                  <a:pt x="2706" y="590"/>
                </a:lnTo>
                <a:lnTo>
                  <a:pt x="2704" y="592"/>
                </a:lnTo>
                <a:lnTo>
                  <a:pt x="2704" y="596"/>
                </a:lnTo>
                <a:lnTo>
                  <a:pt x="2710" y="602"/>
                </a:lnTo>
                <a:lnTo>
                  <a:pt x="2726" y="618"/>
                </a:lnTo>
                <a:lnTo>
                  <a:pt x="2748" y="640"/>
                </a:lnTo>
                <a:lnTo>
                  <a:pt x="2728" y="630"/>
                </a:lnTo>
                <a:lnTo>
                  <a:pt x="2714" y="620"/>
                </a:lnTo>
                <a:lnTo>
                  <a:pt x="2706" y="614"/>
                </a:lnTo>
                <a:lnTo>
                  <a:pt x="2702" y="608"/>
                </a:lnTo>
                <a:lnTo>
                  <a:pt x="2698" y="604"/>
                </a:lnTo>
                <a:lnTo>
                  <a:pt x="2696" y="600"/>
                </a:lnTo>
                <a:lnTo>
                  <a:pt x="2688" y="598"/>
                </a:lnTo>
                <a:lnTo>
                  <a:pt x="2678" y="598"/>
                </a:lnTo>
                <a:lnTo>
                  <a:pt x="2666" y="598"/>
                </a:lnTo>
                <a:lnTo>
                  <a:pt x="2656" y="600"/>
                </a:lnTo>
                <a:lnTo>
                  <a:pt x="2652" y="602"/>
                </a:lnTo>
                <a:lnTo>
                  <a:pt x="2650" y="604"/>
                </a:lnTo>
                <a:lnTo>
                  <a:pt x="2652" y="610"/>
                </a:lnTo>
                <a:lnTo>
                  <a:pt x="2656" y="616"/>
                </a:lnTo>
                <a:lnTo>
                  <a:pt x="2670" y="632"/>
                </a:lnTo>
                <a:lnTo>
                  <a:pt x="2680" y="642"/>
                </a:lnTo>
                <a:lnTo>
                  <a:pt x="2680" y="644"/>
                </a:lnTo>
                <a:lnTo>
                  <a:pt x="2676" y="642"/>
                </a:lnTo>
                <a:lnTo>
                  <a:pt x="2666" y="638"/>
                </a:lnTo>
                <a:lnTo>
                  <a:pt x="2660" y="640"/>
                </a:lnTo>
                <a:lnTo>
                  <a:pt x="2656" y="642"/>
                </a:lnTo>
                <a:lnTo>
                  <a:pt x="2650" y="646"/>
                </a:lnTo>
                <a:lnTo>
                  <a:pt x="2644" y="648"/>
                </a:lnTo>
                <a:lnTo>
                  <a:pt x="2632" y="654"/>
                </a:lnTo>
                <a:lnTo>
                  <a:pt x="2628" y="656"/>
                </a:lnTo>
                <a:lnTo>
                  <a:pt x="2624" y="658"/>
                </a:lnTo>
                <a:lnTo>
                  <a:pt x="2624" y="662"/>
                </a:lnTo>
                <a:lnTo>
                  <a:pt x="2628" y="666"/>
                </a:lnTo>
                <a:lnTo>
                  <a:pt x="2632" y="668"/>
                </a:lnTo>
                <a:lnTo>
                  <a:pt x="2636" y="670"/>
                </a:lnTo>
                <a:lnTo>
                  <a:pt x="2652" y="670"/>
                </a:lnTo>
                <a:lnTo>
                  <a:pt x="2670" y="668"/>
                </a:lnTo>
                <a:lnTo>
                  <a:pt x="2690" y="664"/>
                </a:lnTo>
                <a:lnTo>
                  <a:pt x="2730" y="658"/>
                </a:lnTo>
                <a:lnTo>
                  <a:pt x="2748" y="656"/>
                </a:lnTo>
                <a:lnTo>
                  <a:pt x="2760" y="656"/>
                </a:lnTo>
                <a:lnTo>
                  <a:pt x="2766" y="656"/>
                </a:lnTo>
                <a:lnTo>
                  <a:pt x="2762" y="658"/>
                </a:lnTo>
                <a:lnTo>
                  <a:pt x="2742" y="664"/>
                </a:lnTo>
                <a:lnTo>
                  <a:pt x="2730" y="670"/>
                </a:lnTo>
                <a:lnTo>
                  <a:pt x="2720" y="674"/>
                </a:lnTo>
                <a:lnTo>
                  <a:pt x="2718" y="676"/>
                </a:lnTo>
                <a:lnTo>
                  <a:pt x="2716" y="680"/>
                </a:lnTo>
                <a:lnTo>
                  <a:pt x="2716" y="682"/>
                </a:lnTo>
                <a:lnTo>
                  <a:pt x="2718" y="686"/>
                </a:lnTo>
                <a:lnTo>
                  <a:pt x="2722" y="694"/>
                </a:lnTo>
                <a:lnTo>
                  <a:pt x="2724" y="700"/>
                </a:lnTo>
                <a:lnTo>
                  <a:pt x="2728" y="712"/>
                </a:lnTo>
                <a:lnTo>
                  <a:pt x="2730" y="716"/>
                </a:lnTo>
                <a:lnTo>
                  <a:pt x="2734" y="716"/>
                </a:lnTo>
                <a:lnTo>
                  <a:pt x="2740" y="716"/>
                </a:lnTo>
                <a:lnTo>
                  <a:pt x="2752" y="712"/>
                </a:lnTo>
                <a:lnTo>
                  <a:pt x="2760" y="710"/>
                </a:lnTo>
                <a:lnTo>
                  <a:pt x="2768" y="708"/>
                </a:lnTo>
                <a:lnTo>
                  <a:pt x="2790" y="710"/>
                </a:lnTo>
                <a:lnTo>
                  <a:pt x="2808" y="712"/>
                </a:lnTo>
                <a:lnTo>
                  <a:pt x="2824" y="708"/>
                </a:lnTo>
                <a:lnTo>
                  <a:pt x="2830" y="706"/>
                </a:lnTo>
                <a:lnTo>
                  <a:pt x="2834" y="702"/>
                </a:lnTo>
                <a:lnTo>
                  <a:pt x="2834" y="698"/>
                </a:lnTo>
                <a:lnTo>
                  <a:pt x="2832" y="692"/>
                </a:lnTo>
                <a:lnTo>
                  <a:pt x="2826" y="680"/>
                </a:lnTo>
                <a:lnTo>
                  <a:pt x="2826" y="670"/>
                </a:lnTo>
                <a:lnTo>
                  <a:pt x="2826" y="668"/>
                </a:lnTo>
                <a:lnTo>
                  <a:pt x="2830" y="668"/>
                </a:lnTo>
                <a:lnTo>
                  <a:pt x="2834" y="668"/>
                </a:lnTo>
                <a:lnTo>
                  <a:pt x="2840" y="672"/>
                </a:lnTo>
                <a:lnTo>
                  <a:pt x="2848" y="678"/>
                </a:lnTo>
                <a:lnTo>
                  <a:pt x="2850" y="678"/>
                </a:lnTo>
                <a:lnTo>
                  <a:pt x="2852" y="676"/>
                </a:lnTo>
                <a:lnTo>
                  <a:pt x="2848" y="668"/>
                </a:lnTo>
                <a:lnTo>
                  <a:pt x="2842" y="656"/>
                </a:lnTo>
                <a:lnTo>
                  <a:pt x="2838" y="648"/>
                </a:lnTo>
                <a:lnTo>
                  <a:pt x="2836" y="638"/>
                </a:lnTo>
                <a:lnTo>
                  <a:pt x="2834" y="618"/>
                </a:lnTo>
                <a:lnTo>
                  <a:pt x="2832" y="608"/>
                </a:lnTo>
                <a:lnTo>
                  <a:pt x="2828" y="598"/>
                </a:lnTo>
                <a:lnTo>
                  <a:pt x="2820" y="590"/>
                </a:lnTo>
                <a:lnTo>
                  <a:pt x="2808" y="582"/>
                </a:lnTo>
                <a:lnTo>
                  <a:pt x="2796" y="578"/>
                </a:lnTo>
                <a:lnTo>
                  <a:pt x="2788" y="578"/>
                </a:lnTo>
                <a:lnTo>
                  <a:pt x="2784" y="582"/>
                </a:lnTo>
                <a:lnTo>
                  <a:pt x="2780" y="586"/>
                </a:lnTo>
                <a:lnTo>
                  <a:pt x="2776" y="592"/>
                </a:lnTo>
                <a:lnTo>
                  <a:pt x="2774" y="594"/>
                </a:lnTo>
                <a:lnTo>
                  <a:pt x="2768" y="590"/>
                </a:lnTo>
                <a:close/>
                <a:moveTo>
                  <a:pt x="3556" y="1666"/>
                </a:moveTo>
                <a:lnTo>
                  <a:pt x="3556" y="1666"/>
                </a:lnTo>
                <a:lnTo>
                  <a:pt x="3562" y="1664"/>
                </a:lnTo>
                <a:lnTo>
                  <a:pt x="3566" y="1656"/>
                </a:lnTo>
                <a:lnTo>
                  <a:pt x="3570" y="1646"/>
                </a:lnTo>
                <a:lnTo>
                  <a:pt x="3572" y="1636"/>
                </a:lnTo>
                <a:lnTo>
                  <a:pt x="3572" y="1626"/>
                </a:lnTo>
                <a:lnTo>
                  <a:pt x="3570" y="1618"/>
                </a:lnTo>
                <a:lnTo>
                  <a:pt x="3568" y="1614"/>
                </a:lnTo>
                <a:lnTo>
                  <a:pt x="3564" y="1614"/>
                </a:lnTo>
                <a:lnTo>
                  <a:pt x="3560" y="1612"/>
                </a:lnTo>
                <a:lnTo>
                  <a:pt x="3554" y="1614"/>
                </a:lnTo>
                <a:lnTo>
                  <a:pt x="3550" y="1616"/>
                </a:lnTo>
                <a:lnTo>
                  <a:pt x="3546" y="1618"/>
                </a:lnTo>
                <a:lnTo>
                  <a:pt x="3540" y="1626"/>
                </a:lnTo>
                <a:lnTo>
                  <a:pt x="3538" y="1634"/>
                </a:lnTo>
                <a:lnTo>
                  <a:pt x="3538" y="1644"/>
                </a:lnTo>
                <a:lnTo>
                  <a:pt x="3540" y="1654"/>
                </a:lnTo>
                <a:lnTo>
                  <a:pt x="3546" y="1660"/>
                </a:lnTo>
                <a:lnTo>
                  <a:pt x="3550" y="1666"/>
                </a:lnTo>
                <a:lnTo>
                  <a:pt x="3556" y="1666"/>
                </a:lnTo>
                <a:close/>
                <a:moveTo>
                  <a:pt x="2980" y="518"/>
                </a:moveTo>
                <a:lnTo>
                  <a:pt x="2980" y="518"/>
                </a:lnTo>
                <a:lnTo>
                  <a:pt x="2998" y="516"/>
                </a:lnTo>
                <a:lnTo>
                  <a:pt x="3008" y="514"/>
                </a:lnTo>
                <a:lnTo>
                  <a:pt x="3014" y="510"/>
                </a:lnTo>
                <a:lnTo>
                  <a:pt x="3014" y="508"/>
                </a:lnTo>
                <a:lnTo>
                  <a:pt x="3014" y="506"/>
                </a:lnTo>
                <a:lnTo>
                  <a:pt x="3010" y="502"/>
                </a:lnTo>
                <a:lnTo>
                  <a:pt x="3000" y="496"/>
                </a:lnTo>
                <a:lnTo>
                  <a:pt x="2988" y="494"/>
                </a:lnTo>
                <a:lnTo>
                  <a:pt x="2972" y="492"/>
                </a:lnTo>
                <a:lnTo>
                  <a:pt x="2938" y="490"/>
                </a:lnTo>
                <a:lnTo>
                  <a:pt x="2912" y="492"/>
                </a:lnTo>
                <a:lnTo>
                  <a:pt x="2902" y="494"/>
                </a:lnTo>
                <a:lnTo>
                  <a:pt x="2894" y="498"/>
                </a:lnTo>
                <a:lnTo>
                  <a:pt x="2890" y="502"/>
                </a:lnTo>
                <a:lnTo>
                  <a:pt x="2888" y="508"/>
                </a:lnTo>
                <a:lnTo>
                  <a:pt x="2890" y="512"/>
                </a:lnTo>
                <a:lnTo>
                  <a:pt x="2896" y="516"/>
                </a:lnTo>
                <a:lnTo>
                  <a:pt x="2904" y="518"/>
                </a:lnTo>
                <a:lnTo>
                  <a:pt x="2914" y="518"/>
                </a:lnTo>
                <a:lnTo>
                  <a:pt x="2944" y="518"/>
                </a:lnTo>
                <a:lnTo>
                  <a:pt x="2980" y="518"/>
                </a:lnTo>
                <a:close/>
                <a:moveTo>
                  <a:pt x="2546" y="696"/>
                </a:moveTo>
                <a:lnTo>
                  <a:pt x="2546" y="696"/>
                </a:lnTo>
                <a:lnTo>
                  <a:pt x="2546" y="700"/>
                </a:lnTo>
                <a:lnTo>
                  <a:pt x="2548" y="704"/>
                </a:lnTo>
                <a:lnTo>
                  <a:pt x="2554" y="708"/>
                </a:lnTo>
                <a:lnTo>
                  <a:pt x="2562" y="710"/>
                </a:lnTo>
                <a:lnTo>
                  <a:pt x="2572" y="710"/>
                </a:lnTo>
                <a:lnTo>
                  <a:pt x="2580" y="708"/>
                </a:lnTo>
                <a:lnTo>
                  <a:pt x="2588" y="704"/>
                </a:lnTo>
                <a:lnTo>
                  <a:pt x="2594" y="700"/>
                </a:lnTo>
                <a:lnTo>
                  <a:pt x="2594" y="698"/>
                </a:lnTo>
                <a:lnTo>
                  <a:pt x="2594" y="694"/>
                </a:lnTo>
                <a:lnTo>
                  <a:pt x="2590" y="690"/>
                </a:lnTo>
                <a:lnTo>
                  <a:pt x="2584" y="684"/>
                </a:lnTo>
                <a:lnTo>
                  <a:pt x="2576" y="680"/>
                </a:lnTo>
                <a:lnTo>
                  <a:pt x="2568" y="678"/>
                </a:lnTo>
                <a:lnTo>
                  <a:pt x="2560" y="678"/>
                </a:lnTo>
                <a:lnTo>
                  <a:pt x="2552" y="680"/>
                </a:lnTo>
                <a:lnTo>
                  <a:pt x="2548" y="686"/>
                </a:lnTo>
                <a:lnTo>
                  <a:pt x="2546" y="696"/>
                </a:lnTo>
                <a:close/>
                <a:moveTo>
                  <a:pt x="2018" y="630"/>
                </a:moveTo>
                <a:lnTo>
                  <a:pt x="2018" y="630"/>
                </a:lnTo>
                <a:lnTo>
                  <a:pt x="1994" y="640"/>
                </a:lnTo>
                <a:lnTo>
                  <a:pt x="1972" y="654"/>
                </a:lnTo>
                <a:lnTo>
                  <a:pt x="1966" y="660"/>
                </a:lnTo>
                <a:lnTo>
                  <a:pt x="1964" y="666"/>
                </a:lnTo>
                <a:lnTo>
                  <a:pt x="1964" y="668"/>
                </a:lnTo>
                <a:lnTo>
                  <a:pt x="1966" y="670"/>
                </a:lnTo>
                <a:lnTo>
                  <a:pt x="1978" y="672"/>
                </a:lnTo>
                <a:lnTo>
                  <a:pt x="1984" y="672"/>
                </a:lnTo>
                <a:lnTo>
                  <a:pt x="1992" y="670"/>
                </a:lnTo>
                <a:lnTo>
                  <a:pt x="2002" y="666"/>
                </a:lnTo>
                <a:lnTo>
                  <a:pt x="2012" y="658"/>
                </a:lnTo>
                <a:lnTo>
                  <a:pt x="2020" y="648"/>
                </a:lnTo>
                <a:lnTo>
                  <a:pt x="2026" y="640"/>
                </a:lnTo>
                <a:lnTo>
                  <a:pt x="2026" y="634"/>
                </a:lnTo>
                <a:lnTo>
                  <a:pt x="2026" y="630"/>
                </a:lnTo>
                <a:lnTo>
                  <a:pt x="2024" y="630"/>
                </a:lnTo>
                <a:lnTo>
                  <a:pt x="2022" y="630"/>
                </a:lnTo>
                <a:lnTo>
                  <a:pt x="2018" y="630"/>
                </a:lnTo>
                <a:close/>
                <a:moveTo>
                  <a:pt x="2144" y="570"/>
                </a:moveTo>
                <a:lnTo>
                  <a:pt x="2144" y="570"/>
                </a:lnTo>
                <a:lnTo>
                  <a:pt x="2144" y="572"/>
                </a:lnTo>
                <a:lnTo>
                  <a:pt x="2148" y="574"/>
                </a:lnTo>
                <a:lnTo>
                  <a:pt x="2162" y="578"/>
                </a:lnTo>
                <a:lnTo>
                  <a:pt x="2182" y="578"/>
                </a:lnTo>
                <a:lnTo>
                  <a:pt x="2190" y="576"/>
                </a:lnTo>
                <a:lnTo>
                  <a:pt x="2198" y="574"/>
                </a:lnTo>
                <a:lnTo>
                  <a:pt x="2200" y="572"/>
                </a:lnTo>
                <a:lnTo>
                  <a:pt x="2200" y="570"/>
                </a:lnTo>
                <a:lnTo>
                  <a:pt x="2198" y="566"/>
                </a:lnTo>
                <a:lnTo>
                  <a:pt x="2190" y="564"/>
                </a:lnTo>
                <a:lnTo>
                  <a:pt x="2182" y="562"/>
                </a:lnTo>
                <a:lnTo>
                  <a:pt x="2170" y="562"/>
                </a:lnTo>
                <a:lnTo>
                  <a:pt x="2160" y="562"/>
                </a:lnTo>
                <a:lnTo>
                  <a:pt x="2150" y="566"/>
                </a:lnTo>
                <a:lnTo>
                  <a:pt x="2144" y="570"/>
                </a:lnTo>
                <a:close/>
                <a:moveTo>
                  <a:pt x="2180" y="496"/>
                </a:moveTo>
                <a:lnTo>
                  <a:pt x="2180" y="496"/>
                </a:lnTo>
                <a:lnTo>
                  <a:pt x="2190" y="496"/>
                </a:lnTo>
                <a:lnTo>
                  <a:pt x="2192" y="494"/>
                </a:lnTo>
                <a:lnTo>
                  <a:pt x="2192" y="492"/>
                </a:lnTo>
                <a:lnTo>
                  <a:pt x="2188" y="486"/>
                </a:lnTo>
                <a:lnTo>
                  <a:pt x="2178" y="476"/>
                </a:lnTo>
                <a:lnTo>
                  <a:pt x="2172" y="470"/>
                </a:lnTo>
                <a:lnTo>
                  <a:pt x="2166" y="468"/>
                </a:lnTo>
                <a:lnTo>
                  <a:pt x="2160" y="468"/>
                </a:lnTo>
                <a:lnTo>
                  <a:pt x="2154" y="468"/>
                </a:lnTo>
                <a:lnTo>
                  <a:pt x="2146" y="472"/>
                </a:lnTo>
                <a:lnTo>
                  <a:pt x="2138" y="476"/>
                </a:lnTo>
                <a:lnTo>
                  <a:pt x="2138" y="478"/>
                </a:lnTo>
                <a:lnTo>
                  <a:pt x="2138" y="482"/>
                </a:lnTo>
                <a:lnTo>
                  <a:pt x="2148" y="488"/>
                </a:lnTo>
                <a:lnTo>
                  <a:pt x="2162" y="494"/>
                </a:lnTo>
                <a:lnTo>
                  <a:pt x="2170" y="496"/>
                </a:lnTo>
                <a:lnTo>
                  <a:pt x="2180" y="496"/>
                </a:lnTo>
                <a:close/>
                <a:moveTo>
                  <a:pt x="2616" y="594"/>
                </a:moveTo>
                <a:lnTo>
                  <a:pt x="2616" y="594"/>
                </a:lnTo>
                <a:lnTo>
                  <a:pt x="2606" y="592"/>
                </a:lnTo>
                <a:lnTo>
                  <a:pt x="2600" y="588"/>
                </a:lnTo>
                <a:lnTo>
                  <a:pt x="2588" y="580"/>
                </a:lnTo>
                <a:lnTo>
                  <a:pt x="2584" y="578"/>
                </a:lnTo>
                <a:lnTo>
                  <a:pt x="2578" y="576"/>
                </a:lnTo>
                <a:lnTo>
                  <a:pt x="2572" y="576"/>
                </a:lnTo>
                <a:lnTo>
                  <a:pt x="2562" y="580"/>
                </a:lnTo>
                <a:lnTo>
                  <a:pt x="2556" y="584"/>
                </a:lnTo>
                <a:lnTo>
                  <a:pt x="2554" y="588"/>
                </a:lnTo>
                <a:lnTo>
                  <a:pt x="2556" y="592"/>
                </a:lnTo>
                <a:lnTo>
                  <a:pt x="2562" y="602"/>
                </a:lnTo>
                <a:lnTo>
                  <a:pt x="2566" y="606"/>
                </a:lnTo>
                <a:lnTo>
                  <a:pt x="2570" y="608"/>
                </a:lnTo>
                <a:lnTo>
                  <a:pt x="2582" y="608"/>
                </a:lnTo>
                <a:lnTo>
                  <a:pt x="2594" y="608"/>
                </a:lnTo>
                <a:lnTo>
                  <a:pt x="2606" y="606"/>
                </a:lnTo>
                <a:lnTo>
                  <a:pt x="2616" y="602"/>
                </a:lnTo>
                <a:lnTo>
                  <a:pt x="2624" y="600"/>
                </a:lnTo>
                <a:lnTo>
                  <a:pt x="2624" y="598"/>
                </a:lnTo>
                <a:lnTo>
                  <a:pt x="2624" y="596"/>
                </a:lnTo>
                <a:lnTo>
                  <a:pt x="2616" y="594"/>
                </a:lnTo>
                <a:close/>
                <a:moveTo>
                  <a:pt x="2638" y="612"/>
                </a:moveTo>
                <a:lnTo>
                  <a:pt x="2638" y="612"/>
                </a:lnTo>
                <a:lnTo>
                  <a:pt x="2630" y="610"/>
                </a:lnTo>
                <a:lnTo>
                  <a:pt x="2620" y="610"/>
                </a:lnTo>
                <a:lnTo>
                  <a:pt x="2592" y="614"/>
                </a:lnTo>
                <a:lnTo>
                  <a:pt x="2578" y="616"/>
                </a:lnTo>
                <a:lnTo>
                  <a:pt x="2568" y="620"/>
                </a:lnTo>
                <a:lnTo>
                  <a:pt x="2564" y="622"/>
                </a:lnTo>
                <a:lnTo>
                  <a:pt x="2562" y="624"/>
                </a:lnTo>
                <a:lnTo>
                  <a:pt x="2564" y="626"/>
                </a:lnTo>
                <a:lnTo>
                  <a:pt x="2570" y="628"/>
                </a:lnTo>
                <a:lnTo>
                  <a:pt x="2582" y="628"/>
                </a:lnTo>
                <a:lnTo>
                  <a:pt x="2610" y="624"/>
                </a:lnTo>
                <a:lnTo>
                  <a:pt x="2634" y="618"/>
                </a:lnTo>
                <a:lnTo>
                  <a:pt x="2638" y="616"/>
                </a:lnTo>
                <a:lnTo>
                  <a:pt x="2640" y="614"/>
                </a:lnTo>
                <a:lnTo>
                  <a:pt x="2638" y="612"/>
                </a:lnTo>
                <a:close/>
                <a:moveTo>
                  <a:pt x="2590" y="642"/>
                </a:moveTo>
                <a:lnTo>
                  <a:pt x="2590" y="642"/>
                </a:lnTo>
                <a:lnTo>
                  <a:pt x="2596" y="642"/>
                </a:lnTo>
                <a:lnTo>
                  <a:pt x="2604" y="642"/>
                </a:lnTo>
                <a:lnTo>
                  <a:pt x="2624" y="638"/>
                </a:lnTo>
                <a:lnTo>
                  <a:pt x="2640" y="632"/>
                </a:lnTo>
                <a:lnTo>
                  <a:pt x="2642" y="630"/>
                </a:lnTo>
                <a:lnTo>
                  <a:pt x="2642" y="628"/>
                </a:lnTo>
                <a:lnTo>
                  <a:pt x="2636" y="628"/>
                </a:lnTo>
                <a:lnTo>
                  <a:pt x="2628" y="628"/>
                </a:lnTo>
                <a:lnTo>
                  <a:pt x="2606" y="632"/>
                </a:lnTo>
                <a:lnTo>
                  <a:pt x="2590" y="636"/>
                </a:lnTo>
                <a:lnTo>
                  <a:pt x="2588" y="640"/>
                </a:lnTo>
                <a:lnTo>
                  <a:pt x="2590" y="642"/>
                </a:lnTo>
                <a:close/>
                <a:moveTo>
                  <a:pt x="2610" y="654"/>
                </a:moveTo>
                <a:lnTo>
                  <a:pt x="2610" y="654"/>
                </a:lnTo>
                <a:lnTo>
                  <a:pt x="2616" y="654"/>
                </a:lnTo>
                <a:lnTo>
                  <a:pt x="2622" y="652"/>
                </a:lnTo>
                <a:lnTo>
                  <a:pt x="2638" y="646"/>
                </a:lnTo>
                <a:lnTo>
                  <a:pt x="2650" y="640"/>
                </a:lnTo>
                <a:lnTo>
                  <a:pt x="2654" y="636"/>
                </a:lnTo>
                <a:lnTo>
                  <a:pt x="2652" y="636"/>
                </a:lnTo>
                <a:lnTo>
                  <a:pt x="2642" y="636"/>
                </a:lnTo>
                <a:lnTo>
                  <a:pt x="2624" y="642"/>
                </a:lnTo>
                <a:lnTo>
                  <a:pt x="2610" y="648"/>
                </a:lnTo>
                <a:lnTo>
                  <a:pt x="2608" y="652"/>
                </a:lnTo>
                <a:lnTo>
                  <a:pt x="2610" y="654"/>
                </a:lnTo>
                <a:close/>
                <a:moveTo>
                  <a:pt x="3342" y="390"/>
                </a:moveTo>
                <a:lnTo>
                  <a:pt x="3342" y="390"/>
                </a:lnTo>
                <a:lnTo>
                  <a:pt x="3342" y="386"/>
                </a:lnTo>
                <a:lnTo>
                  <a:pt x="3338" y="386"/>
                </a:lnTo>
                <a:lnTo>
                  <a:pt x="3324" y="386"/>
                </a:lnTo>
                <a:lnTo>
                  <a:pt x="3306" y="392"/>
                </a:lnTo>
                <a:lnTo>
                  <a:pt x="3298" y="396"/>
                </a:lnTo>
                <a:lnTo>
                  <a:pt x="3290" y="400"/>
                </a:lnTo>
                <a:lnTo>
                  <a:pt x="3288" y="404"/>
                </a:lnTo>
                <a:lnTo>
                  <a:pt x="3292" y="404"/>
                </a:lnTo>
                <a:lnTo>
                  <a:pt x="3308" y="402"/>
                </a:lnTo>
                <a:lnTo>
                  <a:pt x="3330" y="398"/>
                </a:lnTo>
                <a:lnTo>
                  <a:pt x="3338" y="394"/>
                </a:lnTo>
                <a:lnTo>
                  <a:pt x="3342" y="390"/>
                </a:lnTo>
                <a:close/>
                <a:moveTo>
                  <a:pt x="3480" y="2214"/>
                </a:moveTo>
                <a:lnTo>
                  <a:pt x="3480" y="2214"/>
                </a:lnTo>
                <a:lnTo>
                  <a:pt x="3504" y="2224"/>
                </a:lnTo>
                <a:lnTo>
                  <a:pt x="3514" y="2226"/>
                </a:lnTo>
                <a:lnTo>
                  <a:pt x="3518" y="2226"/>
                </a:lnTo>
                <a:lnTo>
                  <a:pt x="3520" y="2226"/>
                </a:lnTo>
                <a:lnTo>
                  <a:pt x="3522" y="2222"/>
                </a:lnTo>
                <a:lnTo>
                  <a:pt x="3522" y="2218"/>
                </a:lnTo>
                <a:lnTo>
                  <a:pt x="3516" y="2210"/>
                </a:lnTo>
                <a:lnTo>
                  <a:pt x="3506" y="2196"/>
                </a:lnTo>
                <a:lnTo>
                  <a:pt x="3498" y="2194"/>
                </a:lnTo>
                <a:lnTo>
                  <a:pt x="3486" y="2194"/>
                </a:lnTo>
                <a:lnTo>
                  <a:pt x="3474" y="2196"/>
                </a:lnTo>
                <a:lnTo>
                  <a:pt x="3470" y="2198"/>
                </a:lnTo>
                <a:lnTo>
                  <a:pt x="3466" y="2202"/>
                </a:lnTo>
                <a:lnTo>
                  <a:pt x="3466" y="2204"/>
                </a:lnTo>
                <a:lnTo>
                  <a:pt x="3466" y="2208"/>
                </a:lnTo>
                <a:lnTo>
                  <a:pt x="3480" y="2214"/>
                </a:lnTo>
                <a:close/>
                <a:moveTo>
                  <a:pt x="3576" y="2034"/>
                </a:moveTo>
                <a:lnTo>
                  <a:pt x="3576" y="2034"/>
                </a:lnTo>
                <a:lnTo>
                  <a:pt x="3580" y="2032"/>
                </a:lnTo>
                <a:lnTo>
                  <a:pt x="3582" y="2028"/>
                </a:lnTo>
                <a:lnTo>
                  <a:pt x="3586" y="2010"/>
                </a:lnTo>
                <a:lnTo>
                  <a:pt x="3588" y="2002"/>
                </a:lnTo>
                <a:lnTo>
                  <a:pt x="3588" y="1998"/>
                </a:lnTo>
                <a:lnTo>
                  <a:pt x="3582" y="1992"/>
                </a:lnTo>
                <a:lnTo>
                  <a:pt x="3578" y="1988"/>
                </a:lnTo>
                <a:lnTo>
                  <a:pt x="3576" y="1988"/>
                </a:lnTo>
                <a:lnTo>
                  <a:pt x="3574" y="1996"/>
                </a:lnTo>
                <a:lnTo>
                  <a:pt x="3570" y="2006"/>
                </a:lnTo>
                <a:lnTo>
                  <a:pt x="3568" y="2006"/>
                </a:lnTo>
                <a:lnTo>
                  <a:pt x="3568" y="2002"/>
                </a:lnTo>
                <a:lnTo>
                  <a:pt x="3568" y="1994"/>
                </a:lnTo>
                <a:lnTo>
                  <a:pt x="3568" y="1992"/>
                </a:lnTo>
                <a:lnTo>
                  <a:pt x="3566" y="1992"/>
                </a:lnTo>
                <a:lnTo>
                  <a:pt x="3566" y="1994"/>
                </a:lnTo>
                <a:lnTo>
                  <a:pt x="3566" y="1996"/>
                </a:lnTo>
                <a:lnTo>
                  <a:pt x="3566" y="2000"/>
                </a:lnTo>
                <a:lnTo>
                  <a:pt x="3566" y="2004"/>
                </a:lnTo>
                <a:lnTo>
                  <a:pt x="3564" y="2008"/>
                </a:lnTo>
                <a:lnTo>
                  <a:pt x="3560" y="2010"/>
                </a:lnTo>
                <a:lnTo>
                  <a:pt x="3558" y="2014"/>
                </a:lnTo>
                <a:lnTo>
                  <a:pt x="3554" y="2018"/>
                </a:lnTo>
                <a:lnTo>
                  <a:pt x="3546" y="2028"/>
                </a:lnTo>
                <a:lnTo>
                  <a:pt x="3546" y="2030"/>
                </a:lnTo>
                <a:lnTo>
                  <a:pt x="3546" y="2034"/>
                </a:lnTo>
                <a:lnTo>
                  <a:pt x="3548" y="2036"/>
                </a:lnTo>
                <a:lnTo>
                  <a:pt x="3550" y="2034"/>
                </a:lnTo>
                <a:lnTo>
                  <a:pt x="3558" y="2024"/>
                </a:lnTo>
                <a:lnTo>
                  <a:pt x="3564" y="2018"/>
                </a:lnTo>
                <a:lnTo>
                  <a:pt x="3564" y="2020"/>
                </a:lnTo>
                <a:lnTo>
                  <a:pt x="3562" y="2026"/>
                </a:lnTo>
                <a:lnTo>
                  <a:pt x="3556" y="2036"/>
                </a:lnTo>
                <a:lnTo>
                  <a:pt x="3562" y="2034"/>
                </a:lnTo>
                <a:lnTo>
                  <a:pt x="3566" y="2032"/>
                </a:lnTo>
                <a:lnTo>
                  <a:pt x="3568" y="2030"/>
                </a:lnTo>
                <a:lnTo>
                  <a:pt x="3572" y="2024"/>
                </a:lnTo>
                <a:lnTo>
                  <a:pt x="3574" y="2016"/>
                </a:lnTo>
                <a:lnTo>
                  <a:pt x="3578" y="2012"/>
                </a:lnTo>
                <a:lnTo>
                  <a:pt x="3580" y="2012"/>
                </a:lnTo>
                <a:lnTo>
                  <a:pt x="3580" y="2016"/>
                </a:lnTo>
                <a:lnTo>
                  <a:pt x="3578" y="2024"/>
                </a:lnTo>
                <a:lnTo>
                  <a:pt x="3576" y="2032"/>
                </a:lnTo>
                <a:lnTo>
                  <a:pt x="3576" y="2034"/>
                </a:lnTo>
                <a:close/>
                <a:moveTo>
                  <a:pt x="3596" y="2016"/>
                </a:moveTo>
                <a:lnTo>
                  <a:pt x="3596" y="2016"/>
                </a:lnTo>
                <a:lnTo>
                  <a:pt x="3600" y="2012"/>
                </a:lnTo>
                <a:lnTo>
                  <a:pt x="3600" y="2004"/>
                </a:lnTo>
                <a:lnTo>
                  <a:pt x="3600" y="2000"/>
                </a:lnTo>
                <a:lnTo>
                  <a:pt x="3600" y="1998"/>
                </a:lnTo>
                <a:lnTo>
                  <a:pt x="3598" y="1998"/>
                </a:lnTo>
                <a:lnTo>
                  <a:pt x="3594" y="2000"/>
                </a:lnTo>
                <a:lnTo>
                  <a:pt x="3594" y="2004"/>
                </a:lnTo>
                <a:lnTo>
                  <a:pt x="3590" y="2016"/>
                </a:lnTo>
                <a:lnTo>
                  <a:pt x="3588" y="2018"/>
                </a:lnTo>
                <a:lnTo>
                  <a:pt x="3590" y="2018"/>
                </a:lnTo>
                <a:lnTo>
                  <a:pt x="3596" y="2016"/>
                </a:lnTo>
                <a:close/>
                <a:moveTo>
                  <a:pt x="3554" y="2010"/>
                </a:moveTo>
                <a:lnTo>
                  <a:pt x="3554" y="2010"/>
                </a:lnTo>
                <a:lnTo>
                  <a:pt x="3558" y="2004"/>
                </a:lnTo>
                <a:lnTo>
                  <a:pt x="3560" y="2000"/>
                </a:lnTo>
                <a:lnTo>
                  <a:pt x="3560" y="1998"/>
                </a:lnTo>
                <a:lnTo>
                  <a:pt x="3558" y="1998"/>
                </a:lnTo>
                <a:lnTo>
                  <a:pt x="3556" y="2002"/>
                </a:lnTo>
                <a:lnTo>
                  <a:pt x="3550" y="2002"/>
                </a:lnTo>
                <a:lnTo>
                  <a:pt x="3544" y="2004"/>
                </a:lnTo>
                <a:lnTo>
                  <a:pt x="3542" y="2006"/>
                </a:lnTo>
                <a:lnTo>
                  <a:pt x="3542" y="2010"/>
                </a:lnTo>
                <a:lnTo>
                  <a:pt x="3542" y="2014"/>
                </a:lnTo>
                <a:lnTo>
                  <a:pt x="3544" y="2014"/>
                </a:lnTo>
                <a:lnTo>
                  <a:pt x="3554" y="2010"/>
                </a:lnTo>
                <a:close/>
                <a:moveTo>
                  <a:pt x="4022" y="1754"/>
                </a:moveTo>
                <a:lnTo>
                  <a:pt x="4022" y="1754"/>
                </a:lnTo>
                <a:lnTo>
                  <a:pt x="4028" y="1754"/>
                </a:lnTo>
                <a:lnTo>
                  <a:pt x="4036" y="1748"/>
                </a:lnTo>
                <a:lnTo>
                  <a:pt x="4038" y="1744"/>
                </a:lnTo>
                <a:lnTo>
                  <a:pt x="4038" y="1740"/>
                </a:lnTo>
                <a:lnTo>
                  <a:pt x="4038" y="1736"/>
                </a:lnTo>
                <a:lnTo>
                  <a:pt x="4034" y="1734"/>
                </a:lnTo>
                <a:lnTo>
                  <a:pt x="4030" y="1732"/>
                </a:lnTo>
                <a:lnTo>
                  <a:pt x="4026" y="1734"/>
                </a:lnTo>
                <a:lnTo>
                  <a:pt x="4022" y="1736"/>
                </a:lnTo>
                <a:lnTo>
                  <a:pt x="4020" y="1740"/>
                </a:lnTo>
                <a:lnTo>
                  <a:pt x="4018" y="1746"/>
                </a:lnTo>
                <a:lnTo>
                  <a:pt x="4016" y="1750"/>
                </a:lnTo>
                <a:lnTo>
                  <a:pt x="4018" y="1754"/>
                </a:lnTo>
                <a:lnTo>
                  <a:pt x="4022" y="1754"/>
                </a:lnTo>
                <a:close/>
                <a:moveTo>
                  <a:pt x="4738" y="4884"/>
                </a:moveTo>
                <a:lnTo>
                  <a:pt x="4738" y="4884"/>
                </a:lnTo>
                <a:lnTo>
                  <a:pt x="4736" y="4888"/>
                </a:lnTo>
                <a:lnTo>
                  <a:pt x="4738" y="4892"/>
                </a:lnTo>
                <a:lnTo>
                  <a:pt x="4742" y="4896"/>
                </a:lnTo>
                <a:lnTo>
                  <a:pt x="4746" y="4896"/>
                </a:lnTo>
                <a:lnTo>
                  <a:pt x="4746" y="4894"/>
                </a:lnTo>
                <a:lnTo>
                  <a:pt x="4746" y="4890"/>
                </a:lnTo>
                <a:lnTo>
                  <a:pt x="4742" y="4884"/>
                </a:lnTo>
                <a:lnTo>
                  <a:pt x="4740" y="4884"/>
                </a:lnTo>
                <a:lnTo>
                  <a:pt x="4738" y="4884"/>
                </a:lnTo>
                <a:close/>
                <a:moveTo>
                  <a:pt x="4752" y="4972"/>
                </a:moveTo>
                <a:lnTo>
                  <a:pt x="4752" y="4972"/>
                </a:lnTo>
                <a:lnTo>
                  <a:pt x="4754" y="4968"/>
                </a:lnTo>
                <a:lnTo>
                  <a:pt x="4756" y="4962"/>
                </a:lnTo>
                <a:lnTo>
                  <a:pt x="4754" y="4958"/>
                </a:lnTo>
                <a:lnTo>
                  <a:pt x="4752" y="4958"/>
                </a:lnTo>
                <a:lnTo>
                  <a:pt x="4750" y="4958"/>
                </a:lnTo>
                <a:lnTo>
                  <a:pt x="4748" y="4960"/>
                </a:lnTo>
                <a:lnTo>
                  <a:pt x="4746" y="4964"/>
                </a:lnTo>
                <a:lnTo>
                  <a:pt x="4744" y="4968"/>
                </a:lnTo>
                <a:lnTo>
                  <a:pt x="4748" y="4972"/>
                </a:lnTo>
                <a:lnTo>
                  <a:pt x="4752" y="4972"/>
                </a:lnTo>
                <a:close/>
                <a:moveTo>
                  <a:pt x="4742" y="4980"/>
                </a:moveTo>
                <a:lnTo>
                  <a:pt x="4742" y="4980"/>
                </a:lnTo>
                <a:lnTo>
                  <a:pt x="4744" y="4978"/>
                </a:lnTo>
                <a:lnTo>
                  <a:pt x="4746" y="4976"/>
                </a:lnTo>
                <a:lnTo>
                  <a:pt x="4742" y="4966"/>
                </a:lnTo>
                <a:lnTo>
                  <a:pt x="4740" y="4962"/>
                </a:lnTo>
                <a:lnTo>
                  <a:pt x="4740" y="4964"/>
                </a:lnTo>
                <a:lnTo>
                  <a:pt x="4740" y="4970"/>
                </a:lnTo>
                <a:lnTo>
                  <a:pt x="4738" y="4974"/>
                </a:lnTo>
                <a:lnTo>
                  <a:pt x="4738" y="4976"/>
                </a:lnTo>
                <a:lnTo>
                  <a:pt x="4738" y="4980"/>
                </a:lnTo>
                <a:lnTo>
                  <a:pt x="4742" y="4980"/>
                </a:lnTo>
                <a:close/>
                <a:moveTo>
                  <a:pt x="4710" y="4996"/>
                </a:moveTo>
                <a:lnTo>
                  <a:pt x="4710" y="4996"/>
                </a:lnTo>
                <a:lnTo>
                  <a:pt x="4706" y="5000"/>
                </a:lnTo>
                <a:lnTo>
                  <a:pt x="4702" y="5006"/>
                </a:lnTo>
                <a:lnTo>
                  <a:pt x="4702" y="5010"/>
                </a:lnTo>
                <a:lnTo>
                  <a:pt x="4702" y="5012"/>
                </a:lnTo>
                <a:lnTo>
                  <a:pt x="4704" y="5012"/>
                </a:lnTo>
                <a:lnTo>
                  <a:pt x="4706" y="5008"/>
                </a:lnTo>
                <a:lnTo>
                  <a:pt x="4710" y="5002"/>
                </a:lnTo>
                <a:lnTo>
                  <a:pt x="4710" y="4998"/>
                </a:lnTo>
                <a:lnTo>
                  <a:pt x="4710" y="4996"/>
                </a:lnTo>
                <a:close/>
                <a:moveTo>
                  <a:pt x="4722" y="5018"/>
                </a:moveTo>
                <a:lnTo>
                  <a:pt x="4722" y="5018"/>
                </a:lnTo>
                <a:lnTo>
                  <a:pt x="4720" y="5018"/>
                </a:lnTo>
                <a:lnTo>
                  <a:pt x="4716" y="5020"/>
                </a:lnTo>
                <a:lnTo>
                  <a:pt x="4714" y="5024"/>
                </a:lnTo>
                <a:lnTo>
                  <a:pt x="4714" y="5026"/>
                </a:lnTo>
                <a:lnTo>
                  <a:pt x="4714" y="5028"/>
                </a:lnTo>
                <a:lnTo>
                  <a:pt x="4718" y="5026"/>
                </a:lnTo>
                <a:lnTo>
                  <a:pt x="4720" y="5024"/>
                </a:lnTo>
                <a:lnTo>
                  <a:pt x="4722" y="5022"/>
                </a:lnTo>
                <a:lnTo>
                  <a:pt x="4722" y="5018"/>
                </a:lnTo>
                <a:close/>
                <a:moveTo>
                  <a:pt x="4720" y="5008"/>
                </a:moveTo>
                <a:lnTo>
                  <a:pt x="4720" y="5008"/>
                </a:lnTo>
                <a:lnTo>
                  <a:pt x="4716" y="5008"/>
                </a:lnTo>
                <a:lnTo>
                  <a:pt x="4714" y="5012"/>
                </a:lnTo>
                <a:lnTo>
                  <a:pt x="4712" y="5014"/>
                </a:lnTo>
                <a:lnTo>
                  <a:pt x="4714" y="5016"/>
                </a:lnTo>
                <a:lnTo>
                  <a:pt x="4716" y="5014"/>
                </a:lnTo>
                <a:lnTo>
                  <a:pt x="4718" y="5012"/>
                </a:lnTo>
                <a:lnTo>
                  <a:pt x="4720" y="5010"/>
                </a:lnTo>
                <a:lnTo>
                  <a:pt x="4720" y="5008"/>
                </a:lnTo>
                <a:close/>
                <a:moveTo>
                  <a:pt x="4746" y="4952"/>
                </a:moveTo>
                <a:lnTo>
                  <a:pt x="4746" y="4952"/>
                </a:lnTo>
                <a:lnTo>
                  <a:pt x="4746" y="4954"/>
                </a:lnTo>
                <a:lnTo>
                  <a:pt x="4748" y="4954"/>
                </a:lnTo>
                <a:lnTo>
                  <a:pt x="4752" y="4952"/>
                </a:lnTo>
                <a:lnTo>
                  <a:pt x="4754" y="4950"/>
                </a:lnTo>
                <a:lnTo>
                  <a:pt x="4756" y="4948"/>
                </a:lnTo>
                <a:lnTo>
                  <a:pt x="4754" y="4946"/>
                </a:lnTo>
                <a:lnTo>
                  <a:pt x="4752" y="4948"/>
                </a:lnTo>
                <a:lnTo>
                  <a:pt x="4748" y="4950"/>
                </a:lnTo>
                <a:lnTo>
                  <a:pt x="4746" y="4952"/>
                </a:lnTo>
                <a:close/>
                <a:moveTo>
                  <a:pt x="6938" y="500"/>
                </a:moveTo>
                <a:lnTo>
                  <a:pt x="6938" y="500"/>
                </a:lnTo>
                <a:lnTo>
                  <a:pt x="6940" y="502"/>
                </a:lnTo>
                <a:lnTo>
                  <a:pt x="6942" y="504"/>
                </a:lnTo>
                <a:lnTo>
                  <a:pt x="6942" y="508"/>
                </a:lnTo>
                <a:lnTo>
                  <a:pt x="6944" y="510"/>
                </a:lnTo>
                <a:lnTo>
                  <a:pt x="6946" y="510"/>
                </a:lnTo>
                <a:lnTo>
                  <a:pt x="6958" y="506"/>
                </a:lnTo>
                <a:lnTo>
                  <a:pt x="6974" y="504"/>
                </a:lnTo>
                <a:lnTo>
                  <a:pt x="6990" y="502"/>
                </a:lnTo>
                <a:lnTo>
                  <a:pt x="6996" y="502"/>
                </a:lnTo>
                <a:lnTo>
                  <a:pt x="7000" y="500"/>
                </a:lnTo>
                <a:lnTo>
                  <a:pt x="7002" y="496"/>
                </a:lnTo>
                <a:lnTo>
                  <a:pt x="7002" y="490"/>
                </a:lnTo>
                <a:lnTo>
                  <a:pt x="7000" y="484"/>
                </a:lnTo>
                <a:lnTo>
                  <a:pt x="6996" y="480"/>
                </a:lnTo>
                <a:lnTo>
                  <a:pt x="6992" y="476"/>
                </a:lnTo>
                <a:lnTo>
                  <a:pt x="6984" y="474"/>
                </a:lnTo>
                <a:lnTo>
                  <a:pt x="6968" y="474"/>
                </a:lnTo>
                <a:lnTo>
                  <a:pt x="6950" y="478"/>
                </a:lnTo>
                <a:lnTo>
                  <a:pt x="6934" y="482"/>
                </a:lnTo>
                <a:lnTo>
                  <a:pt x="6924" y="486"/>
                </a:lnTo>
                <a:lnTo>
                  <a:pt x="6922" y="488"/>
                </a:lnTo>
                <a:lnTo>
                  <a:pt x="6924" y="490"/>
                </a:lnTo>
                <a:lnTo>
                  <a:pt x="6938" y="500"/>
                </a:lnTo>
                <a:close/>
                <a:moveTo>
                  <a:pt x="7100" y="536"/>
                </a:moveTo>
                <a:lnTo>
                  <a:pt x="7100" y="536"/>
                </a:lnTo>
                <a:lnTo>
                  <a:pt x="7092" y="534"/>
                </a:lnTo>
                <a:lnTo>
                  <a:pt x="7086" y="534"/>
                </a:lnTo>
                <a:lnTo>
                  <a:pt x="7078" y="536"/>
                </a:lnTo>
                <a:lnTo>
                  <a:pt x="7072" y="538"/>
                </a:lnTo>
                <a:lnTo>
                  <a:pt x="7066" y="538"/>
                </a:lnTo>
                <a:lnTo>
                  <a:pt x="7058" y="536"/>
                </a:lnTo>
                <a:lnTo>
                  <a:pt x="7048" y="530"/>
                </a:lnTo>
                <a:lnTo>
                  <a:pt x="7040" y="526"/>
                </a:lnTo>
                <a:lnTo>
                  <a:pt x="7038" y="520"/>
                </a:lnTo>
                <a:lnTo>
                  <a:pt x="7040" y="518"/>
                </a:lnTo>
                <a:lnTo>
                  <a:pt x="7046" y="514"/>
                </a:lnTo>
                <a:lnTo>
                  <a:pt x="7054" y="510"/>
                </a:lnTo>
                <a:lnTo>
                  <a:pt x="7054" y="508"/>
                </a:lnTo>
                <a:lnTo>
                  <a:pt x="7050" y="506"/>
                </a:lnTo>
                <a:lnTo>
                  <a:pt x="7038" y="504"/>
                </a:lnTo>
                <a:lnTo>
                  <a:pt x="7020" y="504"/>
                </a:lnTo>
                <a:lnTo>
                  <a:pt x="7000" y="506"/>
                </a:lnTo>
                <a:lnTo>
                  <a:pt x="6980" y="508"/>
                </a:lnTo>
                <a:lnTo>
                  <a:pt x="6964" y="512"/>
                </a:lnTo>
                <a:lnTo>
                  <a:pt x="6958" y="514"/>
                </a:lnTo>
                <a:lnTo>
                  <a:pt x="6954" y="516"/>
                </a:lnTo>
                <a:lnTo>
                  <a:pt x="6954" y="518"/>
                </a:lnTo>
                <a:lnTo>
                  <a:pt x="6956" y="522"/>
                </a:lnTo>
                <a:lnTo>
                  <a:pt x="6960" y="526"/>
                </a:lnTo>
                <a:lnTo>
                  <a:pt x="6970" y="528"/>
                </a:lnTo>
                <a:lnTo>
                  <a:pt x="6976" y="532"/>
                </a:lnTo>
                <a:lnTo>
                  <a:pt x="6976" y="534"/>
                </a:lnTo>
                <a:lnTo>
                  <a:pt x="6976" y="536"/>
                </a:lnTo>
                <a:lnTo>
                  <a:pt x="6970" y="542"/>
                </a:lnTo>
                <a:lnTo>
                  <a:pt x="6956" y="554"/>
                </a:lnTo>
                <a:lnTo>
                  <a:pt x="6950" y="560"/>
                </a:lnTo>
                <a:lnTo>
                  <a:pt x="6946" y="564"/>
                </a:lnTo>
                <a:lnTo>
                  <a:pt x="6948" y="566"/>
                </a:lnTo>
                <a:lnTo>
                  <a:pt x="6954" y="568"/>
                </a:lnTo>
                <a:lnTo>
                  <a:pt x="6972" y="566"/>
                </a:lnTo>
                <a:lnTo>
                  <a:pt x="6998" y="564"/>
                </a:lnTo>
                <a:lnTo>
                  <a:pt x="7010" y="564"/>
                </a:lnTo>
                <a:lnTo>
                  <a:pt x="7012" y="566"/>
                </a:lnTo>
                <a:lnTo>
                  <a:pt x="7014" y="568"/>
                </a:lnTo>
                <a:lnTo>
                  <a:pt x="7014" y="572"/>
                </a:lnTo>
                <a:lnTo>
                  <a:pt x="7012" y="578"/>
                </a:lnTo>
                <a:lnTo>
                  <a:pt x="7010" y="582"/>
                </a:lnTo>
                <a:lnTo>
                  <a:pt x="7010" y="584"/>
                </a:lnTo>
                <a:lnTo>
                  <a:pt x="7012" y="584"/>
                </a:lnTo>
                <a:lnTo>
                  <a:pt x="7020" y="582"/>
                </a:lnTo>
                <a:lnTo>
                  <a:pt x="7034" y="578"/>
                </a:lnTo>
                <a:lnTo>
                  <a:pt x="7062" y="566"/>
                </a:lnTo>
                <a:lnTo>
                  <a:pt x="7088" y="556"/>
                </a:lnTo>
                <a:lnTo>
                  <a:pt x="7096" y="550"/>
                </a:lnTo>
                <a:lnTo>
                  <a:pt x="7102" y="546"/>
                </a:lnTo>
                <a:lnTo>
                  <a:pt x="7104" y="544"/>
                </a:lnTo>
                <a:lnTo>
                  <a:pt x="7104" y="540"/>
                </a:lnTo>
                <a:lnTo>
                  <a:pt x="7102" y="538"/>
                </a:lnTo>
                <a:lnTo>
                  <a:pt x="7100" y="536"/>
                </a:lnTo>
                <a:close/>
                <a:moveTo>
                  <a:pt x="13128" y="7142"/>
                </a:moveTo>
                <a:lnTo>
                  <a:pt x="13128" y="7142"/>
                </a:lnTo>
                <a:lnTo>
                  <a:pt x="13130" y="7134"/>
                </a:lnTo>
                <a:lnTo>
                  <a:pt x="13130" y="7128"/>
                </a:lnTo>
                <a:lnTo>
                  <a:pt x="13130" y="7124"/>
                </a:lnTo>
                <a:lnTo>
                  <a:pt x="13126" y="7122"/>
                </a:lnTo>
                <a:lnTo>
                  <a:pt x="13120" y="7120"/>
                </a:lnTo>
                <a:lnTo>
                  <a:pt x="13114" y="7122"/>
                </a:lnTo>
                <a:lnTo>
                  <a:pt x="13104" y="7126"/>
                </a:lnTo>
                <a:lnTo>
                  <a:pt x="13096" y="7134"/>
                </a:lnTo>
                <a:lnTo>
                  <a:pt x="13088" y="7140"/>
                </a:lnTo>
                <a:lnTo>
                  <a:pt x="13084" y="7140"/>
                </a:lnTo>
                <a:lnTo>
                  <a:pt x="13082" y="7138"/>
                </a:lnTo>
                <a:lnTo>
                  <a:pt x="13080" y="7132"/>
                </a:lnTo>
                <a:lnTo>
                  <a:pt x="13082" y="7120"/>
                </a:lnTo>
                <a:lnTo>
                  <a:pt x="13080" y="7116"/>
                </a:lnTo>
                <a:lnTo>
                  <a:pt x="13078" y="7112"/>
                </a:lnTo>
                <a:lnTo>
                  <a:pt x="13072" y="7112"/>
                </a:lnTo>
                <a:lnTo>
                  <a:pt x="13068" y="7110"/>
                </a:lnTo>
                <a:lnTo>
                  <a:pt x="13070" y="7106"/>
                </a:lnTo>
                <a:lnTo>
                  <a:pt x="13074" y="7102"/>
                </a:lnTo>
                <a:lnTo>
                  <a:pt x="13078" y="7100"/>
                </a:lnTo>
                <a:lnTo>
                  <a:pt x="13078" y="7098"/>
                </a:lnTo>
                <a:lnTo>
                  <a:pt x="13078" y="7096"/>
                </a:lnTo>
                <a:lnTo>
                  <a:pt x="13076" y="7094"/>
                </a:lnTo>
                <a:lnTo>
                  <a:pt x="13072" y="7094"/>
                </a:lnTo>
                <a:lnTo>
                  <a:pt x="13066" y="7096"/>
                </a:lnTo>
                <a:lnTo>
                  <a:pt x="13058" y="7100"/>
                </a:lnTo>
                <a:lnTo>
                  <a:pt x="13050" y="7106"/>
                </a:lnTo>
                <a:lnTo>
                  <a:pt x="13046" y="7114"/>
                </a:lnTo>
                <a:lnTo>
                  <a:pt x="13044" y="7120"/>
                </a:lnTo>
                <a:lnTo>
                  <a:pt x="13044" y="7136"/>
                </a:lnTo>
                <a:lnTo>
                  <a:pt x="13044" y="7142"/>
                </a:lnTo>
                <a:lnTo>
                  <a:pt x="13042" y="7150"/>
                </a:lnTo>
                <a:lnTo>
                  <a:pt x="13036" y="7156"/>
                </a:lnTo>
                <a:lnTo>
                  <a:pt x="13028" y="7160"/>
                </a:lnTo>
                <a:lnTo>
                  <a:pt x="13022" y="7164"/>
                </a:lnTo>
                <a:lnTo>
                  <a:pt x="13016" y="7174"/>
                </a:lnTo>
                <a:lnTo>
                  <a:pt x="13006" y="7196"/>
                </a:lnTo>
                <a:lnTo>
                  <a:pt x="12994" y="7220"/>
                </a:lnTo>
                <a:lnTo>
                  <a:pt x="12988" y="7228"/>
                </a:lnTo>
                <a:lnTo>
                  <a:pt x="12982" y="7236"/>
                </a:lnTo>
                <a:lnTo>
                  <a:pt x="12968" y="7246"/>
                </a:lnTo>
                <a:lnTo>
                  <a:pt x="12956" y="7258"/>
                </a:lnTo>
                <a:lnTo>
                  <a:pt x="12946" y="7266"/>
                </a:lnTo>
                <a:lnTo>
                  <a:pt x="12940" y="7270"/>
                </a:lnTo>
                <a:lnTo>
                  <a:pt x="12934" y="7272"/>
                </a:lnTo>
                <a:lnTo>
                  <a:pt x="12930" y="7272"/>
                </a:lnTo>
                <a:lnTo>
                  <a:pt x="12926" y="7276"/>
                </a:lnTo>
                <a:lnTo>
                  <a:pt x="12922" y="7282"/>
                </a:lnTo>
                <a:lnTo>
                  <a:pt x="12916" y="7288"/>
                </a:lnTo>
                <a:lnTo>
                  <a:pt x="12912" y="7288"/>
                </a:lnTo>
                <a:lnTo>
                  <a:pt x="12906" y="7290"/>
                </a:lnTo>
                <a:lnTo>
                  <a:pt x="12900" y="7290"/>
                </a:lnTo>
                <a:lnTo>
                  <a:pt x="12894" y="7294"/>
                </a:lnTo>
                <a:lnTo>
                  <a:pt x="12888" y="7300"/>
                </a:lnTo>
                <a:lnTo>
                  <a:pt x="12882" y="7306"/>
                </a:lnTo>
                <a:lnTo>
                  <a:pt x="12870" y="7322"/>
                </a:lnTo>
                <a:lnTo>
                  <a:pt x="12856" y="7336"/>
                </a:lnTo>
                <a:lnTo>
                  <a:pt x="12844" y="7350"/>
                </a:lnTo>
                <a:lnTo>
                  <a:pt x="12834" y="7362"/>
                </a:lnTo>
                <a:lnTo>
                  <a:pt x="12830" y="7368"/>
                </a:lnTo>
                <a:lnTo>
                  <a:pt x="12828" y="7372"/>
                </a:lnTo>
                <a:lnTo>
                  <a:pt x="12826" y="7378"/>
                </a:lnTo>
                <a:lnTo>
                  <a:pt x="12828" y="7384"/>
                </a:lnTo>
                <a:lnTo>
                  <a:pt x="12830" y="7388"/>
                </a:lnTo>
                <a:lnTo>
                  <a:pt x="12828" y="7392"/>
                </a:lnTo>
                <a:lnTo>
                  <a:pt x="12822" y="7396"/>
                </a:lnTo>
                <a:lnTo>
                  <a:pt x="12816" y="7400"/>
                </a:lnTo>
                <a:lnTo>
                  <a:pt x="12816" y="7402"/>
                </a:lnTo>
                <a:lnTo>
                  <a:pt x="12816" y="7406"/>
                </a:lnTo>
                <a:lnTo>
                  <a:pt x="12824" y="7416"/>
                </a:lnTo>
                <a:lnTo>
                  <a:pt x="12832" y="7422"/>
                </a:lnTo>
                <a:lnTo>
                  <a:pt x="12838" y="7422"/>
                </a:lnTo>
                <a:lnTo>
                  <a:pt x="12844" y="7422"/>
                </a:lnTo>
                <a:lnTo>
                  <a:pt x="12848" y="7420"/>
                </a:lnTo>
                <a:lnTo>
                  <a:pt x="12854" y="7418"/>
                </a:lnTo>
                <a:lnTo>
                  <a:pt x="12860" y="7414"/>
                </a:lnTo>
                <a:lnTo>
                  <a:pt x="12862" y="7414"/>
                </a:lnTo>
                <a:lnTo>
                  <a:pt x="12864" y="7416"/>
                </a:lnTo>
                <a:lnTo>
                  <a:pt x="12866" y="7418"/>
                </a:lnTo>
                <a:lnTo>
                  <a:pt x="12870" y="7424"/>
                </a:lnTo>
                <a:lnTo>
                  <a:pt x="12872" y="7426"/>
                </a:lnTo>
                <a:lnTo>
                  <a:pt x="12878" y="7426"/>
                </a:lnTo>
                <a:lnTo>
                  <a:pt x="12884" y="7426"/>
                </a:lnTo>
                <a:lnTo>
                  <a:pt x="12886" y="7428"/>
                </a:lnTo>
                <a:lnTo>
                  <a:pt x="12888" y="7432"/>
                </a:lnTo>
                <a:lnTo>
                  <a:pt x="12888" y="7436"/>
                </a:lnTo>
                <a:lnTo>
                  <a:pt x="12890" y="7438"/>
                </a:lnTo>
                <a:lnTo>
                  <a:pt x="12896" y="7440"/>
                </a:lnTo>
                <a:lnTo>
                  <a:pt x="12902" y="7442"/>
                </a:lnTo>
                <a:lnTo>
                  <a:pt x="12918" y="7444"/>
                </a:lnTo>
                <a:lnTo>
                  <a:pt x="12926" y="7444"/>
                </a:lnTo>
                <a:lnTo>
                  <a:pt x="12932" y="7444"/>
                </a:lnTo>
                <a:lnTo>
                  <a:pt x="12938" y="7440"/>
                </a:lnTo>
                <a:lnTo>
                  <a:pt x="12946" y="7436"/>
                </a:lnTo>
                <a:lnTo>
                  <a:pt x="12952" y="7430"/>
                </a:lnTo>
                <a:lnTo>
                  <a:pt x="12958" y="7420"/>
                </a:lnTo>
                <a:lnTo>
                  <a:pt x="12966" y="7412"/>
                </a:lnTo>
                <a:lnTo>
                  <a:pt x="12972" y="7406"/>
                </a:lnTo>
                <a:lnTo>
                  <a:pt x="12978" y="7402"/>
                </a:lnTo>
                <a:lnTo>
                  <a:pt x="12984" y="7400"/>
                </a:lnTo>
                <a:lnTo>
                  <a:pt x="12990" y="7396"/>
                </a:lnTo>
                <a:lnTo>
                  <a:pt x="12992" y="7394"/>
                </a:lnTo>
                <a:lnTo>
                  <a:pt x="12990" y="7390"/>
                </a:lnTo>
                <a:lnTo>
                  <a:pt x="12988" y="7386"/>
                </a:lnTo>
                <a:lnTo>
                  <a:pt x="12988" y="7380"/>
                </a:lnTo>
                <a:lnTo>
                  <a:pt x="12996" y="7368"/>
                </a:lnTo>
                <a:lnTo>
                  <a:pt x="13004" y="7350"/>
                </a:lnTo>
                <a:lnTo>
                  <a:pt x="13006" y="7340"/>
                </a:lnTo>
                <a:lnTo>
                  <a:pt x="13008" y="7328"/>
                </a:lnTo>
                <a:lnTo>
                  <a:pt x="13010" y="7316"/>
                </a:lnTo>
                <a:lnTo>
                  <a:pt x="13016" y="7306"/>
                </a:lnTo>
                <a:lnTo>
                  <a:pt x="13024" y="7298"/>
                </a:lnTo>
                <a:lnTo>
                  <a:pt x="13034" y="7292"/>
                </a:lnTo>
                <a:lnTo>
                  <a:pt x="13046" y="7288"/>
                </a:lnTo>
                <a:lnTo>
                  <a:pt x="13056" y="7284"/>
                </a:lnTo>
                <a:lnTo>
                  <a:pt x="13064" y="7284"/>
                </a:lnTo>
                <a:lnTo>
                  <a:pt x="13070" y="7286"/>
                </a:lnTo>
                <a:lnTo>
                  <a:pt x="13076" y="7286"/>
                </a:lnTo>
                <a:lnTo>
                  <a:pt x="13080" y="7286"/>
                </a:lnTo>
                <a:lnTo>
                  <a:pt x="13084" y="7284"/>
                </a:lnTo>
                <a:lnTo>
                  <a:pt x="13086" y="7282"/>
                </a:lnTo>
                <a:lnTo>
                  <a:pt x="13088" y="7278"/>
                </a:lnTo>
                <a:lnTo>
                  <a:pt x="13088" y="7274"/>
                </a:lnTo>
                <a:lnTo>
                  <a:pt x="13086" y="7272"/>
                </a:lnTo>
                <a:lnTo>
                  <a:pt x="13080" y="7270"/>
                </a:lnTo>
                <a:lnTo>
                  <a:pt x="13076" y="7266"/>
                </a:lnTo>
                <a:lnTo>
                  <a:pt x="13072" y="7264"/>
                </a:lnTo>
                <a:lnTo>
                  <a:pt x="13070" y="7258"/>
                </a:lnTo>
                <a:lnTo>
                  <a:pt x="13070" y="7252"/>
                </a:lnTo>
                <a:lnTo>
                  <a:pt x="13070" y="7248"/>
                </a:lnTo>
                <a:lnTo>
                  <a:pt x="13074" y="7244"/>
                </a:lnTo>
                <a:lnTo>
                  <a:pt x="13076" y="7240"/>
                </a:lnTo>
                <a:lnTo>
                  <a:pt x="13082" y="7238"/>
                </a:lnTo>
                <a:lnTo>
                  <a:pt x="13086" y="7236"/>
                </a:lnTo>
                <a:lnTo>
                  <a:pt x="13090" y="7232"/>
                </a:lnTo>
                <a:lnTo>
                  <a:pt x="13100" y="7218"/>
                </a:lnTo>
                <a:lnTo>
                  <a:pt x="13110" y="7200"/>
                </a:lnTo>
                <a:lnTo>
                  <a:pt x="13126" y="7178"/>
                </a:lnTo>
                <a:lnTo>
                  <a:pt x="13132" y="7170"/>
                </a:lnTo>
                <a:lnTo>
                  <a:pt x="13134" y="7164"/>
                </a:lnTo>
                <a:lnTo>
                  <a:pt x="13132" y="7160"/>
                </a:lnTo>
                <a:lnTo>
                  <a:pt x="13130" y="7158"/>
                </a:lnTo>
                <a:lnTo>
                  <a:pt x="13128" y="7156"/>
                </a:lnTo>
                <a:lnTo>
                  <a:pt x="13124" y="7152"/>
                </a:lnTo>
                <a:lnTo>
                  <a:pt x="13124" y="7148"/>
                </a:lnTo>
                <a:lnTo>
                  <a:pt x="13128" y="7142"/>
                </a:lnTo>
                <a:close/>
                <a:moveTo>
                  <a:pt x="13270" y="6944"/>
                </a:moveTo>
                <a:lnTo>
                  <a:pt x="13270" y="6944"/>
                </a:lnTo>
                <a:lnTo>
                  <a:pt x="13266" y="6950"/>
                </a:lnTo>
                <a:lnTo>
                  <a:pt x="13262" y="6954"/>
                </a:lnTo>
                <a:lnTo>
                  <a:pt x="13258" y="6956"/>
                </a:lnTo>
                <a:lnTo>
                  <a:pt x="13250" y="6958"/>
                </a:lnTo>
                <a:lnTo>
                  <a:pt x="13244" y="6956"/>
                </a:lnTo>
                <a:lnTo>
                  <a:pt x="13236" y="6954"/>
                </a:lnTo>
                <a:lnTo>
                  <a:pt x="13218" y="6946"/>
                </a:lnTo>
                <a:lnTo>
                  <a:pt x="13210" y="6940"/>
                </a:lnTo>
                <a:lnTo>
                  <a:pt x="13204" y="6932"/>
                </a:lnTo>
                <a:lnTo>
                  <a:pt x="13200" y="6924"/>
                </a:lnTo>
                <a:lnTo>
                  <a:pt x="13198" y="6914"/>
                </a:lnTo>
                <a:lnTo>
                  <a:pt x="13192" y="6896"/>
                </a:lnTo>
                <a:lnTo>
                  <a:pt x="13190" y="6888"/>
                </a:lnTo>
                <a:lnTo>
                  <a:pt x="13184" y="6880"/>
                </a:lnTo>
                <a:lnTo>
                  <a:pt x="13178" y="6874"/>
                </a:lnTo>
                <a:lnTo>
                  <a:pt x="13176" y="6872"/>
                </a:lnTo>
                <a:lnTo>
                  <a:pt x="13174" y="6874"/>
                </a:lnTo>
                <a:lnTo>
                  <a:pt x="13174" y="6878"/>
                </a:lnTo>
                <a:lnTo>
                  <a:pt x="13176" y="6890"/>
                </a:lnTo>
                <a:lnTo>
                  <a:pt x="13184" y="6908"/>
                </a:lnTo>
                <a:lnTo>
                  <a:pt x="13184" y="6914"/>
                </a:lnTo>
                <a:lnTo>
                  <a:pt x="13182" y="6914"/>
                </a:lnTo>
                <a:lnTo>
                  <a:pt x="13176" y="6912"/>
                </a:lnTo>
                <a:lnTo>
                  <a:pt x="13168" y="6908"/>
                </a:lnTo>
                <a:lnTo>
                  <a:pt x="13162" y="6900"/>
                </a:lnTo>
                <a:lnTo>
                  <a:pt x="13156" y="6892"/>
                </a:lnTo>
                <a:lnTo>
                  <a:pt x="13152" y="6884"/>
                </a:lnTo>
                <a:lnTo>
                  <a:pt x="13152" y="6876"/>
                </a:lnTo>
                <a:lnTo>
                  <a:pt x="13152" y="6870"/>
                </a:lnTo>
                <a:lnTo>
                  <a:pt x="13152" y="6864"/>
                </a:lnTo>
                <a:lnTo>
                  <a:pt x="13148" y="6856"/>
                </a:lnTo>
                <a:lnTo>
                  <a:pt x="13144" y="6850"/>
                </a:lnTo>
                <a:lnTo>
                  <a:pt x="13142" y="6846"/>
                </a:lnTo>
                <a:lnTo>
                  <a:pt x="13142" y="6842"/>
                </a:lnTo>
                <a:lnTo>
                  <a:pt x="13142" y="6832"/>
                </a:lnTo>
                <a:lnTo>
                  <a:pt x="13140" y="6826"/>
                </a:lnTo>
                <a:lnTo>
                  <a:pt x="13138" y="6818"/>
                </a:lnTo>
                <a:lnTo>
                  <a:pt x="13132" y="6810"/>
                </a:lnTo>
                <a:lnTo>
                  <a:pt x="13124" y="6802"/>
                </a:lnTo>
                <a:lnTo>
                  <a:pt x="13118" y="6796"/>
                </a:lnTo>
                <a:lnTo>
                  <a:pt x="13110" y="6794"/>
                </a:lnTo>
                <a:lnTo>
                  <a:pt x="13100" y="6792"/>
                </a:lnTo>
                <a:lnTo>
                  <a:pt x="13096" y="6790"/>
                </a:lnTo>
                <a:lnTo>
                  <a:pt x="13092" y="6786"/>
                </a:lnTo>
                <a:lnTo>
                  <a:pt x="13088" y="6778"/>
                </a:lnTo>
                <a:lnTo>
                  <a:pt x="13082" y="6768"/>
                </a:lnTo>
                <a:lnTo>
                  <a:pt x="13078" y="6766"/>
                </a:lnTo>
                <a:lnTo>
                  <a:pt x="13074" y="6764"/>
                </a:lnTo>
                <a:lnTo>
                  <a:pt x="13064" y="6766"/>
                </a:lnTo>
                <a:lnTo>
                  <a:pt x="13064" y="6768"/>
                </a:lnTo>
                <a:lnTo>
                  <a:pt x="13070" y="6774"/>
                </a:lnTo>
                <a:lnTo>
                  <a:pt x="13080" y="6786"/>
                </a:lnTo>
                <a:lnTo>
                  <a:pt x="13084" y="6794"/>
                </a:lnTo>
                <a:lnTo>
                  <a:pt x="13086" y="6798"/>
                </a:lnTo>
                <a:lnTo>
                  <a:pt x="13086" y="6800"/>
                </a:lnTo>
                <a:lnTo>
                  <a:pt x="13086" y="6802"/>
                </a:lnTo>
                <a:lnTo>
                  <a:pt x="13084" y="6806"/>
                </a:lnTo>
                <a:lnTo>
                  <a:pt x="13090" y="6816"/>
                </a:lnTo>
                <a:lnTo>
                  <a:pt x="13096" y="6824"/>
                </a:lnTo>
                <a:lnTo>
                  <a:pt x="13102" y="6834"/>
                </a:lnTo>
                <a:lnTo>
                  <a:pt x="13110" y="6854"/>
                </a:lnTo>
                <a:lnTo>
                  <a:pt x="13116" y="6862"/>
                </a:lnTo>
                <a:lnTo>
                  <a:pt x="13120" y="6868"/>
                </a:lnTo>
                <a:lnTo>
                  <a:pt x="13122" y="6868"/>
                </a:lnTo>
                <a:lnTo>
                  <a:pt x="13126" y="6864"/>
                </a:lnTo>
                <a:lnTo>
                  <a:pt x="13128" y="6862"/>
                </a:lnTo>
                <a:lnTo>
                  <a:pt x="13130" y="6862"/>
                </a:lnTo>
                <a:lnTo>
                  <a:pt x="13134" y="6870"/>
                </a:lnTo>
                <a:lnTo>
                  <a:pt x="13136" y="6878"/>
                </a:lnTo>
                <a:lnTo>
                  <a:pt x="13136" y="6880"/>
                </a:lnTo>
                <a:lnTo>
                  <a:pt x="13134" y="6880"/>
                </a:lnTo>
                <a:lnTo>
                  <a:pt x="13128" y="6878"/>
                </a:lnTo>
                <a:lnTo>
                  <a:pt x="13130" y="6882"/>
                </a:lnTo>
                <a:lnTo>
                  <a:pt x="13144" y="6918"/>
                </a:lnTo>
                <a:lnTo>
                  <a:pt x="13150" y="6932"/>
                </a:lnTo>
                <a:lnTo>
                  <a:pt x="13152" y="6942"/>
                </a:lnTo>
                <a:lnTo>
                  <a:pt x="13152" y="6950"/>
                </a:lnTo>
                <a:lnTo>
                  <a:pt x="13152" y="6956"/>
                </a:lnTo>
                <a:lnTo>
                  <a:pt x="13148" y="6968"/>
                </a:lnTo>
                <a:lnTo>
                  <a:pt x="13146" y="6976"/>
                </a:lnTo>
                <a:lnTo>
                  <a:pt x="13146" y="6984"/>
                </a:lnTo>
                <a:lnTo>
                  <a:pt x="13146" y="6994"/>
                </a:lnTo>
                <a:lnTo>
                  <a:pt x="13142" y="7002"/>
                </a:lnTo>
                <a:lnTo>
                  <a:pt x="13138" y="7008"/>
                </a:lnTo>
                <a:lnTo>
                  <a:pt x="13130" y="7012"/>
                </a:lnTo>
                <a:lnTo>
                  <a:pt x="13118" y="7020"/>
                </a:lnTo>
                <a:lnTo>
                  <a:pt x="13112" y="7024"/>
                </a:lnTo>
                <a:lnTo>
                  <a:pt x="13110" y="7028"/>
                </a:lnTo>
                <a:lnTo>
                  <a:pt x="13110" y="7034"/>
                </a:lnTo>
                <a:lnTo>
                  <a:pt x="13114" y="7038"/>
                </a:lnTo>
                <a:lnTo>
                  <a:pt x="13126" y="7050"/>
                </a:lnTo>
                <a:lnTo>
                  <a:pt x="13144" y="7058"/>
                </a:lnTo>
                <a:lnTo>
                  <a:pt x="13158" y="7066"/>
                </a:lnTo>
                <a:lnTo>
                  <a:pt x="13164" y="7072"/>
                </a:lnTo>
                <a:lnTo>
                  <a:pt x="13166" y="7078"/>
                </a:lnTo>
                <a:lnTo>
                  <a:pt x="13168" y="7088"/>
                </a:lnTo>
                <a:lnTo>
                  <a:pt x="13166" y="7096"/>
                </a:lnTo>
                <a:lnTo>
                  <a:pt x="13162" y="7114"/>
                </a:lnTo>
                <a:lnTo>
                  <a:pt x="13158" y="7122"/>
                </a:lnTo>
                <a:lnTo>
                  <a:pt x="13154" y="7126"/>
                </a:lnTo>
                <a:lnTo>
                  <a:pt x="13148" y="7132"/>
                </a:lnTo>
                <a:lnTo>
                  <a:pt x="13144" y="7136"/>
                </a:lnTo>
                <a:lnTo>
                  <a:pt x="13144" y="7138"/>
                </a:lnTo>
                <a:lnTo>
                  <a:pt x="13146" y="7140"/>
                </a:lnTo>
                <a:lnTo>
                  <a:pt x="13158" y="7144"/>
                </a:lnTo>
                <a:lnTo>
                  <a:pt x="13162" y="7146"/>
                </a:lnTo>
                <a:lnTo>
                  <a:pt x="13164" y="7150"/>
                </a:lnTo>
                <a:lnTo>
                  <a:pt x="13168" y="7156"/>
                </a:lnTo>
                <a:lnTo>
                  <a:pt x="13170" y="7158"/>
                </a:lnTo>
                <a:lnTo>
                  <a:pt x="13172" y="7160"/>
                </a:lnTo>
                <a:lnTo>
                  <a:pt x="13176" y="7158"/>
                </a:lnTo>
                <a:lnTo>
                  <a:pt x="13182" y="7154"/>
                </a:lnTo>
                <a:lnTo>
                  <a:pt x="13190" y="7146"/>
                </a:lnTo>
                <a:lnTo>
                  <a:pt x="13200" y="7134"/>
                </a:lnTo>
                <a:lnTo>
                  <a:pt x="13222" y="7102"/>
                </a:lnTo>
                <a:lnTo>
                  <a:pt x="13232" y="7084"/>
                </a:lnTo>
                <a:lnTo>
                  <a:pt x="13238" y="7068"/>
                </a:lnTo>
                <a:lnTo>
                  <a:pt x="13242" y="7054"/>
                </a:lnTo>
                <a:lnTo>
                  <a:pt x="13240" y="7050"/>
                </a:lnTo>
                <a:lnTo>
                  <a:pt x="13238" y="7046"/>
                </a:lnTo>
                <a:lnTo>
                  <a:pt x="13238" y="7042"/>
                </a:lnTo>
                <a:lnTo>
                  <a:pt x="13238" y="7036"/>
                </a:lnTo>
                <a:lnTo>
                  <a:pt x="13240" y="7032"/>
                </a:lnTo>
                <a:lnTo>
                  <a:pt x="13244" y="7026"/>
                </a:lnTo>
                <a:lnTo>
                  <a:pt x="13250" y="7022"/>
                </a:lnTo>
                <a:lnTo>
                  <a:pt x="13258" y="7020"/>
                </a:lnTo>
                <a:lnTo>
                  <a:pt x="13264" y="7020"/>
                </a:lnTo>
                <a:lnTo>
                  <a:pt x="13274" y="7024"/>
                </a:lnTo>
                <a:lnTo>
                  <a:pt x="13280" y="7028"/>
                </a:lnTo>
                <a:lnTo>
                  <a:pt x="13282" y="7030"/>
                </a:lnTo>
                <a:lnTo>
                  <a:pt x="13282" y="7028"/>
                </a:lnTo>
                <a:lnTo>
                  <a:pt x="13282" y="7024"/>
                </a:lnTo>
                <a:lnTo>
                  <a:pt x="13280" y="7018"/>
                </a:lnTo>
                <a:lnTo>
                  <a:pt x="13280" y="7010"/>
                </a:lnTo>
                <a:lnTo>
                  <a:pt x="13278" y="7002"/>
                </a:lnTo>
                <a:lnTo>
                  <a:pt x="13280" y="6998"/>
                </a:lnTo>
                <a:lnTo>
                  <a:pt x="13282" y="6996"/>
                </a:lnTo>
                <a:lnTo>
                  <a:pt x="13286" y="6994"/>
                </a:lnTo>
                <a:lnTo>
                  <a:pt x="13290" y="6992"/>
                </a:lnTo>
                <a:lnTo>
                  <a:pt x="13294" y="6986"/>
                </a:lnTo>
                <a:lnTo>
                  <a:pt x="13296" y="6980"/>
                </a:lnTo>
                <a:lnTo>
                  <a:pt x="13296" y="6974"/>
                </a:lnTo>
                <a:lnTo>
                  <a:pt x="13298" y="6958"/>
                </a:lnTo>
                <a:lnTo>
                  <a:pt x="13298" y="6952"/>
                </a:lnTo>
                <a:lnTo>
                  <a:pt x="13300" y="6948"/>
                </a:lnTo>
                <a:lnTo>
                  <a:pt x="13302" y="6942"/>
                </a:lnTo>
                <a:lnTo>
                  <a:pt x="13300" y="6940"/>
                </a:lnTo>
                <a:lnTo>
                  <a:pt x="13296" y="6936"/>
                </a:lnTo>
                <a:lnTo>
                  <a:pt x="13292" y="6934"/>
                </a:lnTo>
                <a:lnTo>
                  <a:pt x="13286" y="6934"/>
                </a:lnTo>
                <a:lnTo>
                  <a:pt x="13280" y="6936"/>
                </a:lnTo>
                <a:lnTo>
                  <a:pt x="13274" y="6938"/>
                </a:lnTo>
                <a:lnTo>
                  <a:pt x="13270" y="6944"/>
                </a:lnTo>
                <a:close/>
                <a:moveTo>
                  <a:pt x="8116" y="5660"/>
                </a:moveTo>
                <a:lnTo>
                  <a:pt x="8116" y="5660"/>
                </a:lnTo>
                <a:lnTo>
                  <a:pt x="8110" y="5654"/>
                </a:lnTo>
                <a:lnTo>
                  <a:pt x="8106" y="5648"/>
                </a:lnTo>
                <a:lnTo>
                  <a:pt x="8102" y="5632"/>
                </a:lnTo>
                <a:lnTo>
                  <a:pt x="8100" y="5626"/>
                </a:lnTo>
                <a:lnTo>
                  <a:pt x="8096" y="5622"/>
                </a:lnTo>
                <a:lnTo>
                  <a:pt x="8094" y="5622"/>
                </a:lnTo>
                <a:lnTo>
                  <a:pt x="8090" y="5628"/>
                </a:lnTo>
                <a:lnTo>
                  <a:pt x="8084" y="5636"/>
                </a:lnTo>
                <a:lnTo>
                  <a:pt x="8082" y="5642"/>
                </a:lnTo>
                <a:lnTo>
                  <a:pt x="8080" y="5662"/>
                </a:lnTo>
                <a:lnTo>
                  <a:pt x="8078" y="5672"/>
                </a:lnTo>
                <a:lnTo>
                  <a:pt x="8076" y="5680"/>
                </a:lnTo>
                <a:lnTo>
                  <a:pt x="8072" y="5688"/>
                </a:lnTo>
                <a:lnTo>
                  <a:pt x="8070" y="5692"/>
                </a:lnTo>
                <a:lnTo>
                  <a:pt x="8062" y="5698"/>
                </a:lnTo>
                <a:lnTo>
                  <a:pt x="8052" y="5700"/>
                </a:lnTo>
                <a:lnTo>
                  <a:pt x="8040" y="5702"/>
                </a:lnTo>
                <a:lnTo>
                  <a:pt x="8036" y="5704"/>
                </a:lnTo>
                <a:lnTo>
                  <a:pt x="8038" y="5710"/>
                </a:lnTo>
                <a:lnTo>
                  <a:pt x="8042" y="5722"/>
                </a:lnTo>
                <a:lnTo>
                  <a:pt x="8042" y="5728"/>
                </a:lnTo>
                <a:lnTo>
                  <a:pt x="8040" y="5732"/>
                </a:lnTo>
                <a:lnTo>
                  <a:pt x="8030" y="5744"/>
                </a:lnTo>
                <a:lnTo>
                  <a:pt x="8010" y="5762"/>
                </a:lnTo>
                <a:lnTo>
                  <a:pt x="8000" y="5774"/>
                </a:lnTo>
                <a:lnTo>
                  <a:pt x="7992" y="5782"/>
                </a:lnTo>
                <a:lnTo>
                  <a:pt x="7982" y="5796"/>
                </a:lnTo>
                <a:lnTo>
                  <a:pt x="7976" y="5802"/>
                </a:lnTo>
                <a:lnTo>
                  <a:pt x="7970" y="5806"/>
                </a:lnTo>
                <a:lnTo>
                  <a:pt x="7958" y="5808"/>
                </a:lnTo>
                <a:lnTo>
                  <a:pt x="7942" y="5810"/>
                </a:lnTo>
                <a:lnTo>
                  <a:pt x="7934" y="5812"/>
                </a:lnTo>
                <a:lnTo>
                  <a:pt x="7930" y="5814"/>
                </a:lnTo>
                <a:lnTo>
                  <a:pt x="7926" y="5820"/>
                </a:lnTo>
                <a:lnTo>
                  <a:pt x="7924" y="5822"/>
                </a:lnTo>
                <a:lnTo>
                  <a:pt x="7922" y="5824"/>
                </a:lnTo>
                <a:lnTo>
                  <a:pt x="7918" y="5826"/>
                </a:lnTo>
                <a:lnTo>
                  <a:pt x="7910" y="5826"/>
                </a:lnTo>
                <a:lnTo>
                  <a:pt x="7904" y="5826"/>
                </a:lnTo>
                <a:lnTo>
                  <a:pt x="7902" y="5826"/>
                </a:lnTo>
                <a:lnTo>
                  <a:pt x="7900" y="5828"/>
                </a:lnTo>
                <a:lnTo>
                  <a:pt x="7900" y="5832"/>
                </a:lnTo>
                <a:lnTo>
                  <a:pt x="7898" y="5844"/>
                </a:lnTo>
                <a:lnTo>
                  <a:pt x="7896" y="5854"/>
                </a:lnTo>
                <a:lnTo>
                  <a:pt x="7890" y="5868"/>
                </a:lnTo>
                <a:lnTo>
                  <a:pt x="7884" y="5880"/>
                </a:lnTo>
                <a:lnTo>
                  <a:pt x="7882" y="5888"/>
                </a:lnTo>
                <a:lnTo>
                  <a:pt x="7882" y="5892"/>
                </a:lnTo>
                <a:lnTo>
                  <a:pt x="7882" y="5898"/>
                </a:lnTo>
                <a:lnTo>
                  <a:pt x="7886" y="5904"/>
                </a:lnTo>
                <a:lnTo>
                  <a:pt x="7886" y="5910"/>
                </a:lnTo>
                <a:lnTo>
                  <a:pt x="7886" y="5918"/>
                </a:lnTo>
                <a:lnTo>
                  <a:pt x="7884" y="5926"/>
                </a:lnTo>
                <a:lnTo>
                  <a:pt x="7886" y="5934"/>
                </a:lnTo>
                <a:lnTo>
                  <a:pt x="7888" y="5944"/>
                </a:lnTo>
                <a:lnTo>
                  <a:pt x="7892" y="5952"/>
                </a:lnTo>
                <a:lnTo>
                  <a:pt x="7892" y="5956"/>
                </a:lnTo>
                <a:lnTo>
                  <a:pt x="7892" y="5962"/>
                </a:lnTo>
                <a:lnTo>
                  <a:pt x="7892" y="5970"/>
                </a:lnTo>
                <a:lnTo>
                  <a:pt x="7894" y="5976"/>
                </a:lnTo>
                <a:lnTo>
                  <a:pt x="7898" y="5986"/>
                </a:lnTo>
                <a:lnTo>
                  <a:pt x="7902" y="6004"/>
                </a:lnTo>
                <a:lnTo>
                  <a:pt x="7902" y="6014"/>
                </a:lnTo>
                <a:lnTo>
                  <a:pt x="7900" y="6024"/>
                </a:lnTo>
                <a:lnTo>
                  <a:pt x="7898" y="6032"/>
                </a:lnTo>
                <a:lnTo>
                  <a:pt x="7894" y="6040"/>
                </a:lnTo>
                <a:lnTo>
                  <a:pt x="7884" y="6054"/>
                </a:lnTo>
                <a:lnTo>
                  <a:pt x="7880" y="6062"/>
                </a:lnTo>
                <a:lnTo>
                  <a:pt x="7878" y="6072"/>
                </a:lnTo>
                <a:lnTo>
                  <a:pt x="7876" y="6080"/>
                </a:lnTo>
                <a:lnTo>
                  <a:pt x="7874" y="6082"/>
                </a:lnTo>
                <a:lnTo>
                  <a:pt x="7872" y="6084"/>
                </a:lnTo>
                <a:lnTo>
                  <a:pt x="7868" y="6084"/>
                </a:lnTo>
                <a:lnTo>
                  <a:pt x="7866" y="6086"/>
                </a:lnTo>
                <a:lnTo>
                  <a:pt x="7862" y="6088"/>
                </a:lnTo>
                <a:lnTo>
                  <a:pt x="7858" y="6096"/>
                </a:lnTo>
                <a:lnTo>
                  <a:pt x="7856" y="6110"/>
                </a:lnTo>
                <a:lnTo>
                  <a:pt x="7852" y="6124"/>
                </a:lnTo>
                <a:lnTo>
                  <a:pt x="7852" y="6136"/>
                </a:lnTo>
                <a:lnTo>
                  <a:pt x="7852" y="6146"/>
                </a:lnTo>
                <a:lnTo>
                  <a:pt x="7854" y="6154"/>
                </a:lnTo>
                <a:lnTo>
                  <a:pt x="7860" y="6166"/>
                </a:lnTo>
                <a:lnTo>
                  <a:pt x="7868" y="6182"/>
                </a:lnTo>
                <a:lnTo>
                  <a:pt x="7870" y="6190"/>
                </a:lnTo>
                <a:lnTo>
                  <a:pt x="7872" y="6196"/>
                </a:lnTo>
                <a:lnTo>
                  <a:pt x="7870" y="6208"/>
                </a:lnTo>
                <a:lnTo>
                  <a:pt x="7868" y="6216"/>
                </a:lnTo>
                <a:lnTo>
                  <a:pt x="7870" y="6226"/>
                </a:lnTo>
                <a:lnTo>
                  <a:pt x="7872" y="6240"/>
                </a:lnTo>
                <a:lnTo>
                  <a:pt x="7878" y="6256"/>
                </a:lnTo>
                <a:lnTo>
                  <a:pt x="7886" y="6268"/>
                </a:lnTo>
                <a:lnTo>
                  <a:pt x="7892" y="6278"/>
                </a:lnTo>
                <a:lnTo>
                  <a:pt x="7898" y="6282"/>
                </a:lnTo>
                <a:lnTo>
                  <a:pt x="7902" y="6286"/>
                </a:lnTo>
                <a:lnTo>
                  <a:pt x="7914" y="6288"/>
                </a:lnTo>
                <a:lnTo>
                  <a:pt x="7920" y="6292"/>
                </a:lnTo>
                <a:lnTo>
                  <a:pt x="7924" y="6296"/>
                </a:lnTo>
                <a:lnTo>
                  <a:pt x="7926" y="6300"/>
                </a:lnTo>
                <a:lnTo>
                  <a:pt x="7930" y="6300"/>
                </a:lnTo>
                <a:lnTo>
                  <a:pt x="7938" y="6302"/>
                </a:lnTo>
                <a:lnTo>
                  <a:pt x="7948" y="6298"/>
                </a:lnTo>
                <a:lnTo>
                  <a:pt x="7958" y="6294"/>
                </a:lnTo>
                <a:lnTo>
                  <a:pt x="7978" y="6284"/>
                </a:lnTo>
                <a:lnTo>
                  <a:pt x="7988" y="6280"/>
                </a:lnTo>
                <a:lnTo>
                  <a:pt x="7998" y="6278"/>
                </a:lnTo>
                <a:lnTo>
                  <a:pt x="8002" y="6276"/>
                </a:lnTo>
                <a:lnTo>
                  <a:pt x="8006" y="6270"/>
                </a:lnTo>
                <a:lnTo>
                  <a:pt x="8014" y="6252"/>
                </a:lnTo>
                <a:lnTo>
                  <a:pt x="8024" y="6224"/>
                </a:lnTo>
                <a:lnTo>
                  <a:pt x="8032" y="6188"/>
                </a:lnTo>
                <a:lnTo>
                  <a:pt x="8052" y="6108"/>
                </a:lnTo>
                <a:lnTo>
                  <a:pt x="8072" y="6024"/>
                </a:lnTo>
                <a:lnTo>
                  <a:pt x="8086" y="5978"/>
                </a:lnTo>
                <a:lnTo>
                  <a:pt x="8098" y="5946"/>
                </a:lnTo>
                <a:lnTo>
                  <a:pt x="8102" y="5934"/>
                </a:lnTo>
                <a:lnTo>
                  <a:pt x="8104" y="5922"/>
                </a:lnTo>
                <a:lnTo>
                  <a:pt x="8104" y="5910"/>
                </a:lnTo>
                <a:lnTo>
                  <a:pt x="8102" y="5898"/>
                </a:lnTo>
                <a:lnTo>
                  <a:pt x="8102" y="5886"/>
                </a:lnTo>
                <a:lnTo>
                  <a:pt x="8102" y="5878"/>
                </a:lnTo>
                <a:lnTo>
                  <a:pt x="8104" y="5872"/>
                </a:lnTo>
                <a:lnTo>
                  <a:pt x="8108" y="5870"/>
                </a:lnTo>
                <a:lnTo>
                  <a:pt x="8114" y="5864"/>
                </a:lnTo>
                <a:lnTo>
                  <a:pt x="8116" y="5862"/>
                </a:lnTo>
                <a:lnTo>
                  <a:pt x="8116" y="5856"/>
                </a:lnTo>
                <a:lnTo>
                  <a:pt x="8114" y="5846"/>
                </a:lnTo>
                <a:lnTo>
                  <a:pt x="8116" y="5838"/>
                </a:lnTo>
                <a:lnTo>
                  <a:pt x="8118" y="5830"/>
                </a:lnTo>
                <a:lnTo>
                  <a:pt x="8116" y="5824"/>
                </a:lnTo>
                <a:lnTo>
                  <a:pt x="8114" y="5818"/>
                </a:lnTo>
                <a:lnTo>
                  <a:pt x="8112" y="5810"/>
                </a:lnTo>
                <a:lnTo>
                  <a:pt x="8110" y="5802"/>
                </a:lnTo>
                <a:lnTo>
                  <a:pt x="8110" y="5796"/>
                </a:lnTo>
                <a:lnTo>
                  <a:pt x="8112" y="5792"/>
                </a:lnTo>
                <a:lnTo>
                  <a:pt x="8114" y="5792"/>
                </a:lnTo>
                <a:lnTo>
                  <a:pt x="8118" y="5794"/>
                </a:lnTo>
                <a:lnTo>
                  <a:pt x="8122" y="5802"/>
                </a:lnTo>
                <a:lnTo>
                  <a:pt x="8126" y="5814"/>
                </a:lnTo>
                <a:lnTo>
                  <a:pt x="8130" y="5818"/>
                </a:lnTo>
                <a:lnTo>
                  <a:pt x="8132" y="5818"/>
                </a:lnTo>
                <a:lnTo>
                  <a:pt x="8136" y="5814"/>
                </a:lnTo>
                <a:lnTo>
                  <a:pt x="8138" y="5808"/>
                </a:lnTo>
                <a:lnTo>
                  <a:pt x="8140" y="5798"/>
                </a:lnTo>
                <a:lnTo>
                  <a:pt x="8142" y="5788"/>
                </a:lnTo>
                <a:lnTo>
                  <a:pt x="8142" y="5778"/>
                </a:lnTo>
                <a:lnTo>
                  <a:pt x="8138" y="5770"/>
                </a:lnTo>
                <a:lnTo>
                  <a:pt x="8136" y="5760"/>
                </a:lnTo>
                <a:lnTo>
                  <a:pt x="8134" y="5746"/>
                </a:lnTo>
                <a:lnTo>
                  <a:pt x="8130" y="5710"/>
                </a:lnTo>
                <a:lnTo>
                  <a:pt x="8124" y="5678"/>
                </a:lnTo>
                <a:lnTo>
                  <a:pt x="8120" y="5666"/>
                </a:lnTo>
                <a:lnTo>
                  <a:pt x="8116" y="5660"/>
                </a:lnTo>
                <a:close/>
                <a:moveTo>
                  <a:pt x="11994" y="2764"/>
                </a:moveTo>
                <a:lnTo>
                  <a:pt x="11994" y="2764"/>
                </a:lnTo>
                <a:lnTo>
                  <a:pt x="11986" y="2776"/>
                </a:lnTo>
                <a:lnTo>
                  <a:pt x="11978" y="2784"/>
                </a:lnTo>
                <a:lnTo>
                  <a:pt x="11972" y="2794"/>
                </a:lnTo>
                <a:lnTo>
                  <a:pt x="11972" y="2798"/>
                </a:lnTo>
                <a:lnTo>
                  <a:pt x="11974" y="2802"/>
                </a:lnTo>
                <a:lnTo>
                  <a:pt x="11976" y="2800"/>
                </a:lnTo>
                <a:lnTo>
                  <a:pt x="11982" y="2792"/>
                </a:lnTo>
                <a:lnTo>
                  <a:pt x="11988" y="2784"/>
                </a:lnTo>
                <a:lnTo>
                  <a:pt x="11994" y="2778"/>
                </a:lnTo>
                <a:lnTo>
                  <a:pt x="12000" y="2772"/>
                </a:lnTo>
                <a:lnTo>
                  <a:pt x="12010" y="2768"/>
                </a:lnTo>
                <a:lnTo>
                  <a:pt x="12014" y="2766"/>
                </a:lnTo>
                <a:lnTo>
                  <a:pt x="12008" y="2762"/>
                </a:lnTo>
                <a:lnTo>
                  <a:pt x="12000" y="2762"/>
                </a:lnTo>
                <a:lnTo>
                  <a:pt x="11996" y="2762"/>
                </a:lnTo>
                <a:lnTo>
                  <a:pt x="11994" y="2764"/>
                </a:lnTo>
                <a:close/>
                <a:moveTo>
                  <a:pt x="12064" y="2720"/>
                </a:moveTo>
                <a:lnTo>
                  <a:pt x="12064" y="2720"/>
                </a:lnTo>
                <a:lnTo>
                  <a:pt x="12054" y="2726"/>
                </a:lnTo>
                <a:lnTo>
                  <a:pt x="12046" y="2734"/>
                </a:lnTo>
                <a:lnTo>
                  <a:pt x="12036" y="2744"/>
                </a:lnTo>
                <a:lnTo>
                  <a:pt x="12030" y="2756"/>
                </a:lnTo>
                <a:lnTo>
                  <a:pt x="12028" y="2760"/>
                </a:lnTo>
                <a:lnTo>
                  <a:pt x="12028" y="2762"/>
                </a:lnTo>
                <a:lnTo>
                  <a:pt x="12030" y="2762"/>
                </a:lnTo>
                <a:lnTo>
                  <a:pt x="12032" y="2762"/>
                </a:lnTo>
                <a:lnTo>
                  <a:pt x="12040" y="2756"/>
                </a:lnTo>
                <a:lnTo>
                  <a:pt x="12050" y="2744"/>
                </a:lnTo>
                <a:lnTo>
                  <a:pt x="12058" y="2736"/>
                </a:lnTo>
                <a:lnTo>
                  <a:pt x="12064" y="2730"/>
                </a:lnTo>
                <a:lnTo>
                  <a:pt x="12072" y="2728"/>
                </a:lnTo>
                <a:lnTo>
                  <a:pt x="12080" y="2722"/>
                </a:lnTo>
                <a:lnTo>
                  <a:pt x="12084" y="2718"/>
                </a:lnTo>
                <a:lnTo>
                  <a:pt x="12090" y="2714"/>
                </a:lnTo>
                <a:lnTo>
                  <a:pt x="12100" y="2712"/>
                </a:lnTo>
                <a:lnTo>
                  <a:pt x="12104" y="2710"/>
                </a:lnTo>
                <a:lnTo>
                  <a:pt x="12106" y="2708"/>
                </a:lnTo>
                <a:lnTo>
                  <a:pt x="12108" y="2706"/>
                </a:lnTo>
                <a:lnTo>
                  <a:pt x="12104" y="2700"/>
                </a:lnTo>
                <a:lnTo>
                  <a:pt x="12102" y="2698"/>
                </a:lnTo>
                <a:lnTo>
                  <a:pt x="12098" y="2700"/>
                </a:lnTo>
                <a:lnTo>
                  <a:pt x="12092" y="2704"/>
                </a:lnTo>
                <a:lnTo>
                  <a:pt x="12084" y="2710"/>
                </a:lnTo>
                <a:lnTo>
                  <a:pt x="12078" y="2710"/>
                </a:lnTo>
                <a:lnTo>
                  <a:pt x="12074" y="2708"/>
                </a:lnTo>
                <a:lnTo>
                  <a:pt x="12070" y="2706"/>
                </a:lnTo>
                <a:lnTo>
                  <a:pt x="12070" y="2710"/>
                </a:lnTo>
                <a:lnTo>
                  <a:pt x="12070" y="2716"/>
                </a:lnTo>
                <a:lnTo>
                  <a:pt x="12068" y="2718"/>
                </a:lnTo>
                <a:lnTo>
                  <a:pt x="12064" y="2720"/>
                </a:lnTo>
                <a:close/>
                <a:moveTo>
                  <a:pt x="12172" y="2660"/>
                </a:moveTo>
                <a:lnTo>
                  <a:pt x="12172" y="2660"/>
                </a:lnTo>
                <a:lnTo>
                  <a:pt x="12170" y="2660"/>
                </a:lnTo>
                <a:lnTo>
                  <a:pt x="12166" y="2660"/>
                </a:lnTo>
                <a:lnTo>
                  <a:pt x="12154" y="2666"/>
                </a:lnTo>
                <a:lnTo>
                  <a:pt x="12142" y="2676"/>
                </a:lnTo>
                <a:lnTo>
                  <a:pt x="12138" y="2682"/>
                </a:lnTo>
                <a:lnTo>
                  <a:pt x="12134" y="2690"/>
                </a:lnTo>
                <a:lnTo>
                  <a:pt x="12132" y="2696"/>
                </a:lnTo>
                <a:lnTo>
                  <a:pt x="12136" y="2696"/>
                </a:lnTo>
                <a:lnTo>
                  <a:pt x="12144" y="2692"/>
                </a:lnTo>
                <a:lnTo>
                  <a:pt x="12152" y="2686"/>
                </a:lnTo>
                <a:lnTo>
                  <a:pt x="12168" y="2670"/>
                </a:lnTo>
                <a:lnTo>
                  <a:pt x="12172" y="2664"/>
                </a:lnTo>
                <a:lnTo>
                  <a:pt x="12172" y="2660"/>
                </a:lnTo>
                <a:close/>
                <a:moveTo>
                  <a:pt x="12350" y="2462"/>
                </a:moveTo>
                <a:lnTo>
                  <a:pt x="12350" y="2462"/>
                </a:lnTo>
                <a:lnTo>
                  <a:pt x="12348" y="2460"/>
                </a:lnTo>
                <a:lnTo>
                  <a:pt x="12344" y="2462"/>
                </a:lnTo>
                <a:lnTo>
                  <a:pt x="12340" y="2470"/>
                </a:lnTo>
                <a:lnTo>
                  <a:pt x="12336" y="2484"/>
                </a:lnTo>
                <a:lnTo>
                  <a:pt x="12336" y="2492"/>
                </a:lnTo>
                <a:lnTo>
                  <a:pt x="12338" y="2492"/>
                </a:lnTo>
                <a:lnTo>
                  <a:pt x="12340" y="2490"/>
                </a:lnTo>
                <a:lnTo>
                  <a:pt x="12346" y="2482"/>
                </a:lnTo>
                <a:lnTo>
                  <a:pt x="12350" y="2470"/>
                </a:lnTo>
                <a:lnTo>
                  <a:pt x="12352" y="2466"/>
                </a:lnTo>
                <a:lnTo>
                  <a:pt x="12350" y="2462"/>
                </a:lnTo>
                <a:close/>
                <a:moveTo>
                  <a:pt x="12316" y="2512"/>
                </a:moveTo>
                <a:lnTo>
                  <a:pt x="12316" y="2512"/>
                </a:lnTo>
                <a:lnTo>
                  <a:pt x="12316" y="2514"/>
                </a:lnTo>
                <a:lnTo>
                  <a:pt x="12316" y="2512"/>
                </a:lnTo>
                <a:lnTo>
                  <a:pt x="12320" y="2510"/>
                </a:lnTo>
                <a:lnTo>
                  <a:pt x="12324" y="2506"/>
                </a:lnTo>
                <a:lnTo>
                  <a:pt x="12326" y="2502"/>
                </a:lnTo>
                <a:lnTo>
                  <a:pt x="12324" y="2502"/>
                </a:lnTo>
                <a:lnTo>
                  <a:pt x="12322" y="2504"/>
                </a:lnTo>
                <a:lnTo>
                  <a:pt x="12316" y="2512"/>
                </a:lnTo>
                <a:close/>
                <a:moveTo>
                  <a:pt x="12280" y="2566"/>
                </a:moveTo>
                <a:lnTo>
                  <a:pt x="12280" y="2566"/>
                </a:lnTo>
                <a:lnTo>
                  <a:pt x="12278" y="2566"/>
                </a:lnTo>
                <a:lnTo>
                  <a:pt x="12276" y="2568"/>
                </a:lnTo>
                <a:lnTo>
                  <a:pt x="12276" y="2572"/>
                </a:lnTo>
                <a:lnTo>
                  <a:pt x="12278" y="2574"/>
                </a:lnTo>
                <a:lnTo>
                  <a:pt x="12280" y="2576"/>
                </a:lnTo>
                <a:lnTo>
                  <a:pt x="12282" y="2574"/>
                </a:lnTo>
                <a:lnTo>
                  <a:pt x="12282" y="2570"/>
                </a:lnTo>
                <a:lnTo>
                  <a:pt x="12280" y="2566"/>
                </a:lnTo>
                <a:close/>
                <a:moveTo>
                  <a:pt x="12258" y="2590"/>
                </a:moveTo>
                <a:lnTo>
                  <a:pt x="12258" y="2590"/>
                </a:lnTo>
                <a:lnTo>
                  <a:pt x="12254" y="2590"/>
                </a:lnTo>
                <a:lnTo>
                  <a:pt x="12252" y="2590"/>
                </a:lnTo>
                <a:lnTo>
                  <a:pt x="12252" y="2594"/>
                </a:lnTo>
                <a:lnTo>
                  <a:pt x="12252" y="2596"/>
                </a:lnTo>
                <a:lnTo>
                  <a:pt x="12256" y="2598"/>
                </a:lnTo>
                <a:lnTo>
                  <a:pt x="12258" y="2596"/>
                </a:lnTo>
                <a:lnTo>
                  <a:pt x="12258" y="2594"/>
                </a:lnTo>
                <a:lnTo>
                  <a:pt x="12258" y="2590"/>
                </a:lnTo>
                <a:close/>
                <a:moveTo>
                  <a:pt x="12416" y="2388"/>
                </a:moveTo>
                <a:lnTo>
                  <a:pt x="12416" y="2388"/>
                </a:lnTo>
                <a:lnTo>
                  <a:pt x="12414" y="2386"/>
                </a:lnTo>
                <a:lnTo>
                  <a:pt x="12408" y="2390"/>
                </a:lnTo>
                <a:lnTo>
                  <a:pt x="12406" y="2394"/>
                </a:lnTo>
                <a:lnTo>
                  <a:pt x="12406" y="2396"/>
                </a:lnTo>
                <a:lnTo>
                  <a:pt x="12408" y="2398"/>
                </a:lnTo>
                <a:lnTo>
                  <a:pt x="12410" y="2400"/>
                </a:lnTo>
                <a:lnTo>
                  <a:pt x="12412" y="2400"/>
                </a:lnTo>
                <a:lnTo>
                  <a:pt x="12416" y="2396"/>
                </a:lnTo>
                <a:lnTo>
                  <a:pt x="12418" y="2392"/>
                </a:lnTo>
                <a:lnTo>
                  <a:pt x="12416" y="2388"/>
                </a:lnTo>
                <a:close/>
                <a:moveTo>
                  <a:pt x="11190" y="3374"/>
                </a:moveTo>
                <a:lnTo>
                  <a:pt x="11190" y="3374"/>
                </a:lnTo>
                <a:lnTo>
                  <a:pt x="11194" y="3376"/>
                </a:lnTo>
                <a:lnTo>
                  <a:pt x="11198" y="3378"/>
                </a:lnTo>
                <a:lnTo>
                  <a:pt x="11210" y="3374"/>
                </a:lnTo>
                <a:lnTo>
                  <a:pt x="11220" y="3368"/>
                </a:lnTo>
                <a:lnTo>
                  <a:pt x="11222" y="3364"/>
                </a:lnTo>
                <a:lnTo>
                  <a:pt x="11222" y="3360"/>
                </a:lnTo>
                <a:lnTo>
                  <a:pt x="11220" y="3358"/>
                </a:lnTo>
                <a:lnTo>
                  <a:pt x="11216" y="3356"/>
                </a:lnTo>
                <a:lnTo>
                  <a:pt x="11210" y="3358"/>
                </a:lnTo>
                <a:lnTo>
                  <a:pt x="11204" y="3360"/>
                </a:lnTo>
                <a:lnTo>
                  <a:pt x="11198" y="3362"/>
                </a:lnTo>
                <a:lnTo>
                  <a:pt x="11192" y="3366"/>
                </a:lnTo>
                <a:lnTo>
                  <a:pt x="11190" y="3370"/>
                </a:lnTo>
                <a:lnTo>
                  <a:pt x="11190" y="3374"/>
                </a:lnTo>
                <a:close/>
                <a:moveTo>
                  <a:pt x="11324" y="3298"/>
                </a:moveTo>
                <a:lnTo>
                  <a:pt x="11324" y="3298"/>
                </a:lnTo>
                <a:lnTo>
                  <a:pt x="11320" y="3302"/>
                </a:lnTo>
                <a:lnTo>
                  <a:pt x="11318" y="3306"/>
                </a:lnTo>
                <a:lnTo>
                  <a:pt x="11318" y="3310"/>
                </a:lnTo>
                <a:lnTo>
                  <a:pt x="11318" y="3314"/>
                </a:lnTo>
                <a:lnTo>
                  <a:pt x="11314" y="3324"/>
                </a:lnTo>
                <a:lnTo>
                  <a:pt x="11314" y="3328"/>
                </a:lnTo>
                <a:lnTo>
                  <a:pt x="11314" y="3330"/>
                </a:lnTo>
                <a:lnTo>
                  <a:pt x="11318" y="3328"/>
                </a:lnTo>
                <a:lnTo>
                  <a:pt x="11318" y="3324"/>
                </a:lnTo>
                <a:lnTo>
                  <a:pt x="11320" y="3318"/>
                </a:lnTo>
                <a:lnTo>
                  <a:pt x="11322" y="3314"/>
                </a:lnTo>
                <a:lnTo>
                  <a:pt x="11324" y="3308"/>
                </a:lnTo>
                <a:lnTo>
                  <a:pt x="11326" y="3304"/>
                </a:lnTo>
                <a:lnTo>
                  <a:pt x="11326" y="3300"/>
                </a:lnTo>
                <a:lnTo>
                  <a:pt x="11324" y="3298"/>
                </a:lnTo>
                <a:close/>
                <a:moveTo>
                  <a:pt x="11190" y="3314"/>
                </a:moveTo>
                <a:lnTo>
                  <a:pt x="11190" y="3314"/>
                </a:lnTo>
                <a:lnTo>
                  <a:pt x="11192" y="3314"/>
                </a:lnTo>
                <a:lnTo>
                  <a:pt x="11196" y="3314"/>
                </a:lnTo>
                <a:lnTo>
                  <a:pt x="11200" y="3312"/>
                </a:lnTo>
                <a:lnTo>
                  <a:pt x="11198" y="3308"/>
                </a:lnTo>
                <a:lnTo>
                  <a:pt x="11194" y="3306"/>
                </a:lnTo>
                <a:lnTo>
                  <a:pt x="11192" y="3308"/>
                </a:lnTo>
                <a:lnTo>
                  <a:pt x="11190" y="3312"/>
                </a:lnTo>
                <a:lnTo>
                  <a:pt x="11190" y="3314"/>
                </a:lnTo>
                <a:close/>
                <a:moveTo>
                  <a:pt x="11180" y="3298"/>
                </a:moveTo>
                <a:lnTo>
                  <a:pt x="11180" y="3298"/>
                </a:lnTo>
                <a:lnTo>
                  <a:pt x="11182" y="3300"/>
                </a:lnTo>
                <a:lnTo>
                  <a:pt x="11184" y="3298"/>
                </a:lnTo>
                <a:lnTo>
                  <a:pt x="11184" y="3294"/>
                </a:lnTo>
                <a:lnTo>
                  <a:pt x="11184" y="3292"/>
                </a:lnTo>
                <a:lnTo>
                  <a:pt x="11182" y="3292"/>
                </a:lnTo>
                <a:lnTo>
                  <a:pt x="11180" y="3294"/>
                </a:lnTo>
                <a:lnTo>
                  <a:pt x="11180" y="3298"/>
                </a:lnTo>
                <a:close/>
                <a:moveTo>
                  <a:pt x="11186" y="3286"/>
                </a:moveTo>
                <a:lnTo>
                  <a:pt x="11186" y="3286"/>
                </a:lnTo>
                <a:lnTo>
                  <a:pt x="11184" y="3288"/>
                </a:lnTo>
                <a:lnTo>
                  <a:pt x="11186" y="3290"/>
                </a:lnTo>
                <a:lnTo>
                  <a:pt x="11190" y="3296"/>
                </a:lnTo>
                <a:lnTo>
                  <a:pt x="11192" y="3296"/>
                </a:lnTo>
                <a:lnTo>
                  <a:pt x="11192" y="3294"/>
                </a:lnTo>
                <a:lnTo>
                  <a:pt x="11190" y="3288"/>
                </a:lnTo>
                <a:lnTo>
                  <a:pt x="11188" y="3286"/>
                </a:lnTo>
                <a:lnTo>
                  <a:pt x="11186" y="3286"/>
                </a:lnTo>
                <a:close/>
                <a:moveTo>
                  <a:pt x="11198" y="3196"/>
                </a:moveTo>
                <a:lnTo>
                  <a:pt x="11198" y="3196"/>
                </a:lnTo>
                <a:lnTo>
                  <a:pt x="11196" y="3198"/>
                </a:lnTo>
                <a:lnTo>
                  <a:pt x="11196" y="3200"/>
                </a:lnTo>
                <a:lnTo>
                  <a:pt x="11198" y="3204"/>
                </a:lnTo>
                <a:lnTo>
                  <a:pt x="11202" y="3206"/>
                </a:lnTo>
                <a:lnTo>
                  <a:pt x="11202" y="3204"/>
                </a:lnTo>
                <a:lnTo>
                  <a:pt x="11202" y="3202"/>
                </a:lnTo>
                <a:lnTo>
                  <a:pt x="11200" y="3198"/>
                </a:lnTo>
                <a:lnTo>
                  <a:pt x="11198" y="3196"/>
                </a:lnTo>
                <a:close/>
                <a:moveTo>
                  <a:pt x="11290" y="3284"/>
                </a:moveTo>
                <a:lnTo>
                  <a:pt x="11290" y="3284"/>
                </a:lnTo>
                <a:lnTo>
                  <a:pt x="11288" y="3288"/>
                </a:lnTo>
                <a:lnTo>
                  <a:pt x="11286" y="3292"/>
                </a:lnTo>
                <a:lnTo>
                  <a:pt x="11288" y="3296"/>
                </a:lnTo>
                <a:lnTo>
                  <a:pt x="11290" y="3296"/>
                </a:lnTo>
                <a:lnTo>
                  <a:pt x="11292" y="3296"/>
                </a:lnTo>
                <a:lnTo>
                  <a:pt x="11294" y="3292"/>
                </a:lnTo>
                <a:lnTo>
                  <a:pt x="11296" y="3286"/>
                </a:lnTo>
                <a:lnTo>
                  <a:pt x="11294" y="3284"/>
                </a:lnTo>
                <a:lnTo>
                  <a:pt x="11292" y="3282"/>
                </a:lnTo>
                <a:lnTo>
                  <a:pt x="11290" y="3284"/>
                </a:lnTo>
                <a:close/>
                <a:moveTo>
                  <a:pt x="11268" y="3290"/>
                </a:moveTo>
                <a:lnTo>
                  <a:pt x="11268" y="3290"/>
                </a:lnTo>
                <a:lnTo>
                  <a:pt x="11266" y="3288"/>
                </a:lnTo>
                <a:lnTo>
                  <a:pt x="11264" y="3286"/>
                </a:lnTo>
                <a:lnTo>
                  <a:pt x="11260" y="3286"/>
                </a:lnTo>
                <a:lnTo>
                  <a:pt x="11258" y="3288"/>
                </a:lnTo>
                <a:lnTo>
                  <a:pt x="11260" y="3290"/>
                </a:lnTo>
                <a:lnTo>
                  <a:pt x="11264" y="3296"/>
                </a:lnTo>
                <a:lnTo>
                  <a:pt x="11266" y="3296"/>
                </a:lnTo>
                <a:lnTo>
                  <a:pt x="11268" y="3294"/>
                </a:lnTo>
                <a:lnTo>
                  <a:pt x="11268" y="3290"/>
                </a:lnTo>
                <a:close/>
                <a:moveTo>
                  <a:pt x="11210" y="3328"/>
                </a:moveTo>
                <a:lnTo>
                  <a:pt x="11210" y="3328"/>
                </a:lnTo>
                <a:lnTo>
                  <a:pt x="11212" y="3326"/>
                </a:lnTo>
                <a:lnTo>
                  <a:pt x="11206" y="3326"/>
                </a:lnTo>
                <a:lnTo>
                  <a:pt x="11206" y="3328"/>
                </a:lnTo>
                <a:lnTo>
                  <a:pt x="11208" y="3330"/>
                </a:lnTo>
                <a:lnTo>
                  <a:pt x="11210" y="3328"/>
                </a:lnTo>
                <a:close/>
                <a:moveTo>
                  <a:pt x="11204" y="3142"/>
                </a:moveTo>
                <a:lnTo>
                  <a:pt x="11204" y="3142"/>
                </a:lnTo>
                <a:lnTo>
                  <a:pt x="11206" y="3140"/>
                </a:lnTo>
                <a:lnTo>
                  <a:pt x="11206" y="3136"/>
                </a:lnTo>
                <a:lnTo>
                  <a:pt x="11204" y="3132"/>
                </a:lnTo>
                <a:lnTo>
                  <a:pt x="11200" y="3130"/>
                </a:lnTo>
                <a:lnTo>
                  <a:pt x="11198" y="3130"/>
                </a:lnTo>
                <a:lnTo>
                  <a:pt x="11198" y="3134"/>
                </a:lnTo>
                <a:lnTo>
                  <a:pt x="11200" y="3138"/>
                </a:lnTo>
                <a:lnTo>
                  <a:pt x="11204" y="3142"/>
                </a:lnTo>
                <a:close/>
                <a:moveTo>
                  <a:pt x="11018" y="4302"/>
                </a:moveTo>
                <a:lnTo>
                  <a:pt x="11018" y="4302"/>
                </a:lnTo>
                <a:lnTo>
                  <a:pt x="11016" y="4304"/>
                </a:lnTo>
                <a:lnTo>
                  <a:pt x="11016" y="4308"/>
                </a:lnTo>
                <a:lnTo>
                  <a:pt x="11020" y="4318"/>
                </a:lnTo>
                <a:lnTo>
                  <a:pt x="11022" y="4324"/>
                </a:lnTo>
                <a:lnTo>
                  <a:pt x="11024" y="4324"/>
                </a:lnTo>
                <a:lnTo>
                  <a:pt x="11026" y="4320"/>
                </a:lnTo>
                <a:lnTo>
                  <a:pt x="11024" y="4314"/>
                </a:lnTo>
                <a:lnTo>
                  <a:pt x="11022" y="4304"/>
                </a:lnTo>
                <a:lnTo>
                  <a:pt x="11020" y="4302"/>
                </a:lnTo>
                <a:lnTo>
                  <a:pt x="11018" y="4302"/>
                </a:lnTo>
                <a:close/>
                <a:moveTo>
                  <a:pt x="11110" y="4376"/>
                </a:moveTo>
                <a:lnTo>
                  <a:pt x="11110" y="4376"/>
                </a:lnTo>
                <a:lnTo>
                  <a:pt x="11112" y="4378"/>
                </a:lnTo>
                <a:lnTo>
                  <a:pt x="11116" y="4376"/>
                </a:lnTo>
                <a:lnTo>
                  <a:pt x="11120" y="4372"/>
                </a:lnTo>
                <a:lnTo>
                  <a:pt x="11122" y="4366"/>
                </a:lnTo>
                <a:lnTo>
                  <a:pt x="11122" y="4362"/>
                </a:lnTo>
                <a:lnTo>
                  <a:pt x="11120" y="4360"/>
                </a:lnTo>
                <a:lnTo>
                  <a:pt x="11118" y="4358"/>
                </a:lnTo>
                <a:lnTo>
                  <a:pt x="11116" y="4356"/>
                </a:lnTo>
                <a:lnTo>
                  <a:pt x="11114" y="4352"/>
                </a:lnTo>
                <a:lnTo>
                  <a:pt x="11112" y="4350"/>
                </a:lnTo>
                <a:lnTo>
                  <a:pt x="11110" y="4352"/>
                </a:lnTo>
                <a:lnTo>
                  <a:pt x="11110" y="4360"/>
                </a:lnTo>
                <a:lnTo>
                  <a:pt x="11110" y="4368"/>
                </a:lnTo>
                <a:lnTo>
                  <a:pt x="11108" y="4370"/>
                </a:lnTo>
                <a:lnTo>
                  <a:pt x="11108" y="4372"/>
                </a:lnTo>
                <a:lnTo>
                  <a:pt x="11110" y="4376"/>
                </a:lnTo>
                <a:close/>
                <a:moveTo>
                  <a:pt x="11116" y="4478"/>
                </a:moveTo>
                <a:lnTo>
                  <a:pt x="11116" y="4478"/>
                </a:lnTo>
                <a:lnTo>
                  <a:pt x="11118" y="4480"/>
                </a:lnTo>
                <a:lnTo>
                  <a:pt x="11120" y="4484"/>
                </a:lnTo>
                <a:lnTo>
                  <a:pt x="11122" y="4490"/>
                </a:lnTo>
                <a:lnTo>
                  <a:pt x="11122" y="4494"/>
                </a:lnTo>
                <a:lnTo>
                  <a:pt x="11122" y="4498"/>
                </a:lnTo>
                <a:lnTo>
                  <a:pt x="11122" y="4500"/>
                </a:lnTo>
                <a:lnTo>
                  <a:pt x="11120" y="4504"/>
                </a:lnTo>
                <a:lnTo>
                  <a:pt x="11120" y="4506"/>
                </a:lnTo>
                <a:lnTo>
                  <a:pt x="11122" y="4508"/>
                </a:lnTo>
                <a:lnTo>
                  <a:pt x="11126" y="4508"/>
                </a:lnTo>
                <a:lnTo>
                  <a:pt x="11128" y="4506"/>
                </a:lnTo>
                <a:lnTo>
                  <a:pt x="11128" y="4504"/>
                </a:lnTo>
                <a:lnTo>
                  <a:pt x="11130" y="4504"/>
                </a:lnTo>
                <a:lnTo>
                  <a:pt x="11134" y="4506"/>
                </a:lnTo>
                <a:lnTo>
                  <a:pt x="11136" y="4514"/>
                </a:lnTo>
                <a:lnTo>
                  <a:pt x="11136" y="4518"/>
                </a:lnTo>
                <a:lnTo>
                  <a:pt x="11136" y="4522"/>
                </a:lnTo>
                <a:lnTo>
                  <a:pt x="11134" y="4528"/>
                </a:lnTo>
                <a:lnTo>
                  <a:pt x="11136" y="4530"/>
                </a:lnTo>
                <a:lnTo>
                  <a:pt x="11136" y="4534"/>
                </a:lnTo>
                <a:lnTo>
                  <a:pt x="11136" y="4538"/>
                </a:lnTo>
                <a:lnTo>
                  <a:pt x="11134" y="4542"/>
                </a:lnTo>
                <a:lnTo>
                  <a:pt x="11136" y="4544"/>
                </a:lnTo>
                <a:lnTo>
                  <a:pt x="11144" y="4548"/>
                </a:lnTo>
                <a:lnTo>
                  <a:pt x="11146" y="4550"/>
                </a:lnTo>
                <a:lnTo>
                  <a:pt x="11146" y="4548"/>
                </a:lnTo>
                <a:lnTo>
                  <a:pt x="11146" y="4544"/>
                </a:lnTo>
                <a:lnTo>
                  <a:pt x="11144" y="4538"/>
                </a:lnTo>
                <a:lnTo>
                  <a:pt x="11144" y="4534"/>
                </a:lnTo>
                <a:lnTo>
                  <a:pt x="11146" y="4534"/>
                </a:lnTo>
                <a:lnTo>
                  <a:pt x="11148" y="4536"/>
                </a:lnTo>
                <a:lnTo>
                  <a:pt x="11148" y="4542"/>
                </a:lnTo>
                <a:lnTo>
                  <a:pt x="11152" y="4548"/>
                </a:lnTo>
                <a:lnTo>
                  <a:pt x="11154" y="4552"/>
                </a:lnTo>
                <a:lnTo>
                  <a:pt x="11158" y="4554"/>
                </a:lnTo>
                <a:lnTo>
                  <a:pt x="11158" y="4552"/>
                </a:lnTo>
                <a:lnTo>
                  <a:pt x="11154" y="4544"/>
                </a:lnTo>
                <a:lnTo>
                  <a:pt x="11154" y="4542"/>
                </a:lnTo>
                <a:lnTo>
                  <a:pt x="11154" y="4540"/>
                </a:lnTo>
                <a:lnTo>
                  <a:pt x="11156" y="4538"/>
                </a:lnTo>
                <a:lnTo>
                  <a:pt x="11158" y="4536"/>
                </a:lnTo>
                <a:lnTo>
                  <a:pt x="11156" y="4532"/>
                </a:lnTo>
                <a:lnTo>
                  <a:pt x="11154" y="4528"/>
                </a:lnTo>
                <a:lnTo>
                  <a:pt x="11154" y="4524"/>
                </a:lnTo>
                <a:lnTo>
                  <a:pt x="11152" y="4522"/>
                </a:lnTo>
                <a:lnTo>
                  <a:pt x="11150" y="4518"/>
                </a:lnTo>
                <a:lnTo>
                  <a:pt x="11148" y="4516"/>
                </a:lnTo>
                <a:lnTo>
                  <a:pt x="11148" y="4512"/>
                </a:lnTo>
                <a:lnTo>
                  <a:pt x="11148" y="4504"/>
                </a:lnTo>
                <a:lnTo>
                  <a:pt x="11148" y="4496"/>
                </a:lnTo>
                <a:lnTo>
                  <a:pt x="11146" y="4492"/>
                </a:lnTo>
                <a:lnTo>
                  <a:pt x="11144" y="4490"/>
                </a:lnTo>
                <a:lnTo>
                  <a:pt x="11144" y="4488"/>
                </a:lnTo>
                <a:lnTo>
                  <a:pt x="11144" y="4486"/>
                </a:lnTo>
                <a:lnTo>
                  <a:pt x="11144" y="4484"/>
                </a:lnTo>
                <a:lnTo>
                  <a:pt x="11140" y="4482"/>
                </a:lnTo>
                <a:lnTo>
                  <a:pt x="11136" y="4484"/>
                </a:lnTo>
                <a:lnTo>
                  <a:pt x="11134" y="4486"/>
                </a:lnTo>
                <a:lnTo>
                  <a:pt x="11132" y="4488"/>
                </a:lnTo>
                <a:lnTo>
                  <a:pt x="11128" y="4486"/>
                </a:lnTo>
                <a:lnTo>
                  <a:pt x="11122" y="4480"/>
                </a:lnTo>
                <a:lnTo>
                  <a:pt x="11120" y="4476"/>
                </a:lnTo>
                <a:lnTo>
                  <a:pt x="11116" y="4478"/>
                </a:lnTo>
                <a:close/>
                <a:moveTo>
                  <a:pt x="11048" y="4532"/>
                </a:moveTo>
                <a:lnTo>
                  <a:pt x="11048" y="4532"/>
                </a:lnTo>
                <a:lnTo>
                  <a:pt x="11050" y="4530"/>
                </a:lnTo>
                <a:lnTo>
                  <a:pt x="11054" y="4526"/>
                </a:lnTo>
                <a:lnTo>
                  <a:pt x="11056" y="4522"/>
                </a:lnTo>
                <a:lnTo>
                  <a:pt x="11054" y="4518"/>
                </a:lnTo>
                <a:lnTo>
                  <a:pt x="11052" y="4516"/>
                </a:lnTo>
                <a:lnTo>
                  <a:pt x="11050" y="4518"/>
                </a:lnTo>
                <a:lnTo>
                  <a:pt x="11048" y="4522"/>
                </a:lnTo>
                <a:lnTo>
                  <a:pt x="11048" y="4524"/>
                </a:lnTo>
                <a:lnTo>
                  <a:pt x="11048" y="4526"/>
                </a:lnTo>
                <a:lnTo>
                  <a:pt x="11046" y="4528"/>
                </a:lnTo>
                <a:lnTo>
                  <a:pt x="11046" y="4530"/>
                </a:lnTo>
                <a:lnTo>
                  <a:pt x="11048" y="4532"/>
                </a:lnTo>
                <a:close/>
                <a:moveTo>
                  <a:pt x="11128" y="4478"/>
                </a:moveTo>
                <a:lnTo>
                  <a:pt x="11128" y="4478"/>
                </a:lnTo>
                <a:lnTo>
                  <a:pt x="11130" y="4478"/>
                </a:lnTo>
                <a:lnTo>
                  <a:pt x="11130" y="4474"/>
                </a:lnTo>
                <a:lnTo>
                  <a:pt x="11128" y="4470"/>
                </a:lnTo>
                <a:lnTo>
                  <a:pt x="11124" y="4468"/>
                </a:lnTo>
                <a:lnTo>
                  <a:pt x="11122" y="4470"/>
                </a:lnTo>
                <a:lnTo>
                  <a:pt x="11122" y="4474"/>
                </a:lnTo>
                <a:lnTo>
                  <a:pt x="11124" y="4476"/>
                </a:lnTo>
                <a:lnTo>
                  <a:pt x="11128" y="4478"/>
                </a:lnTo>
                <a:close/>
                <a:moveTo>
                  <a:pt x="11174" y="4512"/>
                </a:moveTo>
                <a:lnTo>
                  <a:pt x="11174" y="4512"/>
                </a:lnTo>
                <a:lnTo>
                  <a:pt x="11172" y="4514"/>
                </a:lnTo>
                <a:lnTo>
                  <a:pt x="11174" y="4516"/>
                </a:lnTo>
                <a:lnTo>
                  <a:pt x="11176" y="4518"/>
                </a:lnTo>
                <a:lnTo>
                  <a:pt x="11178" y="4518"/>
                </a:lnTo>
                <a:lnTo>
                  <a:pt x="11180" y="4516"/>
                </a:lnTo>
                <a:lnTo>
                  <a:pt x="11178" y="4514"/>
                </a:lnTo>
                <a:lnTo>
                  <a:pt x="11176" y="4512"/>
                </a:lnTo>
                <a:lnTo>
                  <a:pt x="11174" y="4512"/>
                </a:lnTo>
                <a:close/>
                <a:moveTo>
                  <a:pt x="11094" y="4488"/>
                </a:moveTo>
                <a:lnTo>
                  <a:pt x="11094" y="4488"/>
                </a:lnTo>
                <a:lnTo>
                  <a:pt x="11092" y="4490"/>
                </a:lnTo>
                <a:lnTo>
                  <a:pt x="11092" y="4492"/>
                </a:lnTo>
                <a:lnTo>
                  <a:pt x="11094" y="4494"/>
                </a:lnTo>
                <a:lnTo>
                  <a:pt x="11096" y="4496"/>
                </a:lnTo>
                <a:lnTo>
                  <a:pt x="11096" y="4494"/>
                </a:lnTo>
                <a:lnTo>
                  <a:pt x="11096" y="4490"/>
                </a:lnTo>
                <a:lnTo>
                  <a:pt x="11096" y="4488"/>
                </a:lnTo>
                <a:lnTo>
                  <a:pt x="11094" y="4488"/>
                </a:lnTo>
                <a:close/>
                <a:moveTo>
                  <a:pt x="11036" y="4720"/>
                </a:moveTo>
                <a:lnTo>
                  <a:pt x="11036" y="4720"/>
                </a:lnTo>
                <a:lnTo>
                  <a:pt x="11034" y="4716"/>
                </a:lnTo>
                <a:lnTo>
                  <a:pt x="11026" y="4712"/>
                </a:lnTo>
                <a:lnTo>
                  <a:pt x="11024" y="4712"/>
                </a:lnTo>
                <a:lnTo>
                  <a:pt x="11020" y="4712"/>
                </a:lnTo>
                <a:lnTo>
                  <a:pt x="11018" y="4714"/>
                </a:lnTo>
                <a:lnTo>
                  <a:pt x="11018" y="4718"/>
                </a:lnTo>
                <a:lnTo>
                  <a:pt x="11020" y="4724"/>
                </a:lnTo>
                <a:lnTo>
                  <a:pt x="11022" y="4726"/>
                </a:lnTo>
                <a:lnTo>
                  <a:pt x="11024" y="4726"/>
                </a:lnTo>
                <a:lnTo>
                  <a:pt x="11028" y="4726"/>
                </a:lnTo>
                <a:lnTo>
                  <a:pt x="11034" y="4724"/>
                </a:lnTo>
                <a:lnTo>
                  <a:pt x="11036" y="4720"/>
                </a:lnTo>
                <a:close/>
                <a:moveTo>
                  <a:pt x="10980" y="4746"/>
                </a:moveTo>
                <a:lnTo>
                  <a:pt x="10980" y="4746"/>
                </a:lnTo>
                <a:lnTo>
                  <a:pt x="10978" y="4750"/>
                </a:lnTo>
                <a:lnTo>
                  <a:pt x="10980" y="4752"/>
                </a:lnTo>
                <a:lnTo>
                  <a:pt x="10982" y="4752"/>
                </a:lnTo>
                <a:lnTo>
                  <a:pt x="10988" y="4752"/>
                </a:lnTo>
                <a:lnTo>
                  <a:pt x="10992" y="4752"/>
                </a:lnTo>
                <a:lnTo>
                  <a:pt x="10996" y="4752"/>
                </a:lnTo>
                <a:lnTo>
                  <a:pt x="11000" y="4750"/>
                </a:lnTo>
                <a:lnTo>
                  <a:pt x="11000" y="4748"/>
                </a:lnTo>
                <a:lnTo>
                  <a:pt x="10998" y="4746"/>
                </a:lnTo>
                <a:lnTo>
                  <a:pt x="10994" y="4744"/>
                </a:lnTo>
                <a:lnTo>
                  <a:pt x="10992" y="4740"/>
                </a:lnTo>
                <a:lnTo>
                  <a:pt x="10988" y="4740"/>
                </a:lnTo>
                <a:lnTo>
                  <a:pt x="10986" y="4740"/>
                </a:lnTo>
                <a:lnTo>
                  <a:pt x="10984" y="4742"/>
                </a:lnTo>
                <a:lnTo>
                  <a:pt x="10980" y="4746"/>
                </a:lnTo>
                <a:close/>
                <a:moveTo>
                  <a:pt x="11090" y="4588"/>
                </a:moveTo>
                <a:lnTo>
                  <a:pt x="11090" y="4588"/>
                </a:lnTo>
                <a:lnTo>
                  <a:pt x="11088" y="4590"/>
                </a:lnTo>
                <a:lnTo>
                  <a:pt x="11084" y="4590"/>
                </a:lnTo>
                <a:lnTo>
                  <a:pt x="11084" y="4592"/>
                </a:lnTo>
                <a:lnTo>
                  <a:pt x="11086" y="4594"/>
                </a:lnTo>
                <a:lnTo>
                  <a:pt x="11090" y="4596"/>
                </a:lnTo>
                <a:lnTo>
                  <a:pt x="11092" y="4596"/>
                </a:lnTo>
                <a:lnTo>
                  <a:pt x="11094" y="4592"/>
                </a:lnTo>
                <a:lnTo>
                  <a:pt x="11094" y="4590"/>
                </a:lnTo>
                <a:lnTo>
                  <a:pt x="11092" y="4588"/>
                </a:lnTo>
                <a:lnTo>
                  <a:pt x="11090" y="4588"/>
                </a:lnTo>
                <a:close/>
                <a:moveTo>
                  <a:pt x="11132" y="4588"/>
                </a:moveTo>
                <a:lnTo>
                  <a:pt x="11132" y="4588"/>
                </a:lnTo>
                <a:lnTo>
                  <a:pt x="11130" y="4592"/>
                </a:lnTo>
                <a:lnTo>
                  <a:pt x="11132" y="4594"/>
                </a:lnTo>
                <a:lnTo>
                  <a:pt x="11134" y="4596"/>
                </a:lnTo>
                <a:lnTo>
                  <a:pt x="11138" y="4596"/>
                </a:lnTo>
                <a:lnTo>
                  <a:pt x="11140" y="4594"/>
                </a:lnTo>
                <a:lnTo>
                  <a:pt x="11138" y="4590"/>
                </a:lnTo>
                <a:lnTo>
                  <a:pt x="11134" y="4588"/>
                </a:lnTo>
                <a:lnTo>
                  <a:pt x="11132" y="4588"/>
                </a:lnTo>
                <a:close/>
                <a:moveTo>
                  <a:pt x="11030" y="4434"/>
                </a:moveTo>
                <a:lnTo>
                  <a:pt x="11030" y="4434"/>
                </a:lnTo>
                <a:lnTo>
                  <a:pt x="11032" y="4424"/>
                </a:lnTo>
                <a:lnTo>
                  <a:pt x="11030" y="4422"/>
                </a:lnTo>
                <a:lnTo>
                  <a:pt x="11026" y="4422"/>
                </a:lnTo>
                <a:lnTo>
                  <a:pt x="11024" y="4424"/>
                </a:lnTo>
                <a:lnTo>
                  <a:pt x="11024" y="4426"/>
                </a:lnTo>
                <a:lnTo>
                  <a:pt x="11026" y="4430"/>
                </a:lnTo>
                <a:lnTo>
                  <a:pt x="11022" y="4436"/>
                </a:lnTo>
                <a:lnTo>
                  <a:pt x="11022" y="4440"/>
                </a:lnTo>
                <a:lnTo>
                  <a:pt x="11024" y="4442"/>
                </a:lnTo>
                <a:lnTo>
                  <a:pt x="11028" y="4440"/>
                </a:lnTo>
                <a:lnTo>
                  <a:pt x="11030" y="4434"/>
                </a:lnTo>
                <a:close/>
                <a:moveTo>
                  <a:pt x="11026" y="4392"/>
                </a:moveTo>
                <a:lnTo>
                  <a:pt x="11026" y="4392"/>
                </a:lnTo>
                <a:lnTo>
                  <a:pt x="11028" y="4390"/>
                </a:lnTo>
                <a:lnTo>
                  <a:pt x="11030" y="4384"/>
                </a:lnTo>
                <a:lnTo>
                  <a:pt x="11028" y="4380"/>
                </a:lnTo>
                <a:lnTo>
                  <a:pt x="11026" y="4378"/>
                </a:lnTo>
                <a:lnTo>
                  <a:pt x="11024" y="4378"/>
                </a:lnTo>
                <a:lnTo>
                  <a:pt x="11020" y="4376"/>
                </a:lnTo>
                <a:lnTo>
                  <a:pt x="11018" y="4378"/>
                </a:lnTo>
                <a:lnTo>
                  <a:pt x="11018" y="4384"/>
                </a:lnTo>
                <a:lnTo>
                  <a:pt x="11018" y="4388"/>
                </a:lnTo>
                <a:lnTo>
                  <a:pt x="11020" y="4392"/>
                </a:lnTo>
                <a:lnTo>
                  <a:pt x="11024" y="4392"/>
                </a:lnTo>
                <a:lnTo>
                  <a:pt x="11026" y="4392"/>
                </a:lnTo>
                <a:close/>
                <a:moveTo>
                  <a:pt x="11052" y="4436"/>
                </a:moveTo>
                <a:lnTo>
                  <a:pt x="11052" y="4436"/>
                </a:lnTo>
                <a:lnTo>
                  <a:pt x="11052" y="4432"/>
                </a:lnTo>
                <a:lnTo>
                  <a:pt x="11050" y="4428"/>
                </a:lnTo>
                <a:lnTo>
                  <a:pt x="11046" y="4428"/>
                </a:lnTo>
                <a:lnTo>
                  <a:pt x="11042" y="4430"/>
                </a:lnTo>
                <a:lnTo>
                  <a:pt x="11042" y="4432"/>
                </a:lnTo>
                <a:lnTo>
                  <a:pt x="11042" y="4434"/>
                </a:lnTo>
                <a:lnTo>
                  <a:pt x="11044" y="4436"/>
                </a:lnTo>
                <a:lnTo>
                  <a:pt x="11048" y="4440"/>
                </a:lnTo>
                <a:lnTo>
                  <a:pt x="11050" y="4440"/>
                </a:lnTo>
                <a:lnTo>
                  <a:pt x="11052" y="4436"/>
                </a:lnTo>
                <a:close/>
                <a:moveTo>
                  <a:pt x="11074" y="4410"/>
                </a:moveTo>
                <a:lnTo>
                  <a:pt x="11074" y="4410"/>
                </a:lnTo>
                <a:lnTo>
                  <a:pt x="11072" y="4406"/>
                </a:lnTo>
                <a:lnTo>
                  <a:pt x="11070" y="4402"/>
                </a:lnTo>
                <a:lnTo>
                  <a:pt x="11066" y="4398"/>
                </a:lnTo>
                <a:lnTo>
                  <a:pt x="11064" y="4398"/>
                </a:lnTo>
                <a:lnTo>
                  <a:pt x="11062" y="4400"/>
                </a:lnTo>
                <a:lnTo>
                  <a:pt x="11062" y="4402"/>
                </a:lnTo>
                <a:lnTo>
                  <a:pt x="11066" y="4406"/>
                </a:lnTo>
                <a:lnTo>
                  <a:pt x="11068" y="4410"/>
                </a:lnTo>
                <a:lnTo>
                  <a:pt x="11072" y="4414"/>
                </a:lnTo>
                <a:lnTo>
                  <a:pt x="11078" y="4420"/>
                </a:lnTo>
                <a:lnTo>
                  <a:pt x="11080" y="4420"/>
                </a:lnTo>
                <a:lnTo>
                  <a:pt x="11080" y="4418"/>
                </a:lnTo>
                <a:lnTo>
                  <a:pt x="11078" y="4416"/>
                </a:lnTo>
                <a:lnTo>
                  <a:pt x="11076" y="4412"/>
                </a:lnTo>
                <a:lnTo>
                  <a:pt x="11074" y="4410"/>
                </a:lnTo>
                <a:close/>
                <a:moveTo>
                  <a:pt x="11098" y="4436"/>
                </a:moveTo>
                <a:lnTo>
                  <a:pt x="11098" y="4436"/>
                </a:lnTo>
                <a:lnTo>
                  <a:pt x="11098" y="4434"/>
                </a:lnTo>
                <a:lnTo>
                  <a:pt x="11096" y="4428"/>
                </a:lnTo>
                <a:lnTo>
                  <a:pt x="11092" y="4422"/>
                </a:lnTo>
                <a:lnTo>
                  <a:pt x="11090" y="4420"/>
                </a:lnTo>
                <a:lnTo>
                  <a:pt x="11088" y="4422"/>
                </a:lnTo>
                <a:lnTo>
                  <a:pt x="11090" y="4424"/>
                </a:lnTo>
                <a:lnTo>
                  <a:pt x="11092" y="4430"/>
                </a:lnTo>
                <a:lnTo>
                  <a:pt x="11098" y="4436"/>
                </a:lnTo>
                <a:close/>
                <a:moveTo>
                  <a:pt x="10946" y="4524"/>
                </a:moveTo>
                <a:lnTo>
                  <a:pt x="10946" y="4524"/>
                </a:lnTo>
                <a:lnTo>
                  <a:pt x="10946" y="4522"/>
                </a:lnTo>
                <a:lnTo>
                  <a:pt x="10944" y="4520"/>
                </a:lnTo>
                <a:lnTo>
                  <a:pt x="10940" y="4520"/>
                </a:lnTo>
                <a:lnTo>
                  <a:pt x="10936" y="4526"/>
                </a:lnTo>
                <a:lnTo>
                  <a:pt x="10936" y="4530"/>
                </a:lnTo>
                <a:lnTo>
                  <a:pt x="10940" y="4528"/>
                </a:lnTo>
                <a:lnTo>
                  <a:pt x="10946" y="4524"/>
                </a:lnTo>
                <a:close/>
                <a:moveTo>
                  <a:pt x="11172" y="4532"/>
                </a:moveTo>
                <a:lnTo>
                  <a:pt x="11172" y="4532"/>
                </a:lnTo>
                <a:lnTo>
                  <a:pt x="11172" y="4530"/>
                </a:lnTo>
                <a:lnTo>
                  <a:pt x="11170" y="4528"/>
                </a:lnTo>
                <a:lnTo>
                  <a:pt x="11168" y="4534"/>
                </a:lnTo>
                <a:lnTo>
                  <a:pt x="11166" y="4544"/>
                </a:lnTo>
                <a:lnTo>
                  <a:pt x="11168" y="4550"/>
                </a:lnTo>
                <a:lnTo>
                  <a:pt x="11170" y="4554"/>
                </a:lnTo>
                <a:lnTo>
                  <a:pt x="11174" y="4556"/>
                </a:lnTo>
                <a:lnTo>
                  <a:pt x="11174" y="4558"/>
                </a:lnTo>
                <a:lnTo>
                  <a:pt x="11176" y="4552"/>
                </a:lnTo>
                <a:lnTo>
                  <a:pt x="11172" y="4532"/>
                </a:lnTo>
                <a:close/>
                <a:moveTo>
                  <a:pt x="11186" y="4554"/>
                </a:moveTo>
                <a:lnTo>
                  <a:pt x="11186" y="4554"/>
                </a:lnTo>
                <a:lnTo>
                  <a:pt x="11184" y="4558"/>
                </a:lnTo>
                <a:lnTo>
                  <a:pt x="11184" y="4560"/>
                </a:lnTo>
                <a:lnTo>
                  <a:pt x="11186" y="4562"/>
                </a:lnTo>
                <a:lnTo>
                  <a:pt x="11188" y="4562"/>
                </a:lnTo>
                <a:lnTo>
                  <a:pt x="11192" y="4562"/>
                </a:lnTo>
                <a:lnTo>
                  <a:pt x="11192" y="4558"/>
                </a:lnTo>
                <a:lnTo>
                  <a:pt x="11192" y="4556"/>
                </a:lnTo>
                <a:lnTo>
                  <a:pt x="11188" y="4548"/>
                </a:lnTo>
                <a:lnTo>
                  <a:pt x="11186" y="4554"/>
                </a:lnTo>
                <a:close/>
                <a:moveTo>
                  <a:pt x="11082" y="4530"/>
                </a:moveTo>
                <a:lnTo>
                  <a:pt x="11082" y="4530"/>
                </a:lnTo>
                <a:lnTo>
                  <a:pt x="11086" y="4520"/>
                </a:lnTo>
                <a:lnTo>
                  <a:pt x="11086" y="4512"/>
                </a:lnTo>
                <a:lnTo>
                  <a:pt x="11086" y="4506"/>
                </a:lnTo>
                <a:lnTo>
                  <a:pt x="11084" y="4504"/>
                </a:lnTo>
                <a:lnTo>
                  <a:pt x="11082" y="4504"/>
                </a:lnTo>
                <a:lnTo>
                  <a:pt x="11078" y="4504"/>
                </a:lnTo>
                <a:lnTo>
                  <a:pt x="11076" y="4504"/>
                </a:lnTo>
                <a:lnTo>
                  <a:pt x="11072" y="4504"/>
                </a:lnTo>
                <a:lnTo>
                  <a:pt x="11068" y="4506"/>
                </a:lnTo>
                <a:lnTo>
                  <a:pt x="11064" y="4508"/>
                </a:lnTo>
                <a:lnTo>
                  <a:pt x="11064" y="4510"/>
                </a:lnTo>
                <a:lnTo>
                  <a:pt x="11064" y="4516"/>
                </a:lnTo>
                <a:lnTo>
                  <a:pt x="11064" y="4520"/>
                </a:lnTo>
                <a:lnTo>
                  <a:pt x="11062" y="4522"/>
                </a:lnTo>
                <a:lnTo>
                  <a:pt x="11060" y="4524"/>
                </a:lnTo>
                <a:lnTo>
                  <a:pt x="11058" y="4526"/>
                </a:lnTo>
                <a:lnTo>
                  <a:pt x="11058" y="4528"/>
                </a:lnTo>
                <a:lnTo>
                  <a:pt x="11060" y="4536"/>
                </a:lnTo>
                <a:lnTo>
                  <a:pt x="11062" y="4544"/>
                </a:lnTo>
                <a:lnTo>
                  <a:pt x="11060" y="4548"/>
                </a:lnTo>
                <a:lnTo>
                  <a:pt x="11056" y="4550"/>
                </a:lnTo>
                <a:lnTo>
                  <a:pt x="11052" y="4552"/>
                </a:lnTo>
                <a:lnTo>
                  <a:pt x="11050" y="4552"/>
                </a:lnTo>
                <a:lnTo>
                  <a:pt x="11046" y="4552"/>
                </a:lnTo>
                <a:lnTo>
                  <a:pt x="11044" y="4552"/>
                </a:lnTo>
                <a:lnTo>
                  <a:pt x="11040" y="4558"/>
                </a:lnTo>
                <a:lnTo>
                  <a:pt x="11040" y="4562"/>
                </a:lnTo>
                <a:lnTo>
                  <a:pt x="11044" y="4570"/>
                </a:lnTo>
                <a:lnTo>
                  <a:pt x="11050" y="4578"/>
                </a:lnTo>
                <a:lnTo>
                  <a:pt x="11054" y="4582"/>
                </a:lnTo>
                <a:lnTo>
                  <a:pt x="11058" y="4584"/>
                </a:lnTo>
                <a:lnTo>
                  <a:pt x="11062" y="4590"/>
                </a:lnTo>
                <a:lnTo>
                  <a:pt x="11064" y="4598"/>
                </a:lnTo>
                <a:lnTo>
                  <a:pt x="11066" y="4598"/>
                </a:lnTo>
                <a:lnTo>
                  <a:pt x="11068" y="4598"/>
                </a:lnTo>
                <a:lnTo>
                  <a:pt x="11072" y="4596"/>
                </a:lnTo>
                <a:lnTo>
                  <a:pt x="11076" y="4590"/>
                </a:lnTo>
                <a:lnTo>
                  <a:pt x="11078" y="4588"/>
                </a:lnTo>
                <a:lnTo>
                  <a:pt x="11078" y="4584"/>
                </a:lnTo>
                <a:lnTo>
                  <a:pt x="11074" y="4574"/>
                </a:lnTo>
                <a:lnTo>
                  <a:pt x="11072" y="4564"/>
                </a:lnTo>
                <a:lnTo>
                  <a:pt x="11072" y="4560"/>
                </a:lnTo>
                <a:lnTo>
                  <a:pt x="11074" y="4554"/>
                </a:lnTo>
                <a:lnTo>
                  <a:pt x="11076" y="4548"/>
                </a:lnTo>
                <a:lnTo>
                  <a:pt x="11076" y="4542"/>
                </a:lnTo>
                <a:lnTo>
                  <a:pt x="11078" y="4538"/>
                </a:lnTo>
                <a:lnTo>
                  <a:pt x="11082" y="4530"/>
                </a:lnTo>
                <a:close/>
                <a:moveTo>
                  <a:pt x="11084" y="4428"/>
                </a:moveTo>
                <a:lnTo>
                  <a:pt x="11084" y="4428"/>
                </a:lnTo>
                <a:lnTo>
                  <a:pt x="11082" y="4428"/>
                </a:lnTo>
                <a:lnTo>
                  <a:pt x="11078" y="4428"/>
                </a:lnTo>
                <a:lnTo>
                  <a:pt x="11076" y="4428"/>
                </a:lnTo>
                <a:lnTo>
                  <a:pt x="11076" y="4430"/>
                </a:lnTo>
                <a:lnTo>
                  <a:pt x="11076" y="4436"/>
                </a:lnTo>
                <a:lnTo>
                  <a:pt x="11076" y="4442"/>
                </a:lnTo>
                <a:lnTo>
                  <a:pt x="11070" y="4456"/>
                </a:lnTo>
                <a:lnTo>
                  <a:pt x="11070" y="4458"/>
                </a:lnTo>
                <a:lnTo>
                  <a:pt x="11072" y="4456"/>
                </a:lnTo>
                <a:lnTo>
                  <a:pt x="11076" y="4454"/>
                </a:lnTo>
                <a:lnTo>
                  <a:pt x="11084" y="4444"/>
                </a:lnTo>
                <a:lnTo>
                  <a:pt x="11086" y="4444"/>
                </a:lnTo>
                <a:lnTo>
                  <a:pt x="11088" y="4444"/>
                </a:lnTo>
                <a:lnTo>
                  <a:pt x="11090" y="4450"/>
                </a:lnTo>
                <a:lnTo>
                  <a:pt x="11094" y="4456"/>
                </a:lnTo>
                <a:lnTo>
                  <a:pt x="11094" y="4458"/>
                </a:lnTo>
                <a:lnTo>
                  <a:pt x="11096" y="4458"/>
                </a:lnTo>
                <a:lnTo>
                  <a:pt x="11102" y="4462"/>
                </a:lnTo>
                <a:lnTo>
                  <a:pt x="11106" y="4464"/>
                </a:lnTo>
                <a:lnTo>
                  <a:pt x="11110" y="4468"/>
                </a:lnTo>
                <a:lnTo>
                  <a:pt x="11108" y="4464"/>
                </a:lnTo>
                <a:lnTo>
                  <a:pt x="11106" y="4458"/>
                </a:lnTo>
                <a:lnTo>
                  <a:pt x="11104" y="4450"/>
                </a:lnTo>
                <a:lnTo>
                  <a:pt x="11102" y="4446"/>
                </a:lnTo>
                <a:lnTo>
                  <a:pt x="11098" y="4442"/>
                </a:lnTo>
                <a:lnTo>
                  <a:pt x="11094" y="4438"/>
                </a:lnTo>
                <a:lnTo>
                  <a:pt x="11090" y="4434"/>
                </a:lnTo>
                <a:lnTo>
                  <a:pt x="11086" y="4430"/>
                </a:lnTo>
                <a:lnTo>
                  <a:pt x="11084" y="4428"/>
                </a:lnTo>
                <a:close/>
                <a:moveTo>
                  <a:pt x="11108" y="4522"/>
                </a:moveTo>
                <a:lnTo>
                  <a:pt x="11108" y="4522"/>
                </a:lnTo>
                <a:lnTo>
                  <a:pt x="11108" y="4518"/>
                </a:lnTo>
                <a:lnTo>
                  <a:pt x="11108" y="4512"/>
                </a:lnTo>
                <a:lnTo>
                  <a:pt x="11110" y="4510"/>
                </a:lnTo>
                <a:lnTo>
                  <a:pt x="11110" y="4506"/>
                </a:lnTo>
                <a:lnTo>
                  <a:pt x="11108" y="4500"/>
                </a:lnTo>
                <a:lnTo>
                  <a:pt x="11108" y="4492"/>
                </a:lnTo>
                <a:lnTo>
                  <a:pt x="11108" y="4490"/>
                </a:lnTo>
                <a:lnTo>
                  <a:pt x="11106" y="4488"/>
                </a:lnTo>
                <a:lnTo>
                  <a:pt x="11104" y="4498"/>
                </a:lnTo>
                <a:lnTo>
                  <a:pt x="11098" y="4512"/>
                </a:lnTo>
                <a:lnTo>
                  <a:pt x="11096" y="4516"/>
                </a:lnTo>
                <a:lnTo>
                  <a:pt x="11094" y="4524"/>
                </a:lnTo>
                <a:lnTo>
                  <a:pt x="11092" y="4534"/>
                </a:lnTo>
                <a:lnTo>
                  <a:pt x="11088" y="4542"/>
                </a:lnTo>
                <a:lnTo>
                  <a:pt x="11084" y="4548"/>
                </a:lnTo>
                <a:lnTo>
                  <a:pt x="11082" y="4552"/>
                </a:lnTo>
                <a:lnTo>
                  <a:pt x="11080" y="4562"/>
                </a:lnTo>
                <a:lnTo>
                  <a:pt x="11078" y="4574"/>
                </a:lnTo>
                <a:lnTo>
                  <a:pt x="11080" y="4578"/>
                </a:lnTo>
                <a:lnTo>
                  <a:pt x="11080" y="4580"/>
                </a:lnTo>
                <a:lnTo>
                  <a:pt x="11080" y="4578"/>
                </a:lnTo>
                <a:lnTo>
                  <a:pt x="11084" y="4574"/>
                </a:lnTo>
                <a:lnTo>
                  <a:pt x="11086" y="4568"/>
                </a:lnTo>
                <a:lnTo>
                  <a:pt x="11088" y="4562"/>
                </a:lnTo>
                <a:lnTo>
                  <a:pt x="11090" y="4558"/>
                </a:lnTo>
                <a:lnTo>
                  <a:pt x="11092" y="4556"/>
                </a:lnTo>
                <a:lnTo>
                  <a:pt x="11092" y="4550"/>
                </a:lnTo>
                <a:lnTo>
                  <a:pt x="11092" y="4548"/>
                </a:lnTo>
                <a:lnTo>
                  <a:pt x="11094" y="4544"/>
                </a:lnTo>
                <a:lnTo>
                  <a:pt x="11100" y="4538"/>
                </a:lnTo>
                <a:lnTo>
                  <a:pt x="11106" y="4532"/>
                </a:lnTo>
                <a:lnTo>
                  <a:pt x="11108" y="4528"/>
                </a:lnTo>
                <a:lnTo>
                  <a:pt x="11108" y="4522"/>
                </a:lnTo>
                <a:close/>
                <a:moveTo>
                  <a:pt x="11114" y="4542"/>
                </a:moveTo>
                <a:lnTo>
                  <a:pt x="11114" y="4542"/>
                </a:lnTo>
                <a:lnTo>
                  <a:pt x="11110" y="4548"/>
                </a:lnTo>
                <a:lnTo>
                  <a:pt x="11104" y="4554"/>
                </a:lnTo>
                <a:lnTo>
                  <a:pt x="11102" y="4556"/>
                </a:lnTo>
                <a:lnTo>
                  <a:pt x="11100" y="4558"/>
                </a:lnTo>
                <a:lnTo>
                  <a:pt x="11098" y="4562"/>
                </a:lnTo>
                <a:lnTo>
                  <a:pt x="11100" y="4568"/>
                </a:lnTo>
                <a:lnTo>
                  <a:pt x="11102" y="4570"/>
                </a:lnTo>
                <a:lnTo>
                  <a:pt x="11106" y="4572"/>
                </a:lnTo>
                <a:lnTo>
                  <a:pt x="11112" y="4572"/>
                </a:lnTo>
                <a:lnTo>
                  <a:pt x="11118" y="4570"/>
                </a:lnTo>
                <a:lnTo>
                  <a:pt x="11122" y="4568"/>
                </a:lnTo>
                <a:lnTo>
                  <a:pt x="11126" y="4566"/>
                </a:lnTo>
                <a:lnTo>
                  <a:pt x="11128" y="4564"/>
                </a:lnTo>
                <a:lnTo>
                  <a:pt x="11130" y="4564"/>
                </a:lnTo>
                <a:lnTo>
                  <a:pt x="11128" y="4560"/>
                </a:lnTo>
                <a:lnTo>
                  <a:pt x="11128" y="4556"/>
                </a:lnTo>
                <a:lnTo>
                  <a:pt x="11130" y="4550"/>
                </a:lnTo>
                <a:lnTo>
                  <a:pt x="11130" y="4546"/>
                </a:lnTo>
                <a:lnTo>
                  <a:pt x="11130" y="4544"/>
                </a:lnTo>
                <a:lnTo>
                  <a:pt x="11128" y="4544"/>
                </a:lnTo>
                <a:lnTo>
                  <a:pt x="11128" y="4546"/>
                </a:lnTo>
                <a:lnTo>
                  <a:pt x="11126" y="4546"/>
                </a:lnTo>
                <a:lnTo>
                  <a:pt x="11122" y="4546"/>
                </a:lnTo>
                <a:lnTo>
                  <a:pt x="11120" y="4544"/>
                </a:lnTo>
                <a:lnTo>
                  <a:pt x="11118" y="4542"/>
                </a:lnTo>
                <a:lnTo>
                  <a:pt x="11116" y="4540"/>
                </a:lnTo>
                <a:lnTo>
                  <a:pt x="11114" y="4542"/>
                </a:lnTo>
                <a:close/>
                <a:moveTo>
                  <a:pt x="11168" y="4562"/>
                </a:moveTo>
                <a:lnTo>
                  <a:pt x="11168" y="4562"/>
                </a:lnTo>
                <a:lnTo>
                  <a:pt x="11164" y="4560"/>
                </a:lnTo>
                <a:lnTo>
                  <a:pt x="11162" y="4560"/>
                </a:lnTo>
                <a:lnTo>
                  <a:pt x="11162" y="4562"/>
                </a:lnTo>
                <a:lnTo>
                  <a:pt x="11166" y="4582"/>
                </a:lnTo>
                <a:lnTo>
                  <a:pt x="11166" y="4596"/>
                </a:lnTo>
                <a:lnTo>
                  <a:pt x="11166" y="4600"/>
                </a:lnTo>
                <a:lnTo>
                  <a:pt x="11164" y="4602"/>
                </a:lnTo>
                <a:lnTo>
                  <a:pt x="11160" y="4600"/>
                </a:lnTo>
                <a:lnTo>
                  <a:pt x="11156" y="4598"/>
                </a:lnTo>
                <a:lnTo>
                  <a:pt x="11154" y="4598"/>
                </a:lnTo>
                <a:lnTo>
                  <a:pt x="11152" y="4598"/>
                </a:lnTo>
                <a:lnTo>
                  <a:pt x="11152" y="4604"/>
                </a:lnTo>
                <a:lnTo>
                  <a:pt x="11150" y="4608"/>
                </a:lnTo>
                <a:lnTo>
                  <a:pt x="11148" y="4608"/>
                </a:lnTo>
                <a:lnTo>
                  <a:pt x="11146" y="4604"/>
                </a:lnTo>
                <a:lnTo>
                  <a:pt x="11142" y="4600"/>
                </a:lnTo>
                <a:lnTo>
                  <a:pt x="11140" y="4600"/>
                </a:lnTo>
                <a:lnTo>
                  <a:pt x="11138" y="4600"/>
                </a:lnTo>
                <a:lnTo>
                  <a:pt x="11138" y="4604"/>
                </a:lnTo>
                <a:lnTo>
                  <a:pt x="11136" y="4622"/>
                </a:lnTo>
                <a:lnTo>
                  <a:pt x="11136" y="4626"/>
                </a:lnTo>
                <a:lnTo>
                  <a:pt x="11134" y="4626"/>
                </a:lnTo>
                <a:lnTo>
                  <a:pt x="11128" y="4622"/>
                </a:lnTo>
                <a:lnTo>
                  <a:pt x="11126" y="4620"/>
                </a:lnTo>
                <a:lnTo>
                  <a:pt x="11122" y="4620"/>
                </a:lnTo>
                <a:lnTo>
                  <a:pt x="11120" y="4622"/>
                </a:lnTo>
                <a:lnTo>
                  <a:pt x="11118" y="4628"/>
                </a:lnTo>
                <a:lnTo>
                  <a:pt x="11114" y="4636"/>
                </a:lnTo>
                <a:lnTo>
                  <a:pt x="11112" y="4640"/>
                </a:lnTo>
                <a:lnTo>
                  <a:pt x="11110" y="4640"/>
                </a:lnTo>
                <a:lnTo>
                  <a:pt x="11104" y="4644"/>
                </a:lnTo>
                <a:lnTo>
                  <a:pt x="11098" y="4646"/>
                </a:lnTo>
                <a:lnTo>
                  <a:pt x="11098" y="4644"/>
                </a:lnTo>
                <a:lnTo>
                  <a:pt x="11100" y="4640"/>
                </a:lnTo>
                <a:lnTo>
                  <a:pt x="11100" y="4632"/>
                </a:lnTo>
                <a:lnTo>
                  <a:pt x="11098" y="4624"/>
                </a:lnTo>
                <a:lnTo>
                  <a:pt x="11096" y="4620"/>
                </a:lnTo>
                <a:lnTo>
                  <a:pt x="11092" y="4618"/>
                </a:lnTo>
                <a:lnTo>
                  <a:pt x="11088" y="4618"/>
                </a:lnTo>
                <a:lnTo>
                  <a:pt x="11086" y="4618"/>
                </a:lnTo>
                <a:lnTo>
                  <a:pt x="11086" y="4616"/>
                </a:lnTo>
                <a:lnTo>
                  <a:pt x="11086" y="4614"/>
                </a:lnTo>
                <a:lnTo>
                  <a:pt x="11084" y="4614"/>
                </a:lnTo>
                <a:lnTo>
                  <a:pt x="11082" y="4614"/>
                </a:lnTo>
                <a:lnTo>
                  <a:pt x="11080" y="4618"/>
                </a:lnTo>
                <a:lnTo>
                  <a:pt x="11078" y="4622"/>
                </a:lnTo>
                <a:lnTo>
                  <a:pt x="11074" y="4622"/>
                </a:lnTo>
                <a:lnTo>
                  <a:pt x="11070" y="4624"/>
                </a:lnTo>
                <a:lnTo>
                  <a:pt x="11066" y="4628"/>
                </a:lnTo>
                <a:lnTo>
                  <a:pt x="11064" y="4632"/>
                </a:lnTo>
                <a:lnTo>
                  <a:pt x="11066" y="4636"/>
                </a:lnTo>
                <a:lnTo>
                  <a:pt x="11066" y="4640"/>
                </a:lnTo>
                <a:lnTo>
                  <a:pt x="11064" y="4642"/>
                </a:lnTo>
                <a:lnTo>
                  <a:pt x="11058" y="4642"/>
                </a:lnTo>
                <a:lnTo>
                  <a:pt x="11054" y="4642"/>
                </a:lnTo>
                <a:lnTo>
                  <a:pt x="11052" y="4640"/>
                </a:lnTo>
                <a:lnTo>
                  <a:pt x="11050" y="4642"/>
                </a:lnTo>
                <a:lnTo>
                  <a:pt x="11048" y="4644"/>
                </a:lnTo>
                <a:lnTo>
                  <a:pt x="11044" y="4646"/>
                </a:lnTo>
                <a:lnTo>
                  <a:pt x="11038" y="4648"/>
                </a:lnTo>
                <a:lnTo>
                  <a:pt x="11034" y="4652"/>
                </a:lnTo>
                <a:lnTo>
                  <a:pt x="11030" y="4658"/>
                </a:lnTo>
                <a:lnTo>
                  <a:pt x="11030" y="4662"/>
                </a:lnTo>
                <a:lnTo>
                  <a:pt x="11028" y="4672"/>
                </a:lnTo>
                <a:lnTo>
                  <a:pt x="11026" y="4678"/>
                </a:lnTo>
                <a:lnTo>
                  <a:pt x="11022" y="4686"/>
                </a:lnTo>
                <a:lnTo>
                  <a:pt x="11022" y="4692"/>
                </a:lnTo>
                <a:lnTo>
                  <a:pt x="11022" y="4694"/>
                </a:lnTo>
                <a:lnTo>
                  <a:pt x="11024" y="4700"/>
                </a:lnTo>
                <a:lnTo>
                  <a:pt x="11028" y="4702"/>
                </a:lnTo>
                <a:lnTo>
                  <a:pt x="11030" y="4704"/>
                </a:lnTo>
                <a:lnTo>
                  <a:pt x="11032" y="4700"/>
                </a:lnTo>
                <a:lnTo>
                  <a:pt x="11036" y="4686"/>
                </a:lnTo>
                <a:lnTo>
                  <a:pt x="11040" y="4680"/>
                </a:lnTo>
                <a:lnTo>
                  <a:pt x="11040" y="4676"/>
                </a:lnTo>
                <a:lnTo>
                  <a:pt x="11040" y="4674"/>
                </a:lnTo>
                <a:lnTo>
                  <a:pt x="11042" y="4674"/>
                </a:lnTo>
                <a:lnTo>
                  <a:pt x="11044" y="4672"/>
                </a:lnTo>
                <a:lnTo>
                  <a:pt x="11046" y="4668"/>
                </a:lnTo>
                <a:lnTo>
                  <a:pt x="11046" y="4666"/>
                </a:lnTo>
                <a:lnTo>
                  <a:pt x="11048" y="4662"/>
                </a:lnTo>
                <a:lnTo>
                  <a:pt x="11052" y="4658"/>
                </a:lnTo>
                <a:lnTo>
                  <a:pt x="11056" y="4660"/>
                </a:lnTo>
                <a:lnTo>
                  <a:pt x="11058" y="4666"/>
                </a:lnTo>
                <a:lnTo>
                  <a:pt x="11056" y="4670"/>
                </a:lnTo>
                <a:lnTo>
                  <a:pt x="11058" y="4674"/>
                </a:lnTo>
                <a:lnTo>
                  <a:pt x="11060" y="4674"/>
                </a:lnTo>
                <a:lnTo>
                  <a:pt x="11066" y="4670"/>
                </a:lnTo>
                <a:lnTo>
                  <a:pt x="11070" y="4664"/>
                </a:lnTo>
                <a:lnTo>
                  <a:pt x="11072" y="4662"/>
                </a:lnTo>
                <a:lnTo>
                  <a:pt x="11072" y="4666"/>
                </a:lnTo>
                <a:lnTo>
                  <a:pt x="11072" y="4672"/>
                </a:lnTo>
                <a:lnTo>
                  <a:pt x="11072" y="4674"/>
                </a:lnTo>
                <a:lnTo>
                  <a:pt x="11074" y="4674"/>
                </a:lnTo>
                <a:lnTo>
                  <a:pt x="11080" y="4678"/>
                </a:lnTo>
                <a:lnTo>
                  <a:pt x="11084" y="4678"/>
                </a:lnTo>
                <a:lnTo>
                  <a:pt x="11082" y="4674"/>
                </a:lnTo>
                <a:lnTo>
                  <a:pt x="11082" y="4670"/>
                </a:lnTo>
                <a:lnTo>
                  <a:pt x="11084" y="4666"/>
                </a:lnTo>
                <a:lnTo>
                  <a:pt x="11086" y="4664"/>
                </a:lnTo>
                <a:lnTo>
                  <a:pt x="11084" y="4662"/>
                </a:lnTo>
                <a:lnTo>
                  <a:pt x="11082" y="4658"/>
                </a:lnTo>
                <a:lnTo>
                  <a:pt x="11084" y="4656"/>
                </a:lnTo>
                <a:lnTo>
                  <a:pt x="11088" y="4656"/>
                </a:lnTo>
                <a:lnTo>
                  <a:pt x="11094" y="4660"/>
                </a:lnTo>
                <a:lnTo>
                  <a:pt x="11098" y="4662"/>
                </a:lnTo>
                <a:lnTo>
                  <a:pt x="11104" y="4664"/>
                </a:lnTo>
                <a:lnTo>
                  <a:pt x="11108" y="4666"/>
                </a:lnTo>
                <a:lnTo>
                  <a:pt x="11110" y="4672"/>
                </a:lnTo>
                <a:lnTo>
                  <a:pt x="11112" y="4676"/>
                </a:lnTo>
                <a:lnTo>
                  <a:pt x="11112" y="4678"/>
                </a:lnTo>
                <a:lnTo>
                  <a:pt x="11114" y="4678"/>
                </a:lnTo>
                <a:lnTo>
                  <a:pt x="11114" y="4680"/>
                </a:lnTo>
                <a:lnTo>
                  <a:pt x="11112" y="4686"/>
                </a:lnTo>
                <a:lnTo>
                  <a:pt x="11108" y="4692"/>
                </a:lnTo>
                <a:lnTo>
                  <a:pt x="11104" y="4698"/>
                </a:lnTo>
                <a:lnTo>
                  <a:pt x="11104" y="4702"/>
                </a:lnTo>
                <a:lnTo>
                  <a:pt x="11104" y="4706"/>
                </a:lnTo>
                <a:lnTo>
                  <a:pt x="11106" y="4718"/>
                </a:lnTo>
                <a:lnTo>
                  <a:pt x="11108" y="4726"/>
                </a:lnTo>
                <a:lnTo>
                  <a:pt x="11110" y="4730"/>
                </a:lnTo>
                <a:lnTo>
                  <a:pt x="11112" y="4734"/>
                </a:lnTo>
                <a:lnTo>
                  <a:pt x="11114" y="4736"/>
                </a:lnTo>
                <a:lnTo>
                  <a:pt x="11116" y="4738"/>
                </a:lnTo>
                <a:lnTo>
                  <a:pt x="11122" y="4742"/>
                </a:lnTo>
                <a:lnTo>
                  <a:pt x="11140" y="4752"/>
                </a:lnTo>
                <a:lnTo>
                  <a:pt x="11146" y="4752"/>
                </a:lnTo>
                <a:lnTo>
                  <a:pt x="11150" y="4748"/>
                </a:lnTo>
                <a:lnTo>
                  <a:pt x="11152" y="4742"/>
                </a:lnTo>
                <a:lnTo>
                  <a:pt x="11154" y="4742"/>
                </a:lnTo>
                <a:lnTo>
                  <a:pt x="11156" y="4744"/>
                </a:lnTo>
                <a:lnTo>
                  <a:pt x="11156" y="4748"/>
                </a:lnTo>
                <a:lnTo>
                  <a:pt x="11154" y="4756"/>
                </a:lnTo>
                <a:lnTo>
                  <a:pt x="11156" y="4764"/>
                </a:lnTo>
                <a:lnTo>
                  <a:pt x="11158" y="4766"/>
                </a:lnTo>
                <a:lnTo>
                  <a:pt x="11160" y="4768"/>
                </a:lnTo>
                <a:lnTo>
                  <a:pt x="11162" y="4766"/>
                </a:lnTo>
                <a:lnTo>
                  <a:pt x="11166" y="4762"/>
                </a:lnTo>
                <a:lnTo>
                  <a:pt x="11170" y="4754"/>
                </a:lnTo>
                <a:lnTo>
                  <a:pt x="11174" y="4746"/>
                </a:lnTo>
                <a:lnTo>
                  <a:pt x="11174" y="4738"/>
                </a:lnTo>
                <a:lnTo>
                  <a:pt x="11172" y="4732"/>
                </a:lnTo>
                <a:lnTo>
                  <a:pt x="11170" y="4722"/>
                </a:lnTo>
                <a:lnTo>
                  <a:pt x="11166" y="4718"/>
                </a:lnTo>
                <a:lnTo>
                  <a:pt x="11164" y="4716"/>
                </a:lnTo>
                <a:lnTo>
                  <a:pt x="11162" y="4716"/>
                </a:lnTo>
                <a:lnTo>
                  <a:pt x="11162" y="4714"/>
                </a:lnTo>
                <a:lnTo>
                  <a:pt x="11162" y="4706"/>
                </a:lnTo>
                <a:lnTo>
                  <a:pt x="11164" y="4700"/>
                </a:lnTo>
                <a:lnTo>
                  <a:pt x="11168" y="4696"/>
                </a:lnTo>
                <a:lnTo>
                  <a:pt x="11172" y="4694"/>
                </a:lnTo>
                <a:lnTo>
                  <a:pt x="11172" y="4690"/>
                </a:lnTo>
                <a:lnTo>
                  <a:pt x="11172" y="4686"/>
                </a:lnTo>
                <a:lnTo>
                  <a:pt x="11176" y="4682"/>
                </a:lnTo>
                <a:lnTo>
                  <a:pt x="11180" y="4682"/>
                </a:lnTo>
                <a:lnTo>
                  <a:pt x="11182" y="4688"/>
                </a:lnTo>
                <a:lnTo>
                  <a:pt x="11184" y="4696"/>
                </a:lnTo>
                <a:lnTo>
                  <a:pt x="11184" y="4700"/>
                </a:lnTo>
                <a:lnTo>
                  <a:pt x="11188" y="4706"/>
                </a:lnTo>
                <a:lnTo>
                  <a:pt x="11190" y="4708"/>
                </a:lnTo>
                <a:lnTo>
                  <a:pt x="11188" y="4712"/>
                </a:lnTo>
                <a:lnTo>
                  <a:pt x="11188" y="4718"/>
                </a:lnTo>
                <a:lnTo>
                  <a:pt x="11192" y="4728"/>
                </a:lnTo>
                <a:lnTo>
                  <a:pt x="11192" y="4730"/>
                </a:lnTo>
                <a:lnTo>
                  <a:pt x="11194" y="4730"/>
                </a:lnTo>
                <a:lnTo>
                  <a:pt x="11196" y="4726"/>
                </a:lnTo>
                <a:lnTo>
                  <a:pt x="11196" y="4716"/>
                </a:lnTo>
                <a:lnTo>
                  <a:pt x="11194" y="4706"/>
                </a:lnTo>
                <a:lnTo>
                  <a:pt x="11194" y="4702"/>
                </a:lnTo>
                <a:lnTo>
                  <a:pt x="11196" y="4702"/>
                </a:lnTo>
                <a:lnTo>
                  <a:pt x="11198" y="4704"/>
                </a:lnTo>
                <a:lnTo>
                  <a:pt x="11200" y="4704"/>
                </a:lnTo>
                <a:lnTo>
                  <a:pt x="11200" y="4702"/>
                </a:lnTo>
                <a:lnTo>
                  <a:pt x="11198" y="4698"/>
                </a:lnTo>
                <a:lnTo>
                  <a:pt x="11200" y="4698"/>
                </a:lnTo>
                <a:lnTo>
                  <a:pt x="11204" y="4698"/>
                </a:lnTo>
                <a:lnTo>
                  <a:pt x="11208" y="4692"/>
                </a:lnTo>
                <a:lnTo>
                  <a:pt x="11210" y="4686"/>
                </a:lnTo>
                <a:lnTo>
                  <a:pt x="11210" y="4682"/>
                </a:lnTo>
                <a:lnTo>
                  <a:pt x="11210" y="4668"/>
                </a:lnTo>
                <a:lnTo>
                  <a:pt x="11208" y="4662"/>
                </a:lnTo>
                <a:lnTo>
                  <a:pt x="11206" y="4660"/>
                </a:lnTo>
                <a:lnTo>
                  <a:pt x="11204" y="4660"/>
                </a:lnTo>
                <a:lnTo>
                  <a:pt x="11202" y="4656"/>
                </a:lnTo>
                <a:lnTo>
                  <a:pt x="11202" y="4652"/>
                </a:lnTo>
                <a:lnTo>
                  <a:pt x="11204" y="4646"/>
                </a:lnTo>
                <a:lnTo>
                  <a:pt x="11206" y="4640"/>
                </a:lnTo>
                <a:lnTo>
                  <a:pt x="11204" y="4636"/>
                </a:lnTo>
                <a:lnTo>
                  <a:pt x="11202" y="4632"/>
                </a:lnTo>
                <a:lnTo>
                  <a:pt x="11202" y="4628"/>
                </a:lnTo>
                <a:lnTo>
                  <a:pt x="11200" y="4624"/>
                </a:lnTo>
                <a:lnTo>
                  <a:pt x="11200" y="4622"/>
                </a:lnTo>
                <a:lnTo>
                  <a:pt x="11196" y="4622"/>
                </a:lnTo>
                <a:lnTo>
                  <a:pt x="11192" y="4622"/>
                </a:lnTo>
                <a:lnTo>
                  <a:pt x="11190" y="4620"/>
                </a:lnTo>
                <a:lnTo>
                  <a:pt x="11190" y="4618"/>
                </a:lnTo>
                <a:lnTo>
                  <a:pt x="11192" y="4618"/>
                </a:lnTo>
                <a:lnTo>
                  <a:pt x="11196" y="4614"/>
                </a:lnTo>
                <a:lnTo>
                  <a:pt x="11198" y="4610"/>
                </a:lnTo>
                <a:lnTo>
                  <a:pt x="11200" y="4606"/>
                </a:lnTo>
                <a:lnTo>
                  <a:pt x="11198" y="4600"/>
                </a:lnTo>
                <a:lnTo>
                  <a:pt x="11194" y="4594"/>
                </a:lnTo>
                <a:lnTo>
                  <a:pt x="11194" y="4588"/>
                </a:lnTo>
                <a:lnTo>
                  <a:pt x="11194" y="4586"/>
                </a:lnTo>
                <a:lnTo>
                  <a:pt x="11192" y="4586"/>
                </a:lnTo>
                <a:lnTo>
                  <a:pt x="11188" y="4588"/>
                </a:lnTo>
                <a:lnTo>
                  <a:pt x="11186" y="4584"/>
                </a:lnTo>
                <a:lnTo>
                  <a:pt x="11184" y="4578"/>
                </a:lnTo>
                <a:lnTo>
                  <a:pt x="11182" y="4576"/>
                </a:lnTo>
                <a:lnTo>
                  <a:pt x="11178" y="4574"/>
                </a:lnTo>
                <a:lnTo>
                  <a:pt x="11172" y="4570"/>
                </a:lnTo>
                <a:lnTo>
                  <a:pt x="11170" y="4568"/>
                </a:lnTo>
                <a:lnTo>
                  <a:pt x="11170" y="4566"/>
                </a:lnTo>
                <a:lnTo>
                  <a:pt x="11168" y="4562"/>
                </a:lnTo>
                <a:close/>
                <a:moveTo>
                  <a:pt x="11152" y="4426"/>
                </a:moveTo>
                <a:lnTo>
                  <a:pt x="11152" y="4426"/>
                </a:lnTo>
                <a:lnTo>
                  <a:pt x="11146" y="4424"/>
                </a:lnTo>
                <a:lnTo>
                  <a:pt x="11138" y="4426"/>
                </a:lnTo>
                <a:lnTo>
                  <a:pt x="11130" y="4428"/>
                </a:lnTo>
                <a:lnTo>
                  <a:pt x="11122" y="4426"/>
                </a:lnTo>
                <a:lnTo>
                  <a:pt x="11118" y="4426"/>
                </a:lnTo>
                <a:lnTo>
                  <a:pt x="11116" y="4426"/>
                </a:lnTo>
                <a:lnTo>
                  <a:pt x="11118" y="4434"/>
                </a:lnTo>
                <a:lnTo>
                  <a:pt x="11122" y="4444"/>
                </a:lnTo>
                <a:lnTo>
                  <a:pt x="11130" y="4452"/>
                </a:lnTo>
                <a:lnTo>
                  <a:pt x="11134" y="4456"/>
                </a:lnTo>
                <a:lnTo>
                  <a:pt x="11136" y="4460"/>
                </a:lnTo>
                <a:lnTo>
                  <a:pt x="11138" y="4462"/>
                </a:lnTo>
                <a:lnTo>
                  <a:pt x="11142" y="4464"/>
                </a:lnTo>
                <a:lnTo>
                  <a:pt x="11146" y="4466"/>
                </a:lnTo>
                <a:lnTo>
                  <a:pt x="11148" y="4468"/>
                </a:lnTo>
                <a:lnTo>
                  <a:pt x="11146" y="4472"/>
                </a:lnTo>
                <a:lnTo>
                  <a:pt x="11142" y="4474"/>
                </a:lnTo>
                <a:lnTo>
                  <a:pt x="11142" y="4476"/>
                </a:lnTo>
                <a:lnTo>
                  <a:pt x="11142" y="4478"/>
                </a:lnTo>
                <a:lnTo>
                  <a:pt x="11144" y="4480"/>
                </a:lnTo>
                <a:lnTo>
                  <a:pt x="11150" y="4486"/>
                </a:lnTo>
                <a:lnTo>
                  <a:pt x="11152" y="4496"/>
                </a:lnTo>
                <a:lnTo>
                  <a:pt x="11154" y="4498"/>
                </a:lnTo>
                <a:lnTo>
                  <a:pt x="11156" y="4498"/>
                </a:lnTo>
                <a:lnTo>
                  <a:pt x="11160" y="4498"/>
                </a:lnTo>
                <a:lnTo>
                  <a:pt x="11164" y="4498"/>
                </a:lnTo>
                <a:lnTo>
                  <a:pt x="11168" y="4498"/>
                </a:lnTo>
                <a:lnTo>
                  <a:pt x="11170" y="4500"/>
                </a:lnTo>
                <a:lnTo>
                  <a:pt x="11174" y="4502"/>
                </a:lnTo>
                <a:lnTo>
                  <a:pt x="11176" y="4500"/>
                </a:lnTo>
                <a:lnTo>
                  <a:pt x="11174" y="4494"/>
                </a:lnTo>
                <a:lnTo>
                  <a:pt x="11172" y="4492"/>
                </a:lnTo>
                <a:lnTo>
                  <a:pt x="11170" y="4488"/>
                </a:lnTo>
                <a:lnTo>
                  <a:pt x="11170" y="4486"/>
                </a:lnTo>
                <a:lnTo>
                  <a:pt x="11170" y="4484"/>
                </a:lnTo>
                <a:lnTo>
                  <a:pt x="11166" y="4480"/>
                </a:lnTo>
                <a:lnTo>
                  <a:pt x="11164" y="4476"/>
                </a:lnTo>
                <a:lnTo>
                  <a:pt x="11164" y="4472"/>
                </a:lnTo>
                <a:lnTo>
                  <a:pt x="11164" y="4458"/>
                </a:lnTo>
                <a:lnTo>
                  <a:pt x="11166" y="4446"/>
                </a:lnTo>
                <a:lnTo>
                  <a:pt x="11164" y="4442"/>
                </a:lnTo>
                <a:lnTo>
                  <a:pt x="11162" y="4440"/>
                </a:lnTo>
                <a:lnTo>
                  <a:pt x="11158" y="4436"/>
                </a:lnTo>
                <a:lnTo>
                  <a:pt x="11158" y="4432"/>
                </a:lnTo>
                <a:lnTo>
                  <a:pt x="11156" y="4428"/>
                </a:lnTo>
                <a:lnTo>
                  <a:pt x="11152" y="4426"/>
                </a:lnTo>
                <a:close/>
                <a:moveTo>
                  <a:pt x="11024" y="4468"/>
                </a:moveTo>
                <a:lnTo>
                  <a:pt x="11024" y="4468"/>
                </a:lnTo>
                <a:lnTo>
                  <a:pt x="11026" y="4470"/>
                </a:lnTo>
                <a:lnTo>
                  <a:pt x="11028" y="4472"/>
                </a:lnTo>
                <a:lnTo>
                  <a:pt x="11028" y="4478"/>
                </a:lnTo>
                <a:lnTo>
                  <a:pt x="11026" y="4486"/>
                </a:lnTo>
                <a:lnTo>
                  <a:pt x="11028" y="4494"/>
                </a:lnTo>
                <a:lnTo>
                  <a:pt x="11028" y="4502"/>
                </a:lnTo>
                <a:lnTo>
                  <a:pt x="11026" y="4506"/>
                </a:lnTo>
                <a:lnTo>
                  <a:pt x="11022" y="4510"/>
                </a:lnTo>
                <a:lnTo>
                  <a:pt x="11022" y="4522"/>
                </a:lnTo>
                <a:lnTo>
                  <a:pt x="11022" y="4528"/>
                </a:lnTo>
                <a:lnTo>
                  <a:pt x="11024" y="4530"/>
                </a:lnTo>
                <a:lnTo>
                  <a:pt x="11026" y="4530"/>
                </a:lnTo>
                <a:lnTo>
                  <a:pt x="11028" y="4528"/>
                </a:lnTo>
                <a:lnTo>
                  <a:pt x="11034" y="4522"/>
                </a:lnTo>
                <a:lnTo>
                  <a:pt x="11036" y="4520"/>
                </a:lnTo>
                <a:lnTo>
                  <a:pt x="11040" y="4520"/>
                </a:lnTo>
                <a:lnTo>
                  <a:pt x="11046" y="4516"/>
                </a:lnTo>
                <a:lnTo>
                  <a:pt x="11054" y="4512"/>
                </a:lnTo>
                <a:lnTo>
                  <a:pt x="11066" y="4498"/>
                </a:lnTo>
                <a:lnTo>
                  <a:pt x="11070" y="4494"/>
                </a:lnTo>
                <a:lnTo>
                  <a:pt x="11072" y="4490"/>
                </a:lnTo>
                <a:lnTo>
                  <a:pt x="11072" y="4482"/>
                </a:lnTo>
                <a:lnTo>
                  <a:pt x="11070" y="4476"/>
                </a:lnTo>
                <a:lnTo>
                  <a:pt x="11068" y="4476"/>
                </a:lnTo>
                <a:lnTo>
                  <a:pt x="11066" y="4478"/>
                </a:lnTo>
                <a:lnTo>
                  <a:pt x="11064" y="4478"/>
                </a:lnTo>
                <a:lnTo>
                  <a:pt x="11060" y="4474"/>
                </a:lnTo>
                <a:lnTo>
                  <a:pt x="11056" y="4472"/>
                </a:lnTo>
                <a:lnTo>
                  <a:pt x="11054" y="4474"/>
                </a:lnTo>
                <a:lnTo>
                  <a:pt x="11050" y="4474"/>
                </a:lnTo>
                <a:lnTo>
                  <a:pt x="11048" y="4474"/>
                </a:lnTo>
                <a:lnTo>
                  <a:pt x="11042" y="4470"/>
                </a:lnTo>
                <a:lnTo>
                  <a:pt x="11036" y="4464"/>
                </a:lnTo>
                <a:lnTo>
                  <a:pt x="11028" y="4458"/>
                </a:lnTo>
                <a:lnTo>
                  <a:pt x="11020" y="4458"/>
                </a:lnTo>
                <a:lnTo>
                  <a:pt x="11018" y="4460"/>
                </a:lnTo>
                <a:lnTo>
                  <a:pt x="11018" y="4464"/>
                </a:lnTo>
                <a:lnTo>
                  <a:pt x="11024" y="4468"/>
                </a:lnTo>
                <a:close/>
                <a:moveTo>
                  <a:pt x="10976" y="4378"/>
                </a:moveTo>
                <a:lnTo>
                  <a:pt x="10976" y="4378"/>
                </a:lnTo>
                <a:lnTo>
                  <a:pt x="10964" y="4378"/>
                </a:lnTo>
                <a:lnTo>
                  <a:pt x="10958" y="4380"/>
                </a:lnTo>
                <a:lnTo>
                  <a:pt x="10956" y="4382"/>
                </a:lnTo>
                <a:lnTo>
                  <a:pt x="10960" y="4384"/>
                </a:lnTo>
                <a:lnTo>
                  <a:pt x="10964" y="4386"/>
                </a:lnTo>
                <a:lnTo>
                  <a:pt x="10966" y="4390"/>
                </a:lnTo>
                <a:lnTo>
                  <a:pt x="10966" y="4392"/>
                </a:lnTo>
                <a:lnTo>
                  <a:pt x="10970" y="4396"/>
                </a:lnTo>
                <a:lnTo>
                  <a:pt x="10974" y="4400"/>
                </a:lnTo>
                <a:lnTo>
                  <a:pt x="10976" y="4410"/>
                </a:lnTo>
                <a:lnTo>
                  <a:pt x="10980" y="4424"/>
                </a:lnTo>
                <a:lnTo>
                  <a:pt x="10986" y="4436"/>
                </a:lnTo>
                <a:lnTo>
                  <a:pt x="10990" y="4442"/>
                </a:lnTo>
                <a:lnTo>
                  <a:pt x="10992" y="4444"/>
                </a:lnTo>
                <a:lnTo>
                  <a:pt x="10996" y="4444"/>
                </a:lnTo>
                <a:lnTo>
                  <a:pt x="11000" y="4440"/>
                </a:lnTo>
                <a:lnTo>
                  <a:pt x="11004" y="4430"/>
                </a:lnTo>
                <a:lnTo>
                  <a:pt x="11006" y="4424"/>
                </a:lnTo>
                <a:lnTo>
                  <a:pt x="11006" y="4420"/>
                </a:lnTo>
                <a:lnTo>
                  <a:pt x="11004" y="4416"/>
                </a:lnTo>
                <a:lnTo>
                  <a:pt x="11006" y="4408"/>
                </a:lnTo>
                <a:lnTo>
                  <a:pt x="11006" y="4402"/>
                </a:lnTo>
                <a:lnTo>
                  <a:pt x="11004" y="4398"/>
                </a:lnTo>
                <a:lnTo>
                  <a:pt x="11002" y="4394"/>
                </a:lnTo>
                <a:lnTo>
                  <a:pt x="11000" y="4388"/>
                </a:lnTo>
                <a:lnTo>
                  <a:pt x="10988" y="4382"/>
                </a:lnTo>
                <a:lnTo>
                  <a:pt x="10976" y="4378"/>
                </a:lnTo>
                <a:close/>
                <a:moveTo>
                  <a:pt x="10900" y="4536"/>
                </a:moveTo>
                <a:lnTo>
                  <a:pt x="10900" y="4536"/>
                </a:lnTo>
                <a:lnTo>
                  <a:pt x="10884" y="4562"/>
                </a:lnTo>
                <a:lnTo>
                  <a:pt x="10866" y="4584"/>
                </a:lnTo>
                <a:lnTo>
                  <a:pt x="10848" y="4600"/>
                </a:lnTo>
                <a:lnTo>
                  <a:pt x="10840" y="4612"/>
                </a:lnTo>
                <a:lnTo>
                  <a:pt x="10836" y="4618"/>
                </a:lnTo>
                <a:lnTo>
                  <a:pt x="10834" y="4628"/>
                </a:lnTo>
                <a:lnTo>
                  <a:pt x="10832" y="4630"/>
                </a:lnTo>
                <a:lnTo>
                  <a:pt x="10834" y="4632"/>
                </a:lnTo>
                <a:lnTo>
                  <a:pt x="10836" y="4632"/>
                </a:lnTo>
                <a:lnTo>
                  <a:pt x="10838" y="4632"/>
                </a:lnTo>
                <a:lnTo>
                  <a:pt x="10844" y="4626"/>
                </a:lnTo>
                <a:lnTo>
                  <a:pt x="10848" y="4620"/>
                </a:lnTo>
                <a:lnTo>
                  <a:pt x="10858" y="4610"/>
                </a:lnTo>
                <a:lnTo>
                  <a:pt x="10882" y="4586"/>
                </a:lnTo>
                <a:lnTo>
                  <a:pt x="10890" y="4578"/>
                </a:lnTo>
                <a:lnTo>
                  <a:pt x="10894" y="4572"/>
                </a:lnTo>
                <a:lnTo>
                  <a:pt x="10896" y="4566"/>
                </a:lnTo>
                <a:lnTo>
                  <a:pt x="10898" y="4562"/>
                </a:lnTo>
                <a:lnTo>
                  <a:pt x="10898" y="4558"/>
                </a:lnTo>
                <a:lnTo>
                  <a:pt x="10900" y="4556"/>
                </a:lnTo>
                <a:lnTo>
                  <a:pt x="10904" y="4554"/>
                </a:lnTo>
                <a:lnTo>
                  <a:pt x="10910" y="4552"/>
                </a:lnTo>
                <a:lnTo>
                  <a:pt x="10914" y="4550"/>
                </a:lnTo>
                <a:lnTo>
                  <a:pt x="10916" y="4544"/>
                </a:lnTo>
                <a:lnTo>
                  <a:pt x="10918" y="4538"/>
                </a:lnTo>
                <a:lnTo>
                  <a:pt x="10920" y="4536"/>
                </a:lnTo>
                <a:lnTo>
                  <a:pt x="10922" y="4534"/>
                </a:lnTo>
                <a:lnTo>
                  <a:pt x="10928" y="4534"/>
                </a:lnTo>
                <a:lnTo>
                  <a:pt x="10930" y="4530"/>
                </a:lnTo>
                <a:lnTo>
                  <a:pt x="10932" y="4524"/>
                </a:lnTo>
                <a:lnTo>
                  <a:pt x="10930" y="4516"/>
                </a:lnTo>
                <a:lnTo>
                  <a:pt x="10928" y="4510"/>
                </a:lnTo>
                <a:lnTo>
                  <a:pt x="10928" y="4506"/>
                </a:lnTo>
                <a:lnTo>
                  <a:pt x="10928" y="4496"/>
                </a:lnTo>
                <a:lnTo>
                  <a:pt x="10928" y="4488"/>
                </a:lnTo>
                <a:lnTo>
                  <a:pt x="10928" y="4484"/>
                </a:lnTo>
                <a:lnTo>
                  <a:pt x="10924" y="4484"/>
                </a:lnTo>
                <a:lnTo>
                  <a:pt x="10922" y="4484"/>
                </a:lnTo>
                <a:lnTo>
                  <a:pt x="10920" y="4486"/>
                </a:lnTo>
                <a:lnTo>
                  <a:pt x="10920" y="4492"/>
                </a:lnTo>
                <a:lnTo>
                  <a:pt x="10918" y="4500"/>
                </a:lnTo>
                <a:lnTo>
                  <a:pt x="10918" y="4504"/>
                </a:lnTo>
                <a:lnTo>
                  <a:pt x="10914" y="4506"/>
                </a:lnTo>
                <a:lnTo>
                  <a:pt x="10912" y="4506"/>
                </a:lnTo>
                <a:lnTo>
                  <a:pt x="10912" y="4508"/>
                </a:lnTo>
                <a:lnTo>
                  <a:pt x="10914" y="4512"/>
                </a:lnTo>
                <a:lnTo>
                  <a:pt x="10916" y="4518"/>
                </a:lnTo>
                <a:lnTo>
                  <a:pt x="10916" y="4522"/>
                </a:lnTo>
                <a:lnTo>
                  <a:pt x="10914" y="4526"/>
                </a:lnTo>
                <a:lnTo>
                  <a:pt x="10912" y="4528"/>
                </a:lnTo>
                <a:lnTo>
                  <a:pt x="10908" y="4528"/>
                </a:lnTo>
                <a:lnTo>
                  <a:pt x="10906" y="4528"/>
                </a:lnTo>
                <a:lnTo>
                  <a:pt x="10900" y="4536"/>
                </a:lnTo>
                <a:close/>
                <a:moveTo>
                  <a:pt x="10936" y="4240"/>
                </a:moveTo>
                <a:lnTo>
                  <a:pt x="10936" y="4240"/>
                </a:lnTo>
                <a:lnTo>
                  <a:pt x="10934" y="4240"/>
                </a:lnTo>
                <a:lnTo>
                  <a:pt x="10932" y="4242"/>
                </a:lnTo>
                <a:lnTo>
                  <a:pt x="10930" y="4248"/>
                </a:lnTo>
                <a:lnTo>
                  <a:pt x="10932" y="4256"/>
                </a:lnTo>
                <a:lnTo>
                  <a:pt x="10934" y="4260"/>
                </a:lnTo>
                <a:lnTo>
                  <a:pt x="10938" y="4264"/>
                </a:lnTo>
                <a:lnTo>
                  <a:pt x="10938" y="4268"/>
                </a:lnTo>
                <a:lnTo>
                  <a:pt x="10940" y="4298"/>
                </a:lnTo>
                <a:lnTo>
                  <a:pt x="10942" y="4316"/>
                </a:lnTo>
                <a:lnTo>
                  <a:pt x="10944" y="4318"/>
                </a:lnTo>
                <a:lnTo>
                  <a:pt x="10946" y="4320"/>
                </a:lnTo>
                <a:lnTo>
                  <a:pt x="10950" y="4320"/>
                </a:lnTo>
                <a:lnTo>
                  <a:pt x="10952" y="4320"/>
                </a:lnTo>
                <a:lnTo>
                  <a:pt x="10954" y="4326"/>
                </a:lnTo>
                <a:lnTo>
                  <a:pt x="10958" y="4334"/>
                </a:lnTo>
                <a:lnTo>
                  <a:pt x="10962" y="4336"/>
                </a:lnTo>
                <a:lnTo>
                  <a:pt x="10964" y="4334"/>
                </a:lnTo>
                <a:lnTo>
                  <a:pt x="10966" y="4326"/>
                </a:lnTo>
                <a:lnTo>
                  <a:pt x="10966" y="4320"/>
                </a:lnTo>
                <a:lnTo>
                  <a:pt x="10966" y="4318"/>
                </a:lnTo>
                <a:lnTo>
                  <a:pt x="10970" y="4318"/>
                </a:lnTo>
                <a:lnTo>
                  <a:pt x="10974" y="4322"/>
                </a:lnTo>
                <a:lnTo>
                  <a:pt x="10980" y="4326"/>
                </a:lnTo>
                <a:lnTo>
                  <a:pt x="10980" y="4330"/>
                </a:lnTo>
                <a:lnTo>
                  <a:pt x="10978" y="4334"/>
                </a:lnTo>
                <a:lnTo>
                  <a:pt x="10974" y="4338"/>
                </a:lnTo>
                <a:lnTo>
                  <a:pt x="10968" y="4346"/>
                </a:lnTo>
                <a:lnTo>
                  <a:pt x="10966" y="4356"/>
                </a:lnTo>
                <a:lnTo>
                  <a:pt x="10966" y="4364"/>
                </a:lnTo>
                <a:lnTo>
                  <a:pt x="10968" y="4366"/>
                </a:lnTo>
                <a:lnTo>
                  <a:pt x="10970" y="4364"/>
                </a:lnTo>
                <a:lnTo>
                  <a:pt x="10974" y="4364"/>
                </a:lnTo>
                <a:lnTo>
                  <a:pt x="10976" y="4364"/>
                </a:lnTo>
                <a:lnTo>
                  <a:pt x="10980" y="4368"/>
                </a:lnTo>
                <a:lnTo>
                  <a:pt x="10984" y="4374"/>
                </a:lnTo>
                <a:lnTo>
                  <a:pt x="10988" y="4376"/>
                </a:lnTo>
                <a:lnTo>
                  <a:pt x="10992" y="4376"/>
                </a:lnTo>
                <a:lnTo>
                  <a:pt x="11000" y="4376"/>
                </a:lnTo>
                <a:lnTo>
                  <a:pt x="11000" y="4372"/>
                </a:lnTo>
                <a:lnTo>
                  <a:pt x="11000" y="4368"/>
                </a:lnTo>
                <a:lnTo>
                  <a:pt x="11002" y="4366"/>
                </a:lnTo>
                <a:lnTo>
                  <a:pt x="11004" y="4362"/>
                </a:lnTo>
                <a:lnTo>
                  <a:pt x="11008" y="4360"/>
                </a:lnTo>
                <a:lnTo>
                  <a:pt x="11012" y="4360"/>
                </a:lnTo>
                <a:lnTo>
                  <a:pt x="11028" y="4370"/>
                </a:lnTo>
                <a:lnTo>
                  <a:pt x="11032" y="4376"/>
                </a:lnTo>
                <a:lnTo>
                  <a:pt x="11036" y="4380"/>
                </a:lnTo>
                <a:lnTo>
                  <a:pt x="11040" y="4388"/>
                </a:lnTo>
                <a:lnTo>
                  <a:pt x="11042" y="4394"/>
                </a:lnTo>
                <a:lnTo>
                  <a:pt x="11044" y="4396"/>
                </a:lnTo>
                <a:lnTo>
                  <a:pt x="11048" y="4398"/>
                </a:lnTo>
                <a:lnTo>
                  <a:pt x="11050" y="4396"/>
                </a:lnTo>
                <a:lnTo>
                  <a:pt x="11050" y="4394"/>
                </a:lnTo>
                <a:lnTo>
                  <a:pt x="11050" y="4388"/>
                </a:lnTo>
                <a:lnTo>
                  <a:pt x="11042" y="4368"/>
                </a:lnTo>
                <a:lnTo>
                  <a:pt x="11042" y="4366"/>
                </a:lnTo>
                <a:lnTo>
                  <a:pt x="11044" y="4364"/>
                </a:lnTo>
                <a:lnTo>
                  <a:pt x="11048" y="4364"/>
                </a:lnTo>
                <a:lnTo>
                  <a:pt x="11054" y="4368"/>
                </a:lnTo>
                <a:lnTo>
                  <a:pt x="11056" y="4374"/>
                </a:lnTo>
                <a:lnTo>
                  <a:pt x="11060" y="4378"/>
                </a:lnTo>
                <a:lnTo>
                  <a:pt x="11064" y="4382"/>
                </a:lnTo>
                <a:lnTo>
                  <a:pt x="11068" y="4386"/>
                </a:lnTo>
                <a:lnTo>
                  <a:pt x="11072" y="4390"/>
                </a:lnTo>
                <a:lnTo>
                  <a:pt x="11074" y="4396"/>
                </a:lnTo>
                <a:lnTo>
                  <a:pt x="11074" y="4400"/>
                </a:lnTo>
                <a:lnTo>
                  <a:pt x="11078" y="4404"/>
                </a:lnTo>
                <a:lnTo>
                  <a:pt x="11086" y="4410"/>
                </a:lnTo>
                <a:lnTo>
                  <a:pt x="11094" y="4414"/>
                </a:lnTo>
                <a:lnTo>
                  <a:pt x="11098" y="4418"/>
                </a:lnTo>
                <a:lnTo>
                  <a:pt x="11100" y="4422"/>
                </a:lnTo>
                <a:lnTo>
                  <a:pt x="11102" y="4428"/>
                </a:lnTo>
                <a:lnTo>
                  <a:pt x="11104" y="4430"/>
                </a:lnTo>
                <a:lnTo>
                  <a:pt x="11106" y="4428"/>
                </a:lnTo>
                <a:lnTo>
                  <a:pt x="11108" y="4422"/>
                </a:lnTo>
                <a:lnTo>
                  <a:pt x="11110" y="4414"/>
                </a:lnTo>
                <a:lnTo>
                  <a:pt x="11110" y="4408"/>
                </a:lnTo>
                <a:lnTo>
                  <a:pt x="11110" y="4404"/>
                </a:lnTo>
                <a:lnTo>
                  <a:pt x="11106" y="4400"/>
                </a:lnTo>
                <a:lnTo>
                  <a:pt x="11098" y="4400"/>
                </a:lnTo>
                <a:lnTo>
                  <a:pt x="11094" y="4398"/>
                </a:lnTo>
                <a:lnTo>
                  <a:pt x="11094" y="4396"/>
                </a:lnTo>
                <a:lnTo>
                  <a:pt x="11094" y="4394"/>
                </a:lnTo>
                <a:lnTo>
                  <a:pt x="11094" y="4390"/>
                </a:lnTo>
                <a:lnTo>
                  <a:pt x="11092" y="4386"/>
                </a:lnTo>
                <a:lnTo>
                  <a:pt x="11088" y="4380"/>
                </a:lnTo>
                <a:lnTo>
                  <a:pt x="11084" y="4376"/>
                </a:lnTo>
                <a:lnTo>
                  <a:pt x="11082" y="4374"/>
                </a:lnTo>
                <a:lnTo>
                  <a:pt x="11084" y="4374"/>
                </a:lnTo>
                <a:lnTo>
                  <a:pt x="11088" y="4372"/>
                </a:lnTo>
                <a:lnTo>
                  <a:pt x="11096" y="4372"/>
                </a:lnTo>
                <a:lnTo>
                  <a:pt x="11098" y="4372"/>
                </a:lnTo>
                <a:lnTo>
                  <a:pt x="11100" y="4370"/>
                </a:lnTo>
                <a:lnTo>
                  <a:pt x="11102" y="4366"/>
                </a:lnTo>
                <a:lnTo>
                  <a:pt x="11098" y="4364"/>
                </a:lnTo>
                <a:lnTo>
                  <a:pt x="11082" y="4356"/>
                </a:lnTo>
                <a:lnTo>
                  <a:pt x="11078" y="4354"/>
                </a:lnTo>
                <a:lnTo>
                  <a:pt x="11076" y="4354"/>
                </a:lnTo>
                <a:lnTo>
                  <a:pt x="11074" y="4358"/>
                </a:lnTo>
                <a:lnTo>
                  <a:pt x="11074" y="4362"/>
                </a:lnTo>
                <a:lnTo>
                  <a:pt x="11072" y="4368"/>
                </a:lnTo>
                <a:lnTo>
                  <a:pt x="11070" y="4370"/>
                </a:lnTo>
                <a:lnTo>
                  <a:pt x="11068" y="4370"/>
                </a:lnTo>
                <a:lnTo>
                  <a:pt x="11066" y="4368"/>
                </a:lnTo>
                <a:lnTo>
                  <a:pt x="11064" y="4364"/>
                </a:lnTo>
                <a:lnTo>
                  <a:pt x="11064" y="4358"/>
                </a:lnTo>
                <a:lnTo>
                  <a:pt x="11064" y="4354"/>
                </a:lnTo>
                <a:lnTo>
                  <a:pt x="11062" y="4350"/>
                </a:lnTo>
                <a:lnTo>
                  <a:pt x="11058" y="4346"/>
                </a:lnTo>
                <a:lnTo>
                  <a:pt x="11052" y="4342"/>
                </a:lnTo>
                <a:lnTo>
                  <a:pt x="11046" y="4340"/>
                </a:lnTo>
                <a:lnTo>
                  <a:pt x="11042" y="4338"/>
                </a:lnTo>
                <a:lnTo>
                  <a:pt x="11040" y="4340"/>
                </a:lnTo>
                <a:lnTo>
                  <a:pt x="11038" y="4342"/>
                </a:lnTo>
                <a:lnTo>
                  <a:pt x="11038" y="4344"/>
                </a:lnTo>
                <a:lnTo>
                  <a:pt x="11036" y="4346"/>
                </a:lnTo>
                <a:lnTo>
                  <a:pt x="11032" y="4346"/>
                </a:lnTo>
                <a:lnTo>
                  <a:pt x="11030" y="4346"/>
                </a:lnTo>
                <a:lnTo>
                  <a:pt x="11030" y="4352"/>
                </a:lnTo>
                <a:lnTo>
                  <a:pt x="11030" y="4356"/>
                </a:lnTo>
                <a:lnTo>
                  <a:pt x="11028" y="4358"/>
                </a:lnTo>
                <a:lnTo>
                  <a:pt x="11024" y="4358"/>
                </a:lnTo>
                <a:lnTo>
                  <a:pt x="11020" y="4356"/>
                </a:lnTo>
                <a:lnTo>
                  <a:pt x="11016" y="4352"/>
                </a:lnTo>
                <a:lnTo>
                  <a:pt x="11010" y="4342"/>
                </a:lnTo>
                <a:lnTo>
                  <a:pt x="11008" y="4330"/>
                </a:lnTo>
                <a:lnTo>
                  <a:pt x="11008" y="4322"/>
                </a:lnTo>
                <a:lnTo>
                  <a:pt x="11008" y="4320"/>
                </a:lnTo>
                <a:lnTo>
                  <a:pt x="11008" y="4314"/>
                </a:lnTo>
                <a:lnTo>
                  <a:pt x="11004" y="4304"/>
                </a:lnTo>
                <a:lnTo>
                  <a:pt x="11000" y="4292"/>
                </a:lnTo>
                <a:lnTo>
                  <a:pt x="11002" y="4286"/>
                </a:lnTo>
                <a:lnTo>
                  <a:pt x="11004" y="4280"/>
                </a:lnTo>
                <a:lnTo>
                  <a:pt x="11008" y="4272"/>
                </a:lnTo>
                <a:lnTo>
                  <a:pt x="11008" y="4266"/>
                </a:lnTo>
                <a:lnTo>
                  <a:pt x="11008" y="4260"/>
                </a:lnTo>
                <a:lnTo>
                  <a:pt x="11014" y="4254"/>
                </a:lnTo>
                <a:lnTo>
                  <a:pt x="11016" y="4250"/>
                </a:lnTo>
                <a:lnTo>
                  <a:pt x="11018" y="4250"/>
                </a:lnTo>
                <a:lnTo>
                  <a:pt x="11020" y="4250"/>
                </a:lnTo>
                <a:lnTo>
                  <a:pt x="11022" y="4252"/>
                </a:lnTo>
                <a:lnTo>
                  <a:pt x="11024" y="4256"/>
                </a:lnTo>
                <a:lnTo>
                  <a:pt x="11026" y="4254"/>
                </a:lnTo>
                <a:lnTo>
                  <a:pt x="11032" y="4246"/>
                </a:lnTo>
                <a:lnTo>
                  <a:pt x="11036" y="4232"/>
                </a:lnTo>
                <a:lnTo>
                  <a:pt x="11042" y="4208"/>
                </a:lnTo>
                <a:lnTo>
                  <a:pt x="11042" y="4204"/>
                </a:lnTo>
                <a:lnTo>
                  <a:pt x="11040" y="4200"/>
                </a:lnTo>
                <a:lnTo>
                  <a:pt x="11034" y="4190"/>
                </a:lnTo>
                <a:lnTo>
                  <a:pt x="11032" y="4184"/>
                </a:lnTo>
                <a:lnTo>
                  <a:pt x="11030" y="4178"/>
                </a:lnTo>
                <a:lnTo>
                  <a:pt x="11030" y="4168"/>
                </a:lnTo>
                <a:lnTo>
                  <a:pt x="11032" y="4158"/>
                </a:lnTo>
                <a:lnTo>
                  <a:pt x="11036" y="4144"/>
                </a:lnTo>
                <a:lnTo>
                  <a:pt x="11036" y="4136"/>
                </a:lnTo>
                <a:lnTo>
                  <a:pt x="11034" y="4134"/>
                </a:lnTo>
                <a:lnTo>
                  <a:pt x="11032" y="4134"/>
                </a:lnTo>
                <a:lnTo>
                  <a:pt x="11028" y="4136"/>
                </a:lnTo>
                <a:lnTo>
                  <a:pt x="11024" y="4140"/>
                </a:lnTo>
                <a:lnTo>
                  <a:pt x="11020" y="4144"/>
                </a:lnTo>
                <a:lnTo>
                  <a:pt x="11016" y="4144"/>
                </a:lnTo>
                <a:lnTo>
                  <a:pt x="11010" y="4142"/>
                </a:lnTo>
                <a:lnTo>
                  <a:pt x="11004" y="4138"/>
                </a:lnTo>
                <a:lnTo>
                  <a:pt x="10988" y="4128"/>
                </a:lnTo>
                <a:lnTo>
                  <a:pt x="10982" y="4126"/>
                </a:lnTo>
                <a:lnTo>
                  <a:pt x="10974" y="4128"/>
                </a:lnTo>
                <a:lnTo>
                  <a:pt x="10966" y="4132"/>
                </a:lnTo>
                <a:lnTo>
                  <a:pt x="10964" y="4134"/>
                </a:lnTo>
                <a:lnTo>
                  <a:pt x="10964" y="4138"/>
                </a:lnTo>
                <a:lnTo>
                  <a:pt x="10964" y="4146"/>
                </a:lnTo>
                <a:lnTo>
                  <a:pt x="10962" y="4150"/>
                </a:lnTo>
                <a:lnTo>
                  <a:pt x="10960" y="4158"/>
                </a:lnTo>
                <a:lnTo>
                  <a:pt x="10958" y="4166"/>
                </a:lnTo>
                <a:lnTo>
                  <a:pt x="10956" y="4172"/>
                </a:lnTo>
                <a:lnTo>
                  <a:pt x="10958" y="4186"/>
                </a:lnTo>
                <a:lnTo>
                  <a:pt x="10958" y="4200"/>
                </a:lnTo>
                <a:lnTo>
                  <a:pt x="10958" y="4208"/>
                </a:lnTo>
                <a:lnTo>
                  <a:pt x="10954" y="4218"/>
                </a:lnTo>
                <a:lnTo>
                  <a:pt x="10952" y="4226"/>
                </a:lnTo>
                <a:lnTo>
                  <a:pt x="10950" y="4232"/>
                </a:lnTo>
                <a:lnTo>
                  <a:pt x="10952" y="4236"/>
                </a:lnTo>
                <a:lnTo>
                  <a:pt x="10954" y="4240"/>
                </a:lnTo>
                <a:lnTo>
                  <a:pt x="10958" y="4246"/>
                </a:lnTo>
                <a:lnTo>
                  <a:pt x="10958" y="4248"/>
                </a:lnTo>
                <a:lnTo>
                  <a:pt x="10956" y="4254"/>
                </a:lnTo>
                <a:lnTo>
                  <a:pt x="10954" y="4258"/>
                </a:lnTo>
                <a:lnTo>
                  <a:pt x="10952" y="4258"/>
                </a:lnTo>
                <a:lnTo>
                  <a:pt x="10948" y="4256"/>
                </a:lnTo>
                <a:lnTo>
                  <a:pt x="10946" y="4252"/>
                </a:lnTo>
                <a:lnTo>
                  <a:pt x="10942" y="4244"/>
                </a:lnTo>
                <a:lnTo>
                  <a:pt x="10938" y="4240"/>
                </a:lnTo>
                <a:lnTo>
                  <a:pt x="10936" y="4240"/>
                </a:lnTo>
                <a:close/>
                <a:moveTo>
                  <a:pt x="9396" y="4654"/>
                </a:moveTo>
                <a:lnTo>
                  <a:pt x="9396" y="4654"/>
                </a:lnTo>
                <a:lnTo>
                  <a:pt x="9392" y="4644"/>
                </a:lnTo>
                <a:lnTo>
                  <a:pt x="9386" y="4630"/>
                </a:lnTo>
                <a:lnTo>
                  <a:pt x="9380" y="4616"/>
                </a:lnTo>
                <a:lnTo>
                  <a:pt x="9372" y="4604"/>
                </a:lnTo>
                <a:lnTo>
                  <a:pt x="9366" y="4596"/>
                </a:lnTo>
                <a:lnTo>
                  <a:pt x="9364" y="4588"/>
                </a:lnTo>
                <a:lnTo>
                  <a:pt x="9360" y="4580"/>
                </a:lnTo>
                <a:lnTo>
                  <a:pt x="9352" y="4570"/>
                </a:lnTo>
                <a:lnTo>
                  <a:pt x="9344" y="4562"/>
                </a:lnTo>
                <a:lnTo>
                  <a:pt x="9336" y="4560"/>
                </a:lnTo>
                <a:lnTo>
                  <a:pt x="9330" y="4560"/>
                </a:lnTo>
                <a:lnTo>
                  <a:pt x="9326" y="4562"/>
                </a:lnTo>
                <a:lnTo>
                  <a:pt x="9326" y="4564"/>
                </a:lnTo>
                <a:lnTo>
                  <a:pt x="9330" y="4566"/>
                </a:lnTo>
                <a:lnTo>
                  <a:pt x="9332" y="4572"/>
                </a:lnTo>
                <a:lnTo>
                  <a:pt x="9334" y="4580"/>
                </a:lnTo>
                <a:lnTo>
                  <a:pt x="9334" y="4590"/>
                </a:lnTo>
                <a:lnTo>
                  <a:pt x="9332" y="4598"/>
                </a:lnTo>
                <a:lnTo>
                  <a:pt x="9328" y="4604"/>
                </a:lnTo>
                <a:lnTo>
                  <a:pt x="9328" y="4610"/>
                </a:lnTo>
                <a:lnTo>
                  <a:pt x="9328" y="4618"/>
                </a:lnTo>
                <a:lnTo>
                  <a:pt x="9326" y="4630"/>
                </a:lnTo>
                <a:lnTo>
                  <a:pt x="9324" y="4636"/>
                </a:lnTo>
                <a:lnTo>
                  <a:pt x="9324" y="4638"/>
                </a:lnTo>
                <a:lnTo>
                  <a:pt x="9324" y="4636"/>
                </a:lnTo>
                <a:lnTo>
                  <a:pt x="9322" y="4630"/>
                </a:lnTo>
                <a:lnTo>
                  <a:pt x="9320" y="4630"/>
                </a:lnTo>
                <a:lnTo>
                  <a:pt x="9320" y="4632"/>
                </a:lnTo>
                <a:lnTo>
                  <a:pt x="9318" y="4640"/>
                </a:lnTo>
                <a:lnTo>
                  <a:pt x="9320" y="4654"/>
                </a:lnTo>
                <a:lnTo>
                  <a:pt x="9322" y="4676"/>
                </a:lnTo>
                <a:lnTo>
                  <a:pt x="9322" y="4700"/>
                </a:lnTo>
                <a:lnTo>
                  <a:pt x="9324" y="4712"/>
                </a:lnTo>
                <a:lnTo>
                  <a:pt x="9326" y="4722"/>
                </a:lnTo>
                <a:lnTo>
                  <a:pt x="9332" y="4734"/>
                </a:lnTo>
                <a:lnTo>
                  <a:pt x="9338" y="4742"/>
                </a:lnTo>
                <a:lnTo>
                  <a:pt x="9346" y="4748"/>
                </a:lnTo>
                <a:lnTo>
                  <a:pt x="9352" y="4750"/>
                </a:lnTo>
                <a:lnTo>
                  <a:pt x="9358" y="4750"/>
                </a:lnTo>
                <a:lnTo>
                  <a:pt x="9364" y="4748"/>
                </a:lnTo>
                <a:lnTo>
                  <a:pt x="9376" y="4740"/>
                </a:lnTo>
                <a:lnTo>
                  <a:pt x="9390" y="4732"/>
                </a:lnTo>
                <a:lnTo>
                  <a:pt x="9396" y="4726"/>
                </a:lnTo>
                <a:lnTo>
                  <a:pt x="9402" y="4718"/>
                </a:lnTo>
                <a:lnTo>
                  <a:pt x="9404" y="4710"/>
                </a:lnTo>
                <a:lnTo>
                  <a:pt x="9406" y="4700"/>
                </a:lnTo>
                <a:lnTo>
                  <a:pt x="9406" y="4682"/>
                </a:lnTo>
                <a:lnTo>
                  <a:pt x="9406" y="4676"/>
                </a:lnTo>
                <a:lnTo>
                  <a:pt x="9404" y="4672"/>
                </a:lnTo>
                <a:lnTo>
                  <a:pt x="9400" y="4666"/>
                </a:lnTo>
                <a:lnTo>
                  <a:pt x="9400" y="4662"/>
                </a:lnTo>
                <a:lnTo>
                  <a:pt x="9400" y="4658"/>
                </a:lnTo>
                <a:lnTo>
                  <a:pt x="9396" y="4654"/>
                </a:lnTo>
                <a:close/>
                <a:moveTo>
                  <a:pt x="9854" y="4376"/>
                </a:moveTo>
                <a:lnTo>
                  <a:pt x="9854" y="4376"/>
                </a:lnTo>
                <a:lnTo>
                  <a:pt x="9854" y="4374"/>
                </a:lnTo>
                <a:lnTo>
                  <a:pt x="9852" y="4376"/>
                </a:lnTo>
                <a:lnTo>
                  <a:pt x="9848" y="4384"/>
                </a:lnTo>
                <a:lnTo>
                  <a:pt x="9846" y="4400"/>
                </a:lnTo>
                <a:lnTo>
                  <a:pt x="9844" y="4422"/>
                </a:lnTo>
                <a:lnTo>
                  <a:pt x="9842" y="4442"/>
                </a:lnTo>
                <a:lnTo>
                  <a:pt x="9840" y="4452"/>
                </a:lnTo>
                <a:lnTo>
                  <a:pt x="9838" y="4460"/>
                </a:lnTo>
                <a:lnTo>
                  <a:pt x="9840" y="4472"/>
                </a:lnTo>
                <a:lnTo>
                  <a:pt x="9842" y="4478"/>
                </a:lnTo>
                <a:lnTo>
                  <a:pt x="9844" y="4480"/>
                </a:lnTo>
                <a:lnTo>
                  <a:pt x="9846" y="4474"/>
                </a:lnTo>
                <a:lnTo>
                  <a:pt x="9850" y="4448"/>
                </a:lnTo>
                <a:lnTo>
                  <a:pt x="9850" y="4440"/>
                </a:lnTo>
                <a:lnTo>
                  <a:pt x="9850" y="4436"/>
                </a:lnTo>
                <a:lnTo>
                  <a:pt x="9850" y="4434"/>
                </a:lnTo>
                <a:lnTo>
                  <a:pt x="9852" y="4430"/>
                </a:lnTo>
                <a:lnTo>
                  <a:pt x="9854" y="4428"/>
                </a:lnTo>
                <a:lnTo>
                  <a:pt x="9854" y="4424"/>
                </a:lnTo>
                <a:lnTo>
                  <a:pt x="9852" y="4416"/>
                </a:lnTo>
                <a:lnTo>
                  <a:pt x="9852" y="4410"/>
                </a:lnTo>
                <a:lnTo>
                  <a:pt x="9852" y="4406"/>
                </a:lnTo>
                <a:lnTo>
                  <a:pt x="9854" y="4404"/>
                </a:lnTo>
                <a:lnTo>
                  <a:pt x="9856" y="4398"/>
                </a:lnTo>
                <a:lnTo>
                  <a:pt x="9858" y="4390"/>
                </a:lnTo>
                <a:lnTo>
                  <a:pt x="9858" y="4382"/>
                </a:lnTo>
                <a:lnTo>
                  <a:pt x="9854" y="4376"/>
                </a:lnTo>
                <a:close/>
                <a:moveTo>
                  <a:pt x="9834" y="4508"/>
                </a:moveTo>
                <a:lnTo>
                  <a:pt x="9834" y="4508"/>
                </a:lnTo>
                <a:lnTo>
                  <a:pt x="9832" y="4510"/>
                </a:lnTo>
                <a:lnTo>
                  <a:pt x="9828" y="4516"/>
                </a:lnTo>
                <a:lnTo>
                  <a:pt x="9828" y="4522"/>
                </a:lnTo>
                <a:lnTo>
                  <a:pt x="9830" y="4526"/>
                </a:lnTo>
                <a:lnTo>
                  <a:pt x="9832" y="4526"/>
                </a:lnTo>
                <a:lnTo>
                  <a:pt x="9834" y="4526"/>
                </a:lnTo>
                <a:lnTo>
                  <a:pt x="9838" y="4520"/>
                </a:lnTo>
                <a:lnTo>
                  <a:pt x="9838" y="4512"/>
                </a:lnTo>
                <a:lnTo>
                  <a:pt x="9836" y="4510"/>
                </a:lnTo>
                <a:lnTo>
                  <a:pt x="9834" y="4508"/>
                </a:lnTo>
                <a:close/>
                <a:moveTo>
                  <a:pt x="9884" y="4688"/>
                </a:moveTo>
                <a:lnTo>
                  <a:pt x="9884" y="4688"/>
                </a:lnTo>
                <a:lnTo>
                  <a:pt x="9882" y="4690"/>
                </a:lnTo>
                <a:lnTo>
                  <a:pt x="9882" y="4694"/>
                </a:lnTo>
                <a:lnTo>
                  <a:pt x="9882" y="4702"/>
                </a:lnTo>
                <a:lnTo>
                  <a:pt x="9886" y="4708"/>
                </a:lnTo>
                <a:lnTo>
                  <a:pt x="9888" y="4710"/>
                </a:lnTo>
                <a:lnTo>
                  <a:pt x="9890" y="4708"/>
                </a:lnTo>
                <a:lnTo>
                  <a:pt x="9892" y="4704"/>
                </a:lnTo>
                <a:lnTo>
                  <a:pt x="9892" y="4700"/>
                </a:lnTo>
                <a:lnTo>
                  <a:pt x="9892" y="4692"/>
                </a:lnTo>
                <a:lnTo>
                  <a:pt x="9888" y="4688"/>
                </a:lnTo>
                <a:lnTo>
                  <a:pt x="9886" y="4686"/>
                </a:lnTo>
                <a:lnTo>
                  <a:pt x="9884" y="4688"/>
                </a:lnTo>
                <a:close/>
                <a:moveTo>
                  <a:pt x="9842" y="4586"/>
                </a:moveTo>
                <a:lnTo>
                  <a:pt x="9842" y="4586"/>
                </a:lnTo>
                <a:lnTo>
                  <a:pt x="9840" y="4590"/>
                </a:lnTo>
                <a:lnTo>
                  <a:pt x="9840" y="4592"/>
                </a:lnTo>
                <a:lnTo>
                  <a:pt x="9844" y="4594"/>
                </a:lnTo>
                <a:lnTo>
                  <a:pt x="9846" y="4596"/>
                </a:lnTo>
                <a:lnTo>
                  <a:pt x="9848" y="4592"/>
                </a:lnTo>
                <a:lnTo>
                  <a:pt x="9848" y="4590"/>
                </a:lnTo>
                <a:lnTo>
                  <a:pt x="9846" y="4586"/>
                </a:lnTo>
                <a:lnTo>
                  <a:pt x="9844" y="4586"/>
                </a:lnTo>
                <a:lnTo>
                  <a:pt x="9842" y="4586"/>
                </a:lnTo>
                <a:close/>
                <a:moveTo>
                  <a:pt x="9868" y="4654"/>
                </a:moveTo>
                <a:lnTo>
                  <a:pt x="9868" y="4654"/>
                </a:lnTo>
                <a:lnTo>
                  <a:pt x="9872" y="4654"/>
                </a:lnTo>
                <a:lnTo>
                  <a:pt x="9870" y="4648"/>
                </a:lnTo>
                <a:lnTo>
                  <a:pt x="9868" y="4646"/>
                </a:lnTo>
                <a:lnTo>
                  <a:pt x="9868" y="4648"/>
                </a:lnTo>
                <a:lnTo>
                  <a:pt x="9866" y="4650"/>
                </a:lnTo>
                <a:lnTo>
                  <a:pt x="9868" y="4654"/>
                </a:lnTo>
                <a:close/>
                <a:moveTo>
                  <a:pt x="7488" y="3256"/>
                </a:moveTo>
                <a:lnTo>
                  <a:pt x="7488" y="3256"/>
                </a:lnTo>
                <a:lnTo>
                  <a:pt x="7494" y="3250"/>
                </a:lnTo>
                <a:lnTo>
                  <a:pt x="7496" y="3246"/>
                </a:lnTo>
                <a:lnTo>
                  <a:pt x="7496" y="3244"/>
                </a:lnTo>
                <a:lnTo>
                  <a:pt x="7492" y="3246"/>
                </a:lnTo>
                <a:lnTo>
                  <a:pt x="7486" y="3252"/>
                </a:lnTo>
                <a:lnTo>
                  <a:pt x="7474" y="3258"/>
                </a:lnTo>
                <a:lnTo>
                  <a:pt x="7460" y="3262"/>
                </a:lnTo>
                <a:lnTo>
                  <a:pt x="7454" y="3262"/>
                </a:lnTo>
                <a:lnTo>
                  <a:pt x="7446" y="3262"/>
                </a:lnTo>
                <a:lnTo>
                  <a:pt x="7438" y="3260"/>
                </a:lnTo>
                <a:lnTo>
                  <a:pt x="7436" y="3262"/>
                </a:lnTo>
                <a:lnTo>
                  <a:pt x="7434" y="3264"/>
                </a:lnTo>
                <a:lnTo>
                  <a:pt x="7432" y="3266"/>
                </a:lnTo>
                <a:lnTo>
                  <a:pt x="7432" y="3270"/>
                </a:lnTo>
                <a:lnTo>
                  <a:pt x="7430" y="3272"/>
                </a:lnTo>
                <a:lnTo>
                  <a:pt x="7428" y="3272"/>
                </a:lnTo>
                <a:lnTo>
                  <a:pt x="7420" y="3272"/>
                </a:lnTo>
                <a:lnTo>
                  <a:pt x="7416" y="3274"/>
                </a:lnTo>
                <a:lnTo>
                  <a:pt x="7414" y="3278"/>
                </a:lnTo>
                <a:lnTo>
                  <a:pt x="7410" y="3278"/>
                </a:lnTo>
                <a:lnTo>
                  <a:pt x="7406" y="3278"/>
                </a:lnTo>
                <a:lnTo>
                  <a:pt x="7406" y="3280"/>
                </a:lnTo>
                <a:lnTo>
                  <a:pt x="7410" y="3292"/>
                </a:lnTo>
                <a:lnTo>
                  <a:pt x="7412" y="3296"/>
                </a:lnTo>
                <a:lnTo>
                  <a:pt x="7416" y="3298"/>
                </a:lnTo>
                <a:lnTo>
                  <a:pt x="7422" y="3300"/>
                </a:lnTo>
                <a:lnTo>
                  <a:pt x="7426" y="3300"/>
                </a:lnTo>
                <a:lnTo>
                  <a:pt x="7432" y="3300"/>
                </a:lnTo>
                <a:lnTo>
                  <a:pt x="7436" y="3302"/>
                </a:lnTo>
                <a:lnTo>
                  <a:pt x="7438" y="3302"/>
                </a:lnTo>
                <a:lnTo>
                  <a:pt x="7438" y="3300"/>
                </a:lnTo>
                <a:lnTo>
                  <a:pt x="7440" y="3298"/>
                </a:lnTo>
                <a:lnTo>
                  <a:pt x="7442" y="3298"/>
                </a:lnTo>
                <a:lnTo>
                  <a:pt x="7448" y="3296"/>
                </a:lnTo>
                <a:lnTo>
                  <a:pt x="7456" y="3294"/>
                </a:lnTo>
                <a:lnTo>
                  <a:pt x="7458" y="3290"/>
                </a:lnTo>
                <a:lnTo>
                  <a:pt x="7462" y="3286"/>
                </a:lnTo>
                <a:lnTo>
                  <a:pt x="7464" y="3284"/>
                </a:lnTo>
                <a:lnTo>
                  <a:pt x="7468" y="3282"/>
                </a:lnTo>
                <a:lnTo>
                  <a:pt x="7474" y="3282"/>
                </a:lnTo>
                <a:lnTo>
                  <a:pt x="7480" y="3280"/>
                </a:lnTo>
                <a:lnTo>
                  <a:pt x="7478" y="3276"/>
                </a:lnTo>
                <a:lnTo>
                  <a:pt x="7474" y="3270"/>
                </a:lnTo>
                <a:lnTo>
                  <a:pt x="7474" y="3266"/>
                </a:lnTo>
                <a:lnTo>
                  <a:pt x="7480" y="3262"/>
                </a:lnTo>
                <a:lnTo>
                  <a:pt x="7488" y="3256"/>
                </a:lnTo>
                <a:close/>
                <a:moveTo>
                  <a:pt x="6684" y="3228"/>
                </a:moveTo>
                <a:lnTo>
                  <a:pt x="6684" y="3228"/>
                </a:lnTo>
                <a:lnTo>
                  <a:pt x="6684" y="3230"/>
                </a:lnTo>
                <a:lnTo>
                  <a:pt x="6686" y="3234"/>
                </a:lnTo>
                <a:lnTo>
                  <a:pt x="6688" y="3238"/>
                </a:lnTo>
                <a:lnTo>
                  <a:pt x="6692" y="3238"/>
                </a:lnTo>
                <a:lnTo>
                  <a:pt x="6692" y="3234"/>
                </a:lnTo>
                <a:lnTo>
                  <a:pt x="6690" y="3230"/>
                </a:lnTo>
                <a:lnTo>
                  <a:pt x="6688" y="3228"/>
                </a:lnTo>
                <a:lnTo>
                  <a:pt x="6684" y="3228"/>
                </a:lnTo>
                <a:close/>
                <a:moveTo>
                  <a:pt x="6456" y="4860"/>
                </a:moveTo>
                <a:lnTo>
                  <a:pt x="6456" y="4860"/>
                </a:lnTo>
                <a:lnTo>
                  <a:pt x="6448" y="4872"/>
                </a:lnTo>
                <a:lnTo>
                  <a:pt x="6446" y="4874"/>
                </a:lnTo>
                <a:lnTo>
                  <a:pt x="6448" y="4878"/>
                </a:lnTo>
                <a:lnTo>
                  <a:pt x="6448" y="4880"/>
                </a:lnTo>
                <a:lnTo>
                  <a:pt x="6452" y="4882"/>
                </a:lnTo>
                <a:lnTo>
                  <a:pt x="6456" y="4884"/>
                </a:lnTo>
                <a:lnTo>
                  <a:pt x="6456" y="4882"/>
                </a:lnTo>
                <a:lnTo>
                  <a:pt x="6464" y="4870"/>
                </a:lnTo>
                <a:lnTo>
                  <a:pt x="6466" y="4864"/>
                </a:lnTo>
                <a:lnTo>
                  <a:pt x="6466" y="4860"/>
                </a:lnTo>
                <a:lnTo>
                  <a:pt x="6466" y="4858"/>
                </a:lnTo>
                <a:lnTo>
                  <a:pt x="6464" y="4856"/>
                </a:lnTo>
                <a:lnTo>
                  <a:pt x="6460" y="4856"/>
                </a:lnTo>
                <a:lnTo>
                  <a:pt x="6456" y="4860"/>
                </a:lnTo>
                <a:close/>
                <a:moveTo>
                  <a:pt x="6376" y="5018"/>
                </a:moveTo>
                <a:lnTo>
                  <a:pt x="6376" y="5018"/>
                </a:lnTo>
                <a:lnTo>
                  <a:pt x="6372" y="5018"/>
                </a:lnTo>
                <a:lnTo>
                  <a:pt x="6370" y="5020"/>
                </a:lnTo>
                <a:lnTo>
                  <a:pt x="6368" y="5026"/>
                </a:lnTo>
                <a:lnTo>
                  <a:pt x="6366" y="5032"/>
                </a:lnTo>
                <a:lnTo>
                  <a:pt x="6368" y="5038"/>
                </a:lnTo>
                <a:lnTo>
                  <a:pt x="6370" y="5038"/>
                </a:lnTo>
                <a:lnTo>
                  <a:pt x="6372" y="5036"/>
                </a:lnTo>
                <a:lnTo>
                  <a:pt x="6376" y="5030"/>
                </a:lnTo>
                <a:lnTo>
                  <a:pt x="6378" y="5024"/>
                </a:lnTo>
                <a:lnTo>
                  <a:pt x="6378" y="5020"/>
                </a:lnTo>
                <a:lnTo>
                  <a:pt x="6376" y="5018"/>
                </a:lnTo>
                <a:close/>
                <a:moveTo>
                  <a:pt x="5466" y="4460"/>
                </a:moveTo>
                <a:lnTo>
                  <a:pt x="5466" y="4460"/>
                </a:lnTo>
                <a:lnTo>
                  <a:pt x="5466" y="4458"/>
                </a:lnTo>
                <a:lnTo>
                  <a:pt x="5464" y="4458"/>
                </a:lnTo>
                <a:lnTo>
                  <a:pt x="5462" y="4458"/>
                </a:lnTo>
                <a:lnTo>
                  <a:pt x="5458" y="4460"/>
                </a:lnTo>
                <a:lnTo>
                  <a:pt x="5458" y="4462"/>
                </a:lnTo>
                <a:lnTo>
                  <a:pt x="5462" y="4464"/>
                </a:lnTo>
                <a:lnTo>
                  <a:pt x="5466" y="4460"/>
                </a:lnTo>
                <a:close/>
                <a:moveTo>
                  <a:pt x="5468" y="4472"/>
                </a:moveTo>
                <a:lnTo>
                  <a:pt x="5468" y="4472"/>
                </a:lnTo>
                <a:lnTo>
                  <a:pt x="5466" y="4472"/>
                </a:lnTo>
                <a:lnTo>
                  <a:pt x="5464" y="4474"/>
                </a:lnTo>
                <a:lnTo>
                  <a:pt x="5462" y="4476"/>
                </a:lnTo>
                <a:lnTo>
                  <a:pt x="5462" y="4478"/>
                </a:lnTo>
                <a:lnTo>
                  <a:pt x="5466" y="4478"/>
                </a:lnTo>
                <a:lnTo>
                  <a:pt x="5468" y="4476"/>
                </a:lnTo>
                <a:lnTo>
                  <a:pt x="5468" y="4472"/>
                </a:lnTo>
                <a:close/>
                <a:moveTo>
                  <a:pt x="5454" y="4498"/>
                </a:moveTo>
                <a:lnTo>
                  <a:pt x="5454" y="4498"/>
                </a:lnTo>
                <a:lnTo>
                  <a:pt x="5456" y="4500"/>
                </a:lnTo>
                <a:lnTo>
                  <a:pt x="5458" y="4500"/>
                </a:lnTo>
                <a:lnTo>
                  <a:pt x="5460" y="4500"/>
                </a:lnTo>
                <a:lnTo>
                  <a:pt x="5462" y="4496"/>
                </a:lnTo>
                <a:lnTo>
                  <a:pt x="5460" y="4492"/>
                </a:lnTo>
                <a:lnTo>
                  <a:pt x="5458" y="4492"/>
                </a:lnTo>
                <a:lnTo>
                  <a:pt x="5456" y="4494"/>
                </a:lnTo>
                <a:lnTo>
                  <a:pt x="5454" y="4498"/>
                </a:lnTo>
                <a:close/>
                <a:moveTo>
                  <a:pt x="5466" y="4492"/>
                </a:moveTo>
                <a:lnTo>
                  <a:pt x="5466" y="4492"/>
                </a:lnTo>
                <a:lnTo>
                  <a:pt x="5464" y="4492"/>
                </a:lnTo>
                <a:lnTo>
                  <a:pt x="5464" y="4496"/>
                </a:lnTo>
                <a:lnTo>
                  <a:pt x="5466" y="4498"/>
                </a:lnTo>
                <a:lnTo>
                  <a:pt x="5468" y="4498"/>
                </a:lnTo>
                <a:lnTo>
                  <a:pt x="5470" y="4496"/>
                </a:lnTo>
                <a:lnTo>
                  <a:pt x="5468" y="4494"/>
                </a:lnTo>
                <a:lnTo>
                  <a:pt x="5466" y="4492"/>
                </a:lnTo>
                <a:close/>
                <a:moveTo>
                  <a:pt x="5474" y="4492"/>
                </a:moveTo>
                <a:lnTo>
                  <a:pt x="5474" y="4492"/>
                </a:lnTo>
                <a:lnTo>
                  <a:pt x="5476" y="4492"/>
                </a:lnTo>
                <a:lnTo>
                  <a:pt x="5478" y="4490"/>
                </a:lnTo>
                <a:lnTo>
                  <a:pt x="5478" y="4488"/>
                </a:lnTo>
                <a:lnTo>
                  <a:pt x="5478" y="4486"/>
                </a:lnTo>
                <a:lnTo>
                  <a:pt x="5476" y="4486"/>
                </a:lnTo>
                <a:lnTo>
                  <a:pt x="5474" y="4488"/>
                </a:lnTo>
                <a:lnTo>
                  <a:pt x="5474" y="4492"/>
                </a:lnTo>
                <a:close/>
                <a:moveTo>
                  <a:pt x="5456" y="4486"/>
                </a:moveTo>
                <a:lnTo>
                  <a:pt x="5456" y="4486"/>
                </a:lnTo>
                <a:lnTo>
                  <a:pt x="5454" y="4486"/>
                </a:lnTo>
                <a:lnTo>
                  <a:pt x="5454" y="4488"/>
                </a:lnTo>
                <a:lnTo>
                  <a:pt x="5454" y="4490"/>
                </a:lnTo>
                <a:lnTo>
                  <a:pt x="5456" y="4490"/>
                </a:lnTo>
                <a:lnTo>
                  <a:pt x="5458" y="4488"/>
                </a:lnTo>
                <a:lnTo>
                  <a:pt x="5456" y="4486"/>
                </a:lnTo>
                <a:close/>
                <a:moveTo>
                  <a:pt x="5448" y="4476"/>
                </a:moveTo>
                <a:lnTo>
                  <a:pt x="5448" y="4476"/>
                </a:lnTo>
                <a:lnTo>
                  <a:pt x="5450" y="4476"/>
                </a:lnTo>
                <a:lnTo>
                  <a:pt x="5454" y="4474"/>
                </a:lnTo>
                <a:lnTo>
                  <a:pt x="5454" y="4472"/>
                </a:lnTo>
                <a:lnTo>
                  <a:pt x="5450" y="4472"/>
                </a:lnTo>
                <a:lnTo>
                  <a:pt x="5448" y="4474"/>
                </a:lnTo>
                <a:lnTo>
                  <a:pt x="5448" y="4476"/>
                </a:lnTo>
                <a:close/>
                <a:moveTo>
                  <a:pt x="5480" y="4474"/>
                </a:moveTo>
                <a:lnTo>
                  <a:pt x="5480" y="4474"/>
                </a:lnTo>
                <a:lnTo>
                  <a:pt x="5484" y="4474"/>
                </a:lnTo>
                <a:lnTo>
                  <a:pt x="5484" y="4472"/>
                </a:lnTo>
                <a:lnTo>
                  <a:pt x="5482" y="4470"/>
                </a:lnTo>
                <a:lnTo>
                  <a:pt x="5480" y="4472"/>
                </a:lnTo>
                <a:lnTo>
                  <a:pt x="5480" y="4474"/>
                </a:lnTo>
                <a:close/>
                <a:moveTo>
                  <a:pt x="6488" y="2842"/>
                </a:moveTo>
                <a:lnTo>
                  <a:pt x="6488" y="2842"/>
                </a:lnTo>
                <a:lnTo>
                  <a:pt x="6484" y="2842"/>
                </a:lnTo>
                <a:lnTo>
                  <a:pt x="6484" y="2844"/>
                </a:lnTo>
                <a:lnTo>
                  <a:pt x="6484" y="2852"/>
                </a:lnTo>
                <a:lnTo>
                  <a:pt x="6482" y="2858"/>
                </a:lnTo>
                <a:lnTo>
                  <a:pt x="6482" y="2860"/>
                </a:lnTo>
                <a:lnTo>
                  <a:pt x="6480" y="2860"/>
                </a:lnTo>
                <a:lnTo>
                  <a:pt x="6476" y="2858"/>
                </a:lnTo>
                <a:lnTo>
                  <a:pt x="6472" y="2860"/>
                </a:lnTo>
                <a:lnTo>
                  <a:pt x="6468" y="2862"/>
                </a:lnTo>
                <a:lnTo>
                  <a:pt x="6464" y="2866"/>
                </a:lnTo>
                <a:lnTo>
                  <a:pt x="6460" y="2868"/>
                </a:lnTo>
                <a:lnTo>
                  <a:pt x="6458" y="2868"/>
                </a:lnTo>
                <a:lnTo>
                  <a:pt x="6456" y="2872"/>
                </a:lnTo>
                <a:lnTo>
                  <a:pt x="6454" y="2884"/>
                </a:lnTo>
                <a:lnTo>
                  <a:pt x="6454" y="2898"/>
                </a:lnTo>
                <a:lnTo>
                  <a:pt x="6454" y="2902"/>
                </a:lnTo>
                <a:lnTo>
                  <a:pt x="6456" y="2904"/>
                </a:lnTo>
                <a:lnTo>
                  <a:pt x="6460" y="2904"/>
                </a:lnTo>
                <a:lnTo>
                  <a:pt x="6460" y="2906"/>
                </a:lnTo>
                <a:lnTo>
                  <a:pt x="6458" y="2910"/>
                </a:lnTo>
                <a:lnTo>
                  <a:pt x="6456" y="2912"/>
                </a:lnTo>
                <a:lnTo>
                  <a:pt x="6462" y="2914"/>
                </a:lnTo>
                <a:lnTo>
                  <a:pt x="6464" y="2916"/>
                </a:lnTo>
                <a:lnTo>
                  <a:pt x="6462" y="2918"/>
                </a:lnTo>
                <a:lnTo>
                  <a:pt x="6460" y="2922"/>
                </a:lnTo>
                <a:lnTo>
                  <a:pt x="6460" y="2924"/>
                </a:lnTo>
                <a:lnTo>
                  <a:pt x="6464" y="2924"/>
                </a:lnTo>
                <a:lnTo>
                  <a:pt x="6470" y="2930"/>
                </a:lnTo>
                <a:lnTo>
                  <a:pt x="6474" y="2932"/>
                </a:lnTo>
                <a:lnTo>
                  <a:pt x="6474" y="2934"/>
                </a:lnTo>
                <a:lnTo>
                  <a:pt x="6476" y="2934"/>
                </a:lnTo>
                <a:lnTo>
                  <a:pt x="6480" y="2932"/>
                </a:lnTo>
                <a:lnTo>
                  <a:pt x="6480" y="2930"/>
                </a:lnTo>
                <a:lnTo>
                  <a:pt x="6480" y="2926"/>
                </a:lnTo>
                <a:lnTo>
                  <a:pt x="6480" y="2924"/>
                </a:lnTo>
                <a:lnTo>
                  <a:pt x="6484" y="2922"/>
                </a:lnTo>
                <a:lnTo>
                  <a:pt x="6486" y="2918"/>
                </a:lnTo>
                <a:lnTo>
                  <a:pt x="6486" y="2904"/>
                </a:lnTo>
                <a:lnTo>
                  <a:pt x="6488" y="2900"/>
                </a:lnTo>
                <a:lnTo>
                  <a:pt x="6490" y="2896"/>
                </a:lnTo>
                <a:lnTo>
                  <a:pt x="6492" y="2890"/>
                </a:lnTo>
                <a:lnTo>
                  <a:pt x="6492" y="2880"/>
                </a:lnTo>
                <a:lnTo>
                  <a:pt x="6490" y="2870"/>
                </a:lnTo>
                <a:lnTo>
                  <a:pt x="6490" y="2864"/>
                </a:lnTo>
                <a:lnTo>
                  <a:pt x="6488" y="2860"/>
                </a:lnTo>
                <a:lnTo>
                  <a:pt x="6488" y="2858"/>
                </a:lnTo>
                <a:lnTo>
                  <a:pt x="6490" y="2848"/>
                </a:lnTo>
                <a:lnTo>
                  <a:pt x="6488" y="2844"/>
                </a:lnTo>
                <a:lnTo>
                  <a:pt x="6488" y="2842"/>
                </a:lnTo>
                <a:close/>
                <a:moveTo>
                  <a:pt x="6706" y="3110"/>
                </a:moveTo>
                <a:lnTo>
                  <a:pt x="6706" y="3110"/>
                </a:lnTo>
                <a:lnTo>
                  <a:pt x="6702" y="3110"/>
                </a:lnTo>
                <a:lnTo>
                  <a:pt x="6696" y="3112"/>
                </a:lnTo>
                <a:lnTo>
                  <a:pt x="6682" y="3118"/>
                </a:lnTo>
                <a:lnTo>
                  <a:pt x="6674" y="3120"/>
                </a:lnTo>
                <a:lnTo>
                  <a:pt x="6666" y="3120"/>
                </a:lnTo>
                <a:lnTo>
                  <a:pt x="6658" y="3118"/>
                </a:lnTo>
                <a:lnTo>
                  <a:pt x="6652" y="3114"/>
                </a:lnTo>
                <a:lnTo>
                  <a:pt x="6644" y="3108"/>
                </a:lnTo>
                <a:lnTo>
                  <a:pt x="6638" y="3108"/>
                </a:lnTo>
                <a:lnTo>
                  <a:pt x="6634" y="3108"/>
                </a:lnTo>
                <a:lnTo>
                  <a:pt x="6632" y="3112"/>
                </a:lnTo>
                <a:lnTo>
                  <a:pt x="6628" y="3116"/>
                </a:lnTo>
                <a:lnTo>
                  <a:pt x="6626" y="3116"/>
                </a:lnTo>
                <a:lnTo>
                  <a:pt x="6622" y="3112"/>
                </a:lnTo>
                <a:lnTo>
                  <a:pt x="6622" y="3110"/>
                </a:lnTo>
                <a:lnTo>
                  <a:pt x="6620" y="3110"/>
                </a:lnTo>
                <a:lnTo>
                  <a:pt x="6614" y="3112"/>
                </a:lnTo>
                <a:lnTo>
                  <a:pt x="6610" y="3120"/>
                </a:lnTo>
                <a:lnTo>
                  <a:pt x="6610" y="3132"/>
                </a:lnTo>
                <a:lnTo>
                  <a:pt x="6610" y="3136"/>
                </a:lnTo>
                <a:lnTo>
                  <a:pt x="6614" y="3140"/>
                </a:lnTo>
                <a:lnTo>
                  <a:pt x="6628" y="3144"/>
                </a:lnTo>
                <a:lnTo>
                  <a:pt x="6640" y="3150"/>
                </a:lnTo>
                <a:lnTo>
                  <a:pt x="6650" y="3158"/>
                </a:lnTo>
                <a:lnTo>
                  <a:pt x="6660" y="3164"/>
                </a:lnTo>
                <a:lnTo>
                  <a:pt x="6666" y="3166"/>
                </a:lnTo>
                <a:lnTo>
                  <a:pt x="6670" y="3168"/>
                </a:lnTo>
                <a:lnTo>
                  <a:pt x="6678" y="3170"/>
                </a:lnTo>
                <a:lnTo>
                  <a:pt x="6684" y="3176"/>
                </a:lnTo>
                <a:lnTo>
                  <a:pt x="6692" y="3182"/>
                </a:lnTo>
                <a:lnTo>
                  <a:pt x="6702" y="3186"/>
                </a:lnTo>
                <a:lnTo>
                  <a:pt x="6714" y="3192"/>
                </a:lnTo>
                <a:lnTo>
                  <a:pt x="6716" y="3190"/>
                </a:lnTo>
                <a:lnTo>
                  <a:pt x="6716" y="3186"/>
                </a:lnTo>
                <a:lnTo>
                  <a:pt x="6718" y="3178"/>
                </a:lnTo>
                <a:lnTo>
                  <a:pt x="6720" y="3170"/>
                </a:lnTo>
                <a:lnTo>
                  <a:pt x="6720" y="3162"/>
                </a:lnTo>
                <a:lnTo>
                  <a:pt x="6720" y="3158"/>
                </a:lnTo>
                <a:lnTo>
                  <a:pt x="6716" y="3154"/>
                </a:lnTo>
                <a:lnTo>
                  <a:pt x="6714" y="3152"/>
                </a:lnTo>
                <a:lnTo>
                  <a:pt x="6716" y="3146"/>
                </a:lnTo>
                <a:lnTo>
                  <a:pt x="6720" y="3130"/>
                </a:lnTo>
                <a:lnTo>
                  <a:pt x="6736" y="3104"/>
                </a:lnTo>
                <a:lnTo>
                  <a:pt x="6736" y="3102"/>
                </a:lnTo>
                <a:lnTo>
                  <a:pt x="6734" y="3102"/>
                </a:lnTo>
                <a:lnTo>
                  <a:pt x="6728" y="3106"/>
                </a:lnTo>
                <a:lnTo>
                  <a:pt x="6716" y="3110"/>
                </a:lnTo>
                <a:lnTo>
                  <a:pt x="6712" y="3110"/>
                </a:lnTo>
                <a:lnTo>
                  <a:pt x="6706" y="3110"/>
                </a:lnTo>
                <a:close/>
                <a:moveTo>
                  <a:pt x="6434" y="2968"/>
                </a:moveTo>
                <a:lnTo>
                  <a:pt x="6434" y="2968"/>
                </a:lnTo>
                <a:lnTo>
                  <a:pt x="6436" y="2972"/>
                </a:lnTo>
                <a:lnTo>
                  <a:pt x="6438" y="2976"/>
                </a:lnTo>
                <a:lnTo>
                  <a:pt x="6442" y="2982"/>
                </a:lnTo>
                <a:lnTo>
                  <a:pt x="6446" y="2990"/>
                </a:lnTo>
                <a:lnTo>
                  <a:pt x="6446" y="2996"/>
                </a:lnTo>
                <a:lnTo>
                  <a:pt x="6446" y="3004"/>
                </a:lnTo>
                <a:lnTo>
                  <a:pt x="6446" y="3012"/>
                </a:lnTo>
                <a:lnTo>
                  <a:pt x="6448" y="3016"/>
                </a:lnTo>
                <a:lnTo>
                  <a:pt x="6448" y="3020"/>
                </a:lnTo>
                <a:lnTo>
                  <a:pt x="6446" y="3030"/>
                </a:lnTo>
                <a:lnTo>
                  <a:pt x="6446" y="3046"/>
                </a:lnTo>
                <a:lnTo>
                  <a:pt x="6448" y="3058"/>
                </a:lnTo>
                <a:lnTo>
                  <a:pt x="6450" y="3064"/>
                </a:lnTo>
                <a:lnTo>
                  <a:pt x="6454" y="3068"/>
                </a:lnTo>
                <a:lnTo>
                  <a:pt x="6458" y="3070"/>
                </a:lnTo>
                <a:lnTo>
                  <a:pt x="6462" y="3070"/>
                </a:lnTo>
                <a:lnTo>
                  <a:pt x="6466" y="3068"/>
                </a:lnTo>
                <a:lnTo>
                  <a:pt x="6468" y="3066"/>
                </a:lnTo>
                <a:lnTo>
                  <a:pt x="6472" y="3060"/>
                </a:lnTo>
                <a:lnTo>
                  <a:pt x="6474" y="3054"/>
                </a:lnTo>
                <a:lnTo>
                  <a:pt x="6476" y="3054"/>
                </a:lnTo>
                <a:lnTo>
                  <a:pt x="6480" y="3056"/>
                </a:lnTo>
                <a:lnTo>
                  <a:pt x="6488" y="3058"/>
                </a:lnTo>
                <a:lnTo>
                  <a:pt x="6490" y="3056"/>
                </a:lnTo>
                <a:lnTo>
                  <a:pt x="6492" y="3054"/>
                </a:lnTo>
                <a:lnTo>
                  <a:pt x="6496" y="3044"/>
                </a:lnTo>
                <a:lnTo>
                  <a:pt x="6498" y="3024"/>
                </a:lnTo>
                <a:lnTo>
                  <a:pt x="6500" y="3016"/>
                </a:lnTo>
                <a:lnTo>
                  <a:pt x="6500" y="3008"/>
                </a:lnTo>
                <a:lnTo>
                  <a:pt x="6496" y="3000"/>
                </a:lnTo>
                <a:lnTo>
                  <a:pt x="6496" y="2996"/>
                </a:lnTo>
                <a:lnTo>
                  <a:pt x="6498" y="2990"/>
                </a:lnTo>
                <a:lnTo>
                  <a:pt x="6502" y="2984"/>
                </a:lnTo>
                <a:lnTo>
                  <a:pt x="6502" y="2980"/>
                </a:lnTo>
                <a:lnTo>
                  <a:pt x="6502" y="2968"/>
                </a:lnTo>
                <a:lnTo>
                  <a:pt x="6498" y="2958"/>
                </a:lnTo>
                <a:lnTo>
                  <a:pt x="6494" y="2950"/>
                </a:lnTo>
                <a:lnTo>
                  <a:pt x="6488" y="2944"/>
                </a:lnTo>
                <a:lnTo>
                  <a:pt x="6486" y="2942"/>
                </a:lnTo>
                <a:lnTo>
                  <a:pt x="6484" y="2942"/>
                </a:lnTo>
                <a:lnTo>
                  <a:pt x="6480" y="2944"/>
                </a:lnTo>
                <a:lnTo>
                  <a:pt x="6474" y="2946"/>
                </a:lnTo>
                <a:lnTo>
                  <a:pt x="6460" y="2956"/>
                </a:lnTo>
                <a:lnTo>
                  <a:pt x="6454" y="2962"/>
                </a:lnTo>
                <a:lnTo>
                  <a:pt x="6448" y="2962"/>
                </a:lnTo>
                <a:lnTo>
                  <a:pt x="6442" y="2962"/>
                </a:lnTo>
                <a:lnTo>
                  <a:pt x="6440" y="2960"/>
                </a:lnTo>
                <a:lnTo>
                  <a:pt x="6438" y="2958"/>
                </a:lnTo>
                <a:lnTo>
                  <a:pt x="6436" y="2958"/>
                </a:lnTo>
                <a:lnTo>
                  <a:pt x="6434" y="2968"/>
                </a:lnTo>
                <a:close/>
                <a:moveTo>
                  <a:pt x="6714" y="2136"/>
                </a:moveTo>
                <a:lnTo>
                  <a:pt x="6714" y="2136"/>
                </a:lnTo>
                <a:lnTo>
                  <a:pt x="6718" y="2134"/>
                </a:lnTo>
                <a:lnTo>
                  <a:pt x="6718" y="2132"/>
                </a:lnTo>
                <a:lnTo>
                  <a:pt x="6716" y="2128"/>
                </a:lnTo>
                <a:lnTo>
                  <a:pt x="6714" y="2124"/>
                </a:lnTo>
                <a:lnTo>
                  <a:pt x="6706" y="2120"/>
                </a:lnTo>
                <a:lnTo>
                  <a:pt x="6702" y="2118"/>
                </a:lnTo>
                <a:lnTo>
                  <a:pt x="6700" y="2118"/>
                </a:lnTo>
                <a:lnTo>
                  <a:pt x="6698" y="2122"/>
                </a:lnTo>
                <a:lnTo>
                  <a:pt x="6702" y="2130"/>
                </a:lnTo>
                <a:lnTo>
                  <a:pt x="6706" y="2136"/>
                </a:lnTo>
                <a:lnTo>
                  <a:pt x="6710" y="2136"/>
                </a:lnTo>
                <a:lnTo>
                  <a:pt x="6714" y="2136"/>
                </a:lnTo>
                <a:close/>
                <a:moveTo>
                  <a:pt x="6546" y="1994"/>
                </a:moveTo>
                <a:lnTo>
                  <a:pt x="6546" y="1994"/>
                </a:lnTo>
                <a:lnTo>
                  <a:pt x="6546" y="1996"/>
                </a:lnTo>
                <a:lnTo>
                  <a:pt x="6548" y="1996"/>
                </a:lnTo>
                <a:lnTo>
                  <a:pt x="6556" y="1992"/>
                </a:lnTo>
                <a:lnTo>
                  <a:pt x="6556" y="1990"/>
                </a:lnTo>
                <a:lnTo>
                  <a:pt x="6552" y="1990"/>
                </a:lnTo>
                <a:lnTo>
                  <a:pt x="6548" y="1992"/>
                </a:lnTo>
                <a:lnTo>
                  <a:pt x="6546" y="1994"/>
                </a:lnTo>
                <a:close/>
                <a:moveTo>
                  <a:pt x="6520" y="2132"/>
                </a:moveTo>
                <a:lnTo>
                  <a:pt x="6520" y="2132"/>
                </a:lnTo>
                <a:lnTo>
                  <a:pt x="6530" y="2134"/>
                </a:lnTo>
                <a:lnTo>
                  <a:pt x="6536" y="2132"/>
                </a:lnTo>
                <a:lnTo>
                  <a:pt x="6542" y="2128"/>
                </a:lnTo>
                <a:lnTo>
                  <a:pt x="6542" y="2126"/>
                </a:lnTo>
                <a:lnTo>
                  <a:pt x="6544" y="2124"/>
                </a:lnTo>
                <a:lnTo>
                  <a:pt x="6542" y="2118"/>
                </a:lnTo>
                <a:lnTo>
                  <a:pt x="6540" y="2112"/>
                </a:lnTo>
                <a:lnTo>
                  <a:pt x="6540" y="2108"/>
                </a:lnTo>
                <a:lnTo>
                  <a:pt x="6540" y="2104"/>
                </a:lnTo>
                <a:lnTo>
                  <a:pt x="6538" y="2102"/>
                </a:lnTo>
                <a:lnTo>
                  <a:pt x="6534" y="2100"/>
                </a:lnTo>
                <a:lnTo>
                  <a:pt x="6534" y="2102"/>
                </a:lnTo>
                <a:lnTo>
                  <a:pt x="6534" y="2104"/>
                </a:lnTo>
                <a:lnTo>
                  <a:pt x="6532" y="2104"/>
                </a:lnTo>
                <a:lnTo>
                  <a:pt x="6524" y="2100"/>
                </a:lnTo>
                <a:lnTo>
                  <a:pt x="6520" y="2100"/>
                </a:lnTo>
                <a:lnTo>
                  <a:pt x="6514" y="2102"/>
                </a:lnTo>
                <a:lnTo>
                  <a:pt x="6508" y="2104"/>
                </a:lnTo>
                <a:lnTo>
                  <a:pt x="6504" y="2104"/>
                </a:lnTo>
                <a:lnTo>
                  <a:pt x="6500" y="2104"/>
                </a:lnTo>
                <a:lnTo>
                  <a:pt x="6498" y="2104"/>
                </a:lnTo>
                <a:lnTo>
                  <a:pt x="6498" y="2108"/>
                </a:lnTo>
                <a:lnTo>
                  <a:pt x="6500" y="2110"/>
                </a:lnTo>
                <a:lnTo>
                  <a:pt x="6504" y="2114"/>
                </a:lnTo>
                <a:lnTo>
                  <a:pt x="6508" y="2122"/>
                </a:lnTo>
                <a:lnTo>
                  <a:pt x="6510" y="2126"/>
                </a:lnTo>
                <a:lnTo>
                  <a:pt x="6512" y="2124"/>
                </a:lnTo>
                <a:lnTo>
                  <a:pt x="6514" y="2126"/>
                </a:lnTo>
                <a:lnTo>
                  <a:pt x="6516" y="2126"/>
                </a:lnTo>
                <a:lnTo>
                  <a:pt x="6514" y="2128"/>
                </a:lnTo>
                <a:lnTo>
                  <a:pt x="6516" y="2130"/>
                </a:lnTo>
                <a:lnTo>
                  <a:pt x="6520" y="2132"/>
                </a:lnTo>
                <a:close/>
                <a:moveTo>
                  <a:pt x="6534" y="2078"/>
                </a:moveTo>
                <a:lnTo>
                  <a:pt x="6534" y="2078"/>
                </a:lnTo>
                <a:lnTo>
                  <a:pt x="6532" y="2078"/>
                </a:lnTo>
                <a:lnTo>
                  <a:pt x="6532" y="2080"/>
                </a:lnTo>
                <a:lnTo>
                  <a:pt x="6532" y="2086"/>
                </a:lnTo>
                <a:lnTo>
                  <a:pt x="6534" y="2090"/>
                </a:lnTo>
                <a:lnTo>
                  <a:pt x="6534" y="2088"/>
                </a:lnTo>
                <a:lnTo>
                  <a:pt x="6536" y="2086"/>
                </a:lnTo>
                <a:lnTo>
                  <a:pt x="6536" y="2082"/>
                </a:lnTo>
                <a:lnTo>
                  <a:pt x="6534" y="2078"/>
                </a:lnTo>
                <a:close/>
                <a:moveTo>
                  <a:pt x="6544" y="2134"/>
                </a:moveTo>
                <a:lnTo>
                  <a:pt x="6544" y="2134"/>
                </a:lnTo>
                <a:lnTo>
                  <a:pt x="6544" y="2132"/>
                </a:lnTo>
                <a:lnTo>
                  <a:pt x="6544" y="2130"/>
                </a:lnTo>
                <a:lnTo>
                  <a:pt x="6542" y="2132"/>
                </a:lnTo>
                <a:lnTo>
                  <a:pt x="6540" y="2134"/>
                </a:lnTo>
                <a:lnTo>
                  <a:pt x="6534" y="2144"/>
                </a:lnTo>
                <a:lnTo>
                  <a:pt x="6532" y="2148"/>
                </a:lnTo>
                <a:lnTo>
                  <a:pt x="6532" y="2152"/>
                </a:lnTo>
                <a:lnTo>
                  <a:pt x="6534" y="2154"/>
                </a:lnTo>
                <a:lnTo>
                  <a:pt x="6536" y="2154"/>
                </a:lnTo>
                <a:lnTo>
                  <a:pt x="6538" y="2148"/>
                </a:lnTo>
                <a:lnTo>
                  <a:pt x="6544" y="2134"/>
                </a:lnTo>
                <a:close/>
                <a:moveTo>
                  <a:pt x="6582" y="2150"/>
                </a:moveTo>
                <a:lnTo>
                  <a:pt x="6582" y="2150"/>
                </a:lnTo>
                <a:lnTo>
                  <a:pt x="6578" y="2144"/>
                </a:lnTo>
                <a:lnTo>
                  <a:pt x="6576" y="2142"/>
                </a:lnTo>
                <a:lnTo>
                  <a:pt x="6576" y="2144"/>
                </a:lnTo>
                <a:lnTo>
                  <a:pt x="6574" y="2146"/>
                </a:lnTo>
                <a:lnTo>
                  <a:pt x="6572" y="2146"/>
                </a:lnTo>
                <a:lnTo>
                  <a:pt x="6562" y="2140"/>
                </a:lnTo>
                <a:lnTo>
                  <a:pt x="6556" y="2138"/>
                </a:lnTo>
                <a:lnTo>
                  <a:pt x="6552" y="2140"/>
                </a:lnTo>
                <a:lnTo>
                  <a:pt x="6552" y="2144"/>
                </a:lnTo>
                <a:lnTo>
                  <a:pt x="6552" y="2148"/>
                </a:lnTo>
                <a:lnTo>
                  <a:pt x="6554" y="2152"/>
                </a:lnTo>
                <a:lnTo>
                  <a:pt x="6560" y="2156"/>
                </a:lnTo>
                <a:lnTo>
                  <a:pt x="6570" y="2158"/>
                </a:lnTo>
                <a:lnTo>
                  <a:pt x="6578" y="2158"/>
                </a:lnTo>
                <a:lnTo>
                  <a:pt x="6582" y="2158"/>
                </a:lnTo>
                <a:lnTo>
                  <a:pt x="6584" y="2156"/>
                </a:lnTo>
                <a:lnTo>
                  <a:pt x="6582" y="2150"/>
                </a:lnTo>
                <a:close/>
                <a:moveTo>
                  <a:pt x="6566" y="2088"/>
                </a:moveTo>
                <a:lnTo>
                  <a:pt x="6566" y="2088"/>
                </a:lnTo>
                <a:lnTo>
                  <a:pt x="6560" y="2090"/>
                </a:lnTo>
                <a:lnTo>
                  <a:pt x="6554" y="2090"/>
                </a:lnTo>
                <a:lnTo>
                  <a:pt x="6550" y="2090"/>
                </a:lnTo>
                <a:lnTo>
                  <a:pt x="6546" y="2090"/>
                </a:lnTo>
                <a:lnTo>
                  <a:pt x="6544" y="2092"/>
                </a:lnTo>
                <a:lnTo>
                  <a:pt x="6546" y="2094"/>
                </a:lnTo>
                <a:lnTo>
                  <a:pt x="6550" y="2096"/>
                </a:lnTo>
                <a:lnTo>
                  <a:pt x="6554" y="2100"/>
                </a:lnTo>
                <a:lnTo>
                  <a:pt x="6556" y="2100"/>
                </a:lnTo>
                <a:lnTo>
                  <a:pt x="6554" y="2102"/>
                </a:lnTo>
                <a:lnTo>
                  <a:pt x="6554" y="2106"/>
                </a:lnTo>
                <a:lnTo>
                  <a:pt x="6556" y="2108"/>
                </a:lnTo>
                <a:lnTo>
                  <a:pt x="6558" y="2110"/>
                </a:lnTo>
                <a:lnTo>
                  <a:pt x="6556" y="2114"/>
                </a:lnTo>
                <a:lnTo>
                  <a:pt x="6554" y="2116"/>
                </a:lnTo>
                <a:lnTo>
                  <a:pt x="6556" y="2116"/>
                </a:lnTo>
                <a:lnTo>
                  <a:pt x="6558" y="2118"/>
                </a:lnTo>
                <a:lnTo>
                  <a:pt x="6560" y="2122"/>
                </a:lnTo>
                <a:lnTo>
                  <a:pt x="6560" y="2124"/>
                </a:lnTo>
                <a:lnTo>
                  <a:pt x="6564" y="2124"/>
                </a:lnTo>
                <a:lnTo>
                  <a:pt x="6566" y="2124"/>
                </a:lnTo>
                <a:lnTo>
                  <a:pt x="6570" y="2124"/>
                </a:lnTo>
                <a:lnTo>
                  <a:pt x="6574" y="2124"/>
                </a:lnTo>
                <a:lnTo>
                  <a:pt x="6576" y="2124"/>
                </a:lnTo>
                <a:lnTo>
                  <a:pt x="6578" y="2124"/>
                </a:lnTo>
                <a:lnTo>
                  <a:pt x="6580" y="2128"/>
                </a:lnTo>
                <a:lnTo>
                  <a:pt x="6580" y="2130"/>
                </a:lnTo>
                <a:lnTo>
                  <a:pt x="6578" y="2132"/>
                </a:lnTo>
                <a:lnTo>
                  <a:pt x="6576" y="2132"/>
                </a:lnTo>
                <a:lnTo>
                  <a:pt x="6574" y="2132"/>
                </a:lnTo>
                <a:lnTo>
                  <a:pt x="6576" y="2134"/>
                </a:lnTo>
                <a:lnTo>
                  <a:pt x="6580" y="2136"/>
                </a:lnTo>
                <a:lnTo>
                  <a:pt x="6582" y="2138"/>
                </a:lnTo>
                <a:lnTo>
                  <a:pt x="6582" y="2140"/>
                </a:lnTo>
                <a:lnTo>
                  <a:pt x="6580" y="2140"/>
                </a:lnTo>
                <a:lnTo>
                  <a:pt x="6580" y="2144"/>
                </a:lnTo>
                <a:lnTo>
                  <a:pt x="6586" y="2150"/>
                </a:lnTo>
                <a:lnTo>
                  <a:pt x="6588" y="2154"/>
                </a:lnTo>
                <a:lnTo>
                  <a:pt x="6588" y="2158"/>
                </a:lnTo>
                <a:lnTo>
                  <a:pt x="6588" y="2160"/>
                </a:lnTo>
                <a:lnTo>
                  <a:pt x="6590" y="2164"/>
                </a:lnTo>
                <a:lnTo>
                  <a:pt x="6592" y="2164"/>
                </a:lnTo>
                <a:lnTo>
                  <a:pt x="6592" y="2160"/>
                </a:lnTo>
                <a:lnTo>
                  <a:pt x="6592" y="2156"/>
                </a:lnTo>
                <a:lnTo>
                  <a:pt x="6594" y="2150"/>
                </a:lnTo>
                <a:lnTo>
                  <a:pt x="6596" y="2148"/>
                </a:lnTo>
                <a:lnTo>
                  <a:pt x="6598" y="2146"/>
                </a:lnTo>
                <a:lnTo>
                  <a:pt x="6592" y="2142"/>
                </a:lnTo>
                <a:lnTo>
                  <a:pt x="6586" y="2140"/>
                </a:lnTo>
                <a:lnTo>
                  <a:pt x="6588" y="2138"/>
                </a:lnTo>
                <a:lnTo>
                  <a:pt x="6590" y="2138"/>
                </a:lnTo>
                <a:lnTo>
                  <a:pt x="6594" y="2138"/>
                </a:lnTo>
                <a:lnTo>
                  <a:pt x="6596" y="2136"/>
                </a:lnTo>
                <a:lnTo>
                  <a:pt x="6596" y="2134"/>
                </a:lnTo>
                <a:lnTo>
                  <a:pt x="6596" y="2130"/>
                </a:lnTo>
                <a:lnTo>
                  <a:pt x="6596" y="2126"/>
                </a:lnTo>
                <a:lnTo>
                  <a:pt x="6596" y="2124"/>
                </a:lnTo>
                <a:lnTo>
                  <a:pt x="6604" y="2122"/>
                </a:lnTo>
                <a:lnTo>
                  <a:pt x="6608" y="2120"/>
                </a:lnTo>
                <a:lnTo>
                  <a:pt x="6610" y="2118"/>
                </a:lnTo>
                <a:lnTo>
                  <a:pt x="6608" y="2114"/>
                </a:lnTo>
                <a:lnTo>
                  <a:pt x="6602" y="2112"/>
                </a:lnTo>
                <a:lnTo>
                  <a:pt x="6598" y="2108"/>
                </a:lnTo>
                <a:lnTo>
                  <a:pt x="6598" y="2104"/>
                </a:lnTo>
                <a:lnTo>
                  <a:pt x="6602" y="2102"/>
                </a:lnTo>
                <a:lnTo>
                  <a:pt x="6608" y="2100"/>
                </a:lnTo>
                <a:lnTo>
                  <a:pt x="6610" y="2098"/>
                </a:lnTo>
                <a:lnTo>
                  <a:pt x="6612" y="2096"/>
                </a:lnTo>
                <a:lnTo>
                  <a:pt x="6614" y="2088"/>
                </a:lnTo>
                <a:lnTo>
                  <a:pt x="6614" y="2080"/>
                </a:lnTo>
                <a:lnTo>
                  <a:pt x="6614" y="2074"/>
                </a:lnTo>
                <a:lnTo>
                  <a:pt x="6616" y="2072"/>
                </a:lnTo>
                <a:lnTo>
                  <a:pt x="6614" y="2070"/>
                </a:lnTo>
                <a:lnTo>
                  <a:pt x="6604" y="2066"/>
                </a:lnTo>
                <a:lnTo>
                  <a:pt x="6598" y="2066"/>
                </a:lnTo>
                <a:lnTo>
                  <a:pt x="6592" y="2070"/>
                </a:lnTo>
                <a:lnTo>
                  <a:pt x="6588" y="2074"/>
                </a:lnTo>
                <a:lnTo>
                  <a:pt x="6588" y="2078"/>
                </a:lnTo>
                <a:lnTo>
                  <a:pt x="6588" y="2080"/>
                </a:lnTo>
                <a:lnTo>
                  <a:pt x="6588" y="2082"/>
                </a:lnTo>
                <a:lnTo>
                  <a:pt x="6586" y="2090"/>
                </a:lnTo>
                <a:lnTo>
                  <a:pt x="6584" y="2094"/>
                </a:lnTo>
                <a:lnTo>
                  <a:pt x="6582" y="2094"/>
                </a:lnTo>
                <a:lnTo>
                  <a:pt x="6580" y="2092"/>
                </a:lnTo>
                <a:lnTo>
                  <a:pt x="6580" y="2088"/>
                </a:lnTo>
                <a:lnTo>
                  <a:pt x="6582" y="2078"/>
                </a:lnTo>
                <a:lnTo>
                  <a:pt x="6580" y="2076"/>
                </a:lnTo>
                <a:lnTo>
                  <a:pt x="6578" y="2078"/>
                </a:lnTo>
                <a:lnTo>
                  <a:pt x="6574" y="2078"/>
                </a:lnTo>
                <a:lnTo>
                  <a:pt x="6568" y="2076"/>
                </a:lnTo>
                <a:lnTo>
                  <a:pt x="6564" y="2074"/>
                </a:lnTo>
                <a:lnTo>
                  <a:pt x="6562" y="2074"/>
                </a:lnTo>
                <a:lnTo>
                  <a:pt x="6560" y="2076"/>
                </a:lnTo>
                <a:lnTo>
                  <a:pt x="6562" y="2076"/>
                </a:lnTo>
                <a:lnTo>
                  <a:pt x="6566" y="2078"/>
                </a:lnTo>
                <a:lnTo>
                  <a:pt x="6570" y="2082"/>
                </a:lnTo>
                <a:lnTo>
                  <a:pt x="6568" y="2084"/>
                </a:lnTo>
                <a:lnTo>
                  <a:pt x="6566" y="2088"/>
                </a:lnTo>
                <a:close/>
                <a:moveTo>
                  <a:pt x="6598" y="2138"/>
                </a:moveTo>
                <a:lnTo>
                  <a:pt x="6598" y="2138"/>
                </a:lnTo>
                <a:lnTo>
                  <a:pt x="6596" y="2142"/>
                </a:lnTo>
                <a:lnTo>
                  <a:pt x="6598" y="2142"/>
                </a:lnTo>
                <a:lnTo>
                  <a:pt x="6604" y="2142"/>
                </a:lnTo>
                <a:lnTo>
                  <a:pt x="6610" y="2138"/>
                </a:lnTo>
                <a:lnTo>
                  <a:pt x="6610" y="2136"/>
                </a:lnTo>
                <a:lnTo>
                  <a:pt x="6610" y="2134"/>
                </a:lnTo>
                <a:lnTo>
                  <a:pt x="6606" y="2134"/>
                </a:lnTo>
                <a:lnTo>
                  <a:pt x="6602" y="2134"/>
                </a:lnTo>
                <a:lnTo>
                  <a:pt x="6598" y="2138"/>
                </a:lnTo>
                <a:close/>
                <a:moveTo>
                  <a:pt x="6552" y="2166"/>
                </a:moveTo>
                <a:lnTo>
                  <a:pt x="6552" y="2166"/>
                </a:lnTo>
                <a:lnTo>
                  <a:pt x="6552" y="2168"/>
                </a:lnTo>
                <a:lnTo>
                  <a:pt x="6556" y="2172"/>
                </a:lnTo>
                <a:lnTo>
                  <a:pt x="6560" y="2172"/>
                </a:lnTo>
                <a:lnTo>
                  <a:pt x="6564" y="2172"/>
                </a:lnTo>
                <a:lnTo>
                  <a:pt x="6562" y="2168"/>
                </a:lnTo>
                <a:lnTo>
                  <a:pt x="6560" y="2166"/>
                </a:lnTo>
                <a:lnTo>
                  <a:pt x="6556" y="2164"/>
                </a:lnTo>
                <a:lnTo>
                  <a:pt x="6552" y="2166"/>
                </a:lnTo>
                <a:close/>
                <a:moveTo>
                  <a:pt x="6636" y="2164"/>
                </a:moveTo>
                <a:lnTo>
                  <a:pt x="6636" y="2164"/>
                </a:lnTo>
                <a:lnTo>
                  <a:pt x="6636" y="2166"/>
                </a:lnTo>
                <a:lnTo>
                  <a:pt x="6638" y="2168"/>
                </a:lnTo>
                <a:lnTo>
                  <a:pt x="6640" y="2172"/>
                </a:lnTo>
                <a:lnTo>
                  <a:pt x="6638" y="2174"/>
                </a:lnTo>
                <a:lnTo>
                  <a:pt x="6636" y="2176"/>
                </a:lnTo>
                <a:lnTo>
                  <a:pt x="6638" y="2178"/>
                </a:lnTo>
                <a:lnTo>
                  <a:pt x="6644" y="2182"/>
                </a:lnTo>
                <a:lnTo>
                  <a:pt x="6646" y="2184"/>
                </a:lnTo>
                <a:lnTo>
                  <a:pt x="6648" y="2184"/>
                </a:lnTo>
                <a:lnTo>
                  <a:pt x="6648" y="2182"/>
                </a:lnTo>
                <a:lnTo>
                  <a:pt x="6648" y="2180"/>
                </a:lnTo>
                <a:lnTo>
                  <a:pt x="6650" y="2176"/>
                </a:lnTo>
                <a:lnTo>
                  <a:pt x="6652" y="2176"/>
                </a:lnTo>
                <a:lnTo>
                  <a:pt x="6656" y="2178"/>
                </a:lnTo>
                <a:lnTo>
                  <a:pt x="6660" y="2180"/>
                </a:lnTo>
                <a:lnTo>
                  <a:pt x="6662" y="2180"/>
                </a:lnTo>
                <a:lnTo>
                  <a:pt x="6660" y="2178"/>
                </a:lnTo>
                <a:lnTo>
                  <a:pt x="6658" y="2174"/>
                </a:lnTo>
                <a:lnTo>
                  <a:pt x="6656" y="2174"/>
                </a:lnTo>
                <a:lnTo>
                  <a:pt x="6656" y="2172"/>
                </a:lnTo>
                <a:lnTo>
                  <a:pt x="6658" y="2168"/>
                </a:lnTo>
                <a:lnTo>
                  <a:pt x="6658" y="2164"/>
                </a:lnTo>
                <a:lnTo>
                  <a:pt x="6658" y="2162"/>
                </a:lnTo>
                <a:lnTo>
                  <a:pt x="6654" y="2162"/>
                </a:lnTo>
                <a:lnTo>
                  <a:pt x="6650" y="2160"/>
                </a:lnTo>
                <a:lnTo>
                  <a:pt x="6648" y="2156"/>
                </a:lnTo>
                <a:lnTo>
                  <a:pt x="6644" y="2156"/>
                </a:lnTo>
                <a:lnTo>
                  <a:pt x="6640" y="2158"/>
                </a:lnTo>
                <a:lnTo>
                  <a:pt x="6640" y="2160"/>
                </a:lnTo>
                <a:lnTo>
                  <a:pt x="6642" y="2162"/>
                </a:lnTo>
                <a:lnTo>
                  <a:pt x="6648" y="2164"/>
                </a:lnTo>
                <a:lnTo>
                  <a:pt x="6650" y="2166"/>
                </a:lnTo>
                <a:lnTo>
                  <a:pt x="6650" y="2168"/>
                </a:lnTo>
                <a:lnTo>
                  <a:pt x="6646" y="2166"/>
                </a:lnTo>
                <a:lnTo>
                  <a:pt x="6636" y="2164"/>
                </a:lnTo>
                <a:close/>
                <a:moveTo>
                  <a:pt x="6990" y="1916"/>
                </a:moveTo>
                <a:lnTo>
                  <a:pt x="6990" y="1916"/>
                </a:lnTo>
                <a:lnTo>
                  <a:pt x="6988" y="1916"/>
                </a:lnTo>
                <a:lnTo>
                  <a:pt x="6988" y="1918"/>
                </a:lnTo>
                <a:lnTo>
                  <a:pt x="6990" y="1920"/>
                </a:lnTo>
                <a:lnTo>
                  <a:pt x="6992" y="1924"/>
                </a:lnTo>
                <a:lnTo>
                  <a:pt x="6992" y="1926"/>
                </a:lnTo>
                <a:lnTo>
                  <a:pt x="6988" y="1928"/>
                </a:lnTo>
                <a:lnTo>
                  <a:pt x="6986" y="1930"/>
                </a:lnTo>
                <a:lnTo>
                  <a:pt x="6988" y="1932"/>
                </a:lnTo>
                <a:lnTo>
                  <a:pt x="6994" y="1936"/>
                </a:lnTo>
                <a:lnTo>
                  <a:pt x="7000" y="1938"/>
                </a:lnTo>
                <a:lnTo>
                  <a:pt x="7000" y="1942"/>
                </a:lnTo>
                <a:lnTo>
                  <a:pt x="6996" y="1946"/>
                </a:lnTo>
                <a:lnTo>
                  <a:pt x="6994" y="1948"/>
                </a:lnTo>
                <a:lnTo>
                  <a:pt x="6992" y="1950"/>
                </a:lnTo>
                <a:lnTo>
                  <a:pt x="6994" y="1952"/>
                </a:lnTo>
                <a:lnTo>
                  <a:pt x="6998" y="1952"/>
                </a:lnTo>
                <a:lnTo>
                  <a:pt x="7000" y="1950"/>
                </a:lnTo>
                <a:lnTo>
                  <a:pt x="7002" y="1946"/>
                </a:lnTo>
                <a:lnTo>
                  <a:pt x="7006" y="1938"/>
                </a:lnTo>
                <a:lnTo>
                  <a:pt x="7010" y="1934"/>
                </a:lnTo>
                <a:lnTo>
                  <a:pt x="7012" y="1934"/>
                </a:lnTo>
                <a:lnTo>
                  <a:pt x="7014" y="1934"/>
                </a:lnTo>
                <a:lnTo>
                  <a:pt x="7018" y="1934"/>
                </a:lnTo>
                <a:lnTo>
                  <a:pt x="7024" y="1932"/>
                </a:lnTo>
                <a:lnTo>
                  <a:pt x="7032" y="1928"/>
                </a:lnTo>
                <a:lnTo>
                  <a:pt x="7038" y="1922"/>
                </a:lnTo>
                <a:lnTo>
                  <a:pt x="7040" y="1920"/>
                </a:lnTo>
                <a:lnTo>
                  <a:pt x="7042" y="1920"/>
                </a:lnTo>
                <a:lnTo>
                  <a:pt x="7044" y="1920"/>
                </a:lnTo>
                <a:lnTo>
                  <a:pt x="7046" y="1920"/>
                </a:lnTo>
                <a:lnTo>
                  <a:pt x="7048" y="1920"/>
                </a:lnTo>
                <a:lnTo>
                  <a:pt x="7048" y="1918"/>
                </a:lnTo>
                <a:lnTo>
                  <a:pt x="7038" y="1914"/>
                </a:lnTo>
                <a:lnTo>
                  <a:pt x="7032" y="1910"/>
                </a:lnTo>
                <a:lnTo>
                  <a:pt x="7026" y="1910"/>
                </a:lnTo>
                <a:lnTo>
                  <a:pt x="7022" y="1910"/>
                </a:lnTo>
                <a:lnTo>
                  <a:pt x="7018" y="1910"/>
                </a:lnTo>
                <a:lnTo>
                  <a:pt x="7016" y="1908"/>
                </a:lnTo>
                <a:lnTo>
                  <a:pt x="7010" y="1908"/>
                </a:lnTo>
                <a:lnTo>
                  <a:pt x="7004" y="1912"/>
                </a:lnTo>
                <a:lnTo>
                  <a:pt x="7000" y="1918"/>
                </a:lnTo>
                <a:lnTo>
                  <a:pt x="6998" y="1920"/>
                </a:lnTo>
                <a:lnTo>
                  <a:pt x="6996" y="1918"/>
                </a:lnTo>
                <a:lnTo>
                  <a:pt x="6992" y="1916"/>
                </a:lnTo>
                <a:lnTo>
                  <a:pt x="6990" y="1916"/>
                </a:lnTo>
                <a:close/>
                <a:moveTo>
                  <a:pt x="7006" y="1892"/>
                </a:moveTo>
                <a:lnTo>
                  <a:pt x="7006" y="1892"/>
                </a:lnTo>
                <a:lnTo>
                  <a:pt x="7008" y="1892"/>
                </a:lnTo>
                <a:lnTo>
                  <a:pt x="7010" y="1894"/>
                </a:lnTo>
                <a:lnTo>
                  <a:pt x="7012" y="1898"/>
                </a:lnTo>
                <a:lnTo>
                  <a:pt x="7012" y="1902"/>
                </a:lnTo>
                <a:lnTo>
                  <a:pt x="7014" y="1904"/>
                </a:lnTo>
                <a:lnTo>
                  <a:pt x="7016" y="1904"/>
                </a:lnTo>
                <a:lnTo>
                  <a:pt x="7020" y="1904"/>
                </a:lnTo>
                <a:lnTo>
                  <a:pt x="7022" y="1902"/>
                </a:lnTo>
                <a:lnTo>
                  <a:pt x="7024" y="1898"/>
                </a:lnTo>
                <a:lnTo>
                  <a:pt x="7026" y="1898"/>
                </a:lnTo>
                <a:lnTo>
                  <a:pt x="7028" y="1898"/>
                </a:lnTo>
                <a:lnTo>
                  <a:pt x="7030" y="1898"/>
                </a:lnTo>
                <a:lnTo>
                  <a:pt x="7030" y="1896"/>
                </a:lnTo>
                <a:lnTo>
                  <a:pt x="7032" y="1896"/>
                </a:lnTo>
                <a:lnTo>
                  <a:pt x="7034" y="1896"/>
                </a:lnTo>
                <a:lnTo>
                  <a:pt x="7036" y="1894"/>
                </a:lnTo>
                <a:lnTo>
                  <a:pt x="7034" y="1892"/>
                </a:lnTo>
                <a:lnTo>
                  <a:pt x="7030" y="1888"/>
                </a:lnTo>
                <a:lnTo>
                  <a:pt x="7022" y="1880"/>
                </a:lnTo>
                <a:lnTo>
                  <a:pt x="7018" y="1880"/>
                </a:lnTo>
                <a:lnTo>
                  <a:pt x="7016" y="1882"/>
                </a:lnTo>
                <a:lnTo>
                  <a:pt x="7010" y="1886"/>
                </a:lnTo>
                <a:lnTo>
                  <a:pt x="7006" y="1886"/>
                </a:lnTo>
                <a:lnTo>
                  <a:pt x="7000" y="1886"/>
                </a:lnTo>
                <a:lnTo>
                  <a:pt x="6996" y="1888"/>
                </a:lnTo>
                <a:lnTo>
                  <a:pt x="6994" y="1890"/>
                </a:lnTo>
                <a:lnTo>
                  <a:pt x="6996" y="1890"/>
                </a:lnTo>
                <a:lnTo>
                  <a:pt x="7006" y="1892"/>
                </a:lnTo>
                <a:close/>
                <a:moveTo>
                  <a:pt x="7048" y="1914"/>
                </a:moveTo>
                <a:lnTo>
                  <a:pt x="7048" y="1914"/>
                </a:lnTo>
                <a:lnTo>
                  <a:pt x="7048" y="1910"/>
                </a:lnTo>
                <a:lnTo>
                  <a:pt x="7044" y="1906"/>
                </a:lnTo>
                <a:lnTo>
                  <a:pt x="7042" y="1904"/>
                </a:lnTo>
                <a:lnTo>
                  <a:pt x="7038" y="1906"/>
                </a:lnTo>
                <a:lnTo>
                  <a:pt x="7038" y="1910"/>
                </a:lnTo>
                <a:lnTo>
                  <a:pt x="7042" y="1914"/>
                </a:lnTo>
                <a:lnTo>
                  <a:pt x="7046" y="1914"/>
                </a:lnTo>
                <a:lnTo>
                  <a:pt x="7048" y="1914"/>
                </a:lnTo>
                <a:close/>
                <a:moveTo>
                  <a:pt x="7050" y="1884"/>
                </a:moveTo>
                <a:lnTo>
                  <a:pt x="7050" y="1884"/>
                </a:lnTo>
                <a:lnTo>
                  <a:pt x="7048" y="1884"/>
                </a:lnTo>
                <a:lnTo>
                  <a:pt x="7044" y="1882"/>
                </a:lnTo>
                <a:lnTo>
                  <a:pt x="7040" y="1882"/>
                </a:lnTo>
                <a:lnTo>
                  <a:pt x="7042" y="1886"/>
                </a:lnTo>
                <a:lnTo>
                  <a:pt x="7044" y="1886"/>
                </a:lnTo>
                <a:lnTo>
                  <a:pt x="7048" y="1886"/>
                </a:lnTo>
                <a:lnTo>
                  <a:pt x="7050" y="1884"/>
                </a:lnTo>
                <a:close/>
                <a:moveTo>
                  <a:pt x="6872" y="1954"/>
                </a:moveTo>
                <a:lnTo>
                  <a:pt x="6872" y="1954"/>
                </a:lnTo>
                <a:lnTo>
                  <a:pt x="6864" y="1958"/>
                </a:lnTo>
                <a:lnTo>
                  <a:pt x="6860" y="1956"/>
                </a:lnTo>
                <a:lnTo>
                  <a:pt x="6858" y="1956"/>
                </a:lnTo>
                <a:lnTo>
                  <a:pt x="6850" y="1962"/>
                </a:lnTo>
                <a:lnTo>
                  <a:pt x="6840" y="1974"/>
                </a:lnTo>
                <a:lnTo>
                  <a:pt x="6836" y="1984"/>
                </a:lnTo>
                <a:lnTo>
                  <a:pt x="6836" y="1992"/>
                </a:lnTo>
                <a:lnTo>
                  <a:pt x="6838" y="2000"/>
                </a:lnTo>
                <a:lnTo>
                  <a:pt x="6840" y="2004"/>
                </a:lnTo>
                <a:lnTo>
                  <a:pt x="6840" y="2006"/>
                </a:lnTo>
                <a:lnTo>
                  <a:pt x="6838" y="2014"/>
                </a:lnTo>
                <a:lnTo>
                  <a:pt x="6838" y="2018"/>
                </a:lnTo>
                <a:lnTo>
                  <a:pt x="6840" y="2018"/>
                </a:lnTo>
                <a:lnTo>
                  <a:pt x="6842" y="2016"/>
                </a:lnTo>
                <a:lnTo>
                  <a:pt x="6846" y="2014"/>
                </a:lnTo>
                <a:lnTo>
                  <a:pt x="6850" y="2008"/>
                </a:lnTo>
                <a:lnTo>
                  <a:pt x="6856" y="2000"/>
                </a:lnTo>
                <a:lnTo>
                  <a:pt x="6864" y="1992"/>
                </a:lnTo>
                <a:lnTo>
                  <a:pt x="6866" y="1986"/>
                </a:lnTo>
                <a:lnTo>
                  <a:pt x="6868" y="1984"/>
                </a:lnTo>
                <a:lnTo>
                  <a:pt x="6866" y="1978"/>
                </a:lnTo>
                <a:lnTo>
                  <a:pt x="6864" y="1976"/>
                </a:lnTo>
                <a:lnTo>
                  <a:pt x="6864" y="1972"/>
                </a:lnTo>
                <a:lnTo>
                  <a:pt x="6866" y="1968"/>
                </a:lnTo>
                <a:lnTo>
                  <a:pt x="6870" y="1964"/>
                </a:lnTo>
                <a:lnTo>
                  <a:pt x="6878" y="1954"/>
                </a:lnTo>
                <a:lnTo>
                  <a:pt x="6882" y="1950"/>
                </a:lnTo>
                <a:lnTo>
                  <a:pt x="6882" y="1948"/>
                </a:lnTo>
                <a:lnTo>
                  <a:pt x="6880" y="1948"/>
                </a:lnTo>
                <a:lnTo>
                  <a:pt x="6872" y="1954"/>
                </a:lnTo>
                <a:close/>
                <a:moveTo>
                  <a:pt x="6794" y="1990"/>
                </a:moveTo>
                <a:lnTo>
                  <a:pt x="6794" y="1990"/>
                </a:lnTo>
                <a:lnTo>
                  <a:pt x="6790" y="1990"/>
                </a:lnTo>
                <a:lnTo>
                  <a:pt x="6788" y="1992"/>
                </a:lnTo>
                <a:lnTo>
                  <a:pt x="6786" y="2000"/>
                </a:lnTo>
                <a:lnTo>
                  <a:pt x="6784" y="2010"/>
                </a:lnTo>
                <a:lnTo>
                  <a:pt x="6780" y="2018"/>
                </a:lnTo>
                <a:lnTo>
                  <a:pt x="6774" y="2026"/>
                </a:lnTo>
                <a:lnTo>
                  <a:pt x="6770" y="2038"/>
                </a:lnTo>
                <a:lnTo>
                  <a:pt x="6768" y="2052"/>
                </a:lnTo>
                <a:lnTo>
                  <a:pt x="6768" y="2056"/>
                </a:lnTo>
                <a:lnTo>
                  <a:pt x="6770" y="2060"/>
                </a:lnTo>
                <a:lnTo>
                  <a:pt x="6776" y="2050"/>
                </a:lnTo>
                <a:lnTo>
                  <a:pt x="6786" y="2026"/>
                </a:lnTo>
                <a:lnTo>
                  <a:pt x="6792" y="2002"/>
                </a:lnTo>
                <a:lnTo>
                  <a:pt x="6794" y="1992"/>
                </a:lnTo>
                <a:lnTo>
                  <a:pt x="6794" y="1990"/>
                </a:lnTo>
                <a:close/>
                <a:moveTo>
                  <a:pt x="6856" y="1798"/>
                </a:moveTo>
                <a:lnTo>
                  <a:pt x="6856" y="1798"/>
                </a:lnTo>
                <a:lnTo>
                  <a:pt x="6856" y="1796"/>
                </a:lnTo>
                <a:lnTo>
                  <a:pt x="6854" y="1790"/>
                </a:lnTo>
                <a:lnTo>
                  <a:pt x="6852" y="1786"/>
                </a:lnTo>
                <a:lnTo>
                  <a:pt x="6848" y="1786"/>
                </a:lnTo>
                <a:lnTo>
                  <a:pt x="6848" y="1788"/>
                </a:lnTo>
                <a:lnTo>
                  <a:pt x="6848" y="1792"/>
                </a:lnTo>
                <a:lnTo>
                  <a:pt x="6852" y="1796"/>
                </a:lnTo>
                <a:lnTo>
                  <a:pt x="6856" y="1798"/>
                </a:lnTo>
                <a:close/>
                <a:moveTo>
                  <a:pt x="7008" y="1802"/>
                </a:moveTo>
                <a:lnTo>
                  <a:pt x="7008" y="1802"/>
                </a:lnTo>
                <a:lnTo>
                  <a:pt x="7006" y="1800"/>
                </a:lnTo>
                <a:lnTo>
                  <a:pt x="7002" y="1798"/>
                </a:lnTo>
                <a:lnTo>
                  <a:pt x="6998" y="1798"/>
                </a:lnTo>
                <a:lnTo>
                  <a:pt x="6996" y="1800"/>
                </a:lnTo>
                <a:lnTo>
                  <a:pt x="6998" y="1802"/>
                </a:lnTo>
                <a:lnTo>
                  <a:pt x="7002" y="1804"/>
                </a:lnTo>
                <a:lnTo>
                  <a:pt x="7006" y="1804"/>
                </a:lnTo>
                <a:lnTo>
                  <a:pt x="7008" y="1802"/>
                </a:lnTo>
                <a:close/>
                <a:moveTo>
                  <a:pt x="6986" y="1790"/>
                </a:moveTo>
                <a:lnTo>
                  <a:pt x="6986" y="1790"/>
                </a:lnTo>
                <a:lnTo>
                  <a:pt x="6984" y="1792"/>
                </a:lnTo>
                <a:lnTo>
                  <a:pt x="6984" y="1796"/>
                </a:lnTo>
                <a:lnTo>
                  <a:pt x="6986" y="1798"/>
                </a:lnTo>
                <a:lnTo>
                  <a:pt x="6990" y="1800"/>
                </a:lnTo>
                <a:lnTo>
                  <a:pt x="6992" y="1798"/>
                </a:lnTo>
                <a:lnTo>
                  <a:pt x="6992" y="1796"/>
                </a:lnTo>
                <a:lnTo>
                  <a:pt x="6990" y="1792"/>
                </a:lnTo>
                <a:lnTo>
                  <a:pt x="6986" y="1790"/>
                </a:lnTo>
                <a:close/>
                <a:moveTo>
                  <a:pt x="6980" y="1810"/>
                </a:moveTo>
                <a:lnTo>
                  <a:pt x="6980" y="1810"/>
                </a:lnTo>
                <a:lnTo>
                  <a:pt x="6978" y="1808"/>
                </a:lnTo>
                <a:lnTo>
                  <a:pt x="6976" y="1808"/>
                </a:lnTo>
                <a:lnTo>
                  <a:pt x="6974" y="1812"/>
                </a:lnTo>
                <a:lnTo>
                  <a:pt x="6976" y="1814"/>
                </a:lnTo>
                <a:lnTo>
                  <a:pt x="6978" y="1814"/>
                </a:lnTo>
                <a:lnTo>
                  <a:pt x="6980" y="1812"/>
                </a:lnTo>
                <a:lnTo>
                  <a:pt x="6980" y="1810"/>
                </a:lnTo>
                <a:close/>
                <a:moveTo>
                  <a:pt x="6992" y="1810"/>
                </a:moveTo>
                <a:lnTo>
                  <a:pt x="6992" y="1810"/>
                </a:lnTo>
                <a:lnTo>
                  <a:pt x="6992" y="1812"/>
                </a:lnTo>
                <a:lnTo>
                  <a:pt x="6994" y="1810"/>
                </a:lnTo>
                <a:lnTo>
                  <a:pt x="6996" y="1810"/>
                </a:lnTo>
                <a:lnTo>
                  <a:pt x="6996" y="1808"/>
                </a:lnTo>
                <a:lnTo>
                  <a:pt x="6994" y="1808"/>
                </a:lnTo>
                <a:lnTo>
                  <a:pt x="6992" y="1808"/>
                </a:lnTo>
                <a:lnTo>
                  <a:pt x="6992" y="1810"/>
                </a:lnTo>
                <a:close/>
                <a:moveTo>
                  <a:pt x="6982" y="1810"/>
                </a:moveTo>
                <a:lnTo>
                  <a:pt x="6982" y="1810"/>
                </a:lnTo>
                <a:lnTo>
                  <a:pt x="6984" y="1810"/>
                </a:lnTo>
                <a:lnTo>
                  <a:pt x="6986" y="1810"/>
                </a:lnTo>
                <a:lnTo>
                  <a:pt x="6988" y="1810"/>
                </a:lnTo>
                <a:lnTo>
                  <a:pt x="6988" y="1808"/>
                </a:lnTo>
                <a:lnTo>
                  <a:pt x="6986" y="1806"/>
                </a:lnTo>
                <a:lnTo>
                  <a:pt x="6984" y="1806"/>
                </a:lnTo>
                <a:lnTo>
                  <a:pt x="6982" y="1810"/>
                </a:lnTo>
                <a:close/>
                <a:moveTo>
                  <a:pt x="6916" y="1814"/>
                </a:moveTo>
                <a:lnTo>
                  <a:pt x="6916" y="1814"/>
                </a:lnTo>
                <a:lnTo>
                  <a:pt x="6916" y="1816"/>
                </a:lnTo>
                <a:lnTo>
                  <a:pt x="6918" y="1820"/>
                </a:lnTo>
                <a:lnTo>
                  <a:pt x="6920" y="1820"/>
                </a:lnTo>
                <a:lnTo>
                  <a:pt x="6922" y="1820"/>
                </a:lnTo>
                <a:lnTo>
                  <a:pt x="6922" y="1818"/>
                </a:lnTo>
                <a:lnTo>
                  <a:pt x="6920" y="1816"/>
                </a:lnTo>
                <a:lnTo>
                  <a:pt x="6918" y="1814"/>
                </a:lnTo>
                <a:lnTo>
                  <a:pt x="6916" y="1814"/>
                </a:lnTo>
                <a:close/>
                <a:moveTo>
                  <a:pt x="6902" y="1802"/>
                </a:moveTo>
                <a:lnTo>
                  <a:pt x="6902" y="1802"/>
                </a:lnTo>
                <a:lnTo>
                  <a:pt x="6898" y="1804"/>
                </a:lnTo>
                <a:lnTo>
                  <a:pt x="6894" y="1806"/>
                </a:lnTo>
                <a:lnTo>
                  <a:pt x="6894" y="1808"/>
                </a:lnTo>
                <a:lnTo>
                  <a:pt x="6894" y="1812"/>
                </a:lnTo>
                <a:lnTo>
                  <a:pt x="6896" y="1810"/>
                </a:lnTo>
                <a:lnTo>
                  <a:pt x="6898" y="1810"/>
                </a:lnTo>
                <a:lnTo>
                  <a:pt x="6902" y="1812"/>
                </a:lnTo>
                <a:lnTo>
                  <a:pt x="6904" y="1814"/>
                </a:lnTo>
                <a:lnTo>
                  <a:pt x="6906" y="1816"/>
                </a:lnTo>
                <a:lnTo>
                  <a:pt x="6910" y="1816"/>
                </a:lnTo>
                <a:lnTo>
                  <a:pt x="6914" y="1814"/>
                </a:lnTo>
                <a:lnTo>
                  <a:pt x="6914" y="1812"/>
                </a:lnTo>
                <a:lnTo>
                  <a:pt x="6914" y="1810"/>
                </a:lnTo>
                <a:lnTo>
                  <a:pt x="6914" y="1808"/>
                </a:lnTo>
                <a:lnTo>
                  <a:pt x="6914" y="1806"/>
                </a:lnTo>
                <a:lnTo>
                  <a:pt x="6916" y="1806"/>
                </a:lnTo>
                <a:lnTo>
                  <a:pt x="6918" y="1808"/>
                </a:lnTo>
                <a:lnTo>
                  <a:pt x="6920" y="1808"/>
                </a:lnTo>
                <a:lnTo>
                  <a:pt x="6924" y="1804"/>
                </a:lnTo>
                <a:lnTo>
                  <a:pt x="6926" y="1802"/>
                </a:lnTo>
                <a:lnTo>
                  <a:pt x="6924" y="1800"/>
                </a:lnTo>
                <a:lnTo>
                  <a:pt x="6910" y="1794"/>
                </a:lnTo>
                <a:lnTo>
                  <a:pt x="6904" y="1794"/>
                </a:lnTo>
                <a:lnTo>
                  <a:pt x="6906" y="1796"/>
                </a:lnTo>
                <a:lnTo>
                  <a:pt x="6908" y="1800"/>
                </a:lnTo>
                <a:lnTo>
                  <a:pt x="6908" y="1802"/>
                </a:lnTo>
                <a:lnTo>
                  <a:pt x="6908" y="1804"/>
                </a:lnTo>
                <a:lnTo>
                  <a:pt x="6906" y="1806"/>
                </a:lnTo>
                <a:lnTo>
                  <a:pt x="6904" y="1804"/>
                </a:lnTo>
                <a:lnTo>
                  <a:pt x="6904" y="1802"/>
                </a:lnTo>
                <a:lnTo>
                  <a:pt x="6902" y="1802"/>
                </a:lnTo>
                <a:close/>
                <a:moveTo>
                  <a:pt x="7118" y="1484"/>
                </a:moveTo>
                <a:lnTo>
                  <a:pt x="7118" y="1484"/>
                </a:lnTo>
                <a:lnTo>
                  <a:pt x="7120" y="1484"/>
                </a:lnTo>
                <a:lnTo>
                  <a:pt x="7118" y="1482"/>
                </a:lnTo>
                <a:lnTo>
                  <a:pt x="7108" y="1480"/>
                </a:lnTo>
                <a:lnTo>
                  <a:pt x="7104" y="1480"/>
                </a:lnTo>
                <a:lnTo>
                  <a:pt x="7102" y="1480"/>
                </a:lnTo>
                <a:lnTo>
                  <a:pt x="7100" y="1484"/>
                </a:lnTo>
                <a:lnTo>
                  <a:pt x="7100" y="1488"/>
                </a:lnTo>
                <a:lnTo>
                  <a:pt x="7104" y="1490"/>
                </a:lnTo>
                <a:lnTo>
                  <a:pt x="7108" y="1488"/>
                </a:lnTo>
                <a:lnTo>
                  <a:pt x="7110" y="1488"/>
                </a:lnTo>
                <a:lnTo>
                  <a:pt x="7114" y="1486"/>
                </a:lnTo>
                <a:lnTo>
                  <a:pt x="7118" y="1484"/>
                </a:lnTo>
                <a:close/>
                <a:moveTo>
                  <a:pt x="6972" y="1606"/>
                </a:moveTo>
                <a:lnTo>
                  <a:pt x="6972" y="1606"/>
                </a:lnTo>
                <a:lnTo>
                  <a:pt x="6972" y="1604"/>
                </a:lnTo>
                <a:lnTo>
                  <a:pt x="6970" y="1604"/>
                </a:lnTo>
                <a:lnTo>
                  <a:pt x="6964" y="1604"/>
                </a:lnTo>
                <a:lnTo>
                  <a:pt x="6962" y="1604"/>
                </a:lnTo>
                <a:lnTo>
                  <a:pt x="6960" y="1606"/>
                </a:lnTo>
                <a:lnTo>
                  <a:pt x="6960" y="1608"/>
                </a:lnTo>
                <a:lnTo>
                  <a:pt x="6964" y="1610"/>
                </a:lnTo>
                <a:lnTo>
                  <a:pt x="6966" y="1612"/>
                </a:lnTo>
                <a:lnTo>
                  <a:pt x="6968" y="1612"/>
                </a:lnTo>
                <a:lnTo>
                  <a:pt x="6972" y="1606"/>
                </a:lnTo>
                <a:close/>
                <a:moveTo>
                  <a:pt x="6758" y="1246"/>
                </a:moveTo>
                <a:lnTo>
                  <a:pt x="6758" y="1246"/>
                </a:lnTo>
                <a:lnTo>
                  <a:pt x="6758" y="1248"/>
                </a:lnTo>
                <a:lnTo>
                  <a:pt x="6762" y="1248"/>
                </a:lnTo>
                <a:lnTo>
                  <a:pt x="6766" y="1246"/>
                </a:lnTo>
                <a:lnTo>
                  <a:pt x="6770" y="1244"/>
                </a:lnTo>
                <a:lnTo>
                  <a:pt x="6768" y="1242"/>
                </a:lnTo>
                <a:lnTo>
                  <a:pt x="6766" y="1240"/>
                </a:lnTo>
                <a:lnTo>
                  <a:pt x="6760" y="1242"/>
                </a:lnTo>
                <a:lnTo>
                  <a:pt x="6758" y="1246"/>
                </a:lnTo>
                <a:close/>
                <a:moveTo>
                  <a:pt x="6586" y="426"/>
                </a:moveTo>
                <a:lnTo>
                  <a:pt x="6586" y="426"/>
                </a:lnTo>
                <a:lnTo>
                  <a:pt x="6586" y="432"/>
                </a:lnTo>
                <a:lnTo>
                  <a:pt x="6588" y="438"/>
                </a:lnTo>
                <a:lnTo>
                  <a:pt x="6590" y="440"/>
                </a:lnTo>
                <a:lnTo>
                  <a:pt x="6594" y="444"/>
                </a:lnTo>
                <a:lnTo>
                  <a:pt x="6596" y="444"/>
                </a:lnTo>
                <a:lnTo>
                  <a:pt x="6596" y="446"/>
                </a:lnTo>
                <a:lnTo>
                  <a:pt x="6584" y="446"/>
                </a:lnTo>
                <a:lnTo>
                  <a:pt x="6570" y="448"/>
                </a:lnTo>
                <a:lnTo>
                  <a:pt x="6568" y="450"/>
                </a:lnTo>
                <a:lnTo>
                  <a:pt x="6570" y="452"/>
                </a:lnTo>
                <a:lnTo>
                  <a:pt x="6582" y="464"/>
                </a:lnTo>
                <a:lnTo>
                  <a:pt x="6608" y="488"/>
                </a:lnTo>
                <a:lnTo>
                  <a:pt x="6622" y="502"/>
                </a:lnTo>
                <a:lnTo>
                  <a:pt x="6634" y="508"/>
                </a:lnTo>
                <a:lnTo>
                  <a:pt x="6644" y="512"/>
                </a:lnTo>
                <a:lnTo>
                  <a:pt x="6654" y="510"/>
                </a:lnTo>
                <a:lnTo>
                  <a:pt x="6664" y="506"/>
                </a:lnTo>
                <a:lnTo>
                  <a:pt x="6676" y="498"/>
                </a:lnTo>
                <a:lnTo>
                  <a:pt x="6702" y="480"/>
                </a:lnTo>
                <a:lnTo>
                  <a:pt x="6722" y="470"/>
                </a:lnTo>
                <a:lnTo>
                  <a:pt x="6724" y="470"/>
                </a:lnTo>
                <a:lnTo>
                  <a:pt x="6726" y="472"/>
                </a:lnTo>
                <a:lnTo>
                  <a:pt x="6728" y="474"/>
                </a:lnTo>
                <a:lnTo>
                  <a:pt x="6732" y="478"/>
                </a:lnTo>
                <a:lnTo>
                  <a:pt x="6740" y="482"/>
                </a:lnTo>
                <a:lnTo>
                  <a:pt x="6756" y="484"/>
                </a:lnTo>
                <a:lnTo>
                  <a:pt x="6772" y="484"/>
                </a:lnTo>
                <a:lnTo>
                  <a:pt x="6780" y="486"/>
                </a:lnTo>
                <a:lnTo>
                  <a:pt x="6780" y="488"/>
                </a:lnTo>
                <a:lnTo>
                  <a:pt x="6778" y="490"/>
                </a:lnTo>
                <a:lnTo>
                  <a:pt x="6772" y="494"/>
                </a:lnTo>
                <a:lnTo>
                  <a:pt x="6742" y="504"/>
                </a:lnTo>
                <a:lnTo>
                  <a:pt x="6698" y="516"/>
                </a:lnTo>
                <a:lnTo>
                  <a:pt x="6678" y="522"/>
                </a:lnTo>
                <a:lnTo>
                  <a:pt x="6664" y="528"/>
                </a:lnTo>
                <a:lnTo>
                  <a:pt x="6656" y="534"/>
                </a:lnTo>
                <a:lnTo>
                  <a:pt x="6654" y="536"/>
                </a:lnTo>
                <a:lnTo>
                  <a:pt x="6656" y="538"/>
                </a:lnTo>
                <a:lnTo>
                  <a:pt x="6660" y="540"/>
                </a:lnTo>
                <a:lnTo>
                  <a:pt x="6674" y="542"/>
                </a:lnTo>
                <a:lnTo>
                  <a:pt x="6692" y="540"/>
                </a:lnTo>
                <a:lnTo>
                  <a:pt x="6718" y="538"/>
                </a:lnTo>
                <a:lnTo>
                  <a:pt x="6742" y="536"/>
                </a:lnTo>
                <a:lnTo>
                  <a:pt x="6756" y="538"/>
                </a:lnTo>
                <a:lnTo>
                  <a:pt x="6758" y="538"/>
                </a:lnTo>
                <a:lnTo>
                  <a:pt x="6760" y="540"/>
                </a:lnTo>
                <a:lnTo>
                  <a:pt x="6756" y="544"/>
                </a:lnTo>
                <a:lnTo>
                  <a:pt x="6748" y="550"/>
                </a:lnTo>
                <a:lnTo>
                  <a:pt x="6734" y="554"/>
                </a:lnTo>
                <a:lnTo>
                  <a:pt x="6720" y="558"/>
                </a:lnTo>
                <a:lnTo>
                  <a:pt x="6704" y="562"/>
                </a:lnTo>
                <a:lnTo>
                  <a:pt x="6678" y="568"/>
                </a:lnTo>
                <a:lnTo>
                  <a:pt x="6672" y="570"/>
                </a:lnTo>
                <a:lnTo>
                  <a:pt x="6668" y="574"/>
                </a:lnTo>
                <a:lnTo>
                  <a:pt x="6670" y="576"/>
                </a:lnTo>
                <a:lnTo>
                  <a:pt x="6676" y="580"/>
                </a:lnTo>
                <a:lnTo>
                  <a:pt x="6698" y="592"/>
                </a:lnTo>
                <a:lnTo>
                  <a:pt x="6712" y="596"/>
                </a:lnTo>
                <a:lnTo>
                  <a:pt x="6720" y="602"/>
                </a:lnTo>
                <a:lnTo>
                  <a:pt x="6732" y="614"/>
                </a:lnTo>
                <a:lnTo>
                  <a:pt x="6738" y="620"/>
                </a:lnTo>
                <a:lnTo>
                  <a:pt x="6744" y="624"/>
                </a:lnTo>
                <a:lnTo>
                  <a:pt x="6756" y="630"/>
                </a:lnTo>
                <a:lnTo>
                  <a:pt x="6774" y="636"/>
                </a:lnTo>
                <a:lnTo>
                  <a:pt x="6782" y="636"/>
                </a:lnTo>
                <a:lnTo>
                  <a:pt x="6790" y="636"/>
                </a:lnTo>
                <a:lnTo>
                  <a:pt x="6794" y="636"/>
                </a:lnTo>
                <a:lnTo>
                  <a:pt x="6798" y="632"/>
                </a:lnTo>
                <a:lnTo>
                  <a:pt x="6800" y="628"/>
                </a:lnTo>
                <a:lnTo>
                  <a:pt x="6802" y="624"/>
                </a:lnTo>
                <a:lnTo>
                  <a:pt x="6804" y="612"/>
                </a:lnTo>
                <a:lnTo>
                  <a:pt x="6804" y="598"/>
                </a:lnTo>
                <a:lnTo>
                  <a:pt x="6808" y="586"/>
                </a:lnTo>
                <a:lnTo>
                  <a:pt x="6812" y="580"/>
                </a:lnTo>
                <a:lnTo>
                  <a:pt x="6816" y="574"/>
                </a:lnTo>
                <a:lnTo>
                  <a:pt x="6822" y="570"/>
                </a:lnTo>
                <a:lnTo>
                  <a:pt x="6830" y="566"/>
                </a:lnTo>
                <a:lnTo>
                  <a:pt x="6844" y="560"/>
                </a:lnTo>
                <a:lnTo>
                  <a:pt x="6850" y="554"/>
                </a:lnTo>
                <a:lnTo>
                  <a:pt x="6850" y="548"/>
                </a:lnTo>
                <a:lnTo>
                  <a:pt x="6848" y="542"/>
                </a:lnTo>
                <a:lnTo>
                  <a:pt x="6846" y="536"/>
                </a:lnTo>
                <a:lnTo>
                  <a:pt x="6846" y="530"/>
                </a:lnTo>
                <a:lnTo>
                  <a:pt x="6848" y="528"/>
                </a:lnTo>
                <a:lnTo>
                  <a:pt x="6850" y="526"/>
                </a:lnTo>
                <a:lnTo>
                  <a:pt x="6860" y="522"/>
                </a:lnTo>
                <a:lnTo>
                  <a:pt x="6866" y="520"/>
                </a:lnTo>
                <a:lnTo>
                  <a:pt x="6872" y="516"/>
                </a:lnTo>
                <a:lnTo>
                  <a:pt x="6874" y="514"/>
                </a:lnTo>
                <a:lnTo>
                  <a:pt x="6876" y="510"/>
                </a:lnTo>
                <a:lnTo>
                  <a:pt x="6878" y="502"/>
                </a:lnTo>
                <a:lnTo>
                  <a:pt x="6878" y="494"/>
                </a:lnTo>
                <a:lnTo>
                  <a:pt x="6880" y="488"/>
                </a:lnTo>
                <a:lnTo>
                  <a:pt x="6882" y="484"/>
                </a:lnTo>
                <a:lnTo>
                  <a:pt x="6886" y="482"/>
                </a:lnTo>
                <a:lnTo>
                  <a:pt x="6890" y="478"/>
                </a:lnTo>
                <a:lnTo>
                  <a:pt x="6898" y="476"/>
                </a:lnTo>
                <a:lnTo>
                  <a:pt x="6918" y="474"/>
                </a:lnTo>
                <a:lnTo>
                  <a:pt x="6956" y="468"/>
                </a:lnTo>
                <a:lnTo>
                  <a:pt x="6968" y="466"/>
                </a:lnTo>
                <a:lnTo>
                  <a:pt x="6974" y="464"/>
                </a:lnTo>
                <a:lnTo>
                  <a:pt x="6974" y="462"/>
                </a:lnTo>
                <a:lnTo>
                  <a:pt x="6974" y="460"/>
                </a:lnTo>
                <a:lnTo>
                  <a:pt x="6970" y="456"/>
                </a:lnTo>
                <a:lnTo>
                  <a:pt x="6958" y="452"/>
                </a:lnTo>
                <a:lnTo>
                  <a:pt x="6944" y="448"/>
                </a:lnTo>
                <a:lnTo>
                  <a:pt x="6928" y="444"/>
                </a:lnTo>
                <a:lnTo>
                  <a:pt x="6920" y="440"/>
                </a:lnTo>
                <a:lnTo>
                  <a:pt x="6910" y="434"/>
                </a:lnTo>
                <a:lnTo>
                  <a:pt x="6908" y="432"/>
                </a:lnTo>
                <a:lnTo>
                  <a:pt x="6904" y="432"/>
                </a:lnTo>
                <a:lnTo>
                  <a:pt x="6886" y="430"/>
                </a:lnTo>
                <a:lnTo>
                  <a:pt x="6876" y="430"/>
                </a:lnTo>
                <a:lnTo>
                  <a:pt x="6870" y="428"/>
                </a:lnTo>
                <a:lnTo>
                  <a:pt x="6868" y="424"/>
                </a:lnTo>
                <a:lnTo>
                  <a:pt x="6868" y="418"/>
                </a:lnTo>
                <a:lnTo>
                  <a:pt x="6868" y="414"/>
                </a:lnTo>
                <a:lnTo>
                  <a:pt x="6866" y="406"/>
                </a:lnTo>
                <a:lnTo>
                  <a:pt x="6862" y="400"/>
                </a:lnTo>
                <a:lnTo>
                  <a:pt x="6856" y="394"/>
                </a:lnTo>
                <a:lnTo>
                  <a:pt x="6846" y="392"/>
                </a:lnTo>
                <a:lnTo>
                  <a:pt x="6840" y="394"/>
                </a:lnTo>
                <a:lnTo>
                  <a:pt x="6836" y="398"/>
                </a:lnTo>
                <a:lnTo>
                  <a:pt x="6832" y="404"/>
                </a:lnTo>
                <a:lnTo>
                  <a:pt x="6830" y="414"/>
                </a:lnTo>
                <a:lnTo>
                  <a:pt x="6828" y="414"/>
                </a:lnTo>
                <a:lnTo>
                  <a:pt x="6826" y="410"/>
                </a:lnTo>
                <a:lnTo>
                  <a:pt x="6824" y="402"/>
                </a:lnTo>
                <a:lnTo>
                  <a:pt x="6824" y="396"/>
                </a:lnTo>
                <a:lnTo>
                  <a:pt x="6826" y="390"/>
                </a:lnTo>
                <a:lnTo>
                  <a:pt x="6830" y="388"/>
                </a:lnTo>
                <a:lnTo>
                  <a:pt x="6834" y="382"/>
                </a:lnTo>
                <a:lnTo>
                  <a:pt x="6836" y="382"/>
                </a:lnTo>
                <a:lnTo>
                  <a:pt x="6836" y="380"/>
                </a:lnTo>
                <a:lnTo>
                  <a:pt x="6816" y="370"/>
                </a:lnTo>
                <a:lnTo>
                  <a:pt x="6808" y="368"/>
                </a:lnTo>
                <a:lnTo>
                  <a:pt x="6792" y="368"/>
                </a:lnTo>
                <a:lnTo>
                  <a:pt x="6784" y="368"/>
                </a:lnTo>
                <a:lnTo>
                  <a:pt x="6778" y="366"/>
                </a:lnTo>
                <a:lnTo>
                  <a:pt x="6768" y="360"/>
                </a:lnTo>
                <a:lnTo>
                  <a:pt x="6766" y="358"/>
                </a:lnTo>
                <a:lnTo>
                  <a:pt x="6760" y="356"/>
                </a:lnTo>
                <a:lnTo>
                  <a:pt x="6754" y="358"/>
                </a:lnTo>
                <a:lnTo>
                  <a:pt x="6746" y="362"/>
                </a:lnTo>
                <a:lnTo>
                  <a:pt x="6742" y="366"/>
                </a:lnTo>
                <a:lnTo>
                  <a:pt x="6740" y="370"/>
                </a:lnTo>
                <a:lnTo>
                  <a:pt x="6740" y="376"/>
                </a:lnTo>
                <a:lnTo>
                  <a:pt x="6740" y="382"/>
                </a:lnTo>
                <a:lnTo>
                  <a:pt x="6746" y="396"/>
                </a:lnTo>
                <a:lnTo>
                  <a:pt x="6752" y="412"/>
                </a:lnTo>
                <a:lnTo>
                  <a:pt x="6768" y="438"/>
                </a:lnTo>
                <a:lnTo>
                  <a:pt x="6770" y="446"/>
                </a:lnTo>
                <a:lnTo>
                  <a:pt x="6770" y="448"/>
                </a:lnTo>
                <a:lnTo>
                  <a:pt x="6768" y="450"/>
                </a:lnTo>
                <a:lnTo>
                  <a:pt x="6764" y="450"/>
                </a:lnTo>
                <a:lnTo>
                  <a:pt x="6760" y="446"/>
                </a:lnTo>
                <a:lnTo>
                  <a:pt x="6752" y="438"/>
                </a:lnTo>
                <a:lnTo>
                  <a:pt x="6732" y="412"/>
                </a:lnTo>
                <a:lnTo>
                  <a:pt x="6720" y="400"/>
                </a:lnTo>
                <a:lnTo>
                  <a:pt x="6710" y="388"/>
                </a:lnTo>
                <a:lnTo>
                  <a:pt x="6704" y="386"/>
                </a:lnTo>
                <a:lnTo>
                  <a:pt x="6698" y="382"/>
                </a:lnTo>
                <a:lnTo>
                  <a:pt x="6694" y="382"/>
                </a:lnTo>
                <a:lnTo>
                  <a:pt x="6688" y="382"/>
                </a:lnTo>
                <a:lnTo>
                  <a:pt x="6684" y="384"/>
                </a:lnTo>
                <a:lnTo>
                  <a:pt x="6680" y="388"/>
                </a:lnTo>
                <a:lnTo>
                  <a:pt x="6674" y="396"/>
                </a:lnTo>
                <a:lnTo>
                  <a:pt x="6672" y="406"/>
                </a:lnTo>
                <a:lnTo>
                  <a:pt x="6670" y="414"/>
                </a:lnTo>
                <a:lnTo>
                  <a:pt x="6670" y="424"/>
                </a:lnTo>
                <a:lnTo>
                  <a:pt x="6668" y="424"/>
                </a:lnTo>
                <a:lnTo>
                  <a:pt x="6666" y="416"/>
                </a:lnTo>
                <a:lnTo>
                  <a:pt x="6660" y="408"/>
                </a:lnTo>
                <a:lnTo>
                  <a:pt x="6652" y="402"/>
                </a:lnTo>
                <a:lnTo>
                  <a:pt x="6644" y="398"/>
                </a:lnTo>
                <a:lnTo>
                  <a:pt x="6638" y="396"/>
                </a:lnTo>
                <a:lnTo>
                  <a:pt x="6634" y="394"/>
                </a:lnTo>
                <a:lnTo>
                  <a:pt x="6634" y="392"/>
                </a:lnTo>
                <a:lnTo>
                  <a:pt x="6646" y="390"/>
                </a:lnTo>
                <a:lnTo>
                  <a:pt x="6656" y="386"/>
                </a:lnTo>
                <a:lnTo>
                  <a:pt x="6664" y="384"/>
                </a:lnTo>
                <a:lnTo>
                  <a:pt x="6668" y="380"/>
                </a:lnTo>
                <a:lnTo>
                  <a:pt x="6668" y="376"/>
                </a:lnTo>
                <a:lnTo>
                  <a:pt x="6668" y="374"/>
                </a:lnTo>
                <a:lnTo>
                  <a:pt x="6662" y="374"/>
                </a:lnTo>
                <a:lnTo>
                  <a:pt x="6654" y="374"/>
                </a:lnTo>
                <a:lnTo>
                  <a:pt x="6642" y="376"/>
                </a:lnTo>
                <a:lnTo>
                  <a:pt x="6630" y="380"/>
                </a:lnTo>
                <a:lnTo>
                  <a:pt x="6622" y="380"/>
                </a:lnTo>
                <a:lnTo>
                  <a:pt x="6618" y="378"/>
                </a:lnTo>
                <a:lnTo>
                  <a:pt x="6614" y="376"/>
                </a:lnTo>
                <a:lnTo>
                  <a:pt x="6612" y="374"/>
                </a:lnTo>
                <a:lnTo>
                  <a:pt x="6610" y="374"/>
                </a:lnTo>
                <a:lnTo>
                  <a:pt x="6606" y="374"/>
                </a:lnTo>
                <a:lnTo>
                  <a:pt x="6600" y="378"/>
                </a:lnTo>
                <a:lnTo>
                  <a:pt x="6594" y="382"/>
                </a:lnTo>
                <a:lnTo>
                  <a:pt x="6590" y="382"/>
                </a:lnTo>
                <a:lnTo>
                  <a:pt x="6586" y="380"/>
                </a:lnTo>
                <a:lnTo>
                  <a:pt x="6584" y="378"/>
                </a:lnTo>
                <a:lnTo>
                  <a:pt x="6580" y="376"/>
                </a:lnTo>
                <a:lnTo>
                  <a:pt x="6576" y="374"/>
                </a:lnTo>
                <a:lnTo>
                  <a:pt x="6568" y="376"/>
                </a:lnTo>
                <a:lnTo>
                  <a:pt x="6558" y="382"/>
                </a:lnTo>
                <a:lnTo>
                  <a:pt x="6548" y="388"/>
                </a:lnTo>
                <a:lnTo>
                  <a:pt x="6542" y="394"/>
                </a:lnTo>
                <a:lnTo>
                  <a:pt x="6538" y="400"/>
                </a:lnTo>
                <a:lnTo>
                  <a:pt x="6538" y="404"/>
                </a:lnTo>
                <a:lnTo>
                  <a:pt x="6542" y="410"/>
                </a:lnTo>
                <a:lnTo>
                  <a:pt x="6546" y="416"/>
                </a:lnTo>
                <a:lnTo>
                  <a:pt x="6556" y="428"/>
                </a:lnTo>
                <a:lnTo>
                  <a:pt x="6562" y="434"/>
                </a:lnTo>
                <a:lnTo>
                  <a:pt x="6568" y="434"/>
                </a:lnTo>
                <a:lnTo>
                  <a:pt x="6574" y="432"/>
                </a:lnTo>
                <a:lnTo>
                  <a:pt x="6580" y="428"/>
                </a:lnTo>
                <a:lnTo>
                  <a:pt x="6586" y="420"/>
                </a:lnTo>
                <a:lnTo>
                  <a:pt x="6588" y="420"/>
                </a:lnTo>
                <a:lnTo>
                  <a:pt x="6586" y="426"/>
                </a:lnTo>
                <a:close/>
                <a:moveTo>
                  <a:pt x="6576" y="498"/>
                </a:moveTo>
                <a:lnTo>
                  <a:pt x="6576" y="498"/>
                </a:lnTo>
                <a:lnTo>
                  <a:pt x="6590" y="504"/>
                </a:lnTo>
                <a:lnTo>
                  <a:pt x="6596" y="506"/>
                </a:lnTo>
                <a:lnTo>
                  <a:pt x="6598" y="504"/>
                </a:lnTo>
                <a:lnTo>
                  <a:pt x="6596" y="498"/>
                </a:lnTo>
                <a:lnTo>
                  <a:pt x="6590" y="492"/>
                </a:lnTo>
                <a:lnTo>
                  <a:pt x="6584" y="486"/>
                </a:lnTo>
                <a:lnTo>
                  <a:pt x="6578" y="482"/>
                </a:lnTo>
                <a:lnTo>
                  <a:pt x="6572" y="480"/>
                </a:lnTo>
                <a:lnTo>
                  <a:pt x="6566" y="478"/>
                </a:lnTo>
                <a:lnTo>
                  <a:pt x="6562" y="474"/>
                </a:lnTo>
                <a:lnTo>
                  <a:pt x="6554" y="462"/>
                </a:lnTo>
                <a:lnTo>
                  <a:pt x="6550" y="456"/>
                </a:lnTo>
                <a:lnTo>
                  <a:pt x="6546" y="452"/>
                </a:lnTo>
                <a:lnTo>
                  <a:pt x="6540" y="448"/>
                </a:lnTo>
                <a:lnTo>
                  <a:pt x="6534" y="450"/>
                </a:lnTo>
                <a:lnTo>
                  <a:pt x="6530" y="454"/>
                </a:lnTo>
                <a:lnTo>
                  <a:pt x="6532" y="458"/>
                </a:lnTo>
                <a:lnTo>
                  <a:pt x="6544" y="480"/>
                </a:lnTo>
                <a:lnTo>
                  <a:pt x="6550" y="490"/>
                </a:lnTo>
                <a:lnTo>
                  <a:pt x="6552" y="492"/>
                </a:lnTo>
                <a:lnTo>
                  <a:pt x="6554" y="490"/>
                </a:lnTo>
                <a:lnTo>
                  <a:pt x="6556" y="490"/>
                </a:lnTo>
                <a:lnTo>
                  <a:pt x="6560" y="490"/>
                </a:lnTo>
                <a:lnTo>
                  <a:pt x="6568" y="492"/>
                </a:lnTo>
                <a:lnTo>
                  <a:pt x="6576" y="498"/>
                </a:lnTo>
                <a:close/>
                <a:moveTo>
                  <a:pt x="6840" y="358"/>
                </a:moveTo>
                <a:lnTo>
                  <a:pt x="6840" y="358"/>
                </a:lnTo>
                <a:lnTo>
                  <a:pt x="6848" y="362"/>
                </a:lnTo>
                <a:lnTo>
                  <a:pt x="6850" y="364"/>
                </a:lnTo>
                <a:lnTo>
                  <a:pt x="6848" y="366"/>
                </a:lnTo>
                <a:lnTo>
                  <a:pt x="6846" y="366"/>
                </a:lnTo>
                <a:lnTo>
                  <a:pt x="6844" y="368"/>
                </a:lnTo>
                <a:lnTo>
                  <a:pt x="6846" y="370"/>
                </a:lnTo>
                <a:lnTo>
                  <a:pt x="6850" y="374"/>
                </a:lnTo>
                <a:lnTo>
                  <a:pt x="6860" y="380"/>
                </a:lnTo>
                <a:lnTo>
                  <a:pt x="6870" y="384"/>
                </a:lnTo>
                <a:lnTo>
                  <a:pt x="6880" y="386"/>
                </a:lnTo>
                <a:lnTo>
                  <a:pt x="6888" y="386"/>
                </a:lnTo>
                <a:lnTo>
                  <a:pt x="6898" y="384"/>
                </a:lnTo>
                <a:lnTo>
                  <a:pt x="6922" y="380"/>
                </a:lnTo>
                <a:lnTo>
                  <a:pt x="6936" y="378"/>
                </a:lnTo>
                <a:lnTo>
                  <a:pt x="6954" y="376"/>
                </a:lnTo>
                <a:lnTo>
                  <a:pt x="6980" y="376"/>
                </a:lnTo>
                <a:lnTo>
                  <a:pt x="6982" y="378"/>
                </a:lnTo>
                <a:lnTo>
                  <a:pt x="6980" y="380"/>
                </a:lnTo>
                <a:lnTo>
                  <a:pt x="6958" y="384"/>
                </a:lnTo>
                <a:lnTo>
                  <a:pt x="6920" y="392"/>
                </a:lnTo>
                <a:lnTo>
                  <a:pt x="6904" y="396"/>
                </a:lnTo>
                <a:lnTo>
                  <a:pt x="6900" y="398"/>
                </a:lnTo>
                <a:lnTo>
                  <a:pt x="6900" y="400"/>
                </a:lnTo>
                <a:lnTo>
                  <a:pt x="6902" y="402"/>
                </a:lnTo>
                <a:lnTo>
                  <a:pt x="6904" y="402"/>
                </a:lnTo>
                <a:lnTo>
                  <a:pt x="6916" y="406"/>
                </a:lnTo>
                <a:lnTo>
                  <a:pt x="6954" y="410"/>
                </a:lnTo>
                <a:lnTo>
                  <a:pt x="6992" y="412"/>
                </a:lnTo>
                <a:lnTo>
                  <a:pt x="7008" y="414"/>
                </a:lnTo>
                <a:lnTo>
                  <a:pt x="7022" y="418"/>
                </a:lnTo>
                <a:lnTo>
                  <a:pt x="7044" y="428"/>
                </a:lnTo>
                <a:lnTo>
                  <a:pt x="7054" y="430"/>
                </a:lnTo>
                <a:lnTo>
                  <a:pt x="7064" y="432"/>
                </a:lnTo>
                <a:lnTo>
                  <a:pt x="7074" y="430"/>
                </a:lnTo>
                <a:lnTo>
                  <a:pt x="7086" y="424"/>
                </a:lnTo>
                <a:lnTo>
                  <a:pt x="7096" y="416"/>
                </a:lnTo>
                <a:lnTo>
                  <a:pt x="7104" y="412"/>
                </a:lnTo>
                <a:lnTo>
                  <a:pt x="7108" y="412"/>
                </a:lnTo>
                <a:lnTo>
                  <a:pt x="7114" y="412"/>
                </a:lnTo>
                <a:lnTo>
                  <a:pt x="7124" y="416"/>
                </a:lnTo>
                <a:lnTo>
                  <a:pt x="7130" y="416"/>
                </a:lnTo>
                <a:lnTo>
                  <a:pt x="7140" y="414"/>
                </a:lnTo>
                <a:lnTo>
                  <a:pt x="7148" y="410"/>
                </a:lnTo>
                <a:lnTo>
                  <a:pt x="7152" y="406"/>
                </a:lnTo>
                <a:lnTo>
                  <a:pt x="7154" y="402"/>
                </a:lnTo>
                <a:lnTo>
                  <a:pt x="7154" y="398"/>
                </a:lnTo>
                <a:lnTo>
                  <a:pt x="7156" y="394"/>
                </a:lnTo>
                <a:lnTo>
                  <a:pt x="7160" y="388"/>
                </a:lnTo>
                <a:lnTo>
                  <a:pt x="7172" y="382"/>
                </a:lnTo>
                <a:lnTo>
                  <a:pt x="7190" y="376"/>
                </a:lnTo>
                <a:lnTo>
                  <a:pt x="7202" y="370"/>
                </a:lnTo>
                <a:lnTo>
                  <a:pt x="7206" y="366"/>
                </a:lnTo>
                <a:lnTo>
                  <a:pt x="7206" y="360"/>
                </a:lnTo>
                <a:lnTo>
                  <a:pt x="7202" y="356"/>
                </a:lnTo>
                <a:lnTo>
                  <a:pt x="7194" y="350"/>
                </a:lnTo>
                <a:lnTo>
                  <a:pt x="7186" y="348"/>
                </a:lnTo>
                <a:lnTo>
                  <a:pt x="7178" y="346"/>
                </a:lnTo>
                <a:lnTo>
                  <a:pt x="7168" y="346"/>
                </a:lnTo>
                <a:lnTo>
                  <a:pt x="7152" y="346"/>
                </a:lnTo>
                <a:lnTo>
                  <a:pt x="7136" y="342"/>
                </a:lnTo>
                <a:lnTo>
                  <a:pt x="7116" y="336"/>
                </a:lnTo>
                <a:lnTo>
                  <a:pt x="7090" y="330"/>
                </a:lnTo>
                <a:lnTo>
                  <a:pt x="7080" y="330"/>
                </a:lnTo>
                <a:lnTo>
                  <a:pt x="7072" y="330"/>
                </a:lnTo>
                <a:lnTo>
                  <a:pt x="7068" y="334"/>
                </a:lnTo>
                <a:lnTo>
                  <a:pt x="7066" y="338"/>
                </a:lnTo>
                <a:lnTo>
                  <a:pt x="7062" y="344"/>
                </a:lnTo>
                <a:lnTo>
                  <a:pt x="7058" y="346"/>
                </a:lnTo>
                <a:lnTo>
                  <a:pt x="7050" y="346"/>
                </a:lnTo>
                <a:lnTo>
                  <a:pt x="7044" y="344"/>
                </a:lnTo>
                <a:lnTo>
                  <a:pt x="7042" y="342"/>
                </a:lnTo>
                <a:lnTo>
                  <a:pt x="7042" y="338"/>
                </a:lnTo>
                <a:lnTo>
                  <a:pt x="7044" y="334"/>
                </a:lnTo>
                <a:lnTo>
                  <a:pt x="7046" y="326"/>
                </a:lnTo>
                <a:lnTo>
                  <a:pt x="7046" y="324"/>
                </a:lnTo>
                <a:lnTo>
                  <a:pt x="7044" y="320"/>
                </a:lnTo>
                <a:lnTo>
                  <a:pt x="7034" y="318"/>
                </a:lnTo>
                <a:lnTo>
                  <a:pt x="7028" y="318"/>
                </a:lnTo>
                <a:lnTo>
                  <a:pt x="7024" y="318"/>
                </a:lnTo>
                <a:lnTo>
                  <a:pt x="7020" y="322"/>
                </a:lnTo>
                <a:lnTo>
                  <a:pt x="7016" y="326"/>
                </a:lnTo>
                <a:lnTo>
                  <a:pt x="7012" y="332"/>
                </a:lnTo>
                <a:lnTo>
                  <a:pt x="7012" y="340"/>
                </a:lnTo>
                <a:lnTo>
                  <a:pt x="7010" y="354"/>
                </a:lnTo>
                <a:lnTo>
                  <a:pt x="7008" y="356"/>
                </a:lnTo>
                <a:lnTo>
                  <a:pt x="7006" y="358"/>
                </a:lnTo>
                <a:lnTo>
                  <a:pt x="7002" y="356"/>
                </a:lnTo>
                <a:lnTo>
                  <a:pt x="6998" y="354"/>
                </a:lnTo>
                <a:lnTo>
                  <a:pt x="6990" y="342"/>
                </a:lnTo>
                <a:lnTo>
                  <a:pt x="6984" y="336"/>
                </a:lnTo>
                <a:lnTo>
                  <a:pt x="6980" y="334"/>
                </a:lnTo>
                <a:lnTo>
                  <a:pt x="6976" y="334"/>
                </a:lnTo>
                <a:lnTo>
                  <a:pt x="6970" y="336"/>
                </a:lnTo>
                <a:lnTo>
                  <a:pt x="6964" y="336"/>
                </a:lnTo>
                <a:lnTo>
                  <a:pt x="6952" y="336"/>
                </a:lnTo>
                <a:lnTo>
                  <a:pt x="6938" y="332"/>
                </a:lnTo>
                <a:lnTo>
                  <a:pt x="6918" y="326"/>
                </a:lnTo>
                <a:lnTo>
                  <a:pt x="6900" y="320"/>
                </a:lnTo>
                <a:lnTo>
                  <a:pt x="6894" y="318"/>
                </a:lnTo>
                <a:lnTo>
                  <a:pt x="6892" y="320"/>
                </a:lnTo>
                <a:lnTo>
                  <a:pt x="6892" y="322"/>
                </a:lnTo>
                <a:lnTo>
                  <a:pt x="6896" y="328"/>
                </a:lnTo>
                <a:lnTo>
                  <a:pt x="6900" y="334"/>
                </a:lnTo>
                <a:lnTo>
                  <a:pt x="6902" y="338"/>
                </a:lnTo>
                <a:lnTo>
                  <a:pt x="6900" y="340"/>
                </a:lnTo>
                <a:lnTo>
                  <a:pt x="6898" y="338"/>
                </a:lnTo>
                <a:lnTo>
                  <a:pt x="6884" y="334"/>
                </a:lnTo>
                <a:lnTo>
                  <a:pt x="6872" y="328"/>
                </a:lnTo>
                <a:lnTo>
                  <a:pt x="6868" y="328"/>
                </a:lnTo>
                <a:lnTo>
                  <a:pt x="6868" y="332"/>
                </a:lnTo>
                <a:lnTo>
                  <a:pt x="6872" y="336"/>
                </a:lnTo>
                <a:lnTo>
                  <a:pt x="6876" y="342"/>
                </a:lnTo>
                <a:lnTo>
                  <a:pt x="6878" y="346"/>
                </a:lnTo>
                <a:lnTo>
                  <a:pt x="6878" y="348"/>
                </a:lnTo>
                <a:lnTo>
                  <a:pt x="6876" y="348"/>
                </a:lnTo>
                <a:lnTo>
                  <a:pt x="6864" y="346"/>
                </a:lnTo>
                <a:lnTo>
                  <a:pt x="6850" y="342"/>
                </a:lnTo>
                <a:lnTo>
                  <a:pt x="6840" y="342"/>
                </a:lnTo>
                <a:lnTo>
                  <a:pt x="6832" y="342"/>
                </a:lnTo>
                <a:lnTo>
                  <a:pt x="6828" y="344"/>
                </a:lnTo>
                <a:lnTo>
                  <a:pt x="6826" y="346"/>
                </a:lnTo>
                <a:lnTo>
                  <a:pt x="6828" y="350"/>
                </a:lnTo>
                <a:lnTo>
                  <a:pt x="6832" y="354"/>
                </a:lnTo>
                <a:lnTo>
                  <a:pt x="6840" y="358"/>
                </a:lnTo>
                <a:close/>
                <a:moveTo>
                  <a:pt x="7084" y="1064"/>
                </a:moveTo>
                <a:lnTo>
                  <a:pt x="7084" y="1064"/>
                </a:lnTo>
                <a:lnTo>
                  <a:pt x="7080" y="1062"/>
                </a:lnTo>
                <a:lnTo>
                  <a:pt x="7076" y="1062"/>
                </a:lnTo>
                <a:lnTo>
                  <a:pt x="7074" y="1062"/>
                </a:lnTo>
                <a:lnTo>
                  <a:pt x="7074" y="1064"/>
                </a:lnTo>
                <a:lnTo>
                  <a:pt x="7078" y="1066"/>
                </a:lnTo>
                <a:lnTo>
                  <a:pt x="7082" y="1068"/>
                </a:lnTo>
                <a:lnTo>
                  <a:pt x="7086" y="1066"/>
                </a:lnTo>
                <a:lnTo>
                  <a:pt x="7084" y="1064"/>
                </a:lnTo>
                <a:close/>
                <a:moveTo>
                  <a:pt x="6940" y="1148"/>
                </a:moveTo>
                <a:lnTo>
                  <a:pt x="6940" y="1148"/>
                </a:lnTo>
                <a:lnTo>
                  <a:pt x="6944" y="1144"/>
                </a:lnTo>
                <a:lnTo>
                  <a:pt x="6946" y="1140"/>
                </a:lnTo>
                <a:lnTo>
                  <a:pt x="6944" y="1138"/>
                </a:lnTo>
                <a:lnTo>
                  <a:pt x="6942" y="1138"/>
                </a:lnTo>
                <a:lnTo>
                  <a:pt x="6940" y="1142"/>
                </a:lnTo>
                <a:lnTo>
                  <a:pt x="6938" y="1146"/>
                </a:lnTo>
                <a:lnTo>
                  <a:pt x="6938" y="1148"/>
                </a:lnTo>
                <a:lnTo>
                  <a:pt x="6940" y="1148"/>
                </a:lnTo>
                <a:close/>
                <a:moveTo>
                  <a:pt x="6956" y="1136"/>
                </a:moveTo>
                <a:lnTo>
                  <a:pt x="6956" y="1136"/>
                </a:lnTo>
                <a:lnTo>
                  <a:pt x="6958" y="1136"/>
                </a:lnTo>
                <a:lnTo>
                  <a:pt x="6958" y="1134"/>
                </a:lnTo>
                <a:lnTo>
                  <a:pt x="6954" y="1132"/>
                </a:lnTo>
                <a:lnTo>
                  <a:pt x="6952" y="1130"/>
                </a:lnTo>
                <a:lnTo>
                  <a:pt x="6948" y="1132"/>
                </a:lnTo>
                <a:lnTo>
                  <a:pt x="6948" y="1134"/>
                </a:lnTo>
                <a:lnTo>
                  <a:pt x="6950" y="1136"/>
                </a:lnTo>
                <a:lnTo>
                  <a:pt x="6956" y="1136"/>
                </a:lnTo>
                <a:close/>
                <a:moveTo>
                  <a:pt x="6912" y="1136"/>
                </a:moveTo>
                <a:lnTo>
                  <a:pt x="6912" y="1136"/>
                </a:lnTo>
                <a:lnTo>
                  <a:pt x="6910" y="1134"/>
                </a:lnTo>
                <a:lnTo>
                  <a:pt x="6906" y="1136"/>
                </a:lnTo>
                <a:lnTo>
                  <a:pt x="6902" y="1138"/>
                </a:lnTo>
                <a:lnTo>
                  <a:pt x="6898" y="1142"/>
                </a:lnTo>
                <a:lnTo>
                  <a:pt x="6898" y="1144"/>
                </a:lnTo>
                <a:lnTo>
                  <a:pt x="6900" y="1144"/>
                </a:lnTo>
                <a:lnTo>
                  <a:pt x="6904" y="1142"/>
                </a:lnTo>
                <a:lnTo>
                  <a:pt x="6908" y="1138"/>
                </a:lnTo>
                <a:lnTo>
                  <a:pt x="6912" y="1136"/>
                </a:lnTo>
                <a:close/>
                <a:moveTo>
                  <a:pt x="6886" y="1114"/>
                </a:moveTo>
                <a:lnTo>
                  <a:pt x="6886" y="1114"/>
                </a:lnTo>
                <a:lnTo>
                  <a:pt x="6882" y="1116"/>
                </a:lnTo>
                <a:lnTo>
                  <a:pt x="6880" y="1118"/>
                </a:lnTo>
                <a:lnTo>
                  <a:pt x="6878" y="1122"/>
                </a:lnTo>
                <a:lnTo>
                  <a:pt x="6878" y="1124"/>
                </a:lnTo>
                <a:lnTo>
                  <a:pt x="6880" y="1124"/>
                </a:lnTo>
                <a:lnTo>
                  <a:pt x="6884" y="1122"/>
                </a:lnTo>
                <a:lnTo>
                  <a:pt x="6886" y="1120"/>
                </a:lnTo>
                <a:lnTo>
                  <a:pt x="6886" y="1118"/>
                </a:lnTo>
                <a:lnTo>
                  <a:pt x="6886" y="1114"/>
                </a:lnTo>
                <a:close/>
                <a:moveTo>
                  <a:pt x="6874" y="1126"/>
                </a:moveTo>
                <a:lnTo>
                  <a:pt x="6874" y="1126"/>
                </a:lnTo>
                <a:lnTo>
                  <a:pt x="6872" y="1124"/>
                </a:lnTo>
                <a:lnTo>
                  <a:pt x="6870" y="1126"/>
                </a:lnTo>
                <a:lnTo>
                  <a:pt x="6868" y="1126"/>
                </a:lnTo>
                <a:lnTo>
                  <a:pt x="6866" y="1126"/>
                </a:lnTo>
                <a:lnTo>
                  <a:pt x="6864" y="1126"/>
                </a:lnTo>
                <a:lnTo>
                  <a:pt x="6862" y="1128"/>
                </a:lnTo>
                <a:lnTo>
                  <a:pt x="6862" y="1130"/>
                </a:lnTo>
                <a:lnTo>
                  <a:pt x="6862" y="1132"/>
                </a:lnTo>
                <a:lnTo>
                  <a:pt x="6864" y="1132"/>
                </a:lnTo>
                <a:lnTo>
                  <a:pt x="6868" y="1130"/>
                </a:lnTo>
                <a:lnTo>
                  <a:pt x="6872" y="1128"/>
                </a:lnTo>
                <a:lnTo>
                  <a:pt x="6874" y="1126"/>
                </a:lnTo>
                <a:close/>
                <a:moveTo>
                  <a:pt x="6800" y="1216"/>
                </a:moveTo>
                <a:lnTo>
                  <a:pt x="6800" y="1216"/>
                </a:lnTo>
                <a:lnTo>
                  <a:pt x="6804" y="1216"/>
                </a:lnTo>
                <a:lnTo>
                  <a:pt x="6808" y="1216"/>
                </a:lnTo>
                <a:lnTo>
                  <a:pt x="6810" y="1214"/>
                </a:lnTo>
                <a:lnTo>
                  <a:pt x="6808" y="1212"/>
                </a:lnTo>
                <a:lnTo>
                  <a:pt x="6804" y="1210"/>
                </a:lnTo>
                <a:lnTo>
                  <a:pt x="6802" y="1212"/>
                </a:lnTo>
                <a:lnTo>
                  <a:pt x="6800" y="1214"/>
                </a:lnTo>
                <a:lnTo>
                  <a:pt x="6800" y="1216"/>
                </a:lnTo>
                <a:close/>
                <a:moveTo>
                  <a:pt x="6786" y="1222"/>
                </a:moveTo>
                <a:lnTo>
                  <a:pt x="6786" y="1222"/>
                </a:lnTo>
                <a:lnTo>
                  <a:pt x="6786" y="1224"/>
                </a:lnTo>
                <a:lnTo>
                  <a:pt x="6788" y="1226"/>
                </a:lnTo>
                <a:lnTo>
                  <a:pt x="6796" y="1224"/>
                </a:lnTo>
                <a:lnTo>
                  <a:pt x="6798" y="1224"/>
                </a:lnTo>
                <a:lnTo>
                  <a:pt x="6798" y="1222"/>
                </a:lnTo>
                <a:lnTo>
                  <a:pt x="6796" y="1220"/>
                </a:lnTo>
                <a:lnTo>
                  <a:pt x="6790" y="1218"/>
                </a:lnTo>
                <a:lnTo>
                  <a:pt x="6788" y="1220"/>
                </a:lnTo>
                <a:lnTo>
                  <a:pt x="6786" y="1222"/>
                </a:lnTo>
                <a:close/>
                <a:moveTo>
                  <a:pt x="6714" y="1284"/>
                </a:moveTo>
                <a:lnTo>
                  <a:pt x="6714" y="1284"/>
                </a:lnTo>
                <a:lnTo>
                  <a:pt x="6718" y="1282"/>
                </a:lnTo>
                <a:lnTo>
                  <a:pt x="6714" y="1278"/>
                </a:lnTo>
                <a:lnTo>
                  <a:pt x="6712" y="1278"/>
                </a:lnTo>
                <a:lnTo>
                  <a:pt x="6710" y="1280"/>
                </a:lnTo>
                <a:lnTo>
                  <a:pt x="6710" y="1282"/>
                </a:lnTo>
                <a:lnTo>
                  <a:pt x="6714" y="1284"/>
                </a:lnTo>
                <a:close/>
                <a:moveTo>
                  <a:pt x="6764" y="1208"/>
                </a:moveTo>
                <a:lnTo>
                  <a:pt x="6764" y="1208"/>
                </a:lnTo>
                <a:lnTo>
                  <a:pt x="6764" y="1210"/>
                </a:lnTo>
                <a:lnTo>
                  <a:pt x="6768" y="1212"/>
                </a:lnTo>
                <a:lnTo>
                  <a:pt x="6772" y="1214"/>
                </a:lnTo>
                <a:lnTo>
                  <a:pt x="6776" y="1212"/>
                </a:lnTo>
                <a:lnTo>
                  <a:pt x="6776" y="1210"/>
                </a:lnTo>
                <a:lnTo>
                  <a:pt x="6772" y="1208"/>
                </a:lnTo>
                <a:lnTo>
                  <a:pt x="6768" y="1208"/>
                </a:lnTo>
                <a:lnTo>
                  <a:pt x="6764" y="1208"/>
                </a:lnTo>
                <a:close/>
                <a:moveTo>
                  <a:pt x="6900" y="1126"/>
                </a:moveTo>
                <a:lnTo>
                  <a:pt x="6900" y="1126"/>
                </a:lnTo>
                <a:lnTo>
                  <a:pt x="6900" y="1124"/>
                </a:lnTo>
                <a:lnTo>
                  <a:pt x="6896" y="1122"/>
                </a:lnTo>
                <a:lnTo>
                  <a:pt x="6894" y="1120"/>
                </a:lnTo>
                <a:lnTo>
                  <a:pt x="6890" y="1122"/>
                </a:lnTo>
                <a:lnTo>
                  <a:pt x="6890" y="1124"/>
                </a:lnTo>
                <a:lnTo>
                  <a:pt x="6894" y="1126"/>
                </a:lnTo>
                <a:lnTo>
                  <a:pt x="6898" y="1126"/>
                </a:lnTo>
                <a:lnTo>
                  <a:pt x="6900" y="1126"/>
                </a:lnTo>
                <a:close/>
                <a:moveTo>
                  <a:pt x="6680" y="1258"/>
                </a:moveTo>
                <a:lnTo>
                  <a:pt x="6680" y="1258"/>
                </a:lnTo>
                <a:lnTo>
                  <a:pt x="6680" y="1256"/>
                </a:lnTo>
                <a:lnTo>
                  <a:pt x="6678" y="1254"/>
                </a:lnTo>
                <a:lnTo>
                  <a:pt x="6676" y="1254"/>
                </a:lnTo>
                <a:lnTo>
                  <a:pt x="6674" y="1256"/>
                </a:lnTo>
                <a:lnTo>
                  <a:pt x="6674" y="1258"/>
                </a:lnTo>
                <a:lnTo>
                  <a:pt x="6676" y="1260"/>
                </a:lnTo>
                <a:lnTo>
                  <a:pt x="6678" y="1260"/>
                </a:lnTo>
                <a:lnTo>
                  <a:pt x="6680" y="1258"/>
                </a:lnTo>
                <a:close/>
                <a:moveTo>
                  <a:pt x="7072" y="1080"/>
                </a:moveTo>
                <a:lnTo>
                  <a:pt x="7072" y="1080"/>
                </a:lnTo>
                <a:lnTo>
                  <a:pt x="7068" y="1080"/>
                </a:lnTo>
                <a:lnTo>
                  <a:pt x="7066" y="1080"/>
                </a:lnTo>
                <a:lnTo>
                  <a:pt x="7064" y="1084"/>
                </a:lnTo>
                <a:lnTo>
                  <a:pt x="7064" y="1086"/>
                </a:lnTo>
                <a:lnTo>
                  <a:pt x="7068" y="1094"/>
                </a:lnTo>
                <a:lnTo>
                  <a:pt x="7070" y="1096"/>
                </a:lnTo>
                <a:lnTo>
                  <a:pt x="7072" y="1096"/>
                </a:lnTo>
                <a:lnTo>
                  <a:pt x="7078" y="1094"/>
                </a:lnTo>
                <a:lnTo>
                  <a:pt x="7080" y="1088"/>
                </a:lnTo>
                <a:lnTo>
                  <a:pt x="7080" y="1086"/>
                </a:lnTo>
                <a:lnTo>
                  <a:pt x="7080" y="1084"/>
                </a:lnTo>
                <a:lnTo>
                  <a:pt x="7078" y="1082"/>
                </a:lnTo>
                <a:lnTo>
                  <a:pt x="7072" y="1080"/>
                </a:lnTo>
                <a:close/>
                <a:moveTo>
                  <a:pt x="7054" y="1108"/>
                </a:moveTo>
                <a:lnTo>
                  <a:pt x="7054" y="1108"/>
                </a:lnTo>
                <a:lnTo>
                  <a:pt x="7062" y="1098"/>
                </a:lnTo>
                <a:lnTo>
                  <a:pt x="7064" y="1094"/>
                </a:lnTo>
                <a:lnTo>
                  <a:pt x="7064" y="1092"/>
                </a:lnTo>
                <a:lnTo>
                  <a:pt x="7060" y="1090"/>
                </a:lnTo>
                <a:lnTo>
                  <a:pt x="7056" y="1086"/>
                </a:lnTo>
                <a:lnTo>
                  <a:pt x="7056" y="1088"/>
                </a:lnTo>
                <a:lnTo>
                  <a:pt x="7054" y="1090"/>
                </a:lnTo>
                <a:lnTo>
                  <a:pt x="7048" y="1094"/>
                </a:lnTo>
                <a:lnTo>
                  <a:pt x="7038" y="1098"/>
                </a:lnTo>
                <a:lnTo>
                  <a:pt x="7034" y="1100"/>
                </a:lnTo>
                <a:lnTo>
                  <a:pt x="7034" y="1102"/>
                </a:lnTo>
                <a:lnTo>
                  <a:pt x="7034" y="1106"/>
                </a:lnTo>
                <a:lnTo>
                  <a:pt x="7040" y="1110"/>
                </a:lnTo>
                <a:lnTo>
                  <a:pt x="7048" y="1112"/>
                </a:lnTo>
                <a:lnTo>
                  <a:pt x="7050" y="1112"/>
                </a:lnTo>
                <a:lnTo>
                  <a:pt x="7054" y="1108"/>
                </a:lnTo>
                <a:close/>
                <a:moveTo>
                  <a:pt x="7036" y="1110"/>
                </a:moveTo>
                <a:lnTo>
                  <a:pt x="7036" y="1110"/>
                </a:lnTo>
                <a:lnTo>
                  <a:pt x="7032" y="1108"/>
                </a:lnTo>
                <a:lnTo>
                  <a:pt x="7028" y="1106"/>
                </a:lnTo>
                <a:lnTo>
                  <a:pt x="7022" y="1106"/>
                </a:lnTo>
                <a:lnTo>
                  <a:pt x="7014" y="1108"/>
                </a:lnTo>
                <a:lnTo>
                  <a:pt x="7012" y="1110"/>
                </a:lnTo>
                <a:lnTo>
                  <a:pt x="7014" y="1112"/>
                </a:lnTo>
                <a:lnTo>
                  <a:pt x="7024" y="1114"/>
                </a:lnTo>
                <a:lnTo>
                  <a:pt x="7034" y="1114"/>
                </a:lnTo>
                <a:lnTo>
                  <a:pt x="7036" y="1112"/>
                </a:lnTo>
                <a:lnTo>
                  <a:pt x="7036" y="1110"/>
                </a:lnTo>
                <a:close/>
                <a:moveTo>
                  <a:pt x="7010" y="1098"/>
                </a:moveTo>
                <a:lnTo>
                  <a:pt x="7010" y="1098"/>
                </a:lnTo>
                <a:lnTo>
                  <a:pt x="7014" y="1096"/>
                </a:lnTo>
                <a:lnTo>
                  <a:pt x="7018" y="1094"/>
                </a:lnTo>
                <a:lnTo>
                  <a:pt x="7022" y="1092"/>
                </a:lnTo>
                <a:lnTo>
                  <a:pt x="7026" y="1094"/>
                </a:lnTo>
                <a:lnTo>
                  <a:pt x="7030" y="1094"/>
                </a:lnTo>
                <a:lnTo>
                  <a:pt x="7034" y="1094"/>
                </a:lnTo>
                <a:lnTo>
                  <a:pt x="7048" y="1082"/>
                </a:lnTo>
                <a:lnTo>
                  <a:pt x="7056" y="1076"/>
                </a:lnTo>
                <a:lnTo>
                  <a:pt x="7056" y="1074"/>
                </a:lnTo>
                <a:lnTo>
                  <a:pt x="7052" y="1072"/>
                </a:lnTo>
                <a:lnTo>
                  <a:pt x="7046" y="1074"/>
                </a:lnTo>
                <a:lnTo>
                  <a:pt x="7042" y="1076"/>
                </a:lnTo>
                <a:lnTo>
                  <a:pt x="7042" y="1078"/>
                </a:lnTo>
                <a:lnTo>
                  <a:pt x="7040" y="1080"/>
                </a:lnTo>
                <a:lnTo>
                  <a:pt x="7034" y="1080"/>
                </a:lnTo>
                <a:lnTo>
                  <a:pt x="7032" y="1080"/>
                </a:lnTo>
                <a:lnTo>
                  <a:pt x="7030" y="1080"/>
                </a:lnTo>
                <a:lnTo>
                  <a:pt x="7028" y="1084"/>
                </a:lnTo>
                <a:lnTo>
                  <a:pt x="7026" y="1086"/>
                </a:lnTo>
                <a:lnTo>
                  <a:pt x="7024" y="1086"/>
                </a:lnTo>
                <a:lnTo>
                  <a:pt x="7022" y="1084"/>
                </a:lnTo>
                <a:lnTo>
                  <a:pt x="7018" y="1084"/>
                </a:lnTo>
                <a:lnTo>
                  <a:pt x="7002" y="1088"/>
                </a:lnTo>
                <a:lnTo>
                  <a:pt x="6998" y="1090"/>
                </a:lnTo>
                <a:lnTo>
                  <a:pt x="7002" y="1092"/>
                </a:lnTo>
                <a:lnTo>
                  <a:pt x="7006" y="1094"/>
                </a:lnTo>
                <a:lnTo>
                  <a:pt x="7004" y="1096"/>
                </a:lnTo>
                <a:lnTo>
                  <a:pt x="7004" y="1098"/>
                </a:lnTo>
                <a:lnTo>
                  <a:pt x="7010" y="1098"/>
                </a:lnTo>
                <a:close/>
                <a:moveTo>
                  <a:pt x="6948" y="1122"/>
                </a:moveTo>
                <a:lnTo>
                  <a:pt x="6948" y="1122"/>
                </a:lnTo>
                <a:lnTo>
                  <a:pt x="6948" y="1118"/>
                </a:lnTo>
                <a:lnTo>
                  <a:pt x="6946" y="1116"/>
                </a:lnTo>
                <a:lnTo>
                  <a:pt x="6942" y="1116"/>
                </a:lnTo>
                <a:lnTo>
                  <a:pt x="6936" y="1118"/>
                </a:lnTo>
                <a:lnTo>
                  <a:pt x="6932" y="1122"/>
                </a:lnTo>
                <a:lnTo>
                  <a:pt x="6932" y="1126"/>
                </a:lnTo>
                <a:lnTo>
                  <a:pt x="6934" y="1128"/>
                </a:lnTo>
                <a:lnTo>
                  <a:pt x="6940" y="1130"/>
                </a:lnTo>
                <a:lnTo>
                  <a:pt x="6944" y="1130"/>
                </a:lnTo>
                <a:lnTo>
                  <a:pt x="6946" y="1130"/>
                </a:lnTo>
                <a:lnTo>
                  <a:pt x="6948" y="1122"/>
                </a:lnTo>
                <a:close/>
                <a:moveTo>
                  <a:pt x="6920" y="1126"/>
                </a:moveTo>
                <a:lnTo>
                  <a:pt x="6920" y="1126"/>
                </a:lnTo>
                <a:lnTo>
                  <a:pt x="6922" y="1124"/>
                </a:lnTo>
                <a:lnTo>
                  <a:pt x="6922" y="1122"/>
                </a:lnTo>
                <a:lnTo>
                  <a:pt x="6912" y="1118"/>
                </a:lnTo>
                <a:lnTo>
                  <a:pt x="6908" y="1116"/>
                </a:lnTo>
                <a:lnTo>
                  <a:pt x="6904" y="1114"/>
                </a:lnTo>
                <a:lnTo>
                  <a:pt x="6900" y="1112"/>
                </a:lnTo>
                <a:lnTo>
                  <a:pt x="6900" y="1114"/>
                </a:lnTo>
                <a:lnTo>
                  <a:pt x="6900" y="1120"/>
                </a:lnTo>
                <a:lnTo>
                  <a:pt x="6906" y="1124"/>
                </a:lnTo>
                <a:lnTo>
                  <a:pt x="6912" y="1126"/>
                </a:lnTo>
                <a:lnTo>
                  <a:pt x="6920" y="1126"/>
                </a:lnTo>
                <a:close/>
                <a:moveTo>
                  <a:pt x="6898" y="1140"/>
                </a:moveTo>
                <a:lnTo>
                  <a:pt x="6898" y="1140"/>
                </a:lnTo>
                <a:lnTo>
                  <a:pt x="6904" y="1134"/>
                </a:lnTo>
                <a:lnTo>
                  <a:pt x="6902" y="1132"/>
                </a:lnTo>
                <a:lnTo>
                  <a:pt x="6900" y="1130"/>
                </a:lnTo>
                <a:lnTo>
                  <a:pt x="6896" y="1130"/>
                </a:lnTo>
                <a:lnTo>
                  <a:pt x="6892" y="1130"/>
                </a:lnTo>
                <a:lnTo>
                  <a:pt x="6890" y="1130"/>
                </a:lnTo>
                <a:lnTo>
                  <a:pt x="6886" y="1128"/>
                </a:lnTo>
                <a:lnTo>
                  <a:pt x="6884" y="1128"/>
                </a:lnTo>
                <a:lnTo>
                  <a:pt x="6882" y="1128"/>
                </a:lnTo>
                <a:lnTo>
                  <a:pt x="6880" y="1130"/>
                </a:lnTo>
                <a:lnTo>
                  <a:pt x="6876" y="1130"/>
                </a:lnTo>
                <a:lnTo>
                  <a:pt x="6874" y="1130"/>
                </a:lnTo>
                <a:lnTo>
                  <a:pt x="6872" y="1132"/>
                </a:lnTo>
                <a:lnTo>
                  <a:pt x="6872" y="1134"/>
                </a:lnTo>
                <a:lnTo>
                  <a:pt x="6868" y="1136"/>
                </a:lnTo>
                <a:lnTo>
                  <a:pt x="6866" y="1140"/>
                </a:lnTo>
                <a:lnTo>
                  <a:pt x="6870" y="1140"/>
                </a:lnTo>
                <a:lnTo>
                  <a:pt x="6874" y="1142"/>
                </a:lnTo>
                <a:lnTo>
                  <a:pt x="6880" y="1146"/>
                </a:lnTo>
                <a:lnTo>
                  <a:pt x="6884" y="1148"/>
                </a:lnTo>
                <a:lnTo>
                  <a:pt x="6888" y="1146"/>
                </a:lnTo>
                <a:lnTo>
                  <a:pt x="6898" y="1140"/>
                </a:lnTo>
                <a:close/>
                <a:moveTo>
                  <a:pt x="6854" y="1166"/>
                </a:moveTo>
                <a:lnTo>
                  <a:pt x="6854" y="1166"/>
                </a:lnTo>
                <a:lnTo>
                  <a:pt x="6860" y="1166"/>
                </a:lnTo>
                <a:lnTo>
                  <a:pt x="6864" y="1164"/>
                </a:lnTo>
                <a:lnTo>
                  <a:pt x="6866" y="1162"/>
                </a:lnTo>
                <a:lnTo>
                  <a:pt x="6868" y="1158"/>
                </a:lnTo>
                <a:lnTo>
                  <a:pt x="6874" y="1154"/>
                </a:lnTo>
                <a:lnTo>
                  <a:pt x="6876" y="1152"/>
                </a:lnTo>
                <a:lnTo>
                  <a:pt x="6876" y="1150"/>
                </a:lnTo>
                <a:lnTo>
                  <a:pt x="6876" y="1148"/>
                </a:lnTo>
                <a:lnTo>
                  <a:pt x="6872" y="1144"/>
                </a:lnTo>
                <a:lnTo>
                  <a:pt x="6866" y="1142"/>
                </a:lnTo>
                <a:lnTo>
                  <a:pt x="6864" y="1144"/>
                </a:lnTo>
                <a:lnTo>
                  <a:pt x="6864" y="1146"/>
                </a:lnTo>
                <a:lnTo>
                  <a:pt x="6862" y="1146"/>
                </a:lnTo>
                <a:lnTo>
                  <a:pt x="6858" y="1148"/>
                </a:lnTo>
                <a:lnTo>
                  <a:pt x="6856" y="1148"/>
                </a:lnTo>
                <a:lnTo>
                  <a:pt x="6856" y="1150"/>
                </a:lnTo>
                <a:lnTo>
                  <a:pt x="6854" y="1150"/>
                </a:lnTo>
                <a:lnTo>
                  <a:pt x="6852" y="1148"/>
                </a:lnTo>
                <a:lnTo>
                  <a:pt x="6848" y="1150"/>
                </a:lnTo>
                <a:lnTo>
                  <a:pt x="6846" y="1152"/>
                </a:lnTo>
                <a:lnTo>
                  <a:pt x="6846" y="1156"/>
                </a:lnTo>
                <a:lnTo>
                  <a:pt x="6844" y="1160"/>
                </a:lnTo>
                <a:lnTo>
                  <a:pt x="6840" y="1160"/>
                </a:lnTo>
                <a:lnTo>
                  <a:pt x="6838" y="1160"/>
                </a:lnTo>
                <a:lnTo>
                  <a:pt x="6836" y="1162"/>
                </a:lnTo>
                <a:lnTo>
                  <a:pt x="6836" y="1164"/>
                </a:lnTo>
                <a:lnTo>
                  <a:pt x="6838" y="1166"/>
                </a:lnTo>
                <a:lnTo>
                  <a:pt x="6854" y="1166"/>
                </a:lnTo>
                <a:close/>
                <a:moveTo>
                  <a:pt x="6834" y="1168"/>
                </a:moveTo>
                <a:lnTo>
                  <a:pt x="6834" y="1168"/>
                </a:lnTo>
                <a:lnTo>
                  <a:pt x="6832" y="1168"/>
                </a:lnTo>
                <a:lnTo>
                  <a:pt x="6832" y="1166"/>
                </a:lnTo>
                <a:lnTo>
                  <a:pt x="6830" y="1164"/>
                </a:lnTo>
                <a:lnTo>
                  <a:pt x="6828" y="1164"/>
                </a:lnTo>
                <a:lnTo>
                  <a:pt x="6826" y="1166"/>
                </a:lnTo>
                <a:lnTo>
                  <a:pt x="6824" y="1164"/>
                </a:lnTo>
                <a:lnTo>
                  <a:pt x="6822" y="1162"/>
                </a:lnTo>
                <a:lnTo>
                  <a:pt x="6822" y="1164"/>
                </a:lnTo>
                <a:lnTo>
                  <a:pt x="6820" y="1166"/>
                </a:lnTo>
                <a:lnTo>
                  <a:pt x="6818" y="1164"/>
                </a:lnTo>
                <a:lnTo>
                  <a:pt x="6814" y="1164"/>
                </a:lnTo>
                <a:lnTo>
                  <a:pt x="6814" y="1166"/>
                </a:lnTo>
                <a:lnTo>
                  <a:pt x="6814" y="1168"/>
                </a:lnTo>
                <a:lnTo>
                  <a:pt x="6812" y="1168"/>
                </a:lnTo>
                <a:lnTo>
                  <a:pt x="6810" y="1168"/>
                </a:lnTo>
                <a:lnTo>
                  <a:pt x="6804" y="1168"/>
                </a:lnTo>
                <a:lnTo>
                  <a:pt x="6804" y="1170"/>
                </a:lnTo>
                <a:lnTo>
                  <a:pt x="6806" y="1172"/>
                </a:lnTo>
                <a:lnTo>
                  <a:pt x="6808" y="1174"/>
                </a:lnTo>
                <a:lnTo>
                  <a:pt x="6808" y="1176"/>
                </a:lnTo>
                <a:lnTo>
                  <a:pt x="6804" y="1176"/>
                </a:lnTo>
                <a:lnTo>
                  <a:pt x="6798" y="1178"/>
                </a:lnTo>
                <a:lnTo>
                  <a:pt x="6794" y="1178"/>
                </a:lnTo>
                <a:lnTo>
                  <a:pt x="6792" y="1180"/>
                </a:lnTo>
                <a:lnTo>
                  <a:pt x="6794" y="1180"/>
                </a:lnTo>
                <a:lnTo>
                  <a:pt x="6796" y="1182"/>
                </a:lnTo>
                <a:lnTo>
                  <a:pt x="6794" y="1182"/>
                </a:lnTo>
                <a:lnTo>
                  <a:pt x="6792" y="1184"/>
                </a:lnTo>
                <a:lnTo>
                  <a:pt x="6792" y="1186"/>
                </a:lnTo>
                <a:lnTo>
                  <a:pt x="6794" y="1188"/>
                </a:lnTo>
                <a:lnTo>
                  <a:pt x="6792" y="1188"/>
                </a:lnTo>
                <a:lnTo>
                  <a:pt x="6792" y="1192"/>
                </a:lnTo>
                <a:lnTo>
                  <a:pt x="6792" y="1194"/>
                </a:lnTo>
                <a:lnTo>
                  <a:pt x="6790" y="1198"/>
                </a:lnTo>
                <a:lnTo>
                  <a:pt x="6788" y="1200"/>
                </a:lnTo>
                <a:lnTo>
                  <a:pt x="6792" y="1200"/>
                </a:lnTo>
                <a:lnTo>
                  <a:pt x="6798" y="1200"/>
                </a:lnTo>
                <a:lnTo>
                  <a:pt x="6798" y="1202"/>
                </a:lnTo>
                <a:lnTo>
                  <a:pt x="6798" y="1204"/>
                </a:lnTo>
                <a:lnTo>
                  <a:pt x="6800" y="1204"/>
                </a:lnTo>
                <a:lnTo>
                  <a:pt x="6804" y="1202"/>
                </a:lnTo>
                <a:lnTo>
                  <a:pt x="6808" y="1198"/>
                </a:lnTo>
                <a:lnTo>
                  <a:pt x="6810" y="1194"/>
                </a:lnTo>
                <a:lnTo>
                  <a:pt x="6814" y="1192"/>
                </a:lnTo>
                <a:lnTo>
                  <a:pt x="6816" y="1192"/>
                </a:lnTo>
                <a:lnTo>
                  <a:pt x="6816" y="1194"/>
                </a:lnTo>
                <a:lnTo>
                  <a:pt x="6818" y="1196"/>
                </a:lnTo>
                <a:lnTo>
                  <a:pt x="6826" y="1196"/>
                </a:lnTo>
                <a:lnTo>
                  <a:pt x="6832" y="1194"/>
                </a:lnTo>
                <a:lnTo>
                  <a:pt x="6832" y="1192"/>
                </a:lnTo>
                <a:lnTo>
                  <a:pt x="6830" y="1188"/>
                </a:lnTo>
                <a:lnTo>
                  <a:pt x="6830" y="1184"/>
                </a:lnTo>
                <a:lnTo>
                  <a:pt x="6832" y="1180"/>
                </a:lnTo>
                <a:lnTo>
                  <a:pt x="6834" y="1178"/>
                </a:lnTo>
                <a:lnTo>
                  <a:pt x="6834" y="1176"/>
                </a:lnTo>
                <a:lnTo>
                  <a:pt x="6836" y="1170"/>
                </a:lnTo>
                <a:lnTo>
                  <a:pt x="6836" y="1168"/>
                </a:lnTo>
                <a:lnTo>
                  <a:pt x="6834" y="1168"/>
                </a:lnTo>
                <a:close/>
                <a:moveTo>
                  <a:pt x="6690" y="1264"/>
                </a:moveTo>
                <a:lnTo>
                  <a:pt x="6690" y="1264"/>
                </a:lnTo>
                <a:lnTo>
                  <a:pt x="6700" y="1260"/>
                </a:lnTo>
                <a:lnTo>
                  <a:pt x="6712" y="1252"/>
                </a:lnTo>
                <a:lnTo>
                  <a:pt x="6716" y="1248"/>
                </a:lnTo>
                <a:lnTo>
                  <a:pt x="6710" y="1248"/>
                </a:lnTo>
                <a:lnTo>
                  <a:pt x="6702" y="1248"/>
                </a:lnTo>
                <a:lnTo>
                  <a:pt x="6692" y="1250"/>
                </a:lnTo>
                <a:lnTo>
                  <a:pt x="6690" y="1252"/>
                </a:lnTo>
                <a:lnTo>
                  <a:pt x="6690" y="1254"/>
                </a:lnTo>
                <a:lnTo>
                  <a:pt x="6686" y="1256"/>
                </a:lnTo>
                <a:lnTo>
                  <a:pt x="6684" y="1256"/>
                </a:lnTo>
                <a:lnTo>
                  <a:pt x="6684" y="1258"/>
                </a:lnTo>
                <a:lnTo>
                  <a:pt x="6684" y="1260"/>
                </a:lnTo>
                <a:lnTo>
                  <a:pt x="6682" y="1262"/>
                </a:lnTo>
                <a:lnTo>
                  <a:pt x="6680" y="1264"/>
                </a:lnTo>
                <a:lnTo>
                  <a:pt x="6680" y="1266"/>
                </a:lnTo>
                <a:lnTo>
                  <a:pt x="6684" y="1266"/>
                </a:lnTo>
                <a:lnTo>
                  <a:pt x="6690" y="1264"/>
                </a:lnTo>
                <a:close/>
                <a:moveTo>
                  <a:pt x="6712" y="1218"/>
                </a:moveTo>
                <a:lnTo>
                  <a:pt x="6712" y="1218"/>
                </a:lnTo>
                <a:lnTo>
                  <a:pt x="6708" y="1218"/>
                </a:lnTo>
                <a:lnTo>
                  <a:pt x="6706" y="1220"/>
                </a:lnTo>
                <a:lnTo>
                  <a:pt x="6706" y="1222"/>
                </a:lnTo>
                <a:lnTo>
                  <a:pt x="6704" y="1222"/>
                </a:lnTo>
                <a:lnTo>
                  <a:pt x="6700" y="1222"/>
                </a:lnTo>
                <a:lnTo>
                  <a:pt x="6698" y="1220"/>
                </a:lnTo>
                <a:lnTo>
                  <a:pt x="6698" y="1218"/>
                </a:lnTo>
                <a:lnTo>
                  <a:pt x="6696" y="1220"/>
                </a:lnTo>
                <a:lnTo>
                  <a:pt x="6694" y="1220"/>
                </a:lnTo>
                <a:lnTo>
                  <a:pt x="6692" y="1222"/>
                </a:lnTo>
                <a:lnTo>
                  <a:pt x="6690" y="1222"/>
                </a:lnTo>
                <a:lnTo>
                  <a:pt x="6690" y="1224"/>
                </a:lnTo>
                <a:lnTo>
                  <a:pt x="6688" y="1226"/>
                </a:lnTo>
                <a:lnTo>
                  <a:pt x="6686" y="1228"/>
                </a:lnTo>
                <a:lnTo>
                  <a:pt x="6686" y="1230"/>
                </a:lnTo>
                <a:lnTo>
                  <a:pt x="6688" y="1234"/>
                </a:lnTo>
                <a:lnTo>
                  <a:pt x="6694" y="1236"/>
                </a:lnTo>
                <a:lnTo>
                  <a:pt x="6696" y="1234"/>
                </a:lnTo>
                <a:lnTo>
                  <a:pt x="6700" y="1230"/>
                </a:lnTo>
                <a:lnTo>
                  <a:pt x="6710" y="1228"/>
                </a:lnTo>
                <a:lnTo>
                  <a:pt x="6716" y="1228"/>
                </a:lnTo>
                <a:lnTo>
                  <a:pt x="6710" y="1230"/>
                </a:lnTo>
                <a:lnTo>
                  <a:pt x="6704" y="1234"/>
                </a:lnTo>
                <a:lnTo>
                  <a:pt x="6704" y="1236"/>
                </a:lnTo>
                <a:lnTo>
                  <a:pt x="6714" y="1236"/>
                </a:lnTo>
                <a:lnTo>
                  <a:pt x="6724" y="1232"/>
                </a:lnTo>
                <a:lnTo>
                  <a:pt x="6726" y="1232"/>
                </a:lnTo>
                <a:lnTo>
                  <a:pt x="6726" y="1230"/>
                </a:lnTo>
                <a:lnTo>
                  <a:pt x="6726" y="1226"/>
                </a:lnTo>
                <a:lnTo>
                  <a:pt x="6724" y="1224"/>
                </a:lnTo>
                <a:lnTo>
                  <a:pt x="6724" y="1222"/>
                </a:lnTo>
                <a:lnTo>
                  <a:pt x="6726" y="1220"/>
                </a:lnTo>
                <a:lnTo>
                  <a:pt x="6726" y="1218"/>
                </a:lnTo>
                <a:lnTo>
                  <a:pt x="6724" y="1212"/>
                </a:lnTo>
                <a:lnTo>
                  <a:pt x="6718" y="1208"/>
                </a:lnTo>
                <a:lnTo>
                  <a:pt x="6716" y="1206"/>
                </a:lnTo>
                <a:lnTo>
                  <a:pt x="6714" y="1206"/>
                </a:lnTo>
                <a:lnTo>
                  <a:pt x="6712" y="1208"/>
                </a:lnTo>
                <a:lnTo>
                  <a:pt x="6712" y="1210"/>
                </a:lnTo>
                <a:lnTo>
                  <a:pt x="6714" y="1214"/>
                </a:lnTo>
                <a:lnTo>
                  <a:pt x="6716" y="1216"/>
                </a:lnTo>
                <a:lnTo>
                  <a:pt x="6712" y="1218"/>
                </a:lnTo>
                <a:close/>
                <a:moveTo>
                  <a:pt x="6740" y="1208"/>
                </a:moveTo>
                <a:lnTo>
                  <a:pt x="6740" y="1208"/>
                </a:lnTo>
                <a:lnTo>
                  <a:pt x="6744" y="1206"/>
                </a:lnTo>
                <a:lnTo>
                  <a:pt x="6746" y="1204"/>
                </a:lnTo>
                <a:lnTo>
                  <a:pt x="6752" y="1196"/>
                </a:lnTo>
                <a:lnTo>
                  <a:pt x="6756" y="1190"/>
                </a:lnTo>
                <a:lnTo>
                  <a:pt x="6758" y="1186"/>
                </a:lnTo>
                <a:lnTo>
                  <a:pt x="6756" y="1184"/>
                </a:lnTo>
                <a:lnTo>
                  <a:pt x="6750" y="1186"/>
                </a:lnTo>
                <a:lnTo>
                  <a:pt x="6740" y="1194"/>
                </a:lnTo>
                <a:lnTo>
                  <a:pt x="6734" y="1200"/>
                </a:lnTo>
                <a:lnTo>
                  <a:pt x="6730" y="1206"/>
                </a:lnTo>
                <a:lnTo>
                  <a:pt x="6728" y="1212"/>
                </a:lnTo>
                <a:lnTo>
                  <a:pt x="6728" y="1214"/>
                </a:lnTo>
                <a:lnTo>
                  <a:pt x="6730" y="1216"/>
                </a:lnTo>
                <a:lnTo>
                  <a:pt x="6732" y="1214"/>
                </a:lnTo>
                <a:lnTo>
                  <a:pt x="6734" y="1212"/>
                </a:lnTo>
                <a:lnTo>
                  <a:pt x="6736" y="1208"/>
                </a:lnTo>
                <a:lnTo>
                  <a:pt x="6740" y="1208"/>
                </a:lnTo>
                <a:close/>
                <a:moveTo>
                  <a:pt x="6766" y="1216"/>
                </a:moveTo>
                <a:lnTo>
                  <a:pt x="6766" y="1216"/>
                </a:lnTo>
                <a:lnTo>
                  <a:pt x="6762" y="1214"/>
                </a:lnTo>
                <a:lnTo>
                  <a:pt x="6758" y="1216"/>
                </a:lnTo>
                <a:lnTo>
                  <a:pt x="6756" y="1220"/>
                </a:lnTo>
                <a:lnTo>
                  <a:pt x="6756" y="1222"/>
                </a:lnTo>
                <a:lnTo>
                  <a:pt x="6756" y="1226"/>
                </a:lnTo>
                <a:lnTo>
                  <a:pt x="6750" y="1232"/>
                </a:lnTo>
                <a:lnTo>
                  <a:pt x="6746" y="1234"/>
                </a:lnTo>
                <a:lnTo>
                  <a:pt x="6748" y="1230"/>
                </a:lnTo>
                <a:lnTo>
                  <a:pt x="6750" y="1226"/>
                </a:lnTo>
                <a:lnTo>
                  <a:pt x="6746" y="1224"/>
                </a:lnTo>
                <a:lnTo>
                  <a:pt x="6744" y="1224"/>
                </a:lnTo>
                <a:lnTo>
                  <a:pt x="6746" y="1220"/>
                </a:lnTo>
                <a:lnTo>
                  <a:pt x="6750" y="1214"/>
                </a:lnTo>
                <a:lnTo>
                  <a:pt x="6750" y="1212"/>
                </a:lnTo>
                <a:lnTo>
                  <a:pt x="6748" y="1210"/>
                </a:lnTo>
                <a:lnTo>
                  <a:pt x="6742" y="1210"/>
                </a:lnTo>
                <a:lnTo>
                  <a:pt x="6738" y="1214"/>
                </a:lnTo>
                <a:lnTo>
                  <a:pt x="6734" y="1218"/>
                </a:lnTo>
                <a:lnTo>
                  <a:pt x="6730" y="1224"/>
                </a:lnTo>
                <a:lnTo>
                  <a:pt x="6730" y="1228"/>
                </a:lnTo>
                <a:lnTo>
                  <a:pt x="6732" y="1232"/>
                </a:lnTo>
                <a:lnTo>
                  <a:pt x="6730" y="1236"/>
                </a:lnTo>
                <a:lnTo>
                  <a:pt x="6726" y="1238"/>
                </a:lnTo>
                <a:lnTo>
                  <a:pt x="6722" y="1240"/>
                </a:lnTo>
                <a:lnTo>
                  <a:pt x="6720" y="1242"/>
                </a:lnTo>
                <a:lnTo>
                  <a:pt x="6720" y="1246"/>
                </a:lnTo>
                <a:lnTo>
                  <a:pt x="6716" y="1254"/>
                </a:lnTo>
                <a:lnTo>
                  <a:pt x="6714" y="1260"/>
                </a:lnTo>
                <a:lnTo>
                  <a:pt x="6718" y="1258"/>
                </a:lnTo>
                <a:lnTo>
                  <a:pt x="6726" y="1256"/>
                </a:lnTo>
                <a:lnTo>
                  <a:pt x="6728" y="1256"/>
                </a:lnTo>
                <a:lnTo>
                  <a:pt x="6732" y="1256"/>
                </a:lnTo>
                <a:lnTo>
                  <a:pt x="6734" y="1258"/>
                </a:lnTo>
                <a:lnTo>
                  <a:pt x="6736" y="1258"/>
                </a:lnTo>
                <a:lnTo>
                  <a:pt x="6738" y="1254"/>
                </a:lnTo>
                <a:lnTo>
                  <a:pt x="6742" y="1250"/>
                </a:lnTo>
                <a:lnTo>
                  <a:pt x="6744" y="1250"/>
                </a:lnTo>
                <a:lnTo>
                  <a:pt x="6746" y="1252"/>
                </a:lnTo>
                <a:lnTo>
                  <a:pt x="6748" y="1252"/>
                </a:lnTo>
                <a:lnTo>
                  <a:pt x="6752" y="1248"/>
                </a:lnTo>
                <a:lnTo>
                  <a:pt x="6754" y="1244"/>
                </a:lnTo>
                <a:lnTo>
                  <a:pt x="6756" y="1240"/>
                </a:lnTo>
                <a:lnTo>
                  <a:pt x="6760" y="1238"/>
                </a:lnTo>
                <a:lnTo>
                  <a:pt x="6768" y="1236"/>
                </a:lnTo>
                <a:lnTo>
                  <a:pt x="6772" y="1236"/>
                </a:lnTo>
                <a:lnTo>
                  <a:pt x="6774" y="1234"/>
                </a:lnTo>
                <a:lnTo>
                  <a:pt x="6774" y="1230"/>
                </a:lnTo>
                <a:lnTo>
                  <a:pt x="6774" y="1228"/>
                </a:lnTo>
                <a:lnTo>
                  <a:pt x="6770" y="1220"/>
                </a:lnTo>
                <a:lnTo>
                  <a:pt x="6766" y="1216"/>
                </a:lnTo>
                <a:close/>
                <a:moveTo>
                  <a:pt x="6654" y="1274"/>
                </a:moveTo>
                <a:lnTo>
                  <a:pt x="6654" y="1274"/>
                </a:lnTo>
                <a:lnTo>
                  <a:pt x="6656" y="1272"/>
                </a:lnTo>
                <a:lnTo>
                  <a:pt x="6658" y="1272"/>
                </a:lnTo>
                <a:lnTo>
                  <a:pt x="6660" y="1272"/>
                </a:lnTo>
                <a:lnTo>
                  <a:pt x="6664" y="1272"/>
                </a:lnTo>
                <a:lnTo>
                  <a:pt x="6666" y="1270"/>
                </a:lnTo>
                <a:lnTo>
                  <a:pt x="6668" y="1266"/>
                </a:lnTo>
                <a:lnTo>
                  <a:pt x="6672" y="1264"/>
                </a:lnTo>
                <a:lnTo>
                  <a:pt x="6676" y="1262"/>
                </a:lnTo>
                <a:lnTo>
                  <a:pt x="6674" y="1262"/>
                </a:lnTo>
                <a:lnTo>
                  <a:pt x="6664" y="1260"/>
                </a:lnTo>
                <a:lnTo>
                  <a:pt x="6660" y="1258"/>
                </a:lnTo>
                <a:lnTo>
                  <a:pt x="6656" y="1258"/>
                </a:lnTo>
                <a:lnTo>
                  <a:pt x="6654" y="1262"/>
                </a:lnTo>
                <a:lnTo>
                  <a:pt x="6650" y="1266"/>
                </a:lnTo>
                <a:lnTo>
                  <a:pt x="6652" y="1268"/>
                </a:lnTo>
                <a:lnTo>
                  <a:pt x="6650" y="1272"/>
                </a:lnTo>
                <a:lnTo>
                  <a:pt x="6650" y="1274"/>
                </a:lnTo>
                <a:lnTo>
                  <a:pt x="6652" y="1276"/>
                </a:lnTo>
                <a:lnTo>
                  <a:pt x="6654" y="1274"/>
                </a:lnTo>
                <a:close/>
                <a:moveTo>
                  <a:pt x="6642" y="1270"/>
                </a:moveTo>
                <a:lnTo>
                  <a:pt x="6642" y="1270"/>
                </a:lnTo>
                <a:lnTo>
                  <a:pt x="6642" y="1272"/>
                </a:lnTo>
                <a:lnTo>
                  <a:pt x="6640" y="1274"/>
                </a:lnTo>
                <a:lnTo>
                  <a:pt x="6638" y="1274"/>
                </a:lnTo>
                <a:lnTo>
                  <a:pt x="6638" y="1278"/>
                </a:lnTo>
                <a:lnTo>
                  <a:pt x="6640" y="1280"/>
                </a:lnTo>
                <a:lnTo>
                  <a:pt x="6642" y="1280"/>
                </a:lnTo>
                <a:lnTo>
                  <a:pt x="6646" y="1274"/>
                </a:lnTo>
                <a:lnTo>
                  <a:pt x="6648" y="1270"/>
                </a:lnTo>
                <a:lnTo>
                  <a:pt x="6646" y="1268"/>
                </a:lnTo>
                <a:lnTo>
                  <a:pt x="6644" y="1268"/>
                </a:lnTo>
                <a:lnTo>
                  <a:pt x="6642" y="1270"/>
                </a:lnTo>
                <a:close/>
                <a:moveTo>
                  <a:pt x="6634" y="1276"/>
                </a:moveTo>
                <a:lnTo>
                  <a:pt x="6634" y="1276"/>
                </a:lnTo>
                <a:lnTo>
                  <a:pt x="6634" y="1272"/>
                </a:lnTo>
                <a:lnTo>
                  <a:pt x="6632" y="1272"/>
                </a:lnTo>
                <a:lnTo>
                  <a:pt x="6626" y="1282"/>
                </a:lnTo>
                <a:lnTo>
                  <a:pt x="6624" y="1290"/>
                </a:lnTo>
                <a:lnTo>
                  <a:pt x="6630" y="1288"/>
                </a:lnTo>
                <a:lnTo>
                  <a:pt x="6634" y="1284"/>
                </a:lnTo>
                <a:lnTo>
                  <a:pt x="6634" y="1282"/>
                </a:lnTo>
                <a:lnTo>
                  <a:pt x="6634" y="1276"/>
                </a:lnTo>
                <a:close/>
                <a:moveTo>
                  <a:pt x="6742" y="1278"/>
                </a:moveTo>
                <a:lnTo>
                  <a:pt x="6742" y="1278"/>
                </a:lnTo>
                <a:lnTo>
                  <a:pt x="6736" y="1278"/>
                </a:lnTo>
                <a:lnTo>
                  <a:pt x="6732" y="1278"/>
                </a:lnTo>
                <a:lnTo>
                  <a:pt x="6730" y="1280"/>
                </a:lnTo>
                <a:lnTo>
                  <a:pt x="6732" y="1282"/>
                </a:lnTo>
                <a:lnTo>
                  <a:pt x="6738" y="1280"/>
                </a:lnTo>
                <a:lnTo>
                  <a:pt x="6742" y="1280"/>
                </a:lnTo>
                <a:lnTo>
                  <a:pt x="6742" y="1278"/>
                </a:lnTo>
                <a:close/>
                <a:moveTo>
                  <a:pt x="6610" y="1406"/>
                </a:moveTo>
                <a:lnTo>
                  <a:pt x="6610" y="1406"/>
                </a:lnTo>
                <a:lnTo>
                  <a:pt x="6608" y="1410"/>
                </a:lnTo>
                <a:lnTo>
                  <a:pt x="6606" y="1414"/>
                </a:lnTo>
                <a:lnTo>
                  <a:pt x="6604" y="1416"/>
                </a:lnTo>
                <a:lnTo>
                  <a:pt x="6606" y="1416"/>
                </a:lnTo>
                <a:lnTo>
                  <a:pt x="6612" y="1414"/>
                </a:lnTo>
                <a:lnTo>
                  <a:pt x="6614" y="1412"/>
                </a:lnTo>
                <a:lnTo>
                  <a:pt x="6616" y="1408"/>
                </a:lnTo>
                <a:lnTo>
                  <a:pt x="6616" y="1404"/>
                </a:lnTo>
                <a:lnTo>
                  <a:pt x="6614" y="1404"/>
                </a:lnTo>
                <a:lnTo>
                  <a:pt x="6610" y="1404"/>
                </a:lnTo>
                <a:lnTo>
                  <a:pt x="6610" y="1406"/>
                </a:lnTo>
                <a:close/>
                <a:moveTo>
                  <a:pt x="6608" y="1424"/>
                </a:moveTo>
                <a:lnTo>
                  <a:pt x="6608" y="1424"/>
                </a:lnTo>
                <a:lnTo>
                  <a:pt x="6608" y="1426"/>
                </a:lnTo>
                <a:lnTo>
                  <a:pt x="6610" y="1426"/>
                </a:lnTo>
                <a:lnTo>
                  <a:pt x="6618" y="1422"/>
                </a:lnTo>
                <a:lnTo>
                  <a:pt x="6624" y="1418"/>
                </a:lnTo>
                <a:lnTo>
                  <a:pt x="6620" y="1418"/>
                </a:lnTo>
                <a:lnTo>
                  <a:pt x="6612" y="1418"/>
                </a:lnTo>
                <a:lnTo>
                  <a:pt x="6610" y="1420"/>
                </a:lnTo>
                <a:lnTo>
                  <a:pt x="6608" y="1424"/>
                </a:lnTo>
                <a:close/>
                <a:moveTo>
                  <a:pt x="6606" y="1454"/>
                </a:moveTo>
                <a:lnTo>
                  <a:pt x="6606" y="1454"/>
                </a:lnTo>
                <a:lnTo>
                  <a:pt x="6602" y="1450"/>
                </a:lnTo>
                <a:lnTo>
                  <a:pt x="6600" y="1450"/>
                </a:lnTo>
                <a:lnTo>
                  <a:pt x="6600" y="1454"/>
                </a:lnTo>
                <a:lnTo>
                  <a:pt x="6600" y="1456"/>
                </a:lnTo>
                <a:lnTo>
                  <a:pt x="6598" y="1458"/>
                </a:lnTo>
                <a:lnTo>
                  <a:pt x="6596" y="1460"/>
                </a:lnTo>
                <a:lnTo>
                  <a:pt x="6596" y="1462"/>
                </a:lnTo>
                <a:lnTo>
                  <a:pt x="6594" y="1466"/>
                </a:lnTo>
                <a:lnTo>
                  <a:pt x="6592" y="1470"/>
                </a:lnTo>
                <a:lnTo>
                  <a:pt x="6592" y="1472"/>
                </a:lnTo>
                <a:lnTo>
                  <a:pt x="6594" y="1472"/>
                </a:lnTo>
                <a:lnTo>
                  <a:pt x="6598" y="1470"/>
                </a:lnTo>
                <a:lnTo>
                  <a:pt x="6598" y="1468"/>
                </a:lnTo>
                <a:lnTo>
                  <a:pt x="6600" y="1464"/>
                </a:lnTo>
                <a:lnTo>
                  <a:pt x="6602" y="1462"/>
                </a:lnTo>
                <a:lnTo>
                  <a:pt x="6608" y="1460"/>
                </a:lnTo>
                <a:lnTo>
                  <a:pt x="6608" y="1458"/>
                </a:lnTo>
                <a:lnTo>
                  <a:pt x="6606" y="1454"/>
                </a:lnTo>
                <a:close/>
                <a:moveTo>
                  <a:pt x="6590" y="1440"/>
                </a:moveTo>
                <a:lnTo>
                  <a:pt x="6590" y="1440"/>
                </a:lnTo>
                <a:lnTo>
                  <a:pt x="6588" y="1438"/>
                </a:lnTo>
                <a:lnTo>
                  <a:pt x="6584" y="1438"/>
                </a:lnTo>
                <a:lnTo>
                  <a:pt x="6580" y="1440"/>
                </a:lnTo>
                <a:lnTo>
                  <a:pt x="6580" y="1444"/>
                </a:lnTo>
                <a:lnTo>
                  <a:pt x="6582" y="1446"/>
                </a:lnTo>
                <a:lnTo>
                  <a:pt x="6586" y="1444"/>
                </a:lnTo>
                <a:lnTo>
                  <a:pt x="6590" y="1442"/>
                </a:lnTo>
                <a:lnTo>
                  <a:pt x="6590" y="1440"/>
                </a:lnTo>
                <a:close/>
                <a:moveTo>
                  <a:pt x="6602" y="1480"/>
                </a:moveTo>
                <a:lnTo>
                  <a:pt x="6602" y="1480"/>
                </a:lnTo>
                <a:lnTo>
                  <a:pt x="6604" y="1476"/>
                </a:lnTo>
                <a:lnTo>
                  <a:pt x="6602" y="1474"/>
                </a:lnTo>
                <a:lnTo>
                  <a:pt x="6598" y="1474"/>
                </a:lnTo>
                <a:lnTo>
                  <a:pt x="6596" y="1474"/>
                </a:lnTo>
                <a:lnTo>
                  <a:pt x="6594" y="1476"/>
                </a:lnTo>
                <a:lnTo>
                  <a:pt x="6590" y="1480"/>
                </a:lnTo>
                <a:lnTo>
                  <a:pt x="6592" y="1482"/>
                </a:lnTo>
                <a:lnTo>
                  <a:pt x="6596" y="1480"/>
                </a:lnTo>
                <a:lnTo>
                  <a:pt x="6602" y="1480"/>
                </a:lnTo>
                <a:close/>
                <a:moveTo>
                  <a:pt x="6572" y="1482"/>
                </a:moveTo>
                <a:lnTo>
                  <a:pt x="6572" y="1482"/>
                </a:lnTo>
                <a:lnTo>
                  <a:pt x="6574" y="1484"/>
                </a:lnTo>
                <a:lnTo>
                  <a:pt x="6582" y="1480"/>
                </a:lnTo>
                <a:lnTo>
                  <a:pt x="6584" y="1480"/>
                </a:lnTo>
                <a:lnTo>
                  <a:pt x="6582" y="1478"/>
                </a:lnTo>
                <a:lnTo>
                  <a:pt x="6576" y="1478"/>
                </a:lnTo>
                <a:lnTo>
                  <a:pt x="6572" y="1482"/>
                </a:lnTo>
                <a:close/>
                <a:moveTo>
                  <a:pt x="6564" y="1522"/>
                </a:moveTo>
                <a:lnTo>
                  <a:pt x="6564" y="1522"/>
                </a:lnTo>
                <a:lnTo>
                  <a:pt x="6566" y="1522"/>
                </a:lnTo>
                <a:lnTo>
                  <a:pt x="6568" y="1520"/>
                </a:lnTo>
                <a:lnTo>
                  <a:pt x="6566" y="1518"/>
                </a:lnTo>
                <a:lnTo>
                  <a:pt x="6564" y="1518"/>
                </a:lnTo>
                <a:lnTo>
                  <a:pt x="6562" y="1516"/>
                </a:lnTo>
                <a:lnTo>
                  <a:pt x="6560" y="1514"/>
                </a:lnTo>
                <a:lnTo>
                  <a:pt x="6558" y="1514"/>
                </a:lnTo>
                <a:lnTo>
                  <a:pt x="6556" y="1514"/>
                </a:lnTo>
                <a:lnTo>
                  <a:pt x="6556" y="1516"/>
                </a:lnTo>
                <a:lnTo>
                  <a:pt x="6556" y="1520"/>
                </a:lnTo>
                <a:lnTo>
                  <a:pt x="6560" y="1520"/>
                </a:lnTo>
                <a:lnTo>
                  <a:pt x="6564" y="1522"/>
                </a:lnTo>
                <a:close/>
                <a:moveTo>
                  <a:pt x="6564" y="1514"/>
                </a:moveTo>
                <a:lnTo>
                  <a:pt x="6564" y="1514"/>
                </a:lnTo>
                <a:lnTo>
                  <a:pt x="6566" y="1512"/>
                </a:lnTo>
                <a:lnTo>
                  <a:pt x="6564" y="1510"/>
                </a:lnTo>
                <a:lnTo>
                  <a:pt x="6560" y="1508"/>
                </a:lnTo>
                <a:lnTo>
                  <a:pt x="6558" y="1508"/>
                </a:lnTo>
                <a:lnTo>
                  <a:pt x="6560" y="1510"/>
                </a:lnTo>
                <a:lnTo>
                  <a:pt x="6562" y="1512"/>
                </a:lnTo>
                <a:lnTo>
                  <a:pt x="6564" y="1514"/>
                </a:lnTo>
                <a:close/>
                <a:moveTo>
                  <a:pt x="6550" y="1510"/>
                </a:moveTo>
                <a:lnTo>
                  <a:pt x="6550" y="1510"/>
                </a:lnTo>
                <a:lnTo>
                  <a:pt x="6550" y="1512"/>
                </a:lnTo>
                <a:lnTo>
                  <a:pt x="6552" y="1512"/>
                </a:lnTo>
                <a:lnTo>
                  <a:pt x="6556" y="1512"/>
                </a:lnTo>
                <a:lnTo>
                  <a:pt x="6556" y="1510"/>
                </a:lnTo>
                <a:lnTo>
                  <a:pt x="6554" y="1508"/>
                </a:lnTo>
                <a:lnTo>
                  <a:pt x="6552" y="1508"/>
                </a:lnTo>
                <a:lnTo>
                  <a:pt x="6550" y="1510"/>
                </a:lnTo>
                <a:close/>
                <a:moveTo>
                  <a:pt x="6620" y="1402"/>
                </a:moveTo>
                <a:lnTo>
                  <a:pt x="6620" y="1402"/>
                </a:lnTo>
                <a:lnTo>
                  <a:pt x="6622" y="1404"/>
                </a:lnTo>
                <a:lnTo>
                  <a:pt x="6626" y="1402"/>
                </a:lnTo>
                <a:lnTo>
                  <a:pt x="6626" y="1400"/>
                </a:lnTo>
                <a:lnTo>
                  <a:pt x="6626" y="1398"/>
                </a:lnTo>
                <a:lnTo>
                  <a:pt x="6624" y="1398"/>
                </a:lnTo>
                <a:lnTo>
                  <a:pt x="6620" y="1398"/>
                </a:lnTo>
                <a:lnTo>
                  <a:pt x="6620" y="1400"/>
                </a:lnTo>
                <a:lnTo>
                  <a:pt x="6620" y="1402"/>
                </a:lnTo>
                <a:close/>
                <a:moveTo>
                  <a:pt x="6436" y="1594"/>
                </a:moveTo>
                <a:lnTo>
                  <a:pt x="6436" y="1594"/>
                </a:lnTo>
                <a:lnTo>
                  <a:pt x="6434" y="1592"/>
                </a:lnTo>
                <a:lnTo>
                  <a:pt x="6428" y="1592"/>
                </a:lnTo>
                <a:lnTo>
                  <a:pt x="6422" y="1594"/>
                </a:lnTo>
                <a:lnTo>
                  <a:pt x="6420" y="1594"/>
                </a:lnTo>
                <a:lnTo>
                  <a:pt x="6420" y="1596"/>
                </a:lnTo>
                <a:lnTo>
                  <a:pt x="6426" y="1598"/>
                </a:lnTo>
                <a:lnTo>
                  <a:pt x="6432" y="1598"/>
                </a:lnTo>
                <a:lnTo>
                  <a:pt x="6436" y="1596"/>
                </a:lnTo>
                <a:lnTo>
                  <a:pt x="6436" y="1594"/>
                </a:lnTo>
                <a:close/>
                <a:moveTo>
                  <a:pt x="6460" y="1576"/>
                </a:moveTo>
                <a:lnTo>
                  <a:pt x="6460" y="1576"/>
                </a:lnTo>
                <a:lnTo>
                  <a:pt x="6464" y="1574"/>
                </a:lnTo>
                <a:lnTo>
                  <a:pt x="6464" y="1570"/>
                </a:lnTo>
                <a:lnTo>
                  <a:pt x="6462" y="1568"/>
                </a:lnTo>
                <a:lnTo>
                  <a:pt x="6460" y="1568"/>
                </a:lnTo>
                <a:lnTo>
                  <a:pt x="6456" y="1572"/>
                </a:lnTo>
                <a:lnTo>
                  <a:pt x="6450" y="1572"/>
                </a:lnTo>
                <a:lnTo>
                  <a:pt x="6444" y="1574"/>
                </a:lnTo>
                <a:lnTo>
                  <a:pt x="6442" y="1576"/>
                </a:lnTo>
                <a:lnTo>
                  <a:pt x="6442" y="1578"/>
                </a:lnTo>
                <a:lnTo>
                  <a:pt x="6448" y="1578"/>
                </a:lnTo>
                <a:lnTo>
                  <a:pt x="6460" y="1576"/>
                </a:lnTo>
                <a:close/>
                <a:moveTo>
                  <a:pt x="6456" y="1592"/>
                </a:moveTo>
                <a:lnTo>
                  <a:pt x="6456" y="1592"/>
                </a:lnTo>
                <a:lnTo>
                  <a:pt x="6468" y="1588"/>
                </a:lnTo>
                <a:lnTo>
                  <a:pt x="6474" y="1586"/>
                </a:lnTo>
                <a:lnTo>
                  <a:pt x="6476" y="1586"/>
                </a:lnTo>
                <a:lnTo>
                  <a:pt x="6476" y="1582"/>
                </a:lnTo>
                <a:lnTo>
                  <a:pt x="6472" y="1582"/>
                </a:lnTo>
                <a:lnTo>
                  <a:pt x="6470" y="1582"/>
                </a:lnTo>
                <a:lnTo>
                  <a:pt x="6470" y="1580"/>
                </a:lnTo>
                <a:lnTo>
                  <a:pt x="6470" y="1578"/>
                </a:lnTo>
                <a:lnTo>
                  <a:pt x="6468" y="1578"/>
                </a:lnTo>
                <a:lnTo>
                  <a:pt x="6464" y="1580"/>
                </a:lnTo>
                <a:lnTo>
                  <a:pt x="6452" y="1584"/>
                </a:lnTo>
                <a:lnTo>
                  <a:pt x="6444" y="1586"/>
                </a:lnTo>
                <a:lnTo>
                  <a:pt x="6442" y="1588"/>
                </a:lnTo>
                <a:lnTo>
                  <a:pt x="6442" y="1592"/>
                </a:lnTo>
                <a:lnTo>
                  <a:pt x="6446" y="1594"/>
                </a:lnTo>
                <a:lnTo>
                  <a:pt x="6456" y="1592"/>
                </a:lnTo>
                <a:close/>
                <a:moveTo>
                  <a:pt x="6428" y="1610"/>
                </a:moveTo>
                <a:lnTo>
                  <a:pt x="6428" y="1610"/>
                </a:lnTo>
                <a:lnTo>
                  <a:pt x="6430" y="1612"/>
                </a:lnTo>
                <a:lnTo>
                  <a:pt x="6432" y="1612"/>
                </a:lnTo>
                <a:lnTo>
                  <a:pt x="6436" y="1612"/>
                </a:lnTo>
                <a:lnTo>
                  <a:pt x="6436" y="1608"/>
                </a:lnTo>
                <a:lnTo>
                  <a:pt x="6434" y="1606"/>
                </a:lnTo>
                <a:lnTo>
                  <a:pt x="6430" y="1606"/>
                </a:lnTo>
                <a:lnTo>
                  <a:pt x="6428" y="1608"/>
                </a:lnTo>
                <a:lnTo>
                  <a:pt x="6428" y="1610"/>
                </a:lnTo>
                <a:close/>
                <a:moveTo>
                  <a:pt x="6418" y="1622"/>
                </a:moveTo>
                <a:lnTo>
                  <a:pt x="6418" y="1622"/>
                </a:lnTo>
                <a:lnTo>
                  <a:pt x="6418" y="1620"/>
                </a:lnTo>
                <a:lnTo>
                  <a:pt x="6418" y="1618"/>
                </a:lnTo>
                <a:lnTo>
                  <a:pt x="6414" y="1616"/>
                </a:lnTo>
                <a:lnTo>
                  <a:pt x="6412" y="1618"/>
                </a:lnTo>
                <a:lnTo>
                  <a:pt x="6410" y="1618"/>
                </a:lnTo>
                <a:lnTo>
                  <a:pt x="6408" y="1618"/>
                </a:lnTo>
                <a:lnTo>
                  <a:pt x="6406" y="1618"/>
                </a:lnTo>
                <a:lnTo>
                  <a:pt x="6404" y="1620"/>
                </a:lnTo>
                <a:lnTo>
                  <a:pt x="6404" y="1622"/>
                </a:lnTo>
                <a:lnTo>
                  <a:pt x="6408" y="1622"/>
                </a:lnTo>
                <a:lnTo>
                  <a:pt x="6418" y="1622"/>
                </a:lnTo>
                <a:close/>
                <a:moveTo>
                  <a:pt x="6384" y="1640"/>
                </a:moveTo>
                <a:lnTo>
                  <a:pt x="6384" y="1640"/>
                </a:lnTo>
                <a:lnTo>
                  <a:pt x="6382" y="1638"/>
                </a:lnTo>
                <a:lnTo>
                  <a:pt x="6378" y="1638"/>
                </a:lnTo>
                <a:lnTo>
                  <a:pt x="6374" y="1640"/>
                </a:lnTo>
                <a:lnTo>
                  <a:pt x="6374" y="1644"/>
                </a:lnTo>
                <a:lnTo>
                  <a:pt x="6376" y="1644"/>
                </a:lnTo>
                <a:lnTo>
                  <a:pt x="6380" y="1644"/>
                </a:lnTo>
                <a:lnTo>
                  <a:pt x="6384" y="1644"/>
                </a:lnTo>
                <a:lnTo>
                  <a:pt x="6386" y="1642"/>
                </a:lnTo>
                <a:lnTo>
                  <a:pt x="6384" y="1640"/>
                </a:lnTo>
                <a:close/>
                <a:moveTo>
                  <a:pt x="6346" y="1662"/>
                </a:moveTo>
                <a:lnTo>
                  <a:pt x="6346" y="1662"/>
                </a:lnTo>
                <a:lnTo>
                  <a:pt x="6344" y="1662"/>
                </a:lnTo>
                <a:lnTo>
                  <a:pt x="6342" y="1664"/>
                </a:lnTo>
                <a:lnTo>
                  <a:pt x="6340" y="1668"/>
                </a:lnTo>
                <a:lnTo>
                  <a:pt x="6340" y="1672"/>
                </a:lnTo>
                <a:lnTo>
                  <a:pt x="6344" y="1672"/>
                </a:lnTo>
                <a:lnTo>
                  <a:pt x="6348" y="1668"/>
                </a:lnTo>
                <a:lnTo>
                  <a:pt x="6350" y="1664"/>
                </a:lnTo>
                <a:lnTo>
                  <a:pt x="6348" y="1662"/>
                </a:lnTo>
                <a:lnTo>
                  <a:pt x="6346" y="1662"/>
                </a:lnTo>
                <a:close/>
                <a:moveTo>
                  <a:pt x="6336" y="1670"/>
                </a:moveTo>
                <a:lnTo>
                  <a:pt x="6336" y="1670"/>
                </a:lnTo>
                <a:lnTo>
                  <a:pt x="6332" y="1668"/>
                </a:lnTo>
                <a:lnTo>
                  <a:pt x="6330" y="1670"/>
                </a:lnTo>
                <a:lnTo>
                  <a:pt x="6328" y="1672"/>
                </a:lnTo>
                <a:lnTo>
                  <a:pt x="6330" y="1674"/>
                </a:lnTo>
                <a:lnTo>
                  <a:pt x="6332" y="1674"/>
                </a:lnTo>
                <a:lnTo>
                  <a:pt x="6336" y="1672"/>
                </a:lnTo>
                <a:lnTo>
                  <a:pt x="6336" y="1670"/>
                </a:lnTo>
                <a:close/>
                <a:moveTo>
                  <a:pt x="6302" y="1700"/>
                </a:moveTo>
                <a:lnTo>
                  <a:pt x="6302" y="1700"/>
                </a:lnTo>
                <a:lnTo>
                  <a:pt x="6306" y="1702"/>
                </a:lnTo>
                <a:lnTo>
                  <a:pt x="6310" y="1700"/>
                </a:lnTo>
                <a:lnTo>
                  <a:pt x="6312" y="1698"/>
                </a:lnTo>
                <a:lnTo>
                  <a:pt x="6312" y="1696"/>
                </a:lnTo>
                <a:lnTo>
                  <a:pt x="6308" y="1696"/>
                </a:lnTo>
                <a:lnTo>
                  <a:pt x="6302" y="1696"/>
                </a:lnTo>
                <a:lnTo>
                  <a:pt x="6300" y="1698"/>
                </a:lnTo>
                <a:lnTo>
                  <a:pt x="6302" y="1700"/>
                </a:lnTo>
                <a:close/>
                <a:moveTo>
                  <a:pt x="6302" y="1750"/>
                </a:moveTo>
                <a:lnTo>
                  <a:pt x="6302" y="1750"/>
                </a:lnTo>
                <a:lnTo>
                  <a:pt x="6306" y="1750"/>
                </a:lnTo>
                <a:lnTo>
                  <a:pt x="6306" y="1748"/>
                </a:lnTo>
                <a:lnTo>
                  <a:pt x="6306" y="1744"/>
                </a:lnTo>
                <a:lnTo>
                  <a:pt x="6304" y="1744"/>
                </a:lnTo>
                <a:lnTo>
                  <a:pt x="6300" y="1746"/>
                </a:lnTo>
                <a:lnTo>
                  <a:pt x="6300" y="1748"/>
                </a:lnTo>
                <a:lnTo>
                  <a:pt x="6302" y="1750"/>
                </a:lnTo>
                <a:close/>
                <a:moveTo>
                  <a:pt x="6330" y="1826"/>
                </a:moveTo>
                <a:lnTo>
                  <a:pt x="6330" y="1826"/>
                </a:lnTo>
                <a:lnTo>
                  <a:pt x="6332" y="1826"/>
                </a:lnTo>
                <a:lnTo>
                  <a:pt x="6334" y="1818"/>
                </a:lnTo>
                <a:lnTo>
                  <a:pt x="6334" y="1816"/>
                </a:lnTo>
                <a:lnTo>
                  <a:pt x="6334" y="1814"/>
                </a:lnTo>
                <a:lnTo>
                  <a:pt x="6330" y="1814"/>
                </a:lnTo>
                <a:lnTo>
                  <a:pt x="6324" y="1818"/>
                </a:lnTo>
                <a:lnTo>
                  <a:pt x="6320" y="1822"/>
                </a:lnTo>
                <a:lnTo>
                  <a:pt x="6318" y="1826"/>
                </a:lnTo>
                <a:lnTo>
                  <a:pt x="6320" y="1830"/>
                </a:lnTo>
                <a:lnTo>
                  <a:pt x="6322" y="1834"/>
                </a:lnTo>
                <a:lnTo>
                  <a:pt x="6328" y="1834"/>
                </a:lnTo>
                <a:lnTo>
                  <a:pt x="6328" y="1832"/>
                </a:lnTo>
                <a:lnTo>
                  <a:pt x="6326" y="1826"/>
                </a:lnTo>
                <a:lnTo>
                  <a:pt x="6324" y="1824"/>
                </a:lnTo>
                <a:lnTo>
                  <a:pt x="6326" y="1822"/>
                </a:lnTo>
                <a:lnTo>
                  <a:pt x="6330" y="1826"/>
                </a:lnTo>
                <a:close/>
                <a:moveTo>
                  <a:pt x="6316" y="1876"/>
                </a:moveTo>
                <a:lnTo>
                  <a:pt x="6316" y="1876"/>
                </a:lnTo>
                <a:lnTo>
                  <a:pt x="6318" y="1874"/>
                </a:lnTo>
                <a:lnTo>
                  <a:pt x="6318" y="1872"/>
                </a:lnTo>
                <a:lnTo>
                  <a:pt x="6318" y="1864"/>
                </a:lnTo>
                <a:lnTo>
                  <a:pt x="6316" y="1860"/>
                </a:lnTo>
                <a:lnTo>
                  <a:pt x="6314" y="1860"/>
                </a:lnTo>
                <a:lnTo>
                  <a:pt x="6314" y="1862"/>
                </a:lnTo>
                <a:lnTo>
                  <a:pt x="6314" y="1872"/>
                </a:lnTo>
                <a:lnTo>
                  <a:pt x="6314" y="1874"/>
                </a:lnTo>
                <a:lnTo>
                  <a:pt x="6316" y="1876"/>
                </a:lnTo>
                <a:close/>
                <a:moveTo>
                  <a:pt x="6314" y="1844"/>
                </a:moveTo>
                <a:lnTo>
                  <a:pt x="6314" y="1846"/>
                </a:lnTo>
                <a:lnTo>
                  <a:pt x="6314" y="1844"/>
                </a:lnTo>
                <a:lnTo>
                  <a:pt x="6316" y="1840"/>
                </a:lnTo>
                <a:lnTo>
                  <a:pt x="6318" y="1836"/>
                </a:lnTo>
                <a:lnTo>
                  <a:pt x="6318" y="1838"/>
                </a:lnTo>
                <a:lnTo>
                  <a:pt x="6320" y="1838"/>
                </a:lnTo>
                <a:lnTo>
                  <a:pt x="6320" y="1840"/>
                </a:lnTo>
                <a:lnTo>
                  <a:pt x="6322" y="1840"/>
                </a:lnTo>
                <a:lnTo>
                  <a:pt x="6322" y="1838"/>
                </a:lnTo>
                <a:lnTo>
                  <a:pt x="6322" y="1836"/>
                </a:lnTo>
                <a:lnTo>
                  <a:pt x="6316" y="1830"/>
                </a:lnTo>
                <a:lnTo>
                  <a:pt x="6314" y="1830"/>
                </a:lnTo>
                <a:lnTo>
                  <a:pt x="6312" y="1834"/>
                </a:lnTo>
                <a:lnTo>
                  <a:pt x="6314" y="1844"/>
                </a:lnTo>
                <a:close/>
                <a:moveTo>
                  <a:pt x="6308" y="1808"/>
                </a:moveTo>
                <a:lnTo>
                  <a:pt x="6308" y="1808"/>
                </a:lnTo>
                <a:lnTo>
                  <a:pt x="6310" y="1808"/>
                </a:lnTo>
                <a:lnTo>
                  <a:pt x="6312" y="1806"/>
                </a:lnTo>
                <a:lnTo>
                  <a:pt x="6312" y="1802"/>
                </a:lnTo>
                <a:lnTo>
                  <a:pt x="6308" y="1792"/>
                </a:lnTo>
                <a:lnTo>
                  <a:pt x="6306" y="1792"/>
                </a:lnTo>
                <a:lnTo>
                  <a:pt x="6306" y="1798"/>
                </a:lnTo>
                <a:lnTo>
                  <a:pt x="6306" y="1804"/>
                </a:lnTo>
                <a:lnTo>
                  <a:pt x="6308" y="1806"/>
                </a:lnTo>
                <a:lnTo>
                  <a:pt x="6308" y="1808"/>
                </a:lnTo>
                <a:close/>
                <a:moveTo>
                  <a:pt x="6314" y="1792"/>
                </a:moveTo>
                <a:lnTo>
                  <a:pt x="6314" y="1792"/>
                </a:lnTo>
                <a:lnTo>
                  <a:pt x="6310" y="1786"/>
                </a:lnTo>
                <a:lnTo>
                  <a:pt x="6308" y="1784"/>
                </a:lnTo>
                <a:lnTo>
                  <a:pt x="6306" y="1784"/>
                </a:lnTo>
                <a:lnTo>
                  <a:pt x="6310" y="1792"/>
                </a:lnTo>
                <a:lnTo>
                  <a:pt x="6312" y="1792"/>
                </a:lnTo>
                <a:lnTo>
                  <a:pt x="6314" y="1792"/>
                </a:lnTo>
                <a:close/>
                <a:moveTo>
                  <a:pt x="6304" y="1772"/>
                </a:moveTo>
                <a:lnTo>
                  <a:pt x="6304" y="1772"/>
                </a:lnTo>
                <a:lnTo>
                  <a:pt x="6300" y="1772"/>
                </a:lnTo>
                <a:lnTo>
                  <a:pt x="6302" y="1774"/>
                </a:lnTo>
                <a:lnTo>
                  <a:pt x="6308" y="1780"/>
                </a:lnTo>
                <a:lnTo>
                  <a:pt x="6310" y="1780"/>
                </a:lnTo>
                <a:lnTo>
                  <a:pt x="6310" y="1778"/>
                </a:lnTo>
                <a:lnTo>
                  <a:pt x="6308" y="1776"/>
                </a:lnTo>
                <a:lnTo>
                  <a:pt x="6304" y="1772"/>
                </a:lnTo>
                <a:close/>
                <a:moveTo>
                  <a:pt x="6046" y="2400"/>
                </a:moveTo>
                <a:lnTo>
                  <a:pt x="6046" y="2400"/>
                </a:lnTo>
                <a:lnTo>
                  <a:pt x="6054" y="2404"/>
                </a:lnTo>
                <a:lnTo>
                  <a:pt x="6060" y="2406"/>
                </a:lnTo>
                <a:lnTo>
                  <a:pt x="6064" y="2402"/>
                </a:lnTo>
                <a:lnTo>
                  <a:pt x="6064" y="2400"/>
                </a:lnTo>
                <a:lnTo>
                  <a:pt x="6060" y="2396"/>
                </a:lnTo>
                <a:lnTo>
                  <a:pt x="6056" y="2396"/>
                </a:lnTo>
                <a:lnTo>
                  <a:pt x="6052" y="2398"/>
                </a:lnTo>
                <a:lnTo>
                  <a:pt x="6046" y="2400"/>
                </a:lnTo>
                <a:close/>
                <a:moveTo>
                  <a:pt x="5812" y="1988"/>
                </a:moveTo>
                <a:lnTo>
                  <a:pt x="5812" y="1988"/>
                </a:lnTo>
                <a:lnTo>
                  <a:pt x="5810" y="1988"/>
                </a:lnTo>
                <a:lnTo>
                  <a:pt x="5808" y="1988"/>
                </a:lnTo>
                <a:lnTo>
                  <a:pt x="5808" y="1996"/>
                </a:lnTo>
                <a:lnTo>
                  <a:pt x="5810" y="2002"/>
                </a:lnTo>
                <a:lnTo>
                  <a:pt x="5810" y="2006"/>
                </a:lnTo>
                <a:lnTo>
                  <a:pt x="5812" y="2006"/>
                </a:lnTo>
                <a:lnTo>
                  <a:pt x="5814" y="2004"/>
                </a:lnTo>
                <a:lnTo>
                  <a:pt x="5814" y="2002"/>
                </a:lnTo>
                <a:lnTo>
                  <a:pt x="5812" y="1998"/>
                </a:lnTo>
                <a:lnTo>
                  <a:pt x="5812" y="1996"/>
                </a:lnTo>
                <a:lnTo>
                  <a:pt x="5816" y="1994"/>
                </a:lnTo>
                <a:lnTo>
                  <a:pt x="5816" y="1992"/>
                </a:lnTo>
                <a:lnTo>
                  <a:pt x="5814" y="1988"/>
                </a:lnTo>
                <a:lnTo>
                  <a:pt x="5812" y="1988"/>
                </a:lnTo>
                <a:close/>
                <a:moveTo>
                  <a:pt x="5874" y="2066"/>
                </a:moveTo>
                <a:lnTo>
                  <a:pt x="5874" y="2066"/>
                </a:lnTo>
                <a:lnTo>
                  <a:pt x="5870" y="2068"/>
                </a:lnTo>
                <a:lnTo>
                  <a:pt x="5866" y="2074"/>
                </a:lnTo>
                <a:lnTo>
                  <a:pt x="5862" y="2080"/>
                </a:lnTo>
                <a:lnTo>
                  <a:pt x="5864" y="2084"/>
                </a:lnTo>
                <a:lnTo>
                  <a:pt x="5864" y="2086"/>
                </a:lnTo>
                <a:lnTo>
                  <a:pt x="5868" y="2084"/>
                </a:lnTo>
                <a:lnTo>
                  <a:pt x="5872" y="2076"/>
                </a:lnTo>
                <a:lnTo>
                  <a:pt x="5876" y="2068"/>
                </a:lnTo>
                <a:lnTo>
                  <a:pt x="5876" y="2066"/>
                </a:lnTo>
                <a:lnTo>
                  <a:pt x="5874" y="2066"/>
                </a:lnTo>
                <a:close/>
                <a:moveTo>
                  <a:pt x="5978" y="1898"/>
                </a:moveTo>
                <a:lnTo>
                  <a:pt x="5978" y="1898"/>
                </a:lnTo>
                <a:lnTo>
                  <a:pt x="5980" y="1898"/>
                </a:lnTo>
                <a:lnTo>
                  <a:pt x="5978" y="1894"/>
                </a:lnTo>
                <a:lnTo>
                  <a:pt x="5974" y="1890"/>
                </a:lnTo>
                <a:lnTo>
                  <a:pt x="5972" y="1888"/>
                </a:lnTo>
                <a:lnTo>
                  <a:pt x="5970" y="1890"/>
                </a:lnTo>
                <a:lnTo>
                  <a:pt x="5972" y="1894"/>
                </a:lnTo>
                <a:lnTo>
                  <a:pt x="5974" y="1898"/>
                </a:lnTo>
                <a:lnTo>
                  <a:pt x="5978" y="1898"/>
                </a:lnTo>
                <a:close/>
                <a:moveTo>
                  <a:pt x="5986" y="1894"/>
                </a:moveTo>
                <a:lnTo>
                  <a:pt x="5986" y="1894"/>
                </a:lnTo>
                <a:lnTo>
                  <a:pt x="5986" y="1896"/>
                </a:lnTo>
                <a:lnTo>
                  <a:pt x="5986" y="1898"/>
                </a:lnTo>
                <a:lnTo>
                  <a:pt x="5986" y="1900"/>
                </a:lnTo>
                <a:lnTo>
                  <a:pt x="5988" y="1900"/>
                </a:lnTo>
                <a:lnTo>
                  <a:pt x="5990" y="1900"/>
                </a:lnTo>
                <a:lnTo>
                  <a:pt x="5990" y="1898"/>
                </a:lnTo>
                <a:lnTo>
                  <a:pt x="5988" y="1896"/>
                </a:lnTo>
                <a:lnTo>
                  <a:pt x="5986" y="1894"/>
                </a:lnTo>
                <a:close/>
                <a:moveTo>
                  <a:pt x="6004" y="1864"/>
                </a:moveTo>
                <a:lnTo>
                  <a:pt x="6004" y="1864"/>
                </a:lnTo>
                <a:lnTo>
                  <a:pt x="6002" y="1864"/>
                </a:lnTo>
                <a:lnTo>
                  <a:pt x="6000" y="1864"/>
                </a:lnTo>
                <a:lnTo>
                  <a:pt x="5998" y="1864"/>
                </a:lnTo>
                <a:lnTo>
                  <a:pt x="5996" y="1868"/>
                </a:lnTo>
                <a:lnTo>
                  <a:pt x="5996" y="1870"/>
                </a:lnTo>
                <a:lnTo>
                  <a:pt x="5998" y="1870"/>
                </a:lnTo>
                <a:lnTo>
                  <a:pt x="6002" y="1868"/>
                </a:lnTo>
                <a:lnTo>
                  <a:pt x="6004" y="1868"/>
                </a:lnTo>
                <a:lnTo>
                  <a:pt x="6006" y="1866"/>
                </a:lnTo>
                <a:lnTo>
                  <a:pt x="6006" y="1864"/>
                </a:lnTo>
                <a:lnTo>
                  <a:pt x="6004" y="1864"/>
                </a:lnTo>
                <a:close/>
                <a:moveTo>
                  <a:pt x="5996" y="1876"/>
                </a:moveTo>
                <a:lnTo>
                  <a:pt x="5996" y="1876"/>
                </a:lnTo>
                <a:lnTo>
                  <a:pt x="5998" y="1878"/>
                </a:lnTo>
                <a:lnTo>
                  <a:pt x="6002" y="1878"/>
                </a:lnTo>
                <a:lnTo>
                  <a:pt x="6000" y="1874"/>
                </a:lnTo>
                <a:lnTo>
                  <a:pt x="5998" y="1874"/>
                </a:lnTo>
                <a:lnTo>
                  <a:pt x="5996" y="1876"/>
                </a:lnTo>
                <a:close/>
                <a:moveTo>
                  <a:pt x="5990" y="1868"/>
                </a:moveTo>
                <a:lnTo>
                  <a:pt x="5990" y="1868"/>
                </a:lnTo>
                <a:lnTo>
                  <a:pt x="5990" y="1862"/>
                </a:lnTo>
                <a:lnTo>
                  <a:pt x="5988" y="1860"/>
                </a:lnTo>
                <a:lnTo>
                  <a:pt x="5984" y="1860"/>
                </a:lnTo>
                <a:lnTo>
                  <a:pt x="5984" y="1862"/>
                </a:lnTo>
                <a:lnTo>
                  <a:pt x="5986" y="1866"/>
                </a:lnTo>
                <a:lnTo>
                  <a:pt x="5990" y="1868"/>
                </a:lnTo>
                <a:close/>
                <a:moveTo>
                  <a:pt x="6040" y="1804"/>
                </a:moveTo>
                <a:lnTo>
                  <a:pt x="6040" y="1804"/>
                </a:lnTo>
                <a:lnTo>
                  <a:pt x="6040" y="1806"/>
                </a:lnTo>
                <a:lnTo>
                  <a:pt x="6042" y="1806"/>
                </a:lnTo>
                <a:lnTo>
                  <a:pt x="6044" y="1806"/>
                </a:lnTo>
                <a:lnTo>
                  <a:pt x="6046" y="1808"/>
                </a:lnTo>
                <a:lnTo>
                  <a:pt x="6048" y="1810"/>
                </a:lnTo>
                <a:lnTo>
                  <a:pt x="6050" y="1808"/>
                </a:lnTo>
                <a:lnTo>
                  <a:pt x="6052" y="1806"/>
                </a:lnTo>
                <a:lnTo>
                  <a:pt x="6054" y="1808"/>
                </a:lnTo>
                <a:lnTo>
                  <a:pt x="6056" y="1808"/>
                </a:lnTo>
                <a:lnTo>
                  <a:pt x="6056" y="1812"/>
                </a:lnTo>
                <a:lnTo>
                  <a:pt x="6054" y="1816"/>
                </a:lnTo>
                <a:lnTo>
                  <a:pt x="6052" y="1824"/>
                </a:lnTo>
                <a:lnTo>
                  <a:pt x="6052" y="1826"/>
                </a:lnTo>
                <a:lnTo>
                  <a:pt x="6054" y="1828"/>
                </a:lnTo>
                <a:lnTo>
                  <a:pt x="6056" y="1830"/>
                </a:lnTo>
                <a:lnTo>
                  <a:pt x="6056" y="1826"/>
                </a:lnTo>
                <a:lnTo>
                  <a:pt x="6058" y="1818"/>
                </a:lnTo>
                <a:lnTo>
                  <a:pt x="6060" y="1814"/>
                </a:lnTo>
                <a:lnTo>
                  <a:pt x="6060" y="1806"/>
                </a:lnTo>
                <a:lnTo>
                  <a:pt x="6058" y="1804"/>
                </a:lnTo>
                <a:lnTo>
                  <a:pt x="6060" y="1802"/>
                </a:lnTo>
                <a:lnTo>
                  <a:pt x="6064" y="1792"/>
                </a:lnTo>
                <a:lnTo>
                  <a:pt x="6064" y="1790"/>
                </a:lnTo>
                <a:lnTo>
                  <a:pt x="6062" y="1790"/>
                </a:lnTo>
                <a:lnTo>
                  <a:pt x="6060" y="1792"/>
                </a:lnTo>
                <a:lnTo>
                  <a:pt x="6060" y="1790"/>
                </a:lnTo>
                <a:lnTo>
                  <a:pt x="6058" y="1788"/>
                </a:lnTo>
                <a:lnTo>
                  <a:pt x="6058" y="1786"/>
                </a:lnTo>
                <a:lnTo>
                  <a:pt x="6056" y="1790"/>
                </a:lnTo>
                <a:lnTo>
                  <a:pt x="6054" y="1790"/>
                </a:lnTo>
                <a:lnTo>
                  <a:pt x="6054" y="1788"/>
                </a:lnTo>
                <a:lnTo>
                  <a:pt x="6054" y="1780"/>
                </a:lnTo>
                <a:lnTo>
                  <a:pt x="6054" y="1778"/>
                </a:lnTo>
                <a:lnTo>
                  <a:pt x="6052" y="1778"/>
                </a:lnTo>
                <a:lnTo>
                  <a:pt x="6048" y="1780"/>
                </a:lnTo>
                <a:lnTo>
                  <a:pt x="6042" y="1786"/>
                </a:lnTo>
                <a:lnTo>
                  <a:pt x="6042" y="1788"/>
                </a:lnTo>
                <a:lnTo>
                  <a:pt x="6050" y="1792"/>
                </a:lnTo>
                <a:lnTo>
                  <a:pt x="6052" y="1794"/>
                </a:lnTo>
                <a:lnTo>
                  <a:pt x="6052" y="1796"/>
                </a:lnTo>
                <a:lnTo>
                  <a:pt x="6050" y="1798"/>
                </a:lnTo>
                <a:lnTo>
                  <a:pt x="6046" y="1800"/>
                </a:lnTo>
                <a:lnTo>
                  <a:pt x="6042" y="1800"/>
                </a:lnTo>
                <a:lnTo>
                  <a:pt x="6040" y="1802"/>
                </a:lnTo>
                <a:lnTo>
                  <a:pt x="6040" y="1804"/>
                </a:lnTo>
                <a:close/>
                <a:moveTo>
                  <a:pt x="6064" y="1778"/>
                </a:moveTo>
                <a:lnTo>
                  <a:pt x="6064" y="1778"/>
                </a:lnTo>
                <a:lnTo>
                  <a:pt x="6066" y="1776"/>
                </a:lnTo>
                <a:lnTo>
                  <a:pt x="6066" y="1774"/>
                </a:lnTo>
                <a:lnTo>
                  <a:pt x="6066" y="1772"/>
                </a:lnTo>
                <a:lnTo>
                  <a:pt x="6064" y="1770"/>
                </a:lnTo>
                <a:lnTo>
                  <a:pt x="6062" y="1772"/>
                </a:lnTo>
                <a:lnTo>
                  <a:pt x="6060" y="1776"/>
                </a:lnTo>
                <a:lnTo>
                  <a:pt x="6058" y="1780"/>
                </a:lnTo>
                <a:lnTo>
                  <a:pt x="6060" y="1784"/>
                </a:lnTo>
                <a:lnTo>
                  <a:pt x="6062" y="1786"/>
                </a:lnTo>
                <a:lnTo>
                  <a:pt x="6062" y="1784"/>
                </a:lnTo>
                <a:lnTo>
                  <a:pt x="6064" y="1780"/>
                </a:lnTo>
                <a:lnTo>
                  <a:pt x="6064" y="1778"/>
                </a:lnTo>
                <a:close/>
                <a:moveTo>
                  <a:pt x="6072" y="1764"/>
                </a:moveTo>
                <a:lnTo>
                  <a:pt x="6072" y="1764"/>
                </a:lnTo>
                <a:lnTo>
                  <a:pt x="6070" y="1764"/>
                </a:lnTo>
                <a:lnTo>
                  <a:pt x="6068" y="1768"/>
                </a:lnTo>
                <a:lnTo>
                  <a:pt x="6068" y="1770"/>
                </a:lnTo>
                <a:lnTo>
                  <a:pt x="6070" y="1772"/>
                </a:lnTo>
                <a:lnTo>
                  <a:pt x="6072" y="1772"/>
                </a:lnTo>
                <a:lnTo>
                  <a:pt x="6074" y="1768"/>
                </a:lnTo>
                <a:lnTo>
                  <a:pt x="6074" y="1766"/>
                </a:lnTo>
                <a:lnTo>
                  <a:pt x="6072" y="1764"/>
                </a:lnTo>
                <a:close/>
                <a:moveTo>
                  <a:pt x="5808" y="1678"/>
                </a:moveTo>
                <a:lnTo>
                  <a:pt x="5808" y="1678"/>
                </a:lnTo>
                <a:lnTo>
                  <a:pt x="5808" y="1680"/>
                </a:lnTo>
                <a:lnTo>
                  <a:pt x="5816" y="1686"/>
                </a:lnTo>
                <a:lnTo>
                  <a:pt x="5820" y="1686"/>
                </a:lnTo>
                <a:lnTo>
                  <a:pt x="5822" y="1686"/>
                </a:lnTo>
                <a:lnTo>
                  <a:pt x="5822" y="1684"/>
                </a:lnTo>
                <a:lnTo>
                  <a:pt x="5820" y="1680"/>
                </a:lnTo>
                <a:lnTo>
                  <a:pt x="5816" y="1676"/>
                </a:lnTo>
                <a:lnTo>
                  <a:pt x="5814" y="1676"/>
                </a:lnTo>
                <a:lnTo>
                  <a:pt x="5808" y="1678"/>
                </a:lnTo>
                <a:close/>
                <a:moveTo>
                  <a:pt x="5838" y="1702"/>
                </a:moveTo>
                <a:lnTo>
                  <a:pt x="5838" y="1702"/>
                </a:lnTo>
                <a:lnTo>
                  <a:pt x="5842" y="1704"/>
                </a:lnTo>
                <a:lnTo>
                  <a:pt x="5844" y="1702"/>
                </a:lnTo>
                <a:lnTo>
                  <a:pt x="5842" y="1700"/>
                </a:lnTo>
                <a:lnTo>
                  <a:pt x="5838" y="1696"/>
                </a:lnTo>
                <a:lnTo>
                  <a:pt x="5834" y="1694"/>
                </a:lnTo>
                <a:lnTo>
                  <a:pt x="5832" y="1694"/>
                </a:lnTo>
                <a:lnTo>
                  <a:pt x="5832" y="1696"/>
                </a:lnTo>
                <a:lnTo>
                  <a:pt x="5834" y="1700"/>
                </a:lnTo>
                <a:lnTo>
                  <a:pt x="5838" y="1702"/>
                </a:lnTo>
                <a:close/>
                <a:moveTo>
                  <a:pt x="5830" y="1712"/>
                </a:moveTo>
                <a:lnTo>
                  <a:pt x="5830" y="1712"/>
                </a:lnTo>
                <a:lnTo>
                  <a:pt x="5830" y="1716"/>
                </a:lnTo>
                <a:lnTo>
                  <a:pt x="5830" y="1718"/>
                </a:lnTo>
                <a:lnTo>
                  <a:pt x="5836" y="1728"/>
                </a:lnTo>
                <a:lnTo>
                  <a:pt x="5840" y="1730"/>
                </a:lnTo>
                <a:lnTo>
                  <a:pt x="5842" y="1730"/>
                </a:lnTo>
                <a:lnTo>
                  <a:pt x="5842" y="1728"/>
                </a:lnTo>
                <a:lnTo>
                  <a:pt x="5840" y="1726"/>
                </a:lnTo>
                <a:lnTo>
                  <a:pt x="5840" y="1722"/>
                </a:lnTo>
                <a:lnTo>
                  <a:pt x="5838" y="1718"/>
                </a:lnTo>
                <a:lnTo>
                  <a:pt x="5836" y="1716"/>
                </a:lnTo>
                <a:lnTo>
                  <a:pt x="5832" y="1714"/>
                </a:lnTo>
                <a:lnTo>
                  <a:pt x="5832" y="1712"/>
                </a:lnTo>
                <a:lnTo>
                  <a:pt x="5830" y="1712"/>
                </a:lnTo>
                <a:close/>
                <a:moveTo>
                  <a:pt x="5818" y="1668"/>
                </a:moveTo>
                <a:lnTo>
                  <a:pt x="5818" y="1668"/>
                </a:lnTo>
                <a:lnTo>
                  <a:pt x="5820" y="1670"/>
                </a:lnTo>
                <a:lnTo>
                  <a:pt x="5818" y="1672"/>
                </a:lnTo>
                <a:lnTo>
                  <a:pt x="5818" y="1674"/>
                </a:lnTo>
                <a:lnTo>
                  <a:pt x="5822" y="1678"/>
                </a:lnTo>
                <a:lnTo>
                  <a:pt x="5824" y="1678"/>
                </a:lnTo>
                <a:lnTo>
                  <a:pt x="5826" y="1678"/>
                </a:lnTo>
                <a:lnTo>
                  <a:pt x="5828" y="1682"/>
                </a:lnTo>
                <a:lnTo>
                  <a:pt x="5834" y="1688"/>
                </a:lnTo>
                <a:lnTo>
                  <a:pt x="5838" y="1692"/>
                </a:lnTo>
                <a:lnTo>
                  <a:pt x="5840" y="1692"/>
                </a:lnTo>
                <a:lnTo>
                  <a:pt x="5838" y="1688"/>
                </a:lnTo>
                <a:lnTo>
                  <a:pt x="5836" y="1682"/>
                </a:lnTo>
                <a:lnTo>
                  <a:pt x="5832" y="1676"/>
                </a:lnTo>
                <a:lnTo>
                  <a:pt x="5830" y="1676"/>
                </a:lnTo>
                <a:lnTo>
                  <a:pt x="5828" y="1674"/>
                </a:lnTo>
                <a:lnTo>
                  <a:pt x="5826" y="1672"/>
                </a:lnTo>
                <a:lnTo>
                  <a:pt x="5824" y="1668"/>
                </a:lnTo>
                <a:lnTo>
                  <a:pt x="5820" y="1666"/>
                </a:lnTo>
                <a:lnTo>
                  <a:pt x="5818" y="1666"/>
                </a:lnTo>
                <a:lnTo>
                  <a:pt x="5818" y="1668"/>
                </a:lnTo>
                <a:close/>
                <a:moveTo>
                  <a:pt x="5830" y="1664"/>
                </a:moveTo>
                <a:lnTo>
                  <a:pt x="5830" y="1664"/>
                </a:lnTo>
                <a:lnTo>
                  <a:pt x="5826" y="1664"/>
                </a:lnTo>
                <a:lnTo>
                  <a:pt x="5828" y="1668"/>
                </a:lnTo>
                <a:lnTo>
                  <a:pt x="5832" y="1674"/>
                </a:lnTo>
                <a:lnTo>
                  <a:pt x="5838" y="1680"/>
                </a:lnTo>
                <a:lnTo>
                  <a:pt x="5842" y="1682"/>
                </a:lnTo>
                <a:lnTo>
                  <a:pt x="5844" y="1680"/>
                </a:lnTo>
                <a:lnTo>
                  <a:pt x="5846" y="1678"/>
                </a:lnTo>
                <a:lnTo>
                  <a:pt x="5844" y="1676"/>
                </a:lnTo>
                <a:lnTo>
                  <a:pt x="5842" y="1676"/>
                </a:lnTo>
                <a:lnTo>
                  <a:pt x="5844" y="1674"/>
                </a:lnTo>
                <a:lnTo>
                  <a:pt x="5842" y="1672"/>
                </a:lnTo>
                <a:lnTo>
                  <a:pt x="5840" y="1672"/>
                </a:lnTo>
                <a:lnTo>
                  <a:pt x="5838" y="1670"/>
                </a:lnTo>
                <a:lnTo>
                  <a:pt x="5838" y="1668"/>
                </a:lnTo>
                <a:lnTo>
                  <a:pt x="5836" y="1668"/>
                </a:lnTo>
                <a:lnTo>
                  <a:pt x="5834" y="1666"/>
                </a:lnTo>
                <a:lnTo>
                  <a:pt x="5832" y="1664"/>
                </a:lnTo>
                <a:lnTo>
                  <a:pt x="5830" y="1664"/>
                </a:lnTo>
                <a:close/>
                <a:moveTo>
                  <a:pt x="5848" y="1674"/>
                </a:moveTo>
                <a:lnTo>
                  <a:pt x="5848" y="1676"/>
                </a:lnTo>
                <a:lnTo>
                  <a:pt x="5850" y="1674"/>
                </a:lnTo>
                <a:lnTo>
                  <a:pt x="5852" y="1674"/>
                </a:lnTo>
                <a:lnTo>
                  <a:pt x="5854" y="1674"/>
                </a:lnTo>
                <a:lnTo>
                  <a:pt x="5856" y="1672"/>
                </a:lnTo>
                <a:lnTo>
                  <a:pt x="5856" y="1670"/>
                </a:lnTo>
                <a:lnTo>
                  <a:pt x="5852" y="1668"/>
                </a:lnTo>
                <a:lnTo>
                  <a:pt x="5848" y="1664"/>
                </a:lnTo>
                <a:lnTo>
                  <a:pt x="5848" y="1666"/>
                </a:lnTo>
                <a:lnTo>
                  <a:pt x="5848" y="1668"/>
                </a:lnTo>
                <a:lnTo>
                  <a:pt x="5848" y="1670"/>
                </a:lnTo>
                <a:lnTo>
                  <a:pt x="5848" y="1672"/>
                </a:lnTo>
                <a:lnTo>
                  <a:pt x="5848" y="1674"/>
                </a:lnTo>
                <a:close/>
                <a:moveTo>
                  <a:pt x="5844" y="1662"/>
                </a:moveTo>
                <a:lnTo>
                  <a:pt x="5844" y="1662"/>
                </a:lnTo>
                <a:lnTo>
                  <a:pt x="5844" y="1666"/>
                </a:lnTo>
                <a:lnTo>
                  <a:pt x="5844" y="1668"/>
                </a:lnTo>
                <a:lnTo>
                  <a:pt x="5846" y="1670"/>
                </a:lnTo>
                <a:lnTo>
                  <a:pt x="5846" y="1664"/>
                </a:lnTo>
                <a:lnTo>
                  <a:pt x="5844" y="1662"/>
                </a:lnTo>
                <a:close/>
                <a:moveTo>
                  <a:pt x="5858" y="1670"/>
                </a:moveTo>
                <a:lnTo>
                  <a:pt x="5858" y="1670"/>
                </a:lnTo>
                <a:lnTo>
                  <a:pt x="5860" y="1668"/>
                </a:lnTo>
                <a:lnTo>
                  <a:pt x="5860" y="1666"/>
                </a:lnTo>
                <a:lnTo>
                  <a:pt x="5858" y="1666"/>
                </a:lnTo>
                <a:lnTo>
                  <a:pt x="5858" y="1668"/>
                </a:lnTo>
                <a:lnTo>
                  <a:pt x="5858" y="1670"/>
                </a:lnTo>
                <a:close/>
                <a:moveTo>
                  <a:pt x="6210" y="3036"/>
                </a:moveTo>
                <a:lnTo>
                  <a:pt x="6210" y="3036"/>
                </a:lnTo>
                <a:lnTo>
                  <a:pt x="6214" y="3034"/>
                </a:lnTo>
                <a:lnTo>
                  <a:pt x="6218" y="3038"/>
                </a:lnTo>
                <a:lnTo>
                  <a:pt x="6220" y="3042"/>
                </a:lnTo>
                <a:lnTo>
                  <a:pt x="6226" y="3048"/>
                </a:lnTo>
                <a:lnTo>
                  <a:pt x="6230" y="3050"/>
                </a:lnTo>
                <a:lnTo>
                  <a:pt x="6232" y="3048"/>
                </a:lnTo>
                <a:lnTo>
                  <a:pt x="6238" y="3044"/>
                </a:lnTo>
                <a:lnTo>
                  <a:pt x="6246" y="3026"/>
                </a:lnTo>
                <a:lnTo>
                  <a:pt x="6248" y="3022"/>
                </a:lnTo>
                <a:lnTo>
                  <a:pt x="6242" y="3022"/>
                </a:lnTo>
                <a:lnTo>
                  <a:pt x="6238" y="3022"/>
                </a:lnTo>
                <a:lnTo>
                  <a:pt x="6234" y="3020"/>
                </a:lnTo>
                <a:lnTo>
                  <a:pt x="6234" y="3018"/>
                </a:lnTo>
                <a:lnTo>
                  <a:pt x="6232" y="3014"/>
                </a:lnTo>
                <a:lnTo>
                  <a:pt x="6228" y="3014"/>
                </a:lnTo>
                <a:lnTo>
                  <a:pt x="6222" y="3016"/>
                </a:lnTo>
                <a:lnTo>
                  <a:pt x="6216" y="3020"/>
                </a:lnTo>
                <a:lnTo>
                  <a:pt x="6206" y="3028"/>
                </a:lnTo>
                <a:lnTo>
                  <a:pt x="6202" y="3032"/>
                </a:lnTo>
                <a:lnTo>
                  <a:pt x="6204" y="3036"/>
                </a:lnTo>
                <a:lnTo>
                  <a:pt x="6204" y="3038"/>
                </a:lnTo>
                <a:lnTo>
                  <a:pt x="6210" y="3036"/>
                </a:lnTo>
                <a:close/>
                <a:moveTo>
                  <a:pt x="6272" y="3016"/>
                </a:moveTo>
                <a:lnTo>
                  <a:pt x="6272" y="3016"/>
                </a:lnTo>
                <a:lnTo>
                  <a:pt x="6278" y="3018"/>
                </a:lnTo>
                <a:lnTo>
                  <a:pt x="6280" y="3018"/>
                </a:lnTo>
                <a:lnTo>
                  <a:pt x="6280" y="3014"/>
                </a:lnTo>
                <a:lnTo>
                  <a:pt x="6278" y="3010"/>
                </a:lnTo>
                <a:lnTo>
                  <a:pt x="6278" y="3006"/>
                </a:lnTo>
                <a:lnTo>
                  <a:pt x="6276" y="3006"/>
                </a:lnTo>
                <a:lnTo>
                  <a:pt x="6268" y="3004"/>
                </a:lnTo>
                <a:lnTo>
                  <a:pt x="6262" y="3006"/>
                </a:lnTo>
                <a:lnTo>
                  <a:pt x="6260" y="3008"/>
                </a:lnTo>
                <a:lnTo>
                  <a:pt x="6260" y="3010"/>
                </a:lnTo>
                <a:lnTo>
                  <a:pt x="6262" y="3012"/>
                </a:lnTo>
                <a:lnTo>
                  <a:pt x="6264" y="3014"/>
                </a:lnTo>
                <a:lnTo>
                  <a:pt x="6268" y="3014"/>
                </a:lnTo>
                <a:lnTo>
                  <a:pt x="6272" y="3016"/>
                </a:lnTo>
                <a:close/>
                <a:moveTo>
                  <a:pt x="6168" y="3058"/>
                </a:moveTo>
                <a:lnTo>
                  <a:pt x="6168" y="3058"/>
                </a:lnTo>
                <a:lnTo>
                  <a:pt x="6166" y="3056"/>
                </a:lnTo>
                <a:lnTo>
                  <a:pt x="6164" y="3058"/>
                </a:lnTo>
                <a:lnTo>
                  <a:pt x="6158" y="3062"/>
                </a:lnTo>
                <a:lnTo>
                  <a:pt x="6154" y="3068"/>
                </a:lnTo>
                <a:lnTo>
                  <a:pt x="6154" y="3070"/>
                </a:lnTo>
                <a:lnTo>
                  <a:pt x="6156" y="3072"/>
                </a:lnTo>
                <a:lnTo>
                  <a:pt x="6158" y="3074"/>
                </a:lnTo>
                <a:lnTo>
                  <a:pt x="6160" y="3072"/>
                </a:lnTo>
                <a:lnTo>
                  <a:pt x="6166" y="3068"/>
                </a:lnTo>
                <a:lnTo>
                  <a:pt x="6170" y="3064"/>
                </a:lnTo>
                <a:lnTo>
                  <a:pt x="6170" y="3060"/>
                </a:lnTo>
                <a:lnTo>
                  <a:pt x="6168" y="3058"/>
                </a:lnTo>
                <a:close/>
                <a:moveTo>
                  <a:pt x="11926" y="5416"/>
                </a:moveTo>
                <a:lnTo>
                  <a:pt x="11926" y="5416"/>
                </a:lnTo>
                <a:lnTo>
                  <a:pt x="11940" y="5412"/>
                </a:lnTo>
                <a:lnTo>
                  <a:pt x="11942" y="5414"/>
                </a:lnTo>
                <a:lnTo>
                  <a:pt x="11942" y="5416"/>
                </a:lnTo>
                <a:lnTo>
                  <a:pt x="11944" y="5418"/>
                </a:lnTo>
                <a:lnTo>
                  <a:pt x="11948" y="5420"/>
                </a:lnTo>
                <a:lnTo>
                  <a:pt x="11954" y="5424"/>
                </a:lnTo>
                <a:lnTo>
                  <a:pt x="11966" y="5426"/>
                </a:lnTo>
                <a:lnTo>
                  <a:pt x="11978" y="5428"/>
                </a:lnTo>
                <a:lnTo>
                  <a:pt x="11988" y="5432"/>
                </a:lnTo>
                <a:lnTo>
                  <a:pt x="11994" y="5438"/>
                </a:lnTo>
                <a:lnTo>
                  <a:pt x="12000" y="5446"/>
                </a:lnTo>
                <a:lnTo>
                  <a:pt x="12010" y="5464"/>
                </a:lnTo>
                <a:lnTo>
                  <a:pt x="12018" y="5476"/>
                </a:lnTo>
                <a:lnTo>
                  <a:pt x="12028" y="5490"/>
                </a:lnTo>
                <a:lnTo>
                  <a:pt x="12044" y="5512"/>
                </a:lnTo>
                <a:lnTo>
                  <a:pt x="12050" y="5520"/>
                </a:lnTo>
                <a:lnTo>
                  <a:pt x="12056" y="5524"/>
                </a:lnTo>
                <a:lnTo>
                  <a:pt x="12062" y="5528"/>
                </a:lnTo>
                <a:lnTo>
                  <a:pt x="12072" y="5532"/>
                </a:lnTo>
                <a:lnTo>
                  <a:pt x="12102" y="5538"/>
                </a:lnTo>
                <a:lnTo>
                  <a:pt x="12120" y="5542"/>
                </a:lnTo>
                <a:lnTo>
                  <a:pt x="12132" y="5546"/>
                </a:lnTo>
                <a:lnTo>
                  <a:pt x="12140" y="5548"/>
                </a:lnTo>
                <a:lnTo>
                  <a:pt x="12146" y="5552"/>
                </a:lnTo>
                <a:lnTo>
                  <a:pt x="12154" y="5558"/>
                </a:lnTo>
                <a:lnTo>
                  <a:pt x="12158" y="5560"/>
                </a:lnTo>
                <a:lnTo>
                  <a:pt x="12164" y="5560"/>
                </a:lnTo>
                <a:lnTo>
                  <a:pt x="12170" y="5558"/>
                </a:lnTo>
                <a:lnTo>
                  <a:pt x="12176" y="5556"/>
                </a:lnTo>
                <a:lnTo>
                  <a:pt x="12182" y="5554"/>
                </a:lnTo>
                <a:lnTo>
                  <a:pt x="12184" y="5550"/>
                </a:lnTo>
                <a:lnTo>
                  <a:pt x="12186" y="5546"/>
                </a:lnTo>
                <a:lnTo>
                  <a:pt x="12182" y="5540"/>
                </a:lnTo>
                <a:lnTo>
                  <a:pt x="12178" y="5536"/>
                </a:lnTo>
                <a:lnTo>
                  <a:pt x="12168" y="5534"/>
                </a:lnTo>
                <a:lnTo>
                  <a:pt x="12152" y="5528"/>
                </a:lnTo>
                <a:lnTo>
                  <a:pt x="12144" y="5524"/>
                </a:lnTo>
                <a:lnTo>
                  <a:pt x="12142" y="5522"/>
                </a:lnTo>
                <a:lnTo>
                  <a:pt x="12142" y="5520"/>
                </a:lnTo>
                <a:lnTo>
                  <a:pt x="12146" y="5516"/>
                </a:lnTo>
                <a:lnTo>
                  <a:pt x="12148" y="5512"/>
                </a:lnTo>
                <a:lnTo>
                  <a:pt x="12150" y="5508"/>
                </a:lnTo>
                <a:lnTo>
                  <a:pt x="12146" y="5506"/>
                </a:lnTo>
                <a:lnTo>
                  <a:pt x="12134" y="5504"/>
                </a:lnTo>
                <a:lnTo>
                  <a:pt x="12124" y="5502"/>
                </a:lnTo>
                <a:lnTo>
                  <a:pt x="12120" y="5500"/>
                </a:lnTo>
                <a:lnTo>
                  <a:pt x="12120" y="5498"/>
                </a:lnTo>
                <a:lnTo>
                  <a:pt x="12120" y="5492"/>
                </a:lnTo>
                <a:lnTo>
                  <a:pt x="12122" y="5486"/>
                </a:lnTo>
                <a:lnTo>
                  <a:pt x="12124" y="5482"/>
                </a:lnTo>
                <a:lnTo>
                  <a:pt x="12124" y="5478"/>
                </a:lnTo>
                <a:lnTo>
                  <a:pt x="12118" y="5476"/>
                </a:lnTo>
                <a:lnTo>
                  <a:pt x="12108" y="5478"/>
                </a:lnTo>
                <a:lnTo>
                  <a:pt x="12102" y="5478"/>
                </a:lnTo>
                <a:lnTo>
                  <a:pt x="12098" y="5478"/>
                </a:lnTo>
                <a:lnTo>
                  <a:pt x="12092" y="5474"/>
                </a:lnTo>
                <a:lnTo>
                  <a:pt x="12086" y="5468"/>
                </a:lnTo>
                <a:lnTo>
                  <a:pt x="12084" y="5458"/>
                </a:lnTo>
                <a:lnTo>
                  <a:pt x="12078" y="5440"/>
                </a:lnTo>
                <a:lnTo>
                  <a:pt x="12074" y="5432"/>
                </a:lnTo>
                <a:lnTo>
                  <a:pt x="12070" y="5428"/>
                </a:lnTo>
                <a:lnTo>
                  <a:pt x="12064" y="5424"/>
                </a:lnTo>
                <a:lnTo>
                  <a:pt x="12058" y="5418"/>
                </a:lnTo>
                <a:lnTo>
                  <a:pt x="12040" y="5398"/>
                </a:lnTo>
                <a:lnTo>
                  <a:pt x="12034" y="5390"/>
                </a:lnTo>
                <a:lnTo>
                  <a:pt x="12028" y="5380"/>
                </a:lnTo>
                <a:lnTo>
                  <a:pt x="12026" y="5374"/>
                </a:lnTo>
                <a:lnTo>
                  <a:pt x="12026" y="5370"/>
                </a:lnTo>
                <a:lnTo>
                  <a:pt x="12028" y="5368"/>
                </a:lnTo>
                <a:lnTo>
                  <a:pt x="12032" y="5366"/>
                </a:lnTo>
                <a:lnTo>
                  <a:pt x="12036" y="5366"/>
                </a:lnTo>
                <a:lnTo>
                  <a:pt x="12048" y="5366"/>
                </a:lnTo>
                <a:lnTo>
                  <a:pt x="12058" y="5366"/>
                </a:lnTo>
                <a:lnTo>
                  <a:pt x="12062" y="5366"/>
                </a:lnTo>
                <a:lnTo>
                  <a:pt x="12064" y="5362"/>
                </a:lnTo>
                <a:lnTo>
                  <a:pt x="12066" y="5358"/>
                </a:lnTo>
                <a:lnTo>
                  <a:pt x="12066" y="5354"/>
                </a:lnTo>
                <a:lnTo>
                  <a:pt x="12060" y="5342"/>
                </a:lnTo>
                <a:lnTo>
                  <a:pt x="12056" y="5336"/>
                </a:lnTo>
                <a:lnTo>
                  <a:pt x="12050" y="5332"/>
                </a:lnTo>
                <a:lnTo>
                  <a:pt x="12046" y="5328"/>
                </a:lnTo>
                <a:lnTo>
                  <a:pt x="12040" y="5328"/>
                </a:lnTo>
                <a:lnTo>
                  <a:pt x="12034" y="5330"/>
                </a:lnTo>
                <a:lnTo>
                  <a:pt x="12030" y="5328"/>
                </a:lnTo>
                <a:lnTo>
                  <a:pt x="12024" y="5324"/>
                </a:lnTo>
                <a:lnTo>
                  <a:pt x="12016" y="5316"/>
                </a:lnTo>
                <a:lnTo>
                  <a:pt x="12008" y="5312"/>
                </a:lnTo>
                <a:lnTo>
                  <a:pt x="11998" y="5308"/>
                </a:lnTo>
                <a:lnTo>
                  <a:pt x="11984" y="5304"/>
                </a:lnTo>
                <a:lnTo>
                  <a:pt x="11980" y="5302"/>
                </a:lnTo>
                <a:lnTo>
                  <a:pt x="11978" y="5300"/>
                </a:lnTo>
                <a:lnTo>
                  <a:pt x="11980" y="5294"/>
                </a:lnTo>
                <a:lnTo>
                  <a:pt x="11984" y="5286"/>
                </a:lnTo>
                <a:lnTo>
                  <a:pt x="11982" y="5278"/>
                </a:lnTo>
                <a:lnTo>
                  <a:pt x="11978" y="5270"/>
                </a:lnTo>
                <a:lnTo>
                  <a:pt x="11970" y="5258"/>
                </a:lnTo>
                <a:lnTo>
                  <a:pt x="11958" y="5248"/>
                </a:lnTo>
                <a:lnTo>
                  <a:pt x="11948" y="5240"/>
                </a:lnTo>
                <a:lnTo>
                  <a:pt x="11936" y="5232"/>
                </a:lnTo>
                <a:lnTo>
                  <a:pt x="11926" y="5226"/>
                </a:lnTo>
                <a:lnTo>
                  <a:pt x="11918" y="5226"/>
                </a:lnTo>
                <a:lnTo>
                  <a:pt x="11914" y="5224"/>
                </a:lnTo>
                <a:lnTo>
                  <a:pt x="11908" y="5222"/>
                </a:lnTo>
                <a:lnTo>
                  <a:pt x="11902" y="5216"/>
                </a:lnTo>
                <a:lnTo>
                  <a:pt x="11892" y="5208"/>
                </a:lnTo>
                <a:lnTo>
                  <a:pt x="11884" y="5204"/>
                </a:lnTo>
                <a:lnTo>
                  <a:pt x="11874" y="5202"/>
                </a:lnTo>
                <a:lnTo>
                  <a:pt x="11860" y="5198"/>
                </a:lnTo>
                <a:lnTo>
                  <a:pt x="11844" y="5190"/>
                </a:lnTo>
                <a:lnTo>
                  <a:pt x="11810" y="5174"/>
                </a:lnTo>
                <a:lnTo>
                  <a:pt x="11776" y="5160"/>
                </a:lnTo>
                <a:lnTo>
                  <a:pt x="11762" y="5156"/>
                </a:lnTo>
                <a:lnTo>
                  <a:pt x="11750" y="5154"/>
                </a:lnTo>
                <a:lnTo>
                  <a:pt x="11752" y="5444"/>
                </a:lnTo>
                <a:lnTo>
                  <a:pt x="11764" y="5454"/>
                </a:lnTo>
                <a:lnTo>
                  <a:pt x="11774" y="5466"/>
                </a:lnTo>
                <a:lnTo>
                  <a:pt x="11788" y="5486"/>
                </a:lnTo>
                <a:lnTo>
                  <a:pt x="11792" y="5488"/>
                </a:lnTo>
                <a:lnTo>
                  <a:pt x="11798" y="5488"/>
                </a:lnTo>
                <a:lnTo>
                  <a:pt x="11812" y="5488"/>
                </a:lnTo>
                <a:lnTo>
                  <a:pt x="11828" y="5488"/>
                </a:lnTo>
                <a:lnTo>
                  <a:pt x="11836" y="5488"/>
                </a:lnTo>
                <a:lnTo>
                  <a:pt x="11844" y="5492"/>
                </a:lnTo>
                <a:lnTo>
                  <a:pt x="11850" y="5494"/>
                </a:lnTo>
                <a:lnTo>
                  <a:pt x="11856" y="5494"/>
                </a:lnTo>
                <a:lnTo>
                  <a:pt x="11860" y="5492"/>
                </a:lnTo>
                <a:lnTo>
                  <a:pt x="11866" y="5488"/>
                </a:lnTo>
                <a:lnTo>
                  <a:pt x="11874" y="5482"/>
                </a:lnTo>
                <a:lnTo>
                  <a:pt x="11878" y="5480"/>
                </a:lnTo>
                <a:lnTo>
                  <a:pt x="11882" y="5480"/>
                </a:lnTo>
                <a:lnTo>
                  <a:pt x="11886" y="5478"/>
                </a:lnTo>
                <a:lnTo>
                  <a:pt x="11888" y="5476"/>
                </a:lnTo>
                <a:lnTo>
                  <a:pt x="11890" y="5472"/>
                </a:lnTo>
                <a:lnTo>
                  <a:pt x="11888" y="5468"/>
                </a:lnTo>
                <a:lnTo>
                  <a:pt x="11884" y="5460"/>
                </a:lnTo>
                <a:lnTo>
                  <a:pt x="11876" y="5452"/>
                </a:lnTo>
                <a:lnTo>
                  <a:pt x="11870" y="5448"/>
                </a:lnTo>
                <a:lnTo>
                  <a:pt x="11868" y="5446"/>
                </a:lnTo>
                <a:lnTo>
                  <a:pt x="11872" y="5444"/>
                </a:lnTo>
                <a:lnTo>
                  <a:pt x="11876" y="5444"/>
                </a:lnTo>
                <a:lnTo>
                  <a:pt x="11888" y="5440"/>
                </a:lnTo>
                <a:lnTo>
                  <a:pt x="11892" y="5438"/>
                </a:lnTo>
                <a:lnTo>
                  <a:pt x="11892" y="5434"/>
                </a:lnTo>
                <a:lnTo>
                  <a:pt x="11894" y="5430"/>
                </a:lnTo>
                <a:lnTo>
                  <a:pt x="11900" y="5428"/>
                </a:lnTo>
                <a:lnTo>
                  <a:pt x="11902" y="5426"/>
                </a:lnTo>
                <a:lnTo>
                  <a:pt x="11902" y="5422"/>
                </a:lnTo>
                <a:lnTo>
                  <a:pt x="11902" y="5416"/>
                </a:lnTo>
                <a:lnTo>
                  <a:pt x="11898" y="5404"/>
                </a:lnTo>
                <a:lnTo>
                  <a:pt x="11906" y="5412"/>
                </a:lnTo>
                <a:lnTo>
                  <a:pt x="11910" y="5416"/>
                </a:lnTo>
                <a:lnTo>
                  <a:pt x="11918" y="5418"/>
                </a:lnTo>
                <a:lnTo>
                  <a:pt x="11926" y="5416"/>
                </a:lnTo>
                <a:close/>
                <a:moveTo>
                  <a:pt x="10506" y="4964"/>
                </a:moveTo>
                <a:lnTo>
                  <a:pt x="10506" y="4964"/>
                </a:lnTo>
                <a:lnTo>
                  <a:pt x="10502" y="4972"/>
                </a:lnTo>
                <a:lnTo>
                  <a:pt x="10498" y="4980"/>
                </a:lnTo>
                <a:lnTo>
                  <a:pt x="10494" y="5000"/>
                </a:lnTo>
                <a:lnTo>
                  <a:pt x="10494" y="5010"/>
                </a:lnTo>
                <a:lnTo>
                  <a:pt x="10496" y="5020"/>
                </a:lnTo>
                <a:lnTo>
                  <a:pt x="10498" y="5026"/>
                </a:lnTo>
                <a:lnTo>
                  <a:pt x="10504" y="5030"/>
                </a:lnTo>
                <a:lnTo>
                  <a:pt x="10508" y="5032"/>
                </a:lnTo>
                <a:lnTo>
                  <a:pt x="10508" y="5036"/>
                </a:lnTo>
                <a:lnTo>
                  <a:pt x="10504" y="5044"/>
                </a:lnTo>
                <a:lnTo>
                  <a:pt x="10502" y="5048"/>
                </a:lnTo>
                <a:lnTo>
                  <a:pt x="10502" y="5052"/>
                </a:lnTo>
                <a:lnTo>
                  <a:pt x="10502" y="5058"/>
                </a:lnTo>
                <a:lnTo>
                  <a:pt x="10506" y="5064"/>
                </a:lnTo>
                <a:lnTo>
                  <a:pt x="10510" y="5068"/>
                </a:lnTo>
                <a:lnTo>
                  <a:pt x="10512" y="5072"/>
                </a:lnTo>
                <a:lnTo>
                  <a:pt x="10512" y="5074"/>
                </a:lnTo>
                <a:lnTo>
                  <a:pt x="10510" y="5076"/>
                </a:lnTo>
                <a:lnTo>
                  <a:pt x="10510" y="5078"/>
                </a:lnTo>
                <a:lnTo>
                  <a:pt x="10514" y="5082"/>
                </a:lnTo>
                <a:lnTo>
                  <a:pt x="10520" y="5084"/>
                </a:lnTo>
                <a:lnTo>
                  <a:pt x="10520" y="5088"/>
                </a:lnTo>
                <a:lnTo>
                  <a:pt x="10520" y="5090"/>
                </a:lnTo>
                <a:lnTo>
                  <a:pt x="10518" y="5092"/>
                </a:lnTo>
                <a:lnTo>
                  <a:pt x="10516" y="5098"/>
                </a:lnTo>
                <a:lnTo>
                  <a:pt x="10516" y="5100"/>
                </a:lnTo>
                <a:lnTo>
                  <a:pt x="10516" y="5102"/>
                </a:lnTo>
                <a:lnTo>
                  <a:pt x="10520" y="5104"/>
                </a:lnTo>
                <a:lnTo>
                  <a:pt x="10522" y="5102"/>
                </a:lnTo>
                <a:lnTo>
                  <a:pt x="10530" y="5098"/>
                </a:lnTo>
                <a:lnTo>
                  <a:pt x="10536" y="5096"/>
                </a:lnTo>
                <a:lnTo>
                  <a:pt x="10538" y="5098"/>
                </a:lnTo>
                <a:lnTo>
                  <a:pt x="10540" y="5102"/>
                </a:lnTo>
                <a:lnTo>
                  <a:pt x="10540" y="5106"/>
                </a:lnTo>
                <a:lnTo>
                  <a:pt x="10540" y="5110"/>
                </a:lnTo>
                <a:lnTo>
                  <a:pt x="10538" y="5118"/>
                </a:lnTo>
                <a:lnTo>
                  <a:pt x="10536" y="5126"/>
                </a:lnTo>
                <a:lnTo>
                  <a:pt x="10538" y="5132"/>
                </a:lnTo>
                <a:lnTo>
                  <a:pt x="10540" y="5140"/>
                </a:lnTo>
                <a:lnTo>
                  <a:pt x="10546" y="5158"/>
                </a:lnTo>
                <a:lnTo>
                  <a:pt x="10548" y="5170"/>
                </a:lnTo>
                <a:lnTo>
                  <a:pt x="10548" y="5178"/>
                </a:lnTo>
                <a:lnTo>
                  <a:pt x="10548" y="5184"/>
                </a:lnTo>
                <a:lnTo>
                  <a:pt x="10548" y="5186"/>
                </a:lnTo>
                <a:lnTo>
                  <a:pt x="10554" y="5186"/>
                </a:lnTo>
                <a:lnTo>
                  <a:pt x="10566" y="5188"/>
                </a:lnTo>
                <a:lnTo>
                  <a:pt x="10574" y="5190"/>
                </a:lnTo>
                <a:lnTo>
                  <a:pt x="10580" y="5190"/>
                </a:lnTo>
                <a:lnTo>
                  <a:pt x="10586" y="5186"/>
                </a:lnTo>
                <a:lnTo>
                  <a:pt x="10590" y="5182"/>
                </a:lnTo>
                <a:lnTo>
                  <a:pt x="10594" y="5180"/>
                </a:lnTo>
                <a:lnTo>
                  <a:pt x="10600" y="5180"/>
                </a:lnTo>
                <a:lnTo>
                  <a:pt x="10604" y="5182"/>
                </a:lnTo>
                <a:lnTo>
                  <a:pt x="10608" y="5186"/>
                </a:lnTo>
                <a:lnTo>
                  <a:pt x="10612" y="5190"/>
                </a:lnTo>
                <a:lnTo>
                  <a:pt x="10612" y="5196"/>
                </a:lnTo>
                <a:lnTo>
                  <a:pt x="10612" y="5202"/>
                </a:lnTo>
                <a:lnTo>
                  <a:pt x="10612" y="5210"/>
                </a:lnTo>
                <a:lnTo>
                  <a:pt x="10614" y="5212"/>
                </a:lnTo>
                <a:lnTo>
                  <a:pt x="10616" y="5212"/>
                </a:lnTo>
                <a:lnTo>
                  <a:pt x="10622" y="5208"/>
                </a:lnTo>
                <a:lnTo>
                  <a:pt x="10628" y="5204"/>
                </a:lnTo>
                <a:lnTo>
                  <a:pt x="10630" y="5202"/>
                </a:lnTo>
                <a:lnTo>
                  <a:pt x="10634" y="5202"/>
                </a:lnTo>
                <a:lnTo>
                  <a:pt x="10642" y="5204"/>
                </a:lnTo>
                <a:lnTo>
                  <a:pt x="10646" y="5204"/>
                </a:lnTo>
                <a:lnTo>
                  <a:pt x="10650" y="5204"/>
                </a:lnTo>
                <a:lnTo>
                  <a:pt x="10652" y="5202"/>
                </a:lnTo>
                <a:lnTo>
                  <a:pt x="10656" y="5196"/>
                </a:lnTo>
                <a:lnTo>
                  <a:pt x="10658" y="5192"/>
                </a:lnTo>
                <a:lnTo>
                  <a:pt x="10662" y="5190"/>
                </a:lnTo>
                <a:lnTo>
                  <a:pt x="10664" y="5190"/>
                </a:lnTo>
                <a:lnTo>
                  <a:pt x="10668" y="5192"/>
                </a:lnTo>
                <a:lnTo>
                  <a:pt x="10674" y="5196"/>
                </a:lnTo>
                <a:lnTo>
                  <a:pt x="10676" y="5198"/>
                </a:lnTo>
                <a:lnTo>
                  <a:pt x="10680" y="5198"/>
                </a:lnTo>
                <a:lnTo>
                  <a:pt x="10682" y="5198"/>
                </a:lnTo>
                <a:lnTo>
                  <a:pt x="10684" y="5198"/>
                </a:lnTo>
                <a:lnTo>
                  <a:pt x="10684" y="5204"/>
                </a:lnTo>
                <a:lnTo>
                  <a:pt x="10684" y="5206"/>
                </a:lnTo>
                <a:lnTo>
                  <a:pt x="10686" y="5208"/>
                </a:lnTo>
                <a:lnTo>
                  <a:pt x="10690" y="5208"/>
                </a:lnTo>
                <a:lnTo>
                  <a:pt x="10696" y="5206"/>
                </a:lnTo>
                <a:lnTo>
                  <a:pt x="10702" y="5204"/>
                </a:lnTo>
                <a:lnTo>
                  <a:pt x="10708" y="5204"/>
                </a:lnTo>
                <a:lnTo>
                  <a:pt x="10714" y="5206"/>
                </a:lnTo>
                <a:lnTo>
                  <a:pt x="10718" y="5210"/>
                </a:lnTo>
                <a:lnTo>
                  <a:pt x="10722" y="5216"/>
                </a:lnTo>
                <a:lnTo>
                  <a:pt x="10724" y="5222"/>
                </a:lnTo>
                <a:lnTo>
                  <a:pt x="10726" y="5228"/>
                </a:lnTo>
                <a:lnTo>
                  <a:pt x="10724" y="5236"/>
                </a:lnTo>
                <a:lnTo>
                  <a:pt x="10724" y="5240"/>
                </a:lnTo>
                <a:lnTo>
                  <a:pt x="10728" y="5242"/>
                </a:lnTo>
                <a:lnTo>
                  <a:pt x="10734" y="5240"/>
                </a:lnTo>
                <a:lnTo>
                  <a:pt x="10742" y="5236"/>
                </a:lnTo>
                <a:lnTo>
                  <a:pt x="10758" y="5226"/>
                </a:lnTo>
                <a:lnTo>
                  <a:pt x="10764" y="5222"/>
                </a:lnTo>
                <a:lnTo>
                  <a:pt x="10770" y="5220"/>
                </a:lnTo>
                <a:lnTo>
                  <a:pt x="10774" y="5220"/>
                </a:lnTo>
                <a:lnTo>
                  <a:pt x="10778" y="5216"/>
                </a:lnTo>
                <a:lnTo>
                  <a:pt x="10782" y="5208"/>
                </a:lnTo>
                <a:lnTo>
                  <a:pt x="10784" y="5196"/>
                </a:lnTo>
                <a:lnTo>
                  <a:pt x="10786" y="5186"/>
                </a:lnTo>
                <a:lnTo>
                  <a:pt x="10788" y="5182"/>
                </a:lnTo>
                <a:lnTo>
                  <a:pt x="10790" y="5180"/>
                </a:lnTo>
                <a:lnTo>
                  <a:pt x="10792" y="5178"/>
                </a:lnTo>
                <a:lnTo>
                  <a:pt x="10794" y="5170"/>
                </a:lnTo>
                <a:lnTo>
                  <a:pt x="10796" y="5164"/>
                </a:lnTo>
                <a:lnTo>
                  <a:pt x="10798" y="5162"/>
                </a:lnTo>
                <a:lnTo>
                  <a:pt x="10804" y="5160"/>
                </a:lnTo>
                <a:lnTo>
                  <a:pt x="10806" y="5158"/>
                </a:lnTo>
                <a:lnTo>
                  <a:pt x="10806" y="5154"/>
                </a:lnTo>
                <a:lnTo>
                  <a:pt x="10806" y="5150"/>
                </a:lnTo>
                <a:lnTo>
                  <a:pt x="10804" y="5140"/>
                </a:lnTo>
                <a:lnTo>
                  <a:pt x="10802" y="5132"/>
                </a:lnTo>
                <a:lnTo>
                  <a:pt x="10802" y="5124"/>
                </a:lnTo>
                <a:lnTo>
                  <a:pt x="10806" y="5118"/>
                </a:lnTo>
                <a:lnTo>
                  <a:pt x="10810" y="5112"/>
                </a:lnTo>
                <a:lnTo>
                  <a:pt x="10818" y="5102"/>
                </a:lnTo>
                <a:lnTo>
                  <a:pt x="10822" y="5098"/>
                </a:lnTo>
                <a:lnTo>
                  <a:pt x="10826" y="5092"/>
                </a:lnTo>
                <a:lnTo>
                  <a:pt x="10828" y="5088"/>
                </a:lnTo>
                <a:lnTo>
                  <a:pt x="10832" y="5084"/>
                </a:lnTo>
                <a:lnTo>
                  <a:pt x="10840" y="5082"/>
                </a:lnTo>
                <a:lnTo>
                  <a:pt x="10844" y="5080"/>
                </a:lnTo>
                <a:lnTo>
                  <a:pt x="10846" y="5076"/>
                </a:lnTo>
                <a:lnTo>
                  <a:pt x="10846" y="5070"/>
                </a:lnTo>
                <a:lnTo>
                  <a:pt x="10846" y="5062"/>
                </a:lnTo>
                <a:lnTo>
                  <a:pt x="10846" y="5040"/>
                </a:lnTo>
                <a:lnTo>
                  <a:pt x="10846" y="5020"/>
                </a:lnTo>
                <a:lnTo>
                  <a:pt x="10850" y="5008"/>
                </a:lnTo>
                <a:lnTo>
                  <a:pt x="10852" y="5002"/>
                </a:lnTo>
                <a:lnTo>
                  <a:pt x="10856" y="5000"/>
                </a:lnTo>
                <a:lnTo>
                  <a:pt x="10860" y="4996"/>
                </a:lnTo>
                <a:lnTo>
                  <a:pt x="10862" y="4992"/>
                </a:lnTo>
                <a:lnTo>
                  <a:pt x="10866" y="4992"/>
                </a:lnTo>
                <a:lnTo>
                  <a:pt x="10872" y="4996"/>
                </a:lnTo>
                <a:lnTo>
                  <a:pt x="10876" y="4998"/>
                </a:lnTo>
                <a:lnTo>
                  <a:pt x="10880" y="5000"/>
                </a:lnTo>
                <a:lnTo>
                  <a:pt x="10890" y="5002"/>
                </a:lnTo>
                <a:lnTo>
                  <a:pt x="10898" y="5000"/>
                </a:lnTo>
                <a:lnTo>
                  <a:pt x="10900" y="4998"/>
                </a:lnTo>
                <a:lnTo>
                  <a:pt x="10902" y="4996"/>
                </a:lnTo>
                <a:lnTo>
                  <a:pt x="10900" y="4992"/>
                </a:lnTo>
                <a:lnTo>
                  <a:pt x="10894" y="4986"/>
                </a:lnTo>
                <a:lnTo>
                  <a:pt x="10876" y="4968"/>
                </a:lnTo>
                <a:lnTo>
                  <a:pt x="10868" y="4960"/>
                </a:lnTo>
                <a:lnTo>
                  <a:pt x="10862" y="4952"/>
                </a:lnTo>
                <a:lnTo>
                  <a:pt x="10858" y="4944"/>
                </a:lnTo>
                <a:lnTo>
                  <a:pt x="10858" y="4940"/>
                </a:lnTo>
                <a:lnTo>
                  <a:pt x="10860" y="4938"/>
                </a:lnTo>
                <a:lnTo>
                  <a:pt x="10862" y="4934"/>
                </a:lnTo>
                <a:lnTo>
                  <a:pt x="10864" y="4930"/>
                </a:lnTo>
                <a:lnTo>
                  <a:pt x="10862" y="4926"/>
                </a:lnTo>
                <a:lnTo>
                  <a:pt x="10860" y="4922"/>
                </a:lnTo>
                <a:lnTo>
                  <a:pt x="10856" y="4914"/>
                </a:lnTo>
                <a:lnTo>
                  <a:pt x="10852" y="4908"/>
                </a:lnTo>
                <a:lnTo>
                  <a:pt x="10850" y="4902"/>
                </a:lnTo>
                <a:lnTo>
                  <a:pt x="10850" y="4896"/>
                </a:lnTo>
                <a:lnTo>
                  <a:pt x="10848" y="4892"/>
                </a:lnTo>
                <a:lnTo>
                  <a:pt x="10842" y="4890"/>
                </a:lnTo>
                <a:lnTo>
                  <a:pt x="10838" y="4886"/>
                </a:lnTo>
                <a:lnTo>
                  <a:pt x="10838" y="4882"/>
                </a:lnTo>
                <a:lnTo>
                  <a:pt x="10838" y="4878"/>
                </a:lnTo>
                <a:lnTo>
                  <a:pt x="10838" y="4872"/>
                </a:lnTo>
                <a:lnTo>
                  <a:pt x="10842" y="4868"/>
                </a:lnTo>
                <a:lnTo>
                  <a:pt x="10844" y="4866"/>
                </a:lnTo>
                <a:lnTo>
                  <a:pt x="10846" y="4864"/>
                </a:lnTo>
                <a:lnTo>
                  <a:pt x="10852" y="4866"/>
                </a:lnTo>
                <a:lnTo>
                  <a:pt x="10854" y="4866"/>
                </a:lnTo>
                <a:lnTo>
                  <a:pt x="10856" y="4864"/>
                </a:lnTo>
                <a:lnTo>
                  <a:pt x="10854" y="4860"/>
                </a:lnTo>
                <a:lnTo>
                  <a:pt x="10852" y="4856"/>
                </a:lnTo>
                <a:lnTo>
                  <a:pt x="10844" y="4848"/>
                </a:lnTo>
                <a:lnTo>
                  <a:pt x="10842" y="4842"/>
                </a:lnTo>
                <a:lnTo>
                  <a:pt x="10842" y="4840"/>
                </a:lnTo>
                <a:lnTo>
                  <a:pt x="10844" y="4840"/>
                </a:lnTo>
                <a:lnTo>
                  <a:pt x="10844" y="4838"/>
                </a:lnTo>
                <a:lnTo>
                  <a:pt x="10848" y="4836"/>
                </a:lnTo>
                <a:lnTo>
                  <a:pt x="10848" y="4834"/>
                </a:lnTo>
                <a:lnTo>
                  <a:pt x="10848" y="4830"/>
                </a:lnTo>
                <a:lnTo>
                  <a:pt x="10848" y="4826"/>
                </a:lnTo>
                <a:lnTo>
                  <a:pt x="10854" y="4832"/>
                </a:lnTo>
                <a:lnTo>
                  <a:pt x="10860" y="4834"/>
                </a:lnTo>
                <a:lnTo>
                  <a:pt x="10864" y="4834"/>
                </a:lnTo>
                <a:lnTo>
                  <a:pt x="10868" y="4832"/>
                </a:lnTo>
                <a:lnTo>
                  <a:pt x="10874" y="4830"/>
                </a:lnTo>
                <a:lnTo>
                  <a:pt x="10880" y="4830"/>
                </a:lnTo>
                <a:lnTo>
                  <a:pt x="10886" y="4828"/>
                </a:lnTo>
                <a:lnTo>
                  <a:pt x="10886" y="4826"/>
                </a:lnTo>
                <a:lnTo>
                  <a:pt x="10886" y="4824"/>
                </a:lnTo>
                <a:lnTo>
                  <a:pt x="10880" y="4816"/>
                </a:lnTo>
                <a:lnTo>
                  <a:pt x="10872" y="4810"/>
                </a:lnTo>
                <a:lnTo>
                  <a:pt x="10868" y="4806"/>
                </a:lnTo>
                <a:lnTo>
                  <a:pt x="10870" y="4802"/>
                </a:lnTo>
                <a:lnTo>
                  <a:pt x="10874" y="4798"/>
                </a:lnTo>
                <a:lnTo>
                  <a:pt x="10876" y="4796"/>
                </a:lnTo>
                <a:lnTo>
                  <a:pt x="10880" y="4798"/>
                </a:lnTo>
                <a:lnTo>
                  <a:pt x="10882" y="4800"/>
                </a:lnTo>
                <a:lnTo>
                  <a:pt x="10892" y="4798"/>
                </a:lnTo>
                <a:lnTo>
                  <a:pt x="10902" y="4796"/>
                </a:lnTo>
                <a:lnTo>
                  <a:pt x="10908" y="4792"/>
                </a:lnTo>
                <a:lnTo>
                  <a:pt x="10912" y="4786"/>
                </a:lnTo>
                <a:lnTo>
                  <a:pt x="10912" y="4780"/>
                </a:lnTo>
                <a:lnTo>
                  <a:pt x="10912" y="4776"/>
                </a:lnTo>
                <a:lnTo>
                  <a:pt x="10910" y="4776"/>
                </a:lnTo>
                <a:lnTo>
                  <a:pt x="10906" y="4776"/>
                </a:lnTo>
                <a:lnTo>
                  <a:pt x="10902" y="4776"/>
                </a:lnTo>
                <a:lnTo>
                  <a:pt x="10900" y="4776"/>
                </a:lnTo>
                <a:lnTo>
                  <a:pt x="10898" y="4774"/>
                </a:lnTo>
                <a:lnTo>
                  <a:pt x="10894" y="4772"/>
                </a:lnTo>
                <a:lnTo>
                  <a:pt x="10892" y="4770"/>
                </a:lnTo>
                <a:lnTo>
                  <a:pt x="10888" y="4768"/>
                </a:lnTo>
                <a:lnTo>
                  <a:pt x="10886" y="4766"/>
                </a:lnTo>
                <a:lnTo>
                  <a:pt x="10882" y="4760"/>
                </a:lnTo>
                <a:lnTo>
                  <a:pt x="10878" y="4758"/>
                </a:lnTo>
                <a:lnTo>
                  <a:pt x="10872" y="4758"/>
                </a:lnTo>
                <a:lnTo>
                  <a:pt x="10870" y="4760"/>
                </a:lnTo>
                <a:lnTo>
                  <a:pt x="10864" y="4764"/>
                </a:lnTo>
                <a:lnTo>
                  <a:pt x="10862" y="4764"/>
                </a:lnTo>
                <a:lnTo>
                  <a:pt x="10860" y="4762"/>
                </a:lnTo>
                <a:lnTo>
                  <a:pt x="10860" y="4758"/>
                </a:lnTo>
                <a:lnTo>
                  <a:pt x="10862" y="4758"/>
                </a:lnTo>
                <a:lnTo>
                  <a:pt x="10864" y="4756"/>
                </a:lnTo>
                <a:lnTo>
                  <a:pt x="10864" y="4750"/>
                </a:lnTo>
                <a:lnTo>
                  <a:pt x="10862" y="4748"/>
                </a:lnTo>
                <a:lnTo>
                  <a:pt x="10862" y="4746"/>
                </a:lnTo>
                <a:lnTo>
                  <a:pt x="10856" y="4748"/>
                </a:lnTo>
                <a:lnTo>
                  <a:pt x="10852" y="4750"/>
                </a:lnTo>
                <a:lnTo>
                  <a:pt x="10850" y="4750"/>
                </a:lnTo>
                <a:lnTo>
                  <a:pt x="10848" y="4748"/>
                </a:lnTo>
                <a:lnTo>
                  <a:pt x="10848" y="4740"/>
                </a:lnTo>
                <a:lnTo>
                  <a:pt x="10848" y="4734"/>
                </a:lnTo>
                <a:lnTo>
                  <a:pt x="10850" y="4728"/>
                </a:lnTo>
                <a:lnTo>
                  <a:pt x="10846" y="4722"/>
                </a:lnTo>
                <a:lnTo>
                  <a:pt x="10842" y="4718"/>
                </a:lnTo>
                <a:lnTo>
                  <a:pt x="10840" y="4720"/>
                </a:lnTo>
                <a:lnTo>
                  <a:pt x="10838" y="4720"/>
                </a:lnTo>
                <a:lnTo>
                  <a:pt x="10834" y="4718"/>
                </a:lnTo>
                <a:lnTo>
                  <a:pt x="10832" y="4710"/>
                </a:lnTo>
                <a:lnTo>
                  <a:pt x="10830" y="4702"/>
                </a:lnTo>
                <a:lnTo>
                  <a:pt x="10828" y="4700"/>
                </a:lnTo>
                <a:lnTo>
                  <a:pt x="10826" y="4700"/>
                </a:lnTo>
                <a:lnTo>
                  <a:pt x="10824" y="4704"/>
                </a:lnTo>
                <a:lnTo>
                  <a:pt x="10822" y="4708"/>
                </a:lnTo>
                <a:lnTo>
                  <a:pt x="10820" y="4714"/>
                </a:lnTo>
                <a:lnTo>
                  <a:pt x="10816" y="4720"/>
                </a:lnTo>
                <a:lnTo>
                  <a:pt x="10814" y="4720"/>
                </a:lnTo>
                <a:lnTo>
                  <a:pt x="10814" y="4712"/>
                </a:lnTo>
                <a:lnTo>
                  <a:pt x="10816" y="4702"/>
                </a:lnTo>
                <a:lnTo>
                  <a:pt x="10814" y="4700"/>
                </a:lnTo>
                <a:lnTo>
                  <a:pt x="10812" y="4698"/>
                </a:lnTo>
                <a:lnTo>
                  <a:pt x="10808" y="4700"/>
                </a:lnTo>
                <a:lnTo>
                  <a:pt x="10808" y="4706"/>
                </a:lnTo>
                <a:lnTo>
                  <a:pt x="10804" y="4714"/>
                </a:lnTo>
                <a:lnTo>
                  <a:pt x="10798" y="4726"/>
                </a:lnTo>
                <a:lnTo>
                  <a:pt x="10792" y="4736"/>
                </a:lnTo>
                <a:lnTo>
                  <a:pt x="10788" y="4740"/>
                </a:lnTo>
                <a:lnTo>
                  <a:pt x="10786" y="4742"/>
                </a:lnTo>
                <a:lnTo>
                  <a:pt x="10784" y="4748"/>
                </a:lnTo>
                <a:lnTo>
                  <a:pt x="10782" y="4754"/>
                </a:lnTo>
                <a:lnTo>
                  <a:pt x="10780" y="4758"/>
                </a:lnTo>
                <a:lnTo>
                  <a:pt x="10778" y="4760"/>
                </a:lnTo>
                <a:lnTo>
                  <a:pt x="10778" y="4762"/>
                </a:lnTo>
                <a:lnTo>
                  <a:pt x="10776" y="4768"/>
                </a:lnTo>
                <a:lnTo>
                  <a:pt x="10774" y="4772"/>
                </a:lnTo>
                <a:lnTo>
                  <a:pt x="10770" y="4772"/>
                </a:lnTo>
                <a:lnTo>
                  <a:pt x="10768" y="4772"/>
                </a:lnTo>
                <a:lnTo>
                  <a:pt x="10766" y="4770"/>
                </a:lnTo>
                <a:lnTo>
                  <a:pt x="10762" y="4772"/>
                </a:lnTo>
                <a:lnTo>
                  <a:pt x="10756" y="4780"/>
                </a:lnTo>
                <a:lnTo>
                  <a:pt x="10756" y="4782"/>
                </a:lnTo>
                <a:lnTo>
                  <a:pt x="10758" y="4782"/>
                </a:lnTo>
                <a:lnTo>
                  <a:pt x="10762" y="4786"/>
                </a:lnTo>
                <a:lnTo>
                  <a:pt x="10764" y="4790"/>
                </a:lnTo>
                <a:lnTo>
                  <a:pt x="10764" y="4794"/>
                </a:lnTo>
                <a:lnTo>
                  <a:pt x="10760" y="4798"/>
                </a:lnTo>
                <a:lnTo>
                  <a:pt x="10756" y="4800"/>
                </a:lnTo>
                <a:lnTo>
                  <a:pt x="10754" y="4800"/>
                </a:lnTo>
                <a:lnTo>
                  <a:pt x="10750" y="4800"/>
                </a:lnTo>
                <a:lnTo>
                  <a:pt x="10746" y="4804"/>
                </a:lnTo>
                <a:lnTo>
                  <a:pt x="10742" y="4806"/>
                </a:lnTo>
                <a:lnTo>
                  <a:pt x="10742" y="4802"/>
                </a:lnTo>
                <a:lnTo>
                  <a:pt x="10744" y="4796"/>
                </a:lnTo>
                <a:lnTo>
                  <a:pt x="10744" y="4794"/>
                </a:lnTo>
                <a:lnTo>
                  <a:pt x="10742" y="4794"/>
                </a:lnTo>
                <a:lnTo>
                  <a:pt x="10738" y="4796"/>
                </a:lnTo>
                <a:lnTo>
                  <a:pt x="10732" y="4802"/>
                </a:lnTo>
                <a:lnTo>
                  <a:pt x="10724" y="4808"/>
                </a:lnTo>
                <a:lnTo>
                  <a:pt x="10716" y="4814"/>
                </a:lnTo>
                <a:lnTo>
                  <a:pt x="10710" y="4816"/>
                </a:lnTo>
                <a:lnTo>
                  <a:pt x="10704" y="4818"/>
                </a:lnTo>
                <a:lnTo>
                  <a:pt x="10702" y="4816"/>
                </a:lnTo>
                <a:lnTo>
                  <a:pt x="10700" y="4818"/>
                </a:lnTo>
                <a:lnTo>
                  <a:pt x="10700" y="4828"/>
                </a:lnTo>
                <a:lnTo>
                  <a:pt x="10698" y="4834"/>
                </a:lnTo>
                <a:lnTo>
                  <a:pt x="10696" y="4840"/>
                </a:lnTo>
                <a:lnTo>
                  <a:pt x="10686" y="4850"/>
                </a:lnTo>
                <a:lnTo>
                  <a:pt x="10674" y="4864"/>
                </a:lnTo>
                <a:lnTo>
                  <a:pt x="10670" y="4872"/>
                </a:lnTo>
                <a:lnTo>
                  <a:pt x="10666" y="4882"/>
                </a:lnTo>
                <a:lnTo>
                  <a:pt x="10662" y="4888"/>
                </a:lnTo>
                <a:lnTo>
                  <a:pt x="10654" y="4892"/>
                </a:lnTo>
                <a:lnTo>
                  <a:pt x="10634" y="4896"/>
                </a:lnTo>
                <a:lnTo>
                  <a:pt x="10612" y="4900"/>
                </a:lnTo>
                <a:lnTo>
                  <a:pt x="10604" y="4902"/>
                </a:lnTo>
                <a:lnTo>
                  <a:pt x="10600" y="4906"/>
                </a:lnTo>
                <a:lnTo>
                  <a:pt x="10598" y="4910"/>
                </a:lnTo>
                <a:lnTo>
                  <a:pt x="10598" y="4914"/>
                </a:lnTo>
                <a:lnTo>
                  <a:pt x="10598" y="4922"/>
                </a:lnTo>
                <a:lnTo>
                  <a:pt x="10598" y="4928"/>
                </a:lnTo>
                <a:lnTo>
                  <a:pt x="10596" y="4928"/>
                </a:lnTo>
                <a:lnTo>
                  <a:pt x="10592" y="4926"/>
                </a:lnTo>
                <a:lnTo>
                  <a:pt x="10590" y="4924"/>
                </a:lnTo>
                <a:lnTo>
                  <a:pt x="10588" y="4924"/>
                </a:lnTo>
                <a:lnTo>
                  <a:pt x="10586" y="4928"/>
                </a:lnTo>
                <a:lnTo>
                  <a:pt x="10586" y="4932"/>
                </a:lnTo>
                <a:lnTo>
                  <a:pt x="10588" y="4936"/>
                </a:lnTo>
                <a:lnTo>
                  <a:pt x="10590" y="4938"/>
                </a:lnTo>
                <a:lnTo>
                  <a:pt x="10590" y="4940"/>
                </a:lnTo>
                <a:lnTo>
                  <a:pt x="10588" y="4942"/>
                </a:lnTo>
                <a:lnTo>
                  <a:pt x="10586" y="4948"/>
                </a:lnTo>
                <a:lnTo>
                  <a:pt x="10584" y="4956"/>
                </a:lnTo>
                <a:lnTo>
                  <a:pt x="10582" y="4960"/>
                </a:lnTo>
                <a:lnTo>
                  <a:pt x="10580" y="4962"/>
                </a:lnTo>
                <a:lnTo>
                  <a:pt x="10584" y="4968"/>
                </a:lnTo>
                <a:lnTo>
                  <a:pt x="10586" y="4972"/>
                </a:lnTo>
                <a:lnTo>
                  <a:pt x="10586" y="4974"/>
                </a:lnTo>
                <a:lnTo>
                  <a:pt x="10578" y="4968"/>
                </a:lnTo>
                <a:lnTo>
                  <a:pt x="10572" y="4966"/>
                </a:lnTo>
                <a:lnTo>
                  <a:pt x="10566" y="4964"/>
                </a:lnTo>
                <a:lnTo>
                  <a:pt x="10562" y="4964"/>
                </a:lnTo>
                <a:lnTo>
                  <a:pt x="10560" y="4962"/>
                </a:lnTo>
                <a:lnTo>
                  <a:pt x="10560" y="4960"/>
                </a:lnTo>
                <a:lnTo>
                  <a:pt x="10562" y="4956"/>
                </a:lnTo>
                <a:lnTo>
                  <a:pt x="10560" y="4956"/>
                </a:lnTo>
                <a:lnTo>
                  <a:pt x="10558" y="4956"/>
                </a:lnTo>
                <a:lnTo>
                  <a:pt x="10554" y="4954"/>
                </a:lnTo>
                <a:lnTo>
                  <a:pt x="10552" y="4952"/>
                </a:lnTo>
                <a:lnTo>
                  <a:pt x="10552" y="4954"/>
                </a:lnTo>
                <a:lnTo>
                  <a:pt x="10550" y="4956"/>
                </a:lnTo>
                <a:lnTo>
                  <a:pt x="10546" y="4958"/>
                </a:lnTo>
                <a:lnTo>
                  <a:pt x="10540" y="4958"/>
                </a:lnTo>
                <a:lnTo>
                  <a:pt x="10534" y="4954"/>
                </a:lnTo>
                <a:lnTo>
                  <a:pt x="10528" y="4950"/>
                </a:lnTo>
                <a:lnTo>
                  <a:pt x="10526" y="4942"/>
                </a:lnTo>
                <a:lnTo>
                  <a:pt x="10520" y="4942"/>
                </a:lnTo>
                <a:lnTo>
                  <a:pt x="10516" y="4944"/>
                </a:lnTo>
                <a:lnTo>
                  <a:pt x="10512" y="4950"/>
                </a:lnTo>
                <a:lnTo>
                  <a:pt x="10508" y="4958"/>
                </a:lnTo>
                <a:lnTo>
                  <a:pt x="10506" y="4964"/>
                </a:lnTo>
                <a:close/>
                <a:moveTo>
                  <a:pt x="12348" y="4304"/>
                </a:moveTo>
                <a:lnTo>
                  <a:pt x="12348" y="4304"/>
                </a:lnTo>
                <a:lnTo>
                  <a:pt x="12352" y="4306"/>
                </a:lnTo>
                <a:lnTo>
                  <a:pt x="12354" y="4306"/>
                </a:lnTo>
                <a:lnTo>
                  <a:pt x="12358" y="4302"/>
                </a:lnTo>
                <a:lnTo>
                  <a:pt x="12362" y="4296"/>
                </a:lnTo>
                <a:lnTo>
                  <a:pt x="12366" y="4294"/>
                </a:lnTo>
                <a:lnTo>
                  <a:pt x="12368" y="4292"/>
                </a:lnTo>
                <a:lnTo>
                  <a:pt x="12370" y="4290"/>
                </a:lnTo>
                <a:lnTo>
                  <a:pt x="12372" y="4282"/>
                </a:lnTo>
                <a:lnTo>
                  <a:pt x="12376" y="4274"/>
                </a:lnTo>
                <a:lnTo>
                  <a:pt x="12376" y="4272"/>
                </a:lnTo>
                <a:lnTo>
                  <a:pt x="12374" y="4270"/>
                </a:lnTo>
                <a:lnTo>
                  <a:pt x="12370" y="4270"/>
                </a:lnTo>
                <a:lnTo>
                  <a:pt x="12370" y="4268"/>
                </a:lnTo>
                <a:lnTo>
                  <a:pt x="12368" y="4266"/>
                </a:lnTo>
                <a:lnTo>
                  <a:pt x="12366" y="4264"/>
                </a:lnTo>
                <a:lnTo>
                  <a:pt x="12362" y="4264"/>
                </a:lnTo>
                <a:lnTo>
                  <a:pt x="12358" y="4264"/>
                </a:lnTo>
                <a:lnTo>
                  <a:pt x="12348" y="4268"/>
                </a:lnTo>
                <a:lnTo>
                  <a:pt x="12338" y="4276"/>
                </a:lnTo>
                <a:lnTo>
                  <a:pt x="12336" y="4280"/>
                </a:lnTo>
                <a:lnTo>
                  <a:pt x="12336" y="4282"/>
                </a:lnTo>
                <a:lnTo>
                  <a:pt x="12334" y="4288"/>
                </a:lnTo>
                <a:lnTo>
                  <a:pt x="12332" y="4294"/>
                </a:lnTo>
                <a:lnTo>
                  <a:pt x="12328" y="4298"/>
                </a:lnTo>
                <a:lnTo>
                  <a:pt x="12326" y="4304"/>
                </a:lnTo>
                <a:lnTo>
                  <a:pt x="12328" y="4306"/>
                </a:lnTo>
                <a:lnTo>
                  <a:pt x="12332" y="4304"/>
                </a:lnTo>
                <a:lnTo>
                  <a:pt x="12338" y="4302"/>
                </a:lnTo>
                <a:lnTo>
                  <a:pt x="12348" y="4304"/>
                </a:lnTo>
                <a:close/>
                <a:moveTo>
                  <a:pt x="10758" y="5378"/>
                </a:moveTo>
                <a:lnTo>
                  <a:pt x="10758" y="5378"/>
                </a:lnTo>
                <a:lnTo>
                  <a:pt x="10760" y="5376"/>
                </a:lnTo>
                <a:lnTo>
                  <a:pt x="10762" y="5378"/>
                </a:lnTo>
                <a:lnTo>
                  <a:pt x="10764" y="5378"/>
                </a:lnTo>
                <a:lnTo>
                  <a:pt x="10766" y="5376"/>
                </a:lnTo>
                <a:lnTo>
                  <a:pt x="10766" y="5374"/>
                </a:lnTo>
                <a:lnTo>
                  <a:pt x="10764" y="5372"/>
                </a:lnTo>
                <a:lnTo>
                  <a:pt x="10760" y="5372"/>
                </a:lnTo>
                <a:lnTo>
                  <a:pt x="10754" y="5372"/>
                </a:lnTo>
                <a:lnTo>
                  <a:pt x="10752" y="5374"/>
                </a:lnTo>
                <a:lnTo>
                  <a:pt x="10752" y="5376"/>
                </a:lnTo>
                <a:lnTo>
                  <a:pt x="10754" y="5378"/>
                </a:lnTo>
                <a:lnTo>
                  <a:pt x="10758" y="5378"/>
                </a:lnTo>
                <a:close/>
                <a:moveTo>
                  <a:pt x="10962" y="5352"/>
                </a:moveTo>
                <a:lnTo>
                  <a:pt x="10962" y="5352"/>
                </a:lnTo>
                <a:lnTo>
                  <a:pt x="10964" y="5354"/>
                </a:lnTo>
                <a:lnTo>
                  <a:pt x="10966" y="5344"/>
                </a:lnTo>
                <a:lnTo>
                  <a:pt x="10966" y="5332"/>
                </a:lnTo>
                <a:lnTo>
                  <a:pt x="10964" y="5322"/>
                </a:lnTo>
                <a:lnTo>
                  <a:pt x="10962" y="5322"/>
                </a:lnTo>
                <a:lnTo>
                  <a:pt x="10962" y="5330"/>
                </a:lnTo>
                <a:lnTo>
                  <a:pt x="10960" y="5340"/>
                </a:lnTo>
                <a:lnTo>
                  <a:pt x="10962" y="5352"/>
                </a:lnTo>
                <a:close/>
                <a:moveTo>
                  <a:pt x="11064" y="5452"/>
                </a:moveTo>
                <a:lnTo>
                  <a:pt x="11064" y="5452"/>
                </a:lnTo>
                <a:lnTo>
                  <a:pt x="11060" y="5454"/>
                </a:lnTo>
                <a:lnTo>
                  <a:pt x="11060" y="5456"/>
                </a:lnTo>
                <a:lnTo>
                  <a:pt x="11064" y="5456"/>
                </a:lnTo>
                <a:lnTo>
                  <a:pt x="11068" y="5454"/>
                </a:lnTo>
                <a:lnTo>
                  <a:pt x="11070" y="5452"/>
                </a:lnTo>
                <a:lnTo>
                  <a:pt x="11070" y="5450"/>
                </a:lnTo>
                <a:lnTo>
                  <a:pt x="11064" y="5452"/>
                </a:lnTo>
                <a:close/>
                <a:moveTo>
                  <a:pt x="11078" y="5444"/>
                </a:moveTo>
                <a:lnTo>
                  <a:pt x="11078" y="5444"/>
                </a:lnTo>
                <a:lnTo>
                  <a:pt x="11076" y="5440"/>
                </a:lnTo>
                <a:lnTo>
                  <a:pt x="11074" y="5440"/>
                </a:lnTo>
                <a:lnTo>
                  <a:pt x="11070" y="5440"/>
                </a:lnTo>
                <a:lnTo>
                  <a:pt x="11068" y="5444"/>
                </a:lnTo>
                <a:lnTo>
                  <a:pt x="11066" y="5446"/>
                </a:lnTo>
                <a:lnTo>
                  <a:pt x="11066" y="5448"/>
                </a:lnTo>
                <a:lnTo>
                  <a:pt x="11072" y="5448"/>
                </a:lnTo>
                <a:lnTo>
                  <a:pt x="11076" y="5448"/>
                </a:lnTo>
                <a:lnTo>
                  <a:pt x="11078" y="5444"/>
                </a:lnTo>
                <a:close/>
                <a:moveTo>
                  <a:pt x="11112" y="5442"/>
                </a:moveTo>
                <a:lnTo>
                  <a:pt x="11112" y="5442"/>
                </a:lnTo>
                <a:lnTo>
                  <a:pt x="11108" y="5446"/>
                </a:lnTo>
                <a:lnTo>
                  <a:pt x="11106" y="5444"/>
                </a:lnTo>
                <a:lnTo>
                  <a:pt x="11104" y="5444"/>
                </a:lnTo>
                <a:lnTo>
                  <a:pt x="11102" y="5446"/>
                </a:lnTo>
                <a:lnTo>
                  <a:pt x="11102" y="5450"/>
                </a:lnTo>
                <a:lnTo>
                  <a:pt x="11106" y="5454"/>
                </a:lnTo>
                <a:lnTo>
                  <a:pt x="11108" y="5454"/>
                </a:lnTo>
                <a:lnTo>
                  <a:pt x="11110" y="5454"/>
                </a:lnTo>
                <a:lnTo>
                  <a:pt x="11112" y="5452"/>
                </a:lnTo>
                <a:lnTo>
                  <a:pt x="11116" y="5444"/>
                </a:lnTo>
                <a:lnTo>
                  <a:pt x="11116" y="5440"/>
                </a:lnTo>
                <a:lnTo>
                  <a:pt x="11116" y="5438"/>
                </a:lnTo>
                <a:lnTo>
                  <a:pt x="11112" y="5442"/>
                </a:lnTo>
                <a:close/>
                <a:moveTo>
                  <a:pt x="11080" y="5560"/>
                </a:moveTo>
                <a:lnTo>
                  <a:pt x="11080" y="5560"/>
                </a:lnTo>
                <a:lnTo>
                  <a:pt x="11082" y="5556"/>
                </a:lnTo>
                <a:lnTo>
                  <a:pt x="11082" y="5552"/>
                </a:lnTo>
                <a:lnTo>
                  <a:pt x="11080" y="5550"/>
                </a:lnTo>
                <a:lnTo>
                  <a:pt x="11078" y="5550"/>
                </a:lnTo>
                <a:lnTo>
                  <a:pt x="11076" y="5550"/>
                </a:lnTo>
                <a:lnTo>
                  <a:pt x="11074" y="5554"/>
                </a:lnTo>
                <a:lnTo>
                  <a:pt x="11068" y="5560"/>
                </a:lnTo>
                <a:lnTo>
                  <a:pt x="11062" y="5562"/>
                </a:lnTo>
                <a:lnTo>
                  <a:pt x="11058" y="5564"/>
                </a:lnTo>
                <a:lnTo>
                  <a:pt x="11056" y="5570"/>
                </a:lnTo>
                <a:lnTo>
                  <a:pt x="11056" y="5572"/>
                </a:lnTo>
                <a:lnTo>
                  <a:pt x="11058" y="5572"/>
                </a:lnTo>
                <a:lnTo>
                  <a:pt x="11066" y="5570"/>
                </a:lnTo>
                <a:lnTo>
                  <a:pt x="11080" y="5560"/>
                </a:lnTo>
                <a:close/>
                <a:moveTo>
                  <a:pt x="11070" y="5096"/>
                </a:moveTo>
                <a:lnTo>
                  <a:pt x="11070" y="5096"/>
                </a:lnTo>
                <a:lnTo>
                  <a:pt x="11064" y="5096"/>
                </a:lnTo>
                <a:lnTo>
                  <a:pt x="11060" y="5098"/>
                </a:lnTo>
                <a:lnTo>
                  <a:pt x="11058" y="5106"/>
                </a:lnTo>
                <a:lnTo>
                  <a:pt x="11060" y="5116"/>
                </a:lnTo>
                <a:lnTo>
                  <a:pt x="11062" y="5114"/>
                </a:lnTo>
                <a:lnTo>
                  <a:pt x="11068" y="5108"/>
                </a:lnTo>
                <a:lnTo>
                  <a:pt x="11072" y="5100"/>
                </a:lnTo>
                <a:lnTo>
                  <a:pt x="11072" y="5096"/>
                </a:lnTo>
                <a:lnTo>
                  <a:pt x="11070" y="5096"/>
                </a:lnTo>
                <a:close/>
                <a:moveTo>
                  <a:pt x="11084" y="5112"/>
                </a:moveTo>
                <a:lnTo>
                  <a:pt x="11084" y="5112"/>
                </a:lnTo>
                <a:lnTo>
                  <a:pt x="11086" y="5108"/>
                </a:lnTo>
                <a:lnTo>
                  <a:pt x="11088" y="5104"/>
                </a:lnTo>
                <a:lnTo>
                  <a:pt x="11086" y="5100"/>
                </a:lnTo>
                <a:lnTo>
                  <a:pt x="11080" y="5100"/>
                </a:lnTo>
                <a:lnTo>
                  <a:pt x="11078" y="5102"/>
                </a:lnTo>
                <a:lnTo>
                  <a:pt x="11078" y="5104"/>
                </a:lnTo>
                <a:lnTo>
                  <a:pt x="11078" y="5108"/>
                </a:lnTo>
                <a:lnTo>
                  <a:pt x="11080" y="5112"/>
                </a:lnTo>
                <a:lnTo>
                  <a:pt x="11082" y="5112"/>
                </a:lnTo>
                <a:lnTo>
                  <a:pt x="11084" y="5112"/>
                </a:lnTo>
                <a:close/>
                <a:moveTo>
                  <a:pt x="10794" y="5226"/>
                </a:moveTo>
                <a:lnTo>
                  <a:pt x="10794" y="5226"/>
                </a:lnTo>
                <a:lnTo>
                  <a:pt x="10796" y="5216"/>
                </a:lnTo>
                <a:lnTo>
                  <a:pt x="10794" y="5206"/>
                </a:lnTo>
                <a:lnTo>
                  <a:pt x="10792" y="5200"/>
                </a:lnTo>
                <a:lnTo>
                  <a:pt x="10790" y="5200"/>
                </a:lnTo>
                <a:lnTo>
                  <a:pt x="10788" y="5202"/>
                </a:lnTo>
                <a:lnTo>
                  <a:pt x="10786" y="5210"/>
                </a:lnTo>
                <a:lnTo>
                  <a:pt x="10786" y="5216"/>
                </a:lnTo>
                <a:lnTo>
                  <a:pt x="10786" y="5224"/>
                </a:lnTo>
                <a:lnTo>
                  <a:pt x="10784" y="5236"/>
                </a:lnTo>
                <a:lnTo>
                  <a:pt x="10784" y="5238"/>
                </a:lnTo>
                <a:lnTo>
                  <a:pt x="10788" y="5238"/>
                </a:lnTo>
                <a:lnTo>
                  <a:pt x="10790" y="5234"/>
                </a:lnTo>
                <a:lnTo>
                  <a:pt x="10794" y="5226"/>
                </a:lnTo>
                <a:close/>
                <a:moveTo>
                  <a:pt x="10466" y="4862"/>
                </a:moveTo>
                <a:lnTo>
                  <a:pt x="10466" y="4862"/>
                </a:lnTo>
                <a:lnTo>
                  <a:pt x="10470" y="4862"/>
                </a:lnTo>
                <a:lnTo>
                  <a:pt x="10472" y="4860"/>
                </a:lnTo>
                <a:lnTo>
                  <a:pt x="10474" y="4850"/>
                </a:lnTo>
                <a:lnTo>
                  <a:pt x="10472" y="4840"/>
                </a:lnTo>
                <a:lnTo>
                  <a:pt x="10470" y="4834"/>
                </a:lnTo>
                <a:lnTo>
                  <a:pt x="10466" y="4834"/>
                </a:lnTo>
                <a:lnTo>
                  <a:pt x="10462" y="4840"/>
                </a:lnTo>
                <a:lnTo>
                  <a:pt x="10460" y="4846"/>
                </a:lnTo>
                <a:lnTo>
                  <a:pt x="10460" y="4848"/>
                </a:lnTo>
                <a:lnTo>
                  <a:pt x="10462" y="4852"/>
                </a:lnTo>
                <a:lnTo>
                  <a:pt x="10466" y="4854"/>
                </a:lnTo>
                <a:lnTo>
                  <a:pt x="10464" y="4858"/>
                </a:lnTo>
                <a:lnTo>
                  <a:pt x="10462" y="4860"/>
                </a:lnTo>
                <a:lnTo>
                  <a:pt x="10466" y="4862"/>
                </a:lnTo>
                <a:close/>
                <a:moveTo>
                  <a:pt x="10118" y="5140"/>
                </a:moveTo>
                <a:lnTo>
                  <a:pt x="10118" y="5140"/>
                </a:lnTo>
                <a:lnTo>
                  <a:pt x="10118" y="5144"/>
                </a:lnTo>
                <a:lnTo>
                  <a:pt x="10118" y="5146"/>
                </a:lnTo>
                <a:lnTo>
                  <a:pt x="10122" y="5152"/>
                </a:lnTo>
                <a:lnTo>
                  <a:pt x="10128" y="5156"/>
                </a:lnTo>
                <a:lnTo>
                  <a:pt x="10130" y="5156"/>
                </a:lnTo>
                <a:lnTo>
                  <a:pt x="10132" y="5154"/>
                </a:lnTo>
                <a:lnTo>
                  <a:pt x="10132" y="5152"/>
                </a:lnTo>
                <a:lnTo>
                  <a:pt x="10132" y="5148"/>
                </a:lnTo>
                <a:lnTo>
                  <a:pt x="10130" y="5142"/>
                </a:lnTo>
                <a:lnTo>
                  <a:pt x="10124" y="5138"/>
                </a:lnTo>
                <a:lnTo>
                  <a:pt x="10122" y="5140"/>
                </a:lnTo>
                <a:lnTo>
                  <a:pt x="10118" y="5140"/>
                </a:lnTo>
                <a:close/>
                <a:moveTo>
                  <a:pt x="10136" y="5164"/>
                </a:moveTo>
                <a:lnTo>
                  <a:pt x="10136" y="5164"/>
                </a:lnTo>
                <a:lnTo>
                  <a:pt x="10134" y="5168"/>
                </a:lnTo>
                <a:lnTo>
                  <a:pt x="10134" y="5172"/>
                </a:lnTo>
                <a:lnTo>
                  <a:pt x="10136" y="5176"/>
                </a:lnTo>
                <a:lnTo>
                  <a:pt x="10140" y="5176"/>
                </a:lnTo>
                <a:lnTo>
                  <a:pt x="10142" y="5178"/>
                </a:lnTo>
                <a:lnTo>
                  <a:pt x="10144" y="5180"/>
                </a:lnTo>
                <a:lnTo>
                  <a:pt x="10148" y="5188"/>
                </a:lnTo>
                <a:lnTo>
                  <a:pt x="10150" y="5196"/>
                </a:lnTo>
                <a:lnTo>
                  <a:pt x="10152" y="5196"/>
                </a:lnTo>
                <a:lnTo>
                  <a:pt x="10154" y="5194"/>
                </a:lnTo>
                <a:lnTo>
                  <a:pt x="10154" y="5190"/>
                </a:lnTo>
                <a:lnTo>
                  <a:pt x="10154" y="5184"/>
                </a:lnTo>
                <a:lnTo>
                  <a:pt x="10148" y="5172"/>
                </a:lnTo>
                <a:lnTo>
                  <a:pt x="10142" y="5164"/>
                </a:lnTo>
                <a:lnTo>
                  <a:pt x="10138" y="5162"/>
                </a:lnTo>
                <a:lnTo>
                  <a:pt x="10136" y="5164"/>
                </a:lnTo>
                <a:close/>
                <a:moveTo>
                  <a:pt x="10316" y="5070"/>
                </a:moveTo>
                <a:lnTo>
                  <a:pt x="10316" y="5070"/>
                </a:lnTo>
                <a:lnTo>
                  <a:pt x="10320" y="5066"/>
                </a:lnTo>
                <a:lnTo>
                  <a:pt x="10322" y="5062"/>
                </a:lnTo>
                <a:lnTo>
                  <a:pt x="10322" y="5058"/>
                </a:lnTo>
                <a:lnTo>
                  <a:pt x="10320" y="5056"/>
                </a:lnTo>
                <a:lnTo>
                  <a:pt x="10318" y="5056"/>
                </a:lnTo>
                <a:lnTo>
                  <a:pt x="10314" y="5056"/>
                </a:lnTo>
                <a:lnTo>
                  <a:pt x="10312" y="5058"/>
                </a:lnTo>
                <a:lnTo>
                  <a:pt x="10308" y="5066"/>
                </a:lnTo>
                <a:lnTo>
                  <a:pt x="10308" y="5068"/>
                </a:lnTo>
                <a:lnTo>
                  <a:pt x="10310" y="5070"/>
                </a:lnTo>
                <a:lnTo>
                  <a:pt x="10312" y="5072"/>
                </a:lnTo>
                <a:lnTo>
                  <a:pt x="10316" y="5070"/>
                </a:lnTo>
                <a:close/>
                <a:moveTo>
                  <a:pt x="10338" y="5052"/>
                </a:moveTo>
                <a:lnTo>
                  <a:pt x="10338" y="5052"/>
                </a:lnTo>
                <a:lnTo>
                  <a:pt x="10332" y="5048"/>
                </a:lnTo>
                <a:lnTo>
                  <a:pt x="10322" y="5038"/>
                </a:lnTo>
                <a:lnTo>
                  <a:pt x="10318" y="5036"/>
                </a:lnTo>
                <a:lnTo>
                  <a:pt x="10316" y="5036"/>
                </a:lnTo>
                <a:lnTo>
                  <a:pt x="10318" y="5046"/>
                </a:lnTo>
                <a:lnTo>
                  <a:pt x="10318" y="5048"/>
                </a:lnTo>
                <a:lnTo>
                  <a:pt x="10320" y="5050"/>
                </a:lnTo>
                <a:lnTo>
                  <a:pt x="10328" y="5052"/>
                </a:lnTo>
                <a:lnTo>
                  <a:pt x="10334" y="5054"/>
                </a:lnTo>
                <a:lnTo>
                  <a:pt x="10338" y="5052"/>
                </a:lnTo>
                <a:close/>
                <a:moveTo>
                  <a:pt x="10204" y="4934"/>
                </a:moveTo>
                <a:lnTo>
                  <a:pt x="10204" y="4934"/>
                </a:lnTo>
                <a:lnTo>
                  <a:pt x="10202" y="4934"/>
                </a:lnTo>
                <a:lnTo>
                  <a:pt x="10198" y="4936"/>
                </a:lnTo>
                <a:lnTo>
                  <a:pt x="10196" y="4940"/>
                </a:lnTo>
                <a:lnTo>
                  <a:pt x="10194" y="4946"/>
                </a:lnTo>
                <a:lnTo>
                  <a:pt x="10196" y="4948"/>
                </a:lnTo>
                <a:lnTo>
                  <a:pt x="10198" y="4950"/>
                </a:lnTo>
                <a:lnTo>
                  <a:pt x="10200" y="4952"/>
                </a:lnTo>
                <a:lnTo>
                  <a:pt x="10202" y="4950"/>
                </a:lnTo>
                <a:lnTo>
                  <a:pt x="10206" y="4946"/>
                </a:lnTo>
                <a:lnTo>
                  <a:pt x="10208" y="4938"/>
                </a:lnTo>
                <a:lnTo>
                  <a:pt x="10206" y="4936"/>
                </a:lnTo>
                <a:lnTo>
                  <a:pt x="10204" y="4934"/>
                </a:lnTo>
                <a:close/>
                <a:moveTo>
                  <a:pt x="10274" y="4996"/>
                </a:moveTo>
                <a:lnTo>
                  <a:pt x="10274" y="4996"/>
                </a:lnTo>
                <a:lnTo>
                  <a:pt x="10272" y="4998"/>
                </a:lnTo>
                <a:lnTo>
                  <a:pt x="10272" y="5002"/>
                </a:lnTo>
                <a:lnTo>
                  <a:pt x="10274" y="5004"/>
                </a:lnTo>
                <a:lnTo>
                  <a:pt x="10278" y="5006"/>
                </a:lnTo>
                <a:lnTo>
                  <a:pt x="10280" y="5004"/>
                </a:lnTo>
                <a:lnTo>
                  <a:pt x="10280" y="5000"/>
                </a:lnTo>
                <a:lnTo>
                  <a:pt x="10276" y="4998"/>
                </a:lnTo>
                <a:lnTo>
                  <a:pt x="10274" y="4996"/>
                </a:lnTo>
                <a:close/>
                <a:moveTo>
                  <a:pt x="10218" y="4960"/>
                </a:moveTo>
                <a:lnTo>
                  <a:pt x="10218" y="4960"/>
                </a:lnTo>
                <a:lnTo>
                  <a:pt x="10220" y="4962"/>
                </a:lnTo>
                <a:lnTo>
                  <a:pt x="10222" y="4964"/>
                </a:lnTo>
                <a:lnTo>
                  <a:pt x="10230" y="4970"/>
                </a:lnTo>
                <a:lnTo>
                  <a:pt x="10236" y="4974"/>
                </a:lnTo>
                <a:lnTo>
                  <a:pt x="10238" y="4972"/>
                </a:lnTo>
                <a:lnTo>
                  <a:pt x="10238" y="4970"/>
                </a:lnTo>
                <a:lnTo>
                  <a:pt x="10238" y="4966"/>
                </a:lnTo>
                <a:lnTo>
                  <a:pt x="10236" y="4964"/>
                </a:lnTo>
                <a:lnTo>
                  <a:pt x="10228" y="4960"/>
                </a:lnTo>
                <a:lnTo>
                  <a:pt x="10222" y="4958"/>
                </a:lnTo>
                <a:lnTo>
                  <a:pt x="10220" y="4958"/>
                </a:lnTo>
                <a:lnTo>
                  <a:pt x="10218" y="4960"/>
                </a:lnTo>
                <a:close/>
                <a:moveTo>
                  <a:pt x="10232" y="4974"/>
                </a:moveTo>
                <a:lnTo>
                  <a:pt x="10232" y="4974"/>
                </a:lnTo>
                <a:lnTo>
                  <a:pt x="10230" y="4972"/>
                </a:lnTo>
                <a:lnTo>
                  <a:pt x="10228" y="4972"/>
                </a:lnTo>
                <a:lnTo>
                  <a:pt x="10226" y="4974"/>
                </a:lnTo>
                <a:lnTo>
                  <a:pt x="10226" y="4976"/>
                </a:lnTo>
                <a:lnTo>
                  <a:pt x="10230" y="4984"/>
                </a:lnTo>
                <a:lnTo>
                  <a:pt x="10232" y="4990"/>
                </a:lnTo>
                <a:lnTo>
                  <a:pt x="10234" y="4992"/>
                </a:lnTo>
                <a:lnTo>
                  <a:pt x="10236" y="4992"/>
                </a:lnTo>
                <a:lnTo>
                  <a:pt x="10236" y="4986"/>
                </a:lnTo>
                <a:lnTo>
                  <a:pt x="10236" y="4980"/>
                </a:lnTo>
                <a:lnTo>
                  <a:pt x="10234" y="4976"/>
                </a:lnTo>
                <a:lnTo>
                  <a:pt x="10232" y="4974"/>
                </a:lnTo>
                <a:close/>
                <a:moveTo>
                  <a:pt x="10242" y="4986"/>
                </a:moveTo>
                <a:lnTo>
                  <a:pt x="10242" y="4986"/>
                </a:lnTo>
                <a:lnTo>
                  <a:pt x="10240" y="4984"/>
                </a:lnTo>
                <a:lnTo>
                  <a:pt x="10238" y="4992"/>
                </a:lnTo>
                <a:lnTo>
                  <a:pt x="10236" y="4996"/>
                </a:lnTo>
                <a:lnTo>
                  <a:pt x="10238" y="4998"/>
                </a:lnTo>
                <a:lnTo>
                  <a:pt x="10240" y="5000"/>
                </a:lnTo>
                <a:lnTo>
                  <a:pt x="10246" y="5000"/>
                </a:lnTo>
                <a:lnTo>
                  <a:pt x="10254" y="5002"/>
                </a:lnTo>
                <a:lnTo>
                  <a:pt x="10258" y="5004"/>
                </a:lnTo>
                <a:lnTo>
                  <a:pt x="10262" y="5004"/>
                </a:lnTo>
                <a:lnTo>
                  <a:pt x="10262" y="5000"/>
                </a:lnTo>
                <a:lnTo>
                  <a:pt x="10260" y="4998"/>
                </a:lnTo>
                <a:lnTo>
                  <a:pt x="10258" y="4996"/>
                </a:lnTo>
                <a:lnTo>
                  <a:pt x="10252" y="4992"/>
                </a:lnTo>
                <a:lnTo>
                  <a:pt x="10246" y="4990"/>
                </a:lnTo>
                <a:lnTo>
                  <a:pt x="10242" y="4986"/>
                </a:lnTo>
                <a:close/>
                <a:moveTo>
                  <a:pt x="10264" y="4990"/>
                </a:moveTo>
                <a:lnTo>
                  <a:pt x="10264" y="4990"/>
                </a:lnTo>
                <a:lnTo>
                  <a:pt x="10260" y="4986"/>
                </a:lnTo>
                <a:lnTo>
                  <a:pt x="10254" y="4982"/>
                </a:lnTo>
                <a:lnTo>
                  <a:pt x="10248" y="4982"/>
                </a:lnTo>
                <a:lnTo>
                  <a:pt x="10246" y="4982"/>
                </a:lnTo>
                <a:lnTo>
                  <a:pt x="10246" y="4984"/>
                </a:lnTo>
                <a:lnTo>
                  <a:pt x="10246" y="4988"/>
                </a:lnTo>
                <a:lnTo>
                  <a:pt x="10252" y="4990"/>
                </a:lnTo>
                <a:lnTo>
                  <a:pt x="10260" y="4994"/>
                </a:lnTo>
                <a:lnTo>
                  <a:pt x="10262" y="4994"/>
                </a:lnTo>
                <a:lnTo>
                  <a:pt x="10264" y="4990"/>
                </a:lnTo>
                <a:close/>
                <a:moveTo>
                  <a:pt x="10266" y="5004"/>
                </a:moveTo>
                <a:lnTo>
                  <a:pt x="10266" y="5004"/>
                </a:lnTo>
                <a:lnTo>
                  <a:pt x="10264" y="5006"/>
                </a:lnTo>
                <a:lnTo>
                  <a:pt x="10264" y="5008"/>
                </a:lnTo>
                <a:lnTo>
                  <a:pt x="10264" y="5012"/>
                </a:lnTo>
                <a:lnTo>
                  <a:pt x="10268" y="5014"/>
                </a:lnTo>
                <a:lnTo>
                  <a:pt x="10270" y="5012"/>
                </a:lnTo>
                <a:lnTo>
                  <a:pt x="10270" y="5010"/>
                </a:lnTo>
                <a:lnTo>
                  <a:pt x="10268" y="5006"/>
                </a:lnTo>
                <a:lnTo>
                  <a:pt x="10266" y="5004"/>
                </a:lnTo>
                <a:close/>
                <a:moveTo>
                  <a:pt x="11334" y="5430"/>
                </a:moveTo>
                <a:lnTo>
                  <a:pt x="11334" y="5430"/>
                </a:lnTo>
                <a:lnTo>
                  <a:pt x="11336" y="5430"/>
                </a:lnTo>
                <a:lnTo>
                  <a:pt x="11338" y="5430"/>
                </a:lnTo>
                <a:lnTo>
                  <a:pt x="11340" y="5426"/>
                </a:lnTo>
                <a:lnTo>
                  <a:pt x="11340" y="5422"/>
                </a:lnTo>
                <a:lnTo>
                  <a:pt x="11336" y="5418"/>
                </a:lnTo>
                <a:lnTo>
                  <a:pt x="11332" y="5418"/>
                </a:lnTo>
                <a:lnTo>
                  <a:pt x="11330" y="5418"/>
                </a:lnTo>
                <a:lnTo>
                  <a:pt x="11328" y="5420"/>
                </a:lnTo>
                <a:lnTo>
                  <a:pt x="11330" y="5424"/>
                </a:lnTo>
                <a:lnTo>
                  <a:pt x="11334" y="5430"/>
                </a:lnTo>
                <a:close/>
                <a:moveTo>
                  <a:pt x="11454" y="5328"/>
                </a:moveTo>
                <a:lnTo>
                  <a:pt x="11454" y="5328"/>
                </a:lnTo>
                <a:lnTo>
                  <a:pt x="11456" y="5330"/>
                </a:lnTo>
                <a:lnTo>
                  <a:pt x="11458" y="5328"/>
                </a:lnTo>
                <a:lnTo>
                  <a:pt x="11460" y="5326"/>
                </a:lnTo>
                <a:lnTo>
                  <a:pt x="11460" y="5322"/>
                </a:lnTo>
                <a:lnTo>
                  <a:pt x="11458" y="5316"/>
                </a:lnTo>
                <a:lnTo>
                  <a:pt x="11454" y="5314"/>
                </a:lnTo>
                <a:lnTo>
                  <a:pt x="11452" y="5316"/>
                </a:lnTo>
                <a:lnTo>
                  <a:pt x="11454" y="5328"/>
                </a:lnTo>
                <a:close/>
                <a:moveTo>
                  <a:pt x="11464" y="5332"/>
                </a:moveTo>
                <a:lnTo>
                  <a:pt x="11464" y="5332"/>
                </a:lnTo>
                <a:lnTo>
                  <a:pt x="11470" y="5316"/>
                </a:lnTo>
                <a:lnTo>
                  <a:pt x="11476" y="5304"/>
                </a:lnTo>
                <a:lnTo>
                  <a:pt x="11476" y="5296"/>
                </a:lnTo>
                <a:lnTo>
                  <a:pt x="11476" y="5294"/>
                </a:lnTo>
                <a:lnTo>
                  <a:pt x="11474" y="5296"/>
                </a:lnTo>
                <a:lnTo>
                  <a:pt x="11468" y="5304"/>
                </a:lnTo>
                <a:lnTo>
                  <a:pt x="11464" y="5316"/>
                </a:lnTo>
                <a:lnTo>
                  <a:pt x="11464" y="5332"/>
                </a:lnTo>
                <a:close/>
                <a:moveTo>
                  <a:pt x="11260" y="5438"/>
                </a:moveTo>
                <a:lnTo>
                  <a:pt x="11260" y="5438"/>
                </a:lnTo>
                <a:lnTo>
                  <a:pt x="11264" y="5442"/>
                </a:lnTo>
                <a:lnTo>
                  <a:pt x="11268" y="5440"/>
                </a:lnTo>
                <a:lnTo>
                  <a:pt x="11268" y="5438"/>
                </a:lnTo>
                <a:lnTo>
                  <a:pt x="11266" y="5436"/>
                </a:lnTo>
                <a:lnTo>
                  <a:pt x="11262" y="5434"/>
                </a:lnTo>
                <a:lnTo>
                  <a:pt x="11258" y="5434"/>
                </a:lnTo>
                <a:lnTo>
                  <a:pt x="11258" y="5436"/>
                </a:lnTo>
                <a:lnTo>
                  <a:pt x="11260" y="5438"/>
                </a:lnTo>
                <a:close/>
                <a:moveTo>
                  <a:pt x="11524" y="5346"/>
                </a:moveTo>
                <a:lnTo>
                  <a:pt x="11524" y="5346"/>
                </a:lnTo>
                <a:lnTo>
                  <a:pt x="11518" y="5342"/>
                </a:lnTo>
                <a:lnTo>
                  <a:pt x="11516" y="5338"/>
                </a:lnTo>
                <a:lnTo>
                  <a:pt x="11516" y="5334"/>
                </a:lnTo>
                <a:lnTo>
                  <a:pt x="11514" y="5336"/>
                </a:lnTo>
                <a:lnTo>
                  <a:pt x="11514" y="5340"/>
                </a:lnTo>
                <a:lnTo>
                  <a:pt x="11516" y="5344"/>
                </a:lnTo>
                <a:lnTo>
                  <a:pt x="11522" y="5348"/>
                </a:lnTo>
                <a:lnTo>
                  <a:pt x="11528" y="5356"/>
                </a:lnTo>
                <a:lnTo>
                  <a:pt x="11530" y="5354"/>
                </a:lnTo>
                <a:lnTo>
                  <a:pt x="11528" y="5350"/>
                </a:lnTo>
                <a:lnTo>
                  <a:pt x="11524" y="5346"/>
                </a:lnTo>
                <a:close/>
                <a:moveTo>
                  <a:pt x="11702" y="5450"/>
                </a:moveTo>
                <a:lnTo>
                  <a:pt x="11702" y="5450"/>
                </a:lnTo>
                <a:lnTo>
                  <a:pt x="11706" y="5448"/>
                </a:lnTo>
                <a:lnTo>
                  <a:pt x="11706" y="5446"/>
                </a:lnTo>
                <a:lnTo>
                  <a:pt x="11704" y="5442"/>
                </a:lnTo>
                <a:lnTo>
                  <a:pt x="11702" y="5438"/>
                </a:lnTo>
                <a:lnTo>
                  <a:pt x="11702" y="5436"/>
                </a:lnTo>
                <a:lnTo>
                  <a:pt x="11700" y="5436"/>
                </a:lnTo>
                <a:lnTo>
                  <a:pt x="11698" y="5440"/>
                </a:lnTo>
                <a:lnTo>
                  <a:pt x="11694" y="5442"/>
                </a:lnTo>
                <a:lnTo>
                  <a:pt x="11694" y="5446"/>
                </a:lnTo>
                <a:lnTo>
                  <a:pt x="11696" y="5448"/>
                </a:lnTo>
                <a:lnTo>
                  <a:pt x="11702" y="5450"/>
                </a:lnTo>
                <a:close/>
                <a:moveTo>
                  <a:pt x="11672" y="5114"/>
                </a:moveTo>
                <a:lnTo>
                  <a:pt x="11672" y="5114"/>
                </a:lnTo>
                <a:lnTo>
                  <a:pt x="11666" y="5112"/>
                </a:lnTo>
                <a:lnTo>
                  <a:pt x="11658" y="5112"/>
                </a:lnTo>
                <a:lnTo>
                  <a:pt x="11652" y="5114"/>
                </a:lnTo>
                <a:lnTo>
                  <a:pt x="11646" y="5116"/>
                </a:lnTo>
                <a:lnTo>
                  <a:pt x="11642" y="5120"/>
                </a:lnTo>
                <a:lnTo>
                  <a:pt x="11638" y="5124"/>
                </a:lnTo>
                <a:lnTo>
                  <a:pt x="11636" y="5128"/>
                </a:lnTo>
                <a:lnTo>
                  <a:pt x="11636" y="5132"/>
                </a:lnTo>
                <a:lnTo>
                  <a:pt x="11636" y="5136"/>
                </a:lnTo>
                <a:lnTo>
                  <a:pt x="11634" y="5140"/>
                </a:lnTo>
                <a:lnTo>
                  <a:pt x="11626" y="5146"/>
                </a:lnTo>
                <a:lnTo>
                  <a:pt x="11618" y="5148"/>
                </a:lnTo>
                <a:lnTo>
                  <a:pt x="11612" y="5148"/>
                </a:lnTo>
                <a:lnTo>
                  <a:pt x="11610" y="5148"/>
                </a:lnTo>
                <a:lnTo>
                  <a:pt x="11608" y="5148"/>
                </a:lnTo>
                <a:lnTo>
                  <a:pt x="11604" y="5150"/>
                </a:lnTo>
                <a:lnTo>
                  <a:pt x="11598" y="5156"/>
                </a:lnTo>
                <a:lnTo>
                  <a:pt x="11584" y="5176"/>
                </a:lnTo>
                <a:lnTo>
                  <a:pt x="11576" y="5188"/>
                </a:lnTo>
                <a:lnTo>
                  <a:pt x="11568" y="5196"/>
                </a:lnTo>
                <a:lnTo>
                  <a:pt x="11560" y="5202"/>
                </a:lnTo>
                <a:lnTo>
                  <a:pt x="11556" y="5204"/>
                </a:lnTo>
                <a:lnTo>
                  <a:pt x="11552" y="5202"/>
                </a:lnTo>
                <a:lnTo>
                  <a:pt x="11546" y="5200"/>
                </a:lnTo>
                <a:lnTo>
                  <a:pt x="11542" y="5194"/>
                </a:lnTo>
                <a:lnTo>
                  <a:pt x="11540" y="5190"/>
                </a:lnTo>
                <a:lnTo>
                  <a:pt x="11538" y="5184"/>
                </a:lnTo>
                <a:lnTo>
                  <a:pt x="11534" y="5170"/>
                </a:lnTo>
                <a:lnTo>
                  <a:pt x="11532" y="5164"/>
                </a:lnTo>
                <a:lnTo>
                  <a:pt x="11530" y="5160"/>
                </a:lnTo>
                <a:lnTo>
                  <a:pt x="11526" y="5156"/>
                </a:lnTo>
                <a:lnTo>
                  <a:pt x="11524" y="5158"/>
                </a:lnTo>
                <a:lnTo>
                  <a:pt x="11524" y="5164"/>
                </a:lnTo>
                <a:lnTo>
                  <a:pt x="11522" y="5166"/>
                </a:lnTo>
                <a:lnTo>
                  <a:pt x="11516" y="5154"/>
                </a:lnTo>
                <a:lnTo>
                  <a:pt x="11514" y="5142"/>
                </a:lnTo>
                <a:lnTo>
                  <a:pt x="11512" y="5132"/>
                </a:lnTo>
                <a:lnTo>
                  <a:pt x="11514" y="5126"/>
                </a:lnTo>
                <a:lnTo>
                  <a:pt x="11514" y="5120"/>
                </a:lnTo>
                <a:lnTo>
                  <a:pt x="11518" y="5106"/>
                </a:lnTo>
                <a:lnTo>
                  <a:pt x="11516" y="5098"/>
                </a:lnTo>
                <a:lnTo>
                  <a:pt x="11514" y="5088"/>
                </a:lnTo>
                <a:lnTo>
                  <a:pt x="11512" y="5080"/>
                </a:lnTo>
                <a:lnTo>
                  <a:pt x="11508" y="5076"/>
                </a:lnTo>
                <a:lnTo>
                  <a:pt x="11504" y="5074"/>
                </a:lnTo>
                <a:lnTo>
                  <a:pt x="11502" y="5074"/>
                </a:lnTo>
                <a:lnTo>
                  <a:pt x="11496" y="5076"/>
                </a:lnTo>
                <a:lnTo>
                  <a:pt x="11490" y="5074"/>
                </a:lnTo>
                <a:lnTo>
                  <a:pt x="11480" y="5072"/>
                </a:lnTo>
                <a:lnTo>
                  <a:pt x="11468" y="5064"/>
                </a:lnTo>
                <a:lnTo>
                  <a:pt x="11456" y="5058"/>
                </a:lnTo>
                <a:lnTo>
                  <a:pt x="11448" y="5056"/>
                </a:lnTo>
                <a:lnTo>
                  <a:pt x="11440" y="5056"/>
                </a:lnTo>
                <a:lnTo>
                  <a:pt x="11434" y="5058"/>
                </a:lnTo>
                <a:lnTo>
                  <a:pt x="11426" y="5068"/>
                </a:lnTo>
                <a:lnTo>
                  <a:pt x="11422" y="5072"/>
                </a:lnTo>
                <a:lnTo>
                  <a:pt x="11420" y="5074"/>
                </a:lnTo>
                <a:lnTo>
                  <a:pt x="11410" y="5076"/>
                </a:lnTo>
                <a:lnTo>
                  <a:pt x="11404" y="5076"/>
                </a:lnTo>
                <a:lnTo>
                  <a:pt x="11398" y="5080"/>
                </a:lnTo>
                <a:lnTo>
                  <a:pt x="11396" y="5082"/>
                </a:lnTo>
                <a:lnTo>
                  <a:pt x="11396" y="5084"/>
                </a:lnTo>
                <a:lnTo>
                  <a:pt x="11396" y="5088"/>
                </a:lnTo>
                <a:lnTo>
                  <a:pt x="11394" y="5094"/>
                </a:lnTo>
                <a:lnTo>
                  <a:pt x="11388" y="5102"/>
                </a:lnTo>
                <a:lnTo>
                  <a:pt x="11386" y="5106"/>
                </a:lnTo>
                <a:lnTo>
                  <a:pt x="11386" y="5110"/>
                </a:lnTo>
                <a:lnTo>
                  <a:pt x="11390" y="5110"/>
                </a:lnTo>
                <a:lnTo>
                  <a:pt x="11398" y="5112"/>
                </a:lnTo>
                <a:lnTo>
                  <a:pt x="11408" y="5112"/>
                </a:lnTo>
                <a:lnTo>
                  <a:pt x="11412" y="5114"/>
                </a:lnTo>
                <a:lnTo>
                  <a:pt x="11416" y="5116"/>
                </a:lnTo>
                <a:lnTo>
                  <a:pt x="11422" y="5126"/>
                </a:lnTo>
                <a:lnTo>
                  <a:pt x="11430" y="5142"/>
                </a:lnTo>
                <a:lnTo>
                  <a:pt x="11432" y="5146"/>
                </a:lnTo>
                <a:lnTo>
                  <a:pt x="11436" y="5148"/>
                </a:lnTo>
                <a:lnTo>
                  <a:pt x="11444" y="5150"/>
                </a:lnTo>
                <a:lnTo>
                  <a:pt x="11456" y="5150"/>
                </a:lnTo>
                <a:lnTo>
                  <a:pt x="11468" y="5148"/>
                </a:lnTo>
                <a:lnTo>
                  <a:pt x="11480" y="5148"/>
                </a:lnTo>
                <a:lnTo>
                  <a:pt x="11490" y="5148"/>
                </a:lnTo>
                <a:lnTo>
                  <a:pt x="11498" y="5150"/>
                </a:lnTo>
                <a:lnTo>
                  <a:pt x="11500" y="5152"/>
                </a:lnTo>
                <a:lnTo>
                  <a:pt x="11500" y="5154"/>
                </a:lnTo>
                <a:lnTo>
                  <a:pt x="11500" y="5160"/>
                </a:lnTo>
                <a:lnTo>
                  <a:pt x="11496" y="5162"/>
                </a:lnTo>
                <a:lnTo>
                  <a:pt x="11492" y="5162"/>
                </a:lnTo>
                <a:lnTo>
                  <a:pt x="11486" y="5160"/>
                </a:lnTo>
                <a:lnTo>
                  <a:pt x="11480" y="5158"/>
                </a:lnTo>
                <a:lnTo>
                  <a:pt x="11474" y="5158"/>
                </a:lnTo>
                <a:lnTo>
                  <a:pt x="11468" y="5160"/>
                </a:lnTo>
                <a:lnTo>
                  <a:pt x="11466" y="5164"/>
                </a:lnTo>
                <a:lnTo>
                  <a:pt x="11462" y="5170"/>
                </a:lnTo>
                <a:lnTo>
                  <a:pt x="11456" y="5172"/>
                </a:lnTo>
                <a:lnTo>
                  <a:pt x="11448" y="5172"/>
                </a:lnTo>
                <a:lnTo>
                  <a:pt x="11442" y="5170"/>
                </a:lnTo>
                <a:lnTo>
                  <a:pt x="11436" y="5170"/>
                </a:lnTo>
                <a:lnTo>
                  <a:pt x="11430" y="5170"/>
                </a:lnTo>
                <a:lnTo>
                  <a:pt x="11426" y="5172"/>
                </a:lnTo>
                <a:lnTo>
                  <a:pt x="11426" y="5178"/>
                </a:lnTo>
                <a:lnTo>
                  <a:pt x="11428" y="5182"/>
                </a:lnTo>
                <a:lnTo>
                  <a:pt x="11432" y="5184"/>
                </a:lnTo>
                <a:lnTo>
                  <a:pt x="11438" y="5186"/>
                </a:lnTo>
                <a:lnTo>
                  <a:pt x="11450" y="5196"/>
                </a:lnTo>
                <a:lnTo>
                  <a:pt x="11456" y="5204"/>
                </a:lnTo>
                <a:lnTo>
                  <a:pt x="11460" y="5208"/>
                </a:lnTo>
                <a:lnTo>
                  <a:pt x="11460" y="5212"/>
                </a:lnTo>
                <a:lnTo>
                  <a:pt x="11460" y="5214"/>
                </a:lnTo>
                <a:lnTo>
                  <a:pt x="11454" y="5220"/>
                </a:lnTo>
                <a:lnTo>
                  <a:pt x="11454" y="5222"/>
                </a:lnTo>
                <a:lnTo>
                  <a:pt x="11456" y="5228"/>
                </a:lnTo>
                <a:lnTo>
                  <a:pt x="11458" y="5232"/>
                </a:lnTo>
                <a:lnTo>
                  <a:pt x="11462" y="5236"/>
                </a:lnTo>
                <a:lnTo>
                  <a:pt x="11468" y="5238"/>
                </a:lnTo>
                <a:lnTo>
                  <a:pt x="11472" y="5238"/>
                </a:lnTo>
                <a:lnTo>
                  <a:pt x="11476" y="5236"/>
                </a:lnTo>
                <a:lnTo>
                  <a:pt x="11480" y="5232"/>
                </a:lnTo>
                <a:lnTo>
                  <a:pt x="11484" y="5226"/>
                </a:lnTo>
                <a:lnTo>
                  <a:pt x="11486" y="5216"/>
                </a:lnTo>
                <a:lnTo>
                  <a:pt x="11492" y="5198"/>
                </a:lnTo>
                <a:lnTo>
                  <a:pt x="11496" y="5190"/>
                </a:lnTo>
                <a:lnTo>
                  <a:pt x="11498" y="5190"/>
                </a:lnTo>
                <a:lnTo>
                  <a:pt x="11498" y="5192"/>
                </a:lnTo>
                <a:lnTo>
                  <a:pt x="11494" y="5206"/>
                </a:lnTo>
                <a:lnTo>
                  <a:pt x="11494" y="5212"/>
                </a:lnTo>
                <a:lnTo>
                  <a:pt x="11494" y="5216"/>
                </a:lnTo>
                <a:lnTo>
                  <a:pt x="11498" y="5220"/>
                </a:lnTo>
                <a:lnTo>
                  <a:pt x="11502" y="5222"/>
                </a:lnTo>
                <a:lnTo>
                  <a:pt x="11516" y="5228"/>
                </a:lnTo>
                <a:lnTo>
                  <a:pt x="11522" y="5232"/>
                </a:lnTo>
                <a:lnTo>
                  <a:pt x="11530" y="5238"/>
                </a:lnTo>
                <a:lnTo>
                  <a:pt x="11540" y="5246"/>
                </a:lnTo>
                <a:lnTo>
                  <a:pt x="11548" y="5252"/>
                </a:lnTo>
                <a:lnTo>
                  <a:pt x="11556" y="5254"/>
                </a:lnTo>
                <a:lnTo>
                  <a:pt x="11562" y="5256"/>
                </a:lnTo>
                <a:lnTo>
                  <a:pt x="11578" y="5258"/>
                </a:lnTo>
                <a:lnTo>
                  <a:pt x="11586" y="5260"/>
                </a:lnTo>
                <a:lnTo>
                  <a:pt x="11596" y="5264"/>
                </a:lnTo>
                <a:lnTo>
                  <a:pt x="11612" y="5272"/>
                </a:lnTo>
                <a:lnTo>
                  <a:pt x="11624" y="5276"/>
                </a:lnTo>
                <a:lnTo>
                  <a:pt x="11636" y="5282"/>
                </a:lnTo>
                <a:lnTo>
                  <a:pt x="11650" y="5290"/>
                </a:lnTo>
                <a:lnTo>
                  <a:pt x="11658" y="5298"/>
                </a:lnTo>
                <a:lnTo>
                  <a:pt x="11664" y="5304"/>
                </a:lnTo>
                <a:lnTo>
                  <a:pt x="11676" y="5322"/>
                </a:lnTo>
                <a:lnTo>
                  <a:pt x="11684" y="5342"/>
                </a:lnTo>
                <a:lnTo>
                  <a:pt x="11694" y="5358"/>
                </a:lnTo>
                <a:lnTo>
                  <a:pt x="11698" y="5364"/>
                </a:lnTo>
                <a:lnTo>
                  <a:pt x="11700" y="5368"/>
                </a:lnTo>
                <a:lnTo>
                  <a:pt x="11700" y="5370"/>
                </a:lnTo>
                <a:lnTo>
                  <a:pt x="11698" y="5372"/>
                </a:lnTo>
                <a:lnTo>
                  <a:pt x="11692" y="5374"/>
                </a:lnTo>
                <a:lnTo>
                  <a:pt x="11692" y="5378"/>
                </a:lnTo>
                <a:lnTo>
                  <a:pt x="11692" y="5382"/>
                </a:lnTo>
                <a:lnTo>
                  <a:pt x="11694" y="5390"/>
                </a:lnTo>
                <a:lnTo>
                  <a:pt x="11698" y="5394"/>
                </a:lnTo>
                <a:lnTo>
                  <a:pt x="11706" y="5400"/>
                </a:lnTo>
                <a:lnTo>
                  <a:pt x="11710" y="5402"/>
                </a:lnTo>
                <a:lnTo>
                  <a:pt x="11714" y="5406"/>
                </a:lnTo>
                <a:lnTo>
                  <a:pt x="11714" y="5412"/>
                </a:lnTo>
                <a:lnTo>
                  <a:pt x="11712" y="5420"/>
                </a:lnTo>
                <a:lnTo>
                  <a:pt x="11706" y="5434"/>
                </a:lnTo>
                <a:lnTo>
                  <a:pt x="11706" y="5436"/>
                </a:lnTo>
                <a:lnTo>
                  <a:pt x="11708" y="5436"/>
                </a:lnTo>
                <a:lnTo>
                  <a:pt x="11714" y="5434"/>
                </a:lnTo>
                <a:lnTo>
                  <a:pt x="11718" y="5434"/>
                </a:lnTo>
                <a:lnTo>
                  <a:pt x="11720" y="5436"/>
                </a:lnTo>
                <a:lnTo>
                  <a:pt x="11722" y="5438"/>
                </a:lnTo>
                <a:lnTo>
                  <a:pt x="11724" y="5438"/>
                </a:lnTo>
                <a:lnTo>
                  <a:pt x="11730" y="5438"/>
                </a:lnTo>
                <a:lnTo>
                  <a:pt x="11740" y="5438"/>
                </a:lnTo>
                <a:lnTo>
                  <a:pt x="11744" y="5440"/>
                </a:lnTo>
                <a:lnTo>
                  <a:pt x="11752" y="5444"/>
                </a:lnTo>
                <a:lnTo>
                  <a:pt x="11750" y="5154"/>
                </a:lnTo>
                <a:lnTo>
                  <a:pt x="11740" y="5154"/>
                </a:lnTo>
                <a:lnTo>
                  <a:pt x="11730" y="5150"/>
                </a:lnTo>
                <a:lnTo>
                  <a:pt x="11708" y="5138"/>
                </a:lnTo>
                <a:lnTo>
                  <a:pt x="11672" y="5114"/>
                </a:lnTo>
                <a:close/>
                <a:moveTo>
                  <a:pt x="11698" y="5436"/>
                </a:moveTo>
                <a:lnTo>
                  <a:pt x="11698" y="5436"/>
                </a:lnTo>
                <a:lnTo>
                  <a:pt x="11702" y="5434"/>
                </a:lnTo>
                <a:lnTo>
                  <a:pt x="11704" y="5430"/>
                </a:lnTo>
                <a:lnTo>
                  <a:pt x="11706" y="5420"/>
                </a:lnTo>
                <a:lnTo>
                  <a:pt x="11710" y="5412"/>
                </a:lnTo>
                <a:lnTo>
                  <a:pt x="11710" y="5410"/>
                </a:lnTo>
                <a:lnTo>
                  <a:pt x="11708" y="5408"/>
                </a:lnTo>
                <a:lnTo>
                  <a:pt x="11704" y="5406"/>
                </a:lnTo>
                <a:lnTo>
                  <a:pt x="11702" y="5404"/>
                </a:lnTo>
                <a:lnTo>
                  <a:pt x="11702" y="5402"/>
                </a:lnTo>
                <a:lnTo>
                  <a:pt x="11700" y="5400"/>
                </a:lnTo>
                <a:lnTo>
                  <a:pt x="11694" y="5398"/>
                </a:lnTo>
                <a:lnTo>
                  <a:pt x="11690" y="5398"/>
                </a:lnTo>
                <a:lnTo>
                  <a:pt x="11678" y="5404"/>
                </a:lnTo>
                <a:lnTo>
                  <a:pt x="11668" y="5414"/>
                </a:lnTo>
                <a:lnTo>
                  <a:pt x="11664" y="5418"/>
                </a:lnTo>
                <a:lnTo>
                  <a:pt x="11664" y="5422"/>
                </a:lnTo>
                <a:lnTo>
                  <a:pt x="11662" y="5428"/>
                </a:lnTo>
                <a:lnTo>
                  <a:pt x="11658" y="5436"/>
                </a:lnTo>
                <a:lnTo>
                  <a:pt x="11656" y="5442"/>
                </a:lnTo>
                <a:lnTo>
                  <a:pt x="11654" y="5448"/>
                </a:lnTo>
                <a:lnTo>
                  <a:pt x="11654" y="5450"/>
                </a:lnTo>
                <a:lnTo>
                  <a:pt x="11658" y="5448"/>
                </a:lnTo>
                <a:lnTo>
                  <a:pt x="11666" y="5448"/>
                </a:lnTo>
                <a:lnTo>
                  <a:pt x="11672" y="5448"/>
                </a:lnTo>
                <a:lnTo>
                  <a:pt x="11678" y="5450"/>
                </a:lnTo>
                <a:lnTo>
                  <a:pt x="11682" y="5450"/>
                </a:lnTo>
                <a:lnTo>
                  <a:pt x="11686" y="5450"/>
                </a:lnTo>
                <a:lnTo>
                  <a:pt x="11690" y="5446"/>
                </a:lnTo>
                <a:lnTo>
                  <a:pt x="11694" y="5440"/>
                </a:lnTo>
                <a:lnTo>
                  <a:pt x="11698" y="5436"/>
                </a:lnTo>
                <a:close/>
                <a:moveTo>
                  <a:pt x="10850" y="5438"/>
                </a:moveTo>
                <a:lnTo>
                  <a:pt x="10850" y="5438"/>
                </a:lnTo>
                <a:lnTo>
                  <a:pt x="10850" y="5436"/>
                </a:lnTo>
                <a:lnTo>
                  <a:pt x="10846" y="5436"/>
                </a:lnTo>
                <a:lnTo>
                  <a:pt x="10842" y="5438"/>
                </a:lnTo>
                <a:lnTo>
                  <a:pt x="10842" y="5442"/>
                </a:lnTo>
                <a:lnTo>
                  <a:pt x="10844" y="5446"/>
                </a:lnTo>
                <a:lnTo>
                  <a:pt x="10846" y="5446"/>
                </a:lnTo>
                <a:lnTo>
                  <a:pt x="10850" y="5438"/>
                </a:lnTo>
                <a:close/>
                <a:moveTo>
                  <a:pt x="10926" y="5458"/>
                </a:moveTo>
                <a:lnTo>
                  <a:pt x="10926" y="5458"/>
                </a:lnTo>
                <a:lnTo>
                  <a:pt x="10928" y="5458"/>
                </a:lnTo>
                <a:lnTo>
                  <a:pt x="10928" y="5456"/>
                </a:lnTo>
                <a:lnTo>
                  <a:pt x="10928" y="5452"/>
                </a:lnTo>
                <a:lnTo>
                  <a:pt x="10926" y="5452"/>
                </a:lnTo>
                <a:lnTo>
                  <a:pt x="10922" y="5450"/>
                </a:lnTo>
                <a:lnTo>
                  <a:pt x="10920" y="5450"/>
                </a:lnTo>
                <a:lnTo>
                  <a:pt x="10920" y="5452"/>
                </a:lnTo>
                <a:lnTo>
                  <a:pt x="10920" y="5456"/>
                </a:lnTo>
                <a:lnTo>
                  <a:pt x="10920" y="5462"/>
                </a:lnTo>
                <a:lnTo>
                  <a:pt x="10920" y="5464"/>
                </a:lnTo>
                <a:lnTo>
                  <a:pt x="10922" y="5462"/>
                </a:lnTo>
                <a:lnTo>
                  <a:pt x="10924" y="5460"/>
                </a:lnTo>
                <a:lnTo>
                  <a:pt x="10926" y="5458"/>
                </a:lnTo>
                <a:close/>
                <a:moveTo>
                  <a:pt x="10930" y="5468"/>
                </a:moveTo>
                <a:lnTo>
                  <a:pt x="10930" y="5468"/>
                </a:lnTo>
                <a:lnTo>
                  <a:pt x="10932" y="5466"/>
                </a:lnTo>
                <a:lnTo>
                  <a:pt x="10934" y="5464"/>
                </a:lnTo>
                <a:lnTo>
                  <a:pt x="10934" y="5460"/>
                </a:lnTo>
                <a:lnTo>
                  <a:pt x="10930" y="5460"/>
                </a:lnTo>
                <a:lnTo>
                  <a:pt x="10928" y="5462"/>
                </a:lnTo>
                <a:lnTo>
                  <a:pt x="10928" y="5464"/>
                </a:lnTo>
                <a:lnTo>
                  <a:pt x="10928" y="5468"/>
                </a:lnTo>
                <a:lnTo>
                  <a:pt x="10930" y="5468"/>
                </a:lnTo>
                <a:close/>
                <a:moveTo>
                  <a:pt x="10910" y="5150"/>
                </a:moveTo>
                <a:lnTo>
                  <a:pt x="10910" y="5150"/>
                </a:lnTo>
                <a:lnTo>
                  <a:pt x="10908" y="5158"/>
                </a:lnTo>
                <a:lnTo>
                  <a:pt x="10906" y="5164"/>
                </a:lnTo>
                <a:lnTo>
                  <a:pt x="10902" y="5166"/>
                </a:lnTo>
                <a:lnTo>
                  <a:pt x="10900" y="5168"/>
                </a:lnTo>
                <a:lnTo>
                  <a:pt x="10894" y="5170"/>
                </a:lnTo>
                <a:lnTo>
                  <a:pt x="10894" y="5172"/>
                </a:lnTo>
                <a:lnTo>
                  <a:pt x="10896" y="5176"/>
                </a:lnTo>
                <a:lnTo>
                  <a:pt x="10898" y="5184"/>
                </a:lnTo>
                <a:lnTo>
                  <a:pt x="10896" y="5186"/>
                </a:lnTo>
                <a:lnTo>
                  <a:pt x="10894" y="5190"/>
                </a:lnTo>
                <a:lnTo>
                  <a:pt x="10896" y="5202"/>
                </a:lnTo>
                <a:lnTo>
                  <a:pt x="10900" y="5208"/>
                </a:lnTo>
                <a:lnTo>
                  <a:pt x="10902" y="5210"/>
                </a:lnTo>
                <a:lnTo>
                  <a:pt x="10906" y="5210"/>
                </a:lnTo>
                <a:lnTo>
                  <a:pt x="10908" y="5210"/>
                </a:lnTo>
                <a:lnTo>
                  <a:pt x="10912" y="5208"/>
                </a:lnTo>
                <a:lnTo>
                  <a:pt x="10916" y="5210"/>
                </a:lnTo>
                <a:lnTo>
                  <a:pt x="10920" y="5214"/>
                </a:lnTo>
                <a:lnTo>
                  <a:pt x="10924" y="5222"/>
                </a:lnTo>
                <a:lnTo>
                  <a:pt x="10928" y="5232"/>
                </a:lnTo>
                <a:lnTo>
                  <a:pt x="10928" y="5244"/>
                </a:lnTo>
                <a:lnTo>
                  <a:pt x="10926" y="5256"/>
                </a:lnTo>
                <a:lnTo>
                  <a:pt x="10924" y="5268"/>
                </a:lnTo>
                <a:lnTo>
                  <a:pt x="10920" y="5280"/>
                </a:lnTo>
                <a:lnTo>
                  <a:pt x="10918" y="5292"/>
                </a:lnTo>
                <a:lnTo>
                  <a:pt x="10920" y="5302"/>
                </a:lnTo>
                <a:lnTo>
                  <a:pt x="10922" y="5310"/>
                </a:lnTo>
                <a:lnTo>
                  <a:pt x="10926" y="5314"/>
                </a:lnTo>
                <a:lnTo>
                  <a:pt x="10930" y="5316"/>
                </a:lnTo>
                <a:lnTo>
                  <a:pt x="10934" y="5316"/>
                </a:lnTo>
                <a:lnTo>
                  <a:pt x="10938" y="5316"/>
                </a:lnTo>
                <a:lnTo>
                  <a:pt x="10946" y="5312"/>
                </a:lnTo>
                <a:lnTo>
                  <a:pt x="10956" y="5312"/>
                </a:lnTo>
                <a:lnTo>
                  <a:pt x="10960" y="5312"/>
                </a:lnTo>
                <a:lnTo>
                  <a:pt x="10962" y="5308"/>
                </a:lnTo>
                <a:lnTo>
                  <a:pt x="10960" y="5300"/>
                </a:lnTo>
                <a:lnTo>
                  <a:pt x="10956" y="5286"/>
                </a:lnTo>
                <a:lnTo>
                  <a:pt x="10956" y="5280"/>
                </a:lnTo>
                <a:lnTo>
                  <a:pt x="10958" y="5274"/>
                </a:lnTo>
                <a:lnTo>
                  <a:pt x="10962" y="5270"/>
                </a:lnTo>
                <a:lnTo>
                  <a:pt x="10962" y="5264"/>
                </a:lnTo>
                <a:lnTo>
                  <a:pt x="10962" y="5250"/>
                </a:lnTo>
                <a:lnTo>
                  <a:pt x="10960" y="5234"/>
                </a:lnTo>
                <a:lnTo>
                  <a:pt x="10962" y="5214"/>
                </a:lnTo>
                <a:lnTo>
                  <a:pt x="10962" y="5204"/>
                </a:lnTo>
                <a:lnTo>
                  <a:pt x="10962" y="5196"/>
                </a:lnTo>
                <a:lnTo>
                  <a:pt x="10956" y="5190"/>
                </a:lnTo>
                <a:lnTo>
                  <a:pt x="10956" y="5186"/>
                </a:lnTo>
                <a:lnTo>
                  <a:pt x="10956" y="5184"/>
                </a:lnTo>
                <a:lnTo>
                  <a:pt x="10964" y="5174"/>
                </a:lnTo>
                <a:lnTo>
                  <a:pt x="10972" y="5168"/>
                </a:lnTo>
                <a:lnTo>
                  <a:pt x="10978" y="5166"/>
                </a:lnTo>
                <a:lnTo>
                  <a:pt x="10982" y="5168"/>
                </a:lnTo>
                <a:lnTo>
                  <a:pt x="10986" y="5170"/>
                </a:lnTo>
                <a:lnTo>
                  <a:pt x="10988" y="5176"/>
                </a:lnTo>
                <a:lnTo>
                  <a:pt x="10988" y="5182"/>
                </a:lnTo>
                <a:lnTo>
                  <a:pt x="10986" y="5188"/>
                </a:lnTo>
                <a:lnTo>
                  <a:pt x="10982" y="5196"/>
                </a:lnTo>
                <a:lnTo>
                  <a:pt x="10980" y="5202"/>
                </a:lnTo>
                <a:lnTo>
                  <a:pt x="10978" y="5208"/>
                </a:lnTo>
                <a:lnTo>
                  <a:pt x="10980" y="5212"/>
                </a:lnTo>
                <a:lnTo>
                  <a:pt x="10982" y="5216"/>
                </a:lnTo>
                <a:lnTo>
                  <a:pt x="10990" y="5224"/>
                </a:lnTo>
                <a:lnTo>
                  <a:pt x="11000" y="5232"/>
                </a:lnTo>
                <a:lnTo>
                  <a:pt x="11004" y="5238"/>
                </a:lnTo>
                <a:lnTo>
                  <a:pt x="11004" y="5246"/>
                </a:lnTo>
                <a:lnTo>
                  <a:pt x="11002" y="5260"/>
                </a:lnTo>
                <a:lnTo>
                  <a:pt x="11002" y="5268"/>
                </a:lnTo>
                <a:lnTo>
                  <a:pt x="11004" y="5272"/>
                </a:lnTo>
                <a:lnTo>
                  <a:pt x="11010" y="5276"/>
                </a:lnTo>
                <a:lnTo>
                  <a:pt x="11018" y="5278"/>
                </a:lnTo>
                <a:lnTo>
                  <a:pt x="11024" y="5276"/>
                </a:lnTo>
                <a:lnTo>
                  <a:pt x="11028" y="5274"/>
                </a:lnTo>
                <a:lnTo>
                  <a:pt x="11028" y="5272"/>
                </a:lnTo>
                <a:lnTo>
                  <a:pt x="11028" y="5268"/>
                </a:lnTo>
                <a:lnTo>
                  <a:pt x="11028" y="5262"/>
                </a:lnTo>
                <a:lnTo>
                  <a:pt x="11032" y="5258"/>
                </a:lnTo>
                <a:lnTo>
                  <a:pt x="11036" y="5256"/>
                </a:lnTo>
                <a:lnTo>
                  <a:pt x="11040" y="5254"/>
                </a:lnTo>
                <a:lnTo>
                  <a:pt x="11046" y="5254"/>
                </a:lnTo>
                <a:lnTo>
                  <a:pt x="11052" y="5256"/>
                </a:lnTo>
                <a:lnTo>
                  <a:pt x="11054" y="5256"/>
                </a:lnTo>
                <a:lnTo>
                  <a:pt x="11056" y="5256"/>
                </a:lnTo>
                <a:lnTo>
                  <a:pt x="11060" y="5246"/>
                </a:lnTo>
                <a:lnTo>
                  <a:pt x="11060" y="5240"/>
                </a:lnTo>
                <a:lnTo>
                  <a:pt x="11058" y="5236"/>
                </a:lnTo>
                <a:lnTo>
                  <a:pt x="11052" y="5232"/>
                </a:lnTo>
                <a:lnTo>
                  <a:pt x="11046" y="5228"/>
                </a:lnTo>
                <a:lnTo>
                  <a:pt x="11042" y="5224"/>
                </a:lnTo>
                <a:lnTo>
                  <a:pt x="11036" y="5220"/>
                </a:lnTo>
                <a:lnTo>
                  <a:pt x="11036" y="5216"/>
                </a:lnTo>
                <a:lnTo>
                  <a:pt x="11038" y="5210"/>
                </a:lnTo>
                <a:lnTo>
                  <a:pt x="11040" y="5204"/>
                </a:lnTo>
                <a:lnTo>
                  <a:pt x="11040" y="5196"/>
                </a:lnTo>
                <a:lnTo>
                  <a:pt x="11038" y="5188"/>
                </a:lnTo>
                <a:lnTo>
                  <a:pt x="11036" y="5180"/>
                </a:lnTo>
                <a:lnTo>
                  <a:pt x="11024" y="5162"/>
                </a:lnTo>
                <a:lnTo>
                  <a:pt x="11012" y="5146"/>
                </a:lnTo>
                <a:lnTo>
                  <a:pt x="11006" y="5140"/>
                </a:lnTo>
                <a:lnTo>
                  <a:pt x="11006" y="5134"/>
                </a:lnTo>
                <a:lnTo>
                  <a:pt x="11010" y="5130"/>
                </a:lnTo>
                <a:lnTo>
                  <a:pt x="11018" y="5126"/>
                </a:lnTo>
                <a:lnTo>
                  <a:pt x="11034" y="5114"/>
                </a:lnTo>
                <a:lnTo>
                  <a:pt x="11042" y="5106"/>
                </a:lnTo>
                <a:lnTo>
                  <a:pt x="11050" y="5096"/>
                </a:lnTo>
                <a:lnTo>
                  <a:pt x="11056" y="5088"/>
                </a:lnTo>
                <a:lnTo>
                  <a:pt x="11060" y="5084"/>
                </a:lnTo>
                <a:lnTo>
                  <a:pt x="11066" y="5084"/>
                </a:lnTo>
                <a:lnTo>
                  <a:pt x="11068" y="5084"/>
                </a:lnTo>
                <a:lnTo>
                  <a:pt x="11076" y="5090"/>
                </a:lnTo>
                <a:lnTo>
                  <a:pt x="11078" y="5090"/>
                </a:lnTo>
                <a:lnTo>
                  <a:pt x="11080" y="5088"/>
                </a:lnTo>
                <a:lnTo>
                  <a:pt x="11084" y="5080"/>
                </a:lnTo>
                <a:lnTo>
                  <a:pt x="11084" y="5076"/>
                </a:lnTo>
                <a:lnTo>
                  <a:pt x="11084" y="5074"/>
                </a:lnTo>
                <a:lnTo>
                  <a:pt x="11080" y="5072"/>
                </a:lnTo>
                <a:lnTo>
                  <a:pt x="11076" y="5070"/>
                </a:lnTo>
                <a:lnTo>
                  <a:pt x="11058" y="5070"/>
                </a:lnTo>
                <a:lnTo>
                  <a:pt x="11048" y="5072"/>
                </a:lnTo>
                <a:lnTo>
                  <a:pt x="11042" y="5074"/>
                </a:lnTo>
                <a:lnTo>
                  <a:pt x="11032" y="5080"/>
                </a:lnTo>
                <a:lnTo>
                  <a:pt x="11024" y="5084"/>
                </a:lnTo>
                <a:lnTo>
                  <a:pt x="11020" y="5084"/>
                </a:lnTo>
                <a:lnTo>
                  <a:pt x="11012" y="5082"/>
                </a:lnTo>
                <a:lnTo>
                  <a:pt x="11006" y="5082"/>
                </a:lnTo>
                <a:lnTo>
                  <a:pt x="11000" y="5084"/>
                </a:lnTo>
                <a:lnTo>
                  <a:pt x="10998" y="5088"/>
                </a:lnTo>
                <a:lnTo>
                  <a:pt x="10994" y="5094"/>
                </a:lnTo>
                <a:lnTo>
                  <a:pt x="10992" y="5100"/>
                </a:lnTo>
                <a:lnTo>
                  <a:pt x="10988" y="5104"/>
                </a:lnTo>
                <a:lnTo>
                  <a:pt x="10984" y="5108"/>
                </a:lnTo>
                <a:lnTo>
                  <a:pt x="10976" y="5108"/>
                </a:lnTo>
                <a:lnTo>
                  <a:pt x="10970" y="5106"/>
                </a:lnTo>
                <a:lnTo>
                  <a:pt x="10966" y="5104"/>
                </a:lnTo>
                <a:lnTo>
                  <a:pt x="10966" y="5102"/>
                </a:lnTo>
                <a:lnTo>
                  <a:pt x="10966" y="5098"/>
                </a:lnTo>
                <a:lnTo>
                  <a:pt x="10964" y="5090"/>
                </a:lnTo>
                <a:lnTo>
                  <a:pt x="10962" y="5086"/>
                </a:lnTo>
                <a:lnTo>
                  <a:pt x="10956" y="5082"/>
                </a:lnTo>
                <a:lnTo>
                  <a:pt x="10952" y="5080"/>
                </a:lnTo>
                <a:lnTo>
                  <a:pt x="10950" y="5076"/>
                </a:lnTo>
                <a:lnTo>
                  <a:pt x="10946" y="5064"/>
                </a:lnTo>
                <a:lnTo>
                  <a:pt x="10946" y="5052"/>
                </a:lnTo>
                <a:lnTo>
                  <a:pt x="10950" y="5038"/>
                </a:lnTo>
                <a:lnTo>
                  <a:pt x="10954" y="5026"/>
                </a:lnTo>
                <a:lnTo>
                  <a:pt x="10960" y="5018"/>
                </a:lnTo>
                <a:lnTo>
                  <a:pt x="10962" y="5016"/>
                </a:lnTo>
                <a:lnTo>
                  <a:pt x="10966" y="5014"/>
                </a:lnTo>
                <a:lnTo>
                  <a:pt x="10970" y="5014"/>
                </a:lnTo>
                <a:lnTo>
                  <a:pt x="10974" y="5016"/>
                </a:lnTo>
                <a:lnTo>
                  <a:pt x="10980" y="5018"/>
                </a:lnTo>
                <a:lnTo>
                  <a:pt x="10984" y="5018"/>
                </a:lnTo>
                <a:lnTo>
                  <a:pt x="10994" y="5018"/>
                </a:lnTo>
                <a:lnTo>
                  <a:pt x="11004" y="5016"/>
                </a:lnTo>
                <a:lnTo>
                  <a:pt x="11010" y="5016"/>
                </a:lnTo>
                <a:lnTo>
                  <a:pt x="11014" y="5018"/>
                </a:lnTo>
                <a:lnTo>
                  <a:pt x="11020" y="5018"/>
                </a:lnTo>
                <a:lnTo>
                  <a:pt x="11028" y="5018"/>
                </a:lnTo>
                <a:lnTo>
                  <a:pt x="11046" y="5016"/>
                </a:lnTo>
                <a:lnTo>
                  <a:pt x="11062" y="5016"/>
                </a:lnTo>
                <a:lnTo>
                  <a:pt x="11068" y="5016"/>
                </a:lnTo>
                <a:lnTo>
                  <a:pt x="11070" y="5018"/>
                </a:lnTo>
                <a:lnTo>
                  <a:pt x="11074" y="5022"/>
                </a:lnTo>
                <a:lnTo>
                  <a:pt x="11080" y="5024"/>
                </a:lnTo>
                <a:lnTo>
                  <a:pt x="11088" y="5026"/>
                </a:lnTo>
                <a:lnTo>
                  <a:pt x="11096" y="5026"/>
                </a:lnTo>
                <a:lnTo>
                  <a:pt x="11106" y="5024"/>
                </a:lnTo>
                <a:lnTo>
                  <a:pt x="11114" y="5020"/>
                </a:lnTo>
                <a:lnTo>
                  <a:pt x="11122" y="5016"/>
                </a:lnTo>
                <a:lnTo>
                  <a:pt x="11128" y="5010"/>
                </a:lnTo>
                <a:lnTo>
                  <a:pt x="11148" y="4980"/>
                </a:lnTo>
                <a:lnTo>
                  <a:pt x="11150" y="4974"/>
                </a:lnTo>
                <a:lnTo>
                  <a:pt x="11152" y="4970"/>
                </a:lnTo>
                <a:lnTo>
                  <a:pt x="11152" y="4964"/>
                </a:lnTo>
                <a:lnTo>
                  <a:pt x="11150" y="4958"/>
                </a:lnTo>
                <a:lnTo>
                  <a:pt x="11146" y="4956"/>
                </a:lnTo>
                <a:lnTo>
                  <a:pt x="11142" y="4956"/>
                </a:lnTo>
                <a:lnTo>
                  <a:pt x="11138" y="4958"/>
                </a:lnTo>
                <a:lnTo>
                  <a:pt x="11134" y="4962"/>
                </a:lnTo>
                <a:lnTo>
                  <a:pt x="11124" y="4976"/>
                </a:lnTo>
                <a:lnTo>
                  <a:pt x="11116" y="4990"/>
                </a:lnTo>
                <a:lnTo>
                  <a:pt x="11110" y="4996"/>
                </a:lnTo>
                <a:lnTo>
                  <a:pt x="11104" y="4998"/>
                </a:lnTo>
                <a:lnTo>
                  <a:pt x="11096" y="4998"/>
                </a:lnTo>
                <a:lnTo>
                  <a:pt x="11086" y="4996"/>
                </a:lnTo>
                <a:lnTo>
                  <a:pt x="11072" y="4994"/>
                </a:lnTo>
                <a:lnTo>
                  <a:pt x="11066" y="4994"/>
                </a:lnTo>
                <a:lnTo>
                  <a:pt x="11062" y="4994"/>
                </a:lnTo>
                <a:lnTo>
                  <a:pt x="11060" y="4996"/>
                </a:lnTo>
                <a:lnTo>
                  <a:pt x="11056" y="4996"/>
                </a:lnTo>
                <a:lnTo>
                  <a:pt x="11048" y="4994"/>
                </a:lnTo>
                <a:lnTo>
                  <a:pt x="11034" y="4990"/>
                </a:lnTo>
                <a:lnTo>
                  <a:pt x="11028" y="4990"/>
                </a:lnTo>
                <a:lnTo>
                  <a:pt x="11018" y="4990"/>
                </a:lnTo>
                <a:lnTo>
                  <a:pt x="11010" y="4990"/>
                </a:lnTo>
                <a:lnTo>
                  <a:pt x="11006" y="4988"/>
                </a:lnTo>
                <a:lnTo>
                  <a:pt x="11004" y="4986"/>
                </a:lnTo>
                <a:lnTo>
                  <a:pt x="11004" y="4984"/>
                </a:lnTo>
                <a:lnTo>
                  <a:pt x="11004" y="4980"/>
                </a:lnTo>
                <a:lnTo>
                  <a:pt x="11002" y="4978"/>
                </a:lnTo>
                <a:lnTo>
                  <a:pt x="11000" y="4978"/>
                </a:lnTo>
                <a:lnTo>
                  <a:pt x="10992" y="4978"/>
                </a:lnTo>
                <a:lnTo>
                  <a:pt x="10986" y="4976"/>
                </a:lnTo>
                <a:lnTo>
                  <a:pt x="10980" y="4976"/>
                </a:lnTo>
                <a:lnTo>
                  <a:pt x="10978" y="4976"/>
                </a:lnTo>
                <a:lnTo>
                  <a:pt x="10976" y="4980"/>
                </a:lnTo>
                <a:lnTo>
                  <a:pt x="10974" y="4988"/>
                </a:lnTo>
                <a:lnTo>
                  <a:pt x="10968" y="4996"/>
                </a:lnTo>
                <a:lnTo>
                  <a:pt x="10966" y="4998"/>
                </a:lnTo>
                <a:lnTo>
                  <a:pt x="10962" y="5000"/>
                </a:lnTo>
                <a:lnTo>
                  <a:pt x="10960" y="4998"/>
                </a:lnTo>
                <a:lnTo>
                  <a:pt x="10958" y="4996"/>
                </a:lnTo>
                <a:lnTo>
                  <a:pt x="10954" y="4992"/>
                </a:lnTo>
                <a:lnTo>
                  <a:pt x="10952" y="4992"/>
                </a:lnTo>
                <a:lnTo>
                  <a:pt x="10950" y="4998"/>
                </a:lnTo>
                <a:lnTo>
                  <a:pt x="10946" y="5008"/>
                </a:lnTo>
                <a:lnTo>
                  <a:pt x="10940" y="5020"/>
                </a:lnTo>
                <a:lnTo>
                  <a:pt x="10936" y="5024"/>
                </a:lnTo>
                <a:lnTo>
                  <a:pt x="10936" y="5028"/>
                </a:lnTo>
                <a:lnTo>
                  <a:pt x="10936" y="5034"/>
                </a:lnTo>
                <a:lnTo>
                  <a:pt x="10936" y="5038"/>
                </a:lnTo>
                <a:lnTo>
                  <a:pt x="10936" y="5040"/>
                </a:lnTo>
                <a:lnTo>
                  <a:pt x="10932" y="5040"/>
                </a:lnTo>
                <a:lnTo>
                  <a:pt x="10928" y="5044"/>
                </a:lnTo>
                <a:lnTo>
                  <a:pt x="10930" y="5046"/>
                </a:lnTo>
                <a:lnTo>
                  <a:pt x="10932" y="5054"/>
                </a:lnTo>
                <a:lnTo>
                  <a:pt x="10932" y="5064"/>
                </a:lnTo>
                <a:lnTo>
                  <a:pt x="10928" y="5076"/>
                </a:lnTo>
                <a:lnTo>
                  <a:pt x="10922" y="5086"/>
                </a:lnTo>
                <a:lnTo>
                  <a:pt x="10918" y="5098"/>
                </a:lnTo>
                <a:lnTo>
                  <a:pt x="10918" y="5106"/>
                </a:lnTo>
                <a:lnTo>
                  <a:pt x="10918" y="5118"/>
                </a:lnTo>
                <a:lnTo>
                  <a:pt x="10918" y="5132"/>
                </a:lnTo>
                <a:lnTo>
                  <a:pt x="10916" y="5134"/>
                </a:lnTo>
                <a:lnTo>
                  <a:pt x="10916" y="5136"/>
                </a:lnTo>
                <a:lnTo>
                  <a:pt x="10914" y="5136"/>
                </a:lnTo>
                <a:lnTo>
                  <a:pt x="10912" y="5138"/>
                </a:lnTo>
                <a:lnTo>
                  <a:pt x="10910" y="5142"/>
                </a:lnTo>
                <a:lnTo>
                  <a:pt x="10910" y="5150"/>
                </a:lnTo>
                <a:close/>
                <a:moveTo>
                  <a:pt x="11186" y="5194"/>
                </a:moveTo>
                <a:lnTo>
                  <a:pt x="11186" y="5194"/>
                </a:lnTo>
                <a:lnTo>
                  <a:pt x="11188" y="5202"/>
                </a:lnTo>
                <a:lnTo>
                  <a:pt x="11192" y="5208"/>
                </a:lnTo>
                <a:lnTo>
                  <a:pt x="11200" y="5216"/>
                </a:lnTo>
                <a:lnTo>
                  <a:pt x="11210" y="5224"/>
                </a:lnTo>
                <a:lnTo>
                  <a:pt x="11214" y="5226"/>
                </a:lnTo>
                <a:lnTo>
                  <a:pt x="11220" y="5224"/>
                </a:lnTo>
                <a:lnTo>
                  <a:pt x="11226" y="5222"/>
                </a:lnTo>
                <a:lnTo>
                  <a:pt x="11230" y="5220"/>
                </a:lnTo>
                <a:lnTo>
                  <a:pt x="11232" y="5214"/>
                </a:lnTo>
                <a:lnTo>
                  <a:pt x="11234" y="5210"/>
                </a:lnTo>
                <a:lnTo>
                  <a:pt x="11234" y="5204"/>
                </a:lnTo>
                <a:lnTo>
                  <a:pt x="11230" y="5198"/>
                </a:lnTo>
                <a:lnTo>
                  <a:pt x="11226" y="5192"/>
                </a:lnTo>
                <a:lnTo>
                  <a:pt x="11218" y="5188"/>
                </a:lnTo>
                <a:lnTo>
                  <a:pt x="11212" y="5186"/>
                </a:lnTo>
                <a:lnTo>
                  <a:pt x="11204" y="5186"/>
                </a:lnTo>
                <a:lnTo>
                  <a:pt x="11198" y="5186"/>
                </a:lnTo>
                <a:lnTo>
                  <a:pt x="11192" y="5188"/>
                </a:lnTo>
                <a:lnTo>
                  <a:pt x="11188" y="5190"/>
                </a:lnTo>
                <a:lnTo>
                  <a:pt x="11186" y="5194"/>
                </a:lnTo>
                <a:close/>
                <a:moveTo>
                  <a:pt x="11302" y="5178"/>
                </a:moveTo>
                <a:lnTo>
                  <a:pt x="11302" y="5178"/>
                </a:lnTo>
                <a:lnTo>
                  <a:pt x="11294" y="5178"/>
                </a:lnTo>
                <a:lnTo>
                  <a:pt x="11284" y="5178"/>
                </a:lnTo>
                <a:lnTo>
                  <a:pt x="11278" y="5178"/>
                </a:lnTo>
                <a:lnTo>
                  <a:pt x="11272" y="5182"/>
                </a:lnTo>
                <a:lnTo>
                  <a:pt x="11268" y="5186"/>
                </a:lnTo>
                <a:lnTo>
                  <a:pt x="11264" y="5190"/>
                </a:lnTo>
                <a:lnTo>
                  <a:pt x="11262" y="5196"/>
                </a:lnTo>
                <a:lnTo>
                  <a:pt x="11262" y="5202"/>
                </a:lnTo>
                <a:lnTo>
                  <a:pt x="11264" y="5208"/>
                </a:lnTo>
                <a:lnTo>
                  <a:pt x="11266" y="5204"/>
                </a:lnTo>
                <a:lnTo>
                  <a:pt x="11270" y="5196"/>
                </a:lnTo>
                <a:lnTo>
                  <a:pt x="11272" y="5194"/>
                </a:lnTo>
                <a:lnTo>
                  <a:pt x="11272" y="5192"/>
                </a:lnTo>
                <a:lnTo>
                  <a:pt x="11274" y="5192"/>
                </a:lnTo>
                <a:lnTo>
                  <a:pt x="11276" y="5194"/>
                </a:lnTo>
                <a:lnTo>
                  <a:pt x="11282" y="5200"/>
                </a:lnTo>
                <a:lnTo>
                  <a:pt x="11284" y="5202"/>
                </a:lnTo>
                <a:lnTo>
                  <a:pt x="11288" y="5202"/>
                </a:lnTo>
                <a:lnTo>
                  <a:pt x="11292" y="5202"/>
                </a:lnTo>
                <a:lnTo>
                  <a:pt x="11296" y="5200"/>
                </a:lnTo>
                <a:lnTo>
                  <a:pt x="11302" y="5198"/>
                </a:lnTo>
                <a:lnTo>
                  <a:pt x="11306" y="5198"/>
                </a:lnTo>
                <a:lnTo>
                  <a:pt x="11316" y="5202"/>
                </a:lnTo>
                <a:lnTo>
                  <a:pt x="11324" y="5206"/>
                </a:lnTo>
                <a:lnTo>
                  <a:pt x="11328" y="5206"/>
                </a:lnTo>
                <a:lnTo>
                  <a:pt x="11330" y="5204"/>
                </a:lnTo>
                <a:lnTo>
                  <a:pt x="11332" y="5202"/>
                </a:lnTo>
                <a:lnTo>
                  <a:pt x="11334" y="5202"/>
                </a:lnTo>
                <a:lnTo>
                  <a:pt x="11344" y="5204"/>
                </a:lnTo>
                <a:lnTo>
                  <a:pt x="11356" y="5212"/>
                </a:lnTo>
                <a:lnTo>
                  <a:pt x="11370" y="5222"/>
                </a:lnTo>
                <a:lnTo>
                  <a:pt x="11376" y="5226"/>
                </a:lnTo>
                <a:lnTo>
                  <a:pt x="11380" y="5226"/>
                </a:lnTo>
                <a:lnTo>
                  <a:pt x="11384" y="5226"/>
                </a:lnTo>
                <a:lnTo>
                  <a:pt x="11384" y="5222"/>
                </a:lnTo>
                <a:lnTo>
                  <a:pt x="11382" y="5210"/>
                </a:lnTo>
                <a:lnTo>
                  <a:pt x="11372" y="5194"/>
                </a:lnTo>
                <a:lnTo>
                  <a:pt x="11368" y="5186"/>
                </a:lnTo>
                <a:lnTo>
                  <a:pt x="11364" y="5184"/>
                </a:lnTo>
                <a:lnTo>
                  <a:pt x="11360" y="5182"/>
                </a:lnTo>
                <a:lnTo>
                  <a:pt x="11358" y="5182"/>
                </a:lnTo>
                <a:lnTo>
                  <a:pt x="11352" y="5184"/>
                </a:lnTo>
                <a:lnTo>
                  <a:pt x="11346" y="5182"/>
                </a:lnTo>
                <a:lnTo>
                  <a:pt x="11340" y="5178"/>
                </a:lnTo>
                <a:lnTo>
                  <a:pt x="11328" y="5174"/>
                </a:lnTo>
                <a:lnTo>
                  <a:pt x="11326" y="5174"/>
                </a:lnTo>
                <a:lnTo>
                  <a:pt x="11324" y="5176"/>
                </a:lnTo>
                <a:lnTo>
                  <a:pt x="11318" y="5178"/>
                </a:lnTo>
                <a:lnTo>
                  <a:pt x="11312" y="5178"/>
                </a:lnTo>
                <a:lnTo>
                  <a:pt x="11302" y="5178"/>
                </a:lnTo>
                <a:close/>
                <a:moveTo>
                  <a:pt x="11158" y="5128"/>
                </a:moveTo>
                <a:lnTo>
                  <a:pt x="11158" y="5128"/>
                </a:lnTo>
                <a:lnTo>
                  <a:pt x="11156" y="5126"/>
                </a:lnTo>
                <a:lnTo>
                  <a:pt x="11152" y="5122"/>
                </a:lnTo>
                <a:lnTo>
                  <a:pt x="11138" y="5118"/>
                </a:lnTo>
                <a:lnTo>
                  <a:pt x="11132" y="5118"/>
                </a:lnTo>
                <a:lnTo>
                  <a:pt x="11126" y="5120"/>
                </a:lnTo>
                <a:lnTo>
                  <a:pt x="11120" y="5124"/>
                </a:lnTo>
                <a:lnTo>
                  <a:pt x="11118" y="5128"/>
                </a:lnTo>
                <a:lnTo>
                  <a:pt x="11120" y="5132"/>
                </a:lnTo>
                <a:lnTo>
                  <a:pt x="11124" y="5136"/>
                </a:lnTo>
                <a:lnTo>
                  <a:pt x="11132" y="5136"/>
                </a:lnTo>
                <a:lnTo>
                  <a:pt x="11138" y="5136"/>
                </a:lnTo>
                <a:lnTo>
                  <a:pt x="11152" y="5132"/>
                </a:lnTo>
                <a:lnTo>
                  <a:pt x="11156" y="5130"/>
                </a:lnTo>
                <a:lnTo>
                  <a:pt x="11158" y="5128"/>
                </a:lnTo>
                <a:close/>
                <a:moveTo>
                  <a:pt x="11162" y="5130"/>
                </a:moveTo>
                <a:lnTo>
                  <a:pt x="11162" y="5130"/>
                </a:lnTo>
                <a:lnTo>
                  <a:pt x="11162" y="5132"/>
                </a:lnTo>
                <a:lnTo>
                  <a:pt x="11166" y="5134"/>
                </a:lnTo>
                <a:lnTo>
                  <a:pt x="11176" y="5132"/>
                </a:lnTo>
                <a:lnTo>
                  <a:pt x="11200" y="5128"/>
                </a:lnTo>
                <a:lnTo>
                  <a:pt x="11200" y="5126"/>
                </a:lnTo>
                <a:lnTo>
                  <a:pt x="11198" y="5124"/>
                </a:lnTo>
                <a:lnTo>
                  <a:pt x="11184" y="5124"/>
                </a:lnTo>
                <a:lnTo>
                  <a:pt x="11170" y="5124"/>
                </a:lnTo>
                <a:lnTo>
                  <a:pt x="11164" y="5126"/>
                </a:lnTo>
                <a:lnTo>
                  <a:pt x="11162" y="5130"/>
                </a:lnTo>
                <a:close/>
                <a:moveTo>
                  <a:pt x="11242" y="5116"/>
                </a:moveTo>
                <a:lnTo>
                  <a:pt x="11242" y="5116"/>
                </a:lnTo>
                <a:lnTo>
                  <a:pt x="11242" y="5122"/>
                </a:lnTo>
                <a:lnTo>
                  <a:pt x="11246" y="5122"/>
                </a:lnTo>
                <a:lnTo>
                  <a:pt x="11254" y="5122"/>
                </a:lnTo>
                <a:lnTo>
                  <a:pt x="11270" y="5122"/>
                </a:lnTo>
                <a:lnTo>
                  <a:pt x="11272" y="5120"/>
                </a:lnTo>
                <a:lnTo>
                  <a:pt x="11268" y="5112"/>
                </a:lnTo>
                <a:lnTo>
                  <a:pt x="11262" y="5108"/>
                </a:lnTo>
                <a:lnTo>
                  <a:pt x="11258" y="5106"/>
                </a:lnTo>
                <a:lnTo>
                  <a:pt x="11254" y="5104"/>
                </a:lnTo>
                <a:lnTo>
                  <a:pt x="11250" y="5104"/>
                </a:lnTo>
                <a:lnTo>
                  <a:pt x="11246" y="5106"/>
                </a:lnTo>
                <a:lnTo>
                  <a:pt x="11244" y="5108"/>
                </a:lnTo>
                <a:lnTo>
                  <a:pt x="11242" y="5110"/>
                </a:lnTo>
                <a:lnTo>
                  <a:pt x="11242" y="5116"/>
                </a:lnTo>
                <a:close/>
                <a:moveTo>
                  <a:pt x="11340" y="5134"/>
                </a:moveTo>
                <a:lnTo>
                  <a:pt x="11340" y="5134"/>
                </a:lnTo>
                <a:lnTo>
                  <a:pt x="11344" y="5138"/>
                </a:lnTo>
                <a:lnTo>
                  <a:pt x="11352" y="5140"/>
                </a:lnTo>
                <a:lnTo>
                  <a:pt x="11358" y="5140"/>
                </a:lnTo>
                <a:lnTo>
                  <a:pt x="11360" y="5136"/>
                </a:lnTo>
                <a:lnTo>
                  <a:pt x="11362" y="5134"/>
                </a:lnTo>
                <a:lnTo>
                  <a:pt x="11362" y="5126"/>
                </a:lnTo>
                <a:lnTo>
                  <a:pt x="11360" y="5122"/>
                </a:lnTo>
                <a:lnTo>
                  <a:pt x="11354" y="5122"/>
                </a:lnTo>
                <a:lnTo>
                  <a:pt x="11346" y="5124"/>
                </a:lnTo>
                <a:lnTo>
                  <a:pt x="11336" y="5130"/>
                </a:lnTo>
                <a:lnTo>
                  <a:pt x="11336" y="5132"/>
                </a:lnTo>
                <a:lnTo>
                  <a:pt x="11340" y="5134"/>
                </a:lnTo>
                <a:close/>
                <a:moveTo>
                  <a:pt x="11380" y="5104"/>
                </a:moveTo>
                <a:lnTo>
                  <a:pt x="11380" y="5104"/>
                </a:lnTo>
                <a:lnTo>
                  <a:pt x="11382" y="5104"/>
                </a:lnTo>
                <a:lnTo>
                  <a:pt x="11384" y="5102"/>
                </a:lnTo>
                <a:lnTo>
                  <a:pt x="11386" y="5096"/>
                </a:lnTo>
                <a:lnTo>
                  <a:pt x="11386" y="5090"/>
                </a:lnTo>
                <a:lnTo>
                  <a:pt x="11386" y="5086"/>
                </a:lnTo>
                <a:lnTo>
                  <a:pt x="11386" y="5084"/>
                </a:lnTo>
                <a:lnTo>
                  <a:pt x="11380" y="5084"/>
                </a:lnTo>
                <a:lnTo>
                  <a:pt x="11374" y="5084"/>
                </a:lnTo>
                <a:lnTo>
                  <a:pt x="11370" y="5086"/>
                </a:lnTo>
                <a:lnTo>
                  <a:pt x="11370" y="5088"/>
                </a:lnTo>
                <a:lnTo>
                  <a:pt x="11370" y="5090"/>
                </a:lnTo>
                <a:lnTo>
                  <a:pt x="11374" y="5096"/>
                </a:lnTo>
                <a:lnTo>
                  <a:pt x="11380" y="5104"/>
                </a:lnTo>
                <a:close/>
                <a:moveTo>
                  <a:pt x="11362" y="5052"/>
                </a:moveTo>
                <a:lnTo>
                  <a:pt x="11362" y="5052"/>
                </a:lnTo>
                <a:lnTo>
                  <a:pt x="11368" y="5054"/>
                </a:lnTo>
                <a:lnTo>
                  <a:pt x="11372" y="5056"/>
                </a:lnTo>
                <a:lnTo>
                  <a:pt x="11378" y="5060"/>
                </a:lnTo>
                <a:lnTo>
                  <a:pt x="11384" y="5060"/>
                </a:lnTo>
                <a:lnTo>
                  <a:pt x="11386" y="5058"/>
                </a:lnTo>
                <a:lnTo>
                  <a:pt x="11382" y="5054"/>
                </a:lnTo>
                <a:lnTo>
                  <a:pt x="11380" y="5052"/>
                </a:lnTo>
                <a:lnTo>
                  <a:pt x="11380" y="5050"/>
                </a:lnTo>
                <a:lnTo>
                  <a:pt x="11384" y="5052"/>
                </a:lnTo>
                <a:lnTo>
                  <a:pt x="11388" y="5056"/>
                </a:lnTo>
                <a:lnTo>
                  <a:pt x="11394" y="5058"/>
                </a:lnTo>
                <a:lnTo>
                  <a:pt x="11398" y="5056"/>
                </a:lnTo>
                <a:lnTo>
                  <a:pt x="11400" y="5054"/>
                </a:lnTo>
                <a:lnTo>
                  <a:pt x="11400" y="5052"/>
                </a:lnTo>
                <a:lnTo>
                  <a:pt x="11394" y="5046"/>
                </a:lnTo>
                <a:lnTo>
                  <a:pt x="11384" y="5040"/>
                </a:lnTo>
                <a:lnTo>
                  <a:pt x="11378" y="5040"/>
                </a:lnTo>
                <a:lnTo>
                  <a:pt x="11372" y="5040"/>
                </a:lnTo>
                <a:lnTo>
                  <a:pt x="11364" y="5044"/>
                </a:lnTo>
                <a:lnTo>
                  <a:pt x="11358" y="5046"/>
                </a:lnTo>
                <a:lnTo>
                  <a:pt x="11358" y="5050"/>
                </a:lnTo>
                <a:lnTo>
                  <a:pt x="11362" y="5052"/>
                </a:lnTo>
                <a:close/>
                <a:moveTo>
                  <a:pt x="11246" y="4990"/>
                </a:moveTo>
                <a:lnTo>
                  <a:pt x="11246" y="4990"/>
                </a:lnTo>
                <a:lnTo>
                  <a:pt x="11248" y="4998"/>
                </a:lnTo>
                <a:lnTo>
                  <a:pt x="11246" y="5006"/>
                </a:lnTo>
                <a:lnTo>
                  <a:pt x="11246" y="5012"/>
                </a:lnTo>
                <a:lnTo>
                  <a:pt x="11248" y="5016"/>
                </a:lnTo>
                <a:lnTo>
                  <a:pt x="11250" y="5020"/>
                </a:lnTo>
                <a:lnTo>
                  <a:pt x="11252" y="5024"/>
                </a:lnTo>
                <a:lnTo>
                  <a:pt x="11254" y="5028"/>
                </a:lnTo>
                <a:lnTo>
                  <a:pt x="11252" y="5038"/>
                </a:lnTo>
                <a:lnTo>
                  <a:pt x="11252" y="5046"/>
                </a:lnTo>
                <a:lnTo>
                  <a:pt x="11254" y="5050"/>
                </a:lnTo>
                <a:lnTo>
                  <a:pt x="11256" y="5056"/>
                </a:lnTo>
                <a:lnTo>
                  <a:pt x="11270" y="5074"/>
                </a:lnTo>
                <a:lnTo>
                  <a:pt x="11276" y="5080"/>
                </a:lnTo>
                <a:lnTo>
                  <a:pt x="11278" y="5082"/>
                </a:lnTo>
                <a:lnTo>
                  <a:pt x="11282" y="5082"/>
                </a:lnTo>
                <a:lnTo>
                  <a:pt x="11284" y="5082"/>
                </a:lnTo>
                <a:lnTo>
                  <a:pt x="11282" y="5080"/>
                </a:lnTo>
                <a:lnTo>
                  <a:pt x="11278" y="5076"/>
                </a:lnTo>
                <a:lnTo>
                  <a:pt x="11272" y="5068"/>
                </a:lnTo>
                <a:lnTo>
                  <a:pt x="11268" y="5058"/>
                </a:lnTo>
                <a:lnTo>
                  <a:pt x="11264" y="5046"/>
                </a:lnTo>
                <a:lnTo>
                  <a:pt x="11262" y="5036"/>
                </a:lnTo>
                <a:lnTo>
                  <a:pt x="11262" y="5026"/>
                </a:lnTo>
                <a:lnTo>
                  <a:pt x="11266" y="5018"/>
                </a:lnTo>
                <a:lnTo>
                  <a:pt x="11268" y="5018"/>
                </a:lnTo>
                <a:lnTo>
                  <a:pt x="11270" y="5016"/>
                </a:lnTo>
                <a:lnTo>
                  <a:pt x="11278" y="5018"/>
                </a:lnTo>
                <a:lnTo>
                  <a:pt x="11290" y="5024"/>
                </a:lnTo>
                <a:lnTo>
                  <a:pt x="11294" y="5026"/>
                </a:lnTo>
                <a:lnTo>
                  <a:pt x="11298" y="5026"/>
                </a:lnTo>
                <a:lnTo>
                  <a:pt x="11298" y="5024"/>
                </a:lnTo>
                <a:lnTo>
                  <a:pt x="11298" y="5022"/>
                </a:lnTo>
                <a:lnTo>
                  <a:pt x="11294" y="5014"/>
                </a:lnTo>
                <a:lnTo>
                  <a:pt x="11288" y="5012"/>
                </a:lnTo>
                <a:lnTo>
                  <a:pt x="11282" y="5008"/>
                </a:lnTo>
                <a:lnTo>
                  <a:pt x="11278" y="5006"/>
                </a:lnTo>
                <a:lnTo>
                  <a:pt x="11276" y="5004"/>
                </a:lnTo>
                <a:lnTo>
                  <a:pt x="11274" y="5002"/>
                </a:lnTo>
                <a:lnTo>
                  <a:pt x="11276" y="5000"/>
                </a:lnTo>
                <a:lnTo>
                  <a:pt x="11282" y="4994"/>
                </a:lnTo>
                <a:lnTo>
                  <a:pt x="11290" y="4990"/>
                </a:lnTo>
                <a:lnTo>
                  <a:pt x="11292" y="4988"/>
                </a:lnTo>
                <a:lnTo>
                  <a:pt x="11294" y="4984"/>
                </a:lnTo>
                <a:lnTo>
                  <a:pt x="11296" y="4974"/>
                </a:lnTo>
                <a:lnTo>
                  <a:pt x="11294" y="4970"/>
                </a:lnTo>
                <a:lnTo>
                  <a:pt x="11292" y="4966"/>
                </a:lnTo>
                <a:lnTo>
                  <a:pt x="11290" y="4964"/>
                </a:lnTo>
                <a:lnTo>
                  <a:pt x="11284" y="4964"/>
                </a:lnTo>
                <a:lnTo>
                  <a:pt x="11278" y="4968"/>
                </a:lnTo>
                <a:lnTo>
                  <a:pt x="11274" y="4974"/>
                </a:lnTo>
                <a:lnTo>
                  <a:pt x="11266" y="4988"/>
                </a:lnTo>
                <a:lnTo>
                  <a:pt x="11262" y="4998"/>
                </a:lnTo>
                <a:lnTo>
                  <a:pt x="11260" y="5000"/>
                </a:lnTo>
                <a:lnTo>
                  <a:pt x="11258" y="4998"/>
                </a:lnTo>
                <a:lnTo>
                  <a:pt x="11256" y="4992"/>
                </a:lnTo>
                <a:lnTo>
                  <a:pt x="11258" y="4988"/>
                </a:lnTo>
                <a:lnTo>
                  <a:pt x="11262" y="4982"/>
                </a:lnTo>
                <a:lnTo>
                  <a:pt x="11266" y="4972"/>
                </a:lnTo>
                <a:lnTo>
                  <a:pt x="11268" y="4966"/>
                </a:lnTo>
                <a:lnTo>
                  <a:pt x="11268" y="4962"/>
                </a:lnTo>
                <a:lnTo>
                  <a:pt x="11264" y="4954"/>
                </a:lnTo>
                <a:lnTo>
                  <a:pt x="11262" y="4950"/>
                </a:lnTo>
                <a:lnTo>
                  <a:pt x="11262" y="4946"/>
                </a:lnTo>
                <a:lnTo>
                  <a:pt x="11262" y="4944"/>
                </a:lnTo>
                <a:lnTo>
                  <a:pt x="11266" y="4932"/>
                </a:lnTo>
                <a:lnTo>
                  <a:pt x="11258" y="4936"/>
                </a:lnTo>
                <a:lnTo>
                  <a:pt x="11254" y="4940"/>
                </a:lnTo>
                <a:lnTo>
                  <a:pt x="11250" y="4946"/>
                </a:lnTo>
                <a:lnTo>
                  <a:pt x="11246" y="4960"/>
                </a:lnTo>
                <a:lnTo>
                  <a:pt x="11244" y="4976"/>
                </a:lnTo>
                <a:lnTo>
                  <a:pt x="11244" y="4984"/>
                </a:lnTo>
                <a:lnTo>
                  <a:pt x="11246" y="4990"/>
                </a:lnTo>
                <a:close/>
                <a:moveTo>
                  <a:pt x="11276" y="4936"/>
                </a:moveTo>
                <a:lnTo>
                  <a:pt x="11276" y="4936"/>
                </a:lnTo>
                <a:lnTo>
                  <a:pt x="11276" y="4940"/>
                </a:lnTo>
                <a:lnTo>
                  <a:pt x="11280" y="4942"/>
                </a:lnTo>
                <a:lnTo>
                  <a:pt x="11284" y="4940"/>
                </a:lnTo>
                <a:lnTo>
                  <a:pt x="11288" y="4936"/>
                </a:lnTo>
                <a:lnTo>
                  <a:pt x="11290" y="4930"/>
                </a:lnTo>
                <a:lnTo>
                  <a:pt x="11292" y="4924"/>
                </a:lnTo>
                <a:lnTo>
                  <a:pt x="11294" y="4918"/>
                </a:lnTo>
                <a:lnTo>
                  <a:pt x="11292" y="4914"/>
                </a:lnTo>
                <a:lnTo>
                  <a:pt x="11288" y="4912"/>
                </a:lnTo>
                <a:lnTo>
                  <a:pt x="11286" y="4912"/>
                </a:lnTo>
                <a:lnTo>
                  <a:pt x="11282" y="4912"/>
                </a:lnTo>
                <a:lnTo>
                  <a:pt x="11280" y="4916"/>
                </a:lnTo>
                <a:lnTo>
                  <a:pt x="11276" y="4926"/>
                </a:lnTo>
                <a:lnTo>
                  <a:pt x="11276" y="4936"/>
                </a:lnTo>
                <a:close/>
                <a:moveTo>
                  <a:pt x="11022" y="5302"/>
                </a:moveTo>
                <a:lnTo>
                  <a:pt x="11022" y="5302"/>
                </a:lnTo>
                <a:lnTo>
                  <a:pt x="11024" y="5306"/>
                </a:lnTo>
                <a:lnTo>
                  <a:pt x="11026" y="5302"/>
                </a:lnTo>
                <a:lnTo>
                  <a:pt x="11026" y="5296"/>
                </a:lnTo>
                <a:lnTo>
                  <a:pt x="11022" y="5288"/>
                </a:lnTo>
                <a:lnTo>
                  <a:pt x="11020" y="5284"/>
                </a:lnTo>
                <a:lnTo>
                  <a:pt x="11018" y="5288"/>
                </a:lnTo>
                <a:lnTo>
                  <a:pt x="11018" y="5294"/>
                </a:lnTo>
                <a:lnTo>
                  <a:pt x="11022" y="5302"/>
                </a:lnTo>
                <a:close/>
                <a:moveTo>
                  <a:pt x="11040" y="5304"/>
                </a:moveTo>
                <a:lnTo>
                  <a:pt x="11040" y="5304"/>
                </a:lnTo>
                <a:lnTo>
                  <a:pt x="11048" y="5300"/>
                </a:lnTo>
                <a:lnTo>
                  <a:pt x="11050" y="5296"/>
                </a:lnTo>
                <a:lnTo>
                  <a:pt x="11050" y="5292"/>
                </a:lnTo>
                <a:lnTo>
                  <a:pt x="11050" y="5288"/>
                </a:lnTo>
                <a:lnTo>
                  <a:pt x="11050" y="5284"/>
                </a:lnTo>
                <a:lnTo>
                  <a:pt x="11052" y="5278"/>
                </a:lnTo>
                <a:lnTo>
                  <a:pt x="11054" y="5270"/>
                </a:lnTo>
                <a:lnTo>
                  <a:pt x="11054" y="5266"/>
                </a:lnTo>
                <a:lnTo>
                  <a:pt x="11052" y="5264"/>
                </a:lnTo>
                <a:lnTo>
                  <a:pt x="11048" y="5264"/>
                </a:lnTo>
                <a:lnTo>
                  <a:pt x="11046" y="5264"/>
                </a:lnTo>
                <a:lnTo>
                  <a:pt x="11040" y="5270"/>
                </a:lnTo>
                <a:lnTo>
                  <a:pt x="11038" y="5274"/>
                </a:lnTo>
                <a:lnTo>
                  <a:pt x="11038" y="5278"/>
                </a:lnTo>
                <a:lnTo>
                  <a:pt x="11038" y="5288"/>
                </a:lnTo>
                <a:lnTo>
                  <a:pt x="11036" y="5298"/>
                </a:lnTo>
                <a:lnTo>
                  <a:pt x="11036" y="5304"/>
                </a:lnTo>
                <a:lnTo>
                  <a:pt x="11038" y="5304"/>
                </a:lnTo>
                <a:lnTo>
                  <a:pt x="11040" y="5304"/>
                </a:lnTo>
                <a:close/>
                <a:moveTo>
                  <a:pt x="11052" y="5316"/>
                </a:moveTo>
                <a:lnTo>
                  <a:pt x="11052" y="5316"/>
                </a:lnTo>
                <a:lnTo>
                  <a:pt x="11056" y="5318"/>
                </a:lnTo>
                <a:lnTo>
                  <a:pt x="11058" y="5316"/>
                </a:lnTo>
                <a:lnTo>
                  <a:pt x="11060" y="5308"/>
                </a:lnTo>
                <a:lnTo>
                  <a:pt x="11062" y="5306"/>
                </a:lnTo>
                <a:lnTo>
                  <a:pt x="11066" y="5304"/>
                </a:lnTo>
                <a:lnTo>
                  <a:pt x="11072" y="5302"/>
                </a:lnTo>
                <a:lnTo>
                  <a:pt x="11074" y="5302"/>
                </a:lnTo>
                <a:lnTo>
                  <a:pt x="11074" y="5300"/>
                </a:lnTo>
                <a:lnTo>
                  <a:pt x="11068" y="5292"/>
                </a:lnTo>
                <a:lnTo>
                  <a:pt x="11064" y="5286"/>
                </a:lnTo>
                <a:lnTo>
                  <a:pt x="11064" y="5282"/>
                </a:lnTo>
                <a:lnTo>
                  <a:pt x="11064" y="5278"/>
                </a:lnTo>
                <a:lnTo>
                  <a:pt x="11068" y="5274"/>
                </a:lnTo>
                <a:lnTo>
                  <a:pt x="11072" y="5268"/>
                </a:lnTo>
                <a:lnTo>
                  <a:pt x="11072" y="5264"/>
                </a:lnTo>
                <a:lnTo>
                  <a:pt x="11070" y="5258"/>
                </a:lnTo>
                <a:lnTo>
                  <a:pt x="11068" y="5254"/>
                </a:lnTo>
                <a:lnTo>
                  <a:pt x="11066" y="5252"/>
                </a:lnTo>
                <a:lnTo>
                  <a:pt x="11064" y="5252"/>
                </a:lnTo>
                <a:lnTo>
                  <a:pt x="11062" y="5256"/>
                </a:lnTo>
                <a:lnTo>
                  <a:pt x="11058" y="5270"/>
                </a:lnTo>
                <a:lnTo>
                  <a:pt x="11056" y="5286"/>
                </a:lnTo>
                <a:lnTo>
                  <a:pt x="11056" y="5294"/>
                </a:lnTo>
                <a:lnTo>
                  <a:pt x="11052" y="5300"/>
                </a:lnTo>
                <a:lnTo>
                  <a:pt x="11048" y="5306"/>
                </a:lnTo>
                <a:lnTo>
                  <a:pt x="11046" y="5310"/>
                </a:lnTo>
                <a:lnTo>
                  <a:pt x="11046" y="5312"/>
                </a:lnTo>
                <a:lnTo>
                  <a:pt x="11052" y="5316"/>
                </a:lnTo>
                <a:close/>
                <a:moveTo>
                  <a:pt x="11240" y="5058"/>
                </a:moveTo>
                <a:lnTo>
                  <a:pt x="11240" y="5058"/>
                </a:lnTo>
                <a:lnTo>
                  <a:pt x="11240" y="5062"/>
                </a:lnTo>
                <a:lnTo>
                  <a:pt x="11242" y="5068"/>
                </a:lnTo>
                <a:lnTo>
                  <a:pt x="11246" y="5074"/>
                </a:lnTo>
                <a:lnTo>
                  <a:pt x="11250" y="5076"/>
                </a:lnTo>
                <a:lnTo>
                  <a:pt x="11252" y="5072"/>
                </a:lnTo>
                <a:lnTo>
                  <a:pt x="11252" y="5064"/>
                </a:lnTo>
                <a:lnTo>
                  <a:pt x="11250" y="5058"/>
                </a:lnTo>
                <a:lnTo>
                  <a:pt x="11248" y="5054"/>
                </a:lnTo>
                <a:lnTo>
                  <a:pt x="11244" y="5054"/>
                </a:lnTo>
                <a:lnTo>
                  <a:pt x="11240" y="5058"/>
                </a:lnTo>
                <a:close/>
                <a:moveTo>
                  <a:pt x="11412" y="5392"/>
                </a:moveTo>
                <a:lnTo>
                  <a:pt x="11412" y="5392"/>
                </a:lnTo>
                <a:lnTo>
                  <a:pt x="11412" y="5390"/>
                </a:lnTo>
                <a:lnTo>
                  <a:pt x="11410" y="5390"/>
                </a:lnTo>
                <a:lnTo>
                  <a:pt x="11406" y="5392"/>
                </a:lnTo>
                <a:lnTo>
                  <a:pt x="11402" y="5398"/>
                </a:lnTo>
                <a:lnTo>
                  <a:pt x="11398" y="5406"/>
                </a:lnTo>
                <a:lnTo>
                  <a:pt x="11394" y="5420"/>
                </a:lnTo>
                <a:lnTo>
                  <a:pt x="11394" y="5426"/>
                </a:lnTo>
                <a:lnTo>
                  <a:pt x="11396" y="5426"/>
                </a:lnTo>
                <a:lnTo>
                  <a:pt x="11406" y="5420"/>
                </a:lnTo>
                <a:lnTo>
                  <a:pt x="11412" y="5412"/>
                </a:lnTo>
                <a:lnTo>
                  <a:pt x="11414" y="5402"/>
                </a:lnTo>
                <a:lnTo>
                  <a:pt x="11412" y="5392"/>
                </a:lnTo>
                <a:close/>
                <a:moveTo>
                  <a:pt x="11514" y="5376"/>
                </a:moveTo>
                <a:lnTo>
                  <a:pt x="11514" y="5376"/>
                </a:lnTo>
                <a:lnTo>
                  <a:pt x="11522" y="5372"/>
                </a:lnTo>
                <a:lnTo>
                  <a:pt x="11526" y="5366"/>
                </a:lnTo>
                <a:lnTo>
                  <a:pt x="11526" y="5360"/>
                </a:lnTo>
                <a:lnTo>
                  <a:pt x="11520" y="5352"/>
                </a:lnTo>
                <a:lnTo>
                  <a:pt x="11516" y="5346"/>
                </a:lnTo>
                <a:lnTo>
                  <a:pt x="11512" y="5346"/>
                </a:lnTo>
                <a:lnTo>
                  <a:pt x="11510" y="5350"/>
                </a:lnTo>
                <a:lnTo>
                  <a:pt x="11510" y="5356"/>
                </a:lnTo>
                <a:lnTo>
                  <a:pt x="11510" y="5370"/>
                </a:lnTo>
                <a:lnTo>
                  <a:pt x="11512" y="5374"/>
                </a:lnTo>
                <a:lnTo>
                  <a:pt x="11514" y="5376"/>
                </a:lnTo>
                <a:close/>
                <a:moveTo>
                  <a:pt x="10442" y="5192"/>
                </a:moveTo>
                <a:lnTo>
                  <a:pt x="10442" y="5192"/>
                </a:lnTo>
                <a:lnTo>
                  <a:pt x="10446" y="5198"/>
                </a:lnTo>
                <a:lnTo>
                  <a:pt x="10448" y="5198"/>
                </a:lnTo>
                <a:lnTo>
                  <a:pt x="10450" y="5194"/>
                </a:lnTo>
                <a:lnTo>
                  <a:pt x="10452" y="5192"/>
                </a:lnTo>
                <a:lnTo>
                  <a:pt x="10454" y="5192"/>
                </a:lnTo>
                <a:lnTo>
                  <a:pt x="10458" y="5194"/>
                </a:lnTo>
                <a:lnTo>
                  <a:pt x="10462" y="5194"/>
                </a:lnTo>
                <a:lnTo>
                  <a:pt x="10468" y="5188"/>
                </a:lnTo>
                <a:lnTo>
                  <a:pt x="10470" y="5180"/>
                </a:lnTo>
                <a:lnTo>
                  <a:pt x="10470" y="5176"/>
                </a:lnTo>
                <a:lnTo>
                  <a:pt x="10470" y="5174"/>
                </a:lnTo>
                <a:lnTo>
                  <a:pt x="10464" y="5168"/>
                </a:lnTo>
                <a:lnTo>
                  <a:pt x="10456" y="5164"/>
                </a:lnTo>
                <a:lnTo>
                  <a:pt x="10450" y="5162"/>
                </a:lnTo>
                <a:lnTo>
                  <a:pt x="10448" y="5164"/>
                </a:lnTo>
                <a:lnTo>
                  <a:pt x="10444" y="5166"/>
                </a:lnTo>
                <a:lnTo>
                  <a:pt x="10442" y="5170"/>
                </a:lnTo>
                <a:lnTo>
                  <a:pt x="10440" y="5182"/>
                </a:lnTo>
                <a:lnTo>
                  <a:pt x="10440" y="5186"/>
                </a:lnTo>
                <a:lnTo>
                  <a:pt x="10442" y="5192"/>
                </a:lnTo>
                <a:close/>
                <a:moveTo>
                  <a:pt x="10396" y="5160"/>
                </a:moveTo>
                <a:lnTo>
                  <a:pt x="10396" y="5160"/>
                </a:lnTo>
                <a:lnTo>
                  <a:pt x="10392" y="5156"/>
                </a:lnTo>
                <a:lnTo>
                  <a:pt x="10388" y="5150"/>
                </a:lnTo>
                <a:lnTo>
                  <a:pt x="10386" y="5132"/>
                </a:lnTo>
                <a:lnTo>
                  <a:pt x="10382" y="5124"/>
                </a:lnTo>
                <a:lnTo>
                  <a:pt x="10380" y="5116"/>
                </a:lnTo>
                <a:lnTo>
                  <a:pt x="10372" y="5112"/>
                </a:lnTo>
                <a:lnTo>
                  <a:pt x="10364" y="5112"/>
                </a:lnTo>
                <a:lnTo>
                  <a:pt x="10356" y="5116"/>
                </a:lnTo>
                <a:lnTo>
                  <a:pt x="10352" y="5120"/>
                </a:lnTo>
                <a:lnTo>
                  <a:pt x="10352" y="5124"/>
                </a:lnTo>
                <a:lnTo>
                  <a:pt x="10352" y="5128"/>
                </a:lnTo>
                <a:lnTo>
                  <a:pt x="10348" y="5130"/>
                </a:lnTo>
                <a:lnTo>
                  <a:pt x="10344" y="5134"/>
                </a:lnTo>
                <a:lnTo>
                  <a:pt x="10342" y="5138"/>
                </a:lnTo>
                <a:lnTo>
                  <a:pt x="10344" y="5140"/>
                </a:lnTo>
                <a:lnTo>
                  <a:pt x="10346" y="5142"/>
                </a:lnTo>
                <a:lnTo>
                  <a:pt x="10354" y="5142"/>
                </a:lnTo>
                <a:lnTo>
                  <a:pt x="10362" y="5142"/>
                </a:lnTo>
                <a:lnTo>
                  <a:pt x="10366" y="5144"/>
                </a:lnTo>
                <a:lnTo>
                  <a:pt x="10368" y="5146"/>
                </a:lnTo>
                <a:lnTo>
                  <a:pt x="10372" y="5158"/>
                </a:lnTo>
                <a:lnTo>
                  <a:pt x="10376" y="5170"/>
                </a:lnTo>
                <a:lnTo>
                  <a:pt x="10378" y="5176"/>
                </a:lnTo>
                <a:lnTo>
                  <a:pt x="10384" y="5178"/>
                </a:lnTo>
                <a:lnTo>
                  <a:pt x="10392" y="5182"/>
                </a:lnTo>
                <a:lnTo>
                  <a:pt x="10396" y="5186"/>
                </a:lnTo>
                <a:lnTo>
                  <a:pt x="10400" y="5190"/>
                </a:lnTo>
                <a:lnTo>
                  <a:pt x="10404" y="5190"/>
                </a:lnTo>
                <a:lnTo>
                  <a:pt x="10406" y="5188"/>
                </a:lnTo>
                <a:lnTo>
                  <a:pt x="10408" y="5186"/>
                </a:lnTo>
                <a:lnTo>
                  <a:pt x="10406" y="5182"/>
                </a:lnTo>
                <a:lnTo>
                  <a:pt x="10404" y="5178"/>
                </a:lnTo>
                <a:lnTo>
                  <a:pt x="10404" y="5176"/>
                </a:lnTo>
                <a:lnTo>
                  <a:pt x="10404" y="5172"/>
                </a:lnTo>
                <a:lnTo>
                  <a:pt x="10406" y="5168"/>
                </a:lnTo>
                <a:lnTo>
                  <a:pt x="10406" y="5166"/>
                </a:lnTo>
                <a:lnTo>
                  <a:pt x="10402" y="5162"/>
                </a:lnTo>
                <a:lnTo>
                  <a:pt x="10396" y="5160"/>
                </a:lnTo>
                <a:close/>
                <a:moveTo>
                  <a:pt x="10682" y="5374"/>
                </a:moveTo>
                <a:lnTo>
                  <a:pt x="10682" y="5374"/>
                </a:lnTo>
                <a:lnTo>
                  <a:pt x="10670" y="5374"/>
                </a:lnTo>
                <a:lnTo>
                  <a:pt x="10658" y="5376"/>
                </a:lnTo>
                <a:lnTo>
                  <a:pt x="10652" y="5378"/>
                </a:lnTo>
                <a:lnTo>
                  <a:pt x="10652" y="5382"/>
                </a:lnTo>
                <a:lnTo>
                  <a:pt x="10652" y="5384"/>
                </a:lnTo>
                <a:lnTo>
                  <a:pt x="10656" y="5388"/>
                </a:lnTo>
                <a:lnTo>
                  <a:pt x="10668" y="5390"/>
                </a:lnTo>
                <a:lnTo>
                  <a:pt x="10680" y="5392"/>
                </a:lnTo>
                <a:lnTo>
                  <a:pt x="10684" y="5390"/>
                </a:lnTo>
                <a:lnTo>
                  <a:pt x="10686" y="5390"/>
                </a:lnTo>
                <a:lnTo>
                  <a:pt x="10692" y="5386"/>
                </a:lnTo>
                <a:lnTo>
                  <a:pt x="10700" y="5382"/>
                </a:lnTo>
                <a:lnTo>
                  <a:pt x="10706" y="5378"/>
                </a:lnTo>
                <a:lnTo>
                  <a:pt x="10706" y="5376"/>
                </a:lnTo>
                <a:lnTo>
                  <a:pt x="10702" y="5374"/>
                </a:lnTo>
                <a:lnTo>
                  <a:pt x="10700" y="5374"/>
                </a:lnTo>
                <a:lnTo>
                  <a:pt x="10694" y="5374"/>
                </a:lnTo>
                <a:lnTo>
                  <a:pt x="10682" y="5374"/>
                </a:lnTo>
                <a:close/>
                <a:moveTo>
                  <a:pt x="11090" y="5452"/>
                </a:moveTo>
                <a:lnTo>
                  <a:pt x="11090" y="5452"/>
                </a:lnTo>
                <a:lnTo>
                  <a:pt x="11092" y="5450"/>
                </a:lnTo>
                <a:lnTo>
                  <a:pt x="11094" y="5448"/>
                </a:lnTo>
                <a:lnTo>
                  <a:pt x="11096" y="5446"/>
                </a:lnTo>
                <a:lnTo>
                  <a:pt x="11098" y="5444"/>
                </a:lnTo>
                <a:lnTo>
                  <a:pt x="11102" y="5440"/>
                </a:lnTo>
                <a:lnTo>
                  <a:pt x="11100" y="5440"/>
                </a:lnTo>
                <a:lnTo>
                  <a:pt x="11096" y="5438"/>
                </a:lnTo>
                <a:lnTo>
                  <a:pt x="11086" y="5440"/>
                </a:lnTo>
                <a:lnTo>
                  <a:pt x="11082" y="5442"/>
                </a:lnTo>
                <a:lnTo>
                  <a:pt x="11082" y="5444"/>
                </a:lnTo>
                <a:lnTo>
                  <a:pt x="11082" y="5446"/>
                </a:lnTo>
                <a:lnTo>
                  <a:pt x="11082" y="5448"/>
                </a:lnTo>
                <a:lnTo>
                  <a:pt x="11076" y="5452"/>
                </a:lnTo>
                <a:lnTo>
                  <a:pt x="11074" y="5454"/>
                </a:lnTo>
                <a:lnTo>
                  <a:pt x="11074" y="5456"/>
                </a:lnTo>
                <a:lnTo>
                  <a:pt x="11086" y="5456"/>
                </a:lnTo>
                <a:lnTo>
                  <a:pt x="11088" y="5456"/>
                </a:lnTo>
                <a:lnTo>
                  <a:pt x="11088" y="5454"/>
                </a:lnTo>
                <a:lnTo>
                  <a:pt x="11088" y="5452"/>
                </a:lnTo>
                <a:lnTo>
                  <a:pt x="11090" y="5452"/>
                </a:lnTo>
                <a:close/>
                <a:moveTo>
                  <a:pt x="11138" y="5436"/>
                </a:moveTo>
                <a:lnTo>
                  <a:pt x="11138" y="5436"/>
                </a:lnTo>
                <a:lnTo>
                  <a:pt x="11130" y="5436"/>
                </a:lnTo>
                <a:lnTo>
                  <a:pt x="11126" y="5434"/>
                </a:lnTo>
                <a:lnTo>
                  <a:pt x="11124" y="5434"/>
                </a:lnTo>
                <a:lnTo>
                  <a:pt x="11122" y="5434"/>
                </a:lnTo>
                <a:lnTo>
                  <a:pt x="11120" y="5442"/>
                </a:lnTo>
                <a:lnTo>
                  <a:pt x="11118" y="5448"/>
                </a:lnTo>
                <a:lnTo>
                  <a:pt x="11120" y="5450"/>
                </a:lnTo>
                <a:lnTo>
                  <a:pt x="11122" y="5450"/>
                </a:lnTo>
                <a:lnTo>
                  <a:pt x="11132" y="5448"/>
                </a:lnTo>
                <a:lnTo>
                  <a:pt x="11146" y="5446"/>
                </a:lnTo>
                <a:lnTo>
                  <a:pt x="11148" y="5446"/>
                </a:lnTo>
                <a:lnTo>
                  <a:pt x="11152" y="5444"/>
                </a:lnTo>
                <a:lnTo>
                  <a:pt x="11152" y="5442"/>
                </a:lnTo>
                <a:lnTo>
                  <a:pt x="11152" y="5440"/>
                </a:lnTo>
                <a:lnTo>
                  <a:pt x="11146" y="5438"/>
                </a:lnTo>
                <a:lnTo>
                  <a:pt x="11142" y="5436"/>
                </a:lnTo>
                <a:lnTo>
                  <a:pt x="11138" y="5436"/>
                </a:lnTo>
                <a:close/>
                <a:moveTo>
                  <a:pt x="10372" y="5326"/>
                </a:moveTo>
                <a:lnTo>
                  <a:pt x="10372" y="5326"/>
                </a:lnTo>
                <a:lnTo>
                  <a:pt x="10374" y="5322"/>
                </a:lnTo>
                <a:lnTo>
                  <a:pt x="10374" y="5318"/>
                </a:lnTo>
                <a:lnTo>
                  <a:pt x="10376" y="5306"/>
                </a:lnTo>
                <a:lnTo>
                  <a:pt x="10376" y="5292"/>
                </a:lnTo>
                <a:lnTo>
                  <a:pt x="10376" y="5274"/>
                </a:lnTo>
                <a:lnTo>
                  <a:pt x="10376" y="5262"/>
                </a:lnTo>
                <a:lnTo>
                  <a:pt x="10374" y="5254"/>
                </a:lnTo>
                <a:lnTo>
                  <a:pt x="10374" y="5250"/>
                </a:lnTo>
                <a:lnTo>
                  <a:pt x="10376" y="5238"/>
                </a:lnTo>
                <a:lnTo>
                  <a:pt x="10376" y="5226"/>
                </a:lnTo>
                <a:lnTo>
                  <a:pt x="10376" y="5220"/>
                </a:lnTo>
                <a:lnTo>
                  <a:pt x="10376" y="5214"/>
                </a:lnTo>
                <a:lnTo>
                  <a:pt x="10380" y="5204"/>
                </a:lnTo>
                <a:lnTo>
                  <a:pt x="10382" y="5198"/>
                </a:lnTo>
                <a:lnTo>
                  <a:pt x="10384" y="5192"/>
                </a:lnTo>
                <a:lnTo>
                  <a:pt x="10382" y="5190"/>
                </a:lnTo>
                <a:lnTo>
                  <a:pt x="10380" y="5186"/>
                </a:lnTo>
                <a:lnTo>
                  <a:pt x="10374" y="5180"/>
                </a:lnTo>
                <a:lnTo>
                  <a:pt x="10372" y="5176"/>
                </a:lnTo>
                <a:lnTo>
                  <a:pt x="10368" y="5172"/>
                </a:lnTo>
                <a:lnTo>
                  <a:pt x="10364" y="5160"/>
                </a:lnTo>
                <a:lnTo>
                  <a:pt x="10360" y="5154"/>
                </a:lnTo>
                <a:lnTo>
                  <a:pt x="10356" y="5154"/>
                </a:lnTo>
                <a:lnTo>
                  <a:pt x="10348" y="5156"/>
                </a:lnTo>
                <a:lnTo>
                  <a:pt x="10344" y="5158"/>
                </a:lnTo>
                <a:lnTo>
                  <a:pt x="10342" y="5156"/>
                </a:lnTo>
                <a:lnTo>
                  <a:pt x="10338" y="5154"/>
                </a:lnTo>
                <a:lnTo>
                  <a:pt x="10334" y="5158"/>
                </a:lnTo>
                <a:lnTo>
                  <a:pt x="10330" y="5162"/>
                </a:lnTo>
                <a:lnTo>
                  <a:pt x="10328" y="5162"/>
                </a:lnTo>
                <a:lnTo>
                  <a:pt x="10330" y="5154"/>
                </a:lnTo>
                <a:lnTo>
                  <a:pt x="10334" y="5144"/>
                </a:lnTo>
                <a:lnTo>
                  <a:pt x="10334" y="5142"/>
                </a:lnTo>
                <a:lnTo>
                  <a:pt x="10330" y="5140"/>
                </a:lnTo>
                <a:lnTo>
                  <a:pt x="10326" y="5136"/>
                </a:lnTo>
                <a:lnTo>
                  <a:pt x="10324" y="5130"/>
                </a:lnTo>
                <a:lnTo>
                  <a:pt x="10320" y="5114"/>
                </a:lnTo>
                <a:lnTo>
                  <a:pt x="10316" y="5104"/>
                </a:lnTo>
                <a:lnTo>
                  <a:pt x="10314" y="5096"/>
                </a:lnTo>
                <a:lnTo>
                  <a:pt x="10310" y="5092"/>
                </a:lnTo>
                <a:lnTo>
                  <a:pt x="10308" y="5090"/>
                </a:lnTo>
                <a:lnTo>
                  <a:pt x="10304" y="5090"/>
                </a:lnTo>
                <a:lnTo>
                  <a:pt x="10298" y="5090"/>
                </a:lnTo>
                <a:lnTo>
                  <a:pt x="10292" y="5088"/>
                </a:lnTo>
                <a:lnTo>
                  <a:pt x="10282" y="5084"/>
                </a:lnTo>
                <a:lnTo>
                  <a:pt x="10278" y="5080"/>
                </a:lnTo>
                <a:lnTo>
                  <a:pt x="10276" y="5076"/>
                </a:lnTo>
                <a:lnTo>
                  <a:pt x="10276" y="5072"/>
                </a:lnTo>
                <a:lnTo>
                  <a:pt x="10278" y="5066"/>
                </a:lnTo>
                <a:lnTo>
                  <a:pt x="10280" y="5062"/>
                </a:lnTo>
                <a:lnTo>
                  <a:pt x="10280" y="5058"/>
                </a:lnTo>
                <a:lnTo>
                  <a:pt x="10278" y="5052"/>
                </a:lnTo>
                <a:lnTo>
                  <a:pt x="10278" y="5048"/>
                </a:lnTo>
                <a:lnTo>
                  <a:pt x="10280" y="5046"/>
                </a:lnTo>
                <a:lnTo>
                  <a:pt x="10284" y="5044"/>
                </a:lnTo>
                <a:lnTo>
                  <a:pt x="10288" y="5040"/>
                </a:lnTo>
                <a:lnTo>
                  <a:pt x="10290" y="5036"/>
                </a:lnTo>
                <a:lnTo>
                  <a:pt x="10290" y="5030"/>
                </a:lnTo>
                <a:lnTo>
                  <a:pt x="10288" y="5026"/>
                </a:lnTo>
                <a:lnTo>
                  <a:pt x="10284" y="5020"/>
                </a:lnTo>
                <a:lnTo>
                  <a:pt x="10280" y="5018"/>
                </a:lnTo>
                <a:lnTo>
                  <a:pt x="10274" y="5016"/>
                </a:lnTo>
                <a:lnTo>
                  <a:pt x="10270" y="5018"/>
                </a:lnTo>
                <a:lnTo>
                  <a:pt x="10264" y="5020"/>
                </a:lnTo>
                <a:lnTo>
                  <a:pt x="10262" y="5018"/>
                </a:lnTo>
                <a:lnTo>
                  <a:pt x="10262" y="5014"/>
                </a:lnTo>
                <a:lnTo>
                  <a:pt x="10260" y="5010"/>
                </a:lnTo>
                <a:lnTo>
                  <a:pt x="10258" y="5008"/>
                </a:lnTo>
                <a:lnTo>
                  <a:pt x="10252" y="5004"/>
                </a:lnTo>
                <a:lnTo>
                  <a:pt x="10244" y="5004"/>
                </a:lnTo>
                <a:lnTo>
                  <a:pt x="10236" y="5000"/>
                </a:lnTo>
                <a:lnTo>
                  <a:pt x="10232" y="4996"/>
                </a:lnTo>
                <a:lnTo>
                  <a:pt x="10228" y="4990"/>
                </a:lnTo>
                <a:lnTo>
                  <a:pt x="10226" y="4982"/>
                </a:lnTo>
                <a:lnTo>
                  <a:pt x="10224" y="4974"/>
                </a:lnTo>
                <a:lnTo>
                  <a:pt x="10220" y="4968"/>
                </a:lnTo>
                <a:lnTo>
                  <a:pt x="10212" y="4962"/>
                </a:lnTo>
                <a:lnTo>
                  <a:pt x="10202" y="4958"/>
                </a:lnTo>
                <a:lnTo>
                  <a:pt x="10196" y="4956"/>
                </a:lnTo>
                <a:lnTo>
                  <a:pt x="10194" y="4952"/>
                </a:lnTo>
                <a:lnTo>
                  <a:pt x="10190" y="4948"/>
                </a:lnTo>
                <a:lnTo>
                  <a:pt x="10190" y="4940"/>
                </a:lnTo>
                <a:lnTo>
                  <a:pt x="10188" y="4936"/>
                </a:lnTo>
                <a:lnTo>
                  <a:pt x="10184" y="4932"/>
                </a:lnTo>
                <a:lnTo>
                  <a:pt x="10176" y="4928"/>
                </a:lnTo>
                <a:lnTo>
                  <a:pt x="10172" y="4926"/>
                </a:lnTo>
                <a:lnTo>
                  <a:pt x="10172" y="4928"/>
                </a:lnTo>
                <a:lnTo>
                  <a:pt x="10170" y="4932"/>
                </a:lnTo>
                <a:lnTo>
                  <a:pt x="10172" y="4940"/>
                </a:lnTo>
                <a:lnTo>
                  <a:pt x="10170" y="4940"/>
                </a:lnTo>
                <a:lnTo>
                  <a:pt x="10168" y="4938"/>
                </a:lnTo>
                <a:lnTo>
                  <a:pt x="10162" y="4934"/>
                </a:lnTo>
                <a:lnTo>
                  <a:pt x="10158" y="4932"/>
                </a:lnTo>
                <a:lnTo>
                  <a:pt x="10154" y="4928"/>
                </a:lnTo>
                <a:lnTo>
                  <a:pt x="10150" y="4918"/>
                </a:lnTo>
                <a:lnTo>
                  <a:pt x="10146" y="4908"/>
                </a:lnTo>
                <a:lnTo>
                  <a:pt x="10144" y="4908"/>
                </a:lnTo>
                <a:lnTo>
                  <a:pt x="10140" y="4908"/>
                </a:lnTo>
                <a:lnTo>
                  <a:pt x="10138" y="4902"/>
                </a:lnTo>
                <a:lnTo>
                  <a:pt x="10132" y="4892"/>
                </a:lnTo>
                <a:lnTo>
                  <a:pt x="10122" y="4880"/>
                </a:lnTo>
                <a:lnTo>
                  <a:pt x="10110" y="4868"/>
                </a:lnTo>
                <a:lnTo>
                  <a:pt x="10104" y="4866"/>
                </a:lnTo>
                <a:lnTo>
                  <a:pt x="10098" y="4862"/>
                </a:lnTo>
                <a:lnTo>
                  <a:pt x="10092" y="4860"/>
                </a:lnTo>
                <a:lnTo>
                  <a:pt x="10088" y="4858"/>
                </a:lnTo>
                <a:lnTo>
                  <a:pt x="10084" y="4852"/>
                </a:lnTo>
                <a:lnTo>
                  <a:pt x="10080" y="4844"/>
                </a:lnTo>
                <a:lnTo>
                  <a:pt x="10078" y="4842"/>
                </a:lnTo>
                <a:lnTo>
                  <a:pt x="10074" y="4842"/>
                </a:lnTo>
                <a:lnTo>
                  <a:pt x="10070" y="4840"/>
                </a:lnTo>
                <a:lnTo>
                  <a:pt x="10068" y="4838"/>
                </a:lnTo>
                <a:lnTo>
                  <a:pt x="10068" y="4832"/>
                </a:lnTo>
                <a:lnTo>
                  <a:pt x="10068" y="4826"/>
                </a:lnTo>
                <a:lnTo>
                  <a:pt x="10066" y="4824"/>
                </a:lnTo>
                <a:lnTo>
                  <a:pt x="10062" y="4822"/>
                </a:lnTo>
                <a:lnTo>
                  <a:pt x="10058" y="4820"/>
                </a:lnTo>
                <a:lnTo>
                  <a:pt x="10056" y="4818"/>
                </a:lnTo>
                <a:lnTo>
                  <a:pt x="10056" y="4812"/>
                </a:lnTo>
                <a:lnTo>
                  <a:pt x="10054" y="4804"/>
                </a:lnTo>
                <a:lnTo>
                  <a:pt x="10050" y="4798"/>
                </a:lnTo>
                <a:lnTo>
                  <a:pt x="10046" y="4790"/>
                </a:lnTo>
                <a:lnTo>
                  <a:pt x="10038" y="4782"/>
                </a:lnTo>
                <a:lnTo>
                  <a:pt x="10036" y="4782"/>
                </a:lnTo>
                <a:lnTo>
                  <a:pt x="10034" y="4782"/>
                </a:lnTo>
                <a:lnTo>
                  <a:pt x="10030" y="4786"/>
                </a:lnTo>
                <a:lnTo>
                  <a:pt x="10028" y="4786"/>
                </a:lnTo>
                <a:lnTo>
                  <a:pt x="10024" y="4784"/>
                </a:lnTo>
                <a:lnTo>
                  <a:pt x="10020" y="4780"/>
                </a:lnTo>
                <a:lnTo>
                  <a:pt x="10016" y="4780"/>
                </a:lnTo>
                <a:lnTo>
                  <a:pt x="10010" y="4782"/>
                </a:lnTo>
                <a:lnTo>
                  <a:pt x="10002" y="4784"/>
                </a:lnTo>
                <a:lnTo>
                  <a:pt x="9996" y="4784"/>
                </a:lnTo>
                <a:lnTo>
                  <a:pt x="9988" y="4784"/>
                </a:lnTo>
                <a:lnTo>
                  <a:pt x="9976" y="4780"/>
                </a:lnTo>
                <a:lnTo>
                  <a:pt x="9974" y="4778"/>
                </a:lnTo>
                <a:lnTo>
                  <a:pt x="9972" y="4776"/>
                </a:lnTo>
                <a:lnTo>
                  <a:pt x="9970" y="4770"/>
                </a:lnTo>
                <a:lnTo>
                  <a:pt x="9966" y="4768"/>
                </a:lnTo>
                <a:lnTo>
                  <a:pt x="9960" y="4764"/>
                </a:lnTo>
                <a:lnTo>
                  <a:pt x="9952" y="4764"/>
                </a:lnTo>
                <a:lnTo>
                  <a:pt x="9946" y="4764"/>
                </a:lnTo>
                <a:lnTo>
                  <a:pt x="9944" y="4770"/>
                </a:lnTo>
                <a:lnTo>
                  <a:pt x="9944" y="4776"/>
                </a:lnTo>
                <a:lnTo>
                  <a:pt x="9946" y="4784"/>
                </a:lnTo>
                <a:lnTo>
                  <a:pt x="9950" y="4792"/>
                </a:lnTo>
                <a:lnTo>
                  <a:pt x="9958" y="4812"/>
                </a:lnTo>
                <a:lnTo>
                  <a:pt x="9968" y="4826"/>
                </a:lnTo>
                <a:lnTo>
                  <a:pt x="9976" y="4834"/>
                </a:lnTo>
                <a:lnTo>
                  <a:pt x="9982" y="4840"/>
                </a:lnTo>
                <a:lnTo>
                  <a:pt x="9990" y="4850"/>
                </a:lnTo>
                <a:lnTo>
                  <a:pt x="9994" y="4854"/>
                </a:lnTo>
                <a:lnTo>
                  <a:pt x="9996" y="4856"/>
                </a:lnTo>
                <a:lnTo>
                  <a:pt x="10002" y="4856"/>
                </a:lnTo>
                <a:lnTo>
                  <a:pt x="10004" y="4858"/>
                </a:lnTo>
                <a:lnTo>
                  <a:pt x="10008" y="4860"/>
                </a:lnTo>
                <a:lnTo>
                  <a:pt x="10012" y="4864"/>
                </a:lnTo>
                <a:lnTo>
                  <a:pt x="10018" y="4872"/>
                </a:lnTo>
                <a:lnTo>
                  <a:pt x="10026" y="4884"/>
                </a:lnTo>
                <a:lnTo>
                  <a:pt x="10026" y="4890"/>
                </a:lnTo>
                <a:lnTo>
                  <a:pt x="10028" y="4892"/>
                </a:lnTo>
                <a:lnTo>
                  <a:pt x="10034" y="4896"/>
                </a:lnTo>
                <a:lnTo>
                  <a:pt x="10040" y="4902"/>
                </a:lnTo>
                <a:lnTo>
                  <a:pt x="10042" y="4906"/>
                </a:lnTo>
                <a:lnTo>
                  <a:pt x="10042" y="4914"/>
                </a:lnTo>
                <a:lnTo>
                  <a:pt x="10044" y="4920"/>
                </a:lnTo>
                <a:lnTo>
                  <a:pt x="10046" y="4924"/>
                </a:lnTo>
                <a:lnTo>
                  <a:pt x="10050" y="4930"/>
                </a:lnTo>
                <a:lnTo>
                  <a:pt x="10060" y="4934"/>
                </a:lnTo>
                <a:lnTo>
                  <a:pt x="10070" y="4940"/>
                </a:lnTo>
                <a:lnTo>
                  <a:pt x="10080" y="4948"/>
                </a:lnTo>
                <a:lnTo>
                  <a:pt x="10086" y="4954"/>
                </a:lnTo>
                <a:lnTo>
                  <a:pt x="10088" y="4958"/>
                </a:lnTo>
                <a:lnTo>
                  <a:pt x="10088" y="4962"/>
                </a:lnTo>
                <a:lnTo>
                  <a:pt x="10086" y="4966"/>
                </a:lnTo>
                <a:lnTo>
                  <a:pt x="10088" y="4970"/>
                </a:lnTo>
                <a:lnTo>
                  <a:pt x="10096" y="4994"/>
                </a:lnTo>
                <a:lnTo>
                  <a:pt x="10102" y="5020"/>
                </a:lnTo>
                <a:lnTo>
                  <a:pt x="10106" y="5026"/>
                </a:lnTo>
                <a:lnTo>
                  <a:pt x="10116" y="5032"/>
                </a:lnTo>
                <a:lnTo>
                  <a:pt x="10122" y="5038"/>
                </a:lnTo>
                <a:lnTo>
                  <a:pt x="10124" y="5044"/>
                </a:lnTo>
                <a:lnTo>
                  <a:pt x="10130" y="5054"/>
                </a:lnTo>
                <a:lnTo>
                  <a:pt x="10144" y="5070"/>
                </a:lnTo>
                <a:lnTo>
                  <a:pt x="10148" y="5076"/>
                </a:lnTo>
                <a:lnTo>
                  <a:pt x="10152" y="5080"/>
                </a:lnTo>
                <a:lnTo>
                  <a:pt x="10152" y="5086"/>
                </a:lnTo>
                <a:lnTo>
                  <a:pt x="10152" y="5090"/>
                </a:lnTo>
                <a:lnTo>
                  <a:pt x="10150" y="5096"/>
                </a:lnTo>
                <a:lnTo>
                  <a:pt x="10152" y="5100"/>
                </a:lnTo>
                <a:lnTo>
                  <a:pt x="10154" y="5104"/>
                </a:lnTo>
                <a:lnTo>
                  <a:pt x="10162" y="5112"/>
                </a:lnTo>
                <a:lnTo>
                  <a:pt x="10166" y="5122"/>
                </a:lnTo>
                <a:lnTo>
                  <a:pt x="10170" y="5132"/>
                </a:lnTo>
                <a:lnTo>
                  <a:pt x="10174" y="5146"/>
                </a:lnTo>
                <a:lnTo>
                  <a:pt x="10178" y="5160"/>
                </a:lnTo>
                <a:lnTo>
                  <a:pt x="10188" y="5176"/>
                </a:lnTo>
                <a:lnTo>
                  <a:pt x="10200" y="5192"/>
                </a:lnTo>
                <a:lnTo>
                  <a:pt x="10214" y="5206"/>
                </a:lnTo>
                <a:lnTo>
                  <a:pt x="10224" y="5218"/>
                </a:lnTo>
                <a:lnTo>
                  <a:pt x="10230" y="5226"/>
                </a:lnTo>
                <a:lnTo>
                  <a:pt x="10238" y="5238"/>
                </a:lnTo>
                <a:lnTo>
                  <a:pt x="10252" y="5254"/>
                </a:lnTo>
                <a:lnTo>
                  <a:pt x="10270" y="5272"/>
                </a:lnTo>
                <a:lnTo>
                  <a:pt x="10282" y="5284"/>
                </a:lnTo>
                <a:lnTo>
                  <a:pt x="10294" y="5294"/>
                </a:lnTo>
                <a:lnTo>
                  <a:pt x="10304" y="5306"/>
                </a:lnTo>
                <a:lnTo>
                  <a:pt x="10314" y="5322"/>
                </a:lnTo>
                <a:lnTo>
                  <a:pt x="10322" y="5332"/>
                </a:lnTo>
                <a:lnTo>
                  <a:pt x="10326" y="5334"/>
                </a:lnTo>
                <a:lnTo>
                  <a:pt x="10326" y="5332"/>
                </a:lnTo>
                <a:lnTo>
                  <a:pt x="10324" y="5320"/>
                </a:lnTo>
                <a:lnTo>
                  <a:pt x="10322" y="5312"/>
                </a:lnTo>
                <a:lnTo>
                  <a:pt x="10322" y="5310"/>
                </a:lnTo>
                <a:lnTo>
                  <a:pt x="10326" y="5310"/>
                </a:lnTo>
                <a:lnTo>
                  <a:pt x="10332" y="5314"/>
                </a:lnTo>
                <a:lnTo>
                  <a:pt x="10338" y="5316"/>
                </a:lnTo>
                <a:lnTo>
                  <a:pt x="10342" y="5318"/>
                </a:lnTo>
                <a:lnTo>
                  <a:pt x="10348" y="5318"/>
                </a:lnTo>
                <a:lnTo>
                  <a:pt x="10348" y="5312"/>
                </a:lnTo>
                <a:lnTo>
                  <a:pt x="10350" y="5308"/>
                </a:lnTo>
                <a:lnTo>
                  <a:pt x="10352" y="5308"/>
                </a:lnTo>
                <a:lnTo>
                  <a:pt x="10358" y="5314"/>
                </a:lnTo>
                <a:lnTo>
                  <a:pt x="10366" y="5324"/>
                </a:lnTo>
                <a:lnTo>
                  <a:pt x="10368" y="5328"/>
                </a:lnTo>
                <a:lnTo>
                  <a:pt x="10372" y="5326"/>
                </a:lnTo>
                <a:close/>
                <a:moveTo>
                  <a:pt x="10716" y="5464"/>
                </a:moveTo>
                <a:lnTo>
                  <a:pt x="10716" y="5464"/>
                </a:lnTo>
                <a:lnTo>
                  <a:pt x="10722" y="5468"/>
                </a:lnTo>
                <a:lnTo>
                  <a:pt x="10724" y="5466"/>
                </a:lnTo>
                <a:lnTo>
                  <a:pt x="10726" y="5466"/>
                </a:lnTo>
                <a:lnTo>
                  <a:pt x="10724" y="5462"/>
                </a:lnTo>
                <a:lnTo>
                  <a:pt x="10722" y="5458"/>
                </a:lnTo>
                <a:lnTo>
                  <a:pt x="10718" y="5454"/>
                </a:lnTo>
                <a:lnTo>
                  <a:pt x="10716" y="5448"/>
                </a:lnTo>
                <a:lnTo>
                  <a:pt x="10720" y="5432"/>
                </a:lnTo>
                <a:lnTo>
                  <a:pt x="10720" y="5426"/>
                </a:lnTo>
                <a:lnTo>
                  <a:pt x="10720" y="5418"/>
                </a:lnTo>
                <a:lnTo>
                  <a:pt x="10716" y="5414"/>
                </a:lnTo>
                <a:lnTo>
                  <a:pt x="10708" y="5410"/>
                </a:lnTo>
                <a:lnTo>
                  <a:pt x="10696" y="5412"/>
                </a:lnTo>
                <a:lnTo>
                  <a:pt x="10686" y="5414"/>
                </a:lnTo>
                <a:lnTo>
                  <a:pt x="10676" y="5416"/>
                </a:lnTo>
                <a:lnTo>
                  <a:pt x="10668" y="5414"/>
                </a:lnTo>
                <a:lnTo>
                  <a:pt x="10660" y="5412"/>
                </a:lnTo>
                <a:lnTo>
                  <a:pt x="10650" y="5406"/>
                </a:lnTo>
                <a:lnTo>
                  <a:pt x="10650" y="5404"/>
                </a:lnTo>
                <a:lnTo>
                  <a:pt x="10650" y="5402"/>
                </a:lnTo>
                <a:lnTo>
                  <a:pt x="10652" y="5396"/>
                </a:lnTo>
                <a:lnTo>
                  <a:pt x="10650" y="5390"/>
                </a:lnTo>
                <a:lnTo>
                  <a:pt x="10648" y="5382"/>
                </a:lnTo>
                <a:lnTo>
                  <a:pt x="10644" y="5376"/>
                </a:lnTo>
                <a:lnTo>
                  <a:pt x="10640" y="5374"/>
                </a:lnTo>
                <a:lnTo>
                  <a:pt x="10636" y="5374"/>
                </a:lnTo>
                <a:lnTo>
                  <a:pt x="10634" y="5374"/>
                </a:lnTo>
                <a:lnTo>
                  <a:pt x="10630" y="5378"/>
                </a:lnTo>
                <a:lnTo>
                  <a:pt x="10626" y="5376"/>
                </a:lnTo>
                <a:lnTo>
                  <a:pt x="10624" y="5374"/>
                </a:lnTo>
                <a:lnTo>
                  <a:pt x="10618" y="5368"/>
                </a:lnTo>
                <a:lnTo>
                  <a:pt x="10616" y="5368"/>
                </a:lnTo>
                <a:lnTo>
                  <a:pt x="10614" y="5370"/>
                </a:lnTo>
                <a:lnTo>
                  <a:pt x="10608" y="5366"/>
                </a:lnTo>
                <a:lnTo>
                  <a:pt x="10606" y="5362"/>
                </a:lnTo>
                <a:lnTo>
                  <a:pt x="10602" y="5362"/>
                </a:lnTo>
                <a:lnTo>
                  <a:pt x="10596" y="5364"/>
                </a:lnTo>
                <a:lnTo>
                  <a:pt x="10592" y="5366"/>
                </a:lnTo>
                <a:lnTo>
                  <a:pt x="10590" y="5366"/>
                </a:lnTo>
                <a:lnTo>
                  <a:pt x="10588" y="5362"/>
                </a:lnTo>
                <a:lnTo>
                  <a:pt x="10582" y="5352"/>
                </a:lnTo>
                <a:lnTo>
                  <a:pt x="10580" y="5350"/>
                </a:lnTo>
                <a:lnTo>
                  <a:pt x="10578" y="5348"/>
                </a:lnTo>
                <a:lnTo>
                  <a:pt x="10574" y="5348"/>
                </a:lnTo>
                <a:lnTo>
                  <a:pt x="10572" y="5352"/>
                </a:lnTo>
                <a:lnTo>
                  <a:pt x="10568" y="5356"/>
                </a:lnTo>
                <a:lnTo>
                  <a:pt x="10564" y="5364"/>
                </a:lnTo>
                <a:lnTo>
                  <a:pt x="10560" y="5378"/>
                </a:lnTo>
                <a:lnTo>
                  <a:pt x="10556" y="5380"/>
                </a:lnTo>
                <a:lnTo>
                  <a:pt x="10554" y="5380"/>
                </a:lnTo>
                <a:lnTo>
                  <a:pt x="10548" y="5376"/>
                </a:lnTo>
                <a:lnTo>
                  <a:pt x="10542" y="5374"/>
                </a:lnTo>
                <a:lnTo>
                  <a:pt x="10536" y="5372"/>
                </a:lnTo>
                <a:lnTo>
                  <a:pt x="10524" y="5372"/>
                </a:lnTo>
                <a:lnTo>
                  <a:pt x="10518" y="5374"/>
                </a:lnTo>
                <a:lnTo>
                  <a:pt x="10514" y="5374"/>
                </a:lnTo>
                <a:lnTo>
                  <a:pt x="10508" y="5374"/>
                </a:lnTo>
                <a:lnTo>
                  <a:pt x="10500" y="5372"/>
                </a:lnTo>
                <a:lnTo>
                  <a:pt x="10492" y="5372"/>
                </a:lnTo>
                <a:lnTo>
                  <a:pt x="10488" y="5370"/>
                </a:lnTo>
                <a:lnTo>
                  <a:pt x="10484" y="5366"/>
                </a:lnTo>
                <a:lnTo>
                  <a:pt x="10482" y="5362"/>
                </a:lnTo>
                <a:lnTo>
                  <a:pt x="10478" y="5352"/>
                </a:lnTo>
                <a:lnTo>
                  <a:pt x="10476" y="5346"/>
                </a:lnTo>
                <a:lnTo>
                  <a:pt x="10474" y="5344"/>
                </a:lnTo>
                <a:lnTo>
                  <a:pt x="10472" y="5342"/>
                </a:lnTo>
                <a:lnTo>
                  <a:pt x="10470" y="5342"/>
                </a:lnTo>
                <a:lnTo>
                  <a:pt x="10464" y="5344"/>
                </a:lnTo>
                <a:lnTo>
                  <a:pt x="10462" y="5344"/>
                </a:lnTo>
                <a:lnTo>
                  <a:pt x="10458" y="5342"/>
                </a:lnTo>
                <a:lnTo>
                  <a:pt x="10454" y="5340"/>
                </a:lnTo>
                <a:lnTo>
                  <a:pt x="10452" y="5338"/>
                </a:lnTo>
                <a:lnTo>
                  <a:pt x="10446" y="5340"/>
                </a:lnTo>
                <a:lnTo>
                  <a:pt x="10442" y="5340"/>
                </a:lnTo>
                <a:lnTo>
                  <a:pt x="10440" y="5340"/>
                </a:lnTo>
                <a:lnTo>
                  <a:pt x="10438" y="5336"/>
                </a:lnTo>
                <a:lnTo>
                  <a:pt x="10432" y="5330"/>
                </a:lnTo>
                <a:lnTo>
                  <a:pt x="10426" y="5326"/>
                </a:lnTo>
                <a:lnTo>
                  <a:pt x="10420" y="5326"/>
                </a:lnTo>
                <a:lnTo>
                  <a:pt x="10418" y="5328"/>
                </a:lnTo>
                <a:lnTo>
                  <a:pt x="10418" y="5332"/>
                </a:lnTo>
                <a:lnTo>
                  <a:pt x="10416" y="5334"/>
                </a:lnTo>
                <a:lnTo>
                  <a:pt x="10414" y="5336"/>
                </a:lnTo>
                <a:lnTo>
                  <a:pt x="10410" y="5334"/>
                </a:lnTo>
                <a:lnTo>
                  <a:pt x="10400" y="5332"/>
                </a:lnTo>
                <a:lnTo>
                  <a:pt x="10386" y="5328"/>
                </a:lnTo>
                <a:lnTo>
                  <a:pt x="10380" y="5328"/>
                </a:lnTo>
                <a:lnTo>
                  <a:pt x="10376" y="5330"/>
                </a:lnTo>
                <a:lnTo>
                  <a:pt x="10374" y="5334"/>
                </a:lnTo>
                <a:lnTo>
                  <a:pt x="10372" y="5340"/>
                </a:lnTo>
                <a:lnTo>
                  <a:pt x="10370" y="5348"/>
                </a:lnTo>
                <a:lnTo>
                  <a:pt x="10368" y="5352"/>
                </a:lnTo>
                <a:lnTo>
                  <a:pt x="10366" y="5354"/>
                </a:lnTo>
                <a:lnTo>
                  <a:pt x="10362" y="5356"/>
                </a:lnTo>
                <a:lnTo>
                  <a:pt x="10362" y="5360"/>
                </a:lnTo>
                <a:lnTo>
                  <a:pt x="10360" y="5362"/>
                </a:lnTo>
                <a:lnTo>
                  <a:pt x="10354" y="5364"/>
                </a:lnTo>
                <a:lnTo>
                  <a:pt x="10350" y="5366"/>
                </a:lnTo>
                <a:lnTo>
                  <a:pt x="10348" y="5368"/>
                </a:lnTo>
                <a:lnTo>
                  <a:pt x="10348" y="5370"/>
                </a:lnTo>
                <a:lnTo>
                  <a:pt x="10354" y="5374"/>
                </a:lnTo>
                <a:lnTo>
                  <a:pt x="10362" y="5374"/>
                </a:lnTo>
                <a:lnTo>
                  <a:pt x="10370" y="5372"/>
                </a:lnTo>
                <a:lnTo>
                  <a:pt x="10378" y="5372"/>
                </a:lnTo>
                <a:lnTo>
                  <a:pt x="10382" y="5374"/>
                </a:lnTo>
                <a:lnTo>
                  <a:pt x="10386" y="5376"/>
                </a:lnTo>
                <a:lnTo>
                  <a:pt x="10388" y="5380"/>
                </a:lnTo>
                <a:lnTo>
                  <a:pt x="10392" y="5380"/>
                </a:lnTo>
                <a:lnTo>
                  <a:pt x="10398" y="5378"/>
                </a:lnTo>
                <a:lnTo>
                  <a:pt x="10400" y="5378"/>
                </a:lnTo>
                <a:lnTo>
                  <a:pt x="10400" y="5380"/>
                </a:lnTo>
                <a:lnTo>
                  <a:pt x="10398" y="5388"/>
                </a:lnTo>
                <a:lnTo>
                  <a:pt x="10396" y="5394"/>
                </a:lnTo>
                <a:lnTo>
                  <a:pt x="10396" y="5396"/>
                </a:lnTo>
                <a:lnTo>
                  <a:pt x="10398" y="5398"/>
                </a:lnTo>
                <a:lnTo>
                  <a:pt x="10404" y="5400"/>
                </a:lnTo>
                <a:lnTo>
                  <a:pt x="10424" y="5404"/>
                </a:lnTo>
                <a:lnTo>
                  <a:pt x="10440" y="5408"/>
                </a:lnTo>
                <a:lnTo>
                  <a:pt x="10458" y="5416"/>
                </a:lnTo>
                <a:lnTo>
                  <a:pt x="10464" y="5420"/>
                </a:lnTo>
                <a:lnTo>
                  <a:pt x="10472" y="5420"/>
                </a:lnTo>
                <a:lnTo>
                  <a:pt x="10478" y="5418"/>
                </a:lnTo>
                <a:lnTo>
                  <a:pt x="10482" y="5416"/>
                </a:lnTo>
                <a:lnTo>
                  <a:pt x="10490" y="5412"/>
                </a:lnTo>
                <a:lnTo>
                  <a:pt x="10494" y="5412"/>
                </a:lnTo>
                <a:lnTo>
                  <a:pt x="10496" y="5414"/>
                </a:lnTo>
                <a:lnTo>
                  <a:pt x="10502" y="5416"/>
                </a:lnTo>
                <a:lnTo>
                  <a:pt x="10508" y="5416"/>
                </a:lnTo>
                <a:lnTo>
                  <a:pt x="10516" y="5416"/>
                </a:lnTo>
                <a:lnTo>
                  <a:pt x="10530" y="5418"/>
                </a:lnTo>
                <a:lnTo>
                  <a:pt x="10536" y="5420"/>
                </a:lnTo>
                <a:lnTo>
                  <a:pt x="10542" y="5422"/>
                </a:lnTo>
                <a:lnTo>
                  <a:pt x="10550" y="5430"/>
                </a:lnTo>
                <a:lnTo>
                  <a:pt x="10556" y="5434"/>
                </a:lnTo>
                <a:lnTo>
                  <a:pt x="10566" y="5438"/>
                </a:lnTo>
                <a:lnTo>
                  <a:pt x="10578" y="5440"/>
                </a:lnTo>
                <a:lnTo>
                  <a:pt x="10594" y="5444"/>
                </a:lnTo>
                <a:lnTo>
                  <a:pt x="10610" y="5446"/>
                </a:lnTo>
                <a:lnTo>
                  <a:pt x="10614" y="5444"/>
                </a:lnTo>
                <a:lnTo>
                  <a:pt x="10616" y="5444"/>
                </a:lnTo>
                <a:lnTo>
                  <a:pt x="10620" y="5444"/>
                </a:lnTo>
                <a:lnTo>
                  <a:pt x="10640" y="5446"/>
                </a:lnTo>
                <a:lnTo>
                  <a:pt x="10652" y="5448"/>
                </a:lnTo>
                <a:lnTo>
                  <a:pt x="10658" y="5448"/>
                </a:lnTo>
                <a:lnTo>
                  <a:pt x="10662" y="5446"/>
                </a:lnTo>
                <a:lnTo>
                  <a:pt x="10662" y="5444"/>
                </a:lnTo>
                <a:lnTo>
                  <a:pt x="10662" y="5442"/>
                </a:lnTo>
                <a:lnTo>
                  <a:pt x="10664" y="5442"/>
                </a:lnTo>
                <a:lnTo>
                  <a:pt x="10682" y="5450"/>
                </a:lnTo>
                <a:lnTo>
                  <a:pt x="10694" y="5456"/>
                </a:lnTo>
                <a:lnTo>
                  <a:pt x="10702" y="5458"/>
                </a:lnTo>
                <a:lnTo>
                  <a:pt x="10708" y="5460"/>
                </a:lnTo>
                <a:lnTo>
                  <a:pt x="10716" y="5464"/>
                </a:lnTo>
                <a:close/>
                <a:moveTo>
                  <a:pt x="10750" y="5470"/>
                </a:moveTo>
                <a:lnTo>
                  <a:pt x="10750" y="5470"/>
                </a:lnTo>
                <a:lnTo>
                  <a:pt x="10754" y="5468"/>
                </a:lnTo>
                <a:lnTo>
                  <a:pt x="10756" y="5464"/>
                </a:lnTo>
                <a:lnTo>
                  <a:pt x="10760" y="5460"/>
                </a:lnTo>
                <a:lnTo>
                  <a:pt x="10766" y="5454"/>
                </a:lnTo>
                <a:lnTo>
                  <a:pt x="10770" y="5448"/>
                </a:lnTo>
                <a:lnTo>
                  <a:pt x="10770" y="5446"/>
                </a:lnTo>
                <a:lnTo>
                  <a:pt x="10770" y="5444"/>
                </a:lnTo>
                <a:lnTo>
                  <a:pt x="10764" y="5440"/>
                </a:lnTo>
                <a:lnTo>
                  <a:pt x="10758" y="5434"/>
                </a:lnTo>
                <a:lnTo>
                  <a:pt x="10754" y="5432"/>
                </a:lnTo>
                <a:lnTo>
                  <a:pt x="10752" y="5432"/>
                </a:lnTo>
                <a:lnTo>
                  <a:pt x="10748" y="5434"/>
                </a:lnTo>
                <a:lnTo>
                  <a:pt x="10742" y="5436"/>
                </a:lnTo>
                <a:lnTo>
                  <a:pt x="10738" y="5436"/>
                </a:lnTo>
                <a:lnTo>
                  <a:pt x="10734" y="5436"/>
                </a:lnTo>
                <a:lnTo>
                  <a:pt x="10726" y="5432"/>
                </a:lnTo>
                <a:lnTo>
                  <a:pt x="10724" y="5434"/>
                </a:lnTo>
                <a:lnTo>
                  <a:pt x="10722" y="5434"/>
                </a:lnTo>
                <a:lnTo>
                  <a:pt x="10724" y="5440"/>
                </a:lnTo>
                <a:lnTo>
                  <a:pt x="10726" y="5446"/>
                </a:lnTo>
                <a:lnTo>
                  <a:pt x="10728" y="5448"/>
                </a:lnTo>
                <a:lnTo>
                  <a:pt x="10732" y="5448"/>
                </a:lnTo>
                <a:lnTo>
                  <a:pt x="10738" y="5450"/>
                </a:lnTo>
                <a:lnTo>
                  <a:pt x="10744" y="5456"/>
                </a:lnTo>
                <a:lnTo>
                  <a:pt x="10748" y="5462"/>
                </a:lnTo>
                <a:lnTo>
                  <a:pt x="10748" y="5466"/>
                </a:lnTo>
                <a:lnTo>
                  <a:pt x="10748" y="5468"/>
                </a:lnTo>
                <a:lnTo>
                  <a:pt x="10750" y="5470"/>
                </a:lnTo>
                <a:close/>
                <a:moveTo>
                  <a:pt x="10784" y="5464"/>
                </a:moveTo>
                <a:lnTo>
                  <a:pt x="10784" y="5464"/>
                </a:lnTo>
                <a:lnTo>
                  <a:pt x="10778" y="5466"/>
                </a:lnTo>
                <a:lnTo>
                  <a:pt x="10778" y="5468"/>
                </a:lnTo>
                <a:lnTo>
                  <a:pt x="10782" y="5472"/>
                </a:lnTo>
                <a:lnTo>
                  <a:pt x="10792" y="5474"/>
                </a:lnTo>
                <a:lnTo>
                  <a:pt x="10802" y="5474"/>
                </a:lnTo>
                <a:lnTo>
                  <a:pt x="10804" y="5472"/>
                </a:lnTo>
                <a:lnTo>
                  <a:pt x="10806" y="5470"/>
                </a:lnTo>
                <a:lnTo>
                  <a:pt x="10806" y="5466"/>
                </a:lnTo>
                <a:lnTo>
                  <a:pt x="10810" y="5456"/>
                </a:lnTo>
                <a:lnTo>
                  <a:pt x="10812" y="5448"/>
                </a:lnTo>
                <a:lnTo>
                  <a:pt x="10814" y="5444"/>
                </a:lnTo>
                <a:lnTo>
                  <a:pt x="10810" y="5442"/>
                </a:lnTo>
                <a:lnTo>
                  <a:pt x="10804" y="5440"/>
                </a:lnTo>
                <a:lnTo>
                  <a:pt x="10800" y="5440"/>
                </a:lnTo>
                <a:lnTo>
                  <a:pt x="10796" y="5440"/>
                </a:lnTo>
                <a:lnTo>
                  <a:pt x="10790" y="5442"/>
                </a:lnTo>
                <a:lnTo>
                  <a:pt x="10786" y="5448"/>
                </a:lnTo>
                <a:lnTo>
                  <a:pt x="10784" y="5452"/>
                </a:lnTo>
                <a:lnTo>
                  <a:pt x="10786" y="5460"/>
                </a:lnTo>
                <a:lnTo>
                  <a:pt x="10784" y="5464"/>
                </a:lnTo>
                <a:close/>
                <a:moveTo>
                  <a:pt x="10826" y="5482"/>
                </a:moveTo>
                <a:lnTo>
                  <a:pt x="10826" y="5482"/>
                </a:lnTo>
                <a:lnTo>
                  <a:pt x="10836" y="5480"/>
                </a:lnTo>
                <a:lnTo>
                  <a:pt x="10848" y="5476"/>
                </a:lnTo>
                <a:lnTo>
                  <a:pt x="10860" y="5472"/>
                </a:lnTo>
                <a:lnTo>
                  <a:pt x="10866" y="5472"/>
                </a:lnTo>
                <a:lnTo>
                  <a:pt x="10872" y="5470"/>
                </a:lnTo>
                <a:lnTo>
                  <a:pt x="10874" y="5468"/>
                </a:lnTo>
                <a:lnTo>
                  <a:pt x="10878" y="5466"/>
                </a:lnTo>
                <a:lnTo>
                  <a:pt x="10878" y="5468"/>
                </a:lnTo>
                <a:lnTo>
                  <a:pt x="10880" y="5470"/>
                </a:lnTo>
                <a:lnTo>
                  <a:pt x="10884" y="5470"/>
                </a:lnTo>
                <a:lnTo>
                  <a:pt x="10888" y="5468"/>
                </a:lnTo>
                <a:lnTo>
                  <a:pt x="10892" y="5470"/>
                </a:lnTo>
                <a:lnTo>
                  <a:pt x="10902" y="5472"/>
                </a:lnTo>
                <a:lnTo>
                  <a:pt x="10904" y="5470"/>
                </a:lnTo>
                <a:lnTo>
                  <a:pt x="10902" y="5468"/>
                </a:lnTo>
                <a:lnTo>
                  <a:pt x="10896" y="5466"/>
                </a:lnTo>
                <a:lnTo>
                  <a:pt x="10894" y="5464"/>
                </a:lnTo>
                <a:lnTo>
                  <a:pt x="10896" y="5462"/>
                </a:lnTo>
                <a:lnTo>
                  <a:pt x="10900" y="5462"/>
                </a:lnTo>
                <a:lnTo>
                  <a:pt x="10908" y="5466"/>
                </a:lnTo>
                <a:lnTo>
                  <a:pt x="10910" y="5464"/>
                </a:lnTo>
                <a:lnTo>
                  <a:pt x="10912" y="5462"/>
                </a:lnTo>
                <a:lnTo>
                  <a:pt x="10910" y="5458"/>
                </a:lnTo>
                <a:lnTo>
                  <a:pt x="10908" y="5450"/>
                </a:lnTo>
                <a:lnTo>
                  <a:pt x="10902" y="5444"/>
                </a:lnTo>
                <a:lnTo>
                  <a:pt x="10900" y="5442"/>
                </a:lnTo>
                <a:lnTo>
                  <a:pt x="10896" y="5444"/>
                </a:lnTo>
                <a:lnTo>
                  <a:pt x="10894" y="5444"/>
                </a:lnTo>
                <a:lnTo>
                  <a:pt x="10892" y="5444"/>
                </a:lnTo>
                <a:lnTo>
                  <a:pt x="10888" y="5442"/>
                </a:lnTo>
                <a:lnTo>
                  <a:pt x="10886" y="5440"/>
                </a:lnTo>
                <a:lnTo>
                  <a:pt x="10884" y="5440"/>
                </a:lnTo>
                <a:lnTo>
                  <a:pt x="10880" y="5442"/>
                </a:lnTo>
                <a:lnTo>
                  <a:pt x="10878" y="5444"/>
                </a:lnTo>
                <a:lnTo>
                  <a:pt x="10874" y="5444"/>
                </a:lnTo>
                <a:lnTo>
                  <a:pt x="10870" y="5440"/>
                </a:lnTo>
                <a:lnTo>
                  <a:pt x="10866" y="5434"/>
                </a:lnTo>
                <a:lnTo>
                  <a:pt x="10862" y="5434"/>
                </a:lnTo>
                <a:lnTo>
                  <a:pt x="10858" y="5434"/>
                </a:lnTo>
                <a:lnTo>
                  <a:pt x="10854" y="5434"/>
                </a:lnTo>
                <a:lnTo>
                  <a:pt x="10852" y="5436"/>
                </a:lnTo>
                <a:lnTo>
                  <a:pt x="10852" y="5440"/>
                </a:lnTo>
                <a:lnTo>
                  <a:pt x="10854" y="5444"/>
                </a:lnTo>
                <a:lnTo>
                  <a:pt x="10858" y="5450"/>
                </a:lnTo>
                <a:lnTo>
                  <a:pt x="10862" y="5450"/>
                </a:lnTo>
                <a:lnTo>
                  <a:pt x="10866" y="5452"/>
                </a:lnTo>
                <a:lnTo>
                  <a:pt x="10872" y="5454"/>
                </a:lnTo>
                <a:lnTo>
                  <a:pt x="10874" y="5458"/>
                </a:lnTo>
                <a:lnTo>
                  <a:pt x="10874" y="5460"/>
                </a:lnTo>
                <a:lnTo>
                  <a:pt x="10870" y="5460"/>
                </a:lnTo>
                <a:lnTo>
                  <a:pt x="10864" y="5460"/>
                </a:lnTo>
                <a:lnTo>
                  <a:pt x="10862" y="5462"/>
                </a:lnTo>
                <a:lnTo>
                  <a:pt x="10858" y="5464"/>
                </a:lnTo>
                <a:lnTo>
                  <a:pt x="10854" y="5460"/>
                </a:lnTo>
                <a:lnTo>
                  <a:pt x="10848" y="5452"/>
                </a:lnTo>
                <a:lnTo>
                  <a:pt x="10846" y="5450"/>
                </a:lnTo>
                <a:lnTo>
                  <a:pt x="10842" y="5450"/>
                </a:lnTo>
                <a:lnTo>
                  <a:pt x="10838" y="5450"/>
                </a:lnTo>
                <a:lnTo>
                  <a:pt x="10832" y="5448"/>
                </a:lnTo>
                <a:lnTo>
                  <a:pt x="10828" y="5446"/>
                </a:lnTo>
                <a:lnTo>
                  <a:pt x="10826" y="5446"/>
                </a:lnTo>
                <a:lnTo>
                  <a:pt x="10824" y="5448"/>
                </a:lnTo>
                <a:lnTo>
                  <a:pt x="10820" y="5452"/>
                </a:lnTo>
                <a:lnTo>
                  <a:pt x="10818" y="5456"/>
                </a:lnTo>
                <a:lnTo>
                  <a:pt x="10814" y="5458"/>
                </a:lnTo>
                <a:lnTo>
                  <a:pt x="10814" y="5464"/>
                </a:lnTo>
                <a:lnTo>
                  <a:pt x="10814" y="5470"/>
                </a:lnTo>
                <a:lnTo>
                  <a:pt x="10814" y="5474"/>
                </a:lnTo>
                <a:lnTo>
                  <a:pt x="10814" y="5476"/>
                </a:lnTo>
                <a:lnTo>
                  <a:pt x="10816" y="5480"/>
                </a:lnTo>
                <a:lnTo>
                  <a:pt x="10826" y="5482"/>
                </a:lnTo>
                <a:close/>
                <a:moveTo>
                  <a:pt x="10994" y="5474"/>
                </a:moveTo>
                <a:lnTo>
                  <a:pt x="10994" y="5474"/>
                </a:lnTo>
                <a:lnTo>
                  <a:pt x="10996" y="5474"/>
                </a:lnTo>
                <a:lnTo>
                  <a:pt x="10998" y="5472"/>
                </a:lnTo>
                <a:lnTo>
                  <a:pt x="11000" y="5470"/>
                </a:lnTo>
                <a:lnTo>
                  <a:pt x="11008" y="5470"/>
                </a:lnTo>
                <a:lnTo>
                  <a:pt x="11012" y="5472"/>
                </a:lnTo>
                <a:lnTo>
                  <a:pt x="11016" y="5472"/>
                </a:lnTo>
                <a:lnTo>
                  <a:pt x="11022" y="5470"/>
                </a:lnTo>
                <a:lnTo>
                  <a:pt x="11028" y="5466"/>
                </a:lnTo>
                <a:lnTo>
                  <a:pt x="11032" y="5466"/>
                </a:lnTo>
                <a:lnTo>
                  <a:pt x="11038" y="5466"/>
                </a:lnTo>
                <a:lnTo>
                  <a:pt x="11046" y="5462"/>
                </a:lnTo>
                <a:lnTo>
                  <a:pt x="11054" y="5458"/>
                </a:lnTo>
                <a:lnTo>
                  <a:pt x="11058" y="5456"/>
                </a:lnTo>
                <a:lnTo>
                  <a:pt x="11058" y="5454"/>
                </a:lnTo>
                <a:lnTo>
                  <a:pt x="11058" y="5450"/>
                </a:lnTo>
                <a:lnTo>
                  <a:pt x="11062" y="5448"/>
                </a:lnTo>
                <a:lnTo>
                  <a:pt x="11064" y="5444"/>
                </a:lnTo>
                <a:lnTo>
                  <a:pt x="11064" y="5436"/>
                </a:lnTo>
                <a:lnTo>
                  <a:pt x="11062" y="5434"/>
                </a:lnTo>
                <a:lnTo>
                  <a:pt x="11060" y="5432"/>
                </a:lnTo>
                <a:lnTo>
                  <a:pt x="11056" y="5434"/>
                </a:lnTo>
                <a:lnTo>
                  <a:pt x="11054" y="5438"/>
                </a:lnTo>
                <a:lnTo>
                  <a:pt x="11056" y="5440"/>
                </a:lnTo>
                <a:lnTo>
                  <a:pt x="11058" y="5440"/>
                </a:lnTo>
                <a:lnTo>
                  <a:pt x="11058" y="5442"/>
                </a:lnTo>
                <a:lnTo>
                  <a:pt x="11056" y="5444"/>
                </a:lnTo>
                <a:lnTo>
                  <a:pt x="11050" y="5448"/>
                </a:lnTo>
                <a:lnTo>
                  <a:pt x="11044" y="5452"/>
                </a:lnTo>
                <a:lnTo>
                  <a:pt x="11044" y="5454"/>
                </a:lnTo>
                <a:lnTo>
                  <a:pt x="11044" y="5456"/>
                </a:lnTo>
                <a:lnTo>
                  <a:pt x="11040" y="5460"/>
                </a:lnTo>
                <a:lnTo>
                  <a:pt x="11036" y="5460"/>
                </a:lnTo>
                <a:lnTo>
                  <a:pt x="11034" y="5458"/>
                </a:lnTo>
                <a:lnTo>
                  <a:pt x="11030" y="5454"/>
                </a:lnTo>
                <a:lnTo>
                  <a:pt x="11026" y="5450"/>
                </a:lnTo>
                <a:lnTo>
                  <a:pt x="11024" y="5450"/>
                </a:lnTo>
                <a:lnTo>
                  <a:pt x="11020" y="5450"/>
                </a:lnTo>
                <a:lnTo>
                  <a:pt x="11016" y="5454"/>
                </a:lnTo>
                <a:lnTo>
                  <a:pt x="11012" y="5454"/>
                </a:lnTo>
                <a:lnTo>
                  <a:pt x="11010" y="5454"/>
                </a:lnTo>
                <a:lnTo>
                  <a:pt x="11006" y="5456"/>
                </a:lnTo>
                <a:lnTo>
                  <a:pt x="11002" y="5456"/>
                </a:lnTo>
                <a:lnTo>
                  <a:pt x="11000" y="5456"/>
                </a:lnTo>
                <a:lnTo>
                  <a:pt x="10994" y="5452"/>
                </a:lnTo>
                <a:lnTo>
                  <a:pt x="10988" y="5448"/>
                </a:lnTo>
                <a:lnTo>
                  <a:pt x="10980" y="5446"/>
                </a:lnTo>
                <a:lnTo>
                  <a:pt x="10966" y="5440"/>
                </a:lnTo>
                <a:lnTo>
                  <a:pt x="10956" y="5440"/>
                </a:lnTo>
                <a:lnTo>
                  <a:pt x="10952" y="5442"/>
                </a:lnTo>
                <a:lnTo>
                  <a:pt x="10948" y="5446"/>
                </a:lnTo>
                <a:lnTo>
                  <a:pt x="10944" y="5448"/>
                </a:lnTo>
                <a:lnTo>
                  <a:pt x="10940" y="5452"/>
                </a:lnTo>
                <a:lnTo>
                  <a:pt x="10936" y="5454"/>
                </a:lnTo>
                <a:lnTo>
                  <a:pt x="10936" y="5462"/>
                </a:lnTo>
                <a:lnTo>
                  <a:pt x="10938" y="5470"/>
                </a:lnTo>
                <a:lnTo>
                  <a:pt x="10940" y="5470"/>
                </a:lnTo>
                <a:lnTo>
                  <a:pt x="10944" y="5468"/>
                </a:lnTo>
                <a:lnTo>
                  <a:pt x="10950" y="5468"/>
                </a:lnTo>
                <a:lnTo>
                  <a:pt x="10966" y="5470"/>
                </a:lnTo>
                <a:lnTo>
                  <a:pt x="10974" y="5470"/>
                </a:lnTo>
                <a:lnTo>
                  <a:pt x="10980" y="5474"/>
                </a:lnTo>
                <a:lnTo>
                  <a:pt x="10984" y="5476"/>
                </a:lnTo>
                <a:lnTo>
                  <a:pt x="10988" y="5476"/>
                </a:lnTo>
                <a:lnTo>
                  <a:pt x="10990" y="5474"/>
                </a:lnTo>
                <a:lnTo>
                  <a:pt x="10994" y="5474"/>
                </a:lnTo>
                <a:close/>
                <a:moveTo>
                  <a:pt x="10934" y="5522"/>
                </a:moveTo>
                <a:lnTo>
                  <a:pt x="10934" y="5522"/>
                </a:lnTo>
                <a:lnTo>
                  <a:pt x="10942" y="5528"/>
                </a:lnTo>
                <a:lnTo>
                  <a:pt x="10946" y="5534"/>
                </a:lnTo>
                <a:lnTo>
                  <a:pt x="10950" y="5538"/>
                </a:lnTo>
                <a:lnTo>
                  <a:pt x="10952" y="5538"/>
                </a:lnTo>
                <a:lnTo>
                  <a:pt x="10956" y="5540"/>
                </a:lnTo>
                <a:lnTo>
                  <a:pt x="10958" y="5540"/>
                </a:lnTo>
                <a:lnTo>
                  <a:pt x="10962" y="5542"/>
                </a:lnTo>
                <a:lnTo>
                  <a:pt x="10964" y="5540"/>
                </a:lnTo>
                <a:lnTo>
                  <a:pt x="10966" y="5538"/>
                </a:lnTo>
                <a:lnTo>
                  <a:pt x="10968" y="5536"/>
                </a:lnTo>
                <a:lnTo>
                  <a:pt x="10970" y="5536"/>
                </a:lnTo>
                <a:lnTo>
                  <a:pt x="10974" y="5532"/>
                </a:lnTo>
                <a:lnTo>
                  <a:pt x="10974" y="5530"/>
                </a:lnTo>
                <a:lnTo>
                  <a:pt x="10974" y="5526"/>
                </a:lnTo>
                <a:lnTo>
                  <a:pt x="10970" y="5518"/>
                </a:lnTo>
                <a:lnTo>
                  <a:pt x="10964" y="5512"/>
                </a:lnTo>
                <a:lnTo>
                  <a:pt x="10958" y="5508"/>
                </a:lnTo>
                <a:lnTo>
                  <a:pt x="10956" y="5508"/>
                </a:lnTo>
                <a:lnTo>
                  <a:pt x="10954" y="5506"/>
                </a:lnTo>
                <a:lnTo>
                  <a:pt x="10952" y="5502"/>
                </a:lnTo>
                <a:lnTo>
                  <a:pt x="10948" y="5498"/>
                </a:lnTo>
                <a:lnTo>
                  <a:pt x="10942" y="5494"/>
                </a:lnTo>
                <a:lnTo>
                  <a:pt x="10938" y="5494"/>
                </a:lnTo>
                <a:lnTo>
                  <a:pt x="10934" y="5494"/>
                </a:lnTo>
                <a:lnTo>
                  <a:pt x="10930" y="5494"/>
                </a:lnTo>
                <a:lnTo>
                  <a:pt x="10924" y="5494"/>
                </a:lnTo>
                <a:lnTo>
                  <a:pt x="10914" y="5494"/>
                </a:lnTo>
                <a:lnTo>
                  <a:pt x="10910" y="5496"/>
                </a:lnTo>
                <a:lnTo>
                  <a:pt x="10906" y="5498"/>
                </a:lnTo>
                <a:lnTo>
                  <a:pt x="10902" y="5500"/>
                </a:lnTo>
                <a:lnTo>
                  <a:pt x="10902" y="5506"/>
                </a:lnTo>
                <a:lnTo>
                  <a:pt x="10902" y="5508"/>
                </a:lnTo>
                <a:lnTo>
                  <a:pt x="10906" y="5512"/>
                </a:lnTo>
                <a:lnTo>
                  <a:pt x="10914" y="5514"/>
                </a:lnTo>
                <a:lnTo>
                  <a:pt x="10924" y="5518"/>
                </a:lnTo>
                <a:lnTo>
                  <a:pt x="10934" y="5522"/>
                </a:lnTo>
                <a:close/>
                <a:moveTo>
                  <a:pt x="11090" y="5546"/>
                </a:moveTo>
                <a:lnTo>
                  <a:pt x="11090" y="5546"/>
                </a:lnTo>
                <a:lnTo>
                  <a:pt x="11094" y="5544"/>
                </a:lnTo>
                <a:lnTo>
                  <a:pt x="11098" y="5544"/>
                </a:lnTo>
                <a:lnTo>
                  <a:pt x="11104" y="5540"/>
                </a:lnTo>
                <a:lnTo>
                  <a:pt x="11108" y="5536"/>
                </a:lnTo>
                <a:lnTo>
                  <a:pt x="11112" y="5534"/>
                </a:lnTo>
                <a:lnTo>
                  <a:pt x="11114" y="5534"/>
                </a:lnTo>
                <a:lnTo>
                  <a:pt x="11118" y="5536"/>
                </a:lnTo>
                <a:lnTo>
                  <a:pt x="11122" y="5534"/>
                </a:lnTo>
                <a:lnTo>
                  <a:pt x="11134" y="5520"/>
                </a:lnTo>
                <a:lnTo>
                  <a:pt x="11140" y="5512"/>
                </a:lnTo>
                <a:lnTo>
                  <a:pt x="11144" y="5506"/>
                </a:lnTo>
                <a:lnTo>
                  <a:pt x="11148" y="5500"/>
                </a:lnTo>
                <a:lnTo>
                  <a:pt x="11156" y="5494"/>
                </a:lnTo>
                <a:lnTo>
                  <a:pt x="11168" y="5488"/>
                </a:lnTo>
                <a:lnTo>
                  <a:pt x="11176" y="5484"/>
                </a:lnTo>
                <a:lnTo>
                  <a:pt x="11182" y="5484"/>
                </a:lnTo>
                <a:lnTo>
                  <a:pt x="11188" y="5480"/>
                </a:lnTo>
                <a:lnTo>
                  <a:pt x="11192" y="5476"/>
                </a:lnTo>
                <a:lnTo>
                  <a:pt x="11196" y="5476"/>
                </a:lnTo>
                <a:lnTo>
                  <a:pt x="11202" y="5476"/>
                </a:lnTo>
                <a:lnTo>
                  <a:pt x="11206" y="5470"/>
                </a:lnTo>
                <a:lnTo>
                  <a:pt x="11212" y="5466"/>
                </a:lnTo>
                <a:lnTo>
                  <a:pt x="11218" y="5464"/>
                </a:lnTo>
                <a:lnTo>
                  <a:pt x="11222" y="5464"/>
                </a:lnTo>
                <a:lnTo>
                  <a:pt x="11228" y="5460"/>
                </a:lnTo>
                <a:lnTo>
                  <a:pt x="11236" y="5450"/>
                </a:lnTo>
                <a:lnTo>
                  <a:pt x="11238" y="5448"/>
                </a:lnTo>
                <a:lnTo>
                  <a:pt x="11232" y="5444"/>
                </a:lnTo>
                <a:lnTo>
                  <a:pt x="11230" y="5444"/>
                </a:lnTo>
                <a:lnTo>
                  <a:pt x="11226" y="5444"/>
                </a:lnTo>
                <a:lnTo>
                  <a:pt x="11218" y="5446"/>
                </a:lnTo>
                <a:lnTo>
                  <a:pt x="11210" y="5450"/>
                </a:lnTo>
                <a:lnTo>
                  <a:pt x="11204" y="5450"/>
                </a:lnTo>
                <a:lnTo>
                  <a:pt x="11200" y="5450"/>
                </a:lnTo>
                <a:lnTo>
                  <a:pt x="11194" y="5452"/>
                </a:lnTo>
                <a:lnTo>
                  <a:pt x="11188" y="5454"/>
                </a:lnTo>
                <a:lnTo>
                  <a:pt x="11184" y="5454"/>
                </a:lnTo>
                <a:lnTo>
                  <a:pt x="11180" y="5452"/>
                </a:lnTo>
                <a:lnTo>
                  <a:pt x="11176" y="5452"/>
                </a:lnTo>
                <a:lnTo>
                  <a:pt x="11158" y="5458"/>
                </a:lnTo>
                <a:lnTo>
                  <a:pt x="11150" y="5460"/>
                </a:lnTo>
                <a:lnTo>
                  <a:pt x="11146" y="5466"/>
                </a:lnTo>
                <a:lnTo>
                  <a:pt x="11144" y="5470"/>
                </a:lnTo>
                <a:lnTo>
                  <a:pt x="11138" y="5478"/>
                </a:lnTo>
                <a:lnTo>
                  <a:pt x="11128" y="5484"/>
                </a:lnTo>
                <a:lnTo>
                  <a:pt x="11122" y="5486"/>
                </a:lnTo>
                <a:lnTo>
                  <a:pt x="11114" y="5488"/>
                </a:lnTo>
                <a:lnTo>
                  <a:pt x="11104" y="5496"/>
                </a:lnTo>
                <a:lnTo>
                  <a:pt x="11094" y="5504"/>
                </a:lnTo>
                <a:lnTo>
                  <a:pt x="11090" y="5510"/>
                </a:lnTo>
                <a:lnTo>
                  <a:pt x="11088" y="5522"/>
                </a:lnTo>
                <a:lnTo>
                  <a:pt x="11088" y="5524"/>
                </a:lnTo>
                <a:lnTo>
                  <a:pt x="11088" y="5526"/>
                </a:lnTo>
                <a:lnTo>
                  <a:pt x="11092" y="5528"/>
                </a:lnTo>
                <a:lnTo>
                  <a:pt x="11094" y="5530"/>
                </a:lnTo>
                <a:lnTo>
                  <a:pt x="11092" y="5532"/>
                </a:lnTo>
                <a:lnTo>
                  <a:pt x="11086" y="5536"/>
                </a:lnTo>
                <a:lnTo>
                  <a:pt x="11082" y="5540"/>
                </a:lnTo>
                <a:lnTo>
                  <a:pt x="11082" y="5542"/>
                </a:lnTo>
                <a:lnTo>
                  <a:pt x="11090" y="5546"/>
                </a:lnTo>
                <a:close/>
                <a:moveTo>
                  <a:pt x="11218" y="5414"/>
                </a:moveTo>
                <a:lnTo>
                  <a:pt x="11218" y="5414"/>
                </a:lnTo>
                <a:lnTo>
                  <a:pt x="11218" y="5412"/>
                </a:lnTo>
                <a:lnTo>
                  <a:pt x="11214" y="5410"/>
                </a:lnTo>
                <a:lnTo>
                  <a:pt x="11202" y="5410"/>
                </a:lnTo>
                <a:lnTo>
                  <a:pt x="11190" y="5414"/>
                </a:lnTo>
                <a:lnTo>
                  <a:pt x="11184" y="5416"/>
                </a:lnTo>
                <a:lnTo>
                  <a:pt x="11180" y="5420"/>
                </a:lnTo>
                <a:lnTo>
                  <a:pt x="11178" y="5422"/>
                </a:lnTo>
                <a:lnTo>
                  <a:pt x="11180" y="5424"/>
                </a:lnTo>
                <a:lnTo>
                  <a:pt x="11194" y="5424"/>
                </a:lnTo>
                <a:lnTo>
                  <a:pt x="11210" y="5418"/>
                </a:lnTo>
                <a:lnTo>
                  <a:pt x="11216" y="5416"/>
                </a:lnTo>
                <a:lnTo>
                  <a:pt x="11218" y="5414"/>
                </a:lnTo>
                <a:close/>
                <a:moveTo>
                  <a:pt x="9966" y="4902"/>
                </a:moveTo>
                <a:lnTo>
                  <a:pt x="9966" y="4902"/>
                </a:lnTo>
                <a:lnTo>
                  <a:pt x="9966" y="4906"/>
                </a:lnTo>
                <a:lnTo>
                  <a:pt x="9968" y="4910"/>
                </a:lnTo>
                <a:lnTo>
                  <a:pt x="9972" y="4914"/>
                </a:lnTo>
                <a:lnTo>
                  <a:pt x="9980" y="4918"/>
                </a:lnTo>
                <a:lnTo>
                  <a:pt x="9990" y="4928"/>
                </a:lnTo>
                <a:lnTo>
                  <a:pt x="9994" y="4928"/>
                </a:lnTo>
                <a:lnTo>
                  <a:pt x="9994" y="4926"/>
                </a:lnTo>
                <a:lnTo>
                  <a:pt x="9990" y="4916"/>
                </a:lnTo>
                <a:lnTo>
                  <a:pt x="9982" y="4906"/>
                </a:lnTo>
                <a:lnTo>
                  <a:pt x="9972" y="4900"/>
                </a:lnTo>
                <a:lnTo>
                  <a:pt x="9970" y="4900"/>
                </a:lnTo>
                <a:lnTo>
                  <a:pt x="9966" y="4902"/>
                </a:lnTo>
                <a:close/>
                <a:moveTo>
                  <a:pt x="10026" y="4966"/>
                </a:moveTo>
                <a:lnTo>
                  <a:pt x="10026" y="4966"/>
                </a:lnTo>
                <a:lnTo>
                  <a:pt x="10022" y="4968"/>
                </a:lnTo>
                <a:lnTo>
                  <a:pt x="10022" y="4970"/>
                </a:lnTo>
                <a:lnTo>
                  <a:pt x="10026" y="4980"/>
                </a:lnTo>
                <a:lnTo>
                  <a:pt x="10044" y="5006"/>
                </a:lnTo>
                <a:lnTo>
                  <a:pt x="10046" y="5010"/>
                </a:lnTo>
                <a:lnTo>
                  <a:pt x="10050" y="5012"/>
                </a:lnTo>
                <a:lnTo>
                  <a:pt x="10052" y="5008"/>
                </a:lnTo>
                <a:lnTo>
                  <a:pt x="10054" y="5004"/>
                </a:lnTo>
                <a:lnTo>
                  <a:pt x="10054" y="4994"/>
                </a:lnTo>
                <a:lnTo>
                  <a:pt x="10052" y="4988"/>
                </a:lnTo>
                <a:lnTo>
                  <a:pt x="10050" y="4984"/>
                </a:lnTo>
                <a:lnTo>
                  <a:pt x="10044" y="4978"/>
                </a:lnTo>
                <a:lnTo>
                  <a:pt x="10038" y="4972"/>
                </a:lnTo>
                <a:lnTo>
                  <a:pt x="10032" y="4966"/>
                </a:lnTo>
                <a:lnTo>
                  <a:pt x="10030" y="4966"/>
                </a:lnTo>
                <a:lnTo>
                  <a:pt x="10026" y="4966"/>
                </a:lnTo>
                <a:close/>
                <a:moveTo>
                  <a:pt x="10084" y="5086"/>
                </a:moveTo>
                <a:lnTo>
                  <a:pt x="10084" y="5086"/>
                </a:lnTo>
                <a:lnTo>
                  <a:pt x="10080" y="5090"/>
                </a:lnTo>
                <a:lnTo>
                  <a:pt x="10080" y="5096"/>
                </a:lnTo>
                <a:lnTo>
                  <a:pt x="10082" y="5102"/>
                </a:lnTo>
                <a:lnTo>
                  <a:pt x="10086" y="5110"/>
                </a:lnTo>
                <a:lnTo>
                  <a:pt x="10098" y="5120"/>
                </a:lnTo>
                <a:lnTo>
                  <a:pt x="10102" y="5122"/>
                </a:lnTo>
                <a:lnTo>
                  <a:pt x="10106" y="5122"/>
                </a:lnTo>
                <a:lnTo>
                  <a:pt x="10108" y="5120"/>
                </a:lnTo>
                <a:lnTo>
                  <a:pt x="10108" y="5114"/>
                </a:lnTo>
                <a:lnTo>
                  <a:pt x="10102" y="5100"/>
                </a:lnTo>
                <a:lnTo>
                  <a:pt x="10098" y="5092"/>
                </a:lnTo>
                <a:lnTo>
                  <a:pt x="10092" y="5088"/>
                </a:lnTo>
                <a:lnTo>
                  <a:pt x="10088" y="5084"/>
                </a:lnTo>
                <a:lnTo>
                  <a:pt x="10084" y="5086"/>
                </a:lnTo>
                <a:close/>
                <a:moveTo>
                  <a:pt x="10070" y="5066"/>
                </a:moveTo>
                <a:lnTo>
                  <a:pt x="10070" y="5066"/>
                </a:lnTo>
                <a:lnTo>
                  <a:pt x="10072" y="5066"/>
                </a:lnTo>
                <a:lnTo>
                  <a:pt x="10074" y="5066"/>
                </a:lnTo>
                <a:lnTo>
                  <a:pt x="10076" y="5060"/>
                </a:lnTo>
                <a:lnTo>
                  <a:pt x="10076" y="5054"/>
                </a:lnTo>
                <a:lnTo>
                  <a:pt x="10074" y="5050"/>
                </a:lnTo>
                <a:lnTo>
                  <a:pt x="10072" y="5048"/>
                </a:lnTo>
                <a:lnTo>
                  <a:pt x="10070" y="5048"/>
                </a:lnTo>
                <a:lnTo>
                  <a:pt x="10068" y="5054"/>
                </a:lnTo>
                <a:lnTo>
                  <a:pt x="10068" y="5060"/>
                </a:lnTo>
                <a:lnTo>
                  <a:pt x="10068" y="5062"/>
                </a:lnTo>
                <a:lnTo>
                  <a:pt x="10070" y="5066"/>
                </a:lnTo>
                <a:close/>
                <a:moveTo>
                  <a:pt x="11590" y="5128"/>
                </a:moveTo>
                <a:lnTo>
                  <a:pt x="11590" y="5128"/>
                </a:lnTo>
                <a:lnTo>
                  <a:pt x="11592" y="5130"/>
                </a:lnTo>
                <a:lnTo>
                  <a:pt x="11598" y="5130"/>
                </a:lnTo>
                <a:lnTo>
                  <a:pt x="11618" y="5128"/>
                </a:lnTo>
                <a:lnTo>
                  <a:pt x="11628" y="5124"/>
                </a:lnTo>
                <a:lnTo>
                  <a:pt x="11628" y="5122"/>
                </a:lnTo>
                <a:lnTo>
                  <a:pt x="11624" y="5122"/>
                </a:lnTo>
                <a:lnTo>
                  <a:pt x="11590" y="5118"/>
                </a:lnTo>
                <a:lnTo>
                  <a:pt x="11576" y="5116"/>
                </a:lnTo>
                <a:lnTo>
                  <a:pt x="11572" y="5116"/>
                </a:lnTo>
                <a:lnTo>
                  <a:pt x="11578" y="5120"/>
                </a:lnTo>
                <a:lnTo>
                  <a:pt x="11590" y="5128"/>
                </a:lnTo>
                <a:close/>
                <a:moveTo>
                  <a:pt x="11600" y="5086"/>
                </a:moveTo>
                <a:lnTo>
                  <a:pt x="11600" y="5086"/>
                </a:lnTo>
                <a:lnTo>
                  <a:pt x="11594" y="5082"/>
                </a:lnTo>
                <a:lnTo>
                  <a:pt x="11592" y="5078"/>
                </a:lnTo>
                <a:lnTo>
                  <a:pt x="11586" y="5074"/>
                </a:lnTo>
                <a:lnTo>
                  <a:pt x="11576" y="5070"/>
                </a:lnTo>
                <a:lnTo>
                  <a:pt x="11566" y="5068"/>
                </a:lnTo>
                <a:lnTo>
                  <a:pt x="11566" y="5070"/>
                </a:lnTo>
                <a:lnTo>
                  <a:pt x="11566" y="5072"/>
                </a:lnTo>
                <a:lnTo>
                  <a:pt x="11572" y="5078"/>
                </a:lnTo>
                <a:lnTo>
                  <a:pt x="11580" y="5082"/>
                </a:lnTo>
                <a:lnTo>
                  <a:pt x="11582" y="5084"/>
                </a:lnTo>
                <a:lnTo>
                  <a:pt x="11584" y="5088"/>
                </a:lnTo>
                <a:lnTo>
                  <a:pt x="11584" y="5092"/>
                </a:lnTo>
                <a:lnTo>
                  <a:pt x="11586" y="5094"/>
                </a:lnTo>
                <a:lnTo>
                  <a:pt x="11588" y="5096"/>
                </a:lnTo>
                <a:lnTo>
                  <a:pt x="11592" y="5096"/>
                </a:lnTo>
                <a:lnTo>
                  <a:pt x="11600" y="5096"/>
                </a:lnTo>
                <a:lnTo>
                  <a:pt x="11606" y="5094"/>
                </a:lnTo>
                <a:lnTo>
                  <a:pt x="11608" y="5092"/>
                </a:lnTo>
                <a:lnTo>
                  <a:pt x="11606" y="5090"/>
                </a:lnTo>
                <a:lnTo>
                  <a:pt x="11600" y="5086"/>
                </a:lnTo>
                <a:close/>
                <a:moveTo>
                  <a:pt x="11538" y="5324"/>
                </a:moveTo>
                <a:lnTo>
                  <a:pt x="11538" y="5324"/>
                </a:lnTo>
                <a:lnTo>
                  <a:pt x="11536" y="5310"/>
                </a:lnTo>
                <a:lnTo>
                  <a:pt x="11532" y="5304"/>
                </a:lnTo>
                <a:lnTo>
                  <a:pt x="11530" y="5304"/>
                </a:lnTo>
                <a:lnTo>
                  <a:pt x="11528" y="5304"/>
                </a:lnTo>
                <a:lnTo>
                  <a:pt x="11526" y="5310"/>
                </a:lnTo>
                <a:lnTo>
                  <a:pt x="11524" y="5316"/>
                </a:lnTo>
                <a:lnTo>
                  <a:pt x="11520" y="5316"/>
                </a:lnTo>
                <a:lnTo>
                  <a:pt x="11518" y="5316"/>
                </a:lnTo>
                <a:lnTo>
                  <a:pt x="11518" y="5318"/>
                </a:lnTo>
                <a:lnTo>
                  <a:pt x="11518" y="5320"/>
                </a:lnTo>
                <a:lnTo>
                  <a:pt x="11520" y="5320"/>
                </a:lnTo>
                <a:lnTo>
                  <a:pt x="11520" y="5322"/>
                </a:lnTo>
                <a:lnTo>
                  <a:pt x="11520" y="5328"/>
                </a:lnTo>
                <a:lnTo>
                  <a:pt x="11520" y="5334"/>
                </a:lnTo>
                <a:lnTo>
                  <a:pt x="11522" y="5340"/>
                </a:lnTo>
                <a:lnTo>
                  <a:pt x="11530" y="5348"/>
                </a:lnTo>
                <a:lnTo>
                  <a:pt x="11534" y="5348"/>
                </a:lnTo>
                <a:lnTo>
                  <a:pt x="11536" y="5344"/>
                </a:lnTo>
                <a:lnTo>
                  <a:pt x="11538" y="5336"/>
                </a:lnTo>
                <a:lnTo>
                  <a:pt x="11538" y="5324"/>
                </a:lnTo>
                <a:close/>
                <a:moveTo>
                  <a:pt x="11188" y="5150"/>
                </a:moveTo>
                <a:lnTo>
                  <a:pt x="11188" y="5150"/>
                </a:lnTo>
                <a:lnTo>
                  <a:pt x="11186" y="5144"/>
                </a:lnTo>
                <a:lnTo>
                  <a:pt x="11186" y="5138"/>
                </a:lnTo>
                <a:lnTo>
                  <a:pt x="11184" y="5136"/>
                </a:lnTo>
                <a:lnTo>
                  <a:pt x="11182" y="5136"/>
                </a:lnTo>
                <a:lnTo>
                  <a:pt x="11180" y="5138"/>
                </a:lnTo>
                <a:lnTo>
                  <a:pt x="11180" y="5142"/>
                </a:lnTo>
                <a:lnTo>
                  <a:pt x="11184" y="5154"/>
                </a:lnTo>
                <a:lnTo>
                  <a:pt x="11186" y="5160"/>
                </a:lnTo>
                <a:lnTo>
                  <a:pt x="11188" y="5160"/>
                </a:lnTo>
                <a:lnTo>
                  <a:pt x="11188" y="5156"/>
                </a:lnTo>
                <a:lnTo>
                  <a:pt x="11188" y="5150"/>
                </a:lnTo>
                <a:close/>
                <a:moveTo>
                  <a:pt x="11232" y="5052"/>
                </a:moveTo>
                <a:lnTo>
                  <a:pt x="11232" y="5052"/>
                </a:lnTo>
                <a:lnTo>
                  <a:pt x="11232" y="5054"/>
                </a:lnTo>
                <a:lnTo>
                  <a:pt x="11230" y="5060"/>
                </a:lnTo>
                <a:lnTo>
                  <a:pt x="11232" y="5064"/>
                </a:lnTo>
                <a:lnTo>
                  <a:pt x="11234" y="5064"/>
                </a:lnTo>
                <a:lnTo>
                  <a:pt x="11236" y="5062"/>
                </a:lnTo>
                <a:lnTo>
                  <a:pt x="11238" y="5056"/>
                </a:lnTo>
                <a:lnTo>
                  <a:pt x="11236" y="5052"/>
                </a:lnTo>
                <a:lnTo>
                  <a:pt x="11234" y="5052"/>
                </a:lnTo>
                <a:lnTo>
                  <a:pt x="11232" y="5052"/>
                </a:lnTo>
                <a:close/>
                <a:moveTo>
                  <a:pt x="11262" y="5078"/>
                </a:moveTo>
                <a:lnTo>
                  <a:pt x="11262" y="5078"/>
                </a:lnTo>
                <a:lnTo>
                  <a:pt x="11262" y="5076"/>
                </a:lnTo>
                <a:lnTo>
                  <a:pt x="11260" y="5072"/>
                </a:lnTo>
                <a:lnTo>
                  <a:pt x="11256" y="5072"/>
                </a:lnTo>
                <a:lnTo>
                  <a:pt x="11254" y="5076"/>
                </a:lnTo>
                <a:lnTo>
                  <a:pt x="11254" y="5078"/>
                </a:lnTo>
                <a:lnTo>
                  <a:pt x="11256" y="5080"/>
                </a:lnTo>
                <a:lnTo>
                  <a:pt x="11258" y="5080"/>
                </a:lnTo>
                <a:lnTo>
                  <a:pt x="11262" y="5078"/>
                </a:lnTo>
                <a:close/>
                <a:moveTo>
                  <a:pt x="11280" y="5212"/>
                </a:moveTo>
                <a:lnTo>
                  <a:pt x="11280" y="5212"/>
                </a:lnTo>
                <a:lnTo>
                  <a:pt x="11278" y="5210"/>
                </a:lnTo>
                <a:lnTo>
                  <a:pt x="11276" y="5210"/>
                </a:lnTo>
                <a:lnTo>
                  <a:pt x="11270" y="5212"/>
                </a:lnTo>
                <a:lnTo>
                  <a:pt x="11264" y="5218"/>
                </a:lnTo>
                <a:lnTo>
                  <a:pt x="11262" y="5220"/>
                </a:lnTo>
                <a:lnTo>
                  <a:pt x="11264" y="5222"/>
                </a:lnTo>
                <a:lnTo>
                  <a:pt x="11266" y="5222"/>
                </a:lnTo>
                <a:lnTo>
                  <a:pt x="11272" y="5222"/>
                </a:lnTo>
                <a:lnTo>
                  <a:pt x="11276" y="5218"/>
                </a:lnTo>
                <a:lnTo>
                  <a:pt x="11280" y="5212"/>
                </a:lnTo>
                <a:close/>
                <a:moveTo>
                  <a:pt x="11234" y="5078"/>
                </a:moveTo>
                <a:lnTo>
                  <a:pt x="11234" y="5078"/>
                </a:lnTo>
                <a:lnTo>
                  <a:pt x="11238" y="5078"/>
                </a:lnTo>
                <a:lnTo>
                  <a:pt x="11240" y="5076"/>
                </a:lnTo>
                <a:lnTo>
                  <a:pt x="11238" y="5074"/>
                </a:lnTo>
                <a:lnTo>
                  <a:pt x="11236" y="5072"/>
                </a:lnTo>
                <a:lnTo>
                  <a:pt x="11234" y="5070"/>
                </a:lnTo>
                <a:lnTo>
                  <a:pt x="11232" y="5072"/>
                </a:lnTo>
                <a:lnTo>
                  <a:pt x="11232" y="5076"/>
                </a:lnTo>
                <a:lnTo>
                  <a:pt x="11234" y="5078"/>
                </a:lnTo>
                <a:close/>
                <a:moveTo>
                  <a:pt x="11378" y="5078"/>
                </a:moveTo>
                <a:lnTo>
                  <a:pt x="11378" y="5078"/>
                </a:lnTo>
                <a:lnTo>
                  <a:pt x="11366" y="5078"/>
                </a:lnTo>
                <a:lnTo>
                  <a:pt x="11360" y="5080"/>
                </a:lnTo>
                <a:lnTo>
                  <a:pt x="11360" y="5082"/>
                </a:lnTo>
                <a:lnTo>
                  <a:pt x="11362" y="5084"/>
                </a:lnTo>
                <a:lnTo>
                  <a:pt x="11364" y="5084"/>
                </a:lnTo>
                <a:lnTo>
                  <a:pt x="11372" y="5082"/>
                </a:lnTo>
                <a:lnTo>
                  <a:pt x="11378" y="5078"/>
                </a:lnTo>
                <a:close/>
                <a:moveTo>
                  <a:pt x="11216" y="4816"/>
                </a:moveTo>
                <a:lnTo>
                  <a:pt x="11216" y="4816"/>
                </a:lnTo>
                <a:lnTo>
                  <a:pt x="11214" y="4820"/>
                </a:lnTo>
                <a:lnTo>
                  <a:pt x="11214" y="4828"/>
                </a:lnTo>
                <a:lnTo>
                  <a:pt x="11214" y="4830"/>
                </a:lnTo>
                <a:lnTo>
                  <a:pt x="11216" y="4830"/>
                </a:lnTo>
                <a:lnTo>
                  <a:pt x="11216" y="4834"/>
                </a:lnTo>
                <a:lnTo>
                  <a:pt x="11214" y="4838"/>
                </a:lnTo>
                <a:lnTo>
                  <a:pt x="11212" y="4842"/>
                </a:lnTo>
                <a:lnTo>
                  <a:pt x="11214" y="4844"/>
                </a:lnTo>
                <a:lnTo>
                  <a:pt x="11218" y="4842"/>
                </a:lnTo>
                <a:lnTo>
                  <a:pt x="11220" y="4838"/>
                </a:lnTo>
                <a:lnTo>
                  <a:pt x="11220" y="4836"/>
                </a:lnTo>
                <a:lnTo>
                  <a:pt x="11222" y="4832"/>
                </a:lnTo>
                <a:lnTo>
                  <a:pt x="11222" y="4830"/>
                </a:lnTo>
                <a:lnTo>
                  <a:pt x="11222" y="4826"/>
                </a:lnTo>
                <a:lnTo>
                  <a:pt x="11220" y="4824"/>
                </a:lnTo>
                <a:lnTo>
                  <a:pt x="11220" y="4820"/>
                </a:lnTo>
                <a:lnTo>
                  <a:pt x="11220" y="4816"/>
                </a:lnTo>
                <a:lnTo>
                  <a:pt x="11216" y="4816"/>
                </a:lnTo>
                <a:close/>
                <a:moveTo>
                  <a:pt x="13306" y="5908"/>
                </a:moveTo>
                <a:lnTo>
                  <a:pt x="13306" y="5908"/>
                </a:lnTo>
                <a:lnTo>
                  <a:pt x="13306" y="5902"/>
                </a:lnTo>
                <a:lnTo>
                  <a:pt x="13304" y="5898"/>
                </a:lnTo>
                <a:lnTo>
                  <a:pt x="13302" y="5896"/>
                </a:lnTo>
                <a:lnTo>
                  <a:pt x="13296" y="5892"/>
                </a:lnTo>
                <a:lnTo>
                  <a:pt x="13286" y="5890"/>
                </a:lnTo>
                <a:lnTo>
                  <a:pt x="13278" y="5890"/>
                </a:lnTo>
                <a:lnTo>
                  <a:pt x="13266" y="5898"/>
                </a:lnTo>
                <a:lnTo>
                  <a:pt x="13260" y="5904"/>
                </a:lnTo>
                <a:lnTo>
                  <a:pt x="13254" y="5910"/>
                </a:lnTo>
                <a:lnTo>
                  <a:pt x="13250" y="5916"/>
                </a:lnTo>
                <a:lnTo>
                  <a:pt x="13250" y="5918"/>
                </a:lnTo>
                <a:lnTo>
                  <a:pt x="13250" y="5922"/>
                </a:lnTo>
                <a:lnTo>
                  <a:pt x="13252" y="5924"/>
                </a:lnTo>
                <a:lnTo>
                  <a:pt x="13256" y="5928"/>
                </a:lnTo>
                <a:lnTo>
                  <a:pt x="13270" y="5932"/>
                </a:lnTo>
                <a:lnTo>
                  <a:pt x="13280" y="5934"/>
                </a:lnTo>
                <a:lnTo>
                  <a:pt x="13286" y="5934"/>
                </a:lnTo>
                <a:lnTo>
                  <a:pt x="13292" y="5930"/>
                </a:lnTo>
                <a:lnTo>
                  <a:pt x="13294" y="5926"/>
                </a:lnTo>
                <a:lnTo>
                  <a:pt x="13296" y="5926"/>
                </a:lnTo>
                <a:lnTo>
                  <a:pt x="13302" y="5926"/>
                </a:lnTo>
                <a:lnTo>
                  <a:pt x="13306" y="5930"/>
                </a:lnTo>
                <a:lnTo>
                  <a:pt x="13308" y="5930"/>
                </a:lnTo>
                <a:lnTo>
                  <a:pt x="13312" y="5928"/>
                </a:lnTo>
                <a:lnTo>
                  <a:pt x="13312" y="5926"/>
                </a:lnTo>
                <a:lnTo>
                  <a:pt x="13312" y="5924"/>
                </a:lnTo>
                <a:lnTo>
                  <a:pt x="13310" y="5920"/>
                </a:lnTo>
                <a:lnTo>
                  <a:pt x="13308" y="5914"/>
                </a:lnTo>
                <a:lnTo>
                  <a:pt x="13306" y="5912"/>
                </a:lnTo>
                <a:lnTo>
                  <a:pt x="13306" y="5908"/>
                </a:lnTo>
                <a:close/>
                <a:moveTo>
                  <a:pt x="13336" y="5840"/>
                </a:moveTo>
                <a:lnTo>
                  <a:pt x="13336" y="5840"/>
                </a:lnTo>
                <a:lnTo>
                  <a:pt x="13328" y="5844"/>
                </a:lnTo>
                <a:lnTo>
                  <a:pt x="13322" y="5844"/>
                </a:lnTo>
                <a:lnTo>
                  <a:pt x="13318" y="5846"/>
                </a:lnTo>
                <a:lnTo>
                  <a:pt x="13316" y="5850"/>
                </a:lnTo>
                <a:lnTo>
                  <a:pt x="13314" y="5854"/>
                </a:lnTo>
                <a:lnTo>
                  <a:pt x="13312" y="5854"/>
                </a:lnTo>
                <a:lnTo>
                  <a:pt x="13306" y="5854"/>
                </a:lnTo>
                <a:lnTo>
                  <a:pt x="13304" y="5854"/>
                </a:lnTo>
                <a:lnTo>
                  <a:pt x="13306" y="5864"/>
                </a:lnTo>
                <a:lnTo>
                  <a:pt x="13310" y="5870"/>
                </a:lnTo>
                <a:lnTo>
                  <a:pt x="13312" y="5872"/>
                </a:lnTo>
                <a:lnTo>
                  <a:pt x="13326" y="5862"/>
                </a:lnTo>
                <a:lnTo>
                  <a:pt x="13330" y="5860"/>
                </a:lnTo>
                <a:lnTo>
                  <a:pt x="13334" y="5858"/>
                </a:lnTo>
                <a:lnTo>
                  <a:pt x="13336" y="5860"/>
                </a:lnTo>
                <a:lnTo>
                  <a:pt x="13338" y="5864"/>
                </a:lnTo>
                <a:lnTo>
                  <a:pt x="13340" y="5862"/>
                </a:lnTo>
                <a:lnTo>
                  <a:pt x="13348" y="5860"/>
                </a:lnTo>
                <a:lnTo>
                  <a:pt x="13354" y="5858"/>
                </a:lnTo>
                <a:lnTo>
                  <a:pt x="13360" y="5860"/>
                </a:lnTo>
                <a:lnTo>
                  <a:pt x="13360" y="5858"/>
                </a:lnTo>
                <a:lnTo>
                  <a:pt x="13358" y="5854"/>
                </a:lnTo>
                <a:lnTo>
                  <a:pt x="13360" y="5848"/>
                </a:lnTo>
                <a:lnTo>
                  <a:pt x="13358" y="5846"/>
                </a:lnTo>
                <a:lnTo>
                  <a:pt x="13354" y="5848"/>
                </a:lnTo>
                <a:lnTo>
                  <a:pt x="13350" y="5850"/>
                </a:lnTo>
                <a:lnTo>
                  <a:pt x="13350" y="5848"/>
                </a:lnTo>
                <a:lnTo>
                  <a:pt x="13352" y="5842"/>
                </a:lnTo>
                <a:lnTo>
                  <a:pt x="13358" y="5834"/>
                </a:lnTo>
                <a:lnTo>
                  <a:pt x="13360" y="5830"/>
                </a:lnTo>
                <a:lnTo>
                  <a:pt x="13360" y="5828"/>
                </a:lnTo>
                <a:lnTo>
                  <a:pt x="13358" y="5828"/>
                </a:lnTo>
                <a:lnTo>
                  <a:pt x="13356" y="5828"/>
                </a:lnTo>
                <a:lnTo>
                  <a:pt x="13346" y="5832"/>
                </a:lnTo>
                <a:lnTo>
                  <a:pt x="13336" y="5840"/>
                </a:lnTo>
                <a:close/>
                <a:moveTo>
                  <a:pt x="12084" y="5310"/>
                </a:moveTo>
                <a:lnTo>
                  <a:pt x="12084" y="5310"/>
                </a:lnTo>
                <a:lnTo>
                  <a:pt x="12086" y="5316"/>
                </a:lnTo>
                <a:lnTo>
                  <a:pt x="12090" y="5320"/>
                </a:lnTo>
                <a:lnTo>
                  <a:pt x="12098" y="5324"/>
                </a:lnTo>
                <a:lnTo>
                  <a:pt x="12106" y="5330"/>
                </a:lnTo>
                <a:lnTo>
                  <a:pt x="12112" y="5336"/>
                </a:lnTo>
                <a:lnTo>
                  <a:pt x="12116" y="5338"/>
                </a:lnTo>
                <a:lnTo>
                  <a:pt x="12120" y="5338"/>
                </a:lnTo>
                <a:lnTo>
                  <a:pt x="12122" y="5336"/>
                </a:lnTo>
                <a:lnTo>
                  <a:pt x="12124" y="5336"/>
                </a:lnTo>
                <a:lnTo>
                  <a:pt x="12126" y="5336"/>
                </a:lnTo>
                <a:lnTo>
                  <a:pt x="12128" y="5336"/>
                </a:lnTo>
                <a:lnTo>
                  <a:pt x="12132" y="5342"/>
                </a:lnTo>
                <a:lnTo>
                  <a:pt x="12140" y="5346"/>
                </a:lnTo>
                <a:lnTo>
                  <a:pt x="12148" y="5346"/>
                </a:lnTo>
                <a:lnTo>
                  <a:pt x="12160" y="5346"/>
                </a:lnTo>
                <a:lnTo>
                  <a:pt x="12172" y="5342"/>
                </a:lnTo>
                <a:lnTo>
                  <a:pt x="12184" y="5336"/>
                </a:lnTo>
                <a:lnTo>
                  <a:pt x="12196" y="5330"/>
                </a:lnTo>
                <a:lnTo>
                  <a:pt x="12204" y="5324"/>
                </a:lnTo>
                <a:lnTo>
                  <a:pt x="12208" y="5318"/>
                </a:lnTo>
                <a:lnTo>
                  <a:pt x="12212" y="5312"/>
                </a:lnTo>
                <a:lnTo>
                  <a:pt x="12214" y="5310"/>
                </a:lnTo>
                <a:lnTo>
                  <a:pt x="12218" y="5308"/>
                </a:lnTo>
                <a:lnTo>
                  <a:pt x="12220" y="5310"/>
                </a:lnTo>
                <a:lnTo>
                  <a:pt x="12228" y="5310"/>
                </a:lnTo>
                <a:lnTo>
                  <a:pt x="12232" y="5310"/>
                </a:lnTo>
                <a:lnTo>
                  <a:pt x="12236" y="5306"/>
                </a:lnTo>
                <a:lnTo>
                  <a:pt x="12238" y="5302"/>
                </a:lnTo>
                <a:lnTo>
                  <a:pt x="12240" y="5298"/>
                </a:lnTo>
                <a:lnTo>
                  <a:pt x="12236" y="5290"/>
                </a:lnTo>
                <a:lnTo>
                  <a:pt x="12234" y="5284"/>
                </a:lnTo>
                <a:lnTo>
                  <a:pt x="12234" y="5282"/>
                </a:lnTo>
                <a:lnTo>
                  <a:pt x="12238" y="5282"/>
                </a:lnTo>
                <a:lnTo>
                  <a:pt x="12242" y="5280"/>
                </a:lnTo>
                <a:lnTo>
                  <a:pt x="12246" y="5276"/>
                </a:lnTo>
                <a:lnTo>
                  <a:pt x="12250" y="5266"/>
                </a:lnTo>
                <a:lnTo>
                  <a:pt x="12250" y="5256"/>
                </a:lnTo>
                <a:lnTo>
                  <a:pt x="12250" y="5250"/>
                </a:lnTo>
                <a:lnTo>
                  <a:pt x="12246" y="5246"/>
                </a:lnTo>
                <a:lnTo>
                  <a:pt x="12242" y="5242"/>
                </a:lnTo>
                <a:lnTo>
                  <a:pt x="12236" y="5240"/>
                </a:lnTo>
                <a:lnTo>
                  <a:pt x="12218" y="5242"/>
                </a:lnTo>
                <a:lnTo>
                  <a:pt x="12216" y="5242"/>
                </a:lnTo>
                <a:lnTo>
                  <a:pt x="12214" y="5244"/>
                </a:lnTo>
                <a:lnTo>
                  <a:pt x="12212" y="5250"/>
                </a:lnTo>
                <a:lnTo>
                  <a:pt x="12216" y="5264"/>
                </a:lnTo>
                <a:lnTo>
                  <a:pt x="12220" y="5276"/>
                </a:lnTo>
                <a:lnTo>
                  <a:pt x="12218" y="5280"/>
                </a:lnTo>
                <a:lnTo>
                  <a:pt x="12214" y="5278"/>
                </a:lnTo>
                <a:lnTo>
                  <a:pt x="12206" y="5278"/>
                </a:lnTo>
                <a:lnTo>
                  <a:pt x="12202" y="5282"/>
                </a:lnTo>
                <a:lnTo>
                  <a:pt x="12196" y="5286"/>
                </a:lnTo>
                <a:lnTo>
                  <a:pt x="12194" y="5294"/>
                </a:lnTo>
                <a:lnTo>
                  <a:pt x="12190" y="5300"/>
                </a:lnTo>
                <a:lnTo>
                  <a:pt x="12186" y="5306"/>
                </a:lnTo>
                <a:lnTo>
                  <a:pt x="12180" y="5308"/>
                </a:lnTo>
                <a:lnTo>
                  <a:pt x="12174" y="5306"/>
                </a:lnTo>
                <a:lnTo>
                  <a:pt x="12170" y="5304"/>
                </a:lnTo>
                <a:lnTo>
                  <a:pt x="12168" y="5304"/>
                </a:lnTo>
                <a:lnTo>
                  <a:pt x="12164" y="5306"/>
                </a:lnTo>
                <a:lnTo>
                  <a:pt x="12162" y="5308"/>
                </a:lnTo>
                <a:lnTo>
                  <a:pt x="12158" y="5302"/>
                </a:lnTo>
                <a:lnTo>
                  <a:pt x="12156" y="5294"/>
                </a:lnTo>
                <a:lnTo>
                  <a:pt x="12158" y="5290"/>
                </a:lnTo>
                <a:lnTo>
                  <a:pt x="12160" y="5288"/>
                </a:lnTo>
                <a:lnTo>
                  <a:pt x="12160" y="5284"/>
                </a:lnTo>
                <a:lnTo>
                  <a:pt x="12160" y="5282"/>
                </a:lnTo>
                <a:lnTo>
                  <a:pt x="12158" y="5282"/>
                </a:lnTo>
                <a:lnTo>
                  <a:pt x="12154" y="5284"/>
                </a:lnTo>
                <a:lnTo>
                  <a:pt x="12150" y="5290"/>
                </a:lnTo>
                <a:lnTo>
                  <a:pt x="12150" y="5302"/>
                </a:lnTo>
                <a:lnTo>
                  <a:pt x="12150" y="5304"/>
                </a:lnTo>
                <a:lnTo>
                  <a:pt x="12148" y="5306"/>
                </a:lnTo>
                <a:lnTo>
                  <a:pt x="12140" y="5308"/>
                </a:lnTo>
                <a:lnTo>
                  <a:pt x="12130" y="5308"/>
                </a:lnTo>
                <a:lnTo>
                  <a:pt x="12118" y="5306"/>
                </a:lnTo>
                <a:lnTo>
                  <a:pt x="12106" y="5304"/>
                </a:lnTo>
                <a:lnTo>
                  <a:pt x="12094" y="5304"/>
                </a:lnTo>
                <a:lnTo>
                  <a:pt x="12088" y="5306"/>
                </a:lnTo>
                <a:lnTo>
                  <a:pt x="12086" y="5308"/>
                </a:lnTo>
                <a:lnTo>
                  <a:pt x="12084" y="5310"/>
                </a:lnTo>
                <a:close/>
                <a:moveTo>
                  <a:pt x="12010" y="5142"/>
                </a:moveTo>
                <a:lnTo>
                  <a:pt x="12010" y="5142"/>
                </a:lnTo>
                <a:lnTo>
                  <a:pt x="12010" y="5148"/>
                </a:lnTo>
                <a:lnTo>
                  <a:pt x="12014" y="5148"/>
                </a:lnTo>
                <a:lnTo>
                  <a:pt x="12022" y="5146"/>
                </a:lnTo>
                <a:lnTo>
                  <a:pt x="12032" y="5146"/>
                </a:lnTo>
                <a:lnTo>
                  <a:pt x="12040" y="5146"/>
                </a:lnTo>
                <a:lnTo>
                  <a:pt x="12046" y="5142"/>
                </a:lnTo>
                <a:lnTo>
                  <a:pt x="12046" y="5140"/>
                </a:lnTo>
                <a:lnTo>
                  <a:pt x="12046" y="5138"/>
                </a:lnTo>
                <a:lnTo>
                  <a:pt x="12044" y="5136"/>
                </a:lnTo>
                <a:lnTo>
                  <a:pt x="12042" y="5136"/>
                </a:lnTo>
                <a:lnTo>
                  <a:pt x="12032" y="5134"/>
                </a:lnTo>
                <a:lnTo>
                  <a:pt x="12022" y="5134"/>
                </a:lnTo>
                <a:lnTo>
                  <a:pt x="12014" y="5136"/>
                </a:lnTo>
                <a:lnTo>
                  <a:pt x="12012" y="5138"/>
                </a:lnTo>
                <a:lnTo>
                  <a:pt x="12010" y="5142"/>
                </a:lnTo>
                <a:close/>
                <a:moveTo>
                  <a:pt x="12154" y="5158"/>
                </a:moveTo>
                <a:lnTo>
                  <a:pt x="12154" y="5158"/>
                </a:lnTo>
                <a:lnTo>
                  <a:pt x="12154" y="5160"/>
                </a:lnTo>
                <a:lnTo>
                  <a:pt x="12154" y="5164"/>
                </a:lnTo>
                <a:lnTo>
                  <a:pt x="12158" y="5168"/>
                </a:lnTo>
                <a:lnTo>
                  <a:pt x="12166" y="5170"/>
                </a:lnTo>
                <a:lnTo>
                  <a:pt x="12168" y="5168"/>
                </a:lnTo>
                <a:lnTo>
                  <a:pt x="12170" y="5168"/>
                </a:lnTo>
                <a:lnTo>
                  <a:pt x="12172" y="5164"/>
                </a:lnTo>
                <a:lnTo>
                  <a:pt x="12172" y="5162"/>
                </a:lnTo>
                <a:lnTo>
                  <a:pt x="12166" y="5156"/>
                </a:lnTo>
                <a:lnTo>
                  <a:pt x="12164" y="5154"/>
                </a:lnTo>
                <a:lnTo>
                  <a:pt x="12160" y="5152"/>
                </a:lnTo>
                <a:lnTo>
                  <a:pt x="12156" y="5154"/>
                </a:lnTo>
                <a:lnTo>
                  <a:pt x="12154" y="5158"/>
                </a:lnTo>
                <a:close/>
                <a:moveTo>
                  <a:pt x="12228" y="5192"/>
                </a:moveTo>
                <a:lnTo>
                  <a:pt x="12228" y="5192"/>
                </a:lnTo>
                <a:lnTo>
                  <a:pt x="12208" y="5182"/>
                </a:lnTo>
                <a:lnTo>
                  <a:pt x="12196" y="5172"/>
                </a:lnTo>
                <a:lnTo>
                  <a:pt x="12190" y="5166"/>
                </a:lnTo>
                <a:lnTo>
                  <a:pt x="12186" y="5166"/>
                </a:lnTo>
                <a:lnTo>
                  <a:pt x="12186" y="5168"/>
                </a:lnTo>
                <a:lnTo>
                  <a:pt x="12180" y="5170"/>
                </a:lnTo>
                <a:lnTo>
                  <a:pt x="12178" y="5172"/>
                </a:lnTo>
                <a:lnTo>
                  <a:pt x="12182" y="5174"/>
                </a:lnTo>
                <a:lnTo>
                  <a:pt x="12186" y="5178"/>
                </a:lnTo>
                <a:lnTo>
                  <a:pt x="12200" y="5184"/>
                </a:lnTo>
                <a:lnTo>
                  <a:pt x="12208" y="5190"/>
                </a:lnTo>
                <a:lnTo>
                  <a:pt x="12216" y="5196"/>
                </a:lnTo>
                <a:lnTo>
                  <a:pt x="12222" y="5202"/>
                </a:lnTo>
                <a:lnTo>
                  <a:pt x="12232" y="5210"/>
                </a:lnTo>
                <a:lnTo>
                  <a:pt x="12242" y="5218"/>
                </a:lnTo>
                <a:lnTo>
                  <a:pt x="12254" y="5230"/>
                </a:lnTo>
                <a:lnTo>
                  <a:pt x="12258" y="5236"/>
                </a:lnTo>
                <a:lnTo>
                  <a:pt x="12260" y="5242"/>
                </a:lnTo>
                <a:lnTo>
                  <a:pt x="12260" y="5250"/>
                </a:lnTo>
                <a:lnTo>
                  <a:pt x="12260" y="5258"/>
                </a:lnTo>
                <a:lnTo>
                  <a:pt x="12262" y="5264"/>
                </a:lnTo>
                <a:lnTo>
                  <a:pt x="12264" y="5272"/>
                </a:lnTo>
                <a:lnTo>
                  <a:pt x="12268" y="5274"/>
                </a:lnTo>
                <a:lnTo>
                  <a:pt x="12272" y="5274"/>
                </a:lnTo>
                <a:lnTo>
                  <a:pt x="12276" y="5270"/>
                </a:lnTo>
                <a:lnTo>
                  <a:pt x="12278" y="5262"/>
                </a:lnTo>
                <a:lnTo>
                  <a:pt x="12278" y="5254"/>
                </a:lnTo>
                <a:lnTo>
                  <a:pt x="12278" y="5244"/>
                </a:lnTo>
                <a:lnTo>
                  <a:pt x="12274" y="5236"/>
                </a:lnTo>
                <a:lnTo>
                  <a:pt x="12266" y="5230"/>
                </a:lnTo>
                <a:lnTo>
                  <a:pt x="12252" y="5218"/>
                </a:lnTo>
                <a:lnTo>
                  <a:pt x="12244" y="5208"/>
                </a:lnTo>
                <a:lnTo>
                  <a:pt x="12236" y="5200"/>
                </a:lnTo>
                <a:lnTo>
                  <a:pt x="12228" y="5192"/>
                </a:lnTo>
                <a:close/>
                <a:moveTo>
                  <a:pt x="12134" y="5108"/>
                </a:moveTo>
                <a:lnTo>
                  <a:pt x="12134" y="5108"/>
                </a:lnTo>
                <a:lnTo>
                  <a:pt x="12134" y="5112"/>
                </a:lnTo>
                <a:lnTo>
                  <a:pt x="12136" y="5116"/>
                </a:lnTo>
                <a:lnTo>
                  <a:pt x="12138" y="5118"/>
                </a:lnTo>
                <a:lnTo>
                  <a:pt x="12144" y="5120"/>
                </a:lnTo>
                <a:lnTo>
                  <a:pt x="12146" y="5118"/>
                </a:lnTo>
                <a:lnTo>
                  <a:pt x="12144" y="5112"/>
                </a:lnTo>
                <a:lnTo>
                  <a:pt x="12140" y="5108"/>
                </a:lnTo>
                <a:lnTo>
                  <a:pt x="12136" y="5106"/>
                </a:lnTo>
                <a:lnTo>
                  <a:pt x="12134" y="5108"/>
                </a:lnTo>
                <a:close/>
                <a:moveTo>
                  <a:pt x="12378" y="5340"/>
                </a:moveTo>
                <a:lnTo>
                  <a:pt x="12378" y="5340"/>
                </a:lnTo>
                <a:lnTo>
                  <a:pt x="12374" y="5338"/>
                </a:lnTo>
                <a:lnTo>
                  <a:pt x="12370" y="5334"/>
                </a:lnTo>
                <a:lnTo>
                  <a:pt x="12364" y="5324"/>
                </a:lnTo>
                <a:lnTo>
                  <a:pt x="12360" y="5314"/>
                </a:lnTo>
                <a:lnTo>
                  <a:pt x="12356" y="5310"/>
                </a:lnTo>
                <a:lnTo>
                  <a:pt x="12352" y="5308"/>
                </a:lnTo>
                <a:lnTo>
                  <a:pt x="12348" y="5306"/>
                </a:lnTo>
                <a:lnTo>
                  <a:pt x="12346" y="5302"/>
                </a:lnTo>
                <a:lnTo>
                  <a:pt x="12342" y="5290"/>
                </a:lnTo>
                <a:lnTo>
                  <a:pt x="12340" y="5284"/>
                </a:lnTo>
                <a:lnTo>
                  <a:pt x="12338" y="5282"/>
                </a:lnTo>
                <a:lnTo>
                  <a:pt x="12334" y="5284"/>
                </a:lnTo>
                <a:lnTo>
                  <a:pt x="12334" y="5288"/>
                </a:lnTo>
                <a:lnTo>
                  <a:pt x="12334" y="5290"/>
                </a:lnTo>
                <a:lnTo>
                  <a:pt x="12336" y="5296"/>
                </a:lnTo>
                <a:lnTo>
                  <a:pt x="12342" y="5304"/>
                </a:lnTo>
                <a:lnTo>
                  <a:pt x="12342" y="5308"/>
                </a:lnTo>
                <a:lnTo>
                  <a:pt x="12342" y="5314"/>
                </a:lnTo>
                <a:lnTo>
                  <a:pt x="12342" y="5322"/>
                </a:lnTo>
                <a:lnTo>
                  <a:pt x="12344" y="5328"/>
                </a:lnTo>
                <a:lnTo>
                  <a:pt x="12350" y="5336"/>
                </a:lnTo>
                <a:lnTo>
                  <a:pt x="12358" y="5346"/>
                </a:lnTo>
                <a:lnTo>
                  <a:pt x="12362" y="5350"/>
                </a:lnTo>
                <a:lnTo>
                  <a:pt x="12362" y="5354"/>
                </a:lnTo>
                <a:lnTo>
                  <a:pt x="12364" y="5364"/>
                </a:lnTo>
                <a:lnTo>
                  <a:pt x="12370" y="5368"/>
                </a:lnTo>
                <a:lnTo>
                  <a:pt x="12378" y="5370"/>
                </a:lnTo>
                <a:lnTo>
                  <a:pt x="12388" y="5370"/>
                </a:lnTo>
                <a:lnTo>
                  <a:pt x="12390" y="5368"/>
                </a:lnTo>
                <a:lnTo>
                  <a:pt x="12392" y="5364"/>
                </a:lnTo>
                <a:lnTo>
                  <a:pt x="12392" y="5360"/>
                </a:lnTo>
                <a:lnTo>
                  <a:pt x="12392" y="5356"/>
                </a:lnTo>
                <a:lnTo>
                  <a:pt x="12386" y="5346"/>
                </a:lnTo>
                <a:lnTo>
                  <a:pt x="12382" y="5342"/>
                </a:lnTo>
                <a:lnTo>
                  <a:pt x="12378" y="5340"/>
                </a:lnTo>
                <a:close/>
                <a:moveTo>
                  <a:pt x="12070" y="5308"/>
                </a:moveTo>
                <a:lnTo>
                  <a:pt x="12070" y="5308"/>
                </a:lnTo>
                <a:lnTo>
                  <a:pt x="12064" y="5304"/>
                </a:lnTo>
                <a:lnTo>
                  <a:pt x="12062" y="5304"/>
                </a:lnTo>
                <a:lnTo>
                  <a:pt x="12062" y="5306"/>
                </a:lnTo>
                <a:lnTo>
                  <a:pt x="12062" y="5310"/>
                </a:lnTo>
                <a:lnTo>
                  <a:pt x="12066" y="5320"/>
                </a:lnTo>
                <a:lnTo>
                  <a:pt x="12068" y="5322"/>
                </a:lnTo>
                <a:lnTo>
                  <a:pt x="12070" y="5322"/>
                </a:lnTo>
                <a:lnTo>
                  <a:pt x="12072" y="5322"/>
                </a:lnTo>
                <a:lnTo>
                  <a:pt x="12074" y="5320"/>
                </a:lnTo>
                <a:lnTo>
                  <a:pt x="12074" y="5314"/>
                </a:lnTo>
                <a:lnTo>
                  <a:pt x="12074" y="5310"/>
                </a:lnTo>
                <a:lnTo>
                  <a:pt x="12070" y="5308"/>
                </a:lnTo>
                <a:close/>
                <a:moveTo>
                  <a:pt x="12042" y="5304"/>
                </a:moveTo>
                <a:lnTo>
                  <a:pt x="12042" y="5304"/>
                </a:lnTo>
                <a:lnTo>
                  <a:pt x="12044" y="5302"/>
                </a:lnTo>
                <a:lnTo>
                  <a:pt x="12044" y="5300"/>
                </a:lnTo>
                <a:lnTo>
                  <a:pt x="12040" y="5294"/>
                </a:lnTo>
                <a:lnTo>
                  <a:pt x="12036" y="5290"/>
                </a:lnTo>
                <a:lnTo>
                  <a:pt x="12034" y="5292"/>
                </a:lnTo>
                <a:lnTo>
                  <a:pt x="12032" y="5292"/>
                </a:lnTo>
                <a:lnTo>
                  <a:pt x="12030" y="5296"/>
                </a:lnTo>
                <a:lnTo>
                  <a:pt x="12030" y="5298"/>
                </a:lnTo>
                <a:lnTo>
                  <a:pt x="12032" y="5304"/>
                </a:lnTo>
                <a:lnTo>
                  <a:pt x="12038" y="5306"/>
                </a:lnTo>
                <a:lnTo>
                  <a:pt x="12042" y="5304"/>
                </a:lnTo>
                <a:close/>
                <a:moveTo>
                  <a:pt x="11990" y="5256"/>
                </a:moveTo>
                <a:lnTo>
                  <a:pt x="11990" y="5256"/>
                </a:lnTo>
                <a:lnTo>
                  <a:pt x="11988" y="5256"/>
                </a:lnTo>
                <a:lnTo>
                  <a:pt x="11986" y="5256"/>
                </a:lnTo>
                <a:lnTo>
                  <a:pt x="11984" y="5260"/>
                </a:lnTo>
                <a:lnTo>
                  <a:pt x="11984" y="5266"/>
                </a:lnTo>
                <a:lnTo>
                  <a:pt x="11986" y="5270"/>
                </a:lnTo>
                <a:lnTo>
                  <a:pt x="11988" y="5272"/>
                </a:lnTo>
                <a:lnTo>
                  <a:pt x="11990" y="5272"/>
                </a:lnTo>
                <a:lnTo>
                  <a:pt x="11994" y="5268"/>
                </a:lnTo>
                <a:lnTo>
                  <a:pt x="11994" y="5262"/>
                </a:lnTo>
                <a:lnTo>
                  <a:pt x="11994" y="5260"/>
                </a:lnTo>
                <a:lnTo>
                  <a:pt x="11990" y="5256"/>
                </a:lnTo>
                <a:close/>
                <a:moveTo>
                  <a:pt x="12272" y="5478"/>
                </a:moveTo>
                <a:lnTo>
                  <a:pt x="12272" y="5478"/>
                </a:lnTo>
                <a:lnTo>
                  <a:pt x="12264" y="5474"/>
                </a:lnTo>
                <a:lnTo>
                  <a:pt x="12258" y="5474"/>
                </a:lnTo>
                <a:lnTo>
                  <a:pt x="12256" y="5476"/>
                </a:lnTo>
                <a:lnTo>
                  <a:pt x="12258" y="5478"/>
                </a:lnTo>
                <a:lnTo>
                  <a:pt x="12260" y="5480"/>
                </a:lnTo>
                <a:lnTo>
                  <a:pt x="12260" y="5482"/>
                </a:lnTo>
                <a:lnTo>
                  <a:pt x="12262" y="5486"/>
                </a:lnTo>
                <a:lnTo>
                  <a:pt x="12266" y="5486"/>
                </a:lnTo>
                <a:lnTo>
                  <a:pt x="12270" y="5488"/>
                </a:lnTo>
                <a:lnTo>
                  <a:pt x="12274" y="5486"/>
                </a:lnTo>
                <a:lnTo>
                  <a:pt x="12276" y="5482"/>
                </a:lnTo>
                <a:lnTo>
                  <a:pt x="12272" y="5478"/>
                </a:lnTo>
                <a:close/>
                <a:moveTo>
                  <a:pt x="12280" y="5594"/>
                </a:moveTo>
                <a:lnTo>
                  <a:pt x="12280" y="5594"/>
                </a:lnTo>
                <a:lnTo>
                  <a:pt x="12286" y="5598"/>
                </a:lnTo>
                <a:lnTo>
                  <a:pt x="12296" y="5602"/>
                </a:lnTo>
                <a:lnTo>
                  <a:pt x="12302" y="5604"/>
                </a:lnTo>
                <a:lnTo>
                  <a:pt x="12304" y="5604"/>
                </a:lnTo>
                <a:lnTo>
                  <a:pt x="12304" y="5602"/>
                </a:lnTo>
                <a:lnTo>
                  <a:pt x="12298" y="5596"/>
                </a:lnTo>
                <a:lnTo>
                  <a:pt x="12288" y="5592"/>
                </a:lnTo>
                <a:lnTo>
                  <a:pt x="12280" y="5590"/>
                </a:lnTo>
                <a:lnTo>
                  <a:pt x="12280" y="5594"/>
                </a:lnTo>
                <a:close/>
                <a:moveTo>
                  <a:pt x="12164" y="5488"/>
                </a:moveTo>
                <a:lnTo>
                  <a:pt x="12164" y="5488"/>
                </a:lnTo>
                <a:lnTo>
                  <a:pt x="12160" y="5486"/>
                </a:lnTo>
                <a:lnTo>
                  <a:pt x="12158" y="5486"/>
                </a:lnTo>
                <a:lnTo>
                  <a:pt x="12156" y="5492"/>
                </a:lnTo>
                <a:lnTo>
                  <a:pt x="12160" y="5498"/>
                </a:lnTo>
                <a:lnTo>
                  <a:pt x="12164" y="5502"/>
                </a:lnTo>
                <a:lnTo>
                  <a:pt x="12166" y="5502"/>
                </a:lnTo>
                <a:lnTo>
                  <a:pt x="12168" y="5500"/>
                </a:lnTo>
                <a:lnTo>
                  <a:pt x="12168" y="5494"/>
                </a:lnTo>
                <a:lnTo>
                  <a:pt x="12164" y="5488"/>
                </a:lnTo>
                <a:close/>
                <a:moveTo>
                  <a:pt x="12190" y="5504"/>
                </a:moveTo>
                <a:lnTo>
                  <a:pt x="12190" y="5504"/>
                </a:lnTo>
                <a:lnTo>
                  <a:pt x="12188" y="5498"/>
                </a:lnTo>
                <a:lnTo>
                  <a:pt x="12182" y="5494"/>
                </a:lnTo>
                <a:lnTo>
                  <a:pt x="12178" y="5494"/>
                </a:lnTo>
                <a:lnTo>
                  <a:pt x="12176" y="5494"/>
                </a:lnTo>
                <a:lnTo>
                  <a:pt x="12174" y="5496"/>
                </a:lnTo>
                <a:lnTo>
                  <a:pt x="12172" y="5500"/>
                </a:lnTo>
                <a:lnTo>
                  <a:pt x="12170" y="5506"/>
                </a:lnTo>
                <a:lnTo>
                  <a:pt x="12170" y="5508"/>
                </a:lnTo>
                <a:lnTo>
                  <a:pt x="12174" y="5510"/>
                </a:lnTo>
                <a:lnTo>
                  <a:pt x="12186" y="5510"/>
                </a:lnTo>
                <a:lnTo>
                  <a:pt x="12188" y="5510"/>
                </a:lnTo>
                <a:lnTo>
                  <a:pt x="12190" y="5504"/>
                </a:lnTo>
                <a:close/>
                <a:moveTo>
                  <a:pt x="12204" y="5532"/>
                </a:moveTo>
                <a:lnTo>
                  <a:pt x="12204" y="5532"/>
                </a:lnTo>
                <a:lnTo>
                  <a:pt x="12206" y="5526"/>
                </a:lnTo>
                <a:lnTo>
                  <a:pt x="12204" y="5522"/>
                </a:lnTo>
                <a:lnTo>
                  <a:pt x="12202" y="5520"/>
                </a:lnTo>
                <a:lnTo>
                  <a:pt x="12200" y="5522"/>
                </a:lnTo>
                <a:lnTo>
                  <a:pt x="12198" y="5524"/>
                </a:lnTo>
                <a:lnTo>
                  <a:pt x="12196" y="5524"/>
                </a:lnTo>
                <a:lnTo>
                  <a:pt x="12192" y="5520"/>
                </a:lnTo>
                <a:lnTo>
                  <a:pt x="12188" y="5516"/>
                </a:lnTo>
                <a:lnTo>
                  <a:pt x="12186" y="5518"/>
                </a:lnTo>
                <a:lnTo>
                  <a:pt x="12188" y="5526"/>
                </a:lnTo>
                <a:lnTo>
                  <a:pt x="12194" y="5532"/>
                </a:lnTo>
                <a:lnTo>
                  <a:pt x="12198" y="5536"/>
                </a:lnTo>
                <a:lnTo>
                  <a:pt x="12202" y="5534"/>
                </a:lnTo>
                <a:lnTo>
                  <a:pt x="12204" y="5532"/>
                </a:lnTo>
                <a:close/>
                <a:moveTo>
                  <a:pt x="12424" y="5380"/>
                </a:moveTo>
                <a:lnTo>
                  <a:pt x="12424" y="5380"/>
                </a:lnTo>
                <a:lnTo>
                  <a:pt x="12430" y="5386"/>
                </a:lnTo>
                <a:lnTo>
                  <a:pt x="12436" y="5394"/>
                </a:lnTo>
                <a:lnTo>
                  <a:pt x="12446" y="5398"/>
                </a:lnTo>
                <a:lnTo>
                  <a:pt x="12450" y="5400"/>
                </a:lnTo>
                <a:lnTo>
                  <a:pt x="12454" y="5400"/>
                </a:lnTo>
                <a:lnTo>
                  <a:pt x="12458" y="5398"/>
                </a:lnTo>
                <a:lnTo>
                  <a:pt x="12454" y="5394"/>
                </a:lnTo>
                <a:lnTo>
                  <a:pt x="12446" y="5390"/>
                </a:lnTo>
                <a:lnTo>
                  <a:pt x="12444" y="5388"/>
                </a:lnTo>
                <a:lnTo>
                  <a:pt x="12442" y="5384"/>
                </a:lnTo>
                <a:lnTo>
                  <a:pt x="12438" y="5376"/>
                </a:lnTo>
                <a:lnTo>
                  <a:pt x="12434" y="5372"/>
                </a:lnTo>
                <a:lnTo>
                  <a:pt x="12416" y="5360"/>
                </a:lnTo>
                <a:lnTo>
                  <a:pt x="12412" y="5358"/>
                </a:lnTo>
                <a:lnTo>
                  <a:pt x="12410" y="5358"/>
                </a:lnTo>
                <a:lnTo>
                  <a:pt x="12412" y="5366"/>
                </a:lnTo>
                <a:lnTo>
                  <a:pt x="12414" y="5370"/>
                </a:lnTo>
                <a:lnTo>
                  <a:pt x="12418" y="5372"/>
                </a:lnTo>
                <a:lnTo>
                  <a:pt x="12422" y="5376"/>
                </a:lnTo>
                <a:lnTo>
                  <a:pt x="12424" y="5380"/>
                </a:lnTo>
                <a:close/>
                <a:moveTo>
                  <a:pt x="12528" y="5426"/>
                </a:moveTo>
                <a:lnTo>
                  <a:pt x="12528" y="5426"/>
                </a:lnTo>
                <a:lnTo>
                  <a:pt x="12520" y="5420"/>
                </a:lnTo>
                <a:lnTo>
                  <a:pt x="12516" y="5416"/>
                </a:lnTo>
                <a:lnTo>
                  <a:pt x="12512" y="5412"/>
                </a:lnTo>
                <a:lnTo>
                  <a:pt x="12502" y="5408"/>
                </a:lnTo>
                <a:lnTo>
                  <a:pt x="12498" y="5406"/>
                </a:lnTo>
                <a:lnTo>
                  <a:pt x="12496" y="5406"/>
                </a:lnTo>
                <a:lnTo>
                  <a:pt x="12498" y="5416"/>
                </a:lnTo>
                <a:lnTo>
                  <a:pt x="12500" y="5422"/>
                </a:lnTo>
                <a:lnTo>
                  <a:pt x="12504" y="5426"/>
                </a:lnTo>
                <a:lnTo>
                  <a:pt x="12518" y="5434"/>
                </a:lnTo>
                <a:lnTo>
                  <a:pt x="12534" y="5444"/>
                </a:lnTo>
                <a:lnTo>
                  <a:pt x="12548" y="5452"/>
                </a:lnTo>
                <a:lnTo>
                  <a:pt x="12552" y="5456"/>
                </a:lnTo>
                <a:lnTo>
                  <a:pt x="12552" y="5454"/>
                </a:lnTo>
                <a:lnTo>
                  <a:pt x="12550" y="5446"/>
                </a:lnTo>
                <a:lnTo>
                  <a:pt x="12540" y="5434"/>
                </a:lnTo>
                <a:lnTo>
                  <a:pt x="12534" y="5430"/>
                </a:lnTo>
                <a:lnTo>
                  <a:pt x="12528" y="5426"/>
                </a:lnTo>
                <a:close/>
                <a:moveTo>
                  <a:pt x="12608" y="5498"/>
                </a:moveTo>
                <a:lnTo>
                  <a:pt x="12608" y="5498"/>
                </a:lnTo>
                <a:lnTo>
                  <a:pt x="12608" y="5492"/>
                </a:lnTo>
                <a:lnTo>
                  <a:pt x="12608" y="5488"/>
                </a:lnTo>
                <a:lnTo>
                  <a:pt x="12606" y="5482"/>
                </a:lnTo>
                <a:lnTo>
                  <a:pt x="12602" y="5476"/>
                </a:lnTo>
                <a:lnTo>
                  <a:pt x="12598" y="5472"/>
                </a:lnTo>
                <a:lnTo>
                  <a:pt x="12596" y="5468"/>
                </a:lnTo>
                <a:lnTo>
                  <a:pt x="12594" y="5458"/>
                </a:lnTo>
                <a:lnTo>
                  <a:pt x="12590" y="5450"/>
                </a:lnTo>
                <a:lnTo>
                  <a:pt x="12586" y="5446"/>
                </a:lnTo>
                <a:lnTo>
                  <a:pt x="12582" y="5444"/>
                </a:lnTo>
                <a:lnTo>
                  <a:pt x="12578" y="5444"/>
                </a:lnTo>
                <a:lnTo>
                  <a:pt x="12576" y="5444"/>
                </a:lnTo>
                <a:lnTo>
                  <a:pt x="12578" y="5450"/>
                </a:lnTo>
                <a:lnTo>
                  <a:pt x="12582" y="5462"/>
                </a:lnTo>
                <a:lnTo>
                  <a:pt x="12586" y="5480"/>
                </a:lnTo>
                <a:lnTo>
                  <a:pt x="12588" y="5484"/>
                </a:lnTo>
                <a:lnTo>
                  <a:pt x="12592" y="5488"/>
                </a:lnTo>
                <a:lnTo>
                  <a:pt x="12596" y="5492"/>
                </a:lnTo>
                <a:lnTo>
                  <a:pt x="12600" y="5498"/>
                </a:lnTo>
                <a:lnTo>
                  <a:pt x="12606" y="5504"/>
                </a:lnTo>
                <a:lnTo>
                  <a:pt x="12610" y="5508"/>
                </a:lnTo>
                <a:lnTo>
                  <a:pt x="12612" y="5508"/>
                </a:lnTo>
                <a:lnTo>
                  <a:pt x="12612" y="5506"/>
                </a:lnTo>
                <a:lnTo>
                  <a:pt x="12608" y="5498"/>
                </a:lnTo>
                <a:close/>
                <a:moveTo>
                  <a:pt x="12552" y="5494"/>
                </a:moveTo>
                <a:lnTo>
                  <a:pt x="12552" y="5494"/>
                </a:lnTo>
                <a:lnTo>
                  <a:pt x="12548" y="5490"/>
                </a:lnTo>
                <a:lnTo>
                  <a:pt x="12544" y="5490"/>
                </a:lnTo>
                <a:lnTo>
                  <a:pt x="12540" y="5492"/>
                </a:lnTo>
                <a:lnTo>
                  <a:pt x="12540" y="5502"/>
                </a:lnTo>
                <a:lnTo>
                  <a:pt x="12542" y="5508"/>
                </a:lnTo>
                <a:lnTo>
                  <a:pt x="12546" y="5512"/>
                </a:lnTo>
                <a:lnTo>
                  <a:pt x="12554" y="5516"/>
                </a:lnTo>
                <a:lnTo>
                  <a:pt x="12562" y="5516"/>
                </a:lnTo>
                <a:lnTo>
                  <a:pt x="12570" y="5516"/>
                </a:lnTo>
                <a:lnTo>
                  <a:pt x="12572" y="5518"/>
                </a:lnTo>
                <a:lnTo>
                  <a:pt x="12574" y="5520"/>
                </a:lnTo>
                <a:lnTo>
                  <a:pt x="12582" y="5522"/>
                </a:lnTo>
                <a:lnTo>
                  <a:pt x="12586" y="5522"/>
                </a:lnTo>
                <a:lnTo>
                  <a:pt x="12590" y="5520"/>
                </a:lnTo>
                <a:lnTo>
                  <a:pt x="12590" y="5518"/>
                </a:lnTo>
                <a:lnTo>
                  <a:pt x="12590" y="5516"/>
                </a:lnTo>
                <a:lnTo>
                  <a:pt x="12584" y="5508"/>
                </a:lnTo>
                <a:lnTo>
                  <a:pt x="12576" y="5500"/>
                </a:lnTo>
                <a:lnTo>
                  <a:pt x="12574" y="5496"/>
                </a:lnTo>
                <a:lnTo>
                  <a:pt x="12570" y="5496"/>
                </a:lnTo>
                <a:lnTo>
                  <a:pt x="12562" y="5496"/>
                </a:lnTo>
                <a:lnTo>
                  <a:pt x="12556" y="5496"/>
                </a:lnTo>
                <a:lnTo>
                  <a:pt x="12554" y="5496"/>
                </a:lnTo>
                <a:lnTo>
                  <a:pt x="12552" y="5494"/>
                </a:lnTo>
                <a:close/>
                <a:moveTo>
                  <a:pt x="12636" y="5548"/>
                </a:moveTo>
                <a:lnTo>
                  <a:pt x="12636" y="5548"/>
                </a:lnTo>
                <a:lnTo>
                  <a:pt x="12628" y="5546"/>
                </a:lnTo>
                <a:lnTo>
                  <a:pt x="12620" y="5540"/>
                </a:lnTo>
                <a:lnTo>
                  <a:pt x="12612" y="5538"/>
                </a:lnTo>
                <a:lnTo>
                  <a:pt x="12608" y="5538"/>
                </a:lnTo>
                <a:lnTo>
                  <a:pt x="12606" y="5538"/>
                </a:lnTo>
                <a:lnTo>
                  <a:pt x="12604" y="5540"/>
                </a:lnTo>
                <a:lnTo>
                  <a:pt x="12606" y="5542"/>
                </a:lnTo>
                <a:lnTo>
                  <a:pt x="12608" y="5544"/>
                </a:lnTo>
                <a:lnTo>
                  <a:pt x="12612" y="5546"/>
                </a:lnTo>
                <a:lnTo>
                  <a:pt x="12614" y="5548"/>
                </a:lnTo>
                <a:lnTo>
                  <a:pt x="12614" y="5552"/>
                </a:lnTo>
                <a:lnTo>
                  <a:pt x="12616" y="5554"/>
                </a:lnTo>
                <a:lnTo>
                  <a:pt x="12618" y="5558"/>
                </a:lnTo>
                <a:lnTo>
                  <a:pt x="12628" y="5564"/>
                </a:lnTo>
                <a:lnTo>
                  <a:pt x="12638" y="5566"/>
                </a:lnTo>
                <a:lnTo>
                  <a:pt x="12646" y="5568"/>
                </a:lnTo>
                <a:lnTo>
                  <a:pt x="12648" y="5568"/>
                </a:lnTo>
                <a:lnTo>
                  <a:pt x="12648" y="5564"/>
                </a:lnTo>
                <a:lnTo>
                  <a:pt x="12646" y="5558"/>
                </a:lnTo>
                <a:lnTo>
                  <a:pt x="12642" y="5552"/>
                </a:lnTo>
                <a:lnTo>
                  <a:pt x="12640" y="5548"/>
                </a:lnTo>
                <a:lnTo>
                  <a:pt x="12636" y="5548"/>
                </a:lnTo>
                <a:close/>
                <a:moveTo>
                  <a:pt x="12554" y="5600"/>
                </a:moveTo>
                <a:lnTo>
                  <a:pt x="12554" y="5600"/>
                </a:lnTo>
                <a:lnTo>
                  <a:pt x="12558" y="5604"/>
                </a:lnTo>
                <a:lnTo>
                  <a:pt x="12564" y="5610"/>
                </a:lnTo>
                <a:lnTo>
                  <a:pt x="12574" y="5614"/>
                </a:lnTo>
                <a:lnTo>
                  <a:pt x="12576" y="5616"/>
                </a:lnTo>
                <a:lnTo>
                  <a:pt x="12580" y="5614"/>
                </a:lnTo>
                <a:lnTo>
                  <a:pt x="12580" y="5612"/>
                </a:lnTo>
                <a:lnTo>
                  <a:pt x="12578" y="5610"/>
                </a:lnTo>
                <a:lnTo>
                  <a:pt x="12570" y="5602"/>
                </a:lnTo>
                <a:lnTo>
                  <a:pt x="12560" y="5598"/>
                </a:lnTo>
                <a:lnTo>
                  <a:pt x="12556" y="5598"/>
                </a:lnTo>
                <a:lnTo>
                  <a:pt x="12554" y="5600"/>
                </a:lnTo>
                <a:close/>
                <a:moveTo>
                  <a:pt x="12456" y="5426"/>
                </a:moveTo>
                <a:lnTo>
                  <a:pt x="12456" y="5426"/>
                </a:lnTo>
                <a:lnTo>
                  <a:pt x="12454" y="5426"/>
                </a:lnTo>
                <a:lnTo>
                  <a:pt x="12450" y="5428"/>
                </a:lnTo>
                <a:lnTo>
                  <a:pt x="12446" y="5434"/>
                </a:lnTo>
                <a:lnTo>
                  <a:pt x="12446" y="5442"/>
                </a:lnTo>
                <a:lnTo>
                  <a:pt x="12448" y="5444"/>
                </a:lnTo>
                <a:lnTo>
                  <a:pt x="12450" y="5444"/>
                </a:lnTo>
                <a:lnTo>
                  <a:pt x="12456" y="5442"/>
                </a:lnTo>
                <a:lnTo>
                  <a:pt x="12458" y="5444"/>
                </a:lnTo>
                <a:lnTo>
                  <a:pt x="12460" y="5448"/>
                </a:lnTo>
                <a:lnTo>
                  <a:pt x="12464" y="5454"/>
                </a:lnTo>
                <a:lnTo>
                  <a:pt x="12468" y="5454"/>
                </a:lnTo>
                <a:lnTo>
                  <a:pt x="12470" y="5452"/>
                </a:lnTo>
                <a:lnTo>
                  <a:pt x="12468" y="5446"/>
                </a:lnTo>
                <a:lnTo>
                  <a:pt x="12464" y="5440"/>
                </a:lnTo>
                <a:lnTo>
                  <a:pt x="12460" y="5436"/>
                </a:lnTo>
                <a:lnTo>
                  <a:pt x="12460" y="5432"/>
                </a:lnTo>
                <a:lnTo>
                  <a:pt x="12460" y="5428"/>
                </a:lnTo>
                <a:lnTo>
                  <a:pt x="12456" y="5426"/>
                </a:lnTo>
                <a:close/>
                <a:moveTo>
                  <a:pt x="12432" y="5420"/>
                </a:moveTo>
                <a:lnTo>
                  <a:pt x="12432" y="5420"/>
                </a:lnTo>
                <a:lnTo>
                  <a:pt x="12432" y="5426"/>
                </a:lnTo>
                <a:lnTo>
                  <a:pt x="12436" y="5432"/>
                </a:lnTo>
                <a:lnTo>
                  <a:pt x="12438" y="5434"/>
                </a:lnTo>
                <a:lnTo>
                  <a:pt x="12440" y="5434"/>
                </a:lnTo>
                <a:lnTo>
                  <a:pt x="12442" y="5432"/>
                </a:lnTo>
                <a:lnTo>
                  <a:pt x="12444" y="5428"/>
                </a:lnTo>
                <a:lnTo>
                  <a:pt x="12444" y="5426"/>
                </a:lnTo>
                <a:lnTo>
                  <a:pt x="12440" y="5420"/>
                </a:lnTo>
                <a:lnTo>
                  <a:pt x="12436" y="5418"/>
                </a:lnTo>
                <a:lnTo>
                  <a:pt x="12434" y="5418"/>
                </a:lnTo>
                <a:lnTo>
                  <a:pt x="12432" y="5420"/>
                </a:lnTo>
                <a:close/>
                <a:moveTo>
                  <a:pt x="12414" y="5408"/>
                </a:moveTo>
                <a:lnTo>
                  <a:pt x="12414" y="5408"/>
                </a:lnTo>
                <a:lnTo>
                  <a:pt x="12416" y="5412"/>
                </a:lnTo>
                <a:lnTo>
                  <a:pt x="12418" y="5418"/>
                </a:lnTo>
                <a:lnTo>
                  <a:pt x="12422" y="5420"/>
                </a:lnTo>
                <a:lnTo>
                  <a:pt x="12424" y="5420"/>
                </a:lnTo>
                <a:lnTo>
                  <a:pt x="12428" y="5418"/>
                </a:lnTo>
                <a:lnTo>
                  <a:pt x="12428" y="5416"/>
                </a:lnTo>
                <a:lnTo>
                  <a:pt x="12428" y="5414"/>
                </a:lnTo>
                <a:lnTo>
                  <a:pt x="12424" y="5408"/>
                </a:lnTo>
                <a:lnTo>
                  <a:pt x="12418" y="5406"/>
                </a:lnTo>
                <a:lnTo>
                  <a:pt x="12416" y="5406"/>
                </a:lnTo>
                <a:lnTo>
                  <a:pt x="12414" y="5408"/>
                </a:lnTo>
                <a:close/>
                <a:moveTo>
                  <a:pt x="12472" y="5456"/>
                </a:moveTo>
                <a:lnTo>
                  <a:pt x="12472" y="5456"/>
                </a:lnTo>
                <a:lnTo>
                  <a:pt x="12470" y="5460"/>
                </a:lnTo>
                <a:lnTo>
                  <a:pt x="12472" y="5464"/>
                </a:lnTo>
                <a:lnTo>
                  <a:pt x="12474" y="5464"/>
                </a:lnTo>
                <a:lnTo>
                  <a:pt x="12480" y="5464"/>
                </a:lnTo>
                <a:lnTo>
                  <a:pt x="12482" y="5462"/>
                </a:lnTo>
                <a:lnTo>
                  <a:pt x="12482" y="5460"/>
                </a:lnTo>
                <a:lnTo>
                  <a:pt x="12480" y="5456"/>
                </a:lnTo>
                <a:lnTo>
                  <a:pt x="12476" y="5454"/>
                </a:lnTo>
                <a:lnTo>
                  <a:pt x="12474" y="5454"/>
                </a:lnTo>
                <a:lnTo>
                  <a:pt x="12472" y="5456"/>
                </a:lnTo>
                <a:close/>
                <a:moveTo>
                  <a:pt x="12382" y="5382"/>
                </a:moveTo>
                <a:lnTo>
                  <a:pt x="12382" y="5382"/>
                </a:lnTo>
                <a:lnTo>
                  <a:pt x="12382" y="5384"/>
                </a:lnTo>
                <a:lnTo>
                  <a:pt x="12386" y="5386"/>
                </a:lnTo>
                <a:lnTo>
                  <a:pt x="12388" y="5386"/>
                </a:lnTo>
                <a:lnTo>
                  <a:pt x="12390" y="5384"/>
                </a:lnTo>
                <a:lnTo>
                  <a:pt x="12390" y="5380"/>
                </a:lnTo>
                <a:lnTo>
                  <a:pt x="12386" y="5378"/>
                </a:lnTo>
                <a:lnTo>
                  <a:pt x="12384" y="5378"/>
                </a:lnTo>
                <a:lnTo>
                  <a:pt x="12382" y="5382"/>
                </a:lnTo>
                <a:close/>
                <a:moveTo>
                  <a:pt x="12828" y="5768"/>
                </a:moveTo>
                <a:lnTo>
                  <a:pt x="12828" y="5768"/>
                </a:lnTo>
                <a:lnTo>
                  <a:pt x="12826" y="5762"/>
                </a:lnTo>
                <a:lnTo>
                  <a:pt x="12824" y="5758"/>
                </a:lnTo>
                <a:lnTo>
                  <a:pt x="12822" y="5756"/>
                </a:lnTo>
                <a:lnTo>
                  <a:pt x="12820" y="5754"/>
                </a:lnTo>
                <a:lnTo>
                  <a:pt x="12818" y="5756"/>
                </a:lnTo>
                <a:lnTo>
                  <a:pt x="12816" y="5758"/>
                </a:lnTo>
                <a:lnTo>
                  <a:pt x="12816" y="5762"/>
                </a:lnTo>
                <a:lnTo>
                  <a:pt x="12818" y="5766"/>
                </a:lnTo>
                <a:lnTo>
                  <a:pt x="12822" y="5776"/>
                </a:lnTo>
                <a:lnTo>
                  <a:pt x="12822" y="5780"/>
                </a:lnTo>
                <a:lnTo>
                  <a:pt x="12822" y="5786"/>
                </a:lnTo>
                <a:lnTo>
                  <a:pt x="12822" y="5792"/>
                </a:lnTo>
                <a:lnTo>
                  <a:pt x="12826" y="5800"/>
                </a:lnTo>
                <a:lnTo>
                  <a:pt x="12828" y="5804"/>
                </a:lnTo>
                <a:lnTo>
                  <a:pt x="12830" y="5806"/>
                </a:lnTo>
                <a:lnTo>
                  <a:pt x="12838" y="5804"/>
                </a:lnTo>
                <a:lnTo>
                  <a:pt x="12842" y="5802"/>
                </a:lnTo>
                <a:lnTo>
                  <a:pt x="12844" y="5800"/>
                </a:lnTo>
                <a:lnTo>
                  <a:pt x="12846" y="5798"/>
                </a:lnTo>
                <a:lnTo>
                  <a:pt x="12846" y="5794"/>
                </a:lnTo>
                <a:lnTo>
                  <a:pt x="12844" y="5786"/>
                </a:lnTo>
                <a:lnTo>
                  <a:pt x="12840" y="5776"/>
                </a:lnTo>
                <a:lnTo>
                  <a:pt x="12838" y="5772"/>
                </a:lnTo>
                <a:lnTo>
                  <a:pt x="12836" y="5770"/>
                </a:lnTo>
                <a:lnTo>
                  <a:pt x="12834" y="5774"/>
                </a:lnTo>
                <a:lnTo>
                  <a:pt x="12832" y="5776"/>
                </a:lnTo>
                <a:lnTo>
                  <a:pt x="12828" y="5768"/>
                </a:lnTo>
                <a:close/>
                <a:moveTo>
                  <a:pt x="12844" y="5822"/>
                </a:moveTo>
                <a:lnTo>
                  <a:pt x="12844" y="5822"/>
                </a:lnTo>
                <a:lnTo>
                  <a:pt x="12844" y="5828"/>
                </a:lnTo>
                <a:lnTo>
                  <a:pt x="12850" y="5832"/>
                </a:lnTo>
                <a:lnTo>
                  <a:pt x="12852" y="5834"/>
                </a:lnTo>
                <a:lnTo>
                  <a:pt x="12854" y="5836"/>
                </a:lnTo>
                <a:lnTo>
                  <a:pt x="12856" y="5842"/>
                </a:lnTo>
                <a:lnTo>
                  <a:pt x="12858" y="5848"/>
                </a:lnTo>
                <a:lnTo>
                  <a:pt x="12862" y="5848"/>
                </a:lnTo>
                <a:lnTo>
                  <a:pt x="12866" y="5848"/>
                </a:lnTo>
                <a:lnTo>
                  <a:pt x="12870" y="5844"/>
                </a:lnTo>
                <a:lnTo>
                  <a:pt x="12868" y="5840"/>
                </a:lnTo>
                <a:lnTo>
                  <a:pt x="12866" y="5834"/>
                </a:lnTo>
                <a:lnTo>
                  <a:pt x="12862" y="5828"/>
                </a:lnTo>
                <a:lnTo>
                  <a:pt x="12856" y="5822"/>
                </a:lnTo>
                <a:lnTo>
                  <a:pt x="12850" y="5820"/>
                </a:lnTo>
                <a:lnTo>
                  <a:pt x="12846" y="5820"/>
                </a:lnTo>
                <a:lnTo>
                  <a:pt x="12844" y="5822"/>
                </a:lnTo>
                <a:close/>
                <a:moveTo>
                  <a:pt x="12888" y="5902"/>
                </a:moveTo>
                <a:lnTo>
                  <a:pt x="12888" y="5902"/>
                </a:lnTo>
                <a:lnTo>
                  <a:pt x="12886" y="5906"/>
                </a:lnTo>
                <a:lnTo>
                  <a:pt x="12888" y="5910"/>
                </a:lnTo>
                <a:lnTo>
                  <a:pt x="12892" y="5912"/>
                </a:lnTo>
                <a:lnTo>
                  <a:pt x="12898" y="5912"/>
                </a:lnTo>
                <a:lnTo>
                  <a:pt x="12900" y="5912"/>
                </a:lnTo>
                <a:lnTo>
                  <a:pt x="12902" y="5910"/>
                </a:lnTo>
                <a:lnTo>
                  <a:pt x="12898" y="5904"/>
                </a:lnTo>
                <a:lnTo>
                  <a:pt x="12892" y="5900"/>
                </a:lnTo>
                <a:lnTo>
                  <a:pt x="12890" y="5898"/>
                </a:lnTo>
                <a:lnTo>
                  <a:pt x="12888" y="5902"/>
                </a:lnTo>
                <a:close/>
                <a:moveTo>
                  <a:pt x="12890" y="5864"/>
                </a:moveTo>
                <a:lnTo>
                  <a:pt x="12890" y="5864"/>
                </a:lnTo>
                <a:lnTo>
                  <a:pt x="12892" y="5862"/>
                </a:lnTo>
                <a:lnTo>
                  <a:pt x="12888" y="5854"/>
                </a:lnTo>
                <a:lnTo>
                  <a:pt x="12886" y="5852"/>
                </a:lnTo>
                <a:lnTo>
                  <a:pt x="12884" y="5852"/>
                </a:lnTo>
                <a:lnTo>
                  <a:pt x="12882" y="5856"/>
                </a:lnTo>
                <a:lnTo>
                  <a:pt x="12884" y="5860"/>
                </a:lnTo>
                <a:lnTo>
                  <a:pt x="12886" y="5862"/>
                </a:lnTo>
                <a:lnTo>
                  <a:pt x="12890" y="5864"/>
                </a:lnTo>
                <a:close/>
                <a:moveTo>
                  <a:pt x="12876" y="5836"/>
                </a:moveTo>
                <a:lnTo>
                  <a:pt x="12876" y="5836"/>
                </a:lnTo>
                <a:lnTo>
                  <a:pt x="12880" y="5840"/>
                </a:lnTo>
                <a:lnTo>
                  <a:pt x="12884" y="5840"/>
                </a:lnTo>
                <a:lnTo>
                  <a:pt x="12888" y="5838"/>
                </a:lnTo>
                <a:lnTo>
                  <a:pt x="12888" y="5832"/>
                </a:lnTo>
                <a:lnTo>
                  <a:pt x="12886" y="5830"/>
                </a:lnTo>
                <a:lnTo>
                  <a:pt x="12884" y="5828"/>
                </a:lnTo>
                <a:lnTo>
                  <a:pt x="12878" y="5828"/>
                </a:lnTo>
                <a:lnTo>
                  <a:pt x="12876" y="5832"/>
                </a:lnTo>
                <a:lnTo>
                  <a:pt x="12876" y="5834"/>
                </a:lnTo>
                <a:lnTo>
                  <a:pt x="12876" y="5836"/>
                </a:lnTo>
                <a:close/>
                <a:moveTo>
                  <a:pt x="12866" y="5796"/>
                </a:moveTo>
                <a:lnTo>
                  <a:pt x="12866" y="5796"/>
                </a:lnTo>
                <a:lnTo>
                  <a:pt x="12874" y="5792"/>
                </a:lnTo>
                <a:lnTo>
                  <a:pt x="12876" y="5790"/>
                </a:lnTo>
                <a:lnTo>
                  <a:pt x="12878" y="5788"/>
                </a:lnTo>
                <a:lnTo>
                  <a:pt x="12878" y="5786"/>
                </a:lnTo>
                <a:lnTo>
                  <a:pt x="12872" y="5786"/>
                </a:lnTo>
                <a:lnTo>
                  <a:pt x="12868" y="5788"/>
                </a:lnTo>
                <a:lnTo>
                  <a:pt x="12864" y="5792"/>
                </a:lnTo>
                <a:lnTo>
                  <a:pt x="12864" y="5794"/>
                </a:lnTo>
                <a:lnTo>
                  <a:pt x="12866" y="5796"/>
                </a:lnTo>
                <a:close/>
                <a:moveTo>
                  <a:pt x="12918" y="5954"/>
                </a:moveTo>
                <a:lnTo>
                  <a:pt x="12918" y="5954"/>
                </a:lnTo>
                <a:lnTo>
                  <a:pt x="12918" y="5956"/>
                </a:lnTo>
                <a:lnTo>
                  <a:pt x="12918" y="5960"/>
                </a:lnTo>
                <a:lnTo>
                  <a:pt x="12920" y="5966"/>
                </a:lnTo>
                <a:lnTo>
                  <a:pt x="12926" y="5970"/>
                </a:lnTo>
                <a:lnTo>
                  <a:pt x="12928" y="5970"/>
                </a:lnTo>
                <a:lnTo>
                  <a:pt x="12930" y="5970"/>
                </a:lnTo>
                <a:lnTo>
                  <a:pt x="12932" y="5968"/>
                </a:lnTo>
                <a:lnTo>
                  <a:pt x="12932" y="5964"/>
                </a:lnTo>
                <a:lnTo>
                  <a:pt x="12930" y="5956"/>
                </a:lnTo>
                <a:lnTo>
                  <a:pt x="12924" y="5952"/>
                </a:lnTo>
                <a:lnTo>
                  <a:pt x="12922" y="5952"/>
                </a:lnTo>
                <a:lnTo>
                  <a:pt x="12918" y="5954"/>
                </a:lnTo>
                <a:close/>
                <a:moveTo>
                  <a:pt x="12928" y="5988"/>
                </a:moveTo>
                <a:lnTo>
                  <a:pt x="12928" y="5988"/>
                </a:lnTo>
                <a:lnTo>
                  <a:pt x="12926" y="5990"/>
                </a:lnTo>
                <a:lnTo>
                  <a:pt x="12926" y="5992"/>
                </a:lnTo>
                <a:lnTo>
                  <a:pt x="12928" y="5998"/>
                </a:lnTo>
                <a:lnTo>
                  <a:pt x="12932" y="6004"/>
                </a:lnTo>
                <a:lnTo>
                  <a:pt x="12936" y="6006"/>
                </a:lnTo>
                <a:lnTo>
                  <a:pt x="12938" y="6004"/>
                </a:lnTo>
                <a:lnTo>
                  <a:pt x="12938" y="6000"/>
                </a:lnTo>
                <a:lnTo>
                  <a:pt x="12936" y="5994"/>
                </a:lnTo>
                <a:lnTo>
                  <a:pt x="12932" y="5988"/>
                </a:lnTo>
                <a:lnTo>
                  <a:pt x="12930" y="5986"/>
                </a:lnTo>
                <a:lnTo>
                  <a:pt x="12928" y="5988"/>
                </a:lnTo>
                <a:close/>
                <a:moveTo>
                  <a:pt x="12874" y="6102"/>
                </a:moveTo>
                <a:lnTo>
                  <a:pt x="12874" y="6102"/>
                </a:lnTo>
                <a:lnTo>
                  <a:pt x="12876" y="6104"/>
                </a:lnTo>
                <a:lnTo>
                  <a:pt x="12878" y="6106"/>
                </a:lnTo>
                <a:lnTo>
                  <a:pt x="12882" y="6104"/>
                </a:lnTo>
                <a:lnTo>
                  <a:pt x="12884" y="6100"/>
                </a:lnTo>
                <a:lnTo>
                  <a:pt x="12884" y="6096"/>
                </a:lnTo>
                <a:lnTo>
                  <a:pt x="12884" y="6092"/>
                </a:lnTo>
                <a:lnTo>
                  <a:pt x="12880" y="6090"/>
                </a:lnTo>
                <a:lnTo>
                  <a:pt x="12878" y="6088"/>
                </a:lnTo>
                <a:lnTo>
                  <a:pt x="12876" y="6088"/>
                </a:lnTo>
                <a:lnTo>
                  <a:pt x="12874" y="6088"/>
                </a:lnTo>
                <a:lnTo>
                  <a:pt x="12872" y="6094"/>
                </a:lnTo>
                <a:lnTo>
                  <a:pt x="12874" y="6102"/>
                </a:lnTo>
                <a:close/>
                <a:moveTo>
                  <a:pt x="12842" y="6076"/>
                </a:moveTo>
                <a:lnTo>
                  <a:pt x="12842" y="6076"/>
                </a:lnTo>
                <a:lnTo>
                  <a:pt x="12848" y="6078"/>
                </a:lnTo>
                <a:lnTo>
                  <a:pt x="12852" y="6078"/>
                </a:lnTo>
                <a:lnTo>
                  <a:pt x="12854" y="6078"/>
                </a:lnTo>
                <a:lnTo>
                  <a:pt x="12856" y="6076"/>
                </a:lnTo>
                <a:lnTo>
                  <a:pt x="12856" y="6070"/>
                </a:lnTo>
                <a:lnTo>
                  <a:pt x="12854" y="6062"/>
                </a:lnTo>
                <a:lnTo>
                  <a:pt x="12848" y="6058"/>
                </a:lnTo>
                <a:lnTo>
                  <a:pt x="12842" y="6056"/>
                </a:lnTo>
                <a:lnTo>
                  <a:pt x="12838" y="6058"/>
                </a:lnTo>
                <a:lnTo>
                  <a:pt x="12840" y="6060"/>
                </a:lnTo>
                <a:lnTo>
                  <a:pt x="12842" y="6062"/>
                </a:lnTo>
                <a:lnTo>
                  <a:pt x="12842" y="6064"/>
                </a:lnTo>
                <a:lnTo>
                  <a:pt x="12840" y="6068"/>
                </a:lnTo>
                <a:lnTo>
                  <a:pt x="12838" y="6072"/>
                </a:lnTo>
                <a:lnTo>
                  <a:pt x="12840" y="6074"/>
                </a:lnTo>
                <a:lnTo>
                  <a:pt x="12842" y="6076"/>
                </a:lnTo>
                <a:close/>
                <a:moveTo>
                  <a:pt x="12794" y="6104"/>
                </a:moveTo>
                <a:lnTo>
                  <a:pt x="12794" y="6104"/>
                </a:lnTo>
                <a:lnTo>
                  <a:pt x="12790" y="6100"/>
                </a:lnTo>
                <a:lnTo>
                  <a:pt x="12786" y="6098"/>
                </a:lnTo>
                <a:lnTo>
                  <a:pt x="12786" y="6100"/>
                </a:lnTo>
                <a:lnTo>
                  <a:pt x="12766" y="6082"/>
                </a:lnTo>
                <a:lnTo>
                  <a:pt x="12764" y="6076"/>
                </a:lnTo>
                <a:lnTo>
                  <a:pt x="12760" y="6070"/>
                </a:lnTo>
                <a:lnTo>
                  <a:pt x="12746" y="6058"/>
                </a:lnTo>
                <a:lnTo>
                  <a:pt x="12730" y="6046"/>
                </a:lnTo>
                <a:lnTo>
                  <a:pt x="12720" y="6038"/>
                </a:lnTo>
                <a:lnTo>
                  <a:pt x="12720" y="6044"/>
                </a:lnTo>
                <a:lnTo>
                  <a:pt x="12714" y="6036"/>
                </a:lnTo>
                <a:lnTo>
                  <a:pt x="12710" y="6032"/>
                </a:lnTo>
                <a:lnTo>
                  <a:pt x="12708" y="6032"/>
                </a:lnTo>
                <a:lnTo>
                  <a:pt x="12710" y="6040"/>
                </a:lnTo>
                <a:lnTo>
                  <a:pt x="12722" y="6060"/>
                </a:lnTo>
                <a:lnTo>
                  <a:pt x="12722" y="6064"/>
                </a:lnTo>
                <a:lnTo>
                  <a:pt x="12724" y="6064"/>
                </a:lnTo>
                <a:lnTo>
                  <a:pt x="12722" y="6066"/>
                </a:lnTo>
                <a:lnTo>
                  <a:pt x="12734" y="6076"/>
                </a:lnTo>
                <a:lnTo>
                  <a:pt x="12740" y="6080"/>
                </a:lnTo>
                <a:lnTo>
                  <a:pt x="12746" y="6094"/>
                </a:lnTo>
                <a:lnTo>
                  <a:pt x="12748" y="6092"/>
                </a:lnTo>
                <a:lnTo>
                  <a:pt x="12750" y="6098"/>
                </a:lnTo>
                <a:lnTo>
                  <a:pt x="12752" y="6098"/>
                </a:lnTo>
                <a:lnTo>
                  <a:pt x="12758" y="6104"/>
                </a:lnTo>
                <a:lnTo>
                  <a:pt x="12764" y="6108"/>
                </a:lnTo>
                <a:lnTo>
                  <a:pt x="12772" y="6114"/>
                </a:lnTo>
                <a:lnTo>
                  <a:pt x="12780" y="6120"/>
                </a:lnTo>
                <a:lnTo>
                  <a:pt x="12788" y="6126"/>
                </a:lnTo>
                <a:lnTo>
                  <a:pt x="12806" y="6136"/>
                </a:lnTo>
                <a:lnTo>
                  <a:pt x="12806" y="6140"/>
                </a:lnTo>
                <a:lnTo>
                  <a:pt x="12806" y="6142"/>
                </a:lnTo>
                <a:lnTo>
                  <a:pt x="12824" y="6138"/>
                </a:lnTo>
                <a:lnTo>
                  <a:pt x="12828" y="6136"/>
                </a:lnTo>
                <a:lnTo>
                  <a:pt x="12828" y="6134"/>
                </a:lnTo>
                <a:lnTo>
                  <a:pt x="12818" y="6126"/>
                </a:lnTo>
                <a:lnTo>
                  <a:pt x="12794" y="6104"/>
                </a:lnTo>
                <a:close/>
                <a:moveTo>
                  <a:pt x="10286" y="4978"/>
                </a:moveTo>
                <a:lnTo>
                  <a:pt x="10286" y="4978"/>
                </a:lnTo>
                <a:lnTo>
                  <a:pt x="10288" y="4980"/>
                </a:lnTo>
                <a:lnTo>
                  <a:pt x="10290" y="4980"/>
                </a:lnTo>
                <a:lnTo>
                  <a:pt x="10294" y="4978"/>
                </a:lnTo>
                <a:lnTo>
                  <a:pt x="10298" y="4976"/>
                </a:lnTo>
                <a:lnTo>
                  <a:pt x="10300" y="4974"/>
                </a:lnTo>
                <a:lnTo>
                  <a:pt x="10296" y="4972"/>
                </a:lnTo>
                <a:lnTo>
                  <a:pt x="10290" y="4972"/>
                </a:lnTo>
                <a:lnTo>
                  <a:pt x="10286" y="4974"/>
                </a:lnTo>
                <a:lnTo>
                  <a:pt x="10286" y="4976"/>
                </a:lnTo>
                <a:lnTo>
                  <a:pt x="10286" y="4978"/>
                </a:lnTo>
                <a:close/>
                <a:moveTo>
                  <a:pt x="10310" y="4974"/>
                </a:moveTo>
                <a:lnTo>
                  <a:pt x="10310" y="4974"/>
                </a:lnTo>
                <a:lnTo>
                  <a:pt x="10304" y="4978"/>
                </a:lnTo>
                <a:lnTo>
                  <a:pt x="10300" y="4982"/>
                </a:lnTo>
                <a:lnTo>
                  <a:pt x="10298" y="4984"/>
                </a:lnTo>
                <a:lnTo>
                  <a:pt x="10294" y="4986"/>
                </a:lnTo>
                <a:lnTo>
                  <a:pt x="10296" y="4990"/>
                </a:lnTo>
                <a:lnTo>
                  <a:pt x="10298" y="4990"/>
                </a:lnTo>
                <a:lnTo>
                  <a:pt x="10302" y="4990"/>
                </a:lnTo>
                <a:lnTo>
                  <a:pt x="10308" y="4996"/>
                </a:lnTo>
                <a:lnTo>
                  <a:pt x="10306" y="4996"/>
                </a:lnTo>
                <a:lnTo>
                  <a:pt x="10304" y="4996"/>
                </a:lnTo>
                <a:lnTo>
                  <a:pt x="10302" y="4998"/>
                </a:lnTo>
                <a:lnTo>
                  <a:pt x="10302" y="5000"/>
                </a:lnTo>
                <a:lnTo>
                  <a:pt x="10306" y="5004"/>
                </a:lnTo>
                <a:lnTo>
                  <a:pt x="10308" y="5004"/>
                </a:lnTo>
                <a:lnTo>
                  <a:pt x="10310" y="5002"/>
                </a:lnTo>
                <a:lnTo>
                  <a:pt x="10308" y="4998"/>
                </a:lnTo>
                <a:lnTo>
                  <a:pt x="10308" y="4996"/>
                </a:lnTo>
                <a:lnTo>
                  <a:pt x="10322" y="5008"/>
                </a:lnTo>
                <a:lnTo>
                  <a:pt x="10324" y="5006"/>
                </a:lnTo>
                <a:lnTo>
                  <a:pt x="10326" y="5002"/>
                </a:lnTo>
                <a:lnTo>
                  <a:pt x="10328" y="4996"/>
                </a:lnTo>
                <a:lnTo>
                  <a:pt x="10326" y="4988"/>
                </a:lnTo>
                <a:lnTo>
                  <a:pt x="10326" y="4982"/>
                </a:lnTo>
                <a:lnTo>
                  <a:pt x="10322" y="4976"/>
                </a:lnTo>
                <a:lnTo>
                  <a:pt x="10316" y="4972"/>
                </a:lnTo>
                <a:lnTo>
                  <a:pt x="10310" y="4974"/>
                </a:lnTo>
                <a:close/>
                <a:moveTo>
                  <a:pt x="8358" y="3706"/>
                </a:moveTo>
                <a:lnTo>
                  <a:pt x="8358" y="3706"/>
                </a:lnTo>
                <a:lnTo>
                  <a:pt x="8356" y="3708"/>
                </a:lnTo>
                <a:lnTo>
                  <a:pt x="8354" y="3710"/>
                </a:lnTo>
                <a:lnTo>
                  <a:pt x="8346" y="3714"/>
                </a:lnTo>
                <a:lnTo>
                  <a:pt x="8340" y="3718"/>
                </a:lnTo>
                <a:lnTo>
                  <a:pt x="8338" y="3720"/>
                </a:lnTo>
                <a:lnTo>
                  <a:pt x="8338" y="3722"/>
                </a:lnTo>
                <a:lnTo>
                  <a:pt x="8340" y="3722"/>
                </a:lnTo>
                <a:lnTo>
                  <a:pt x="8344" y="3722"/>
                </a:lnTo>
                <a:lnTo>
                  <a:pt x="8352" y="3720"/>
                </a:lnTo>
                <a:lnTo>
                  <a:pt x="8364" y="3712"/>
                </a:lnTo>
                <a:lnTo>
                  <a:pt x="8374" y="3704"/>
                </a:lnTo>
                <a:lnTo>
                  <a:pt x="8374" y="3702"/>
                </a:lnTo>
                <a:lnTo>
                  <a:pt x="8374" y="3700"/>
                </a:lnTo>
                <a:lnTo>
                  <a:pt x="8368" y="3700"/>
                </a:lnTo>
                <a:lnTo>
                  <a:pt x="8358" y="3706"/>
                </a:lnTo>
                <a:close/>
                <a:moveTo>
                  <a:pt x="8050" y="3552"/>
                </a:moveTo>
                <a:lnTo>
                  <a:pt x="8050" y="3552"/>
                </a:lnTo>
                <a:lnTo>
                  <a:pt x="8050" y="3556"/>
                </a:lnTo>
                <a:lnTo>
                  <a:pt x="8050" y="3562"/>
                </a:lnTo>
                <a:lnTo>
                  <a:pt x="8054" y="3566"/>
                </a:lnTo>
                <a:lnTo>
                  <a:pt x="8056" y="3566"/>
                </a:lnTo>
                <a:lnTo>
                  <a:pt x="8056" y="3562"/>
                </a:lnTo>
                <a:lnTo>
                  <a:pt x="8056" y="3556"/>
                </a:lnTo>
                <a:lnTo>
                  <a:pt x="8052" y="3552"/>
                </a:lnTo>
                <a:lnTo>
                  <a:pt x="8050" y="3552"/>
                </a:lnTo>
                <a:close/>
                <a:moveTo>
                  <a:pt x="7034" y="3210"/>
                </a:moveTo>
                <a:lnTo>
                  <a:pt x="7034" y="3210"/>
                </a:lnTo>
                <a:lnTo>
                  <a:pt x="7032" y="3208"/>
                </a:lnTo>
                <a:lnTo>
                  <a:pt x="7030" y="3210"/>
                </a:lnTo>
                <a:lnTo>
                  <a:pt x="7030" y="3214"/>
                </a:lnTo>
                <a:lnTo>
                  <a:pt x="7032" y="3220"/>
                </a:lnTo>
                <a:lnTo>
                  <a:pt x="7036" y="3222"/>
                </a:lnTo>
                <a:lnTo>
                  <a:pt x="7038" y="3220"/>
                </a:lnTo>
                <a:lnTo>
                  <a:pt x="7036" y="3214"/>
                </a:lnTo>
                <a:lnTo>
                  <a:pt x="7034" y="3210"/>
                </a:lnTo>
                <a:close/>
                <a:moveTo>
                  <a:pt x="7154" y="3110"/>
                </a:moveTo>
                <a:lnTo>
                  <a:pt x="7154" y="3110"/>
                </a:lnTo>
                <a:lnTo>
                  <a:pt x="7158" y="3108"/>
                </a:lnTo>
                <a:lnTo>
                  <a:pt x="7160" y="3104"/>
                </a:lnTo>
                <a:lnTo>
                  <a:pt x="7162" y="3100"/>
                </a:lnTo>
                <a:lnTo>
                  <a:pt x="7160" y="3094"/>
                </a:lnTo>
                <a:lnTo>
                  <a:pt x="7160" y="3090"/>
                </a:lnTo>
                <a:lnTo>
                  <a:pt x="7158" y="3088"/>
                </a:lnTo>
                <a:lnTo>
                  <a:pt x="7154" y="3086"/>
                </a:lnTo>
                <a:lnTo>
                  <a:pt x="7150" y="3088"/>
                </a:lnTo>
                <a:lnTo>
                  <a:pt x="7148" y="3090"/>
                </a:lnTo>
                <a:lnTo>
                  <a:pt x="7148" y="3092"/>
                </a:lnTo>
                <a:lnTo>
                  <a:pt x="7152" y="3096"/>
                </a:lnTo>
                <a:lnTo>
                  <a:pt x="7152" y="3100"/>
                </a:lnTo>
                <a:lnTo>
                  <a:pt x="7150" y="3106"/>
                </a:lnTo>
                <a:lnTo>
                  <a:pt x="7150" y="3110"/>
                </a:lnTo>
                <a:lnTo>
                  <a:pt x="7152" y="3112"/>
                </a:lnTo>
                <a:lnTo>
                  <a:pt x="7154" y="3110"/>
                </a:lnTo>
                <a:close/>
                <a:moveTo>
                  <a:pt x="7226" y="3234"/>
                </a:moveTo>
                <a:lnTo>
                  <a:pt x="7226" y="3234"/>
                </a:lnTo>
                <a:lnTo>
                  <a:pt x="7228" y="3234"/>
                </a:lnTo>
                <a:lnTo>
                  <a:pt x="7232" y="3232"/>
                </a:lnTo>
                <a:lnTo>
                  <a:pt x="7238" y="3222"/>
                </a:lnTo>
                <a:lnTo>
                  <a:pt x="7244" y="3210"/>
                </a:lnTo>
                <a:lnTo>
                  <a:pt x="7244" y="3206"/>
                </a:lnTo>
                <a:lnTo>
                  <a:pt x="7244" y="3204"/>
                </a:lnTo>
                <a:lnTo>
                  <a:pt x="7242" y="3204"/>
                </a:lnTo>
                <a:lnTo>
                  <a:pt x="7238" y="3204"/>
                </a:lnTo>
                <a:lnTo>
                  <a:pt x="7230" y="3208"/>
                </a:lnTo>
                <a:lnTo>
                  <a:pt x="7224" y="3214"/>
                </a:lnTo>
                <a:lnTo>
                  <a:pt x="7222" y="3218"/>
                </a:lnTo>
                <a:lnTo>
                  <a:pt x="7224" y="3220"/>
                </a:lnTo>
                <a:lnTo>
                  <a:pt x="7224" y="3224"/>
                </a:lnTo>
                <a:lnTo>
                  <a:pt x="7224" y="3226"/>
                </a:lnTo>
                <a:lnTo>
                  <a:pt x="7224" y="3230"/>
                </a:lnTo>
                <a:lnTo>
                  <a:pt x="7226" y="3234"/>
                </a:lnTo>
                <a:close/>
                <a:moveTo>
                  <a:pt x="7168" y="3044"/>
                </a:moveTo>
                <a:lnTo>
                  <a:pt x="7168" y="3044"/>
                </a:lnTo>
                <a:lnTo>
                  <a:pt x="7166" y="3042"/>
                </a:lnTo>
                <a:lnTo>
                  <a:pt x="7162" y="3044"/>
                </a:lnTo>
                <a:lnTo>
                  <a:pt x="7152" y="3048"/>
                </a:lnTo>
                <a:lnTo>
                  <a:pt x="7150" y="3050"/>
                </a:lnTo>
                <a:lnTo>
                  <a:pt x="7148" y="3052"/>
                </a:lnTo>
                <a:lnTo>
                  <a:pt x="7150" y="3056"/>
                </a:lnTo>
                <a:lnTo>
                  <a:pt x="7156" y="3060"/>
                </a:lnTo>
                <a:lnTo>
                  <a:pt x="7166" y="3064"/>
                </a:lnTo>
                <a:lnTo>
                  <a:pt x="7170" y="3066"/>
                </a:lnTo>
                <a:lnTo>
                  <a:pt x="7176" y="3064"/>
                </a:lnTo>
                <a:lnTo>
                  <a:pt x="7178" y="3062"/>
                </a:lnTo>
                <a:lnTo>
                  <a:pt x="7178" y="3060"/>
                </a:lnTo>
                <a:lnTo>
                  <a:pt x="7178" y="3058"/>
                </a:lnTo>
                <a:lnTo>
                  <a:pt x="7176" y="3054"/>
                </a:lnTo>
                <a:lnTo>
                  <a:pt x="7172" y="3050"/>
                </a:lnTo>
                <a:lnTo>
                  <a:pt x="7170" y="3048"/>
                </a:lnTo>
                <a:lnTo>
                  <a:pt x="7170" y="3046"/>
                </a:lnTo>
                <a:lnTo>
                  <a:pt x="7168" y="3044"/>
                </a:lnTo>
                <a:close/>
                <a:moveTo>
                  <a:pt x="7100" y="2966"/>
                </a:moveTo>
                <a:lnTo>
                  <a:pt x="7100" y="2966"/>
                </a:lnTo>
                <a:lnTo>
                  <a:pt x="7096" y="2968"/>
                </a:lnTo>
                <a:lnTo>
                  <a:pt x="7094" y="2970"/>
                </a:lnTo>
                <a:lnTo>
                  <a:pt x="7096" y="2974"/>
                </a:lnTo>
                <a:lnTo>
                  <a:pt x="7098" y="2976"/>
                </a:lnTo>
                <a:lnTo>
                  <a:pt x="7100" y="2978"/>
                </a:lnTo>
                <a:lnTo>
                  <a:pt x="7102" y="2976"/>
                </a:lnTo>
                <a:lnTo>
                  <a:pt x="7104" y="2972"/>
                </a:lnTo>
                <a:lnTo>
                  <a:pt x="7104" y="2968"/>
                </a:lnTo>
                <a:lnTo>
                  <a:pt x="7102" y="2966"/>
                </a:lnTo>
                <a:lnTo>
                  <a:pt x="7100" y="2966"/>
                </a:lnTo>
                <a:close/>
                <a:moveTo>
                  <a:pt x="6938" y="3124"/>
                </a:moveTo>
                <a:lnTo>
                  <a:pt x="6938" y="3124"/>
                </a:lnTo>
                <a:lnTo>
                  <a:pt x="6938" y="3126"/>
                </a:lnTo>
                <a:lnTo>
                  <a:pt x="6940" y="3132"/>
                </a:lnTo>
                <a:lnTo>
                  <a:pt x="6944" y="3136"/>
                </a:lnTo>
                <a:lnTo>
                  <a:pt x="6950" y="3136"/>
                </a:lnTo>
                <a:lnTo>
                  <a:pt x="6952" y="3136"/>
                </a:lnTo>
                <a:lnTo>
                  <a:pt x="6952" y="3134"/>
                </a:lnTo>
                <a:lnTo>
                  <a:pt x="6948" y="3128"/>
                </a:lnTo>
                <a:lnTo>
                  <a:pt x="6942" y="3124"/>
                </a:lnTo>
                <a:lnTo>
                  <a:pt x="6938" y="3124"/>
                </a:lnTo>
                <a:close/>
                <a:moveTo>
                  <a:pt x="7062" y="3248"/>
                </a:moveTo>
                <a:lnTo>
                  <a:pt x="7062" y="3248"/>
                </a:lnTo>
                <a:lnTo>
                  <a:pt x="7060" y="3252"/>
                </a:lnTo>
                <a:lnTo>
                  <a:pt x="7058" y="3252"/>
                </a:lnTo>
                <a:lnTo>
                  <a:pt x="7056" y="3256"/>
                </a:lnTo>
                <a:lnTo>
                  <a:pt x="7056" y="3264"/>
                </a:lnTo>
                <a:lnTo>
                  <a:pt x="7058" y="3268"/>
                </a:lnTo>
                <a:lnTo>
                  <a:pt x="7060" y="3270"/>
                </a:lnTo>
                <a:lnTo>
                  <a:pt x="7072" y="3270"/>
                </a:lnTo>
                <a:lnTo>
                  <a:pt x="7086" y="3272"/>
                </a:lnTo>
                <a:lnTo>
                  <a:pt x="7094" y="3274"/>
                </a:lnTo>
                <a:lnTo>
                  <a:pt x="7102" y="3278"/>
                </a:lnTo>
                <a:lnTo>
                  <a:pt x="7106" y="3282"/>
                </a:lnTo>
                <a:lnTo>
                  <a:pt x="7112" y="3284"/>
                </a:lnTo>
                <a:lnTo>
                  <a:pt x="7124" y="3284"/>
                </a:lnTo>
                <a:lnTo>
                  <a:pt x="7136" y="3282"/>
                </a:lnTo>
                <a:lnTo>
                  <a:pt x="7152" y="3280"/>
                </a:lnTo>
                <a:lnTo>
                  <a:pt x="7160" y="3280"/>
                </a:lnTo>
                <a:lnTo>
                  <a:pt x="7164" y="3278"/>
                </a:lnTo>
                <a:lnTo>
                  <a:pt x="7168" y="3274"/>
                </a:lnTo>
                <a:lnTo>
                  <a:pt x="7168" y="3272"/>
                </a:lnTo>
                <a:lnTo>
                  <a:pt x="7166" y="3270"/>
                </a:lnTo>
                <a:lnTo>
                  <a:pt x="7164" y="3268"/>
                </a:lnTo>
                <a:lnTo>
                  <a:pt x="7158" y="3268"/>
                </a:lnTo>
                <a:lnTo>
                  <a:pt x="7152" y="3272"/>
                </a:lnTo>
                <a:lnTo>
                  <a:pt x="7148" y="3274"/>
                </a:lnTo>
                <a:lnTo>
                  <a:pt x="7146" y="3274"/>
                </a:lnTo>
                <a:lnTo>
                  <a:pt x="7146" y="3270"/>
                </a:lnTo>
                <a:lnTo>
                  <a:pt x="7144" y="3266"/>
                </a:lnTo>
                <a:lnTo>
                  <a:pt x="7142" y="3264"/>
                </a:lnTo>
                <a:lnTo>
                  <a:pt x="7136" y="3264"/>
                </a:lnTo>
                <a:lnTo>
                  <a:pt x="7130" y="3264"/>
                </a:lnTo>
                <a:lnTo>
                  <a:pt x="7126" y="3264"/>
                </a:lnTo>
                <a:lnTo>
                  <a:pt x="7118" y="3262"/>
                </a:lnTo>
                <a:lnTo>
                  <a:pt x="7108" y="3260"/>
                </a:lnTo>
                <a:lnTo>
                  <a:pt x="7102" y="3260"/>
                </a:lnTo>
                <a:lnTo>
                  <a:pt x="7094" y="3260"/>
                </a:lnTo>
                <a:lnTo>
                  <a:pt x="7090" y="3260"/>
                </a:lnTo>
                <a:lnTo>
                  <a:pt x="7086" y="3260"/>
                </a:lnTo>
                <a:lnTo>
                  <a:pt x="7084" y="3256"/>
                </a:lnTo>
                <a:lnTo>
                  <a:pt x="7080" y="3250"/>
                </a:lnTo>
                <a:lnTo>
                  <a:pt x="7078" y="3250"/>
                </a:lnTo>
                <a:lnTo>
                  <a:pt x="7076" y="3252"/>
                </a:lnTo>
                <a:lnTo>
                  <a:pt x="7074" y="3252"/>
                </a:lnTo>
                <a:lnTo>
                  <a:pt x="7072" y="3252"/>
                </a:lnTo>
                <a:lnTo>
                  <a:pt x="7068" y="3248"/>
                </a:lnTo>
                <a:lnTo>
                  <a:pt x="7064" y="3246"/>
                </a:lnTo>
                <a:lnTo>
                  <a:pt x="7062" y="3248"/>
                </a:lnTo>
                <a:close/>
                <a:moveTo>
                  <a:pt x="6928" y="3106"/>
                </a:moveTo>
                <a:lnTo>
                  <a:pt x="6928" y="3106"/>
                </a:lnTo>
                <a:lnTo>
                  <a:pt x="6928" y="3110"/>
                </a:lnTo>
                <a:lnTo>
                  <a:pt x="6932" y="3112"/>
                </a:lnTo>
                <a:lnTo>
                  <a:pt x="6936" y="3112"/>
                </a:lnTo>
                <a:lnTo>
                  <a:pt x="6940" y="3114"/>
                </a:lnTo>
                <a:lnTo>
                  <a:pt x="6944" y="3116"/>
                </a:lnTo>
                <a:lnTo>
                  <a:pt x="6944" y="3114"/>
                </a:lnTo>
                <a:lnTo>
                  <a:pt x="6944" y="3112"/>
                </a:lnTo>
                <a:lnTo>
                  <a:pt x="6942" y="3108"/>
                </a:lnTo>
                <a:lnTo>
                  <a:pt x="6938" y="3104"/>
                </a:lnTo>
                <a:lnTo>
                  <a:pt x="6936" y="3098"/>
                </a:lnTo>
                <a:lnTo>
                  <a:pt x="6936" y="3096"/>
                </a:lnTo>
                <a:lnTo>
                  <a:pt x="6934" y="3098"/>
                </a:lnTo>
                <a:lnTo>
                  <a:pt x="6932" y="3100"/>
                </a:lnTo>
                <a:lnTo>
                  <a:pt x="6930" y="3100"/>
                </a:lnTo>
                <a:lnTo>
                  <a:pt x="6928" y="3102"/>
                </a:lnTo>
                <a:lnTo>
                  <a:pt x="6928" y="3106"/>
                </a:lnTo>
                <a:close/>
                <a:moveTo>
                  <a:pt x="7092" y="3110"/>
                </a:moveTo>
                <a:lnTo>
                  <a:pt x="7092" y="3110"/>
                </a:lnTo>
                <a:lnTo>
                  <a:pt x="7086" y="3106"/>
                </a:lnTo>
                <a:lnTo>
                  <a:pt x="7084" y="3102"/>
                </a:lnTo>
                <a:lnTo>
                  <a:pt x="7080" y="3086"/>
                </a:lnTo>
                <a:lnTo>
                  <a:pt x="7080" y="3084"/>
                </a:lnTo>
                <a:lnTo>
                  <a:pt x="7078" y="3082"/>
                </a:lnTo>
                <a:lnTo>
                  <a:pt x="7072" y="3080"/>
                </a:lnTo>
                <a:lnTo>
                  <a:pt x="7064" y="3078"/>
                </a:lnTo>
                <a:lnTo>
                  <a:pt x="7058" y="3074"/>
                </a:lnTo>
                <a:lnTo>
                  <a:pt x="7050" y="3068"/>
                </a:lnTo>
                <a:lnTo>
                  <a:pt x="7048" y="3066"/>
                </a:lnTo>
                <a:lnTo>
                  <a:pt x="7044" y="3066"/>
                </a:lnTo>
                <a:lnTo>
                  <a:pt x="7036" y="3066"/>
                </a:lnTo>
                <a:lnTo>
                  <a:pt x="7030" y="3070"/>
                </a:lnTo>
                <a:lnTo>
                  <a:pt x="7028" y="3072"/>
                </a:lnTo>
                <a:lnTo>
                  <a:pt x="7038" y="3074"/>
                </a:lnTo>
                <a:lnTo>
                  <a:pt x="7052" y="3082"/>
                </a:lnTo>
                <a:lnTo>
                  <a:pt x="7058" y="3088"/>
                </a:lnTo>
                <a:lnTo>
                  <a:pt x="7060" y="3092"/>
                </a:lnTo>
                <a:lnTo>
                  <a:pt x="7062" y="3096"/>
                </a:lnTo>
                <a:lnTo>
                  <a:pt x="7068" y="3098"/>
                </a:lnTo>
                <a:lnTo>
                  <a:pt x="7072" y="3098"/>
                </a:lnTo>
                <a:lnTo>
                  <a:pt x="7076" y="3100"/>
                </a:lnTo>
                <a:lnTo>
                  <a:pt x="7082" y="3108"/>
                </a:lnTo>
                <a:lnTo>
                  <a:pt x="7086" y="3116"/>
                </a:lnTo>
                <a:lnTo>
                  <a:pt x="7092" y="3122"/>
                </a:lnTo>
                <a:lnTo>
                  <a:pt x="7096" y="3122"/>
                </a:lnTo>
                <a:lnTo>
                  <a:pt x="7098" y="3118"/>
                </a:lnTo>
                <a:lnTo>
                  <a:pt x="7096" y="3114"/>
                </a:lnTo>
                <a:lnTo>
                  <a:pt x="7092" y="3110"/>
                </a:lnTo>
                <a:close/>
                <a:moveTo>
                  <a:pt x="7132" y="3176"/>
                </a:moveTo>
                <a:lnTo>
                  <a:pt x="7132" y="3176"/>
                </a:lnTo>
                <a:lnTo>
                  <a:pt x="7136" y="3178"/>
                </a:lnTo>
                <a:lnTo>
                  <a:pt x="7136" y="3176"/>
                </a:lnTo>
                <a:lnTo>
                  <a:pt x="7138" y="3172"/>
                </a:lnTo>
                <a:lnTo>
                  <a:pt x="7138" y="3166"/>
                </a:lnTo>
                <a:lnTo>
                  <a:pt x="7136" y="3164"/>
                </a:lnTo>
                <a:lnTo>
                  <a:pt x="7134" y="3164"/>
                </a:lnTo>
                <a:lnTo>
                  <a:pt x="7130" y="3166"/>
                </a:lnTo>
                <a:lnTo>
                  <a:pt x="7128" y="3170"/>
                </a:lnTo>
                <a:lnTo>
                  <a:pt x="7130" y="3174"/>
                </a:lnTo>
                <a:lnTo>
                  <a:pt x="7132" y="3176"/>
                </a:lnTo>
                <a:close/>
                <a:moveTo>
                  <a:pt x="7202" y="3244"/>
                </a:moveTo>
                <a:lnTo>
                  <a:pt x="7202" y="3244"/>
                </a:lnTo>
                <a:lnTo>
                  <a:pt x="7200" y="3242"/>
                </a:lnTo>
                <a:lnTo>
                  <a:pt x="7198" y="3248"/>
                </a:lnTo>
                <a:lnTo>
                  <a:pt x="7198" y="3256"/>
                </a:lnTo>
                <a:lnTo>
                  <a:pt x="7200" y="3258"/>
                </a:lnTo>
                <a:lnTo>
                  <a:pt x="7202" y="3258"/>
                </a:lnTo>
                <a:lnTo>
                  <a:pt x="7206" y="3258"/>
                </a:lnTo>
                <a:lnTo>
                  <a:pt x="7206" y="3254"/>
                </a:lnTo>
                <a:lnTo>
                  <a:pt x="7202" y="3244"/>
                </a:lnTo>
                <a:close/>
                <a:moveTo>
                  <a:pt x="6898" y="3024"/>
                </a:moveTo>
                <a:lnTo>
                  <a:pt x="6898" y="3024"/>
                </a:lnTo>
                <a:lnTo>
                  <a:pt x="6898" y="3028"/>
                </a:lnTo>
                <a:lnTo>
                  <a:pt x="6902" y="3034"/>
                </a:lnTo>
                <a:lnTo>
                  <a:pt x="6908" y="3040"/>
                </a:lnTo>
                <a:lnTo>
                  <a:pt x="6914" y="3044"/>
                </a:lnTo>
                <a:lnTo>
                  <a:pt x="6916" y="3042"/>
                </a:lnTo>
                <a:lnTo>
                  <a:pt x="6912" y="3036"/>
                </a:lnTo>
                <a:lnTo>
                  <a:pt x="6908" y="3030"/>
                </a:lnTo>
                <a:lnTo>
                  <a:pt x="6906" y="3026"/>
                </a:lnTo>
                <a:lnTo>
                  <a:pt x="6906" y="3022"/>
                </a:lnTo>
                <a:lnTo>
                  <a:pt x="6904" y="3020"/>
                </a:lnTo>
                <a:lnTo>
                  <a:pt x="6900" y="3020"/>
                </a:lnTo>
                <a:lnTo>
                  <a:pt x="6898" y="3024"/>
                </a:lnTo>
                <a:close/>
                <a:moveTo>
                  <a:pt x="7128" y="3010"/>
                </a:moveTo>
                <a:lnTo>
                  <a:pt x="7128" y="3010"/>
                </a:lnTo>
                <a:lnTo>
                  <a:pt x="7124" y="3010"/>
                </a:lnTo>
                <a:lnTo>
                  <a:pt x="7120" y="3008"/>
                </a:lnTo>
                <a:lnTo>
                  <a:pt x="7116" y="3010"/>
                </a:lnTo>
                <a:lnTo>
                  <a:pt x="7116" y="3012"/>
                </a:lnTo>
                <a:lnTo>
                  <a:pt x="7114" y="3016"/>
                </a:lnTo>
                <a:lnTo>
                  <a:pt x="7114" y="3018"/>
                </a:lnTo>
                <a:lnTo>
                  <a:pt x="7116" y="3020"/>
                </a:lnTo>
                <a:lnTo>
                  <a:pt x="7118" y="3020"/>
                </a:lnTo>
                <a:lnTo>
                  <a:pt x="7122" y="3018"/>
                </a:lnTo>
                <a:lnTo>
                  <a:pt x="7122" y="3016"/>
                </a:lnTo>
                <a:lnTo>
                  <a:pt x="7124" y="3016"/>
                </a:lnTo>
                <a:lnTo>
                  <a:pt x="7126" y="3018"/>
                </a:lnTo>
                <a:lnTo>
                  <a:pt x="7128" y="3020"/>
                </a:lnTo>
                <a:lnTo>
                  <a:pt x="7132" y="3010"/>
                </a:lnTo>
                <a:lnTo>
                  <a:pt x="7132" y="3008"/>
                </a:lnTo>
                <a:lnTo>
                  <a:pt x="7128" y="3010"/>
                </a:lnTo>
                <a:close/>
                <a:moveTo>
                  <a:pt x="7142" y="3002"/>
                </a:moveTo>
                <a:lnTo>
                  <a:pt x="7142" y="3002"/>
                </a:lnTo>
                <a:lnTo>
                  <a:pt x="7142" y="3004"/>
                </a:lnTo>
                <a:lnTo>
                  <a:pt x="7144" y="3004"/>
                </a:lnTo>
                <a:lnTo>
                  <a:pt x="7154" y="3002"/>
                </a:lnTo>
                <a:lnTo>
                  <a:pt x="7156" y="3000"/>
                </a:lnTo>
                <a:lnTo>
                  <a:pt x="7152" y="2996"/>
                </a:lnTo>
                <a:lnTo>
                  <a:pt x="7146" y="2996"/>
                </a:lnTo>
                <a:lnTo>
                  <a:pt x="7144" y="2998"/>
                </a:lnTo>
                <a:lnTo>
                  <a:pt x="7142" y="3002"/>
                </a:lnTo>
                <a:close/>
                <a:moveTo>
                  <a:pt x="7120" y="3174"/>
                </a:moveTo>
                <a:lnTo>
                  <a:pt x="7120" y="3174"/>
                </a:lnTo>
                <a:lnTo>
                  <a:pt x="7122" y="3174"/>
                </a:lnTo>
                <a:lnTo>
                  <a:pt x="7124" y="3172"/>
                </a:lnTo>
                <a:lnTo>
                  <a:pt x="7126" y="3168"/>
                </a:lnTo>
                <a:lnTo>
                  <a:pt x="7124" y="3166"/>
                </a:lnTo>
                <a:lnTo>
                  <a:pt x="7122" y="3166"/>
                </a:lnTo>
                <a:lnTo>
                  <a:pt x="7118" y="3168"/>
                </a:lnTo>
                <a:lnTo>
                  <a:pt x="7118" y="3170"/>
                </a:lnTo>
                <a:lnTo>
                  <a:pt x="7120" y="3174"/>
                </a:lnTo>
                <a:close/>
                <a:moveTo>
                  <a:pt x="7094" y="3190"/>
                </a:moveTo>
                <a:lnTo>
                  <a:pt x="7094" y="3190"/>
                </a:lnTo>
                <a:lnTo>
                  <a:pt x="7096" y="3188"/>
                </a:lnTo>
                <a:lnTo>
                  <a:pt x="7094" y="3186"/>
                </a:lnTo>
                <a:lnTo>
                  <a:pt x="7092" y="3186"/>
                </a:lnTo>
                <a:lnTo>
                  <a:pt x="7088" y="3188"/>
                </a:lnTo>
                <a:lnTo>
                  <a:pt x="7086" y="3188"/>
                </a:lnTo>
                <a:lnTo>
                  <a:pt x="7084" y="3192"/>
                </a:lnTo>
                <a:lnTo>
                  <a:pt x="7086" y="3194"/>
                </a:lnTo>
                <a:lnTo>
                  <a:pt x="7090" y="3194"/>
                </a:lnTo>
                <a:lnTo>
                  <a:pt x="7094" y="3190"/>
                </a:lnTo>
                <a:close/>
                <a:moveTo>
                  <a:pt x="7086" y="3144"/>
                </a:moveTo>
                <a:lnTo>
                  <a:pt x="7086" y="3144"/>
                </a:lnTo>
                <a:lnTo>
                  <a:pt x="7088" y="3144"/>
                </a:lnTo>
                <a:lnTo>
                  <a:pt x="7090" y="3142"/>
                </a:lnTo>
                <a:lnTo>
                  <a:pt x="7090" y="3138"/>
                </a:lnTo>
                <a:lnTo>
                  <a:pt x="7090" y="3136"/>
                </a:lnTo>
                <a:lnTo>
                  <a:pt x="7088" y="3136"/>
                </a:lnTo>
                <a:lnTo>
                  <a:pt x="7086" y="3138"/>
                </a:lnTo>
                <a:lnTo>
                  <a:pt x="7084" y="3142"/>
                </a:lnTo>
                <a:lnTo>
                  <a:pt x="7086" y="3144"/>
                </a:lnTo>
                <a:close/>
                <a:moveTo>
                  <a:pt x="7090" y="3156"/>
                </a:moveTo>
                <a:lnTo>
                  <a:pt x="7090" y="3156"/>
                </a:lnTo>
                <a:lnTo>
                  <a:pt x="7094" y="3156"/>
                </a:lnTo>
                <a:lnTo>
                  <a:pt x="7092" y="3150"/>
                </a:lnTo>
                <a:lnTo>
                  <a:pt x="7090" y="3150"/>
                </a:lnTo>
                <a:lnTo>
                  <a:pt x="7088" y="3152"/>
                </a:lnTo>
                <a:lnTo>
                  <a:pt x="7088" y="3156"/>
                </a:lnTo>
                <a:lnTo>
                  <a:pt x="7090" y="3156"/>
                </a:lnTo>
                <a:close/>
                <a:moveTo>
                  <a:pt x="7170" y="3136"/>
                </a:moveTo>
                <a:lnTo>
                  <a:pt x="7170" y="3136"/>
                </a:lnTo>
                <a:lnTo>
                  <a:pt x="7168" y="3136"/>
                </a:lnTo>
                <a:lnTo>
                  <a:pt x="7162" y="3136"/>
                </a:lnTo>
                <a:lnTo>
                  <a:pt x="7156" y="3140"/>
                </a:lnTo>
                <a:lnTo>
                  <a:pt x="7154" y="3144"/>
                </a:lnTo>
                <a:lnTo>
                  <a:pt x="7156" y="3146"/>
                </a:lnTo>
                <a:lnTo>
                  <a:pt x="7162" y="3144"/>
                </a:lnTo>
                <a:lnTo>
                  <a:pt x="7166" y="3140"/>
                </a:lnTo>
                <a:lnTo>
                  <a:pt x="7170" y="3136"/>
                </a:lnTo>
                <a:close/>
                <a:moveTo>
                  <a:pt x="6936" y="3086"/>
                </a:moveTo>
                <a:lnTo>
                  <a:pt x="6936" y="3086"/>
                </a:lnTo>
                <a:lnTo>
                  <a:pt x="6938" y="3086"/>
                </a:lnTo>
                <a:lnTo>
                  <a:pt x="6940" y="3084"/>
                </a:lnTo>
                <a:lnTo>
                  <a:pt x="6940" y="3080"/>
                </a:lnTo>
                <a:lnTo>
                  <a:pt x="6940" y="3076"/>
                </a:lnTo>
                <a:lnTo>
                  <a:pt x="6938" y="3076"/>
                </a:lnTo>
                <a:lnTo>
                  <a:pt x="6936" y="3076"/>
                </a:lnTo>
                <a:lnTo>
                  <a:pt x="6934" y="3080"/>
                </a:lnTo>
                <a:lnTo>
                  <a:pt x="6932" y="3084"/>
                </a:lnTo>
                <a:lnTo>
                  <a:pt x="6934" y="3086"/>
                </a:lnTo>
                <a:lnTo>
                  <a:pt x="6936" y="3086"/>
                </a:lnTo>
                <a:close/>
                <a:moveTo>
                  <a:pt x="7094" y="3066"/>
                </a:moveTo>
                <a:lnTo>
                  <a:pt x="7094" y="3066"/>
                </a:lnTo>
                <a:lnTo>
                  <a:pt x="7094" y="3072"/>
                </a:lnTo>
                <a:lnTo>
                  <a:pt x="7096" y="3076"/>
                </a:lnTo>
                <a:lnTo>
                  <a:pt x="7100" y="3078"/>
                </a:lnTo>
                <a:lnTo>
                  <a:pt x="7102" y="3076"/>
                </a:lnTo>
                <a:lnTo>
                  <a:pt x="7102" y="3074"/>
                </a:lnTo>
                <a:lnTo>
                  <a:pt x="7098" y="3070"/>
                </a:lnTo>
                <a:lnTo>
                  <a:pt x="7096" y="3066"/>
                </a:lnTo>
                <a:lnTo>
                  <a:pt x="7094" y="3064"/>
                </a:lnTo>
                <a:lnTo>
                  <a:pt x="7094" y="3066"/>
                </a:lnTo>
                <a:close/>
                <a:moveTo>
                  <a:pt x="7102" y="3120"/>
                </a:moveTo>
                <a:lnTo>
                  <a:pt x="7102" y="3120"/>
                </a:lnTo>
                <a:lnTo>
                  <a:pt x="7102" y="3124"/>
                </a:lnTo>
                <a:lnTo>
                  <a:pt x="7106" y="3128"/>
                </a:lnTo>
                <a:lnTo>
                  <a:pt x="7116" y="3140"/>
                </a:lnTo>
                <a:lnTo>
                  <a:pt x="7120" y="3144"/>
                </a:lnTo>
                <a:lnTo>
                  <a:pt x="7122" y="3146"/>
                </a:lnTo>
                <a:lnTo>
                  <a:pt x="7124" y="3142"/>
                </a:lnTo>
                <a:lnTo>
                  <a:pt x="7120" y="3138"/>
                </a:lnTo>
                <a:lnTo>
                  <a:pt x="7116" y="3132"/>
                </a:lnTo>
                <a:lnTo>
                  <a:pt x="7110" y="3124"/>
                </a:lnTo>
                <a:lnTo>
                  <a:pt x="7106" y="3120"/>
                </a:lnTo>
                <a:lnTo>
                  <a:pt x="7104" y="3120"/>
                </a:lnTo>
                <a:lnTo>
                  <a:pt x="7102" y="3120"/>
                </a:lnTo>
                <a:close/>
                <a:moveTo>
                  <a:pt x="11690" y="3124"/>
                </a:moveTo>
                <a:lnTo>
                  <a:pt x="11690" y="3124"/>
                </a:lnTo>
                <a:lnTo>
                  <a:pt x="11694" y="3116"/>
                </a:lnTo>
                <a:lnTo>
                  <a:pt x="11694" y="3108"/>
                </a:lnTo>
                <a:lnTo>
                  <a:pt x="11694" y="3106"/>
                </a:lnTo>
                <a:lnTo>
                  <a:pt x="11692" y="3104"/>
                </a:lnTo>
                <a:lnTo>
                  <a:pt x="11688" y="3106"/>
                </a:lnTo>
                <a:lnTo>
                  <a:pt x="11684" y="3110"/>
                </a:lnTo>
                <a:lnTo>
                  <a:pt x="11682" y="3114"/>
                </a:lnTo>
                <a:lnTo>
                  <a:pt x="11680" y="3118"/>
                </a:lnTo>
                <a:lnTo>
                  <a:pt x="11680" y="3122"/>
                </a:lnTo>
                <a:lnTo>
                  <a:pt x="11682" y="3124"/>
                </a:lnTo>
                <a:lnTo>
                  <a:pt x="11684" y="3126"/>
                </a:lnTo>
                <a:lnTo>
                  <a:pt x="11686" y="3126"/>
                </a:lnTo>
                <a:lnTo>
                  <a:pt x="11688" y="3126"/>
                </a:lnTo>
                <a:lnTo>
                  <a:pt x="11690" y="3124"/>
                </a:lnTo>
                <a:close/>
                <a:moveTo>
                  <a:pt x="11438" y="3278"/>
                </a:moveTo>
                <a:lnTo>
                  <a:pt x="11438" y="3278"/>
                </a:lnTo>
                <a:lnTo>
                  <a:pt x="11430" y="3286"/>
                </a:lnTo>
                <a:lnTo>
                  <a:pt x="11426" y="3292"/>
                </a:lnTo>
                <a:lnTo>
                  <a:pt x="11418" y="3294"/>
                </a:lnTo>
                <a:lnTo>
                  <a:pt x="11412" y="3296"/>
                </a:lnTo>
                <a:lnTo>
                  <a:pt x="11406" y="3306"/>
                </a:lnTo>
                <a:lnTo>
                  <a:pt x="11402" y="3310"/>
                </a:lnTo>
                <a:lnTo>
                  <a:pt x="11398" y="3314"/>
                </a:lnTo>
                <a:lnTo>
                  <a:pt x="11392" y="3314"/>
                </a:lnTo>
                <a:lnTo>
                  <a:pt x="11388" y="3314"/>
                </a:lnTo>
                <a:lnTo>
                  <a:pt x="11386" y="3316"/>
                </a:lnTo>
                <a:lnTo>
                  <a:pt x="11384" y="3320"/>
                </a:lnTo>
                <a:lnTo>
                  <a:pt x="11384" y="3326"/>
                </a:lnTo>
                <a:lnTo>
                  <a:pt x="11384" y="3332"/>
                </a:lnTo>
                <a:lnTo>
                  <a:pt x="11388" y="3336"/>
                </a:lnTo>
                <a:lnTo>
                  <a:pt x="11392" y="3336"/>
                </a:lnTo>
                <a:lnTo>
                  <a:pt x="11398" y="3336"/>
                </a:lnTo>
                <a:lnTo>
                  <a:pt x="11410" y="3334"/>
                </a:lnTo>
                <a:lnTo>
                  <a:pt x="11418" y="3334"/>
                </a:lnTo>
                <a:lnTo>
                  <a:pt x="11424" y="3336"/>
                </a:lnTo>
                <a:lnTo>
                  <a:pt x="11430" y="3340"/>
                </a:lnTo>
                <a:lnTo>
                  <a:pt x="11434" y="3338"/>
                </a:lnTo>
                <a:lnTo>
                  <a:pt x="11434" y="3336"/>
                </a:lnTo>
                <a:lnTo>
                  <a:pt x="11434" y="3332"/>
                </a:lnTo>
                <a:lnTo>
                  <a:pt x="11434" y="3324"/>
                </a:lnTo>
                <a:lnTo>
                  <a:pt x="11436" y="3320"/>
                </a:lnTo>
                <a:lnTo>
                  <a:pt x="11440" y="3316"/>
                </a:lnTo>
                <a:lnTo>
                  <a:pt x="11444" y="3314"/>
                </a:lnTo>
                <a:lnTo>
                  <a:pt x="11448" y="3316"/>
                </a:lnTo>
                <a:lnTo>
                  <a:pt x="11450" y="3320"/>
                </a:lnTo>
                <a:lnTo>
                  <a:pt x="11460" y="3320"/>
                </a:lnTo>
                <a:lnTo>
                  <a:pt x="11484" y="3314"/>
                </a:lnTo>
                <a:lnTo>
                  <a:pt x="11510" y="3306"/>
                </a:lnTo>
                <a:lnTo>
                  <a:pt x="11514" y="3304"/>
                </a:lnTo>
                <a:lnTo>
                  <a:pt x="11518" y="3302"/>
                </a:lnTo>
                <a:lnTo>
                  <a:pt x="11520" y="3296"/>
                </a:lnTo>
                <a:lnTo>
                  <a:pt x="11522" y="3294"/>
                </a:lnTo>
                <a:lnTo>
                  <a:pt x="11524" y="3294"/>
                </a:lnTo>
                <a:lnTo>
                  <a:pt x="11536" y="3298"/>
                </a:lnTo>
                <a:lnTo>
                  <a:pt x="11544" y="3300"/>
                </a:lnTo>
                <a:lnTo>
                  <a:pt x="11550" y="3300"/>
                </a:lnTo>
                <a:lnTo>
                  <a:pt x="11560" y="3298"/>
                </a:lnTo>
                <a:lnTo>
                  <a:pt x="11564" y="3296"/>
                </a:lnTo>
                <a:lnTo>
                  <a:pt x="11566" y="3302"/>
                </a:lnTo>
                <a:lnTo>
                  <a:pt x="11566" y="3306"/>
                </a:lnTo>
                <a:lnTo>
                  <a:pt x="11564" y="3308"/>
                </a:lnTo>
                <a:lnTo>
                  <a:pt x="11560" y="3314"/>
                </a:lnTo>
                <a:lnTo>
                  <a:pt x="11556" y="3318"/>
                </a:lnTo>
                <a:lnTo>
                  <a:pt x="11554" y="3320"/>
                </a:lnTo>
                <a:lnTo>
                  <a:pt x="11554" y="3324"/>
                </a:lnTo>
                <a:lnTo>
                  <a:pt x="11554" y="3330"/>
                </a:lnTo>
                <a:lnTo>
                  <a:pt x="11552" y="3336"/>
                </a:lnTo>
                <a:lnTo>
                  <a:pt x="11552" y="3340"/>
                </a:lnTo>
                <a:lnTo>
                  <a:pt x="11554" y="3342"/>
                </a:lnTo>
                <a:lnTo>
                  <a:pt x="11556" y="3346"/>
                </a:lnTo>
                <a:lnTo>
                  <a:pt x="11562" y="3348"/>
                </a:lnTo>
                <a:lnTo>
                  <a:pt x="11562" y="3352"/>
                </a:lnTo>
                <a:lnTo>
                  <a:pt x="11564" y="3356"/>
                </a:lnTo>
                <a:lnTo>
                  <a:pt x="11574" y="3362"/>
                </a:lnTo>
                <a:lnTo>
                  <a:pt x="11572" y="3364"/>
                </a:lnTo>
                <a:lnTo>
                  <a:pt x="11576" y="3366"/>
                </a:lnTo>
                <a:lnTo>
                  <a:pt x="11580" y="3364"/>
                </a:lnTo>
                <a:lnTo>
                  <a:pt x="11584" y="3360"/>
                </a:lnTo>
                <a:lnTo>
                  <a:pt x="11588" y="3354"/>
                </a:lnTo>
                <a:lnTo>
                  <a:pt x="11604" y="3328"/>
                </a:lnTo>
                <a:lnTo>
                  <a:pt x="11608" y="3324"/>
                </a:lnTo>
                <a:lnTo>
                  <a:pt x="11612" y="3320"/>
                </a:lnTo>
                <a:lnTo>
                  <a:pt x="11622" y="3318"/>
                </a:lnTo>
                <a:lnTo>
                  <a:pt x="11626" y="3316"/>
                </a:lnTo>
                <a:lnTo>
                  <a:pt x="11626" y="3314"/>
                </a:lnTo>
                <a:lnTo>
                  <a:pt x="11624" y="3312"/>
                </a:lnTo>
                <a:lnTo>
                  <a:pt x="11618" y="3308"/>
                </a:lnTo>
                <a:lnTo>
                  <a:pt x="11612" y="3302"/>
                </a:lnTo>
                <a:lnTo>
                  <a:pt x="11610" y="3296"/>
                </a:lnTo>
                <a:lnTo>
                  <a:pt x="11610" y="3290"/>
                </a:lnTo>
                <a:lnTo>
                  <a:pt x="11612" y="3284"/>
                </a:lnTo>
                <a:lnTo>
                  <a:pt x="11616" y="3280"/>
                </a:lnTo>
                <a:lnTo>
                  <a:pt x="11620" y="3280"/>
                </a:lnTo>
                <a:lnTo>
                  <a:pt x="11622" y="3280"/>
                </a:lnTo>
                <a:lnTo>
                  <a:pt x="11624" y="3286"/>
                </a:lnTo>
                <a:lnTo>
                  <a:pt x="11624" y="3292"/>
                </a:lnTo>
                <a:lnTo>
                  <a:pt x="11626" y="3294"/>
                </a:lnTo>
                <a:lnTo>
                  <a:pt x="11630" y="3296"/>
                </a:lnTo>
                <a:lnTo>
                  <a:pt x="11634" y="3296"/>
                </a:lnTo>
                <a:lnTo>
                  <a:pt x="11638" y="3294"/>
                </a:lnTo>
                <a:lnTo>
                  <a:pt x="11634" y="3300"/>
                </a:lnTo>
                <a:lnTo>
                  <a:pt x="11632" y="3302"/>
                </a:lnTo>
                <a:lnTo>
                  <a:pt x="11630" y="3304"/>
                </a:lnTo>
                <a:lnTo>
                  <a:pt x="11638" y="3304"/>
                </a:lnTo>
                <a:lnTo>
                  <a:pt x="11650" y="3302"/>
                </a:lnTo>
                <a:lnTo>
                  <a:pt x="11662" y="3302"/>
                </a:lnTo>
                <a:lnTo>
                  <a:pt x="11670" y="3302"/>
                </a:lnTo>
                <a:lnTo>
                  <a:pt x="11674" y="3302"/>
                </a:lnTo>
                <a:lnTo>
                  <a:pt x="11676" y="3300"/>
                </a:lnTo>
                <a:lnTo>
                  <a:pt x="11682" y="3292"/>
                </a:lnTo>
                <a:lnTo>
                  <a:pt x="11688" y="3282"/>
                </a:lnTo>
                <a:lnTo>
                  <a:pt x="11696" y="3276"/>
                </a:lnTo>
                <a:lnTo>
                  <a:pt x="11698" y="3276"/>
                </a:lnTo>
                <a:lnTo>
                  <a:pt x="11700" y="3276"/>
                </a:lnTo>
                <a:lnTo>
                  <a:pt x="11700" y="3282"/>
                </a:lnTo>
                <a:lnTo>
                  <a:pt x="11700" y="3288"/>
                </a:lnTo>
                <a:lnTo>
                  <a:pt x="11698" y="3296"/>
                </a:lnTo>
                <a:lnTo>
                  <a:pt x="11700" y="3300"/>
                </a:lnTo>
                <a:lnTo>
                  <a:pt x="11702" y="3302"/>
                </a:lnTo>
                <a:lnTo>
                  <a:pt x="11704" y="3302"/>
                </a:lnTo>
                <a:lnTo>
                  <a:pt x="11708" y="3298"/>
                </a:lnTo>
                <a:lnTo>
                  <a:pt x="11712" y="3286"/>
                </a:lnTo>
                <a:lnTo>
                  <a:pt x="11714" y="3274"/>
                </a:lnTo>
                <a:lnTo>
                  <a:pt x="11718" y="3268"/>
                </a:lnTo>
                <a:lnTo>
                  <a:pt x="11720" y="3266"/>
                </a:lnTo>
                <a:lnTo>
                  <a:pt x="11722" y="3264"/>
                </a:lnTo>
                <a:lnTo>
                  <a:pt x="11730" y="3270"/>
                </a:lnTo>
                <a:lnTo>
                  <a:pt x="11736" y="3274"/>
                </a:lnTo>
                <a:lnTo>
                  <a:pt x="11736" y="3270"/>
                </a:lnTo>
                <a:lnTo>
                  <a:pt x="11736" y="3264"/>
                </a:lnTo>
                <a:lnTo>
                  <a:pt x="11736" y="3258"/>
                </a:lnTo>
                <a:lnTo>
                  <a:pt x="11738" y="3254"/>
                </a:lnTo>
                <a:lnTo>
                  <a:pt x="11740" y="3250"/>
                </a:lnTo>
                <a:lnTo>
                  <a:pt x="11744" y="3248"/>
                </a:lnTo>
                <a:lnTo>
                  <a:pt x="11750" y="3246"/>
                </a:lnTo>
                <a:lnTo>
                  <a:pt x="11752" y="3248"/>
                </a:lnTo>
                <a:lnTo>
                  <a:pt x="11752" y="3252"/>
                </a:lnTo>
                <a:lnTo>
                  <a:pt x="11750" y="3256"/>
                </a:lnTo>
                <a:lnTo>
                  <a:pt x="11746" y="3266"/>
                </a:lnTo>
                <a:lnTo>
                  <a:pt x="11742" y="3280"/>
                </a:lnTo>
                <a:lnTo>
                  <a:pt x="11742" y="3288"/>
                </a:lnTo>
                <a:lnTo>
                  <a:pt x="11744" y="3288"/>
                </a:lnTo>
                <a:lnTo>
                  <a:pt x="11748" y="3284"/>
                </a:lnTo>
                <a:lnTo>
                  <a:pt x="11752" y="3280"/>
                </a:lnTo>
                <a:lnTo>
                  <a:pt x="11754" y="3278"/>
                </a:lnTo>
                <a:lnTo>
                  <a:pt x="11760" y="3276"/>
                </a:lnTo>
                <a:lnTo>
                  <a:pt x="11762" y="3274"/>
                </a:lnTo>
                <a:lnTo>
                  <a:pt x="11764" y="3272"/>
                </a:lnTo>
                <a:lnTo>
                  <a:pt x="11766" y="3258"/>
                </a:lnTo>
                <a:lnTo>
                  <a:pt x="11770" y="3252"/>
                </a:lnTo>
                <a:lnTo>
                  <a:pt x="11774" y="3248"/>
                </a:lnTo>
                <a:lnTo>
                  <a:pt x="11778" y="3246"/>
                </a:lnTo>
                <a:lnTo>
                  <a:pt x="11784" y="3248"/>
                </a:lnTo>
                <a:lnTo>
                  <a:pt x="11786" y="3248"/>
                </a:lnTo>
                <a:lnTo>
                  <a:pt x="11788" y="3246"/>
                </a:lnTo>
                <a:lnTo>
                  <a:pt x="11786" y="3242"/>
                </a:lnTo>
                <a:lnTo>
                  <a:pt x="11780" y="3232"/>
                </a:lnTo>
                <a:lnTo>
                  <a:pt x="11776" y="3226"/>
                </a:lnTo>
                <a:lnTo>
                  <a:pt x="11774" y="3222"/>
                </a:lnTo>
                <a:lnTo>
                  <a:pt x="11772" y="3210"/>
                </a:lnTo>
                <a:lnTo>
                  <a:pt x="11776" y="3200"/>
                </a:lnTo>
                <a:lnTo>
                  <a:pt x="11780" y="3188"/>
                </a:lnTo>
                <a:lnTo>
                  <a:pt x="11786" y="3176"/>
                </a:lnTo>
                <a:lnTo>
                  <a:pt x="11790" y="3164"/>
                </a:lnTo>
                <a:lnTo>
                  <a:pt x="11792" y="3152"/>
                </a:lnTo>
                <a:lnTo>
                  <a:pt x="11790" y="3138"/>
                </a:lnTo>
                <a:lnTo>
                  <a:pt x="11788" y="3128"/>
                </a:lnTo>
                <a:lnTo>
                  <a:pt x="11786" y="3120"/>
                </a:lnTo>
                <a:lnTo>
                  <a:pt x="11788" y="3112"/>
                </a:lnTo>
                <a:lnTo>
                  <a:pt x="11790" y="3106"/>
                </a:lnTo>
                <a:lnTo>
                  <a:pt x="11792" y="3100"/>
                </a:lnTo>
                <a:lnTo>
                  <a:pt x="11796" y="3098"/>
                </a:lnTo>
                <a:lnTo>
                  <a:pt x="11800" y="3098"/>
                </a:lnTo>
                <a:lnTo>
                  <a:pt x="11806" y="3102"/>
                </a:lnTo>
                <a:lnTo>
                  <a:pt x="11810" y="3104"/>
                </a:lnTo>
                <a:lnTo>
                  <a:pt x="11812" y="3104"/>
                </a:lnTo>
                <a:lnTo>
                  <a:pt x="11812" y="3096"/>
                </a:lnTo>
                <a:lnTo>
                  <a:pt x="11812" y="3082"/>
                </a:lnTo>
                <a:lnTo>
                  <a:pt x="11814" y="3074"/>
                </a:lnTo>
                <a:lnTo>
                  <a:pt x="11820" y="3068"/>
                </a:lnTo>
                <a:lnTo>
                  <a:pt x="11824" y="3058"/>
                </a:lnTo>
                <a:lnTo>
                  <a:pt x="11828" y="3050"/>
                </a:lnTo>
                <a:lnTo>
                  <a:pt x="11830" y="3040"/>
                </a:lnTo>
                <a:lnTo>
                  <a:pt x="11832" y="3030"/>
                </a:lnTo>
                <a:lnTo>
                  <a:pt x="11832" y="3020"/>
                </a:lnTo>
                <a:lnTo>
                  <a:pt x="11830" y="3010"/>
                </a:lnTo>
                <a:lnTo>
                  <a:pt x="11826" y="3002"/>
                </a:lnTo>
                <a:lnTo>
                  <a:pt x="11820" y="2994"/>
                </a:lnTo>
                <a:lnTo>
                  <a:pt x="11814" y="2988"/>
                </a:lnTo>
                <a:lnTo>
                  <a:pt x="11810" y="2980"/>
                </a:lnTo>
                <a:lnTo>
                  <a:pt x="11806" y="2964"/>
                </a:lnTo>
                <a:lnTo>
                  <a:pt x="11806" y="2950"/>
                </a:lnTo>
                <a:lnTo>
                  <a:pt x="11806" y="2940"/>
                </a:lnTo>
                <a:lnTo>
                  <a:pt x="11808" y="2936"/>
                </a:lnTo>
                <a:lnTo>
                  <a:pt x="11806" y="2934"/>
                </a:lnTo>
                <a:lnTo>
                  <a:pt x="11802" y="2932"/>
                </a:lnTo>
                <a:lnTo>
                  <a:pt x="11796" y="2930"/>
                </a:lnTo>
                <a:lnTo>
                  <a:pt x="11790" y="2926"/>
                </a:lnTo>
                <a:lnTo>
                  <a:pt x="11788" y="2926"/>
                </a:lnTo>
                <a:lnTo>
                  <a:pt x="11786" y="2928"/>
                </a:lnTo>
                <a:lnTo>
                  <a:pt x="11782" y="2936"/>
                </a:lnTo>
                <a:lnTo>
                  <a:pt x="11782" y="2940"/>
                </a:lnTo>
                <a:lnTo>
                  <a:pt x="11784" y="2944"/>
                </a:lnTo>
                <a:lnTo>
                  <a:pt x="11786" y="2944"/>
                </a:lnTo>
                <a:lnTo>
                  <a:pt x="11790" y="2944"/>
                </a:lnTo>
                <a:lnTo>
                  <a:pt x="11796" y="2944"/>
                </a:lnTo>
                <a:lnTo>
                  <a:pt x="11798" y="2946"/>
                </a:lnTo>
                <a:lnTo>
                  <a:pt x="11800" y="2948"/>
                </a:lnTo>
                <a:lnTo>
                  <a:pt x="11800" y="2952"/>
                </a:lnTo>
                <a:lnTo>
                  <a:pt x="11798" y="2960"/>
                </a:lnTo>
                <a:lnTo>
                  <a:pt x="11794" y="2960"/>
                </a:lnTo>
                <a:lnTo>
                  <a:pt x="11792" y="2960"/>
                </a:lnTo>
                <a:lnTo>
                  <a:pt x="11790" y="2958"/>
                </a:lnTo>
                <a:lnTo>
                  <a:pt x="11786" y="2958"/>
                </a:lnTo>
                <a:lnTo>
                  <a:pt x="11782" y="2962"/>
                </a:lnTo>
                <a:lnTo>
                  <a:pt x="11780" y="2964"/>
                </a:lnTo>
                <a:lnTo>
                  <a:pt x="11778" y="2964"/>
                </a:lnTo>
                <a:lnTo>
                  <a:pt x="11776" y="2962"/>
                </a:lnTo>
                <a:lnTo>
                  <a:pt x="11776" y="2956"/>
                </a:lnTo>
                <a:lnTo>
                  <a:pt x="11774" y="2944"/>
                </a:lnTo>
                <a:lnTo>
                  <a:pt x="11772" y="2942"/>
                </a:lnTo>
                <a:lnTo>
                  <a:pt x="11770" y="2940"/>
                </a:lnTo>
                <a:lnTo>
                  <a:pt x="11766" y="2940"/>
                </a:lnTo>
                <a:lnTo>
                  <a:pt x="11764" y="2944"/>
                </a:lnTo>
                <a:lnTo>
                  <a:pt x="11762" y="2948"/>
                </a:lnTo>
                <a:lnTo>
                  <a:pt x="11762" y="2956"/>
                </a:lnTo>
                <a:lnTo>
                  <a:pt x="11760" y="2964"/>
                </a:lnTo>
                <a:lnTo>
                  <a:pt x="11758" y="2966"/>
                </a:lnTo>
                <a:lnTo>
                  <a:pt x="11754" y="2968"/>
                </a:lnTo>
                <a:lnTo>
                  <a:pt x="11750" y="2968"/>
                </a:lnTo>
                <a:lnTo>
                  <a:pt x="11746" y="2970"/>
                </a:lnTo>
                <a:lnTo>
                  <a:pt x="11744" y="2972"/>
                </a:lnTo>
                <a:lnTo>
                  <a:pt x="11744" y="2976"/>
                </a:lnTo>
                <a:lnTo>
                  <a:pt x="11746" y="2984"/>
                </a:lnTo>
                <a:lnTo>
                  <a:pt x="11748" y="2994"/>
                </a:lnTo>
                <a:lnTo>
                  <a:pt x="11748" y="3000"/>
                </a:lnTo>
                <a:lnTo>
                  <a:pt x="11746" y="3004"/>
                </a:lnTo>
                <a:lnTo>
                  <a:pt x="11744" y="3006"/>
                </a:lnTo>
                <a:lnTo>
                  <a:pt x="11740" y="3008"/>
                </a:lnTo>
                <a:lnTo>
                  <a:pt x="11738" y="3010"/>
                </a:lnTo>
                <a:lnTo>
                  <a:pt x="11738" y="3014"/>
                </a:lnTo>
                <a:lnTo>
                  <a:pt x="11738" y="3016"/>
                </a:lnTo>
                <a:lnTo>
                  <a:pt x="11740" y="3016"/>
                </a:lnTo>
                <a:lnTo>
                  <a:pt x="11744" y="3018"/>
                </a:lnTo>
                <a:lnTo>
                  <a:pt x="11746" y="3020"/>
                </a:lnTo>
                <a:lnTo>
                  <a:pt x="11748" y="3024"/>
                </a:lnTo>
                <a:lnTo>
                  <a:pt x="11748" y="3032"/>
                </a:lnTo>
                <a:lnTo>
                  <a:pt x="11748" y="3046"/>
                </a:lnTo>
                <a:lnTo>
                  <a:pt x="11742" y="3066"/>
                </a:lnTo>
                <a:lnTo>
                  <a:pt x="11738" y="3082"/>
                </a:lnTo>
                <a:lnTo>
                  <a:pt x="11732" y="3094"/>
                </a:lnTo>
                <a:lnTo>
                  <a:pt x="11728" y="3104"/>
                </a:lnTo>
                <a:lnTo>
                  <a:pt x="11722" y="3112"/>
                </a:lnTo>
                <a:lnTo>
                  <a:pt x="11710" y="3124"/>
                </a:lnTo>
                <a:lnTo>
                  <a:pt x="11698" y="3142"/>
                </a:lnTo>
                <a:lnTo>
                  <a:pt x="11690" y="3152"/>
                </a:lnTo>
                <a:lnTo>
                  <a:pt x="11684" y="3158"/>
                </a:lnTo>
                <a:lnTo>
                  <a:pt x="11676" y="3164"/>
                </a:lnTo>
                <a:lnTo>
                  <a:pt x="11670" y="3166"/>
                </a:lnTo>
                <a:lnTo>
                  <a:pt x="11656" y="3172"/>
                </a:lnTo>
                <a:lnTo>
                  <a:pt x="11648" y="3176"/>
                </a:lnTo>
                <a:lnTo>
                  <a:pt x="11640" y="3182"/>
                </a:lnTo>
                <a:lnTo>
                  <a:pt x="11632" y="3190"/>
                </a:lnTo>
                <a:lnTo>
                  <a:pt x="11630" y="3188"/>
                </a:lnTo>
                <a:lnTo>
                  <a:pt x="11630" y="3186"/>
                </a:lnTo>
                <a:lnTo>
                  <a:pt x="11632" y="3178"/>
                </a:lnTo>
                <a:lnTo>
                  <a:pt x="11632" y="3174"/>
                </a:lnTo>
                <a:lnTo>
                  <a:pt x="11630" y="3170"/>
                </a:lnTo>
                <a:lnTo>
                  <a:pt x="11628" y="3168"/>
                </a:lnTo>
                <a:lnTo>
                  <a:pt x="11628" y="3164"/>
                </a:lnTo>
                <a:lnTo>
                  <a:pt x="11636" y="3160"/>
                </a:lnTo>
                <a:lnTo>
                  <a:pt x="11644" y="3152"/>
                </a:lnTo>
                <a:lnTo>
                  <a:pt x="11644" y="3148"/>
                </a:lnTo>
                <a:lnTo>
                  <a:pt x="11642" y="3144"/>
                </a:lnTo>
                <a:lnTo>
                  <a:pt x="11640" y="3144"/>
                </a:lnTo>
                <a:lnTo>
                  <a:pt x="11636" y="3144"/>
                </a:lnTo>
                <a:lnTo>
                  <a:pt x="11628" y="3148"/>
                </a:lnTo>
                <a:lnTo>
                  <a:pt x="11622" y="3152"/>
                </a:lnTo>
                <a:lnTo>
                  <a:pt x="11620" y="3156"/>
                </a:lnTo>
                <a:lnTo>
                  <a:pt x="11618" y="3160"/>
                </a:lnTo>
                <a:lnTo>
                  <a:pt x="11618" y="3166"/>
                </a:lnTo>
                <a:lnTo>
                  <a:pt x="11618" y="3176"/>
                </a:lnTo>
                <a:lnTo>
                  <a:pt x="11616" y="3186"/>
                </a:lnTo>
                <a:lnTo>
                  <a:pt x="11612" y="3196"/>
                </a:lnTo>
                <a:lnTo>
                  <a:pt x="11604" y="3206"/>
                </a:lnTo>
                <a:lnTo>
                  <a:pt x="11592" y="3220"/>
                </a:lnTo>
                <a:lnTo>
                  <a:pt x="11588" y="3226"/>
                </a:lnTo>
                <a:lnTo>
                  <a:pt x="11588" y="3230"/>
                </a:lnTo>
                <a:lnTo>
                  <a:pt x="11588" y="3236"/>
                </a:lnTo>
                <a:lnTo>
                  <a:pt x="11588" y="3242"/>
                </a:lnTo>
                <a:lnTo>
                  <a:pt x="11586" y="3246"/>
                </a:lnTo>
                <a:lnTo>
                  <a:pt x="11584" y="3248"/>
                </a:lnTo>
                <a:lnTo>
                  <a:pt x="11578" y="3250"/>
                </a:lnTo>
                <a:lnTo>
                  <a:pt x="11570" y="3252"/>
                </a:lnTo>
                <a:lnTo>
                  <a:pt x="11564" y="3254"/>
                </a:lnTo>
                <a:lnTo>
                  <a:pt x="11560" y="3252"/>
                </a:lnTo>
                <a:lnTo>
                  <a:pt x="11560" y="3250"/>
                </a:lnTo>
                <a:lnTo>
                  <a:pt x="11560" y="3248"/>
                </a:lnTo>
                <a:lnTo>
                  <a:pt x="11562" y="3242"/>
                </a:lnTo>
                <a:lnTo>
                  <a:pt x="11560" y="3242"/>
                </a:lnTo>
                <a:lnTo>
                  <a:pt x="11558" y="3240"/>
                </a:lnTo>
                <a:lnTo>
                  <a:pt x="11550" y="3242"/>
                </a:lnTo>
                <a:lnTo>
                  <a:pt x="11540" y="3244"/>
                </a:lnTo>
                <a:lnTo>
                  <a:pt x="11514" y="3252"/>
                </a:lnTo>
                <a:lnTo>
                  <a:pt x="11502" y="3256"/>
                </a:lnTo>
                <a:lnTo>
                  <a:pt x="11492" y="3258"/>
                </a:lnTo>
                <a:lnTo>
                  <a:pt x="11482" y="3258"/>
                </a:lnTo>
                <a:lnTo>
                  <a:pt x="11480" y="3256"/>
                </a:lnTo>
                <a:lnTo>
                  <a:pt x="11478" y="3254"/>
                </a:lnTo>
                <a:lnTo>
                  <a:pt x="11476" y="3250"/>
                </a:lnTo>
                <a:lnTo>
                  <a:pt x="11472" y="3248"/>
                </a:lnTo>
                <a:lnTo>
                  <a:pt x="11468" y="3250"/>
                </a:lnTo>
                <a:lnTo>
                  <a:pt x="11464" y="3252"/>
                </a:lnTo>
                <a:lnTo>
                  <a:pt x="11452" y="3262"/>
                </a:lnTo>
                <a:lnTo>
                  <a:pt x="11438" y="3278"/>
                </a:lnTo>
                <a:close/>
                <a:moveTo>
                  <a:pt x="11364" y="3348"/>
                </a:moveTo>
                <a:lnTo>
                  <a:pt x="11364" y="3348"/>
                </a:lnTo>
                <a:lnTo>
                  <a:pt x="11362" y="3354"/>
                </a:lnTo>
                <a:lnTo>
                  <a:pt x="11358" y="3354"/>
                </a:lnTo>
                <a:lnTo>
                  <a:pt x="11356" y="3354"/>
                </a:lnTo>
                <a:lnTo>
                  <a:pt x="11352" y="3360"/>
                </a:lnTo>
                <a:lnTo>
                  <a:pt x="11350" y="3362"/>
                </a:lnTo>
                <a:lnTo>
                  <a:pt x="11348" y="3364"/>
                </a:lnTo>
                <a:lnTo>
                  <a:pt x="11344" y="3360"/>
                </a:lnTo>
                <a:lnTo>
                  <a:pt x="11342" y="3358"/>
                </a:lnTo>
                <a:lnTo>
                  <a:pt x="11340" y="3362"/>
                </a:lnTo>
                <a:lnTo>
                  <a:pt x="11340" y="3366"/>
                </a:lnTo>
                <a:lnTo>
                  <a:pt x="11338" y="3368"/>
                </a:lnTo>
                <a:lnTo>
                  <a:pt x="11332" y="3368"/>
                </a:lnTo>
                <a:lnTo>
                  <a:pt x="11328" y="3368"/>
                </a:lnTo>
                <a:lnTo>
                  <a:pt x="11330" y="3374"/>
                </a:lnTo>
                <a:lnTo>
                  <a:pt x="11334" y="3382"/>
                </a:lnTo>
                <a:lnTo>
                  <a:pt x="11332" y="3386"/>
                </a:lnTo>
                <a:lnTo>
                  <a:pt x="11332" y="3390"/>
                </a:lnTo>
                <a:lnTo>
                  <a:pt x="11334" y="3396"/>
                </a:lnTo>
                <a:lnTo>
                  <a:pt x="11338" y="3400"/>
                </a:lnTo>
                <a:lnTo>
                  <a:pt x="11338" y="3404"/>
                </a:lnTo>
                <a:lnTo>
                  <a:pt x="11338" y="3408"/>
                </a:lnTo>
                <a:lnTo>
                  <a:pt x="11338" y="3410"/>
                </a:lnTo>
                <a:lnTo>
                  <a:pt x="11346" y="3404"/>
                </a:lnTo>
                <a:lnTo>
                  <a:pt x="11350" y="3400"/>
                </a:lnTo>
                <a:lnTo>
                  <a:pt x="11352" y="3400"/>
                </a:lnTo>
                <a:lnTo>
                  <a:pt x="11352" y="3402"/>
                </a:lnTo>
                <a:lnTo>
                  <a:pt x="11354" y="3406"/>
                </a:lnTo>
                <a:lnTo>
                  <a:pt x="11356" y="3406"/>
                </a:lnTo>
                <a:lnTo>
                  <a:pt x="11360" y="3404"/>
                </a:lnTo>
                <a:lnTo>
                  <a:pt x="11362" y="3402"/>
                </a:lnTo>
                <a:lnTo>
                  <a:pt x="11364" y="3400"/>
                </a:lnTo>
                <a:lnTo>
                  <a:pt x="11362" y="3398"/>
                </a:lnTo>
                <a:lnTo>
                  <a:pt x="11358" y="3394"/>
                </a:lnTo>
                <a:lnTo>
                  <a:pt x="11354" y="3392"/>
                </a:lnTo>
                <a:lnTo>
                  <a:pt x="11354" y="3388"/>
                </a:lnTo>
                <a:lnTo>
                  <a:pt x="11354" y="3382"/>
                </a:lnTo>
                <a:lnTo>
                  <a:pt x="11354" y="3380"/>
                </a:lnTo>
                <a:lnTo>
                  <a:pt x="11356" y="3380"/>
                </a:lnTo>
                <a:lnTo>
                  <a:pt x="11360" y="3382"/>
                </a:lnTo>
                <a:lnTo>
                  <a:pt x="11362" y="3386"/>
                </a:lnTo>
                <a:lnTo>
                  <a:pt x="11368" y="3396"/>
                </a:lnTo>
                <a:lnTo>
                  <a:pt x="11370" y="3406"/>
                </a:lnTo>
                <a:lnTo>
                  <a:pt x="11368" y="3416"/>
                </a:lnTo>
                <a:lnTo>
                  <a:pt x="11362" y="3428"/>
                </a:lnTo>
                <a:lnTo>
                  <a:pt x="11356" y="3436"/>
                </a:lnTo>
                <a:lnTo>
                  <a:pt x="11354" y="3442"/>
                </a:lnTo>
                <a:lnTo>
                  <a:pt x="11358" y="3458"/>
                </a:lnTo>
                <a:lnTo>
                  <a:pt x="11358" y="3464"/>
                </a:lnTo>
                <a:lnTo>
                  <a:pt x="11358" y="3468"/>
                </a:lnTo>
                <a:lnTo>
                  <a:pt x="11354" y="3474"/>
                </a:lnTo>
                <a:lnTo>
                  <a:pt x="11354" y="3476"/>
                </a:lnTo>
                <a:lnTo>
                  <a:pt x="11364" y="3480"/>
                </a:lnTo>
                <a:lnTo>
                  <a:pt x="11370" y="3482"/>
                </a:lnTo>
                <a:lnTo>
                  <a:pt x="11374" y="3486"/>
                </a:lnTo>
                <a:lnTo>
                  <a:pt x="11374" y="3490"/>
                </a:lnTo>
                <a:lnTo>
                  <a:pt x="11376" y="3492"/>
                </a:lnTo>
                <a:lnTo>
                  <a:pt x="11384" y="3486"/>
                </a:lnTo>
                <a:lnTo>
                  <a:pt x="11388" y="3482"/>
                </a:lnTo>
                <a:lnTo>
                  <a:pt x="11392" y="3480"/>
                </a:lnTo>
                <a:lnTo>
                  <a:pt x="11392" y="3476"/>
                </a:lnTo>
                <a:lnTo>
                  <a:pt x="11390" y="3474"/>
                </a:lnTo>
                <a:lnTo>
                  <a:pt x="11388" y="3472"/>
                </a:lnTo>
                <a:lnTo>
                  <a:pt x="11388" y="3470"/>
                </a:lnTo>
                <a:lnTo>
                  <a:pt x="11390" y="3468"/>
                </a:lnTo>
                <a:lnTo>
                  <a:pt x="11394" y="3468"/>
                </a:lnTo>
                <a:lnTo>
                  <a:pt x="11396" y="3470"/>
                </a:lnTo>
                <a:lnTo>
                  <a:pt x="11398" y="3472"/>
                </a:lnTo>
                <a:lnTo>
                  <a:pt x="11402" y="3472"/>
                </a:lnTo>
                <a:lnTo>
                  <a:pt x="11404" y="3468"/>
                </a:lnTo>
                <a:lnTo>
                  <a:pt x="11406" y="3458"/>
                </a:lnTo>
                <a:lnTo>
                  <a:pt x="11410" y="3434"/>
                </a:lnTo>
                <a:lnTo>
                  <a:pt x="11416" y="3410"/>
                </a:lnTo>
                <a:lnTo>
                  <a:pt x="11420" y="3402"/>
                </a:lnTo>
                <a:lnTo>
                  <a:pt x="11422" y="3400"/>
                </a:lnTo>
                <a:lnTo>
                  <a:pt x="11426" y="3398"/>
                </a:lnTo>
                <a:lnTo>
                  <a:pt x="11428" y="3396"/>
                </a:lnTo>
                <a:lnTo>
                  <a:pt x="11430" y="3394"/>
                </a:lnTo>
                <a:lnTo>
                  <a:pt x="11428" y="3386"/>
                </a:lnTo>
                <a:lnTo>
                  <a:pt x="11424" y="3380"/>
                </a:lnTo>
                <a:lnTo>
                  <a:pt x="11418" y="3378"/>
                </a:lnTo>
                <a:lnTo>
                  <a:pt x="11414" y="3376"/>
                </a:lnTo>
                <a:lnTo>
                  <a:pt x="11410" y="3376"/>
                </a:lnTo>
                <a:lnTo>
                  <a:pt x="11408" y="3374"/>
                </a:lnTo>
                <a:lnTo>
                  <a:pt x="11412" y="3368"/>
                </a:lnTo>
                <a:lnTo>
                  <a:pt x="11414" y="3362"/>
                </a:lnTo>
                <a:lnTo>
                  <a:pt x="11416" y="3358"/>
                </a:lnTo>
                <a:lnTo>
                  <a:pt x="11414" y="3354"/>
                </a:lnTo>
                <a:lnTo>
                  <a:pt x="11410" y="3352"/>
                </a:lnTo>
                <a:lnTo>
                  <a:pt x="11406" y="3352"/>
                </a:lnTo>
                <a:lnTo>
                  <a:pt x="11398" y="3354"/>
                </a:lnTo>
                <a:lnTo>
                  <a:pt x="11396" y="3356"/>
                </a:lnTo>
                <a:lnTo>
                  <a:pt x="11392" y="3356"/>
                </a:lnTo>
                <a:lnTo>
                  <a:pt x="11390" y="3354"/>
                </a:lnTo>
                <a:lnTo>
                  <a:pt x="11388" y="3348"/>
                </a:lnTo>
                <a:lnTo>
                  <a:pt x="11386" y="3344"/>
                </a:lnTo>
                <a:lnTo>
                  <a:pt x="11384" y="3342"/>
                </a:lnTo>
                <a:lnTo>
                  <a:pt x="11378" y="3338"/>
                </a:lnTo>
                <a:lnTo>
                  <a:pt x="11374" y="3338"/>
                </a:lnTo>
                <a:lnTo>
                  <a:pt x="11370" y="3340"/>
                </a:lnTo>
                <a:lnTo>
                  <a:pt x="11368" y="3342"/>
                </a:lnTo>
                <a:lnTo>
                  <a:pt x="11364" y="3348"/>
                </a:lnTo>
                <a:close/>
                <a:moveTo>
                  <a:pt x="11528" y="3322"/>
                </a:moveTo>
                <a:lnTo>
                  <a:pt x="11528" y="3322"/>
                </a:lnTo>
                <a:lnTo>
                  <a:pt x="11522" y="3318"/>
                </a:lnTo>
                <a:lnTo>
                  <a:pt x="11516" y="3316"/>
                </a:lnTo>
                <a:lnTo>
                  <a:pt x="11508" y="3316"/>
                </a:lnTo>
                <a:lnTo>
                  <a:pt x="11500" y="3318"/>
                </a:lnTo>
                <a:lnTo>
                  <a:pt x="11496" y="3322"/>
                </a:lnTo>
                <a:lnTo>
                  <a:pt x="11492" y="3326"/>
                </a:lnTo>
                <a:lnTo>
                  <a:pt x="11490" y="3332"/>
                </a:lnTo>
                <a:lnTo>
                  <a:pt x="11488" y="3336"/>
                </a:lnTo>
                <a:lnTo>
                  <a:pt x="11486" y="3336"/>
                </a:lnTo>
                <a:lnTo>
                  <a:pt x="11484" y="3336"/>
                </a:lnTo>
                <a:lnTo>
                  <a:pt x="11482" y="3334"/>
                </a:lnTo>
                <a:lnTo>
                  <a:pt x="11478" y="3336"/>
                </a:lnTo>
                <a:lnTo>
                  <a:pt x="11474" y="3338"/>
                </a:lnTo>
                <a:lnTo>
                  <a:pt x="11472" y="3340"/>
                </a:lnTo>
                <a:lnTo>
                  <a:pt x="11470" y="3334"/>
                </a:lnTo>
                <a:lnTo>
                  <a:pt x="11468" y="3328"/>
                </a:lnTo>
                <a:lnTo>
                  <a:pt x="11466" y="3328"/>
                </a:lnTo>
                <a:lnTo>
                  <a:pt x="11462" y="3332"/>
                </a:lnTo>
                <a:lnTo>
                  <a:pt x="11456" y="3344"/>
                </a:lnTo>
                <a:lnTo>
                  <a:pt x="11452" y="3350"/>
                </a:lnTo>
                <a:lnTo>
                  <a:pt x="11448" y="3356"/>
                </a:lnTo>
                <a:lnTo>
                  <a:pt x="11438" y="3364"/>
                </a:lnTo>
                <a:lnTo>
                  <a:pt x="11432" y="3368"/>
                </a:lnTo>
                <a:lnTo>
                  <a:pt x="11438" y="3368"/>
                </a:lnTo>
                <a:lnTo>
                  <a:pt x="11442" y="3368"/>
                </a:lnTo>
                <a:lnTo>
                  <a:pt x="11444" y="3368"/>
                </a:lnTo>
                <a:lnTo>
                  <a:pt x="11446" y="3370"/>
                </a:lnTo>
                <a:lnTo>
                  <a:pt x="11446" y="3374"/>
                </a:lnTo>
                <a:lnTo>
                  <a:pt x="11446" y="3380"/>
                </a:lnTo>
                <a:lnTo>
                  <a:pt x="11448" y="3384"/>
                </a:lnTo>
                <a:lnTo>
                  <a:pt x="11450" y="3388"/>
                </a:lnTo>
                <a:lnTo>
                  <a:pt x="11452" y="3392"/>
                </a:lnTo>
                <a:lnTo>
                  <a:pt x="11454" y="3394"/>
                </a:lnTo>
                <a:lnTo>
                  <a:pt x="11452" y="3398"/>
                </a:lnTo>
                <a:lnTo>
                  <a:pt x="11452" y="3400"/>
                </a:lnTo>
                <a:lnTo>
                  <a:pt x="11462" y="3402"/>
                </a:lnTo>
                <a:lnTo>
                  <a:pt x="11466" y="3400"/>
                </a:lnTo>
                <a:lnTo>
                  <a:pt x="11468" y="3398"/>
                </a:lnTo>
                <a:lnTo>
                  <a:pt x="11474" y="3386"/>
                </a:lnTo>
                <a:lnTo>
                  <a:pt x="11476" y="3378"/>
                </a:lnTo>
                <a:lnTo>
                  <a:pt x="11478" y="3372"/>
                </a:lnTo>
                <a:lnTo>
                  <a:pt x="11484" y="3366"/>
                </a:lnTo>
                <a:lnTo>
                  <a:pt x="11490" y="3362"/>
                </a:lnTo>
                <a:lnTo>
                  <a:pt x="11496" y="3362"/>
                </a:lnTo>
                <a:lnTo>
                  <a:pt x="11502" y="3364"/>
                </a:lnTo>
                <a:lnTo>
                  <a:pt x="11510" y="3368"/>
                </a:lnTo>
                <a:lnTo>
                  <a:pt x="11512" y="3370"/>
                </a:lnTo>
                <a:lnTo>
                  <a:pt x="11514" y="3372"/>
                </a:lnTo>
                <a:lnTo>
                  <a:pt x="11516" y="3370"/>
                </a:lnTo>
                <a:lnTo>
                  <a:pt x="11518" y="3364"/>
                </a:lnTo>
                <a:lnTo>
                  <a:pt x="11520" y="3358"/>
                </a:lnTo>
                <a:lnTo>
                  <a:pt x="11524" y="3354"/>
                </a:lnTo>
                <a:lnTo>
                  <a:pt x="11530" y="3350"/>
                </a:lnTo>
                <a:lnTo>
                  <a:pt x="11534" y="3346"/>
                </a:lnTo>
                <a:lnTo>
                  <a:pt x="11536" y="3344"/>
                </a:lnTo>
                <a:lnTo>
                  <a:pt x="11534" y="3340"/>
                </a:lnTo>
                <a:lnTo>
                  <a:pt x="11532" y="3332"/>
                </a:lnTo>
                <a:lnTo>
                  <a:pt x="11534" y="3328"/>
                </a:lnTo>
                <a:lnTo>
                  <a:pt x="11532" y="3324"/>
                </a:lnTo>
                <a:lnTo>
                  <a:pt x="11528" y="3322"/>
                </a:lnTo>
                <a:close/>
                <a:moveTo>
                  <a:pt x="11746" y="2888"/>
                </a:moveTo>
                <a:lnTo>
                  <a:pt x="11746" y="2888"/>
                </a:lnTo>
                <a:lnTo>
                  <a:pt x="11752" y="2894"/>
                </a:lnTo>
                <a:lnTo>
                  <a:pt x="11754" y="2900"/>
                </a:lnTo>
                <a:lnTo>
                  <a:pt x="11754" y="2904"/>
                </a:lnTo>
                <a:lnTo>
                  <a:pt x="11752" y="2910"/>
                </a:lnTo>
                <a:lnTo>
                  <a:pt x="11748" y="2920"/>
                </a:lnTo>
                <a:lnTo>
                  <a:pt x="11750" y="2926"/>
                </a:lnTo>
                <a:lnTo>
                  <a:pt x="11752" y="2932"/>
                </a:lnTo>
                <a:lnTo>
                  <a:pt x="11756" y="2934"/>
                </a:lnTo>
                <a:lnTo>
                  <a:pt x="11758" y="2934"/>
                </a:lnTo>
                <a:lnTo>
                  <a:pt x="11762" y="2930"/>
                </a:lnTo>
                <a:lnTo>
                  <a:pt x="11768" y="2920"/>
                </a:lnTo>
                <a:lnTo>
                  <a:pt x="11774" y="2910"/>
                </a:lnTo>
                <a:lnTo>
                  <a:pt x="11776" y="2910"/>
                </a:lnTo>
                <a:lnTo>
                  <a:pt x="11778" y="2910"/>
                </a:lnTo>
                <a:lnTo>
                  <a:pt x="11784" y="2914"/>
                </a:lnTo>
                <a:lnTo>
                  <a:pt x="11790" y="2914"/>
                </a:lnTo>
                <a:lnTo>
                  <a:pt x="11796" y="2912"/>
                </a:lnTo>
                <a:lnTo>
                  <a:pt x="11800" y="2908"/>
                </a:lnTo>
                <a:lnTo>
                  <a:pt x="11798" y="2906"/>
                </a:lnTo>
                <a:lnTo>
                  <a:pt x="11782" y="2896"/>
                </a:lnTo>
                <a:lnTo>
                  <a:pt x="11774" y="2892"/>
                </a:lnTo>
                <a:lnTo>
                  <a:pt x="11766" y="2886"/>
                </a:lnTo>
                <a:lnTo>
                  <a:pt x="11764" y="2878"/>
                </a:lnTo>
                <a:lnTo>
                  <a:pt x="11764" y="2876"/>
                </a:lnTo>
                <a:lnTo>
                  <a:pt x="11764" y="2872"/>
                </a:lnTo>
                <a:lnTo>
                  <a:pt x="11770" y="2866"/>
                </a:lnTo>
                <a:lnTo>
                  <a:pt x="11774" y="2864"/>
                </a:lnTo>
                <a:lnTo>
                  <a:pt x="11778" y="2866"/>
                </a:lnTo>
                <a:lnTo>
                  <a:pt x="11780" y="2870"/>
                </a:lnTo>
                <a:lnTo>
                  <a:pt x="11784" y="2874"/>
                </a:lnTo>
                <a:lnTo>
                  <a:pt x="11788" y="2876"/>
                </a:lnTo>
                <a:lnTo>
                  <a:pt x="11794" y="2876"/>
                </a:lnTo>
                <a:lnTo>
                  <a:pt x="11800" y="2874"/>
                </a:lnTo>
                <a:lnTo>
                  <a:pt x="11808" y="2868"/>
                </a:lnTo>
                <a:lnTo>
                  <a:pt x="11814" y="2866"/>
                </a:lnTo>
                <a:lnTo>
                  <a:pt x="11818" y="2866"/>
                </a:lnTo>
                <a:lnTo>
                  <a:pt x="11826" y="2868"/>
                </a:lnTo>
                <a:lnTo>
                  <a:pt x="11842" y="2878"/>
                </a:lnTo>
                <a:lnTo>
                  <a:pt x="11872" y="2896"/>
                </a:lnTo>
                <a:lnTo>
                  <a:pt x="11880" y="2898"/>
                </a:lnTo>
                <a:lnTo>
                  <a:pt x="11884" y="2896"/>
                </a:lnTo>
                <a:lnTo>
                  <a:pt x="11888" y="2890"/>
                </a:lnTo>
                <a:lnTo>
                  <a:pt x="11890" y="2882"/>
                </a:lnTo>
                <a:lnTo>
                  <a:pt x="11896" y="2864"/>
                </a:lnTo>
                <a:lnTo>
                  <a:pt x="11900" y="2856"/>
                </a:lnTo>
                <a:lnTo>
                  <a:pt x="11906" y="2850"/>
                </a:lnTo>
                <a:lnTo>
                  <a:pt x="11918" y="2846"/>
                </a:lnTo>
                <a:lnTo>
                  <a:pt x="11930" y="2846"/>
                </a:lnTo>
                <a:lnTo>
                  <a:pt x="11942" y="2844"/>
                </a:lnTo>
                <a:lnTo>
                  <a:pt x="11956" y="2840"/>
                </a:lnTo>
                <a:lnTo>
                  <a:pt x="11978" y="2828"/>
                </a:lnTo>
                <a:lnTo>
                  <a:pt x="11984" y="2824"/>
                </a:lnTo>
                <a:lnTo>
                  <a:pt x="11984" y="2822"/>
                </a:lnTo>
                <a:lnTo>
                  <a:pt x="11984" y="2820"/>
                </a:lnTo>
                <a:lnTo>
                  <a:pt x="11982" y="2820"/>
                </a:lnTo>
                <a:lnTo>
                  <a:pt x="11978" y="2820"/>
                </a:lnTo>
                <a:lnTo>
                  <a:pt x="11972" y="2822"/>
                </a:lnTo>
                <a:lnTo>
                  <a:pt x="11970" y="2822"/>
                </a:lnTo>
                <a:lnTo>
                  <a:pt x="11966" y="2820"/>
                </a:lnTo>
                <a:lnTo>
                  <a:pt x="11962" y="2818"/>
                </a:lnTo>
                <a:lnTo>
                  <a:pt x="11958" y="2810"/>
                </a:lnTo>
                <a:lnTo>
                  <a:pt x="11956" y="2802"/>
                </a:lnTo>
                <a:lnTo>
                  <a:pt x="11956" y="2794"/>
                </a:lnTo>
                <a:lnTo>
                  <a:pt x="11958" y="2786"/>
                </a:lnTo>
                <a:lnTo>
                  <a:pt x="11962" y="2780"/>
                </a:lnTo>
                <a:lnTo>
                  <a:pt x="11966" y="2770"/>
                </a:lnTo>
                <a:lnTo>
                  <a:pt x="11966" y="2768"/>
                </a:lnTo>
                <a:lnTo>
                  <a:pt x="11964" y="2768"/>
                </a:lnTo>
                <a:lnTo>
                  <a:pt x="11960" y="2770"/>
                </a:lnTo>
                <a:lnTo>
                  <a:pt x="11958" y="2772"/>
                </a:lnTo>
                <a:lnTo>
                  <a:pt x="11950" y="2780"/>
                </a:lnTo>
                <a:lnTo>
                  <a:pt x="11944" y="2788"/>
                </a:lnTo>
                <a:lnTo>
                  <a:pt x="11938" y="2790"/>
                </a:lnTo>
                <a:lnTo>
                  <a:pt x="11932" y="2792"/>
                </a:lnTo>
                <a:lnTo>
                  <a:pt x="11928" y="2790"/>
                </a:lnTo>
                <a:lnTo>
                  <a:pt x="11926" y="2788"/>
                </a:lnTo>
                <a:lnTo>
                  <a:pt x="11924" y="2784"/>
                </a:lnTo>
                <a:lnTo>
                  <a:pt x="11922" y="2782"/>
                </a:lnTo>
                <a:lnTo>
                  <a:pt x="11920" y="2780"/>
                </a:lnTo>
                <a:lnTo>
                  <a:pt x="11916" y="2778"/>
                </a:lnTo>
                <a:lnTo>
                  <a:pt x="11910" y="2776"/>
                </a:lnTo>
                <a:lnTo>
                  <a:pt x="11900" y="2774"/>
                </a:lnTo>
                <a:lnTo>
                  <a:pt x="11892" y="2770"/>
                </a:lnTo>
                <a:lnTo>
                  <a:pt x="11882" y="2762"/>
                </a:lnTo>
                <a:lnTo>
                  <a:pt x="11872" y="2754"/>
                </a:lnTo>
                <a:lnTo>
                  <a:pt x="11854" y="2734"/>
                </a:lnTo>
                <a:lnTo>
                  <a:pt x="11840" y="2716"/>
                </a:lnTo>
                <a:lnTo>
                  <a:pt x="11836" y="2710"/>
                </a:lnTo>
                <a:lnTo>
                  <a:pt x="11828" y="2706"/>
                </a:lnTo>
                <a:lnTo>
                  <a:pt x="11822" y="2704"/>
                </a:lnTo>
                <a:lnTo>
                  <a:pt x="11818" y="2704"/>
                </a:lnTo>
                <a:lnTo>
                  <a:pt x="11814" y="2706"/>
                </a:lnTo>
                <a:lnTo>
                  <a:pt x="11812" y="2712"/>
                </a:lnTo>
                <a:lnTo>
                  <a:pt x="11812" y="2720"/>
                </a:lnTo>
                <a:lnTo>
                  <a:pt x="11816" y="2728"/>
                </a:lnTo>
                <a:lnTo>
                  <a:pt x="11820" y="2738"/>
                </a:lnTo>
                <a:lnTo>
                  <a:pt x="11822" y="2746"/>
                </a:lnTo>
                <a:lnTo>
                  <a:pt x="11820" y="2752"/>
                </a:lnTo>
                <a:lnTo>
                  <a:pt x="11820" y="2756"/>
                </a:lnTo>
                <a:lnTo>
                  <a:pt x="11816" y="2764"/>
                </a:lnTo>
                <a:lnTo>
                  <a:pt x="11814" y="2768"/>
                </a:lnTo>
                <a:lnTo>
                  <a:pt x="11816" y="2774"/>
                </a:lnTo>
                <a:lnTo>
                  <a:pt x="11818" y="2778"/>
                </a:lnTo>
                <a:lnTo>
                  <a:pt x="11816" y="2784"/>
                </a:lnTo>
                <a:lnTo>
                  <a:pt x="11812" y="2792"/>
                </a:lnTo>
                <a:lnTo>
                  <a:pt x="11806" y="2800"/>
                </a:lnTo>
                <a:lnTo>
                  <a:pt x="11804" y="2806"/>
                </a:lnTo>
                <a:lnTo>
                  <a:pt x="11804" y="2810"/>
                </a:lnTo>
                <a:lnTo>
                  <a:pt x="11806" y="2820"/>
                </a:lnTo>
                <a:lnTo>
                  <a:pt x="11806" y="2830"/>
                </a:lnTo>
                <a:lnTo>
                  <a:pt x="11804" y="2834"/>
                </a:lnTo>
                <a:lnTo>
                  <a:pt x="11800" y="2836"/>
                </a:lnTo>
                <a:lnTo>
                  <a:pt x="11794" y="2836"/>
                </a:lnTo>
                <a:lnTo>
                  <a:pt x="11788" y="2832"/>
                </a:lnTo>
                <a:lnTo>
                  <a:pt x="11774" y="2826"/>
                </a:lnTo>
                <a:lnTo>
                  <a:pt x="11764" y="2824"/>
                </a:lnTo>
                <a:lnTo>
                  <a:pt x="11762" y="2824"/>
                </a:lnTo>
                <a:lnTo>
                  <a:pt x="11762" y="2826"/>
                </a:lnTo>
                <a:lnTo>
                  <a:pt x="11762" y="2830"/>
                </a:lnTo>
                <a:lnTo>
                  <a:pt x="11766" y="2836"/>
                </a:lnTo>
                <a:lnTo>
                  <a:pt x="11768" y="2838"/>
                </a:lnTo>
                <a:lnTo>
                  <a:pt x="11770" y="2842"/>
                </a:lnTo>
                <a:lnTo>
                  <a:pt x="11766" y="2848"/>
                </a:lnTo>
                <a:lnTo>
                  <a:pt x="11760" y="2854"/>
                </a:lnTo>
                <a:lnTo>
                  <a:pt x="11754" y="2862"/>
                </a:lnTo>
                <a:lnTo>
                  <a:pt x="11746" y="2868"/>
                </a:lnTo>
                <a:lnTo>
                  <a:pt x="11742" y="2876"/>
                </a:lnTo>
                <a:lnTo>
                  <a:pt x="11740" y="2878"/>
                </a:lnTo>
                <a:lnTo>
                  <a:pt x="11740" y="2882"/>
                </a:lnTo>
                <a:lnTo>
                  <a:pt x="11742" y="2886"/>
                </a:lnTo>
                <a:lnTo>
                  <a:pt x="11746" y="2888"/>
                </a:lnTo>
                <a:close/>
                <a:moveTo>
                  <a:pt x="11370" y="3520"/>
                </a:moveTo>
                <a:lnTo>
                  <a:pt x="11370" y="3520"/>
                </a:lnTo>
                <a:lnTo>
                  <a:pt x="11368" y="3522"/>
                </a:lnTo>
                <a:lnTo>
                  <a:pt x="11366" y="3524"/>
                </a:lnTo>
                <a:lnTo>
                  <a:pt x="11366" y="3528"/>
                </a:lnTo>
                <a:lnTo>
                  <a:pt x="11366" y="3530"/>
                </a:lnTo>
                <a:lnTo>
                  <a:pt x="11370" y="3532"/>
                </a:lnTo>
                <a:lnTo>
                  <a:pt x="11374" y="3530"/>
                </a:lnTo>
                <a:lnTo>
                  <a:pt x="11374" y="3528"/>
                </a:lnTo>
                <a:lnTo>
                  <a:pt x="11372" y="3524"/>
                </a:lnTo>
                <a:lnTo>
                  <a:pt x="11370" y="3520"/>
                </a:lnTo>
                <a:close/>
                <a:moveTo>
                  <a:pt x="11300" y="3398"/>
                </a:moveTo>
                <a:lnTo>
                  <a:pt x="11300" y="3398"/>
                </a:lnTo>
                <a:lnTo>
                  <a:pt x="11296" y="3398"/>
                </a:lnTo>
                <a:lnTo>
                  <a:pt x="11294" y="3402"/>
                </a:lnTo>
                <a:lnTo>
                  <a:pt x="11294" y="3406"/>
                </a:lnTo>
                <a:lnTo>
                  <a:pt x="11296" y="3408"/>
                </a:lnTo>
                <a:lnTo>
                  <a:pt x="11302" y="3406"/>
                </a:lnTo>
                <a:lnTo>
                  <a:pt x="11304" y="3404"/>
                </a:lnTo>
                <a:lnTo>
                  <a:pt x="11304" y="3402"/>
                </a:lnTo>
                <a:lnTo>
                  <a:pt x="11300" y="3398"/>
                </a:lnTo>
                <a:close/>
                <a:moveTo>
                  <a:pt x="11356" y="3414"/>
                </a:moveTo>
                <a:lnTo>
                  <a:pt x="11356" y="3414"/>
                </a:lnTo>
                <a:lnTo>
                  <a:pt x="11356" y="3412"/>
                </a:lnTo>
                <a:lnTo>
                  <a:pt x="11352" y="3412"/>
                </a:lnTo>
                <a:lnTo>
                  <a:pt x="11348" y="3416"/>
                </a:lnTo>
                <a:lnTo>
                  <a:pt x="11348" y="3424"/>
                </a:lnTo>
                <a:lnTo>
                  <a:pt x="11350" y="3426"/>
                </a:lnTo>
                <a:lnTo>
                  <a:pt x="11352" y="3424"/>
                </a:lnTo>
                <a:lnTo>
                  <a:pt x="11356" y="3420"/>
                </a:lnTo>
                <a:lnTo>
                  <a:pt x="11356" y="3414"/>
                </a:lnTo>
                <a:close/>
                <a:moveTo>
                  <a:pt x="11550" y="3304"/>
                </a:moveTo>
                <a:lnTo>
                  <a:pt x="11550" y="3304"/>
                </a:lnTo>
                <a:lnTo>
                  <a:pt x="11548" y="3304"/>
                </a:lnTo>
                <a:lnTo>
                  <a:pt x="11544" y="3308"/>
                </a:lnTo>
                <a:lnTo>
                  <a:pt x="11540" y="3316"/>
                </a:lnTo>
                <a:lnTo>
                  <a:pt x="11540" y="3320"/>
                </a:lnTo>
                <a:lnTo>
                  <a:pt x="11542" y="3324"/>
                </a:lnTo>
                <a:lnTo>
                  <a:pt x="11544" y="3324"/>
                </a:lnTo>
                <a:lnTo>
                  <a:pt x="11548" y="3318"/>
                </a:lnTo>
                <a:lnTo>
                  <a:pt x="11550" y="3310"/>
                </a:lnTo>
                <a:lnTo>
                  <a:pt x="11550" y="3304"/>
                </a:lnTo>
                <a:close/>
                <a:moveTo>
                  <a:pt x="11484" y="3218"/>
                </a:moveTo>
                <a:lnTo>
                  <a:pt x="11484" y="3218"/>
                </a:lnTo>
                <a:lnTo>
                  <a:pt x="11486" y="3216"/>
                </a:lnTo>
                <a:lnTo>
                  <a:pt x="11484" y="3212"/>
                </a:lnTo>
                <a:lnTo>
                  <a:pt x="11482" y="3210"/>
                </a:lnTo>
                <a:lnTo>
                  <a:pt x="11480" y="3208"/>
                </a:lnTo>
                <a:lnTo>
                  <a:pt x="11478" y="3210"/>
                </a:lnTo>
                <a:lnTo>
                  <a:pt x="11476" y="3214"/>
                </a:lnTo>
                <a:lnTo>
                  <a:pt x="11478" y="3216"/>
                </a:lnTo>
                <a:lnTo>
                  <a:pt x="11482" y="3218"/>
                </a:lnTo>
                <a:lnTo>
                  <a:pt x="11484" y="3218"/>
                </a:lnTo>
                <a:close/>
                <a:moveTo>
                  <a:pt x="11262" y="3740"/>
                </a:moveTo>
                <a:lnTo>
                  <a:pt x="11262" y="3740"/>
                </a:lnTo>
                <a:lnTo>
                  <a:pt x="11262" y="3736"/>
                </a:lnTo>
                <a:lnTo>
                  <a:pt x="11264" y="3732"/>
                </a:lnTo>
                <a:lnTo>
                  <a:pt x="11276" y="3720"/>
                </a:lnTo>
                <a:lnTo>
                  <a:pt x="11282" y="3712"/>
                </a:lnTo>
                <a:lnTo>
                  <a:pt x="11282" y="3708"/>
                </a:lnTo>
                <a:lnTo>
                  <a:pt x="11278" y="3708"/>
                </a:lnTo>
                <a:lnTo>
                  <a:pt x="11272" y="3712"/>
                </a:lnTo>
                <a:lnTo>
                  <a:pt x="11262" y="3722"/>
                </a:lnTo>
                <a:lnTo>
                  <a:pt x="11258" y="3728"/>
                </a:lnTo>
                <a:lnTo>
                  <a:pt x="11254" y="3738"/>
                </a:lnTo>
                <a:lnTo>
                  <a:pt x="11254" y="3742"/>
                </a:lnTo>
                <a:lnTo>
                  <a:pt x="11256" y="3744"/>
                </a:lnTo>
                <a:lnTo>
                  <a:pt x="11260" y="3744"/>
                </a:lnTo>
                <a:lnTo>
                  <a:pt x="11262" y="3740"/>
                </a:lnTo>
                <a:close/>
                <a:moveTo>
                  <a:pt x="11304" y="3662"/>
                </a:moveTo>
                <a:lnTo>
                  <a:pt x="11304" y="3662"/>
                </a:lnTo>
                <a:lnTo>
                  <a:pt x="11308" y="3664"/>
                </a:lnTo>
                <a:lnTo>
                  <a:pt x="11310" y="3664"/>
                </a:lnTo>
                <a:lnTo>
                  <a:pt x="11310" y="3660"/>
                </a:lnTo>
                <a:lnTo>
                  <a:pt x="11308" y="3654"/>
                </a:lnTo>
                <a:lnTo>
                  <a:pt x="11306" y="3652"/>
                </a:lnTo>
                <a:lnTo>
                  <a:pt x="11304" y="3654"/>
                </a:lnTo>
                <a:lnTo>
                  <a:pt x="11304" y="3658"/>
                </a:lnTo>
                <a:lnTo>
                  <a:pt x="11304" y="3662"/>
                </a:lnTo>
                <a:close/>
                <a:moveTo>
                  <a:pt x="11320" y="3638"/>
                </a:moveTo>
                <a:lnTo>
                  <a:pt x="11320" y="3638"/>
                </a:lnTo>
                <a:lnTo>
                  <a:pt x="11320" y="3640"/>
                </a:lnTo>
                <a:lnTo>
                  <a:pt x="11322" y="3640"/>
                </a:lnTo>
                <a:lnTo>
                  <a:pt x="11330" y="3636"/>
                </a:lnTo>
                <a:lnTo>
                  <a:pt x="11336" y="3628"/>
                </a:lnTo>
                <a:lnTo>
                  <a:pt x="11336" y="3624"/>
                </a:lnTo>
                <a:lnTo>
                  <a:pt x="11336" y="3622"/>
                </a:lnTo>
                <a:lnTo>
                  <a:pt x="11332" y="3622"/>
                </a:lnTo>
                <a:lnTo>
                  <a:pt x="11328" y="3624"/>
                </a:lnTo>
                <a:lnTo>
                  <a:pt x="11322" y="3630"/>
                </a:lnTo>
                <a:lnTo>
                  <a:pt x="11320" y="3632"/>
                </a:lnTo>
                <a:lnTo>
                  <a:pt x="11320" y="3638"/>
                </a:lnTo>
                <a:close/>
                <a:moveTo>
                  <a:pt x="11104" y="3838"/>
                </a:moveTo>
                <a:lnTo>
                  <a:pt x="11104" y="3838"/>
                </a:lnTo>
                <a:lnTo>
                  <a:pt x="11104" y="3834"/>
                </a:lnTo>
                <a:lnTo>
                  <a:pt x="11100" y="3830"/>
                </a:lnTo>
                <a:lnTo>
                  <a:pt x="11098" y="3830"/>
                </a:lnTo>
                <a:lnTo>
                  <a:pt x="11096" y="3832"/>
                </a:lnTo>
                <a:lnTo>
                  <a:pt x="11094" y="3834"/>
                </a:lnTo>
                <a:lnTo>
                  <a:pt x="11096" y="3838"/>
                </a:lnTo>
                <a:lnTo>
                  <a:pt x="11098" y="3840"/>
                </a:lnTo>
                <a:lnTo>
                  <a:pt x="11102" y="3840"/>
                </a:lnTo>
                <a:lnTo>
                  <a:pt x="11104" y="3838"/>
                </a:lnTo>
                <a:close/>
                <a:moveTo>
                  <a:pt x="11122" y="3824"/>
                </a:moveTo>
                <a:lnTo>
                  <a:pt x="11122" y="3824"/>
                </a:lnTo>
                <a:lnTo>
                  <a:pt x="11120" y="3824"/>
                </a:lnTo>
                <a:lnTo>
                  <a:pt x="11116" y="3826"/>
                </a:lnTo>
                <a:lnTo>
                  <a:pt x="11110" y="3830"/>
                </a:lnTo>
                <a:lnTo>
                  <a:pt x="11110" y="3832"/>
                </a:lnTo>
                <a:lnTo>
                  <a:pt x="11112" y="3834"/>
                </a:lnTo>
                <a:lnTo>
                  <a:pt x="11116" y="3836"/>
                </a:lnTo>
                <a:lnTo>
                  <a:pt x="11118" y="3834"/>
                </a:lnTo>
                <a:lnTo>
                  <a:pt x="11122" y="3824"/>
                </a:lnTo>
                <a:close/>
                <a:moveTo>
                  <a:pt x="11164" y="3810"/>
                </a:moveTo>
                <a:lnTo>
                  <a:pt x="11164" y="3810"/>
                </a:lnTo>
                <a:lnTo>
                  <a:pt x="11162" y="3810"/>
                </a:lnTo>
                <a:lnTo>
                  <a:pt x="11158" y="3810"/>
                </a:lnTo>
                <a:lnTo>
                  <a:pt x="11156" y="3814"/>
                </a:lnTo>
                <a:lnTo>
                  <a:pt x="11156" y="3816"/>
                </a:lnTo>
                <a:lnTo>
                  <a:pt x="11160" y="3818"/>
                </a:lnTo>
                <a:lnTo>
                  <a:pt x="11162" y="3816"/>
                </a:lnTo>
                <a:lnTo>
                  <a:pt x="11164" y="3814"/>
                </a:lnTo>
                <a:lnTo>
                  <a:pt x="11164" y="3810"/>
                </a:lnTo>
                <a:close/>
                <a:moveTo>
                  <a:pt x="11654" y="2152"/>
                </a:moveTo>
                <a:lnTo>
                  <a:pt x="11654" y="2152"/>
                </a:lnTo>
                <a:lnTo>
                  <a:pt x="11660" y="2154"/>
                </a:lnTo>
                <a:lnTo>
                  <a:pt x="11664" y="2152"/>
                </a:lnTo>
                <a:lnTo>
                  <a:pt x="11668" y="2148"/>
                </a:lnTo>
                <a:lnTo>
                  <a:pt x="11670" y="2144"/>
                </a:lnTo>
                <a:lnTo>
                  <a:pt x="11672" y="2138"/>
                </a:lnTo>
                <a:lnTo>
                  <a:pt x="11672" y="2134"/>
                </a:lnTo>
                <a:lnTo>
                  <a:pt x="11668" y="2130"/>
                </a:lnTo>
                <a:lnTo>
                  <a:pt x="11664" y="2128"/>
                </a:lnTo>
                <a:lnTo>
                  <a:pt x="11658" y="2128"/>
                </a:lnTo>
                <a:lnTo>
                  <a:pt x="11652" y="2128"/>
                </a:lnTo>
                <a:lnTo>
                  <a:pt x="11650" y="2132"/>
                </a:lnTo>
                <a:lnTo>
                  <a:pt x="11648" y="2134"/>
                </a:lnTo>
                <a:lnTo>
                  <a:pt x="11646" y="2138"/>
                </a:lnTo>
                <a:lnTo>
                  <a:pt x="11648" y="2142"/>
                </a:lnTo>
                <a:lnTo>
                  <a:pt x="11650" y="2146"/>
                </a:lnTo>
                <a:lnTo>
                  <a:pt x="11654" y="2152"/>
                </a:lnTo>
                <a:close/>
                <a:moveTo>
                  <a:pt x="13688" y="1366"/>
                </a:moveTo>
                <a:lnTo>
                  <a:pt x="13688" y="1366"/>
                </a:lnTo>
                <a:lnTo>
                  <a:pt x="13680" y="1356"/>
                </a:lnTo>
                <a:lnTo>
                  <a:pt x="13670" y="1348"/>
                </a:lnTo>
                <a:lnTo>
                  <a:pt x="13660" y="1344"/>
                </a:lnTo>
                <a:lnTo>
                  <a:pt x="13648" y="1340"/>
                </a:lnTo>
                <a:lnTo>
                  <a:pt x="13620" y="1338"/>
                </a:lnTo>
                <a:lnTo>
                  <a:pt x="13588" y="1336"/>
                </a:lnTo>
                <a:lnTo>
                  <a:pt x="13580" y="1336"/>
                </a:lnTo>
                <a:lnTo>
                  <a:pt x="13576" y="1340"/>
                </a:lnTo>
                <a:lnTo>
                  <a:pt x="13574" y="1342"/>
                </a:lnTo>
                <a:lnTo>
                  <a:pt x="13574" y="1348"/>
                </a:lnTo>
                <a:lnTo>
                  <a:pt x="13578" y="1358"/>
                </a:lnTo>
                <a:lnTo>
                  <a:pt x="13584" y="1372"/>
                </a:lnTo>
                <a:lnTo>
                  <a:pt x="13590" y="1382"/>
                </a:lnTo>
                <a:lnTo>
                  <a:pt x="13592" y="1390"/>
                </a:lnTo>
                <a:lnTo>
                  <a:pt x="13592" y="1392"/>
                </a:lnTo>
                <a:lnTo>
                  <a:pt x="13588" y="1392"/>
                </a:lnTo>
                <a:lnTo>
                  <a:pt x="13572" y="1384"/>
                </a:lnTo>
                <a:lnTo>
                  <a:pt x="13564" y="1378"/>
                </a:lnTo>
                <a:lnTo>
                  <a:pt x="13558" y="1372"/>
                </a:lnTo>
                <a:lnTo>
                  <a:pt x="13554" y="1366"/>
                </a:lnTo>
                <a:lnTo>
                  <a:pt x="13552" y="1362"/>
                </a:lnTo>
                <a:lnTo>
                  <a:pt x="13552" y="1350"/>
                </a:lnTo>
                <a:lnTo>
                  <a:pt x="13554" y="1338"/>
                </a:lnTo>
                <a:lnTo>
                  <a:pt x="13554" y="1326"/>
                </a:lnTo>
                <a:lnTo>
                  <a:pt x="13552" y="1320"/>
                </a:lnTo>
                <a:lnTo>
                  <a:pt x="13550" y="1314"/>
                </a:lnTo>
                <a:lnTo>
                  <a:pt x="13544" y="1306"/>
                </a:lnTo>
                <a:lnTo>
                  <a:pt x="13534" y="1300"/>
                </a:lnTo>
                <a:lnTo>
                  <a:pt x="13522" y="1292"/>
                </a:lnTo>
                <a:lnTo>
                  <a:pt x="13506" y="1284"/>
                </a:lnTo>
                <a:lnTo>
                  <a:pt x="13470" y="1266"/>
                </a:lnTo>
                <a:lnTo>
                  <a:pt x="13434" y="1248"/>
                </a:lnTo>
                <a:lnTo>
                  <a:pt x="13366" y="1214"/>
                </a:lnTo>
                <a:lnTo>
                  <a:pt x="13366" y="1208"/>
                </a:lnTo>
                <a:lnTo>
                  <a:pt x="13336" y="1194"/>
                </a:lnTo>
                <a:lnTo>
                  <a:pt x="13306" y="1180"/>
                </a:lnTo>
                <a:lnTo>
                  <a:pt x="13276" y="1170"/>
                </a:lnTo>
                <a:lnTo>
                  <a:pt x="13244" y="1162"/>
                </a:lnTo>
                <a:lnTo>
                  <a:pt x="13200" y="1150"/>
                </a:lnTo>
                <a:lnTo>
                  <a:pt x="13182" y="1146"/>
                </a:lnTo>
                <a:lnTo>
                  <a:pt x="13158" y="1142"/>
                </a:lnTo>
                <a:lnTo>
                  <a:pt x="13098" y="1138"/>
                </a:lnTo>
                <a:lnTo>
                  <a:pt x="13058" y="1134"/>
                </a:lnTo>
                <a:lnTo>
                  <a:pt x="13032" y="1128"/>
                </a:lnTo>
                <a:lnTo>
                  <a:pt x="13014" y="1122"/>
                </a:lnTo>
                <a:lnTo>
                  <a:pt x="13004" y="1118"/>
                </a:lnTo>
                <a:lnTo>
                  <a:pt x="12996" y="1116"/>
                </a:lnTo>
                <a:lnTo>
                  <a:pt x="12992" y="1118"/>
                </a:lnTo>
                <a:lnTo>
                  <a:pt x="12984" y="1126"/>
                </a:lnTo>
                <a:lnTo>
                  <a:pt x="12974" y="1142"/>
                </a:lnTo>
                <a:lnTo>
                  <a:pt x="12968" y="1150"/>
                </a:lnTo>
                <a:lnTo>
                  <a:pt x="12966" y="1158"/>
                </a:lnTo>
                <a:lnTo>
                  <a:pt x="12966" y="1162"/>
                </a:lnTo>
                <a:lnTo>
                  <a:pt x="12968" y="1168"/>
                </a:lnTo>
                <a:lnTo>
                  <a:pt x="12972" y="1170"/>
                </a:lnTo>
                <a:lnTo>
                  <a:pt x="12976" y="1174"/>
                </a:lnTo>
                <a:lnTo>
                  <a:pt x="12988" y="1178"/>
                </a:lnTo>
                <a:lnTo>
                  <a:pt x="12998" y="1182"/>
                </a:lnTo>
                <a:lnTo>
                  <a:pt x="13002" y="1184"/>
                </a:lnTo>
                <a:lnTo>
                  <a:pt x="13004" y="1188"/>
                </a:lnTo>
                <a:lnTo>
                  <a:pt x="13004" y="1192"/>
                </a:lnTo>
                <a:lnTo>
                  <a:pt x="13002" y="1196"/>
                </a:lnTo>
                <a:lnTo>
                  <a:pt x="12998" y="1204"/>
                </a:lnTo>
                <a:lnTo>
                  <a:pt x="12988" y="1212"/>
                </a:lnTo>
                <a:lnTo>
                  <a:pt x="12972" y="1224"/>
                </a:lnTo>
                <a:lnTo>
                  <a:pt x="12966" y="1228"/>
                </a:lnTo>
                <a:lnTo>
                  <a:pt x="12960" y="1228"/>
                </a:lnTo>
                <a:lnTo>
                  <a:pt x="12956" y="1228"/>
                </a:lnTo>
                <a:lnTo>
                  <a:pt x="12952" y="1226"/>
                </a:lnTo>
                <a:lnTo>
                  <a:pt x="12946" y="1220"/>
                </a:lnTo>
                <a:lnTo>
                  <a:pt x="12940" y="1210"/>
                </a:lnTo>
                <a:lnTo>
                  <a:pt x="12934" y="1202"/>
                </a:lnTo>
                <a:lnTo>
                  <a:pt x="12928" y="1198"/>
                </a:lnTo>
                <a:lnTo>
                  <a:pt x="12922" y="1196"/>
                </a:lnTo>
                <a:lnTo>
                  <a:pt x="12916" y="1194"/>
                </a:lnTo>
                <a:lnTo>
                  <a:pt x="12908" y="1194"/>
                </a:lnTo>
                <a:lnTo>
                  <a:pt x="12900" y="1194"/>
                </a:lnTo>
                <a:lnTo>
                  <a:pt x="12894" y="1192"/>
                </a:lnTo>
                <a:lnTo>
                  <a:pt x="12892" y="1190"/>
                </a:lnTo>
                <a:lnTo>
                  <a:pt x="12890" y="1186"/>
                </a:lnTo>
                <a:lnTo>
                  <a:pt x="12888" y="1178"/>
                </a:lnTo>
                <a:lnTo>
                  <a:pt x="12888" y="1170"/>
                </a:lnTo>
                <a:lnTo>
                  <a:pt x="12888" y="1162"/>
                </a:lnTo>
                <a:lnTo>
                  <a:pt x="12886" y="1158"/>
                </a:lnTo>
                <a:lnTo>
                  <a:pt x="12882" y="1156"/>
                </a:lnTo>
                <a:lnTo>
                  <a:pt x="12876" y="1156"/>
                </a:lnTo>
                <a:lnTo>
                  <a:pt x="12870" y="1156"/>
                </a:lnTo>
                <a:lnTo>
                  <a:pt x="12846" y="1164"/>
                </a:lnTo>
                <a:lnTo>
                  <a:pt x="12832" y="1168"/>
                </a:lnTo>
                <a:lnTo>
                  <a:pt x="12820" y="1170"/>
                </a:lnTo>
                <a:lnTo>
                  <a:pt x="12808" y="1170"/>
                </a:lnTo>
                <a:lnTo>
                  <a:pt x="12796" y="1170"/>
                </a:lnTo>
                <a:lnTo>
                  <a:pt x="12778" y="1168"/>
                </a:lnTo>
                <a:lnTo>
                  <a:pt x="12758" y="1162"/>
                </a:lnTo>
                <a:lnTo>
                  <a:pt x="12740" y="1158"/>
                </a:lnTo>
                <a:lnTo>
                  <a:pt x="12716" y="1154"/>
                </a:lnTo>
                <a:lnTo>
                  <a:pt x="12704" y="1152"/>
                </a:lnTo>
                <a:lnTo>
                  <a:pt x="12688" y="1154"/>
                </a:lnTo>
                <a:lnTo>
                  <a:pt x="12672" y="1154"/>
                </a:lnTo>
                <a:lnTo>
                  <a:pt x="12654" y="1158"/>
                </a:lnTo>
                <a:lnTo>
                  <a:pt x="12620" y="1164"/>
                </a:lnTo>
                <a:lnTo>
                  <a:pt x="12594" y="1166"/>
                </a:lnTo>
                <a:lnTo>
                  <a:pt x="12574" y="1164"/>
                </a:lnTo>
                <a:lnTo>
                  <a:pt x="12562" y="1160"/>
                </a:lnTo>
                <a:lnTo>
                  <a:pt x="12558" y="1156"/>
                </a:lnTo>
                <a:lnTo>
                  <a:pt x="12554" y="1152"/>
                </a:lnTo>
                <a:lnTo>
                  <a:pt x="12552" y="1142"/>
                </a:lnTo>
                <a:lnTo>
                  <a:pt x="12552" y="1132"/>
                </a:lnTo>
                <a:lnTo>
                  <a:pt x="12556" y="1122"/>
                </a:lnTo>
                <a:lnTo>
                  <a:pt x="12558" y="1118"/>
                </a:lnTo>
                <a:lnTo>
                  <a:pt x="12558" y="1112"/>
                </a:lnTo>
                <a:lnTo>
                  <a:pt x="12556" y="1104"/>
                </a:lnTo>
                <a:lnTo>
                  <a:pt x="12552" y="1098"/>
                </a:lnTo>
                <a:lnTo>
                  <a:pt x="12544" y="1090"/>
                </a:lnTo>
                <a:lnTo>
                  <a:pt x="12536" y="1084"/>
                </a:lnTo>
                <a:lnTo>
                  <a:pt x="12524" y="1078"/>
                </a:lnTo>
                <a:lnTo>
                  <a:pt x="12512" y="1072"/>
                </a:lnTo>
                <a:lnTo>
                  <a:pt x="12496" y="1066"/>
                </a:lnTo>
                <a:lnTo>
                  <a:pt x="12480" y="1062"/>
                </a:lnTo>
                <a:lnTo>
                  <a:pt x="12460" y="1058"/>
                </a:lnTo>
                <a:lnTo>
                  <a:pt x="12440" y="1056"/>
                </a:lnTo>
                <a:lnTo>
                  <a:pt x="12416" y="1056"/>
                </a:lnTo>
                <a:lnTo>
                  <a:pt x="12392" y="1056"/>
                </a:lnTo>
                <a:lnTo>
                  <a:pt x="12364" y="1058"/>
                </a:lnTo>
                <a:lnTo>
                  <a:pt x="12336" y="1064"/>
                </a:lnTo>
                <a:lnTo>
                  <a:pt x="12308" y="1068"/>
                </a:lnTo>
                <a:lnTo>
                  <a:pt x="12284" y="1068"/>
                </a:lnTo>
                <a:lnTo>
                  <a:pt x="12264" y="1068"/>
                </a:lnTo>
                <a:lnTo>
                  <a:pt x="12246" y="1064"/>
                </a:lnTo>
                <a:lnTo>
                  <a:pt x="12230" y="1060"/>
                </a:lnTo>
                <a:lnTo>
                  <a:pt x="12218" y="1054"/>
                </a:lnTo>
                <a:lnTo>
                  <a:pt x="12206" y="1046"/>
                </a:lnTo>
                <a:lnTo>
                  <a:pt x="12196" y="1038"/>
                </a:lnTo>
                <a:lnTo>
                  <a:pt x="12180" y="1022"/>
                </a:lnTo>
                <a:lnTo>
                  <a:pt x="12168" y="1004"/>
                </a:lnTo>
                <a:lnTo>
                  <a:pt x="12152" y="988"/>
                </a:lnTo>
                <a:lnTo>
                  <a:pt x="12144" y="982"/>
                </a:lnTo>
                <a:lnTo>
                  <a:pt x="12136" y="978"/>
                </a:lnTo>
                <a:lnTo>
                  <a:pt x="12116" y="972"/>
                </a:lnTo>
                <a:lnTo>
                  <a:pt x="12102" y="968"/>
                </a:lnTo>
                <a:lnTo>
                  <a:pt x="12076" y="966"/>
                </a:lnTo>
                <a:lnTo>
                  <a:pt x="12042" y="964"/>
                </a:lnTo>
                <a:lnTo>
                  <a:pt x="12018" y="960"/>
                </a:lnTo>
                <a:lnTo>
                  <a:pt x="11988" y="954"/>
                </a:lnTo>
                <a:lnTo>
                  <a:pt x="11958" y="946"/>
                </a:lnTo>
                <a:lnTo>
                  <a:pt x="11932" y="942"/>
                </a:lnTo>
                <a:lnTo>
                  <a:pt x="11890" y="940"/>
                </a:lnTo>
                <a:lnTo>
                  <a:pt x="11854" y="936"/>
                </a:lnTo>
                <a:lnTo>
                  <a:pt x="11834" y="934"/>
                </a:lnTo>
                <a:lnTo>
                  <a:pt x="11810" y="928"/>
                </a:lnTo>
                <a:lnTo>
                  <a:pt x="11790" y="924"/>
                </a:lnTo>
                <a:lnTo>
                  <a:pt x="11782" y="924"/>
                </a:lnTo>
                <a:lnTo>
                  <a:pt x="11780" y="926"/>
                </a:lnTo>
                <a:lnTo>
                  <a:pt x="11778" y="928"/>
                </a:lnTo>
                <a:lnTo>
                  <a:pt x="11780" y="934"/>
                </a:lnTo>
                <a:lnTo>
                  <a:pt x="11780" y="940"/>
                </a:lnTo>
                <a:lnTo>
                  <a:pt x="11778" y="942"/>
                </a:lnTo>
                <a:lnTo>
                  <a:pt x="11776" y="946"/>
                </a:lnTo>
                <a:lnTo>
                  <a:pt x="11772" y="948"/>
                </a:lnTo>
                <a:lnTo>
                  <a:pt x="11764" y="950"/>
                </a:lnTo>
                <a:lnTo>
                  <a:pt x="11742" y="954"/>
                </a:lnTo>
                <a:lnTo>
                  <a:pt x="11730" y="954"/>
                </a:lnTo>
                <a:lnTo>
                  <a:pt x="11722" y="958"/>
                </a:lnTo>
                <a:lnTo>
                  <a:pt x="11720" y="962"/>
                </a:lnTo>
                <a:lnTo>
                  <a:pt x="11718" y="968"/>
                </a:lnTo>
                <a:lnTo>
                  <a:pt x="11720" y="974"/>
                </a:lnTo>
                <a:lnTo>
                  <a:pt x="11724" y="982"/>
                </a:lnTo>
                <a:lnTo>
                  <a:pt x="11734" y="996"/>
                </a:lnTo>
                <a:lnTo>
                  <a:pt x="11746" y="1010"/>
                </a:lnTo>
                <a:lnTo>
                  <a:pt x="11748" y="1016"/>
                </a:lnTo>
                <a:lnTo>
                  <a:pt x="11750" y="1022"/>
                </a:lnTo>
                <a:lnTo>
                  <a:pt x="11748" y="1024"/>
                </a:lnTo>
                <a:lnTo>
                  <a:pt x="11744" y="1026"/>
                </a:lnTo>
                <a:lnTo>
                  <a:pt x="11736" y="1026"/>
                </a:lnTo>
                <a:lnTo>
                  <a:pt x="11724" y="1024"/>
                </a:lnTo>
                <a:lnTo>
                  <a:pt x="11698" y="1018"/>
                </a:lnTo>
                <a:lnTo>
                  <a:pt x="11680" y="1016"/>
                </a:lnTo>
                <a:lnTo>
                  <a:pt x="11668" y="1018"/>
                </a:lnTo>
                <a:lnTo>
                  <a:pt x="11658" y="1020"/>
                </a:lnTo>
                <a:lnTo>
                  <a:pt x="11650" y="1022"/>
                </a:lnTo>
                <a:lnTo>
                  <a:pt x="11640" y="1024"/>
                </a:lnTo>
                <a:lnTo>
                  <a:pt x="11624" y="1024"/>
                </a:lnTo>
                <a:lnTo>
                  <a:pt x="11604" y="1020"/>
                </a:lnTo>
                <a:lnTo>
                  <a:pt x="11592" y="1018"/>
                </a:lnTo>
                <a:lnTo>
                  <a:pt x="11582" y="1016"/>
                </a:lnTo>
                <a:lnTo>
                  <a:pt x="11574" y="1018"/>
                </a:lnTo>
                <a:lnTo>
                  <a:pt x="11566" y="1020"/>
                </a:lnTo>
                <a:lnTo>
                  <a:pt x="11552" y="1024"/>
                </a:lnTo>
                <a:lnTo>
                  <a:pt x="11538" y="1030"/>
                </a:lnTo>
                <a:lnTo>
                  <a:pt x="11526" y="1036"/>
                </a:lnTo>
                <a:lnTo>
                  <a:pt x="11520" y="1036"/>
                </a:lnTo>
                <a:lnTo>
                  <a:pt x="11512" y="1036"/>
                </a:lnTo>
                <a:lnTo>
                  <a:pt x="11504" y="1034"/>
                </a:lnTo>
                <a:lnTo>
                  <a:pt x="11496" y="1032"/>
                </a:lnTo>
                <a:lnTo>
                  <a:pt x="11486" y="1026"/>
                </a:lnTo>
                <a:lnTo>
                  <a:pt x="11474" y="1018"/>
                </a:lnTo>
                <a:lnTo>
                  <a:pt x="11464" y="1012"/>
                </a:lnTo>
                <a:lnTo>
                  <a:pt x="11454" y="1010"/>
                </a:lnTo>
                <a:lnTo>
                  <a:pt x="11446" y="1010"/>
                </a:lnTo>
                <a:lnTo>
                  <a:pt x="11440" y="1014"/>
                </a:lnTo>
                <a:lnTo>
                  <a:pt x="11434" y="1020"/>
                </a:lnTo>
                <a:lnTo>
                  <a:pt x="11428" y="1028"/>
                </a:lnTo>
                <a:lnTo>
                  <a:pt x="11418" y="1046"/>
                </a:lnTo>
                <a:lnTo>
                  <a:pt x="11408" y="1064"/>
                </a:lnTo>
                <a:lnTo>
                  <a:pt x="11404" y="1070"/>
                </a:lnTo>
                <a:lnTo>
                  <a:pt x="11396" y="1076"/>
                </a:lnTo>
                <a:lnTo>
                  <a:pt x="11390" y="1078"/>
                </a:lnTo>
                <a:lnTo>
                  <a:pt x="11380" y="1078"/>
                </a:lnTo>
                <a:lnTo>
                  <a:pt x="11370" y="1072"/>
                </a:lnTo>
                <a:lnTo>
                  <a:pt x="11358" y="1062"/>
                </a:lnTo>
                <a:lnTo>
                  <a:pt x="11316" y="1022"/>
                </a:lnTo>
                <a:lnTo>
                  <a:pt x="11290" y="994"/>
                </a:lnTo>
                <a:lnTo>
                  <a:pt x="11278" y="984"/>
                </a:lnTo>
                <a:lnTo>
                  <a:pt x="11268" y="976"/>
                </a:lnTo>
                <a:lnTo>
                  <a:pt x="11256" y="968"/>
                </a:lnTo>
                <a:lnTo>
                  <a:pt x="11242" y="962"/>
                </a:lnTo>
                <a:lnTo>
                  <a:pt x="11234" y="960"/>
                </a:lnTo>
                <a:lnTo>
                  <a:pt x="11230" y="960"/>
                </a:lnTo>
                <a:lnTo>
                  <a:pt x="11226" y="962"/>
                </a:lnTo>
                <a:lnTo>
                  <a:pt x="11226" y="964"/>
                </a:lnTo>
                <a:lnTo>
                  <a:pt x="11228" y="972"/>
                </a:lnTo>
                <a:lnTo>
                  <a:pt x="11232" y="982"/>
                </a:lnTo>
                <a:lnTo>
                  <a:pt x="11236" y="992"/>
                </a:lnTo>
                <a:lnTo>
                  <a:pt x="11238" y="996"/>
                </a:lnTo>
                <a:lnTo>
                  <a:pt x="11238" y="998"/>
                </a:lnTo>
                <a:lnTo>
                  <a:pt x="11234" y="996"/>
                </a:lnTo>
                <a:lnTo>
                  <a:pt x="11224" y="988"/>
                </a:lnTo>
                <a:lnTo>
                  <a:pt x="11206" y="976"/>
                </a:lnTo>
                <a:lnTo>
                  <a:pt x="11184" y="964"/>
                </a:lnTo>
                <a:lnTo>
                  <a:pt x="11158" y="954"/>
                </a:lnTo>
                <a:lnTo>
                  <a:pt x="11130" y="944"/>
                </a:lnTo>
                <a:lnTo>
                  <a:pt x="11096" y="934"/>
                </a:lnTo>
                <a:lnTo>
                  <a:pt x="11058" y="926"/>
                </a:lnTo>
                <a:lnTo>
                  <a:pt x="11018" y="920"/>
                </a:lnTo>
                <a:lnTo>
                  <a:pt x="10970" y="916"/>
                </a:lnTo>
                <a:lnTo>
                  <a:pt x="10918" y="910"/>
                </a:lnTo>
                <a:lnTo>
                  <a:pt x="10900" y="908"/>
                </a:lnTo>
                <a:lnTo>
                  <a:pt x="10890" y="904"/>
                </a:lnTo>
                <a:lnTo>
                  <a:pt x="10882" y="900"/>
                </a:lnTo>
                <a:lnTo>
                  <a:pt x="10880" y="898"/>
                </a:lnTo>
                <a:lnTo>
                  <a:pt x="10880" y="894"/>
                </a:lnTo>
                <a:lnTo>
                  <a:pt x="10882" y="890"/>
                </a:lnTo>
                <a:lnTo>
                  <a:pt x="10890" y="884"/>
                </a:lnTo>
                <a:lnTo>
                  <a:pt x="10896" y="878"/>
                </a:lnTo>
                <a:lnTo>
                  <a:pt x="10898" y="874"/>
                </a:lnTo>
                <a:lnTo>
                  <a:pt x="10896" y="872"/>
                </a:lnTo>
                <a:lnTo>
                  <a:pt x="10890" y="870"/>
                </a:lnTo>
                <a:lnTo>
                  <a:pt x="10880" y="870"/>
                </a:lnTo>
                <a:lnTo>
                  <a:pt x="10834" y="866"/>
                </a:lnTo>
                <a:lnTo>
                  <a:pt x="10792" y="864"/>
                </a:lnTo>
                <a:lnTo>
                  <a:pt x="10752" y="864"/>
                </a:lnTo>
                <a:lnTo>
                  <a:pt x="10732" y="866"/>
                </a:lnTo>
                <a:lnTo>
                  <a:pt x="10710" y="868"/>
                </a:lnTo>
                <a:lnTo>
                  <a:pt x="10702" y="870"/>
                </a:lnTo>
                <a:lnTo>
                  <a:pt x="10694" y="870"/>
                </a:lnTo>
                <a:lnTo>
                  <a:pt x="10688" y="870"/>
                </a:lnTo>
                <a:lnTo>
                  <a:pt x="10684" y="866"/>
                </a:lnTo>
                <a:lnTo>
                  <a:pt x="10678" y="860"/>
                </a:lnTo>
                <a:lnTo>
                  <a:pt x="10674" y="854"/>
                </a:lnTo>
                <a:lnTo>
                  <a:pt x="10672" y="848"/>
                </a:lnTo>
                <a:lnTo>
                  <a:pt x="10668" y="842"/>
                </a:lnTo>
                <a:lnTo>
                  <a:pt x="10666" y="842"/>
                </a:lnTo>
                <a:lnTo>
                  <a:pt x="10662" y="842"/>
                </a:lnTo>
                <a:lnTo>
                  <a:pt x="10650" y="848"/>
                </a:lnTo>
                <a:lnTo>
                  <a:pt x="10636" y="852"/>
                </a:lnTo>
                <a:lnTo>
                  <a:pt x="10626" y="854"/>
                </a:lnTo>
                <a:lnTo>
                  <a:pt x="10618" y="852"/>
                </a:lnTo>
                <a:lnTo>
                  <a:pt x="10610" y="848"/>
                </a:lnTo>
                <a:lnTo>
                  <a:pt x="10602" y="842"/>
                </a:lnTo>
                <a:lnTo>
                  <a:pt x="10594" y="838"/>
                </a:lnTo>
                <a:lnTo>
                  <a:pt x="10580" y="838"/>
                </a:lnTo>
                <a:lnTo>
                  <a:pt x="10564" y="840"/>
                </a:lnTo>
                <a:lnTo>
                  <a:pt x="10548" y="844"/>
                </a:lnTo>
                <a:lnTo>
                  <a:pt x="10542" y="850"/>
                </a:lnTo>
                <a:lnTo>
                  <a:pt x="10538" y="856"/>
                </a:lnTo>
                <a:lnTo>
                  <a:pt x="10536" y="864"/>
                </a:lnTo>
                <a:lnTo>
                  <a:pt x="10532" y="872"/>
                </a:lnTo>
                <a:lnTo>
                  <a:pt x="10522" y="878"/>
                </a:lnTo>
                <a:lnTo>
                  <a:pt x="10504" y="886"/>
                </a:lnTo>
                <a:lnTo>
                  <a:pt x="10474" y="892"/>
                </a:lnTo>
                <a:lnTo>
                  <a:pt x="10442" y="896"/>
                </a:lnTo>
                <a:lnTo>
                  <a:pt x="10418" y="896"/>
                </a:lnTo>
                <a:lnTo>
                  <a:pt x="10404" y="896"/>
                </a:lnTo>
                <a:lnTo>
                  <a:pt x="10402" y="894"/>
                </a:lnTo>
                <a:lnTo>
                  <a:pt x="10400" y="892"/>
                </a:lnTo>
                <a:lnTo>
                  <a:pt x="10400" y="888"/>
                </a:lnTo>
                <a:lnTo>
                  <a:pt x="10404" y="886"/>
                </a:lnTo>
                <a:lnTo>
                  <a:pt x="10416" y="876"/>
                </a:lnTo>
                <a:lnTo>
                  <a:pt x="10438" y="866"/>
                </a:lnTo>
                <a:lnTo>
                  <a:pt x="10468" y="852"/>
                </a:lnTo>
                <a:lnTo>
                  <a:pt x="10498" y="838"/>
                </a:lnTo>
                <a:lnTo>
                  <a:pt x="10520" y="828"/>
                </a:lnTo>
                <a:lnTo>
                  <a:pt x="10548" y="808"/>
                </a:lnTo>
                <a:lnTo>
                  <a:pt x="10562" y="800"/>
                </a:lnTo>
                <a:lnTo>
                  <a:pt x="10576" y="792"/>
                </a:lnTo>
                <a:lnTo>
                  <a:pt x="10596" y="784"/>
                </a:lnTo>
                <a:lnTo>
                  <a:pt x="10622" y="776"/>
                </a:lnTo>
                <a:lnTo>
                  <a:pt x="10650" y="766"/>
                </a:lnTo>
                <a:lnTo>
                  <a:pt x="10670" y="754"/>
                </a:lnTo>
                <a:lnTo>
                  <a:pt x="10678" y="748"/>
                </a:lnTo>
                <a:lnTo>
                  <a:pt x="10684" y="740"/>
                </a:lnTo>
                <a:lnTo>
                  <a:pt x="10692" y="728"/>
                </a:lnTo>
                <a:lnTo>
                  <a:pt x="10694" y="714"/>
                </a:lnTo>
                <a:lnTo>
                  <a:pt x="10694" y="700"/>
                </a:lnTo>
                <a:lnTo>
                  <a:pt x="10692" y="688"/>
                </a:lnTo>
                <a:lnTo>
                  <a:pt x="10686" y="678"/>
                </a:lnTo>
                <a:lnTo>
                  <a:pt x="10680" y="670"/>
                </a:lnTo>
                <a:lnTo>
                  <a:pt x="10672" y="664"/>
                </a:lnTo>
                <a:lnTo>
                  <a:pt x="10664" y="660"/>
                </a:lnTo>
                <a:lnTo>
                  <a:pt x="10656" y="658"/>
                </a:lnTo>
                <a:lnTo>
                  <a:pt x="10636" y="652"/>
                </a:lnTo>
                <a:lnTo>
                  <a:pt x="10626" y="646"/>
                </a:lnTo>
                <a:lnTo>
                  <a:pt x="10614" y="638"/>
                </a:lnTo>
                <a:lnTo>
                  <a:pt x="10600" y="630"/>
                </a:lnTo>
                <a:lnTo>
                  <a:pt x="10588" y="624"/>
                </a:lnTo>
                <a:lnTo>
                  <a:pt x="10574" y="624"/>
                </a:lnTo>
                <a:lnTo>
                  <a:pt x="10562" y="624"/>
                </a:lnTo>
                <a:lnTo>
                  <a:pt x="10532" y="626"/>
                </a:lnTo>
                <a:lnTo>
                  <a:pt x="10518" y="626"/>
                </a:lnTo>
                <a:lnTo>
                  <a:pt x="10500" y="624"/>
                </a:lnTo>
                <a:lnTo>
                  <a:pt x="10486" y="622"/>
                </a:lnTo>
                <a:lnTo>
                  <a:pt x="10478" y="622"/>
                </a:lnTo>
                <a:lnTo>
                  <a:pt x="10472" y="624"/>
                </a:lnTo>
                <a:lnTo>
                  <a:pt x="10466" y="628"/>
                </a:lnTo>
                <a:lnTo>
                  <a:pt x="10462" y="632"/>
                </a:lnTo>
                <a:lnTo>
                  <a:pt x="10454" y="636"/>
                </a:lnTo>
                <a:lnTo>
                  <a:pt x="10442" y="640"/>
                </a:lnTo>
                <a:lnTo>
                  <a:pt x="10426" y="642"/>
                </a:lnTo>
                <a:lnTo>
                  <a:pt x="10404" y="644"/>
                </a:lnTo>
                <a:lnTo>
                  <a:pt x="10400" y="644"/>
                </a:lnTo>
                <a:lnTo>
                  <a:pt x="10400" y="642"/>
                </a:lnTo>
                <a:lnTo>
                  <a:pt x="10406" y="636"/>
                </a:lnTo>
                <a:lnTo>
                  <a:pt x="10416" y="628"/>
                </a:lnTo>
                <a:lnTo>
                  <a:pt x="10426" y="620"/>
                </a:lnTo>
                <a:lnTo>
                  <a:pt x="10430" y="616"/>
                </a:lnTo>
                <a:lnTo>
                  <a:pt x="10430" y="612"/>
                </a:lnTo>
                <a:lnTo>
                  <a:pt x="10428" y="608"/>
                </a:lnTo>
                <a:lnTo>
                  <a:pt x="10422" y="606"/>
                </a:lnTo>
                <a:lnTo>
                  <a:pt x="10412" y="604"/>
                </a:lnTo>
                <a:lnTo>
                  <a:pt x="10396" y="602"/>
                </a:lnTo>
                <a:lnTo>
                  <a:pt x="10366" y="600"/>
                </a:lnTo>
                <a:lnTo>
                  <a:pt x="10348" y="598"/>
                </a:lnTo>
                <a:lnTo>
                  <a:pt x="10336" y="594"/>
                </a:lnTo>
                <a:lnTo>
                  <a:pt x="10334" y="592"/>
                </a:lnTo>
                <a:lnTo>
                  <a:pt x="10338" y="588"/>
                </a:lnTo>
                <a:lnTo>
                  <a:pt x="10346" y="584"/>
                </a:lnTo>
                <a:lnTo>
                  <a:pt x="10374" y="578"/>
                </a:lnTo>
                <a:lnTo>
                  <a:pt x="10380" y="576"/>
                </a:lnTo>
                <a:lnTo>
                  <a:pt x="10384" y="572"/>
                </a:lnTo>
                <a:lnTo>
                  <a:pt x="10384" y="570"/>
                </a:lnTo>
                <a:lnTo>
                  <a:pt x="10384" y="566"/>
                </a:lnTo>
                <a:lnTo>
                  <a:pt x="10380" y="562"/>
                </a:lnTo>
                <a:lnTo>
                  <a:pt x="10374" y="558"/>
                </a:lnTo>
                <a:lnTo>
                  <a:pt x="10358" y="552"/>
                </a:lnTo>
                <a:lnTo>
                  <a:pt x="10336" y="548"/>
                </a:lnTo>
                <a:lnTo>
                  <a:pt x="10310" y="546"/>
                </a:lnTo>
                <a:lnTo>
                  <a:pt x="10296" y="548"/>
                </a:lnTo>
                <a:lnTo>
                  <a:pt x="10280" y="550"/>
                </a:lnTo>
                <a:lnTo>
                  <a:pt x="10266" y="554"/>
                </a:lnTo>
                <a:lnTo>
                  <a:pt x="10250" y="560"/>
                </a:lnTo>
                <a:lnTo>
                  <a:pt x="10230" y="570"/>
                </a:lnTo>
                <a:lnTo>
                  <a:pt x="10214" y="578"/>
                </a:lnTo>
                <a:lnTo>
                  <a:pt x="10202" y="586"/>
                </a:lnTo>
                <a:lnTo>
                  <a:pt x="10192" y="594"/>
                </a:lnTo>
                <a:lnTo>
                  <a:pt x="10184" y="602"/>
                </a:lnTo>
                <a:lnTo>
                  <a:pt x="10180" y="608"/>
                </a:lnTo>
                <a:lnTo>
                  <a:pt x="10174" y="618"/>
                </a:lnTo>
                <a:lnTo>
                  <a:pt x="10172" y="626"/>
                </a:lnTo>
                <a:lnTo>
                  <a:pt x="10168" y="634"/>
                </a:lnTo>
                <a:lnTo>
                  <a:pt x="10166" y="636"/>
                </a:lnTo>
                <a:lnTo>
                  <a:pt x="10160" y="638"/>
                </a:lnTo>
                <a:lnTo>
                  <a:pt x="10144" y="640"/>
                </a:lnTo>
                <a:lnTo>
                  <a:pt x="10112" y="640"/>
                </a:lnTo>
                <a:lnTo>
                  <a:pt x="10098" y="642"/>
                </a:lnTo>
                <a:lnTo>
                  <a:pt x="10094" y="644"/>
                </a:lnTo>
                <a:lnTo>
                  <a:pt x="10094" y="646"/>
                </a:lnTo>
                <a:lnTo>
                  <a:pt x="10096" y="648"/>
                </a:lnTo>
                <a:lnTo>
                  <a:pt x="10098" y="652"/>
                </a:lnTo>
                <a:lnTo>
                  <a:pt x="10098" y="654"/>
                </a:lnTo>
                <a:lnTo>
                  <a:pt x="10094" y="658"/>
                </a:lnTo>
                <a:lnTo>
                  <a:pt x="10080" y="664"/>
                </a:lnTo>
                <a:lnTo>
                  <a:pt x="10050" y="670"/>
                </a:lnTo>
                <a:lnTo>
                  <a:pt x="10020" y="676"/>
                </a:lnTo>
                <a:lnTo>
                  <a:pt x="10006" y="676"/>
                </a:lnTo>
                <a:lnTo>
                  <a:pt x="10002" y="676"/>
                </a:lnTo>
                <a:lnTo>
                  <a:pt x="10000" y="674"/>
                </a:lnTo>
                <a:lnTo>
                  <a:pt x="10000" y="670"/>
                </a:lnTo>
                <a:lnTo>
                  <a:pt x="10000" y="666"/>
                </a:lnTo>
                <a:lnTo>
                  <a:pt x="9998" y="664"/>
                </a:lnTo>
                <a:lnTo>
                  <a:pt x="9994" y="662"/>
                </a:lnTo>
                <a:lnTo>
                  <a:pt x="9988" y="660"/>
                </a:lnTo>
                <a:lnTo>
                  <a:pt x="9964" y="660"/>
                </a:lnTo>
                <a:lnTo>
                  <a:pt x="9922" y="664"/>
                </a:lnTo>
                <a:lnTo>
                  <a:pt x="9882" y="670"/>
                </a:lnTo>
                <a:lnTo>
                  <a:pt x="9870" y="674"/>
                </a:lnTo>
                <a:lnTo>
                  <a:pt x="9862" y="678"/>
                </a:lnTo>
                <a:lnTo>
                  <a:pt x="9858" y="680"/>
                </a:lnTo>
                <a:lnTo>
                  <a:pt x="9856" y="684"/>
                </a:lnTo>
                <a:lnTo>
                  <a:pt x="9858" y="690"/>
                </a:lnTo>
                <a:lnTo>
                  <a:pt x="9860" y="692"/>
                </a:lnTo>
                <a:lnTo>
                  <a:pt x="9858" y="696"/>
                </a:lnTo>
                <a:lnTo>
                  <a:pt x="9856" y="698"/>
                </a:lnTo>
                <a:lnTo>
                  <a:pt x="9852" y="700"/>
                </a:lnTo>
                <a:lnTo>
                  <a:pt x="9844" y="704"/>
                </a:lnTo>
                <a:lnTo>
                  <a:pt x="9830" y="706"/>
                </a:lnTo>
                <a:lnTo>
                  <a:pt x="9786" y="710"/>
                </a:lnTo>
                <a:lnTo>
                  <a:pt x="9738" y="716"/>
                </a:lnTo>
                <a:lnTo>
                  <a:pt x="9708" y="720"/>
                </a:lnTo>
                <a:lnTo>
                  <a:pt x="9688" y="726"/>
                </a:lnTo>
                <a:lnTo>
                  <a:pt x="9678" y="732"/>
                </a:lnTo>
                <a:lnTo>
                  <a:pt x="9672" y="738"/>
                </a:lnTo>
                <a:lnTo>
                  <a:pt x="9664" y="742"/>
                </a:lnTo>
                <a:lnTo>
                  <a:pt x="9652" y="746"/>
                </a:lnTo>
                <a:lnTo>
                  <a:pt x="9630" y="748"/>
                </a:lnTo>
                <a:lnTo>
                  <a:pt x="9618" y="750"/>
                </a:lnTo>
                <a:lnTo>
                  <a:pt x="9606" y="752"/>
                </a:lnTo>
                <a:lnTo>
                  <a:pt x="9596" y="756"/>
                </a:lnTo>
                <a:lnTo>
                  <a:pt x="9588" y="760"/>
                </a:lnTo>
                <a:lnTo>
                  <a:pt x="9580" y="766"/>
                </a:lnTo>
                <a:lnTo>
                  <a:pt x="9574" y="772"/>
                </a:lnTo>
                <a:lnTo>
                  <a:pt x="9570" y="778"/>
                </a:lnTo>
                <a:lnTo>
                  <a:pt x="9568" y="784"/>
                </a:lnTo>
                <a:lnTo>
                  <a:pt x="9566" y="790"/>
                </a:lnTo>
                <a:lnTo>
                  <a:pt x="9566" y="796"/>
                </a:lnTo>
                <a:lnTo>
                  <a:pt x="9568" y="802"/>
                </a:lnTo>
                <a:lnTo>
                  <a:pt x="9570" y="806"/>
                </a:lnTo>
                <a:lnTo>
                  <a:pt x="9574" y="810"/>
                </a:lnTo>
                <a:lnTo>
                  <a:pt x="9580" y="814"/>
                </a:lnTo>
                <a:lnTo>
                  <a:pt x="9586" y="818"/>
                </a:lnTo>
                <a:lnTo>
                  <a:pt x="9592" y="818"/>
                </a:lnTo>
                <a:lnTo>
                  <a:pt x="9604" y="820"/>
                </a:lnTo>
                <a:lnTo>
                  <a:pt x="9612" y="824"/>
                </a:lnTo>
                <a:lnTo>
                  <a:pt x="9614" y="828"/>
                </a:lnTo>
                <a:lnTo>
                  <a:pt x="9612" y="832"/>
                </a:lnTo>
                <a:lnTo>
                  <a:pt x="9604" y="838"/>
                </a:lnTo>
                <a:lnTo>
                  <a:pt x="9594" y="842"/>
                </a:lnTo>
                <a:lnTo>
                  <a:pt x="9578" y="848"/>
                </a:lnTo>
                <a:lnTo>
                  <a:pt x="9560" y="852"/>
                </a:lnTo>
                <a:lnTo>
                  <a:pt x="9526" y="858"/>
                </a:lnTo>
                <a:lnTo>
                  <a:pt x="9494" y="860"/>
                </a:lnTo>
                <a:lnTo>
                  <a:pt x="9430" y="862"/>
                </a:lnTo>
                <a:lnTo>
                  <a:pt x="9402" y="862"/>
                </a:lnTo>
                <a:lnTo>
                  <a:pt x="9378" y="866"/>
                </a:lnTo>
                <a:lnTo>
                  <a:pt x="9368" y="868"/>
                </a:lnTo>
                <a:lnTo>
                  <a:pt x="9358" y="870"/>
                </a:lnTo>
                <a:lnTo>
                  <a:pt x="9352" y="876"/>
                </a:lnTo>
                <a:lnTo>
                  <a:pt x="9346" y="882"/>
                </a:lnTo>
                <a:lnTo>
                  <a:pt x="9340" y="892"/>
                </a:lnTo>
                <a:lnTo>
                  <a:pt x="9338" y="894"/>
                </a:lnTo>
                <a:lnTo>
                  <a:pt x="9340" y="898"/>
                </a:lnTo>
                <a:lnTo>
                  <a:pt x="9344" y="900"/>
                </a:lnTo>
                <a:lnTo>
                  <a:pt x="9352" y="902"/>
                </a:lnTo>
                <a:lnTo>
                  <a:pt x="9358" y="906"/>
                </a:lnTo>
                <a:lnTo>
                  <a:pt x="9364" y="910"/>
                </a:lnTo>
                <a:lnTo>
                  <a:pt x="9366" y="914"/>
                </a:lnTo>
                <a:lnTo>
                  <a:pt x="9366" y="918"/>
                </a:lnTo>
                <a:lnTo>
                  <a:pt x="9364" y="924"/>
                </a:lnTo>
                <a:lnTo>
                  <a:pt x="9360" y="930"/>
                </a:lnTo>
                <a:lnTo>
                  <a:pt x="9356" y="938"/>
                </a:lnTo>
                <a:lnTo>
                  <a:pt x="9356" y="944"/>
                </a:lnTo>
                <a:lnTo>
                  <a:pt x="9356" y="948"/>
                </a:lnTo>
                <a:lnTo>
                  <a:pt x="9360" y="952"/>
                </a:lnTo>
                <a:lnTo>
                  <a:pt x="9368" y="956"/>
                </a:lnTo>
                <a:lnTo>
                  <a:pt x="9382" y="958"/>
                </a:lnTo>
                <a:lnTo>
                  <a:pt x="9394" y="960"/>
                </a:lnTo>
                <a:lnTo>
                  <a:pt x="9408" y="962"/>
                </a:lnTo>
                <a:lnTo>
                  <a:pt x="9412" y="966"/>
                </a:lnTo>
                <a:lnTo>
                  <a:pt x="9418" y="968"/>
                </a:lnTo>
                <a:lnTo>
                  <a:pt x="9420" y="974"/>
                </a:lnTo>
                <a:lnTo>
                  <a:pt x="9422" y="978"/>
                </a:lnTo>
                <a:lnTo>
                  <a:pt x="9422" y="984"/>
                </a:lnTo>
                <a:lnTo>
                  <a:pt x="9426" y="988"/>
                </a:lnTo>
                <a:lnTo>
                  <a:pt x="9428" y="992"/>
                </a:lnTo>
                <a:lnTo>
                  <a:pt x="9434" y="994"/>
                </a:lnTo>
                <a:lnTo>
                  <a:pt x="9446" y="996"/>
                </a:lnTo>
                <a:lnTo>
                  <a:pt x="9458" y="996"/>
                </a:lnTo>
                <a:lnTo>
                  <a:pt x="9468" y="998"/>
                </a:lnTo>
                <a:lnTo>
                  <a:pt x="9472" y="1000"/>
                </a:lnTo>
                <a:lnTo>
                  <a:pt x="9474" y="1002"/>
                </a:lnTo>
                <a:lnTo>
                  <a:pt x="9476" y="1006"/>
                </a:lnTo>
                <a:lnTo>
                  <a:pt x="9476" y="1012"/>
                </a:lnTo>
                <a:lnTo>
                  <a:pt x="9474" y="1018"/>
                </a:lnTo>
                <a:lnTo>
                  <a:pt x="9470" y="1028"/>
                </a:lnTo>
                <a:lnTo>
                  <a:pt x="9466" y="1036"/>
                </a:lnTo>
                <a:lnTo>
                  <a:pt x="9466" y="1044"/>
                </a:lnTo>
                <a:lnTo>
                  <a:pt x="9464" y="1050"/>
                </a:lnTo>
                <a:lnTo>
                  <a:pt x="9466" y="1056"/>
                </a:lnTo>
                <a:lnTo>
                  <a:pt x="9470" y="1066"/>
                </a:lnTo>
                <a:lnTo>
                  <a:pt x="9478" y="1074"/>
                </a:lnTo>
                <a:lnTo>
                  <a:pt x="9484" y="1082"/>
                </a:lnTo>
                <a:lnTo>
                  <a:pt x="9486" y="1086"/>
                </a:lnTo>
                <a:lnTo>
                  <a:pt x="9486" y="1090"/>
                </a:lnTo>
                <a:lnTo>
                  <a:pt x="9486" y="1094"/>
                </a:lnTo>
                <a:lnTo>
                  <a:pt x="9484" y="1100"/>
                </a:lnTo>
                <a:lnTo>
                  <a:pt x="9480" y="1106"/>
                </a:lnTo>
                <a:lnTo>
                  <a:pt x="9472" y="1112"/>
                </a:lnTo>
                <a:lnTo>
                  <a:pt x="9458" y="1122"/>
                </a:lnTo>
                <a:lnTo>
                  <a:pt x="9456" y="1122"/>
                </a:lnTo>
                <a:lnTo>
                  <a:pt x="9454" y="1120"/>
                </a:lnTo>
                <a:lnTo>
                  <a:pt x="9454" y="1112"/>
                </a:lnTo>
                <a:lnTo>
                  <a:pt x="9458" y="1098"/>
                </a:lnTo>
                <a:lnTo>
                  <a:pt x="9460" y="1084"/>
                </a:lnTo>
                <a:lnTo>
                  <a:pt x="9460" y="1076"/>
                </a:lnTo>
                <a:lnTo>
                  <a:pt x="9460" y="1070"/>
                </a:lnTo>
                <a:lnTo>
                  <a:pt x="9458" y="1066"/>
                </a:lnTo>
                <a:lnTo>
                  <a:pt x="9454" y="1064"/>
                </a:lnTo>
                <a:lnTo>
                  <a:pt x="9448" y="1062"/>
                </a:lnTo>
                <a:lnTo>
                  <a:pt x="9440" y="1064"/>
                </a:lnTo>
                <a:lnTo>
                  <a:pt x="9432" y="1066"/>
                </a:lnTo>
                <a:lnTo>
                  <a:pt x="9426" y="1068"/>
                </a:lnTo>
                <a:lnTo>
                  <a:pt x="9424" y="1066"/>
                </a:lnTo>
                <a:lnTo>
                  <a:pt x="9424" y="1064"/>
                </a:lnTo>
                <a:lnTo>
                  <a:pt x="9430" y="1054"/>
                </a:lnTo>
                <a:lnTo>
                  <a:pt x="9440" y="1042"/>
                </a:lnTo>
                <a:lnTo>
                  <a:pt x="9448" y="1030"/>
                </a:lnTo>
                <a:lnTo>
                  <a:pt x="9450" y="1024"/>
                </a:lnTo>
                <a:lnTo>
                  <a:pt x="9452" y="1020"/>
                </a:lnTo>
                <a:lnTo>
                  <a:pt x="9450" y="1016"/>
                </a:lnTo>
                <a:lnTo>
                  <a:pt x="9446" y="1012"/>
                </a:lnTo>
                <a:lnTo>
                  <a:pt x="9440" y="1010"/>
                </a:lnTo>
                <a:lnTo>
                  <a:pt x="9428" y="1010"/>
                </a:lnTo>
                <a:lnTo>
                  <a:pt x="9408" y="1008"/>
                </a:lnTo>
                <a:lnTo>
                  <a:pt x="9392" y="1004"/>
                </a:lnTo>
                <a:lnTo>
                  <a:pt x="9380" y="998"/>
                </a:lnTo>
                <a:lnTo>
                  <a:pt x="9372" y="990"/>
                </a:lnTo>
                <a:lnTo>
                  <a:pt x="9362" y="982"/>
                </a:lnTo>
                <a:lnTo>
                  <a:pt x="9348" y="974"/>
                </a:lnTo>
                <a:lnTo>
                  <a:pt x="9330" y="966"/>
                </a:lnTo>
                <a:lnTo>
                  <a:pt x="9304" y="962"/>
                </a:lnTo>
                <a:lnTo>
                  <a:pt x="9288" y="960"/>
                </a:lnTo>
                <a:lnTo>
                  <a:pt x="9274" y="958"/>
                </a:lnTo>
                <a:lnTo>
                  <a:pt x="9262" y="960"/>
                </a:lnTo>
                <a:lnTo>
                  <a:pt x="9254" y="962"/>
                </a:lnTo>
                <a:lnTo>
                  <a:pt x="9246" y="964"/>
                </a:lnTo>
                <a:lnTo>
                  <a:pt x="9240" y="968"/>
                </a:lnTo>
                <a:lnTo>
                  <a:pt x="9234" y="974"/>
                </a:lnTo>
                <a:lnTo>
                  <a:pt x="9230" y="982"/>
                </a:lnTo>
                <a:lnTo>
                  <a:pt x="9228" y="988"/>
                </a:lnTo>
                <a:lnTo>
                  <a:pt x="9226" y="992"/>
                </a:lnTo>
                <a:lnTo>
                  <a:pt x="9222" y="992"/>
                </a:lnTo>
                <a:lnTo>
                  <a:pt x="9218" y="992"/>
                </a:lnTo>
                <a:lnTo>
                  <a:pt x="9204" y="988"/>
                </a:lnTo>
                <a:lnTo>
                  <a:pt x="9190" y="988"/>
                </a:lnTo>
                <a:lnTo>
                  <a:pt x="9180" y="990"/>
                </a:lnTo>
                <a:lnTo>
                  <a:pt x="9172" y="996"/>
                </a:lnTo>
                <a:lnTo>
                  <a:pt x="9170" y="1000"/>
                </a:lnTo>
                <a:lnTo>
                  <a:pt x="9170" y="1004"/>
                </a:lnTo>
                <a:lnTo>
                  <a:pt x="9170" y="1006"/>
                </a:lnTo>
                <a:lnTo>
                  <a:pt x="9172" y="1012"/>
                </a:lnTo>
                <a:lnTo>
                  <a:pt x="9178" y="1016"/>
                </a:lnTo>
                <a:lnTo>
                  <a:pt x="9184" y="1020"/>
                </a:lnTo>
                <a:lnTo>
                  <a:pt x="9202" y="1028"/>
                </a:lnTo>
                <a:lnTo>
                  <a:pt x="9220" y="1034"/>
                </a:lnTo>
                <a:lnTo>
                  <a:pt x="9230" y="1040"/>
                </a:lnTo>
                <a:lnTo>
                  <a:pt x="9232" y="1042"/>
                </a:lnTo>
                <a:lnTo>
                  <a:pt x="9234" y="1044"/>
                </a:lnTo>
                <a:lnTo>
                  <a:pt x="9230" y="1046"/>
                </a:lnTo>
                <a:lnTo>
                  <a:pt x="9220" y="1048"/>
                </a:lnTo>
                <a:lnTo>
                  <a:pt x="9206" y="1048"/>
                </a:lnTo>
                <a:lnTo>
                  <a:pt x="9168" y="1044"/>
                </a:lnTo>
                <a:lnTo>
                  <a:pt x="9160" y="1042"/>
                </a:lnTo>
                <a:lnTo>
                  <a:pt x="9152" y="1040"/>
                </a:lnTo>
                <a:lnTo>
                  <a:pt x="9148" y="1036"/>
                </a:lnTo>
                <a:lnTo>
                  <a:pt x="9146" y="1030"/>
                </a:lnTo>
                <a:lnTo>
                  <a:pt x="9144" y="1024"/>
                </a:lnTo>
                <a:lnTo>
                  <a:pt x="9144" y="1018"/>
                </a:lnTo>
                <a:lnTo>
                  <a:pt x="9148" y="1004"/>
                </a:lnTo>
                <a:lnTo>
                  <a:pt x="9152" y="988"/>
                </a:lnTo>
                <a:lnTo>
                  <a:pt x="9156" y="972"/>
                </a:lnTo>
                <a:lnTo>
                  <a:pt x="9158" y="956"/>
                </a:lnTo>
                <a:lnTo>
                  <a:pt x="9156" y="950"/>
                </a:lnTo>
                <a:lnTo>
                  <a:pt x="9154" y="944"/>
                </a:lnTo>
                <a:lnTo>
                  <a:pt x="9146" y="934"/>
                </a:lnTo>
                <a:lnTo>
                  <a:pt x="9140" y="926"/>
                </a:lnTo>
                <a:lnTo>
                  <a:pt x="9132" y="922"/>
                </a:lnTo>
                <a:lnTo>
                  <a:pt x="9128" y="920"/>
                </a:lnTo>
                <a:lnTo>
                  <a:pt x="9124" y="922"/>
                </a:lnTo>
                <a:lnTo>
                  <a:pt x="9122" y="928"/>
                </a:lnTo>
                <a:lnTo>
                  <a:pt x="9122" y="938"/>
                </a:lnTo>
                <a:lnTo>
                  <a:pt x="9126" y="952"/>
                </a:lnTo>
                <a:lnTo>
                  <a:pt x="9128" y="962"/>
                </a:lnTo>
                <a:lnTo>
                  <a:pt x="9128" y="970"/>
                </a:lnTo>
                <a:lnTo>
                  <a:pt x="9124" y="978"/>
                </a:lnTo>
                <a:lnTo>
                  <a:pt x="9118" y="984"/>
                </a:lnTo>
                <a:lnTo>
                  <a:pt x="9112" y="988"/>
                </a:lnTo>
                <a:lnTo>
                  <a:pt x="9104" y="992"/>
                </a:lnTo>
                <a:lnTo>
                  <a:pt x="9086" y="998"/>
                </a:lnTo>
                <a:lnTo>
                  <a:pt x="9070" y="1004"/>
                </a:lnTo>
                <a:lnTo>
                  <a:pt x="9064" y="1008"/>
                </a:lnTo>
                <a:lnTo>
                  <a:pt x="9060" y="1012"/>
                </a:lnTo>
                <a:lnTo>
                  <a:pt x="9056" y="1018"/>
                </a:lnTo>
                <a:lnTo>
                  <a:pt x="9056" y="1024"/>
                </a:lnTo>
                <a:lnTo>
                  <a:pt x="9060" y="1032"/>
                </a:lnTo>
                <a:lnTo>
                  <a:pt x="9066" y="1042"/>
                </a:lnTo>
                <a:lnTo>
                  <a:pt x="9090" y="1068"/>
                </a:lnTo>
                <a:lnTo>
                  <a:pt x="9096" y="1078"/>
                </a:lnTo>
                <a:lnTo>
                  <a:pt x="9100" y="1086"/>
                </a:lnTo>
                <a:lnTo>
                  <a:pt x="9100" y="1094"/>
                </a:lnTo>
                <a:lnTo>
                  <a:pt x="9098" y="1102"/>
                </a:lnTo>
                <a:lnTo>
                  <a:pt x="9092" y="1112"/>
                </a:lnTo>
                <a:lnTo>
                  <a:pt x="9082" y="1126"/>
                </a:lnTo>
                <a:lnTo>
                  <a:pt x="9072" y="1138"/>
                </a:lnTo>
                <a:lnTo>
                  <a:pt x="9068" y="1148"/>
                </a:lnTo>
                <a:lnTo>
                  <a:pt x="9068" y="1156"/>
                </a:lnTo>
                <a:lnTo>
                  <a:pt x="9070" y="1162"/>
                </a:lnTo>
                <a:lnTo>
                  <a:pt x="9078" y="1172"/>
                </a:lnTo>
                <a:lnTo>
                  <a:pt x="9080" y="1180"/>
                </a:lnTo>
                <a:lnTo>
                  <a:pt x="9082" y="1190"/>
                </a:lnTo>
                <a:lnTo>
                  <a:pt x="9082" y="1196"/>
                </a:lnTo>
                <a:lnTo>
                  <a:pt x="9084" y="1198"/>
                </a:lnTo>
                <a:lnTo>
                  <a:pt x="9088" y="1200"/>
                </a:lnTo>
                <a:lnTo>
                  <a:pt x="9092" y="1202"/>
                </a:lnTo>
                <a:lnTo>
                  <a:pt x="9106" y="1200"/>
                </a:lnTo>
                <a:lnTo>
                  <a:pt x="9122" y="1196"/>
                </a:lnTo>
                <a:lnTo>
                  <a:pt x="9142" y="1192"/>
                </a:lnTo>
                <a:lnTo>
                  <a:pt x="9164" y="1190"/>
                </a:lnTo>
                <a:lnTo>
                  <a:pt x="9176" y="1192"/>
                </a:lnTo>
                <a:lnTo>
                  <a:pt x="9188" y="1194"/>
                </a:lnTo>
                <a:lnTo>
                  <a:pt x="9198" y="1198"/>
                </a:lnTo>
                <a:lnTo>
                  <a:pt x="9210" y="1204"/>
                </a:lnTo>
                <a:lnTo>
                  <a:pt x="9228" y="1216"/>
                </a:lnTo>
                <a:lnTo>
                  <a:pt x="9240" y="1226"/>
                </a:lnTo>
                <a:lnTo>
                  <a:pt x="9246" y="1236"/>
                </a:lnTo>
                <a:lnTo>
                  <a:pt x="9248" y="1242"/>
                </a:lnTo>
                <a:lnTo>
                  <a:pt x="9248" y="1248"/>
                </a:lnTo>
                <a:lnTo>
                  <a:pt x="9246" y="1254"/>
                </a:lnTo>
                <a:lnTo>
                  <a:pt x="9238" y="1264"/>
                </a:lnTo>
                <a:lnTo>
                  <a:pt x="9232" y="1278"/>
                </a:lnTo>
                <a:lnTo>
                  <a:pt x="9224" y="1292"/>
                </a:lnTo>
                <a:lnTo>
                  <a:pt x="9220" y="1296"/>
                </a:lnTo>
                <a:lnTo>
                  <a:pt x="9218" y="1296"/>
                </a:lnTo>
                <a:lnTo>
                  <a:pt x="9218" y="1292"/>
                </a:lnTo>
                <a:lnTo>
                  <a:pt x="9220" y="1280"/>
                </a:lnTo>
                <a:lnTo>
                  <a:pt x="9222" y="1266"/>
                </a:lnTo>
                <a:lnTo>
                  <a:pt x="9222" y="1252"/>
                </a:lnTo>
                <a:lnTo>
                  <a:pt x="9218" y="1238"/>
                </a:lnTo>
                <a:lnTo>
                  <a:pt x="9212" y="1226"/>
                </a:lnTo>
                <a:lnTo>
                  <a:pt x="9206" y="1220"/>
                </a:lnTo>
                <a:lnTo>
                  <a:pt x="9200" y="1216"/>
                </a:lnTo>
                <a:lnTo>
                  <a:pt x="9194" y="1212"/>
                </a:lnTo>
                <a:lnTo>
                  <a:pt x="9186" y="1210"/>
                </a:lnTo>
                <a:lnTo>
                  <a:pt x="9176" y="1210"/>
                </a:lnTo>
                <a:lnTo>
                  <a:pt x="9166" y="1210"/>
                </a:lnTo>
                <a:lnTo>
                  <a:pt x="9154" y="1212"/>
                </a:lnTo>
                <a:lnTo>
                  <a:pt x="9142" y="1216"/>
                </a:lnTo>
                <a:lnTo>
                  <a:pt x="9130" y="1220"/>
                </a:lnTo>
                <a:lnTo>
                  <a:pt x="9122" y="1224"/>
                </a:lnTo>
                <a:lnTo>
                  <a:pt x="9116" y="1230"/>
                </a:lnTo>
                <a:lnTo>
                  <a:pt x="9112" y="1236"/>
                </a:lnTo>
                <a:lnTo>
                  <a:pt x="9110" y="1242"/>
                </a:lnTo>
                <a:lnTo>
                  <a:pt x="9110" y="1248"/>
                </a:lnTo>
                <a:lnTo>
                  <a:pt x="9114" y="1262"/>
                </a:lnTo>
                <a:lnTo>
                  <a:pt x="9118" y="1274"/>
                </a:lnTo>
                <a:lnTo>
                  <a:pt x="9122" y="1286"/>
                </a:lnTo>
                <a:lnTo>
                  <a:pt x="9122" y="1292"/>
                </a:lnTo>
                <a:lnTo>
                  <a:pt x="9120" y="1296"/>
                </a:lnTo>
                <a:lnTo>
                  <a:pt x="9116" y="1302"/>
                </a:lnTo>
                <a:lnTo>
                  <a:pt x="9110" y="1304"/>
                </a:lnTo>
                <a:lnTo>
                  <a:pt x="9098" y="1312"/>
                </a:lnTo>
                <a:lnTo>
                  <a:pt x="9090" y="1320"/>
                </a:lnTo>
                <a:lnTo>
                  <a:pt x="9086" y="1328"/>
                </a:lnTo>
                <a:lnTo>
                  <a:pt x="9084" y="1336"/>
                </a:lnTo>
                <a:lnTo>
                  <a:pt x="9082" y="1344"/>
                </a:lnTo>
                <a:lnTo>
                  <a:pt x="9078" y="1352"/>
                </a:lnTo>
                <a:lnTo>
                  <a:pt x="9068" y="1360"/>
                </a:lnTo>
                <a:lnTo>
                  <a:pt x="9054" y="1368"/>
                </a:lnTo>
                <a:lnTo>
                  <a:pt x="9040" y="1376"/>
                </a:lnTo>
                <a:lnTo>
                  <a:pt x="9032" y="1382"/>
                </a:lnTo>
                <a:lnTo>
                  <a:pt x="9024" y="1396"/>
                </a:lnTo>
                <a:lnTo>
                  <a:pt x="9018" y="1400"/>
                </a:lnTo>
                <a:lnTo>
                  <a:pt x="9006" y="1402"/>
                </a:lnTo>
                <a:lnTo>
                  <a:pt x="8988" y="1400"/>
                </a:lnTo>
                <a:lnTo>
                  <a:pt x="8958" y="1394"/>
                </a:lnTo>
                <a:lnTo>
                  <a:pt x="8932" y="1390"/>
                </a:lnTo>
                <a:lnTo>
                  <a:pt x="8924" y="1386"/>
                </a:lnTo>
                <a:lnTo>
                  <a:pt x="8924" y="1384"/>
                </a:lnTo>
                <a:lnTo>
                  <a:pt x="8928" y="1384"/>
                </a:lnTo>
                <a:lnTo>
                  <a:pt x="8942" y="1380"/>
                </a:lnTo>
                <a:lnTo>
                  <a:pt x="8960" y="1374"/>
                </a:lnTo>
                <a:lnTo>
                  <a:pt x="8982" y="1368"/>
                </a:lnTo>
                <a:lnTo>
                  <a:pt x="8992" y="1362"/>
                </a:lnTo>
                <a:lnTo>
                  <a:pt x="9002" y="1356"/>
                </a:lnTo>
                <a:lnTo>
                  <a:pt x="9010" y="1348"/>
                </a:lnTo>
                <a:lnTo>
                  <a:pt x="9016" y="1338"/>
                </a:lnTo>
                <a:lnTo>
                  <a:pt x="9026" y="1322"/>
                </a:lnTo>
                <a:lnTo>
                  <a:pt x="9034" y="1312"/>
                </a:lnTo>
                <a:lnTo>
                  <a:pt x="9042" y="1306"/>
                </a:lnTo>
                <a:lnTo>
                  <a:pt x="9048" y="1302"/>
                </a:lnTo>
                <a:lnTo>
                  <a:pt x="9054" y="1300"/>
                </a:lnTo>
                <a:lnTo>
                  <a:pt x="9058" y="1294"/>
                </a:lnTo>
                <a:lnTo>
                  <a:pt x="9062" y="1286"/>
                </a:lnTo>
                <a:lnTo>
                  <a:pt x="9066" y="1272"/>
                </a:lnTo>
                <a:lnTo>
                  <a:pt x="9066" y="1256"/>
                </a:lnTo>
                <a:lnTo>
                  <a:pt x="9062" y="1244"/>
                </a:lnTo>
                <a:lnTo>
                  <a:pt x="9056" y="1234"/>
                </a:lnTo>
                <a:lnTo>
                  <a:pt x="9048" y="1224"/>
                </a:lnTo>
                <a:lnTo>
                  <a:pt x="9040" y="1214"/>
                </a:lnTo>
                <a:lnTo>
                  <a:pt x="9034" y="1202"/>
                </a:lnTo>
                <a:lnTo>
                  <a:pt x="9030" y="1186"/>
                </a:lnTo>
                <a:lnTo>
                  <a:pt x="9032" y="1166"/>
                </a:lnTo>
                <a:lnTo>
                  <a:pt x="9038" y="1126"/>
                </a:lnTo>
                <a:lnTo>
                  <a:pt x="9040" y="1110"/>
                </a:lnTo>
                <a:lnTo>
                  <a:pt x="9042" y="1094"/>
                </a:lnTo>
                <a:lnTo>
                  <a:pt x="9040" y="1080"/>
                </a:lnTo>
                <a:lnTo>
                  <a:pt x="9036" y="1068"/>
                </a:lnTo>
                <a:lnTo>
                  <a:pt x="9028" y="1056"/>
                </a:lnTo>
                <a:lnTo>
                  <a:pt x="9014" y="1042"/>
                </a:lnTo>
                <a:lnTo>
                  <a:pt x="9004" y="1032"/>
                </a:lnTo>
                <a:lnTo>
                  <a:pt x="9002" y="1028"/>
                </a:lnTo>
                <a:lnTo>
                  <a:pt x="9002" y="1024"/>
                </a:lnTo>
                <a:lnTo>
                  <a:pt x="9002" y="1020"/>
                </a:lnTo>
                <a:lnTo>
                  <a:pt x="9006" y="1018"/>
                </a:lnTo>
                <a:lnTo>
                  <a:pt x="9014" y="1012"/>
                </a:lnTo>
                <a:lnTo>
                  <a:pt x="9024" y="1004"/>
                </a:lnTo>
                <a:lnTo>
                  <a:pt x="9034" y="994"/>
                </a:lnTo>
                <a:lnTo>
                  <a:pt x="9038" y="988"/>
                </a:lnTo>
                <a:lnTo>
                  <a:pt x="9042" y="982"/>
                </a:lnTo>
                <a:lnTo>
                  <a:pt x="9044" y="974"/>
                </a:lnTo>
                <a:lnTo>
                  <a:pt x="9044" y="964"/>
                </a:lnTo>
                <a:lnTo>
                  <a:pt x="9044" y="952"/>
                </a:lnTo>
                <a:lnTo>
                  <a:pt x="9040" y="944"/>
                </a:lnTo>
                <a:lnTo>
                  <a:pt x="9036" y="936"/>
                </a:lnTo>
                <a:lnTo>
                  <a:pt x="9030" y="932"/>
                </a:lnTo>
                <a:lnTo>
                  <a:pt x="9022" y="928"/>
                </a:lnTo>
                <a:lnTo>
                  <a:pt x="9014" y="924"/>
                </a:lnTo>
                <a:lnTo>
                  <a:pt x="8994" y="922"/>
                </a:lnTo>
                <a:lnTo>
                  <a:pt x="8974" y="922"/>
                </a:lnTo>
                <a:lnTo>
                  <a:pt x="8952" y="922"/>
                </a:lnTo>
                <a:lnTo>
                  <a:pt x="8932" y="924"/>
                </a:lnTo>
                <a:lnTo>
                  <a:pt x="8916" y="922"/>
                </a:lnTo>
                <a:lnTo>
                  <a:pt x="8908" y="920"/>
                </a:lnTo>
                <a:lnTo>
                  <a:pt x="8900" y="922"/>
                </a:lnTo>
                <a:lnTo>
                  <a:pt x="8896" y="926"/>
                </a:lnTo>
                <a:lnTo>
                  <a:pt x="8890" y="932"/>
                </a:lnTo>
                <a:lnTo>
                  <a:pt x="8882" y="946"/>
                </a:lnTo>
                <a:lnTo>
                  <a:pt x="8876" y="966"/>
                </a:lnTo>
                <a:lnTo>
                  <a:pt x="8868" y="986"/>
                </a:lnTo>
                <a:lnTo>
                  <a:pt x="8860" y="1006"/>
                </a:lnTo>
                <a:lnTo>
                  <a:pt x="8854" y="1016"/>
                </a:lnTo>
                <a:lnTo>
                  <a:pt x="8846" y="1024"/>
                </a:lnTo>
                <a:lnTo>
                  <a:pt x="8838" y="1030"/>
                </a:lnTo>
                <a:lnTo>
                  <a:pt x="8826" y="1036"/>
                </a:lnTo>
                <a:lnTo>
                  <a:pt x="8804" y="1048"/>
                </a:lnTo>
                <a:lnTo>
                  <a:pt x="8798" y="1052"/>
                </a:lnTo>
                <a:lnTo>
                  <a:pt x="8794" y="1058"/>
                </a:lnTo>
                <a:lnTo>
                  <a:pt x="8792" y="1062"/>
                </a:lnTo>
                <a:lnTo>
                  <a:pt x="8794" y="1066"/>
                </a:lnTo>
                <a:lnTo>
                  <a:pt x="8800" y="1074"/>
                </a:lnTo>
                <a:lnTo>
                  <a:pt x="8808" y="1082"/>
                </a:lnTo>
                <a:lnTo>
                  <a:pt x="8812" y="1088"/>
                </a:lnTo>
                <a:lnTo>
                  <a:pt x="8814" y="1094"/>
                </a:lnTo>
                <a:lnTo>
                  <a:pt x="8816" y="1102"/>
                </a:lnTo>
                <a:lnTo>
                  <a:pt x="8814" y="1108"/>
                </a:lnTo>
                <a:lnTo>
                  <a:pt x="8812" y="1118"/>
                </a:lnTo>
                <a:lnTo>
                  <a:pt x="8806" y="1128"/>
                </a:lnTo>
                <a:lnTo>
                  <a:pt x="8800" y="1138"/>
                </a:lnTo>
                <a:lnTo>
                  <a:pt x="8798" y="1146"/>
                </a:lnTo>
                <a:lnTo>
                  <a:pt x="8800" y="1154"/>
                </a:lnTo>
                <a:lnTo>
                  <a:pt x="8804" y="1162"/>
                </a:lnTo>
                <a:lnTo>
                  <a:pt x="8812" y="1168"/>
                </a:lnTo>
                <a:lnTo>
                  <a:pt x="8820" y="1174"/>
                </a:lnTo>
                <a:lnTo>
                  <a:pt x="8842" y="1184"/>
                </a:lnTo>
                <a:lnTo>
                  <a:pt x="8862" y="1196"/>
                </a:lnTo>
                <a:lnTo>
                  <a:pt x="8872" y="1200"/>
                </a:lnTo>
                <a:lnTo>
                  <a:pt x="8878" y="1208"/>
                </a:lnTo>
                <a:lnTo>
                  <a:pt x="8884" y="1214"/>
                </a:lnTo>
                <a:lnTo>
                  <a:pt x="8886" y="1220"/>
                </a:lnTo>
                <a:lnTo>
                  <a:pt x="8886" y="1230"/>
                </a:lnTo>
                <a:lnTo>
                  <a:pt x="8880" y="1238"/>
                </a:lnTo>
                <a:lnTo>
                  <a:pt x="8870" y="1254"/>
                </a:lnTo>
                <a:lnTo>
                  <a:pt x="8866" y="1258"/>
                </a:lnTo>
                <a:lnTo>
                  <a:pt x="8862" y="1260"/>
                </a:lnTo>
                <a:lnTo>
                  <a:pt x="8858" y="1260"/>
                </a:lnTo>
                <a:lnTo>
                  <a:pt x="8854" y="1258"/>
                </a:lnTo>
                <a:lnTo>
                  <a:pt x="8844" y="1252"/>
                </a:lnTo>
                <a:lnTo>
                  <a:pt x="8830" y="1240"/>
                </a:lnTo>
                <a:lnTo>
                  <a:pt x="8806" y="1224"/>
                </a:lnTo>
                <a:lnTo>
                  <a:pt x="8772" y="1204"/>
                </a:lnTo>
                <a:lnTo>
                  <a:pt x="8752" y="1194"/>
                </a:lnTo>
                <a:lnTo>
                  <a:pt x="8726" y="1184"/>
                </a:lnTo>
                <a:lnTo>
                  <a:pt x="8698" y="1174"/>
                </a:lnTo>
                <a:lnTo>
                  <a:pt x="8674" y="1166"/>
                </a:lnTo>
                <a:lnTo>
                  <a:pt x="8652" y="1160"/>
                </a:lnTo>
                <a:lnTo>
                  <a:pt x="8630" y="1156"/>
                </a:lnTo>
                <a:lnTo>
                  <a:pt x="8612" y="1152"/>
                </a:lnTo>
                <a:lnTo>
                  <a:pt x="8594" y="1152"/>
                </a:lnTo>
                <a:lnTo>
                  <a:pt x="8580" y="1152"/>
                </a:lnTo>
                <a:lnTo>
                  <a:pt x="8568" y="1152"/>
                </a:lnTo>
                <a:lnTo>
                  <a:pt x="8556" y="1156"/>
                </a:lnTo>
                <a:lnTo>
                  <a:pt x="8548" y="1158"/>
                </a:lnTo>
                <a:lnTo>
                  <a:pt x="8542" y="1162"/>
                </a:lnTo>
                <a:lnTo>
                  <a:pt x="8540" y="1168"/>
                </a:lnTo>
                <a:lnTo>
                  <a:pt x="8538" y="1174"/>
                </a:lnTo>
                <a:lnTo>
                  <a:pt x="8538" y="1180"/>
                </a:lnTo>
                <a:lnTo>
                  <a:pt x="8542" y="1186"/>
                </a:lnTo>
                <a:lnTo>
                  <a:pt x="8548" y="1194"/>
                </a:lnTo>
                <a:lnTo>
                  <a:pt x="8552" y="1198"/>
                </a:lnTo>
                <a:lnTo>
                  <a:pt x="8552" y="1204"/>
                </a:lnTo>
                <a:lnTo>
                  <a:pt x="8552" y="1210"/>
                </a:lnTo>
                <a:lnTo>
                  <a:pt x="8550" y="1216"/>
                </a:lnTo>
                <a:lnTo>
                  <a:pt x="8542" y="1228"/>
                </a:lnTo>
                <a:lnTo>
                  <a:pt x="8530" y="1238"/>
                </a:lnTo>
                <a:lnTo>
                  <a:pt x="8518" y="1244"/>
                </a:lnTo>
                <a:lnTo>
                  <a:pt x="8512" y="1246"/>
                </a:lnTo>
                <a:lnTo>
                  <a:pt x="8506" y="1246"/>
                </a:lnTo>
                <a:lnTo>
                  <a:pt x="8500" y="1244"/>
                </a:lnTo>
                <a:lnTo>
                  <a:pt x="8496" y="1242"/>
                </a:lnTo>
                <a:lnTo>
                  <a:pt x="8494" y="1236"/>
                </a:lnTo>
                <a:lnTo>
                  <a:pt x="8494" y="1230"/>
                </a:lnTo>
                <a:lnTo>
                  <a:pt x="8492" y="1216"/>
                </a:lnTo>
                <a:lnTo>
                  <a:pt x="8490" y="1208"/>
                </a:lnTo>
                <a:lnTo>
                  <a:pt x="8486" y="1206"/>
                </a:lnTo>
                <a:lnTo>
                  <a:pt x="8478" y="1206"/>
                </a:lnTo>
                <a:lnTo>
                  <a:pt x="8470" y="1208"/>
                </a:lnTo>
                <a:lnTo>
                  <a:pt x="8458" y="1214"/>
                </a:lnTo>
                <a:lnTo>
                  <a:pt x="8430" y="1234"/>
                </a:lnTo>
                <a:lnTo>
                  <a:pt x="8416" y="1242"/>
                </a:lnTo>
                <a:lnTo>
                  <a:pt x="8410" y="1242"/>
                </a:lnTo>
                <a:lnTo>
                  <a:pt x="8404" y="1242"/>
                </a:lnTo>
                <a:lnTo>
                  <a:pt x="8394" y="1240"/>
                </a:lnTo>
                <a:lnTo>
                  <a:pt x="8386" y="1236"/>
                </a:lnTo>
                <a:lnTo>
                  <a:pt x="8378" y="1232"/>
                </a:lnTo>
                <a:lnTo>
                  <a:pt x="8366" y="1230"/>
                </a:lnTo>
                <a:lnTo>
                  <a:pt x="8358" y="1232"/>
                </a:lnTo>
                <a:lnTo>
                  <a:pt x="8350" y="1234"/>
                </a:lnTo>
                <a:lnTo>
                  <a:pt x="8330" y="1246"/>
                </a:lnTo>
                <a:lnTo>
                  <a:pt x="8308" y="1256"/>
                </a:lnTo>
                <a:lnTo>
                  <a:pt x="8300" y="1258"/>
                </a:lnTo>
                <a:lnTo>
                  <a:pt x="8294" y="1260"/>
                </a:lnTo>
                <a:lnTo>
                  <a:pt x="8288" y="1260"/>
                </a:lnTo>
                <a:lnTo>
                  <a:pt x="8284" y="1258"/>
                </a:lnTo>
                <a:lnTo>
                  <a:pt x="8280" y="1254"/>
                </a:lnTo>
                <a:lnTo>
                  <a:pt x="8278" y="1250"/>
                </a:lnTo>
                <a:lnTo>
                  <a:pt x="8278" y="1240"/>
                </a:lnTo>
                <a:lnTo>
                  <a:pt x="8280" y="1230"/>
                </a:lnTo>
                <a:lnTo>
                  <a:pt x="8286" y="1220"/>
                </a:lnTo>
                <a:lnTo>
                  <a:pt x="8294" y="1212"/>
                </a:lnTo>
                <a:lnTo>
                  <a:pt x="8300" y="1206"/>
                </a:lnTo>
                <a:lnTo>
                  <a:pt x="8300" y="1204"/>
                </a:lnTo>
                <a:lnTo>
                  <a:pt x="8298" y="1204"/>
                </a:lnTo>
                <a:lnTo>
                  <a:pt x="8290" y="1204"/>
                </a:lnTo>
                <a:lnTo>
                  <a:pt x="8276" y="1206"/>
                </a:lnTo>
                <a:lnTo>
                  <a:pt x="8256" y="1214"/>
                </a:lnTo>
                <a:lnTo>
                  <a:pt x="8230" y="1224"/>
                </a:lnTo>
                <a:lnTo>
                  <a:pt x="8200" y="1236"/>
                </a:lnTo>
                <a:lnTo>
                  <a:pt x="8164" y="1254"/>
                </a:lnTo>
                <a:lnTo>
                  <a:pt x="8130" y="1270"/>
                </a:lnTo>
                <a:lnTo>
                  <a:pt x="8104" y="1278"/>
                </a:lnTo>
                <a:lnTo>
                  <a:pt x="8084" y="1282"/>
                </a:lnTo>
                <a:lnTo>
                  <a:pt x="8068" y="1286"/>
                </a:lnTo>
                <a:lnTo>
                  <a:pt x="8056" y="1288"/>
                </a:lnTo>
                <a:lnTo>
                  <a:pt x="8048" y="1294"/>
                </a:lnTo>
                <a:lnTo>
                  <a:pt x="8040" y="1304"/>
                </a:lnTo>
                <a:lnTo>
                  <a:pt x="8034" y="1322"/>
                </a:lnTo>
                <a:lnTo>
                  <a:pt x="8026" y="1342"/>
                </a:lnTo>
                <a:lnTo>
                  <a:pt x="8020" y="1352"/>
                </a:lnTo>
                <a:lnTo>
                  <a:pt x="8016" y="1356"/>
                </a:lnTo>
                <a:lnTo>
                  <a:pt x="8010" y="1358"/>
                </a:lnTo>
                <a:lnTo>
                  <a:pt x="7996" y="1354"/>
                </a:lnTo>
                <a:lnTo>
                  <a:pt x="7986" y="1356"/>
                </a:lnTo>
                <a:lnTo>
                  <a:pt x="7976" y="1360"/>
                </a:lnTo>
                <a:lnTo>
                  <a:pt x="7966" y="1364"/>
                </a:lnTo>
                <a:lnTo>
                  <a:pt x="7960" y="1364"/>
                </a:lnTo>
                <a:lnTo>
                  <a:pt x="7956" y="1362"/>
                </a:lnTo>
                <a:lnTo>
                  <a:pt x="7954" y="1358"/>
                </a:lnTo>
                <a:lnTo>
                  <a:pt x="7952" y="1352"/>
                </a:lnTo>
                <a:lnTo>
                  <a:pt x="7948" y="1344"/>
                </a:lnTo>
                <a:lnTo>
                  <a:pt x="7942" y="1338"/>
                </a:lnTo>
                <a:lnTo>
                  <a:pt x="7930" y="1330"/>
                </a:lnTo>
                <a:lnTo>
                  <a:pt x="7920" y="1324"/>
                </a:lnTo>
                <a:lnTo>
                  <a:pt x="7918" y="1322"/>
                </a:lnTo>
                <a:lnTo>
                  <a:pt x="7918" y="1318"/>
                </a:lnTo>
                <a:lnTo>
                  <a:pt x="7918" y="1314"/>
                </a:lnTo>
                <a:lnTo>
                  <a:pt x="7920" y="1312"/>
                </a:lnTo>
                <a:lnTo>
                  <a:pt x="7926" y="1304"/>
                </a:lnTo>
                <a:lnTo>
                  <a:pt x="7934" y="1300"/>
                </a:lnTo>
                <a:lnTo>
                  <a:pt x="7946" y="1296"/>
                </a:lnTo>
                <a:lnTo>
                  <a:pt x="7958" y="1292"/>
                </a:lnTo>
                <a:lnTo>
                  <a:pt x="7970" y="1292"/>
                </a:lnTo>
                <a:lnTo>
                  <a:pt x="7976" y="1290"/>
                </a:lnTo>
                <a:lnTo>
                  <a:pt x="7980" y="1288"/>
                </a:lnTo>
                <a:lnTo>
                  <a:pt x="7982" y="1286"/>
                </a:lnTo>
                <a:lnTo>
                  <a:pt x="7984" y="1282"/>
                </a:lnTo>
                <a:lnTo>
                  <a:pt x="7982" y="1274"/>
                </a:lnTo>
                <a:lnTo>
                  <a:pt x="7978" y="1264"/>
                </a:lnTo>
                <a:lnTo>
                  <a:pt x="7968" y="1254"/>
                </a:lnTo>
                <a:lnTo>
                  <a:pt x="7956" y="1246"/>
                </a:lnTo>
                <a:lnTo>
                  <a:pt x="7942" y="1240"/>
                </a:lnTo>
                <a:lnTo>
                  <a:pt x="7934" y="1238"/>
                </a:lnTo>
                <a:lnTo>
                  <a:pt x="7926" y="1238"/>
                </a:lnTo>
                <a:lnTo>
                  <a:pt x="7910" y="1238"/>
                </a:lnTo>
                <a:lnTo>
                  <a:pt x="7892" y="1236"/>
                </a:lnTo>
                <a:lnTo>
                  <a:pt x="7866" y="1230"/>
                </a:lnTo>
                <a:lnTo>
                  <a:pt x="7858" y="1230"/>
                </a:lnTo>
                <a:lnTo>
                  <a:pt x="7856" y="1230"/>
                </a:lnTo>
                <a:lnTo>
                  <a:pt x="7860" y="1236"/>
                </a:lnTo>
                <a:lnTo>
                  <a:pt x="7870" y="1246"/>
                </a:lnTo>
                <a:lnTo>
                  <a:pt x="7876" y="1252"/>
                </a:lnTo>
                <a:lnTo>
                  <a:pt x="7880" y="1258"/>
                </a:lnTo>
                <a:lnTo>
                  <a:pt x="7882" y="1264"/>
                </a:lnTo>
                <a:lnTo>
                  <a:pt x="7884" y="1270"/>
                </a:lnTo>
                <a:lnTo>
                  <a:pt x="7882" y="1284"/>
                </a:lnTo>
                <a:lnTo>
                  <a:pt x="7876" y="1296"/>
                </a:lnTo>
                <a:lnTo>
                  <a:pt x="7872" y="1306"/>
                </a:lnTo>
                <a:lnTo>
                  <a:pt x="7870" y="1318"/>
                </a:lnTo>
                <a:lnTo>
                  <a:pt x="7870" y="1324"/>
                </a:lnTo>
                <a:lnTo>
                  <a:pt x="7874" y="1328"/>
                </a:lnTo>
                <a:lnTo>
                  <a:pt x="7878" y="1334"/>
                </a:lnTo>
                <a:lnTo>
                  <a:pt x="7884" y="1340"/>
                </a:lnTo>
                <a:lnTo>
                  <a:pt x="7896" y="1348"/>
                </a:lnTo>
                <a:lnTo>
                  <a:pt x="7900" y="1352"/>
                </a:lnTo>
                <a:lnTo>
                  <a:pt x="7902" y="1356"/>
                </a:lnTo>
                <a:lnTo>
                  <a:pt x="7902" y="1364"/>
                </a:lnTo>
                <a:lnTo>
                  <a:pt x="7898" y="1372"/>
                </a:lnTo>
                <a:lnTo>
                  <a:pt x="7892" y="1380"/>
                </a:lnTo>
                <a:lnTo>
                  <a:pt x="7888" y="1390"/>
                </a:lnTo>
                <a:lnTo>
                  <a:pt x="7884" y="1400"/>
                </a:lnTo>
                <a:lnTo>
                  <a:pt x="7886" y="1414"/>
                </a:lnTo>
                <a:lnTo>
                  <a:pt x="7886" y="1424"/>
                </a:lnTo>
                <a:lnTo>
                  <a:pt x="7884" y="1422"/>
                </a:lnTo>
                <a:lnTo>
                  <a:pt x="7876" y="1414"/>
                </a:lnTo>
                <a:lnTo>
                  <a:pt x="7864" y="1402"/>
                </a:lnTo>
                <a:lnTo>
                  <a:pt x="7850" y="1390"/>
                </a:lnTo>
                <a:lnTo>
                  <a:pt x="7842" y="1386"/>
                </a:lnTo>
                <a:lnTo>
                  <a:pt x="7832" y="1382"/>
                </a:lnTo>
                <a:lnTo>
                  <a:pt x="7822" y="1382"/>
                </a:lnTo>
                <a:lnTo>
                  <a:pt x="7810" y="1382"/>
                </a:lnTo>
                <a:lnTo>
                  <a:pt x="7798" y="1386"/>
                </a:lnTo>
                <a:lnTo>
                  <a:pt x="7786" y="1394"/>
                </a:lnTo>
                <a:lnTo>
                  <a:pt x="7762" y="1410"/>
                </a:lnTo>
                <a:lnTo>
                  <a:pt x="7740" y="1422"/>
                </a:lnTo>
                <a:lnTo>
                  <a:pt x="7724" y="1432"/>
                </a:lnTo>
                <a:lnTo>
                  <a:pt x="7712" y="1440"/>
                </a:lnTo>
                <a:lnTo>
                  <a:pt x="7706" y="1448"/>
                </a:lnTo>
                <a:lnTo>
                  <a:pt x="7706" y="1452"/>
                </a:lnTo>
                <a:lnTo>
                  <a:pt x="7706" y="1456"/>
                </a:lnTo>
                <a:lnTo>
                  <a:pt x="7712" y="1468"/>
                </a:lnTo>
                <a:lnTo>
                  <a:pt x="7724" y="1482"/>
                </a:lnTo>
                <a:lnTo>
                  <a:pt x="7736" y="1498"/>
                </a:lnTo>
                <a:lnTo>
                  <a:pt x="7738" y="1504"/>
                </a:lnTo>
                <a:lnTo>
                  <a:pt x="7740" y="1508"/>
                </a:lnTo>
                <a:lnTo>
                  <a:pt x="7738" y="1512"/>
                </a:lnTo>
                <a:lnTo>
                  <a:pt x="7736" y="1516"/>
                </a:lnTo>
                <a:lnTo>
                  <a:pt x="7732" y="1518"/>
                </a:lnTo>
                <a:lnTo>
                  <a:pt x="7726" y="1520"/>
                </a:lnTo>
                <a:lnTo>
                  <a:pt x="7710" y="1520"/>
                </a:lnTo>
                <a:lnTo>
                  <a:pt x="7690" y="1516"/>
                </a:lnTo>
                <a:lnTo>
                  <a:pt x="7668" y="1508"/>
                </a:lnTo>
                <a:lnTo>
                  <a:pt x="7642" y="1496"/>
                </a:lnTo>
                <a:lnTo>
                  <a:pt x="7618" y="1486"/>
                </a:lnTo>
                <a:lnTo>
                  <a:pt x="7600" y="1482"/>
                </a:lnTo>
                <a:lnTo>
                  <a:pt x="7586" y="1480"/>
                </a:lnTo>
                <a:lnTo>
                  <a:pt x="7576" y="1482"/>
                </a:lnTo>
                <a:lnTo>
                  <a:pt x="7574" y="1484"/>
                </a:lnTo>
                <a:lnTo>
                  <a:pt x="7572" y="1486"/>
                </a:lnTo>
                <a:lnTo>
                  <a:pt x="7572" y="1494"/>
                </a:lnTo>
                <a:lnTo>
                  <a:pt x="7576" y="1504"/>
                </a:lnTo>
                <a:lnTo>
                  <a:pt x="7584" y="1514"/>
                </a:lnTo>
                <a:lnTo>
                  <a:pt x="7596" y="1524"/>
                </a:lnTo>
                <a:lnTo>
                  <a:pt x="7610" y="1530"/>
                </a:lnTo>
                <a:lnTo>
                  <a:pt x="7632" y="1540"/>
                </a:lnTo>
                <a:lnTo>
                  <a:pt x="7638" y="1544"/>
                </a:lnTo>
                <a:lnTo>
                  <a:pt x="7640" y="1546"/>
                </a:lnTo>
                <a:lnTo>
                  <a:pt x="7640" y="1548"/>
                </a:lnTo>
                <a:lnTo>
                  <a:pt x="7636" y="1554"/>
                </a:lnTo>
                <a:lnTo>
                  <a:pt x="7624" y="1562"/>
                </a:lnTo>
                <a:lnTo>
                  <a:pt x="7610" y="1568"/>
                </a:lnTo>
                <a:lnTo>
                  <a:pt x="7604" y="1570"/>
                </a:lnTo>
                <a:lnTo>
                  <a:pt x="7600" y="1568"/>
                </a:lnTo>
                <a:lnTo>
                  <a:pt x="7592" y="1564"/>
                </a:lnTo>
                <a:lnTo>
                  <a:pt x="7586" y="1558"/>
                </a:lnTo>
                <a:lnTo>
                  <a:pt x="7580" y="1550"/>
                </a:lnTo>
                <a:lnTo>
                  <a:pt x="7570" y="1540"/>
                </a:lnTo>
                <a:lnTo>
                  <a:pt x="7560" y="1532"/>
                </a:lnTo>
                <a:lnTo>
                  <a:pt x="7552" y="1530"/>
                </a:lnTo>
                <a:lnTo>
                  <a:pt x="7544" y="1528"/>
                </a:lnTo>
                <a:lnTo>
                  <a:pt x="7528" y="1524"/>
                </a:lnTo>
                <a:lnTo>
                  <a:pt x="7520" y="1518"/>
                </a:lnTo>
                <a:lnTo>
                  <a:pt x="7516" y="1512"/>
                </a:lnTo>
                <a:lnTo>
                  <a:pt x="7516" y="1506"/>
                </a:lnTo>
                <a:lnTo>
                  <a:pt x="7516" y="1498"/>
                </a:lnTo>
                <a:lnTo>
                  <a:pt x="7514" y="1490"/>
                </a:lnTo>
                <a:lnTo>
                  <a:pt x="7512" y="1482"/>
                </a:lnTo>
                <a:lnTo>
                  <a:pt x="7504" y="1474"/>
                </a:lnTo>
                <a:lnTo>
                  <a:pt x="7498" y="1468"/>
                </a:lnTo>
                <a:lnTo>
                  <a:pt x="7496" y="1464"/>
                </a:lnTo>
                <a:lnTo>
                  <a:pt x="7496" y="1460"/>
                </a:lnTo>
                <a:lnTo>
                  <a:pt x="7496" y="1458"/>
                </a:lnTo>
                <a:lnTo>
                  <a:pt x="7500" y="1452"/>
                </a:lnTo>
                <a:lnTo>
                  <a:pt x="7506" y="1446"/>
                </a:lnTo>
                <a:lnTo>
                  <a:pt x="7512" y="1438"/>
                </a:lnTo>
                <a:lnTo>
                  <a:pt x="7514" y="1432"/>
                </a:lnTo>
                <a:lnTo>
                  <a:pt x="7512" y="1428"/>
                </a:lnTo>
                <a:lnTo>
                  <a:pt x="7510" y="1424"/>
                </a:lnTo>
                <a:lnTo>
                  <a:pt x="7506" y="1418"/>
                </a:lnTo>
                <a:lnTo>
                  <a:pt x="7500" y="1412"/>
                </a:lnTo>
                <a:lnTo>
                  <a:pt x="7484" y="1402"/>
                </a:lnTo>
                <a:lnTo>
                  <a:pt x="7470" y="1394"/>
                </a:lnTo>
                <a:lnTo>
                  <a:pt x="7442" y="1378"/>
                </a:lnTo>
                <a:lnTo>
                  <a:pt x="7432" y="1370"/>
                </a:lnTo>
                <a:lnTo>
                  <a:pt x="7422" y="1364"/>
                </a:lnTo>
                <a:lnTo>
                  <a:pt x="7416" y="1354"/>
                </a:lnTo>
                <a:lnTo>
                  <a:pt x="7412" y="1344"/>
                </a:lnTo>
                <a:lnTo>
                  <a:pt x="7410" y="1336"/>
                </a:lnTo>
                <a:lnTo>
                  <a:pt x="7410" y="1334"/>
                </a:lnTo>
                <a:lnTo>
                  <a:pt x="7420" y="1344"/>
                </a:lnTo>
                <a:lnTo>
                  <a:pt x="7430" y="1352"/>
                </a:lnTo>
                <a:lnTo>
                  <a:pt x="7446" y="1362"/>
                </a:lnTo>
                <a:lnTo>
                  <a:pt x="7466" y="1370"/>
                </a:lnTo>
                <a:lnTo>
                  <a:pt x="7492" y="1376"/>
                </a:lnTo>
                <a:lnTo>
                  <a:pt x="7520" y="1382"/>
                </a:lnTo>
                <a:lnTo>
                  <a:pt x="7548" y="1390"/>
                </a:lnTo>
                <a:lnTo>
                  <a:pt x="7606" y="1408"/>
                </a:lnTo>
                <a:lnTo>
                  <a:pt x="7632" y="1414"/>
                </a:lnTo>
                <a:lnTo>
                  <a:pt x="7646" y="1416"/>
                </a:lnTo>
                <a:lnTo>
                  <a:pt x="7660" y="1416"/>
                </a:lnTo>
                <a:lnTo>
                  <a:pt x="7674" y="1416"/>
                </a:lnTo>
                <a:lnTo>
                  <a:pt x="7686" y="1414"/>
                </a:lnTo>
                <a:lnTo>
                  <a:pt x="7700" y="1408"/>
                </a:lnTo>
                <a:lnTo>
                  <a:pt x="7714" y="1402"/>
                </a:lnTo>
                <a:lnTo>
                  <a:pt x="7738" y="1388"/>
                </a:lnTo>
                <a:lnTo>
                  <a:pt x="7756" y="1374"/>
                </a:lnTo>
                <a:lnTo>
                  <a:pt x="7770" y="1360"/>
                </a:lnTo>
                <a:lnTo>
                  <a:pt x="7774" y="1354"/>
                </a:lnTo>
                <a:lnTo>
                  <a:pt x="7776" y="1346"/>
                </a:lnTo>
                <a:lnTo>
                  <a:pt x="7778" y="1340"/>
                </a:lnTo>
                <a:lnTo>
                  <a:pt x="7778" y="1334"/>
                </a:lnTo>
                <a:lnTo>
                  <a:pt x="7774" y="1326"/>
                </a:lnTo>
                <a:lnTo>
                  <a:pt x="7770" y="1320"/>
                </a:lnTo>
                <a:lnTo>
                  <a:pt x="7764" y="1312"/>
                </a:lnTo>
                <a:lnTo>
                  <a:pt x="7756" y="1304"/>
                </a:lnTo>
                <a:lnTo>
                  <a:pt x="7734" y="1288"/>
                </a:lnTo>
                <a:lnTo>
                  <a:pt x="7694" y="1264"/>
                </a:lnTo>
                <a:lnTo>
                  <a:pt x="7666" y="1252"/>
                </a:lnTo>
                <a:lnTo>
                  <a:pt x="7638" y="1238"/>
                </a:lnTo>
                <a:lnTo>
                  <a:pt x="7594" y="1212"/>
                </a:lnTo>
                <a:lnTo>
                  <a:pt x="7570" y="1198"/>
                </a:lnTo>
                <a:lnTo>
                  <a:pt x="7552" y="1190"/>
                </a:lnTo>
                <a:lnTo>
                  <a:pt x="7538" y="1188"/>
                </a:lnTo>
                <a:lnTo>
                  <a:pt x="7528" y="1188"/>
                </a:lnTo>
                <a:lnTo>
                  <a:pt x="7518" y="1190"/>
                </a:lnTo>
                <a:lnTo>
                  <a:pt x="7508" y="1190"/>
                </a:lnTo>
                <a:lnTo>
                  <a:pt x="7492" y="1188"/>
                </a:lnTo>
                <a:lnTo>
                  <a:pt x="7472" y="1182"/>
                </a:lnTo>
                <a:lnTo>
                  <a:pt x="7452" y="1176"/>
                </a:lnTo>
                <a:lnTo>
                  <a:pt x="7442" y="1170"/>
                </a:lnTo>
                <a:lnTo>
                  <a:pt x="7440" y="1166"/>
                </a:lnTo>
                <a:lnTo>
                  <a:pt x="7440" y="1164"/>
                </a:lnTo>
                <a:lnTo>
                  <a:pt x="7442" y="1160"/>
                </a:lnTo>
                <a:lnTo>
                  <a:pt x="7442" y="1156"/>
                </a:lnTo>
                <a:lnTo>
                  <a:pt x="7436" y="1152"/>
                </a:lnTo>
                <a:lnTo>
                  <a:pt x="7424" y="1146"/>
                </a:lnTo>
                <a:lnTo>
                  <a:pt x="7410" y="1140"/>
                </a:lnTo>
                <a:lnTo>
                  <a:pt x="7402" y="1140"/>
                </a:lnTo>
                <a:lnTo>
                  <a:pt x="7398" y="1144"/>
                </a:lnTo>
                <a:lnTo>
                  <a:pt x="7394" y="1148"/>
                </a:lnTo>
                <a:lnTo>
                  <a:pt x="7390" y="1152"/>
                </a:lnTo>
                <a:lnTo>
                  <a:pt x="7384" y="1156"/>
                </a:lnTo>
                <a:lnTo>
                  <a:pt x="7370" y="1156"/>
                </a:lnTo>
                <a:lnTo>
                  <a:pt x="7350" y="1150"/>
                </a:lnTo>
                <a:lnTo>
                  <a:pt x="7342" y="1150"/>
                </a:lnTo>
                <a:lnTo>
                  <a:pt x="7336" y="1150"/>
                </a:lnTo>
                <a:lnTo>
                  <a:pt x="7332" y="1148"/>
                </a:lnTo>
                <a:lnTo>
                  <a:pt x="7328" y="1146"/>
                </a:lnTo>
                <a:lnTo>
                  <a:pt x="7326" y="1144"/>
                </a:lnTo>
                <a:lnTo>
                  <a:pt x="7322" y="1148"/>
                </a:lnTo>
                <a:lnTo>
                  <a:pt x="7320" y="1152"/>
                </a:lnTo>
                <a:lnTo>
                  <a:pt x="7314" y="1154"/>
                </a:lnTo>
                <a:lnTo>
                  <a:pt x="7304" y="1156"/>
                </a:lnTo>
                <a:lnTo>
                  <a:pt x="7302" y="1154"/>
                </a:lnTo>
                <a:lnTo>
                  <a:pt x="7304" y="1152"/>
                </a:lnTo>
                <a:lnTo>
                  <a:pt x="7306" y="1148"/>
                </a:lnTo>
                <a:lnTo>
                  <a:pt x="7306" y="1142"/>
                </a:lnTo>
                <a:lnTo>
                  <a:pt x="7304" y="1140"/>
                </a:lnTo>
                <a:lnTo>
                  <a:pt x="7302" y="1138"/>
                </a:lnTo>
                <a:lnTo>
                  <a:pt x="7298" y="1136"/>
                </a:lnTo>
                <a:lnTo>
                  <a:pt x="7292" y="1134"/>
                </a:lnTo>
                <a:lnTo>
                  <a:pt x="7282" y="1134"/>
                </a:lnTo>
                <a:lnTo>
                  <a:pt x="7276" y="1130"/>
                </a:lnTo>
                <a:lnTo>
                  <a:pt x="7270" y="1128"/>
                </a:lnTo>
                <a:lnTo>
                  <a:pt x="7264" y="1128"/>
                </a:lnTo>
                <a:lnTo>
                  <a:pt x="7260" y="1126"/>
                </a:lnTo>
                <a:lnTo>
                  <a:pt x="7264" y="1124"/>
                </a:lnTo>
                <a:lnTo>
                  <a:pt x="7276" y="1124"/>
                </a:lnTo>
                <a:lnTo>
                  <a:pt x="7298" y="1128"/>
                </a:lnTo>
                <a:lnTo>
                  <a:pt x="7308" y="1130"/>
                </a:lnTo>
                <a:lnTo>
                  <a:pt x="7318" y="1130"/>
                </a:lnTo>
                <a:lnTo>
                  <a:pt x="7324" y="1128"/>
                </a:lnTo>
                <a:lnTo>
                  <a:pt x="7330" y="1124"/>
                </a:lnTo>
                <a:lnTo>
                  <a:pt x="7338" y="1118"/>
                </a:lnTo>
                <a:lnTo>
                  <a:pt x="7342" y="1116"/>
                </a:lnTo>
                <a:lnTo>
                  <a:pt x="7348" y="1116"/>
                </a:lnTo>
                <a:lnTo>
                  <a:pt x="7352" y="1116"/>
                </a:lnTo>
                <a:lnTo>
                  <a:pt x="7356" y="1116"/>
                </a:lnTo>
                <a:lnTo>
                  <a:pt x="7358" y="1114"/>
                </a:lnTo>
                <a:lnTo>
                  <a:pt x="7360" y="1110"/>
                </a:lnTo>
                <a:lnTo>
                  <a:pt x="7360" y="1108"/>
                </a:lnTo>
                <a:lnTo>
                  <a:pt x="7358" y="1106"/>
                </a:lnTo>
                <a:lnTo>
                  <a:pt x="7356" y="1104"/>
                </a:lnTo>
                <a:lnTo>
                  <a:pt x="7352" y="1104"/>
                </a:lnTo>
                <a:lnTo>
                  <a:pt x="7346" y="1102"/>
                </a:lnTo>
                <a:lnTo>
                  <a:pt x="7342" y="1100"/>
                </a:lnTo>
                <a:lnTo>
                  <a:pt x="7340" y="1096"/>
                </a:lnTo>
                <a:lnTo>
                  <a:pt x="7336" y="1094"/>
                </a:lnTo>
                <a:lnTo>
                  <a:pt x="7332" y="1094"/>
                </a:lnTo>
                <a:lnTo>
                  <a:pt x="7328" y="1092"/>
                </a:lnTo>
                <a:lnTo>
                  <a:pt x="7326" y="1088"/>
                </a:lnTo>
                <a:lnTo>
                  <a:pt x="7320" y="1084"/>
                </a:lnTo>
                <a:lnTo>
                  <a:pt x="7318" y="1084"/>
                </a:lnTo>
                <a:lnTo>
                  <a:pt x="7314" y="1084"/>
                </a:lnTo>
                <a:lnTo>
                  <a:pt x="7308" y="1086"/>
                </a:lnTo>
                <a:lnTo>
                  <a:pt x="7308" y="1084"/>
                </a:lnTo>
                <a:lnTo>
                  <a:pt x="7306" y="1082"/>
                </a:lnTo>
                <a:lnTo>
                  <a:pt x="7298" y="1084"/>
                </a:lnTo>
                <a:lnTo>
                  <a:pt x="7290" y="1084"/>
                </a:lnTo>
                <a:lnTo>
                  <a:pt x="7290" y="1082"/>
                </a:lnTo>
                <a:lnTo>
                  <a:pt x="7290" y="1080"/>
                </a:lnTo>
                <a:lnTo>
                  <a:pt x="7290" y="1078"/>
                </a:lnTo>
                <a:lnTo>
                  <a:pt x="7286" y="1074"/>
                </a:lnTo>
                <a:lnTo>
                  <a:pt x="7280" y="1072"/>
                </a:lnTo>
                <a:lnTo>
                  <a:pt x="7274" y="1072"/>
                </a:lnTo>
                <a:lnTo>
                  <a:pt x="7268" y="1072"/>
                </a:lnTo>
                <a:lnTo>
                  <a:pt x="7262" y="1074"/>
                </a:lnTo>
                <a:lnTo>
                  <a:pt x="7258" y="1078"/>
                </a:lnTo>
                <a:lnTo>
                  <a:pt x="7256" y="1082"/>
                </a:lnTo>
                <a:lnTo>
                  <a:pt x="7254" y="1088"/>
                </a:lnTo>
                <a:lnTo>
                  <a:pt x="7254" y="1098"/>
                </a:lnTo>
                <a:lnTo>
                  <a:pt x="7256" y="1104"/>
                </a:lnTo>
                <a:lnTo>
                  <a:pt x="7254" y="1102"/>
                </a:lnTo>
                <a:lnTo>
                  <a:pt x="7248" y="1100"/>
                </a:lnTo>
                <a:lnTo>
                  <a:pt x="7246" y="1100"/>
                </a:lnTo>
                <a:lnTo>
                  <a:pt x="7242" y="1100"/>
                </a:lnTo>
                <a:lnTo>
                  <a:pt x="7236" y="1102"/>
                </a:lnTo>
                <a:lnTo>
                  <a:pt x="7232" y="1100"/>
                </a:lnTo>
                <a:lnTo>
                  <a:pt x="7232" y="1098"/>
                </a:lnTo>
                <a:lnTo>
                  <a:pt x="7238" y="1094"/>
                </a:lnTo>
                <a:lnTo>
                  <a:pt x="7244" y="1090"/>
                </a:lnTo>
                <a:lnTo>
                  <a:pt x="7248" y="1086"/>
                </a:lnTo>
                <a:lnTo>
                  <a:pt x="7250" y="1084"/>
                </a:lnTo>
                <a:lnTo>
                  <a:pt x="7246" y="1082"/>
                </a:lnTo>
                <a:lnTo>
                  <a:pt x="7240" y="1084"/>
                </a:lnTo>
                <a:lnTo>
                  <a:pt x="7238" y="1082"/>
                </a:lnTo>
                <a:lnTo>
                  <a:pt x="7240" y="1078"/>
                </a:lnTo>
                <a:lnTo>
                  <a:pt x="7242" y="1076"/>
                </a:lnTo>
                <a:lnTo>
                  <a:pt x="7250" y="1074"/>
                </a:lnTo>
                <a:lnTo>
                  <a:pt x="7256" y="1070"/>
                </a:lnTo>
                <a:lnTo>
                  <a:pt x="7258" y="1068"/>
                </a:lnTo>
                <a:lnTo>
                  <a:pt x="7258" y="1066"/>
                </a:lnTo>
                <a:lnTo>
                  <a:pt x="7258" y="1064"/>
                </a:lnTo>
                <a:lnTo>
                  <a:pt x="7256" y="1062"/>
                </a:lnTo>
                <a:lnTo>
                  <a:pt x="7250" y="1064"/>
                </a:lnTo>
                <a:lnTo>
                  <a:pt x="7246" y="1064"/>
                </a:lnTo>
                <a:lnTo>
                  <a:pt x="7246" y="1062"/>
                </a:lnTo>
                <a:lnTo>
                  <a:pt x="7244" y="1060"/>
                </a:lnTo>
                <a:lnTo>
                  <a:pt x="7244" y="1058"/>
                </a:lnTo>
                <a:lnTo>
                  <a:pt x="7244" y="1056"/>
                </a:lnTo>
                <a:lnTo>
                  <a:pt x="7238" y="1058"/>
                </a:lnTo>
                <a:lnTo>
                  <a:pt x="7232" y="1058"/>
                </a:lnTo>
                <a:lnTo>
                  <a:pt x="7230" y="1058"/>
                </a:lnTo>
                <a:lnTo>
                  <a:pt x="7226" y="1056"/>
                </a:lnTo>
                <a:lnTo>
                  <a:pt x="7222" y="1054"/>
                </a:lnTo>
                <a:lnTo>
                  <a:pt x="7220" y="1054"/>
                </a:lnTo>
                <a:lnTo>
                  <a:pt x="7218" y="1058"/>
                </a:lnTo>
                <a:lnTo>
                  <a:pt x="7216" y="1062"/>
                </a:lnTo>
                <a:lnTo>
                  <a:pt x="7214" y="1062"/>
                </a:lnTo>
                <a:lnTo>
                  <a:pt x="7212" y="1062"/>
                </a:lnTo>
                <a:lnTo>
                  <a:pt x="7208" y="1060"/>
                </a:lnTo>
                <a:lnTo>
                  <a:pt x="7206" y="1060"/>
                </a:lnTo>
                <a:lnTo>
                  <a:pt x="7202" y="1064"/>
                </a:lnTo>
                <a:lnTo>
                  <a:pt x="7202" y="1066"/>
                </a:lnTo>
                <a:lnTo>
                  <a:pt x="7202" y="1068"/>
                </a:lnTo>
                <a:lnTo>
                  <a:pt x="7204" y="1070"/>
                </a:lnTo>
                <a:lnTo>
                  <a:pt x="7208" y="1070"/>
                </a:lnTo>
                <a:lnTo>
                  <a:pt x="7214" y="1072"/>
                </a:lnTo>
                <a:lnTo>
                  <a:pt x="7212" y="1074"/>
                </a:lnTo>
                <a:lnTo>
                  <a:pt x="7208" y="1076"/>
                </a:lnTo>
                <a:lnTo>
                  <a:pt x="7208" y="1080"/>
                </a:lnTo>
                <a:lnTo>
                  <a:pt x="7204" y="1082"/>
                </a:lnTo>
                <a:lnTo>
                  <a:pt x="7200" y="1082"/>
                </a:lnTo>
                <a:lnTo>
                  <a:pt x="7200" y="1086"/>
                </a:lnTo>
                <a:lnTo>
                  <a:pt x="7198" y="1088"/>
                </a:lnTo>
                <a:lnTo>
                  <a:pt x="7196" y="1090"/>
                </a:lnTo>
                <a:lnTo>
                  <a:pt x="7194" y="1092"/>
                </a:lnTo>
                <a:lnTo>
                  <a:pt x="7194" y="1096"/>
                </a:lnTo>
                <a:lnTo>
                  <a:pt x="7196" y="1100"/>
                </a:lnTo>
                <a:lnTo>
                  <a:pt x="7194" y="1102"/>
                </a:lnTo>
                <a:lnTo>
                  <a:pt x="7190" y="1102"/>
                </a:lnTo>
                <a:lnTo>
                  <a:pt x="7180" y="1106"/>
                </a:lnTo>
                <a:lnTo>
                  <a:pt x="7176" y="1108"/>
                </a:lnTo>
                <a:lnTo>
                  <a:pt x="7176" y="1102"/>
                </a:lnTo>
                <a:lnTo>
                  <a:pt x="7180" y="1094"/>
                </a:lnTo>
                <a:lnTo>
                  <a:pt x="7180" y="1088"/>
                </a:lnTo>
                <a:lnTo>
                  <a:pt x="7180" y="1084"/>
                </a:lnTo>
                <a:lnTo>
                  <a:pt x="7182" y="1078"/>
                </a:lnTo>
                <a:lnTo>
                  <a:pt x="7184" y="1070"/>
                </a:lnTo>
                <a:lnTo>
                  <a:pt x="7184" y="1068"/>
                </a:lnTo>
                <a:lnTo>
                  <a:pt x="7182" y="1066"/>
                </a:lnTo>
                <a:lnTo>
                  <a:pt x="7178" y="1066"/>
                </a:lnTo>
                <a:lnTo>
                  <a:pt x="7174" y="1070"/>
                </a:lnTo>
                <a:lnTo>
                  <a:pt x="7164" y="1078"/>
                </a:lnTo>
                <a:lnTo>
                  <a:pt x="7140" y="1102"/>
                </a:lnTo>
                <a:lnTo>
                  <a:pt x="7134" y="1108"/>
                </a:lnTo>
                <a:lnTo>
                  <a:pt x="7134" y="1112"/>
                </a:lnTo>
                <a:lnTo>
                  <a:pt x="7134" y="1116"/>
                </a:lnTo>
                <a:lnTo>
                  <a:pt x="7130" y="1122"/>
                </a:lnTo>
                <a:lnTo>
                  <a:pt x="7124" y="1126"/>
                </a:lnTo>
                <a:lnTo>
                  <a:pt x="7122" y="1128"/>
                </a:lnTo>
                <a:lnTo>
                  <a:pt x="7118" y="1126"/>
                </a:lnTo>
                <a:lnTo>
                  <a:pt x="7116" y="1128"/>
                </a:lnTo>
                <a:lnTo>
                  <a:pt x="7112" y="1130"/>
                </a:lnTo>
                <a:lnTo>
                  <a:pt x="7112" y="1128"/>
                </a:lnTo>
                <a:lnTo>
                  <a:pt x="7112" y="1126"/>
                </a:lnTo>
                <a:lnTo>
                  <a:pt x="7116" y="1120"/>
                </a:lnTo>
                <a:lnTo>
                  <a:pt x="7120" y="1114"/>
                </a:lnTo>
                <a:lnTo>
                  <a:pt x="7120" y="1112"/>
                </a:lnTo>
                <a:lnTo>
                  <a:pt x="7120" y="1110"/>
                </a:lnTo>
                <a:lnTo>
                  <a:pt x="7122" y="1106"/>
                </a:lnTo>
                <a:lnTo>
                  <a:pt x="7126" y="1102"/>
                </a:lnTo>
                <a:lnTo>
                  <a:pt x="7124" y="1100"/>
                </a:lnTo>
                <a:lnTo>
                  <a:pt x="7124" y="1098"/>
                </a:lnTo>
                <a:lnTo>
                  <a:pt x="7124" y="1096"/>
                </a:lnTo>
                <a:lnTo>
                  <a:pt x="7132" y="1088"/>
                </a:lnTo>
                <a:lnTo>
                  <a:pt x="7150" y="1072"/>
                </a:lnTo>
                <a:lnTo>
                  <a:pt x="7152" y="1072"/>
                </a:lnTo>
                <a:lnTo>
                  <a:pt x="7150" y="1070"/>
                </a:lnTo>
                <a:lnTo>
                  <a:pt x="7144" y="1070"/>
                </a:lnTo>
                <a:lnTo>
                  <a:pt x="7138" y="1070"/>
                </a:lnTo>
                <a:lnTo>
                  <a:pt x="7136" y="1068"/>
                </a:lnTo>
                <a:lnTo>
                  <a:pt x="7132" y="1064"/>
                </a:lnTo>
                <a:lnTo>
                  <a:pt x="7130" y="1064"/>
                </a:lnTo>
                <a:lnTo>
                  <a:pt x="7128" y="1070"/>
                </a:lnTo>
                <a:lnTo>
                  <a:pt x="7126" y="1076"/>
                </a:lnTo>
                <a:lnTo>
                  <a:pt x="7122" y="1070"/>
                </a:lnTo>
                <a:lnTo>
                  <a:pt x="7118" y="1066"/>
                </a:lnTo>
                <a:lnTo>
                  <a:pt x="7114" y="1066"/>
                </a:lnTo>
                <a:lnTo>
                  <a:pt x="7112" y="1066"/>
                </a:lnTo>
                <a:lnTo>
                  <a:pt x="7108" y="1066"/>
                </a:lnTo>
                <a:lnTo>
                  <a:pt x="7106" y="1066"/>
                </a:lnTo>
                <a:lnTo>
                  <a:pt x="7102" y="1064"/>
                </a:lnTo>
                <a:lnTo>
                  <a:pt x="7098" y="1064"/>
                </a:lnTo>
                <a:lnTo>
                  <a:pt x="7096" y="1066"/>
                </a:lnTo>
                <a:lnTo>
                  <a:pt x="7098" y="1068"/>
                </a:lnTo>
                <a:lnTo>
                  <a:pt x="7100" y="1072"/>
                </a:lnTo>
                <a:lnTo>
                  <a:pt x="7100" y="1076"/>
                </a:lnTo>
                <a:lnTo>
                  <a:pt x="7098" y="1076"/>
                </a:lnTo>
                <a:lnTo>
                  <a:pt x="7094" y="1074"/>
                </a:lnTo>
                <a:lnTo>
                  <a:pt x="7088" y="1072"/>
                </a:lnTo>
                <a:lnTo>
                  <a:pt x="7084" y="1074"/>
                </a:lnTo>
                <a:lnTo>
                  <a:pt x="7086" y="1078"/>
                </a:lnTo>
                <a:lnTo>
                  <a:pt x="7094" y="1082"/>
                </a:lnTo>
                <a:lnTo>
                  <a:pt x="7102" y="1086"/>
                </a:lnTo>
                <a:lnTo>
                  <a:pt x="7106" y="1088"/>
                </a:lnTo>
                <a:lnTo>
                  <a:pt x="7104" y="1088"/>
                </a:lnTo>
                <a:lnTo>
                  <a:pt x="7094" y="1086"/>
                </a:lnTo>
                <a:lnTo>
                  <a:pt x="7088" y="1084"/>
                </a:lnTo>
                <a:lnTo>
                  <a:pt x="7088" y="1086"/>
                </a:lnTo>
                <a:lnTo>
                  <a:pt x="7086" y="1088"/>
                </a:lnTo>
                <a:lnTo>
                  <a:pt x="7084" y="1090"/>
                </a:lnTo>
                <a:lnTo>
                  <a:pt x="7080" y="1094"/>
                </a:lnTo>
                <a:lnTo>
                  <a:pt x="7072" y="1100"/>
                </a:lnTo>
                <a:lnTo>
                  <a:pt x="7060" y="1106"/>
                </a:lnTo>
                <a:lnTo>
                  <a:pt x="7056" y="1110"/>
                </a:lnTo>
                <a:lnTo>
                  <a:pt x="7056" y="1112"/>
                </a:lnTo>
                <a:lnTo>
                  <a:pt x="7050" y="1116"/>
                </a:lnTo>
                <a:lnTo>
                  <a:pt x="7046" y="1118"/>
                </a:lnTo>
                <a:lnTo>
                  <a:pt x="7044" y="1120"/>
                </a:lnTo>
                <a:lnTo>
                  <a:pt x="7044" y="1122"/>
                </a:lnTo>
                <a:lnTo>
                  <a:pt x="7048" y="1124"/>
                </a:lnTo>
                <a:lnTo>
                  <a:pt x="7046" y="1126"/>
                </a:lnTo>
                <a:lnTo>
                  <a:pt x="7044" y="1126"/>
                </a:lnTo>
                <a:lnTo>
                  <a:pt x="7042" y="1128"/>
                </a:lnTo>
                <a:lnTo>
                  <a:pt x="7042" y="1130"/>
                </a:lnTo>
                <a:lnTo>
                  <a:pt x="7046" y="1132"/>
                </a:lnTo>
                <a:lnTo>
                  <a:pt x="7052" y="1134"/>
                </a:lnTo>
                <a:lnTo>
                  <a:pt x="7054" y="1136"/>
                </a:lnTo>
                <a:lnTo>
                  <a:pt x="7052" y="1136"/>
                </a:lnTo>
                <a:lnTo>
                  <a:pt x="7048" y="1136"/>
                </a:lnTo>
                <a:lnTo>
                  <a:pt x="7040" y="1136"/>
                </a:lnTo>
                <a:lnTo>
                  <a:pt x="7034" y="1132"/>
                </a:lnTo>
                <a:lnTo>
                  <a:pt x="7034" y="1130"/>
                </a:lnTo>
                <a:lnTo>
                  <a:pt x="7034" y="1128"/>
                </a:lnTo>
                <a:lnTo>
                  <a:pt x="7036" y="1124"/>
                </a:lnTo>
                <a:lnTo>
                  <a:pt x="7034" y="1122"/>
                </a:lnTo>
                <a:lnTo>
                  <a:pt x="7028" y="1118"/>
                </a:lnTo>
                <a:lnTo>
                  <a:pt x="7018" y="1116"/>
                </a:lnTo>
                <a:lnTo>
                  <a:pt x="7012" y="1116"/>
                </a:lnTo>
                <a:lnTo>
                  <a:pt x="7008" y="1116"/>
                </a:lnTo>
                <a:lnTo>
                  <a:pt x="7006" y="1114"/>
                </a:lnTo>
                <a:lnTo>
                  <a:pt x="7004" y="1114"/>
                </a:lnTo>
                <a:lnTo>
                  <a:pt x="7002" y="1114"/>
                </a:lnTo>
                <a:lnTo>
                  <a:pt x="6998" y="1114"/>
                </a:lnTo>
                <a:lnTo>
                  <a:pt x="6992" y="1112"/>
                </a:lnTo>
                <a:lnTo>
                  <a:pt x="6990" y="1112"/>
                </a:lnTo>
                <a:lnTo>
                  <a:pt x="6988" y="1120"/>
                </a:lnTo>
                <a:lnTo>
                  <a:pt x="6988" y="1124"/>
                </a:lnTo>
                <a:lnTo>
                  <a:pt x="6984" y="1120"/>
                </a:lnTo>
                <a:lnTo>
                  <a:pt x="6982" y="1116"/>
                </a:lnTo>
                <a:lnTo>
                  <a:pt x="6978" y="1114"/>
                </a:lnTo>
                <a:lnTo>
                  <a:pt x="6974" y="1114"/>
                </a:lnTo>
                <a:lnTo>
                  <a:pt x="6968" y="1114"/>
                </a:lnTo>
                <a:lnTo>
                  <a:pt x="6964" y="1118"/>
                </a:lnTo>
                <a:lnTo>
                  <a:pt x="6964" y="1120"/>
                </a:lnTo>
                <a:lnTo>
                  <a:pt x="6966" y="1122"/>
                </a:lnTo>
                <a:lnTo>
                  <a:pt x="6970" y="1124"/>
                </a:lnTo>
                <a:lnTo>
                  <a:pt x="6972" y="1124"/>
                </a:lnTo>
                <a:lnTo>
                  <a:pt x="6972" y="1126"/>
                </a:lnTo>
                <a:lnTo>
                  <a:pt x="6974" y="1128"/>
                </a:lnTo>
                <a:lnTo>
                  <a:pt x="6978" y="1128"/>
                </a:lnTo>
                <a:lnTo>
                  <a:pt x="6982" y="1128"/>
                </a:lnTo>
                <a:lnTo>
                  <a:pt x="6986" y="1132"/>
                </a:lnTo>
                <a:lnTo>
                  <a:pt x="6988" y="1134"/>
                </a:lnTo>
                <a:lnTo>
                  <a:pt x="6992" y="1134"/>
                </a:lnTo>
                <a:lnTo>
                  <a:pt x="6994" y="1134"/>
                </a:lnTo>
                <a:lnTo>
                  <a:pt x="6992" y="1138"/>
                </a:lnTo>
                <a:lnTo>
                  <a:pt x="6990" y="1140"/>
                </a:lnTo>
                <a:lnTo>
                  <a:pt x="6990" y="1142"/>
                </a:lnTo>
                <a:lnTo>
                  <a:pt x="6996" y="1150"/>
                </a:lnTo>
                <a:lnTo>
                  <a:pt x="6998" y="1154"/>
                </a:lnTo>
                <a:lnTo>
                  <a:pt x="6996" y="1152"/>
                </a:lnTo>
                <a:lnTo>
                  <a:pt x="6980" y="1140"/>
                </a:lnTo>
                <a:lnTo>
                  <a:pt x="6970" y="1134"/>
                </a:lnTo>
                <a:lnTo>
                  <a:pt x="6964" y="1134"/>
                </a:lnTo>
                <a:lnTo>
                  <a:pt x="6962" y="1136"/>
                </a:lnTo>
                <a:lnTo>
                  <a:pt x="6964" y="1138"/>
                </a:lnTo>
                <a:lnTo>
                  <a:pt x="6964" y="1140"/>
                </a:lnTo>
                <a:lnTo>
                  <a:pt x="6964" y="1142"/>
                </a:lnTo>
                <a:lnTo>
                  <a:pt x="6960" y="1144"/>
                </a:lnTo>
                <a:lnTo>
                  <a:pt x="6958" y="1144"/>
                </a:lnTo>
                <a:lnTo>
                  <a:pt x="6956" y="1142"/>
                </a:lnTo>
                <a:lnTo>
                  <a:pt x="6958" y="1140"/>
                </a:lnTo>
                <a:lnTo>
                  <a:pt x="6958" y="1138"/>
                </a:lnTo>
                <a:lnTo>
                  <a:pt x="6956" y="1138"/>
                </a:lnTo>
                <a:lnTo>
                  <a:pt x="6950" y="1142"/>
                </a:lnTo>
                <a:lnTo>
                  <a:pt x="6938" y="1152"/>
                </a:lnTo>
                <a:lnTo>
                  <a:pt x="6936" y="1152"/>
                </a:lnTo>
                <a:lnTo>
                  <a:pt x="6934" y="1154"/>
                </a:lnTo>
                <a:lnTo>
                  <a:pt x="6934" y="1162"/>
                </a:lnTo>
                <a:lnTo>
                  <a:pt x="6932" y="1168"/>
                </a:lnTo>
                <a:lnTo>
                  <a:pt x="6928" y="1172"/>
                </a:lnTo>
                <a:lnTo>
                  <a:pt x="6922" y="1180"/>
                </a:lnTo>
                <a:lnTo>
                  <a:pt x="6914" y="1186"/>
                </a:lnTo>
                <a:lnTo>
                  <a:pt x="6922" y="1172"/>
                </a:lnTo>
                <a:lnTo>
                  <a:pt x="6926" y="1160"/>
                </a:lnTo>
                <a:lnTo>
                  <a:pt x="6928" y="1150"/>
                </a:lnTo>
                <a:lnTo>
                  <a:pt x="6928" y="1140"/>
                </a:lnTo>
                <a:lnTo>
                  <a:pt x="6926" y="1136"/>
                </a:lnTo>
                <a:lnTo>
                  <a:pt x="6924" y="1138"/>
                </a:lnTo>
                <a:lnTo>
                  <a:pt x="6922" y="1142"/>
                </a:lnTo>
                <a:lnTo>
                  <a:pt x="6920" y="1142"/>
                </a:lnTo>
                <a:lnTo>
                  <a:pt x="6918" y="1140"/>
                </a:lnTo>
                <a:lnTo>
                  <a:pt x="6916" y="1140"/>
                </a:lnTo>
                <a:lnTo>
                  <a:pt x="6908" y="1150"/>
                </a:lnTo>
                <a:lnTo>
                  <a:pt x="6906" y="1156"/>
                </a:lnTo>
                <a:lnTo>
                  <a:pt x="6906" y="1160"/>
                </a:lnTo>
                <a:lnTo>
                  <a:pt x="6908" y="1160"/>
                </a:lnTo>
                <a:lnTo>
                  <a:pt x="6904" y="1164"/>
                </a:lnTo>
                <a:lnTo>
                  <a:pt x="6902" y="1166"/>
                </a:lnTo>
                <a:lnTo>
                  <a:pt x="6898" y="1166"/>
                </a:lnTo>
                <a:lnTo>
                  <a:pt x="6898" y="1162"/>
                </a:lnTo>
                <a:lnTo>
                  <a:pt x="6900" y="1158"/>
                </a:lnTo>
                <a:lnTo>
                  <a:pt x="6902" y="1152"/>
                </a:lnTo>
                <a:lnTo>
                  <a:pt x="6902" y="1150"/>
                </a:lnTo>
                <a:lnTo>
                  <a:pt x="6900" y="1148"/>
                </a:lnTo>
                <a:lnTo>
                  <a:pt x="6896" y="1148"/>
                </a:lnTo>
                <a:lnTo>
                  <a:pt x="6888" y="1150"/>
                </a:lnTo>
                <a:lnTo>
                  <a:pt x="6882" y="1152"/>
                </a:lnTo>
                <a:lnTo>
                  <a:pt x="6870" y="1160"/>
                </a:lnTo>
                <a:lnTo>
                  <a:pt x="6868" y="1162"/>
                </a:lnTo>
                <a:lnTo>
                  <a:pt x="6870" y="1164"/>
                </a:lnTo>
                <a:lnTo>
                  <a:pt x="6872" y="1166"/>
                </a:lnTo>
                <a:lnTo>
                  <a:pt x="6872" y="1168"/>
                </a:lnTo>
                <a:lnTo>
                  <a:pt x="6872" y="1170"/>
                </a:lnTo>
                <a:lnTo>
                  <a:pt x="6872" y="1174"/>
                </a:lnTo>
                <a:lnTo>
                  <a:pt x="6874" y="1174"/>
                </a:lnTo>
                <a:lnTo>
                  <a:pt x="6882" y="1178"/>
                </a:lnTo>
                <a:lnTo>
                  <a:pt x="6886" y="1178"/>
                </a:lnTo>
                <a:lnTo>
                  <a:pt x="6890" y="1182"/>
                </a:lnTo>
                <a:lnTo>
                  <a:pt x="6892" y="1186"/>
                </a:lnTo>
                <a:lnTo>
                  <a:pt x="6894" y="1192"/>
                </a:lnTo>
                <a:lnTo>
                  <a:pt x="6884" y="1188"/>
                </a:lnTo>
                <a:lnTo>
                  <a:pt x="6884" y="1186"/>
                </a:lnTo>
                <a:lnTo>
                  <a:pt x="6886" y="1184"/>
                </a:lnTo>
                <a:lnTo>
                  <a:pt x="6880" y="1182"/>
                </a:lnTo>
                <a:lnTo>
                  <a:pt x="6874" y="1180"/>
                </a:lnTo>
                <a:lnTo>
                  <a:pt x="6870" y="1178"/>
                </a:lnTo>
                <a:lnTo>
                  <a:pt x="6868" y="1172"/>
                </a:lnTo>
                <a:lnTo>
                  <a:pt x="6864" y="1168"/>
                </a:lnTo>
                <a:lnTo>
                  <a:pt x="6858" y="1168"/>
                </a:lnTo>
                <a:lnTo>
                  <a:pt x="6850" y="1172"/>
                </a:lnTo>
                <a:lnTo>
                  <a:pt x="6850" y="1174"/>
                </a:lnTo>
                <a:lnTo>
                  <a:pt x="6858" y="1180"/>
                </a:lnTo>
                <a:lnTo>
                  <a:pt x="6862" y="1184"/>
                </a:lnTo>
                <a:lnTo>
                  <a:pt x="6860" y="1186"/>
                </a:lnTo>
                <a:lnTo>
                  <a:pt x="6856" y="1184"/>
                </a:lnTo>
                <a:lnTo>
                  <a:pt x="6852" y="1180"/>
                </a:lnTo>
                <a:lnTo>
                  <a:pt x="6842" y="1172"/>
                </a:lnTo>
                <a:lnTo>
                  <a:pt x="6838" y="1172"/>
                </a:lnTo>
                <a:lnTo>
                  <a:pt x="6838" y="1174"/>
                </a:lnTo>
                <a:lnTo>
                  <a:pt x="6840" y="1178"/>
                </a:lnTo>
                <a:lnTo>
                  <a:pt x="6838" y="1180"/>
                </a:lnTo>
                <a:lnTo>
                  <a:pt x="6836" y="1182"/>
                </a:lnTo>
                <a:lnTo>
                  <a:pt x="6834" y="1184"/>
                </a:lnTo>
                <a:lnTo>
                  <a:pt x="6836" y="1190"/>
                </a:lnTo>
                <a:lnTo>
                  <a:pt x="6836" y="1194"/>
                </a:lnTo>
                <a:lnTo>
                  <a:pt x="6836" y="1196"/>
                </a:lnTo>
                <a:lnTo>
                  <a:pt x="6830" y="1198"/>
                </a:lnTo>
                <a:lnTo>
                  <a:pt x="6822" y="1200"/>
                </a:lnTo>
                <a:lnTo>
                  <a:pt x="6818" y="1202"/>
                </a:lnTo>
                <a:lnTo>
                  <a:pt x="6814" y="1206"/>
                </a:lnTo>
                <a:lnTo>
                  <a:pt x="6812" y="1210"/>
                </a:lnTo>
                <a:lnTo>
                  <a:pt x="6814" y="1212"/>
                </a:lnTo>
                <a:lnTo>
                  <a:pt x="6818" y="1214"/>
                </a:lnTo>
                <a:lnTo>
                  <a:pt x="6822" y="1214"/>
                </a:lnTo>
                <a:lnTo>
                  <a:pt x="6816" y="1216"/>
                </a:lnTo>
                <a:lnTo>
                  <a:pt x="6808" y="1220"/>
                </a:lnTo>
                <a:lnTo>
                  <a:pt x="6804" y="1222"/>
                </a:lnTo>
                <a:lnTo>
                  <a:pt x="6802" y="1226"/>
                </a:lnTo>
                <a:lnTo>
                  <a:pt x="6798" y="1228"/>
                </a:lnTo>
                <a:lnTo>
                  <a:pt x="6792" y="1230"/>
                </a:lnTo>
                <a:lnTo>
                  <a:pt x="6786" y="1230"/>
                </a:lnTo>
                <a:lnTo>
                  <a:pt x="6780" y="1232"/>
                </a:lnTo>
                <a:lnTo>
                  <a:pt x="6774" y="1240"/>
                </a:lnTo>
                <a:lnTo>
                  <a:pt x="6772" y="1244"/>
                </a:lnTo>
                <a:lnTo>
                  <a:pt x="6772" y="1246"/>
                </a:lnTo>
                <a:lnTo>
                  <a:pt x="6776" y="1248"/>
                </a:lnTo>
                <a:lnTo>
                  <a:pt x="6780" y="1246"/>
                </a:lnTo>
                <a:lnTo>
                  <a:pt x="6790" y="1244"/>
                </a:lnTo>
                <a:lnTo>
                  <a:pt x="6792" y="1244"/>
                </a:lnTo>
                <a:lnTo>
                  <a:pt x="6794" y="1244"/>
                </a:lnTo>
                <a:lnTo>
                  <a:pt x="6794" y="1246"/>
                </a:lnTo>
                <a:lnTo>
                  <a:pt x="6796" y="1248"/>
                </a:lnTo>
                <a:lnTo>
                  <a:pt x="6808" y="1242"/>
                </a:lnTo>
                <a:lnTo>
                  <a:pt x="6812" y="1240"/>
                </a:lnTo>
                <a:lnTo>
                  <a:pt x="6814" y="1240"/>
                </a:lnTo>
                <a:lnTo>
                  <a:pt x="6812" y="1244"/>
                </a:lnTo>
                <a:lnTo>
                  <a:pt x="6804" y="1250"/>
                </a:lnTo>
                <a:lnTo>
                  <a:pt x="6794" y="1254"/>
                </a:lnTo>
                <a:lnTo>
                  <a:pt x="6786" y="1254"/>
                </a:lnTo>
                <a:lnTo>
                  <a:pt x="6784" y="1252"/>
                </a:lnTo>
                <a:lnTo>
                  <a:pt x="6780" y="1252"/>
                </a:lnTo>
                <a:lnTo>
                  <a:pt x="6772" y="1250"/>
                </a:lnTo>
                <a:lnTo>
                  <a:pt x="6764" y="1252"/>
                </a:lnTo>
                <a:lnTo>
                  <a:pt x="6756" y="1254"/>
                </a:lnTo>
                <a:lnTo>
                  <a:pt x="6754" y="1258"/>
                </a:lnTo>
                <a:lnTo>
                  <a:pt x="6758" y="1260"/>
                </a:lnTo>
                <a:lnTo>
                  <a:pt x="6760" y="1262"/>
                </a:lnTo>
                <a:lnTo>
                  <a:pt x="6760" y="1264"/>
                </a:lnTo>
                <a:lnTo>
                  <a:pt x="6764" y="1264"/>
                </a:lnTo>
                <a:lnTo>
                  <a:pt x="6770" y="1266"/>
                </a:lnTo>
                <a:lnTo>
                  <a:pt x="6768" y="1270"/>
                </a:lnTo>
                <a:lnTo>
                  <a:pt x="6764" y="1274"/>
                </a:lnTo>
                <a:lnTo>
                  <a:pt x="6762" y="1278"/>
                </a:lnTo>
                <a:lnTo>
                  <a:pt x="6762" y="1282"/>
                </a:lnTo>
                <a:lnTo>
                  <a:pt x="6760" y="1286"/>
                </a:lnTo>
                <a:lnTo>
                  <a:pt x="6758" y="1284"/>
                </a:lnTo>
                <a:lnTo>
                  <a:pt x="6756" y="1278"/>
                </a:lnTo>
                <a:lnTo>
                  <a:pt x="6754" y="1272"/>
                </a:lnTo>
                <a:lnTo>
                  <a:pt x="6754" y="1266"/>
                </a:lnTo>
                <a:lnTo>
                  <a:pt x="6754" y="1262"/>
                </a:lnTo>
                <a:lnTo>
                  <a:pt x="6750" y="1262"/>
                </a:lnTo>
                <a:lnTo>
                  <a:pt x="6748" y="1266"/>
                </a:lnTo>
                <a:lnTo>
                  <a:pt x="6744" y="1270"/>
                </a:lnTo>
                <a:lnTo>
                  <a:pt x="6742" y="1272"/>
                </a:lnTo>
                <a:lnTo>
                  <a:pt x="6742" y="1270"/>
                </a:lnTo>
                <a:lnTo>
                  <a:pt x="6740" y="1268"/>
                </a:lnTo>
                <a:lnTo>
                  <a:pt x="6736" y="1268"/>
                </a:lnTo>
                <a:lnTo>
                  <a:pt x="6730" y="1270"/>
                </a:lnTo>
                <a:lnTo>
                  <a:pt x="6726" y="1272"/>
                </a:lnTo>
                <a:lnTo>
                  <a:pt x="6724" y="1274"/>
                </a:lnTo>
                <a:lnTo>
                  <a:pt x="6724" y="1276"/>
                </a:lnTo>
                <a:lnTo>
                  <a:pt x="6726" y="1278"/>
                </a:lnTo>
                <a:lnTo>
                  <a:pt x="6728" y="1276"/>
                </a:lnTo>
                <a:lnTo>
                  <a:pt x="6732" y="1276"/>
                </a:lnTo>
                <a:lnTo>
                  <a:pt x="6740" y="1276"/>
                </a:lnTo>
                <a:lnTo>
                  <a:pt x="6746" y="1278"/>
                </a:lnTo>
                <a:lnTo>
                  <a:pt x="6750" y="1280"/>
                </a:lnTo>
                <a:lnTo>
                  <a:pt x="6748" y="1282"/>
                </a:lnTo>
                <a:lnTo>
                  <a:pt x="6744" y="1282"/>
                </a:lnTo>
                <a:lnTo>
                  <a:pt x="6734" y="1284"/>
                </a:lnTo>
                <a:lnTo>
                  <a:pt x="6716" y="1286"/>
                </a:lnTo>
                <a:lnTo>
                  <a:pt x="6704" y="1290"/>
                </a:lnTo>
                <a:lnTo>
                  <a:pt x="6702" y="1294"/>
                </a:lnTo>
                <a:lnTo>
                  <a:pt x="6704" y="1296"/>
                </a:lnTo>
                <a:lnTo>
                  <a:pt x="6706" y="1296"/>
                </a:lnTo>
                <a:lnTo>
                  <a:pt x="6706" y="1298"/>
                </a:lnTo>
                <a:lnTo>
                  <a:pt x="6702" y="1300"/>
                </a:lnTo>
                <a:lnTo>
                  <a:pt x="6700" y="1302"/>
                </a:lnTo>
                <a:lnTo>
                  <a:pt x="6704" y="1304"/>
                </a:lnTo>
                <a:lnTo>
                  <a:pt x="6710" y="1304"/>
                </a:lnTo>
                <a:lnTo>
                  <a:pt x="6714" y="1304"/>
                </a:lnTo>
                <a:lnTo>
                  <a:pt x="6720" y="1298"/>
                </a:lnTo>
                <a:lnTo>
                  <a:pt x="6726" y="1294"/>
                </a:lnTo>
                <a:lnTo>
                  <a:pt x="6732" y="1294"/>
                </a:lnTo>
                <a:lnTo>
                  <a:pt x="6736" y="1294"/>
                </a:lnTo>
                <a:lnTo>
                  <a:pt x="6744" y="1296"/>
                </a:lnTo>
                <a:lnTo>
                  <a:pt x="6742" y="1298"/>
                </a:lnTo>
                <a:lnTo>
                  <a:pt x="6734" y="1298"/>
                </a:lnTo>
                <a:lnTo>
                  <a:pt x="6724" y="1300"/>
                </a:lnTo>
                <a:lnTo>
                  <a:pt x="6718" y="1304"/>
                </a:lnTo>
                <a:lnTo>
                  <a:pt x="6720" y="1306"/>
                </a:lnTo>
                <a:lnTo>
                  <a:pt x="6718" y="1308"/>
                </a:lnTo>
                <a:lnTo>
                  <a:pt x="6710" y="1310"/>
                </a:lnTo>
                <a:lnTo>
                  <a:pt x="6700" y="1312"/>
                </a:lnTo>
                <a:lnTo>
                  <a:pt x="6700" y="1314"/>
                </a:lnTo>
                <a:lnTo>
                  <a:pt x="6700" y="1316"/>
                </a:lnTo>
                <a:lnTo>
                  <a:pt x="6706" y="1318"/>
                </a:lnTo>
                <a:lnTo>
                  <a:pt x="6706" y="1320"/>
                </a:lnTo>
                <a:lnTo>
                  <a:pt x="6706" y="1322"/>
                </a:lnTo>
                <a:lnTo>
                  <a:pt x="6704" y="1322"/>
                </a:lnTo>
                <a:lnTo>
                  <a:pt x="6702" y="1320"/>
                </a:lnTo>
                <a:lnTo>
                  <a:pt x="6698" y="1320"/>
                </a:lnTo>
                <a:lnTo>
                  <a:pt x="6694" y="1322"/>
                </a:lnTo>
                <a:lnTo>
                  <a:pt x="6688" y="1328"/>
                </a:lnTo>
                <a:lnTo>
                  <a:pt x="6688" y="1330"/>
                </a:lnTo>
                <a:lnTo>
                  <a:pt x="6692" y="1332"/>
                </a:lnTo>
                <a:lnTo>
                  <a:pt x="6696" y="1332"/>
                </a:lnTo>
                <a:lnTo>
                  <a:pt x="6700" y="1330"/>
                </a:lnTo>
                <a:lnTo>
                  <a:pt x="6708" y="1330"/>
                </a:lnTo>
                <a:lnTo>
                  <a:pt x="6720" y="1330"/>
                </a:lnTo>
                <a:lnTo>
                  <a:pt x="6736" y="1332"/>
                </a:lnTo>
                <a:lnTo>
                  <a:pt x="6732" y="1334"/>
                </a:lnTo>
                <a:lnTo>
                  <a:pt x="6730" y="1336"/>
                </a:lnTo>
                <a:lnTo>
                  <a:pt x="6730" y="1338"/>
                </a:lnTo>
                <a:lnTo>
                  <a:pt x="6732" y="1342"/>
                </a:lnTo>
                <a:lnTo>
                  <a:pt x="6728" y="1340"/>
                </a:lnTo>
                <a:lnTo>
                  <a:pt x="6722" y="1336"/>
                </a:lnTo>
                <a:lnTo>
                  <a:pt x="6718" y="1334"/>
                </a:lnTo>
                <a:lnTo>
                  <a:pt x="6712" y="1332"/>
                </a:lnTo>
                <a:lnTo>
                  <a:pt x="6704" y="1334"/>
                </a:lnTo>
                <a:lnTo>
                  <a:pt x="6698" y="1334"/>
                </a:lnTo>
                <a:lnTo>
                  <a:pt x="6692" y="1336"/>
                </a:lnTo>
                <a:lnTo>
                  <a:pt x="6686" y="1338"/>
                </a:lnTo>
                <a:lnTo>
                  <a:pt x="6682" y="1338"/>
                </a:lnTo>
                <a:lnTo>
                  <a:pt x="6680" y="1338"/>
                </a:lnTo>
                <a:lnTo>
                  <a:pt x="6678" y="1340"/>
                </a:lnTo>
                <a:lnTo>
                  <a:pt x="6674" y="1340"/>
                </a:lnTo>
                <a:lnTo>
                  <a:pt x="6672" y="1340"/>
                </a:lnTo>
                <a:lnTo>
                  <a:pt x="6672" y="1342"/>
                </a:lnTo>
                <a:lnTo>
                  <a:pt x="6672" y="1346"/>
                </a:lnTo>
                <a:lnTo>
                  <a:pt x="6672" y="1348"/>
                </a:lnTo>
                <a:lnTo>
                  <a:pt x="6670" y="1350"/>
                </a:lnTo>
                <a:lnTo>
                  <a:pt x="6666" y="1350"/>
                </a:lnTo>
                <a:lnTo>
                  <a:pt x="6660" y="1352"/>
                </a:lnTo>
                <a:lnTo>
                  <a:pt x="6652" y="1352"/>
                </a:lnTo>
                <a:lnTo>
                  <a:pt x="6654" y="1356"/>
                </a:lnTo>
                <a:lnTo>
                  <a:pt x="6658" y="1360"/>
                </a:lnTo>
                <a:lnTo>
                  <a:pt x="6658" y="1362"/>
                </a:lnTo>
                <a:lnTo>
                  <a:pt x="6656" y="1364"/>
                </a:lnTo>
                <a:lnTo>
                  <a:pt x="6652" y="1366"/>
                </a:lnTo>
                <a:lnTo>
                  <a:pt x="6648" y="1366"/>
                </a:lnTo>
                <a:lnTo>
                  <a:pt x="6646" y="1366"/>
                </a:lnTo>
                <a:lnTo>
                  <a:pt x="6642" y="1370"/>
                </a:lnTo>
                <a:lnTo>
                  <a:pt x="6638" y="1374"/>
                </a:lnTo>
                <a:lnTo>
                  <a:pt x="6640" y="1374"/>
                </a:lnTo>
                <a:lnTo>
                  <a:pt x="6644" y="1376"/>
                </a:lnTo>
                <a:lnTo>
                  <a:pt x="6642" y="1378"/>
                </a:lnTo>
                <a:lnTo>
                  <a:pt x="6640" y="1380"/>
                </a:lnTo>
                <a:lnTo>
                  <a:pt x="6640" y="1382"/>
                </a:lnTo>
                <a:lnTo>
                  <a:pt x="6638" y="1382"/>
                </a:lnTo>
                <a:lnTo>
                  <a:pt x="6634" y="1382"/>
                </a:lnTo>
                <a:lnTo>
                  <a:pt x="6632" y="1382"/>
                </a:lnTo>
                <a:lnTo>
                  <a:pt x="6630" y="1382"/>
                </a:lnTo>
                <a:lnTo>
                  <a:pt x="6632" y="1386"/>
                </a:lnTo>
                <a:lnTo>
                  <a:pt x="6634" y="1388"/>
                </a:lnTo>
                <a:lnTo>
                  <a:pt x="6634" y="1390"/>
                </a:lnTo>
                <a:lnTo>
                  <a:pt x="6632" y="1394"/>
                </a:lnTo>
                <a:lnTo>
                  <a:pt x="6632" y="1396"/>
                </a:lnTo>
                <a:lnTo>
                  <a:pt x="6638" y="1398"/>
                </a:lnTo>
                <a:lnTo>
                  <a:pt x="6642" y="1398"/>
                </a:lnTo>
                <a:lnTo>
                  <a:pt x="6638" y="1400"/>
                </a:lnTo>
                <a:lnTo>
                  <a:pt x="6632" y="1402"/>
                </a:lnTo>
                <a:lnTo>
                  <a:pt x="6632" y="1404"/>
                </a:lnTo>
                <a:lnTo>
                  <a:pt x="6638" y="1404"/>
                </a:lnTo>
                <a:lnTo>
                  <a:pt x="6648" y="1402"/>
                </a:lnTo>
                <a:lnTo>
                  <a:pt x="6674" y="1396"/>
                </a:lnTo>
                <a:lnTo>
                  <a:pt x="6678" y="1396"/>
                </a:lnTo>
                <a:lnTo>
                  <a:pt x="6676" y="1398"/>
                </a:lnTo>
                <a:lnTo>
                  <a:pt x="6666" y="1402"/>
                </a:lnTo>
                <a:lnTo>
                  <a:pt x="6656" y="1404"/>
                </a:lnTo>
                <a:lnTo>
                  <a:pt x="6638" y="1408"/>
                </a:lnTo>
                <a:lnTo>
                  <a:pt x="6630" y="1408"/>
                </a:lnTo>
                <a:lnTo>
                  <a:pt x="6622" y="1412"/>
                </a:lnTo>
                <a:lnTo>
                  <a:pt x="6616" y="1414"/>
                </a:lnTo>
                <a:lnTo>
                  <a:pt x="6620" y="1414"/>
                </a:lnTo>
                <a:lnTo>
                  <a:pt x="6626" y="1414"/>
                </a:lnTo>
                <a:lnTo>
                  <a:pt x="6630" y="1416"/>
                </a:lnTo>
                <a:lnTo>
                  <a:pt x="6630" y="1418"/>
                </a:lnTo>
                <a:lnTo>
                  <a:pt x="6628" y="1422"/>
                </a:lnTo>
                <a:lnTo>
                  <a:pt x="6624" y="1422"/>
                </a:lnTo>
                <a:lnTo>
                  <a:pt x="6620" y="1426"/>
                </a:lnTo>
                <a:lnTo>
                  <a:pt x="6616" y="1432"/>
                </a:lnTo>
                <a:lnTo>
                  <a:pt x="6614" y="1436"/>
                </a:lnTo>
                <a:lnTo>
                  <a:pt x="6612" y="1438"/>
                </a:lnTo>
                <a:lnTo>
                  <a:pt x="6608" y="1438"/>
                </a:lnTo>
                <a:lnTo>
                  <a:pt x="6604" y="1440"/>
                </a:lnTo>
                <a:lnTo>
                  <a:pt x="6604" y="1444"/>
                </a:lnTo>
                <a:lnTo>
                  <a:pt x="6606" y="1450"/>
                </a:lnTo>
                <a:lnTo>
                  <a:pt x="6608" y="1450"/>
                </a:lnTo>
                <a:lnTo>
                  <a:pt x="6612" y="1450"/>
                </a:lnTo>
                <a:lnTo>
                  <a:pt x="6612" y="1454"/>
                </a:lnTo>
                <a:lnTo>
                  <a:pt x="6612" y="1458"/>
                </a:lnTo>
                <a:lnTo>
                  <a:pt x="6612" y="1460"/>
                </a:lnTo>
                <a:lnTo>
                  <a:pt x="6608" y="1464"/>
                </a:lnTo>
                <a:lnTo>
                  <a:pt x="6604" y="1468"/>
                </a:lnTo>
                <a:lnTo>
                  <a:pt x="6602" y="1468"/>
                </a:lnTo>
                <a:lnTo>
                  <a:pt x="6604" y="1470"/>
                </a:lnTo>
                <a:lnTo>
                  <a:pt x="6606" y="1474"/>
                </a:lnTo>
                <a:lnTo>
                  <a:pt x="6606" y="1478"/>
                </a:lnTo>
                <a:lnTo>
                  <a:pt x="6602" y="1482"/>
                </a:lnTo>
                <a:lnTo>
                  <a:pt x="6596" y="1484"/>
                </a:lnTo>
                <a:lnTo>
                  <a:pt x="6588" y="1484"/>
                </a:lnTo>
                <a:lnTo>
                  <a:pt x="6586" y="1486"/>
                </a:lnTo>
                <a:lnTo>
                  <a:pt x="6582" y="1488"/>
                </a:lnTo>
                <a:lnTo>
                  <a:pt x="6576" y="1490"/>
                </a:lnTo>
                <a:lnTo>
                  <a:pt x="6572" y="1490"/>
                </a:lnTo>
                <a:lnTo>
                  <a:pt x="6568" y="1492"/>
                </a:lnTo>
                <a:lnTo>
                  <a:pt x="6564" y="1494"/>
                </a:lnTo>
                <a:lnTo>
                  <a:pt x="6562" y="1494"/>
                </a:lnTo>
                <a:lnTo>
                  <a:pt x="6552" y="1492"/>
                </a:lnTo>
                <a:lnTo>
                  <a:pt x="6546" y="1494"/>
                </a:lnTo>
                <a:lnTo>
                  <a:pt x="6544" y="1496"/>
                </a:lnTo>
                <a:lnTo>
                  <a:pt x="6544" y="1498"/>
                </a:lnTo>
                <a:lnTo>
                  <a:pt x="6548" y="1498"/>
                </a:lnTo>
                <a:lnTo>
                  <a:pt x="6552" y="1498"/>
                </a:lnTo>
                <a:lnTo>
                  <a:pt x="6560" y="1498"/>
                </a:lnTo>
                <a:lnTo>
                  <a:pt x="6562" y="1500"/>
                </a:lnTo>
                <a:lnTo>
                  <a:pt x="6564" y="1500"/>
                </a:lnTo>
                <a:lnTo>
                  <a:pt x="6564" y="1504"/>
                </a:lnTo>
                <a:lnTo>
                  <a:pt x="6562" y="1506"/>
                </a:lnTo>
                <a:lnTo>
                  <a:pt x="6564" y="1506"/>
                </a:lnTo>
                <a:lnTo>
                  <a:pt x="6570" y="1502"/>
                </a:lnTo>
                <a:lnTo>
                  <a:pt x="6576" y="1500"/>
                </a:lnTo>
                <a:lnTo>
                  <a:pt x="6578" y="1500"/>
                </a:lnTo>
                <a:lnTo>
                  <a:pt x="6576" y="1504"/>
                </a:lnTo>
                <a:lnTo>
                  <a:pt x="6570" y="1506"/>
                </a:lnTo>
                <a:lnTo>
                  <a:pt x="6568" y="1508"/>
                </a:lnTo>
                <a:lnTo>
                  <a:pt x="6570" y="1512"/>
                </a:lnTo>
                <a:lnTo>
                  <a:pt x="6574" y="1514"/>
                </a:lnTo>
                <a:lnTo>
                  <a:pt x="6574" y="1516"/>
                </a:lnTo>
                <a:lnTo>
                  <a:pt x="6570" y="1520"/>
                </a:lnTo>
                <a:lnTo>
                  <a:pt x="6570" y="1524"/>
                </a:lnTo>
                <a:lnTo>
                  <a:pt x="6568" y="1524"/>
                </a:lnTo>
                <a:lnTo>
                  <a:pt x="6562" y="1526"/>
                </a:lnTo>
                <a:lnTo>
                  <a:pt x="6560" y="1526"/>
                </a:lnTo>
                <a:lnTo>
                  <a:pt x="6558" y="1524"/>
                </a:lnTo>
                <a:lnTo>
                  <a:pt x="6554" y="1520"/>
                </a:lnTo>
                <a:lnTo>
                  <a:pt x="6552" y="1516"/>
                </a:lnTo>
                <a:lnTo>
                  <a:pt x="6552" y="1514"/>
                </a:lnTo>
                <a:lnTo>
                  <a:pt x="6548" y="1514"/>
                </a:lnTo>
                <a:lnTo>
                  <a:pt x="6546" y="1516"/>
                </a:lnTo>
                <a:lnTo>
                  <a:pt x="6546" y="1518"/>
                </a:lnTo>
                <a:lnTo>
                  <a:pt x="6546" y="1520"/>
                </a:lnTo>
                <a:lnTo>
                  <a:pt x="6544" y="1520"/>
                </a:lnTo>
                <a:lnTo>
                  <a:pt x="6536" y="1522"/>
                </a:lnTo>
                <a:lnTo>
                  <a:pt x="6532" y="1524"/>
                </a:lnTo>
                <a:lnTo>
                  <a:pt x="6530" y="1528"/>
                </a:lnTo>
                <a:lnTo>
                  <a:pt x="6530" y="1530"/>
                </a:lnTo>
                <a:lnTo>
                  <a:pt x="6530" y="1534"/>
                </a:lnTo>
                <a:lnTo>
                  <a:pt x="6528" y="1536"/>
                </a:lnTo>
                <a:lnTo>
                  <a:pt x="6524" y="1538"/>
                </a:lnTo>
                <a:lnTo>
                  <a:pt x="6520" y="1538"/>
                </a:lnTo>
                <a:lnTo>
                  <a:pt x="6516" y="1540"/>
                </a:lnTo>
                <a:lnTo>
                  <a:pt x="6514" y="1544"/>
                </a:lnTo>
                <a:lnTo>
                  <a:pt x="6512" y="1552"/>
                </a:lnTo>
                <a:lnTo>
                  <a:pt x="6510" y="1556"/>
                </a:lnTo>
                <a:lnTo>
                  <a:pt x="6502" y="1562"/>
                </a:lnTo>
                <a:lnTo>
                  <a:pt x="6496" y="1566"/>
                </a:lnTo>
                <a:lnTo>
                  <a:pt x="6494" y="1570"/>
                </a:lnTo>
                <a:lnTo>
                  <a:pt x="6492" y="1572"/>
                </a:lnTo>
                <a:lnTo>
                  <a:pt x="6490" y="1576"/>
                </a:lnTo>
                <a:lnTo>
                  <a:pt x="6492" y="1578"/>
                </a:lnTo>
                <a:lnTo>
                  <a:pt x="6496" y="1576"/>
                </a:lnTo>
                <a:lnTo>
                  <a:pt x="6500" y="1574"/>
                </a:lnTo>
                <a:lnTo>
                  <a:pt x="6502" y="1574"/>
                </a:lnTo>
                <a:lnTo>
                  <a:pt x="6502" y="1576"/>
                </a:lnTo>
                <a:lnTo>
                  <a:pt x="6502" y="1578"/>
                </a:lnTo>
                <a:lnTo>
                  <a:pt x="6504" y="1580"/>
                </a:lnTo>
                <a:lnTo>
                  <a:pt x="6506" y="1582"/>
                </a:lnTo>
                <a:lnTo>
                  <a:pt x="6506" y="1584"/>
                </a:lnTo>
                <a:lnTo>
                  <a:pt x="6508" y="1586"/>
                </a:lnTo>
                <a:lnTo>
                  <a:pt x="6510" y="1588"/>
                </a:lnTo>
                <a:lnTo>
                  <a:pt x="6520" y="1586"/>
                </a:lnTo>
                <a:lnTo>
                  <a:pt x="6532" y="1582"/>
                </a:lnTo>
                <a:lnTo>
                  <a:pt x="6546" y="1572"/>
                </a:lnTo>
                <a:lnTo>
                  <a:pt x="6552" y="1566"/>
                </a:lnTo>
                <a:lnTo>
                  <a:pt x="6554" y="1564"/>
                </a:lnTo>
                <a:lnTo>
                  <a:pt x="6552" y="1562"/>
                </a:lnTo>
                <a:lnTo>
                  <a:pt x="6548" y="1562"/>
                </a:lnTo>
                <a:lnTo>
                  <a:pt x="6544" y="1562"/>
                </a:lnTo>
                <a:lnTo>
                  <a:pt x="6542" y="1562"/>
                </a:lnTo>
                <a:lnTo>
                  <a:pt x="6546" y="1560"/>
                </a:lnTo>
                <a:lnTo>
                  <a:pt x="6554" y="1554"/>
                </a:lnTo>
                <a:lnTo>
                  <a:pt x="6558" y="1552"/>
                </a:lnTo>
                <a:lnTo>
                  <a:pt x="6560" y="1552"/>
                </a:lnTo>
                <a:lnTo>
                  <a:pt x="6566" y="1552"/>
                </a:lnTo>
                <a:lnTo>
                  <a:pt x="6568" y="1554"/>
                </a:lnTo>
                <a:lnTo>
                  <a:pt x="6562" y="1558"/>
                </a:lnTo>
                <a:lnTo>
                  <a:pt x="6558" y="1560"/>
                </a:lnTo>
                <a:lnTo>
                  <a:pt x="6556" y="1562"/>
                </a:lnTo>
                <a:lnTo>
                  <a:pt x="6558" y="1564"/>
                </a:lnTo>
                <a:lnTo>
                  <a:pt x="6564" y="1566"/>
                </a:lnTo>
                <a:lnTo>
                  <a:pt x="6568" y="1568"/>
                </a:lnTo>
                <a:lnTo>
                  <a:pt x="6564" y="1570"/>
                </a:lnTo>
                <a:lnTo>
                  <a:pt x="6544" y="1580"/>
                </a:lnTo>
                <a:lnTo>
                  <a:pt x="6538" y="1584"/>
                </a:lnTo>
                <a:lnTo>
                  <a:pt x="6540" y="1584"/>
                </a:lnTo>
                <a:lnTo>
                  <a:pt x="6542" y="1584"/>
                </a:lnTo>
                <a:lnTo>
                  <a:pt x="6542" y="1586"/>
                </a:lnTo>
                <a:lnTo>
                  <a:pt x="6540" y="1588"/>
                </a:lnTo>
                <a:lnTo>
                  <a:pt x="6544" y="1590"/>
                </a:lnTo>
                <a:lnTo>
                  <a:pt x="6546" y="1592"/>
                </a:lnTo>
                <a:lnTo>
                  <a:pt x="6544" y="1594"/>
                </a:lnTo>
                <a:lnTo>
                  <a:pt x="6538" y="1594"/>
                </a:lnTo>
                <a:lnTo>
                  <a:pt x="6528" y="1592"/>
                </a:lnTo>
                <a:lnTo>
                  <a:pt x="6520" y="1592"/>
                </a:lnTo>
                <a:lnTo>
                  <a:pt x="6514" y="1594"/>
                </a:lnTo>
                <a:lnTo>
                  <a:pt x="6510" y="1596"/>
                </a:lnTo>
                <a:lnTo>
                  <a:pt x="6506" y="1600"/>
                </a:lnTo>
                <a:lnTo>
                  <a:pt x="6506" y="1598"/>
                </a:lnTo>
                <a:lnTo>
                  <a:pt x="6506" y="1594"/>
                </a:lnTo>
                <a:lnTo>
                  <a:pt x="6502" y="1586"/>
                </a:lnTo>
                <a:lnTo>
                  <a:pt x="6498" y="1580"/>
                </a:lnTo>
                <a:lnTo>
                  <a:pt x="6494" y="1580"/>
                </a:lnTo>
                <a:lnTo>
                  <a:pt x="6490" y="1582"/>
                </a:lnTo>
                <a:lnTo>
                  <a:pt x="6484" y="1584"/>
                </a:lnTo>
                <a:lnTo>
                  <a:pt x="6480" y="1586"/>
                </a:lnTo>
                <a:lnTo>
                  <a:pt x="6478" y="1586"/>
                </a:lnTo>
                <a:lnTo>
                  <a:pt x="6476" y="1590"/>
                </a:lnTo>
                <a:lnTo>
                  <a:pt x="6476" y="1594"/>
                </a:lnTo>
                <a:lnTo>
                  <a:pt x="6474" y="1592"/>
                </a:lnTo>
                <a:lnTo>
                  <a:pt x="6468" y="1590"/>
                </a:lnTo>
                <a:lnTo>
                  <a:pt x="6462" y="1592"/>
                </a:lnTo>
                <a:lnTo>
                  <a:pt x="6446" y="1598"/>
                </a:lnTo>
                <a:lnTo>
                  <a:pt x="6444" y="1600"/>
                </a:lnTo>
                <a:lnTo>
                  <a:pt x="6444" y="1602"/>
                </a:lnTo>
                <a:lnTo>
                  <a:pt x="6450" y="1606"/>
                </a:lnTo>
                <a:lnTo>
                  <a:pt x="6452" y="1608"/>
                </a:lnTo>
                <a:lnTo>
                  <a:pt x="6454" y="1610"/>
                </a:lnTo>
                <a:lnTo>
                  <a:pt x="6450" y="1612"/>
                </a:lnTo>
                <a:lnTo>
                  <a:pt x="6444" y="1612"/>
                </a:lnTo>
                <a:lnTo>
                  <a:pt x="6438" y="1614"/>
                </a:lnTo>
                <a:lnTo>
                  <a:pt x="6436" y="1614"/>
                </a:lnTo>
                <a:lnTo>
                  <a:pt x="6436" y="1616"/>
                </a:lnTo>
                <a:lnTo>
                  <a:pt x="6438" y="1618"/>
                </a:lnTo>
                <a:lnTo>
                  <a:pt x="6440" y="1620"/>
                </a:lnTo>
                <a:lnTo>
                  <a:pt x="6432" y="1618"/>
                </a:lnTo>
                <a:lnTo>
                  <a:pt x="6424" y="1616"/>
                </a:lnTo>
                <a:lnTo>
                  <a:pt x="6426" y="1618"/>
                </a:lnTo>
                <a:lnTo>
                  <a:pt x="6428" y="1622"/>
                </a:lnTo>
                <a:lnTo>
                  <a:pt x="6428" y="1624"/>
                </a:lnTo>
                <a:lnTo>
                  <a:pt x="6424" y="1624"/>
                </a:lnTo>
                <a:lnTo>
                  <a:pt x="6412" y="1626"/>
                </a:lnTo>
                <a:lnTo>
                  <a:pt x="6402" y="1624"/>
                </a:lnTo>
                <a:lnTo>
                  <a:pt x="6394" y="1624"/>
                </a:lnTo>
                <a:lnTo>
                  <a:pt x="6388" y="1624"/>
                </a:lnTo>
                <a:lnTo>
                  <a:pt x="6386" y="1628"/>
                </a:lnTo>
                <a:lnTo>
                  <a:pt x="6388" y="1632"/>
                </a:lnTo>
                <a:lnTo>
                  <a:pt x="6388" y="1634"/>
                </a:lnTo>
                <a:lnTo>
                  <a:pt x="6392" y="1636"/>
                </a:lnTo>
                <a:lnTo>
                  <a:pt x="6396" y="1638"/>
                </a:lnTo>
                <a:lnTo>
                  <a:pt x="6404" y="1638"/>
                </a:lnTo>
                <a:lnTo>
                  <a:pt x="6410" y="1636"/>
                </a:lnTo>
                <a:lnTo>
                  <a:pt x="6410" y="1638"/>
                </a:lnTo>
                <a:lnTo>
                  <a:pt x="6406" y="1642"/>
                </a:lnTo>
                <a:lnTo>
                  <a:pt x="6404" y="1646"/>
                </a:lnTo>
                <a:lnTo>
                  <a:pt x="6406" y="1648"/>
                </a:lnTo>
                <a:lnTo>
                  <a:pt x="6408" y="1652"/>
                </a:lnTo>
                <a:lnTo>
                  <a:pt x="6402" y="1650"/>
                </a:lnTo>
                <a:lnTo>
                  <a:pt x="6388" y="1646"/>
                </a:lnTo>
                <a:lnTo>
                  <a:pt x="6380" y="1646"/>
                </a:lnTo>
                <a:lnTo>
                  <a:pt x="6370" y="1648"/>
                </a:lnTo>
                <a:lnTo>
                  <a:pt x="6362" y="1650"/>
                </a:lnTo>
                <a:lnTo>
                  <a:pt x="6360" y="1652"/>
                </a:lnTo>
                <a:lnTo>
                  <a:pt x="6362" y="1654"/>
                </a:lnTo>
                <a:lnTo>
                  <a:pt x="6366" y="1654"/>
                </a:lnTo>
                <a:lnTo>
                  <a:pt x="6378" y="1656"/>
                </a:lnTo>
                <a:lnTo>
                  <a:pt x="6384" y="1658"/>
                </a:lnTo>
                <a:lnTo>
                  <a:pt x="6386" y="1662"/>
                </a:lnTo>
                <a:lnTo>
                  <a:pt x="6388" y="1666"/>
                </a:lnTo>
                <a:lnTo>
                  <a:pt x="6384" y="1664"/>
                </a:lnTo>
                <a:lnTo>
                  <a:pt x="6382" y="1662"/>
                </a:lnTo>
                <a:lnTo>
                  <a:pt x="6376" y="1662"/>
                </a:lnTo>
                <a:lnTo>
                  <a:pt x="6368" y="1662"/>
                </a:lnTo>
                <a:lnTo>
                  <a:pt x="6360" y="1664"/>
                </a:lnTo>
                <a:lnTo>
                  <a:pt x="6352" y="1668"/>
                </a:lnTo>
                <a:lnTo>
                  <a:pt x="6348" y="1670"/>
                </a:lnTo>
                <a:lnTo>
                  <a:pt x="6348" y="1672"/>
                </a:lnTo>
                <a:lnTo>
                  <a:pt x="6348" y="1674"/>
                </a:lnTo>
                <a:lnTo>
                  <a:pt x="6348" y="1676"/>
                </a:lnTo>
                <a:lnTo>
                  <a:pt x="6342" y="1676"/>
                </a:lnTo>
                <a:lnTo>
                  <a:pt x="6338" y="1674"/>
                </a:lnTo>
                <a:lnTo>
                  <a:pt x="6336" y="1676"/>
                </a:lnTo>
                <a:lnTo>
                  <a:pt x="6338" y="1678"/>
                </a:lnTo>
                <a:lnTo>
                  <a:pt x="6338" y="1680"/>
                </a:lnTo>
                <a:lnTo>
                  <a:pt x="6330" y="1680"/>
                </a:lnTo>
                <a:lnTo>
                  <a:pt x="6314" y="1678"/>
                </a:lnTo>
                <a:lnTo>
                  <a:pt x="6312" y="1678"/>
                </a:lnTo>
                <a:lnTo>
                  <a:pt x="6316" y="1684"/>
                </a:lnTo>
                <a:lnTo>
                  <a:pt x="6318" y="1686"/>
                </a:lnTo>
                <a:lnTo>
                  <a:pt x="6316" y="1686"/>
                </a:lnTo>
                <a:lnTo>
                  <a:pt x="6312" y="1686"/>
                </a:lnTo>
                <a:lnTo>
                  <a:pt x="6306" y="1686"/>
                </a:lnTo>
                <a:lnTo>
                  <a:pt x="6306" y="1688"/>
                </a:lnTo>
                <a:lnTo>
                  <a:pt x="6308" y="1690"/>
                </a:lnTo>
                <a:lnTo>
                  <a:pt x="6312" y="1692"/>
                </a:lnTo>
                <a:lnTo>
                  <a:pt x="6318" y="1694"/>
                </a:lnTo>
                <a:lnTo>
                  <a:pt x="6330" y="1694"/>
                </a:lnTo>
                <a:lnTo>
                  <a:pt x="6344" y="1694"/>
                </a:lnTo>
                <a:lnTo>
                  <a:pt x="6350" y="1696"/>
                </a:lnTo>
                <a:lnTo>
                  <a:pt x="6358" y="1698"/>
                </a:lnTo>
                <a:lnTo>
                  <a:pt x="6366" y="1702"/>
                </a:lnTo>
                <a:lnTo>
                  <a:pt x="6364" y="1702"/>
                </a:lnTo>
                <a:lnTo>
                  <a:pt x="6356" y="1702"/>
                </a:lnTo>
                <a:lnTo>
                  <a:pt x="6352" y="1702"/>
                </a:lnTo>
                <a:lnTo>
                  <a:pt x="6350" y="1702"/>
                </a:lnTo>
                <a:lnTo>
                  <a:pt x="6346" y="1704"/>
                </a:lnTo>
                <a:lnTo>
                  <a:pt x="6344" y="1702"/>
                </a:lnTo>
                <a:lnTo>
                  <a:pt x="6338" y="1698"/>
                </a:lnTo>
                <a:lnTo>
                  <a:pt x="6334" y="1696"/>
                </a:lnTo>
                <a:lnTo>
                  <a:pt x="6328" y="1696"/>
                </a:lnTo>
                <a:lnTo>
                  <a:pt x="6322" y="1698"/>
                </a:lnTo>
                <a:lnTo>
                  <a:pt x="6314" y="1702"/>
                </a:lnTo>
                <a:lnTo>
                  <a:pt x="6308" y="1706"/>
                </a:lnTo>
                <a:lnTo>
                  <a:pt x="6306" y="1710"/>
                </a:lnTo>
                <a:lnTo>
                  <a:pt x="6308" y="1714"/>
                </a:lnTo>
                <a:lnTo>
                  <a:pt x="6312" y="1716"/>
                </a:lnTo>
                <a:lnTo>
                  <a:pt x="6316" y="1720"/>
                </a:lnTo>
                <a:lnTo>
                  <a:pt x="6316" y="1722"/>
                </a:lnTo>
                <a:lnTo>
                  <a:pt x="6312" y="1724"/>
                </a:lnTo>
                <a:lnTo>
                  <a:pt x="6306" y="1728"/>
                </a:lnTo>
                <a:lnTo>
                  <a:pt x="6308" y="1730"/>
                </a:lnTo>
                <a:lnTo>
                  <a:pt x="6312" y="1732"/>
                </a:lnTo>
                <a:lnTo>
                  <a:pt x="6312" y="1734"/>
                </a:lnTo>
                <a:lnTo>
                  <a:pt x="6312" y="1736"/>
                </a:lnTo>
                <a:lnTo>
                  <a:pt x="6310" y="1738"/>
                </a:lnTo>
                <a:lnTo>
                  <a:pt x="6310" y="1740"/>
                </a:lnTo>
                <a:lnTo>
                  <a:pt x="6310" y="1744"/>
                </a:lnTo>
                <a:lnTo>
                  <a:pt x="6312" y="1746"/>
                </a:lnTo>
                <a:lnTo>
                  <a:pt x="6316" y="1748"/>
                </a:lnTo>
                <a:lnTo>
                  <a:pt x="6320" y="1748"/>
                </a:lnTo>
                <a:lnTo>
                  <a:pt x="6326" y="1748"/>
                </a:lnTo>
                <a:lnTo>
                  <a:pt x="6332" y="1744"/>
                </a:lnTo>
                <a:lnTo>
                  <a:pt x="6338" y="1742"/>
                </a:lnTo>
                <a:lnTo>
                  <a:pt x="6344" y="1742"/>
                </a:lnTo>
                <a:lnTo>
                  <a:pt x="6354" y="1744"/>
                </a:lnTo>
                <a:lnTo>
                  <a:pt x="6362" y="1744"/>
                </a:lnTo>
                <a:lnTo>
                  <a:pt x="6366" y="1744"/>
                </a:lnTo>
                <a:lnTo>
                  <a:pt x="6368" y="1740"/>
                </a:lnTo>
                <a:lnTo>
                  <a:pt x="6370" y="1736"/>
                </a:lnTo>
                <a:lnTo>
                  <a:pt x="6372" y="1736"/>
                </a:lnTo>
                <a:lnTo>
                  <a:pt x="6376" y="1738"/>
                </a:lnTo>
                <a:lnTo>
                  <a:pt x="6384" y="1742"/>
                </a:lnTo>
                <a:lnTo>
                  <a:pt x="6388" y="1742"/>
                </a:lnTo>
                <a:lnTo>
                  <a:pt x="6394" y="1742"/>
                </a:lnTo>
                <a:lnTo>
                  <a:pt x="6404" y="1742"/>
                </a:lnTo>
                <a:lnTo>
                  <a:pt x="6410" y="1742"/>
                </a:lnTo>
                <a:lnTo>
                  <a:pt x="6408" y="1744"/>
                </a:lnTo>
                <a:lnTo>
                  <a:pt x="6400" y="1746"/>
                </a:lnTo>
                <a:lnTo>
                  <a:pt x="6394" y="1748"/>
                </a:lnTo>
                <a:lnTo>
                  <a:pt x="6392" y="1752"/>
                </a:lnTo>
                <a:lnTo>
                  <a:pt x="6392" y="1754"/>
                </a:lnTo>
                <a:lnTo>
                  <a:pt x="6392" y="1756"/>
                </a:lnTo>
                <a:lnTo>
                  <a:pt x="6392" y="1758"/>
                </a:lnTo>
                <a:lnTo>
                  <a:pt x="6384" y="1750"/>
                </a:lnTo>
                <a:lnTo>
                  <a:pt x="6378" y="1746"/>
                </a:lnTo>
                <a:lnTo>
                  <a:pt x="6374" y="1744"/>
                </a:lnTo>
                <a:lnTo>
                  <a:pt x="6372" y="1746"/>
                </a:lnTo>
                <a:lnTo>
                  <a:pt x="6370" y="1748"/>
                </a:lnTo>
                <a:lnTo>
                  <a:pt x="6366" y="1750"/>
                </a:lnTo>
                <a:lnTo>
                  <a:pt x="6364" y="1752"/>
                </a:lnTo>
                <a:lnTo>
                  <a:pt x="6360" y="1750"/>
                </a:lnTo>
                <a:lnTo>
                  <a:pt x="6356" y="1748"/>
                </a:lnTo>
                <a:lnTo>
                  <a:pt x="6350" y="1748"/>
                </a:lnTo>
                <a:lnTo>
                  <a:pt x="6340" y="1750"/>
                </a:lnTo>
                <a:lnTo>
                  <a:pt x="6330" y="1754"/>
                </a:lnTo>
                <a:lnTo>
                  <a:pt x="6324" y="1754"/>
                </a:lnTo>
                <a:lnTo>
                  <a:pt x="6320" y="1754"/>
                </a:lnTo>
                <a:lnTo>
                  <a:pt x="6310" y="1752"/>
                </a:lnTo>
                <a:lnTo>
                  <a:pt x="6310" y="1754"/>
                </a:lnTo>
                <a:lnTo>
                  <a:pt x="6310" y="1760"/>
                </a:lnTo>
                <a:lnTo>
                  <a:pt x="6310" y="1764"/>
                </a:lnTo>
                <a:lnTo>
                  <a:pt x="6312" y="1764"/>
                </a:lnTo>
                <a:lnTo>
                  <a:pt x="6316" y="1766"/>
                </a:lnTo>
                <a:lnTo>
                  <a:pt x="6320" y="1766"/>
                </a:lnTo>
                <a:lnTo>
                  <a:pt x="6322" y="1768"/>
                </a:lnTo>
                <a:lnTo>
                  <a:pt x="6322" y="1770"/>
                </a:lnTo>
                <a:lnTo>
                  <a:pt x="6322" y="1774"/>
                </a:lnTo>
                <a:lnTo>
                  <a:pt x="6320" y="1774"/>
                </a:lnTo>
                <a:lnTo>
                  <a:pt x="6314" y="1772"/>
                </a:lnTo>
                <a:lnTo>
                  <a:pt x="6310" y="1770"/>
                </a:lnTo>
                <a:lnTo>
                  <a:pt x="6308" y="1772"/>
                </a:lnTo>
                <a:lnTo>
                  <a:pt x="6310" y="1774"/>
                </a:lnTo>
                <a:lnTo>
                  <a:pt x="6312" y="1778"/>
                </a:lnTo>
                <a:lnTo>
                  <a:pt x="6314" y="1780"/>
                </a:lnTo>
                <a:lnTo>
                  <a:pt x="6318" y="1780"/>
                </a:lnTo>
                <a:lnTo>
                  <a:pt x="6322" y="1780"/>
                </a:lnTo>
                <a:lnTo>
                  <a:pt x="6324" y="1782"/>
                </a:lnTo>
                <a:lnTo>
                  <a:pt x="6324" y="1786"/>
                </a:lnTo>
                <a:lnTo>
                  <a:pt x="6322" y="1790"/>
                </a:lnTo>
                <a:lnTo>
                  <a:pt x="6320" y="1792"/>
                </a:lnTo>
                <a:lnTo>
                  <a:pt x="6314" y="1796"/>
                </a:lnTo>
                <a:lnTo>
                  <a:pt x="6310" y="1798"/>
                </a:lnTo>
                <a:lnTo>
                  <a:pt x="6320" y="1808"/>
                </a:lnTo>
                <a:lnTo>
                  <a:pt x="6324" y="1810"/>
                </a:lnTo>
                <a:lnTo>
                  <a:pt x="6328" y="1806"/>
                </a:lnTo>
                <a:lnTo>
                  <a:pt x="6330" y="1806"/>
                </a:lnTo>
                <a:lnTo>
                  <a:pt x="6332" y="1808"/>
                </a:lnTo>
                <a:lnTo>
                  <a:pt x="6334" y="1810"/>
                </a:lnTo>
                <a:lnTo>
                  <a:pt x="6336" y="1810"/>
                </a:lnTo>
                <a:lnTo>
                  <a:pt x="6338" y="1808"/>
                </a:lnTo>
                <a:lnTo>
                  <a:pt x="6338" y="1814"/>
                </a:lnTo>
                <a:lnTo>
                  <a:pt x="6338" y="1818"/>
                </a:lnTo>
                <a:lnTo>
                  <a:pt x="6338" y="1820"/>
                </a:lnTo>
                <a:lnTo>
                  <a:pt x="6340" y="1820"/>
                </a:lnTo>
                <a:lnTo>
                  <a:pt x="6342" y="1818"/>
                </a:lnTo>
                <a:lnTo>
                  <a:pt x="6344" y="1816"/>
                </a:lnTo>
                <a:lnTo>
                  <a:pt x="6344" y="1812"/>
                </a:lnTo>
                <a:lnTo>
                  <a:pt x="6346" y="1806"/>
                </a:lnTo>
                <a:lnTo>
                  <a:pt x="6348" y="1804"/>
                </a:lnTo>
                <a:lnTo>
                  <a:pt x="6350" y="1802"/>
                </a:lnTo>
                <a:lnTo>
                  <a:pt x="6352" y="1804"/>
                </a:lnTo>
                <a:lnTo>
                  <a:pt x="6354" y="1806"/>
                </a:lnTo>
                <a:lnTo>
                  <a:pt x="6350" y="1812"/>
                </a:lnTo>
                <a:lnTo>
                  <a:pt x="6346" y="1820"/>
                </a:lnTo>
                <a:lnTo>
                  <a:pt x="6338" y="1826"/>
                </a:lnTo>
                <a:lnTo>
                  <a:pt x="6336" y="1828"/>
                </a:lnTo>
                <a:lnTo>
                  <a:pt x="6334" y="1828"/>
                </a:lnTo>
                <a:lnTo>
                  <a:pt x="6338" y="1832"/>
                </a:lnTo>
                <a:lnTo>
                  <a:pt x="6342" y="1834"/>
                </a:lnTo>
                <a:lnTo>
                  <a:pt x="6342" y="1836"/>
                </a:lnTo>
                <a:lnTo>
                  <a:pt x="6340" y="1838"/>
                </a:lnTo>
                <a:lnTo>
                  <a:pt x="6336" y="1840"/>
                </a:lnTo>
                <a:lnTo>
                  <a:pt x="6334" y="1840"/>
                </a:lnTo>
                <a:lnTo>
                  <a:pt x="6332" y="1840"/>
                </a:lnTo>
                <a:lnTo>
                  <a:pt x="6328" y="1838"/>
                </a:lnTo>
                <a:lnTo>
                  <a:pt x="6320" y="1844"/>
                </a:lnTo>
                <a:lnTo>
                  <a:pt x="6318" y="1848"/>
                </a:lnTo>
                <a:lnTo>
                  <a:pt x="6316" y="1852"/>
                </a:lnTo>
                <a:lnTo>
                  <a:pt x="6316" y="1858"/>
                </a:lnTo>
                <a:lnTo>
                  <a:pt x="6318" y="1862"/>
                </a:lnTo>
                <a:lnTo>
                  <a:pt x="6324" y="1866"/>
                </a:lnTo>
                <a:lnTo>
                  <a:pt x="6328" y="1866"/>
                </a:lnTo>
                <a:lnTo>
                  <a:pt x="6330" y="1864"/>
                </a:lnTo>
                <a:lnTo>
                  <a:pt x="6330" y="1862"/>
                </a:lnTo>
                <a:lnTo>
                  <a:pt x="6332" y="1862"/>
                </a:lnTo>
                <a:lnTo>
                  <a:pt x="6336" y="1864"/>
                </a:lnTo>
                <a:lnTo>
                  <a:pt x="6338" y="1864"/>
                </a:lnTo>
                <a:lnTo>
                  <a:pt x="6340" y="1862"/>
                </a:lnTo>
                <a:lnTo>
                  <a:pt x="6342" y="1858"/>
                </a:lnTo>
                <a:lnTo>
                  <a:pt x="6344" y="1858"/>
                </a:lnTo>
                <a:lnTo>
                  <a:pt x="6348" y="1858"/>
                </a:lnTo>
                <a:lnTo>
                  <a:pt x="6350" y="1862"/>
                </a:lnTo>
                <a:lnTo>
                  <a:pt x="6348" y="1864"/>
                </a:lnTo>
                <a:lnTo>
                  <a:pt x="6346" y="1866"/>
                </a:lnTo>
                <a:lnTo>
                  <a:pt x="6344" y="1868"/>
                </a:lnTo>
                <a:lnTo>
                  <a:pt x="6346" y="1870"/>
                </a:lnTo>
                <a:lnTo>
                  <a:pt x="6348" y="1872"/>
                </a:lnTo>
                <a:lnTo>
                  <a:pt x="6346" y="1876"/>
                </a:lnTo>
                <a:lnTo>
                  <a:pt x="6344" y="1878"/>
                </a:lnTo>
                <a:lnTo>
                  <a:pt x="6346" y="1882"/>
                </a:lnTo>
                <a:lnTo>
                  <a:pt x="6348" y="1884"/>
                </a:lnTo>
                <a:lnTo>
                  <a:pt x="6346" y="1886"/>
                </a:lnTo>
                <a:lnTo>
                  <a:pt x="6342" y="1888"/>
                </a:lnTo>
                <a:lnTo>
                  <a:pt x="6338" y="1890"/>
                </a:lnTo>
                <a:lnTo>
                  <a:pt x="6336" y="1888"/>
                </a:lnTo>
                <a:lnTo>
                  <a:pt x="6332" y="1884"/>
                </a:lnTo>
                <a:lnTo>
                  <a:pt x="6330" y="1884"/>
                </a:lnTo>
                <a:lnTo>
                  <a:pt x="6328" y="1892"/>
                </a:lnTo>
                <a:lnTo>
                  <a:pt x="6326" y="1904"/>
                </a:lnTo>
                <a:lnTo>
                  <a:pt x="6330" y="1910"/>
                </a:lnTo>
                <a:lnTo>
                  <a:pt x="6338" y="1916"/>
                </a:lnTo>
                <a:lnTo>
                  <a:pt x="6342" y="1918"/>
                </a:lnTo>
                <a:lnTo>
                  <a:pt x="6346" y="1918"/>
                </a:lnTo>
                <a:lnTo>
                  <a:pt x="6348" y="1920"/>
                </a:lnTo>
                <a:lnTo>
                  <a:pt x="6352" y="1926"/>
                </a:lnTo>
                <a:lnTo>
                  <a:pt x="6358" y="1928"/>
                </a:lnTo>
                <a:lnTo>
                  <a:pt x="6372" y="1934"/>
                </a:lnTo>
                <a:lnTo>
                  <a:pt x="6374" y="1936"/>
                </a:lnTo>
                <a:lnTo>
                  <a:pt x="6374" y="1938"/>
                </a:lnTo>
                <a:lnTo>
                  <a:pt x="6372" y="1940"/>
                </a:lnTo>
                <a:lnTo>
                  <a:pt x="6372" y="1942"/>
                </a:lnTo>
                <a:lnTo>
                  <a:pt x="6374" y="1944"/>
                </a:lnTo>
                <a:lnTo>
                  <a:pt x="6376" y="1946"/>
                </a:lnTo>
                <a:lnTo>
                  <a:pt x="6378" y="1944"/>
                </a:lnTo>
                <a:lnTo>
                  <a:pt x="6380" y="1942"/>
                </a:lnTo>
                <a:lnTo>
                  <a:pt x="6384" y="1944"/>
                </a:lnTo>
                <a:lnTo>
                  <a:pt x="6390" y="1946"/>
                </a:lnTo>
                <a:lnTo>
                  <a:pt x="6390" y="1948"/>
                </a:lnTo>
                <a:lnTo>
                  <a:pt x="6390" y="1950"/>
                </a:lnTo>
                <a:lnTo>
                  <a:pt x="6394" y="1948"/>
                </a:lnTo>
                <a:lnTo>
                  <a:pt x="6404" y="1946"/>
                </a:lnTo>
                <a:lnTo>
                  <a:pt x="6418" y="1944"/>
                </a:lnTo>
                <a:lnTo>
                  <a:pt x="6430" y="1942"/>
                </a:lnTo>
                <a:lnTo>
                  <a:pt x="6436" y="1940"/>
                </a:lnTo>
                <a:lnTo>
                  <a:pt x="6440" y="1938"/>
                </a:lnTo>
                <a:lnTo>
                  <a:pt x="6444" y="1934"/>
                </a:lnTo>
                <a:lnTo>
                  <a:pt x="6452" y="1930"/>
                </a:lnTo>
                <a:lnTo>
                  <a:pt x="6458" y="1926"/>
                </a:lnTo>
                <a:lnTo>
                  <a:pt x="6464" y="1918"/>
                </a:lnTo>
                <a:lnTo>
                  <a:pt x="6466" y="1914"/>
                </a:lnTo>
                <a:lnTo>
                  <a:pt x="6470" y="1912"/>
                </a:lnTo>
                <a:lnTo>
                  <a:pt x="6474" y="1910"/>
                </a:lnTo>
                <a:lnTo>
                  <a:pt x="6478" y="1910"/>
                </a:lnTo>
                <a:lnTo>
                  <a:pt x="6478" y="1906"/>
                </a:lnTo>
                <a:lnTo>
                  <a:pt x="6478" y="1904"/>
                </a:lnTo>
                <a:lnTo>
                  <a:pt x="6480" y="1902"/>
                </a:lnTo>
                <a:lnTo>
                  <a:pt x="6484" y="1902"/>
                </a:lnTo>
                <a:lnTo>
                  <a:pt x="6488" y="1900"/>
                </a:lnTo>
                <a:lnTo>
                  <a:pt x="6488" y="1898"/>
                </a:lnTo>
                <a:lnTo>
                  <a:pt x="6486" y="1896"/>
                </a:lnTo>
                <a:lnTo>
                  <a:pt x="6482" y="1894"/>
                </a:lnTo>
                <a:lnTo>
                  <a:pt x="6482" y="1892"/>
                </a:lnTo>
                <a:lnTo>
                  <a:pt x="6488" y="1892"/>
                </a:lnTo>
                <a:lnTo>
                  <a:pt x="6494" y="1890"/>
                </a:lnTo>
                <a:lnTo>
                  <a:pt x="6496" y="1888"/>
                </a:lnTo>
                <a:lnTo>
                  <a:pt x="6496" y="1884"/>
                </a:lnTo>
                <a:lnTo>
                  <a:pt x="6498" y="1880"/>
                </a:lnTo>
                <a:lnTo>
                  <a:pt x="6500" y="1882"/>
                </a:lnTo>
                <a:lnTo>
                  <a:pt x="6504" y="1886"/>
                </a:lnTo>
                <a:lnTo>
                  <a:pt x="6506" y="1886"/>
                </a:lnTo>
                <a:lnTo>
                  <a:pt x="6508" y="1886"/>
                </a:lnTo>
                <a:lnTo>
                  <a:pt x="6514" y="1884"/>
                </a:lnTo>
                <a:lnTo>
                  <a:pt x="6518" y="1884"/>
                </a:lnTo>
                <a:lnTo>
                  <a:pt x="6522" y="1882"/>
                </a:lnTo>
                <a:lnTo>
                  <a:pt x="6522" y="1876"/>
                </a:lnTo>
                <a:lnTo>
                  <a:pt x="6524" y="1872"/>
                </a:lnTo>
                <a:lnTo>
                  <a:pt x="6524" y="1870"/>
                </a:lnTo>
                <a:lnTo>
                  <a:pt x="6528" y="1866"/>
                </a:lnTo>
                <a:lnTo>
                  <a:pt x="6530" y="1866"/>
                </a:lnTo>
                <a:lnTo>
                  <a:pt x="6530" y="1864"/>
                </a:lnTo>
                <a:lnTo>
                  <a:pt x="6528" y="1858"/>
                </a:lnTo>
                <a:lnTo>
                  <a:pt x="6524" y="1854"/>
                </a:lnTo>
                <a:lnTo>
                  <a:pt x="6522" y="1848"/>
                </a:lnTo>
                <a:lnTo>
                  <a:pt x="6524" y="1846"/>
                </a:lnTo>
                <a:lnTo>
                  <a:pt x="6528" y="1848"/>
                </a:lnTo>
                <a:lnTo>
                  <a:pt x="6530" y="1850"/>
                </a:lnTo>
                <a:lnTo>
                  <a:pt x="6532" y="1850"/>
                </a:lnTo>
                <a:lnTo>
                  <a:pt x="6534" y="1848"/>
                </a:lnTo>
                <a:lnTo>
                  <a:pt x="6536" y="1846"/>
                </a:lnTo>
                <a:lnTo>
                  <a:pt x="6536" y="1848"/>
                </a:lnTo>
                <a:lnTo>
                  <a:pt x="6536" y="1852"/>
                </a:lnTo>
                <a:lnTo>
                  <a:pt x="6534" y="1854"/>
                </a:lnTo>
                <a:lnTo>
                  <a:pt x="6534" y="1856"/>
                </a:lnTo>
                <a:lnTo>
                  <a:pt x="6536" y="1860"/>
                </a:lnTo>
                <a:lnTo>
                  <a:pt x="6540" y="1864"/>
                </a:lnTo>
                <a:lnTo>
                  <a:pt x="6540" y="1870"/>
                </a:lnTo>
                <a:lnTo>
                  <a:pt x="6540" y="1872"/>
                </a:lnTo>
                <a:lnTo>
                  <a:pt x="6546" y="1874"/>
                </a:lnTo>
                <a:lnTo>
                  <a:pt x="6550" y="1874"/>
                </a:lnTo>
                <a:lnTo>
                  <a:pt x="6554" y="1876"/>
                </a:lnTo>
                <a:lnTo>
                  <a:pt x="6560" y="1878"/>
                </a:lnTo>
                <a:lnTo>
                  <a:pt x="6558" y="1880"/>
                </a:lnTo>
                <a:lnTo>
                  <a:pt x="6558" y="1884"/>
                </a:lnTo>
                <a:lnTo>
                  <a:pt x="6556" y="1888"/>
                </a:lnTo>
                <a:lnTo>
                  <a:pt x="6558" y="1894"/>
                </a:lnTo>
                <a:lnTo>
                  <a:pt x="6560" y="1902"/>
                </a:lnTo>
                <a:lnTo>
                  <a:pt x="6560" y="1910"/>
                </a:lnTo>
                <a:lnTo>
                  <a:pt x="6560" y="1920"/>
                </a:lnTo>
                <a:lnTo>
                  <a:pt x="6560" y="1924"/>
                </a:lnTo>
                <a:lnTo>
                  <a:pt x="6564" y="1930"/>
                </a:lnTo>
                <a:lnTo>
                  <a:pt x="6566" y="1932"/>
                </a:lnTo>
                <a:lnTo>
                  <a:pt x="6570" y="1934"/>
                </a:lnTo>
                <a:lnTo>
                  <a:pt x="6576" y="1930"/>
                </a:lnTo>
                <a:lnTo>
                  <a:pt x="6580" y="1928"/>
                </a:lnTo>
                <a:lnTo>
                  <a:pt x="6582" y="1928"/>
                </a:lnTo>
                <a:lnTo>
                  <a:pt x="6584" y="1932"/>
                </a:lnTo>
                <a:lnTo>
                  <a:pt x="6586" y="1936"/>
                </a:lnTo>
                <a:lnTo>
                  <a:pt x="6586" y="1940"/>
                </a:lnTo>
                <a:lnTo>
                  <a:pt x="6584" y="1946"/>
                </a:lnTo>
                <a:lnTo>
                  <a:pt x="6582" y="1954"/>
                </a:lnTo>
                <a:lnTo>
                  <a:pt x="6582" y="1960"/>
                </a:lnTo>
                <a:lnTo>
                  <a:pt x="6584" y="1968"/>
                </a:lnTo>
                <a:lnTo>
                  <a:pt x="6592" y="1988"/>
                </a:lnTo>
                <a:lnTo>
                  <a:pt x="6602" y="2010"/>
                </a:lnTo>
                <a:lnTo>
                  <a:pt x="6612" y="2028"/>
                </a:lnTo>
                <a:lnTo>
                  <a:pt x="6618" y="2032"/>
                </a:lnTo>
                <a:lnTo>
                  <a:pt x="6622" y="2034"/>
                </a:lnTo>
                <a:lnTo>
                  <a:pt x="6628" y="2034"/>
                </a:lnTo>
                <a:lnTo>
                  <a:pt x="6628" y="2036"/>
                </a:lnTo>
                <a:lnTo>
                  <a:pt x="6630" y="2038"/>
                </a:lnTo>
                <a:lnTo>
                  <a:pt x="6626" y="2042"/>
                </a:lnTo>
                <a:lnTo>
                  <a:pt x="6620" y="2046"/>
                </a:lnTo>
                <a:lnTo>
                  <a:pt x="6618" y="2048"/>
                </a:lnTo>
                <a:lnTo>
                  <a:pt x="6618" y="2050"/>
                </a:lnTo>
                <a:lnTo>
                  <a:pt x="6620" y="2056"/>
                </a:lnTo>
                <a:lnTo>
                  <a:pt x="6622" y="2060"/>
                </a:lnTo>
                <a:lnTo>
                  <a:pt x="6616" y="2058"/>
                </a:lnTo>
                <a:lnTo>
                  <a:pt x="6610" y="2056"/>
                </a:lnTo>
                <a:lnTo>
                  <a:pt x="6610" y="2058"/>
                </a:lnTo>
                <a:lnTo>
                  <a:pt x="6618" y="2068"/>
                </a:lnTo>
                <a:lnTo>
                  <a:pt x="6624" y="2076"/>
                </a:lnTo>
                <a:lnTo>
                  <a:pt x="6628" y="2086"/>
                </a:lnTo>
                <a:lnTo>
                  <a:pt x="6630" y="2094"/>
                </a:lnTo>
                <a:lnTo>
                  <a:pt x="6630" y="2098"/>
                </a:lnTo>
                <a:lnTo>
                  <a:pt x="6628" y="2104"/>
                </a:lnTo>
                <a:lnTo>
                  <a:pt x="6626" y="2110"/>
                </a:lnTo>
                <a:lnTo>
                  <a:pt x="6626" y="2114"/>
                </a:lnTo>
                <a:lnTo>
                  <a:pt x="6632" y="2116"/>
                </a:lnTo>
                <a:lnTo>
                  <a:pt x="6638" y="2114"/>
                </a:lnTo>
                <a:lnTo>
                  <a:pt x="6656" y="2112"/>
                </a:lnTo>
                <a:lnTo>
                  <a:pt x="6666" y="2112"/>
                </a:lnTo>
                <a:lnTo>
                  <a:pt x="6674" y="2112"/>
                </a:lnTo>
                <a:lnTo>
                  <a:pt x="6680" y="2110"/>
                </a:lnTo>
                <a:lnTo>
                  <a:pt x="6682" y="2106"/>
                </a:lnTo>
                <a:lnTo>
                  <a:pt x="6684" y="2092"/>
                </a:lnTo>
                <a:lnTo>
                  <a:pt x="6684" y="2084"/>
                </a:lnTo>
                <a:lnTo>
                  <a:pt x="6686" y="2078"/>
                </a:lnTo>
                <a:lnTo>
                  <a:pt x="6690" y="2074"/>
                </a:lnTo>
                <a:lnTo>
                  <a:pt x="6694" y="2074"/>
                </a:lnTo>
                <a:lnTo>
                  <a:pt x="6702" y="2074"/>
                </a:lnTo>
                <a:lnTo>
                  <a:pt x="6702" y="2070"/>
                </a:lnTo>
                <a:lnTo>
                  <a:pt x="6702" y="2068"/>
                </a:lnTo>
                <a:lnTo>
                  <a:pt x="6704" y="2066"/>
                </a:lnTo>
                <a:lnTo>
                  <a:pt x="6710" y="2064"/>
                </a:lnTo>
                <a:lnTo>
                  <a:pt x="6718" y="2064"/>
                </a:lnTo>
                <a:lnTo>
                  <a:pt x="6728" y="2062"/>
                </a:lnTo>
                <a:lnTo>
                  <a:pt x="6734" y="2064"/>
                </a:lnTo>
                <a:lnTo>
                  <a:pt x="6744" y="2068"/>
                </a:lnTo>
                <a:lnTo>
                  <a:pt x="6746" y="2068"/>
                </a:lnTo>
                <a:lnTo>
                  <a:pt x="6748" y="2066"/>
                </a:lnTo>
                <a:lnTo>
                  <a:pt x="6754" y="2054"/>
                </a:lnTo>
                <a:lnTo>
                  <a:pt x="6760" y="2038"/>
                </a:lnTo>
                <a:lnTo>
                  <a:pt x="6766" y="2026"/>
                </a:lnTo>
                <a:lnTo>
                  <a:pt x="6770" y="2018"/>
                </a:lnTo>
                <a:lnTo>
                  <a:pt x="6772" y="2010"/>
                </a:lnTo>
                <a:lnTo>
                  <a:pt x="6772" y="2002"/>
                </a:lnTo>
                <a:lnTo>
                  <a:pt x="6774" y="1992"/>
                </a:lnTo>
                <a:lnTo>
                  <a:pt x="6776" y="1984"/>
                </a:lnTo>
                <a:lnTo>
                  <a:pt x="6776" y="1976"/>
                </a:lnTo>
                <a:lnTo>
                  <a:pt x="6776" y="1972"/>
                </a:lnTo>
                <a:lnTo>
                  <a:pt x="6776" y="1968"/>
                </a:lnTo>
                <a:lnTo>
                  <a:pt x="6780" y="1962"/>
                </a:lnTo>
                <a:lnTo>
                  <a:pt x="6782" y="1956"/>
                </a:lnTo>
                <a:lnTo>
                  <a:pt x="6782" y="1952"/>
                </a:lnTo>
                <a:lnTo>
                  <a:pt x="6782" y="1948"/>
                </a:lnTo>
                <a:lnTo>
                  <a:pt x="6780" y="1944"/>
                </a:lnTo>
                <a:lnTo>
                  <a:pt x="6782" y="1940"/>
                </a:lnTo>
                <a:lnTo>
                  <a:pt x="6784" y="1934"/>
                </a:lnTo>
                <a:lnTo>
                  <a:pt x="6782" y="1928"/>
                </a:lnTo>
                <a:lnTo>
                  <a:pt x="6780" y="1924"/>
                </a:lnTo>
                <a:lnTo>
                  <a:pt x="6780" y="1922"/>
                </a:lnTo>
                <a:lnTo>
                  <a:pt x="6782" y="1920"/>
                </a:lnTo>
                <a:lnTo>
                  <a:pt x="6786" y="1920"/>
                </a:lnTo>
                <a:lnTo>
                  <a:pt x="6786" y="1918"/>
                </a:lnTo>
                <a:lnTo>
                  <a:pt x="6784" y="1916"/>
                </a:lnTo>
                <a:lnTo>
                  <a:pt x="6784" y="1912"/>
                </a:lnTo>
                <a:lnTo>
                  <a:pt x="6786" y="1910"/>
                </a:lnTo>
                <a:lnTo>
                  <a:pt x="6796" y="1906"/>
                </a:lnTo>
                <a:lnTo>
                  <a:pt x="6810" y="1900"/>
                </a:lnTo>
                <a:lnTo>
                  <a:pt x="6814" y="1896"/>
                </a:lnTo>
                <a:lnTo>
                  <a:pt x="6816" y="1892"/>
                </a:lnTo>
                <a:lnTo>
                  <a:pt x="6818" y="1888"/>
                </a:lnTo>
                <a:lnTo>
                  <a:pt x="6820" y="1886"/>
                </a:lnTo>
                <a:lnTo>
                  <a:pt x="6822" y="1888"/>
                </a:lnTo>
                <a:lnTo>
                  <a:pt x="6826" y="1892"/>
                </a:lnTo>
                <a:lnTo>
                  <a:pt x="6828" y="1892"/>
                </a:lnTo>
                <a:lnTo>
                  <a:pt x="6830" y="1890"/>
                </a:lnTo>
                <a:lnTo>
                  <a:pt x="6836" y="1882"/>
                </a:lnTo>
                <a:lnTo>
                  <a:pt x="6842" y="1880"/>
                </a:lnTo>
                <a:lnTo>
                  <a:pt x="6848" y="1876"/>
                </a:lnTo>
                <a:lnTo>
                  <a:pt x="6848" y="1874"/>
                </a:lnTo>
                <a:lnTo>
                  <a:pt x="6848" y="1872"/>
                </a:lnTo>
                <a:lnTo>
                  <a:pt x="6850" y="1872"/>
                </a:lnTo>
                <a:lnTo>
                  <a:pt x="6854" y="1870"/>
                </a:lnTo>
                <a:lnTo>
                  <a:pt x="6856" y="1868"/>
                </a:lnTo>
                <a:lnTo>
                  <a:pt x="6858" y="1866"/>
                </a:lnTo>
                <a:lnTo>
                  <a:pt x="6856" y="1864"/>
                </a:lnTo>
                <a:lnTo>
                  <a:pt x="6854" y="1858"/>
                </a:lnTo>
                <a:lnTo>
                  <a:pt x="6852" y="1856"/>
                </a:lnTo>
                <a:lnTo>
                  <a:pt x="6848" y="1858"/>
                </a:lnTo>
                <a:lnTo>
                  <a:pt x="6836" y="1864"/>
                </a:lnTo>
                <a:lnTo>
                  <a:pt x="6828" y="1866"/>
                </a:lnTo>
                <a:lnTo>
                  <a:pt x="6820" y="1868"/>
                </a:lnTo>
                <a:lnTo>
                  <a:pt x="6812" y="1866"/>
                </a:lnTo>
                <a:lnTo>
                  <a:pt x="6806" y="1862"/>
                </a:lnTo>
                <a:lnTo>
                  <a:pt x="6798" y="1858"/>
                </a:lnTo>
                <a:lnTo>
                  <a:pt x="6788" y="1856"/>
                </a:lnTo>
                <a:lnTo>
                  <a:pt x="6778" y="1854"/>
                </a:lnTo>
                <a:lnTo>
                  <a:pt x="6770" y="1856"/>
                </a:lnTo>
                <a:lnTo>
                  <a:pt x="6762" y="1856"/>
                </a:lnTo>
                <a:lnTo>
                  <a:pt x="6768" y="1852"/>
                </a:lnTo>
                <a:lnTo>
                  <a:pt x="6776" y="1848"/>
                </a:lnTo>
                <a:lnTo>
                  <a:pt x="6782" y="1846"/>
                </a:lnTo>
                <a:lnTo>
                  <a:pt x="6794" y="1848"/>
                </a:lnTo>
                <a:lnTo>
                  <a:pt x="6802" y="1850"/>
                </a:lnTo>
                <a:lnTo>
                  <a:pt x="6806" y="1850"/>
                </a:lnTo>
                <a:lnTo>
                  <a:pt x="6808" y="1850"/>
                </a:lnTo>
                <a:lnTo>
                  <a:pt x="6810" y="1848"/>
                </a:lnTo>
                <a:lnTo>
                  <a:pt x="6814" y="1850"/>
                </a:lnTo>
                <a:lnTo>
                  <a:pt x="6820" y="1856"/>
                </a:lnTo>
                <a:lnTo>
                  <a:pt x="6826" y="1860"/>
                </a:lnTo>
                <a:lnTo>
                  <a:pt x="6830" y="1862"/>
                </a:lnTo>
                <a:lnTo>
                  <a:pt x="6834" y="1860"/>
                </a:lnTo>
                <a:lnTo>
                  <a:pt x="6862" y="1844"/>
                </a:lnTo>
                <a:lnTo>
                  <a:pt x="6874" y="1836"/>
                </a:lnTo>
                <a:lnTo>
                  <a:pt x="6876" y="1832"/>
                </a:lnTo>
                <a:lnTo>
                  <a:pt x="6876" y="1828"/>
                </a:lnTo>
                <a:lnTo>
                  <a:pt x="6868" y="1818"/>
                </a:lnTo>
                <a:lnTo>
                  <a:pt x="6862" y="1814"/>
                </a:lnTo>
                <a:lnTo>
                  <a:pt x="6856" y="1812"/>
                </a:lnTo>
                <a:lnTo>
                  <a:pt x="6852" y="1812"/>
                </a:lnTo>
                <a:lnTo>
                  <a:pt x="6852" y="1806"/>
                </a:lnTo>
                <a:lnTo>
                  <a:pt x="6854" y="1802"/>
                </a:lnTo>
                <a:lnTo>
                  <a:pt x="6852" y="1800"/>
                </a:lnTo>
                <a:lnTo>
                  <a:pt x="6850" y="1798"/>
                </a:lnTo>
                <a:lnTo>
                  <a:pt x="6842" y="1794"/>
                </a:lnTo>
                <a:lnTo>
                  <a:pt x="6838" y="1788"/>
                </a:lnTo>
                <a:lnTo>
                  <a:pt x="6832" y="1784"/>
                </a:lnTo>
                <a:lnTo>
                  <a:pt x="6828" y="1784"/>
                </a:lnTo>
                <a:lnTo>
                  <a:pt x="6824" y="1784"/>
                </a:lnTo>
                <a:lnTo>
                  <a:pt x="6818" y="1786"/>
                </a:lnTo>
                <a:lnTo>
                  <a:pt x="6818" y="1782"/>
                </a:lnTo>
                <a:lnTo>
                  <a:pt x="6816" y="1780"/>
                </a:lnTo>
                <a:lnTo>
                  <a:pt x="6816" y="1778"/>
                </a:lnTo>
                <a:lnTo>
                  <a:pt x="6812" y="1778"/>
                </a:lnTo>
                <a:lnTo>
                  <a:pt x="6808" y="1778"/>
                </a:lnTo>
                <a:lnTo>
                  <a:pt x="6806" y="1776"/>
                </a:lnTo>
                <a:lnTo>
                  <a:pt x="6804" y="1768"/>
                </a:lnTo>
                <a:lnTo>
                  <a:pt x="6800" y="1758"/>
                </a:lnTo>
                <a:lnTo>
                  <a:pt x="6800" y="1746"/>
                </a:lnTo>
                <a:lnTo>
                  <a:pt x="6800" y="1734"/>
                </a:lnTo>
                <a:lnTo>
                  <a:pt x="6800" y="1722"/>
                </a:lnTo>
                <a:lnTo>
                  <a:pt x="6804" y="1716"/>
                </a:lnTo>
                <a:lnTo>
                  <a:pt x="6806" y="1714"/>
                </a:lnTo>
                <a:lnTo>
                  <a:pt x="6808" y="1712"/>
                </a:lnTo>
                <a:lnTo>
                  <a:pt x="6812" y="1712"/>
                </a:lnTo>
                <a:lnTo>
                  <a:pt x="6812" y="1710"/>
                </a:lnTo>
                <a:lnTo>
                  <a:pt x="6812" y="1702"/>
                </a:lnTo>
                <a:lnTo>
                  <a:pt x="6810" y="1692"/>
                </a:lnTo>
                <a:lnTo>
                  <a:pt x="6810" y="1686"/>
                </a:lnTo>
                <a:lnTo>
                  <a:pt x="6814" y="1678"/>
                </a:lnTo>
                <a:lnTo>
                  <a:pt x="6816" y="1672"/>
                </a:lnTo>
                <a:lnTo>
                  <a:pt x="6816" y="1670"/>
                </a:lnTo>
                <a:lnTo>
                  <a:pt x="6816" y="1668"/>
                </a:lnTo>
                <a:lnTo>
                  <a:pt x="6812" y="1668"/>
                </a:lnTo>
                <a:lnTo>
                  <a:pt x="6808" y="1668"/>
                </a:lnTo>
                <a:lnTo>
                  <a:pt x="6806" y="1664"/>
                </a:lnTo>
                <a:lnTo>
                  <a:pt x="6806" y="1660"/>
                </a:lnTo>
                <a:lnTo>
                  <a:pt x="6806" y="1654"/>
                </a:lnTo>
                <a:lnTo>
                  <a:pt x="6810" y="1656"/>
                </a:lnTo>
                <a:lnTo>
                  <a:pt x="6814" y="1658"/>
                </a:lnTo>
                <a:lnTo>
                  <a:pt x="6820" y="1658"/>
                </a:lnTo>
                <a:lnTo>
                  <a:pt x="6826" y="1656"/>
                </a:lnTo>
                <a:lnTo>
                  <a:pt x="6832" y="1652"/>
                </a:lnTo>
                <a:lnTo>
                  <a:pt x="6834" y="1650"/>
                </a:lnTo>
                <a:lnTo>
                  <a:pt x="6832" y="1646"/>
                </a:lnTo>
                <a:lnTo>
                  <a:pt x="6830" y="1644"/>
                </a:lnTo>
                <a:lnTo>
                  <a:pt x="6828" y="1642"/>
                </a:lnTo>
                <a:lnTo>
                  <a:pt x="6826" y="1640"/>
                </a:lnTo>
                <a:lnTo>
                  <a:pt x="6830" y="1638"/>
                </a:lnTo>
                <a:lnTo>
                  <a:pt x="6836" y="1638"/>
                </a:lnTo>
                <a:lnTo>
                  <a:pt x="6844" y="1634"/>
                </a:lnTo>
                <a:lnTo>
                  <a:pt x="6850" y="1630"/>
                </a:lnTo>
                <a:lnTo>
                  <a:pt x="6854" y="1624"/>
                </a:lnTo>
                <a:lnTo>
                  <a:pt x="6856" y="1620"/>
                </a:lnTo>
                <a:lnTo>
                  <a:pt x="6862" y="1610"/>
                </a:lnTo>
                <a:lnTo>
                  <a:pt x="6866" y="1608"/>
                </a:lnTo>
                <a:lnTo>
                  <a:pt x="6870" y="1610"/>
                </a:lnTo>
                <a:lnTo>
                  <a:pt x="6874" y="1612"/>
                </a:lnTo>
                <a:lnTo>
                  <a:pt x="6878" y="1610"/>
                </a:lnTo>
                <a:lnTo>
                  <a:pt x="6880" y="1602"/>
                </a:lnTo>
                <a:lnTo>
                  <a:pt x="6884" y="1594"/>
                </a:lnTo>
                <a:lnTo>
                  <a:pt x="6888" y="1592"/>
                </a:lnTo>
                <a:lnTo>
                  <a:pt x="6892" y="1592"/>
                </a:lnTo>
                <a:lnTo>
                  <a:pt x="6898" y="1592"/>
                </a:lnTo>
                <a:lnTo>
                  <a:pt x="6902" y="1590"/>
                </a:lnTo>
                <a:lnTo>
                  <a:pt x="6906" y="1586"/>
                </a:lnTo>
                <a:lnTo>
                  <a:pt x="6910" y="1582"/>
                </a:lnTo>
                <a:lnTo>
                  <a:pt x="6912" y="1580"/>
                </a:lnTo>
                <a:lnTo>
                  <a:pt x="6916" y="1582"/>
                </a:lnTo>
                <a:lnTo>
                  <a:pt x="6920" y="1582"/>
                </a:lnTo>
                <a:lnTo>
                  <a:pt x="6922" y="1580"/>
                </a:lnTo>
                <a:lnTo>
                  <a:pt x="6926" y="1576"/>
                </a:lnTo>
                <a:lnTo>
                  <a:pt x="6928" y="1572"/>
                </a:lnTo>
                <a:lnTo>
                  <a:pt x="6930" y="1570"/>
                </a:lnTo>
                <a:lnTo>
                  <a:pt x="6934" y="1570"/>
                </a:lnTo>
                <a:lnTo>
                  <a:pt x="6938" y="1570"/>
                </a:lnTo>
                <a:lnTo>
                  <a:pt x="6942" y="1568"/>
                </a:lnTo>
                <a:lnTo>
                  <a:pt x="6946" y="1558"/>
                </a:lnTo>
                <a:lnTo>
                  <a:pt x="6954" y="1544"/>
                </a:lnTo>
                <a:lnTo>
                  <a:pt x="6960" y="1538"/>
                </a:lnTo>
                <a:lnTo>
                  <a:pt x="6968" y="1530"/>
                </a:lnTo>
                <a:lnTo>
                  <a:pt x="6974" y="1526"/>
                </a:lnTo>
                <a:lnTo>
                  <a:pt x="6976" y="1524"/>
                </a:lnTo>
                <a:lnTo>
                  <a:pt x="6976" y="1520"/>
                </a:lnTo>
                <a:lnTo>
                  <a:pt x="6974" y="1520"/>
                </a:lnTo>
                <a:lnTo>
                  <a:pt x="6968" y="1514"/>
                </a:lnTo>
                <a:lnTo>
                  <a:pt x="6964" y="1512"/>
                </a:lnTo>
                <a:lnTo>
                  <a:pt x="6962" y="1506"/>
                </a:lnTo>
                <a:lnTo>
                  <a:pt x="6960" y="1502"/>
                </a:lnTo>
                <a:lnTo>
                  <a:pt x="6962" y="1498"/>
                </a:lnTo>
                <a:lnTo>
                  <a:pt x="6966" y="1492"/>
                </a:lnTo>
                <a:lnTo>
                  <a:pt x="6972" y="1486"/>
                </a:lnTo>
                <a:lnTo>
                  <a:pt x="6974" y="1480"/>
                </a:lnTo>
                <a:lnTo>
                  <a:pt x="6976" y="1474"/>
                </a:lnTo>
                <a:lnTo>
                  <a:pt x="6978" y="1468"/>
                </a:lnTo>
                <a:lnTo>
                  <a:pt x="6980" y="1464"/>
                </a:lnTo>
                <a:lnTo>
                  <a:pt x="6982" y="1462"/>
                </a:lnTo>
                <a:lnTo>
                  <a:pt x="6986" y="1460"/>
                </a:lnTo>
                <a:lnTo>
                  <a:pt x="6992" y="1460"/>
                </a:lnTo>
                <a:lnTo>
                  <a:pt x="6994" y="1458"/>
                </a:lnTo>
                <a:lnTo>
                  <a:pt x="6994" y="1456"/>
                </a:lnTo>
                <a:lnTo>
                  <a:pt x="6998" y="1450"/>
                </a:lnTo>
                <a:lnTo>
                  <a:pt x="7004" y="1444"/>
                </a:lnTo>
                <a:lnTo>
                  <a:pt x="7022" y="1430"/>
                </a:lnTo>
                <a:lnTo>
                  <a:pt x="7026" y="1428"/>
                </a:lnTo>
                <a:lnTo>
                  <a:pt x="7028" y="1430"/>
                </a:lnTo>
                <a:lnTo>
                  <a:pt x="7030" y="1434"/>
                </a:lnTo>
                <a:lnTo>
                  <a:pt x="7032" y="1436"/>
                </a:lnTo>
                <a:lnTo>
                  <a:pt x="7034" y="1438"/>
                </a:lnTo>
                <a:lnTo>
                  <a:pt x="7038" y="1438"/>
                </a:lnTo>
                <a:lnTo>
                  <a:pt x="7042" y="1436"/>
                </a:lnTo>
                <a:lnTo>
                  <a:pt x="7048" y="1434"/>
                </a:lnTo>
                <a:lnTo>
                  <a:pt x="7054" y="1432"/>
                </a:lnTo>
                <a:lnTo>
                  <a:pt x="7062" y="1434"/>
                </a:lnTo>
                <a:lnTo>
                  <a:pt x="7072" y="1434"/>
                </a:lnTo>
                <a:lnTo>
                  <a:pt x="7076" y="1434"/>
                </a:lnTo>
                <a:lnTo>
                  <a:pt x="7082" y="1432"/>
                </a:lnTo>
                <a:lnTo>
                  <a:pt x="7092" y="1434"/>
                </a:lnTo>
                <a:lnTo>
                  <a:pt x="7098" y="1438"/>
                </a:lnTo>
                <a:lnTo>
                  <a:pt x="7102" y="1440"/>
                </a:lnTo>
                <a:lnTo>
                  <a:pt x="7112" y="1444"/>
                </a:lnTo>
                <a:lnTo>
                  <a:pt x="7122" y="1448"/>
                </a:lnTo>
                <a:lnTo>
                  <a:pt x="7126" y="1450"/>
                </a:lnTo>
                <a:lnTo>
                  <a:pt x="7126" y="1454"/>
                </a:lnTo>
                <a:lnTo>
                  <a:pt x="7126" y="1462"/>
                </a:lnTo>
                <a:lnTo>
                  <a:pt x="7124" y="1472"/>
                </a:lnTo>
                <a:lnTo>
                  <a:pt x="7124" y="1480"/>
                </a:lnTo>
                <a:lnTo>
                  <a:pt x="7126" y="1484"/>
                </a:lnTo>
                <a:lnTo>
                  <a:pt x="7130" y="1486"/>
                </a:lnTo>
                <a:lnTo>
                  <a:pt x="7130" y="1490"/>
                </a:lnTo>
                <a:lnTo>
                  <a:pt x="7128" y="1494"/>
                </a:lnTo>
                <a:lnTo>
                  <a:pt x="7124" y="1494"/>
                </a:lnTo>
                <a:lnTo>
                  <a:pt x="7118" y="1494"/>
                </a:lnTo>
                <a:lnTo>
                  <a:pt x="7106" y="1496"/>
                </a:lnTo>
                <a:lnTo>
                  <a:pt x="7100" y="1498"/>
                </a:lnTo>
                <a:lnTo>
                  <a:pt x="7096" y="1502"/>
                </a:lnTo>
                <a:lnTo>
                  <a:pt x="7090" y="1512"/>
                </a:lnTo>
                <a:lnTo>
                  <a:pt x="7082" y="1526"/>
                </a:lnTo>
                <a:lnTo>
                  <a:pt x="7076" y="1532"/>
                </a:lnTo>
                <a:lnTo>
                  <a:pt x="7066" y="1540"/>
                </a:lnTo>
                <a:lnTo>
                  <a:pt x="7058" y="1546"/>
                </a:lnTo>
                <a:lnTo>
                  <a:pt x="7052" y="1550"/>
                </a:lnTo>
                <a:lnTo>
                  <a:pt x="7050" y="1554"/>
                </a:lnTo>
                <a:lnTo>
                  <a:pt x="7050" y="1556"/>
                </a:lnTo>
                <a:lnTo>
                  <a:pt x="7050" y="1558"/>
                </a:lnTo>
                <a:lnTo>
                  <a:pt x="7044" y="1560"/>
                </a:lnTo>
                <a:lnTo>
                  <a:pt x="7038" y="1562"/>
                </a:lnTo>
                <a:lnTo>
                  <a:pt x="7034" y="1566"/>
                </a:lnTo>
                <a:lnTo>
                  <a:pt x="7030" y="1572"/>
                </a:lnTo>
                <a:lnTo>
                  <a:pt x="7028" y="1576"/>
                </a:lnTo>
                <a:lnTo>
                  <a:pt x="7026" y="1578"/>
                </a:lnTo>
                <a:lnTo>
                  <a:pt x="7024" y="1576"/>
                </a:lnTo>
                <a:lnTo>
                  <a:pt x="7020" y="1576"/>
                </a:lnTo>
                <a:lnTo>
                  <a:pt x="7016" y="1578"/>
                </a:lnTo>
                <a:lnTo>
                  <a:pt x="7014" y="1582"/>
                </a:lnTo>
                <a:lnTo>
                  <a:pt x="7010" y="1586"/>
                </a:lnTo>
                <a:lnTo>
                  <a:pt x="7008" y="1588"/>
                </a:lnTo>
                <a:lnTo>
                  <a:pt x="7006" y="1588"/>
                </a:lnTo>
                <a:lnTo>
                  <a:pt x="7004" y="1588"/>
                </a:lnTo>
                <a:lnTo>
                  <a:pt x="7002" y="1590"/>
                </a:lnTo>
                <a:lnTo>
                  <a:pt x="7002" y="1596"/>
                </a:lnTo>
                <a:lnTo>
                  <a:pt x="7002" y="1602"/>
                </a:lnTo>
                <a:lnTo>
                  <a:pt x="7002" y="1606"/>
                </a:lnTo>
                <a:lnTo>
                  <a:pt x="6998" y="1610"/>
                </a:lnTo>
                <a:lnTo>
                  <a:pt x="6996" y="1610"/>
                </a:lnTo>
                <a:lnTo>
                  <a:pt x="6992" y="1612"/>
                </a:lnTo>
                <a:lnTo>
                  <a:pt x="6984" y="1610"/>
                </a:lnTo>
                <a:lnTo>
                  <a:pt x="6978" y="1608"/>
                </a:lnTo>
                <a:lnTo>
                  <a:pt x="6976" y="1610"/>
                </a:lnTo>
                <a:lnTo>
                  <a:pt x="6976" y="1612"/>
                </a:lnTo>
                <a:lnTo>
                  <a:pt x="6974" y="1616"/>
                </a:lnTo>
                <a:lnTo>
                  <a:pt x="6972" y="1622"/>
                </a:lnTo>
                <a:lnTo>
                  <a:pt x="6964" y="1632"/>
                </a:lnTo>
                <a:lnTo>
                  <a:pt x="6960" y="1638"/>
                </a:lnTo>
                <a:lnTo>
                  <a:pt x="6958" y="1646"/>
                </a:lnTo>
                <a:lnTo>
                  <a:pt x="6960" y="1654"/>
                </a:lnTo>
                <a:lnTo>
                  <a:pt x="6962" y="1664"/>
                </a:lnTo>
                <a:lnTo>
                  <a:pt x="6966" y="1672"/>
                </a:lnTo>
                <a:lnTo>
                  <a:pt x="6966" y="1678"/>
                </a:lnTo>
                <a:lnTo>
                  <a:pt x="6966" y="1680"/>
                </a:lnTo>
                <a:lnTo>
                  <a:pt x="6964" y="1684"/>
                </a:lnTo>
                <a:lnTo>
                  <a:pt x="6962" y="1686"/>
                </a:lnTo>
                <a:lnTo>
                  <a:pt x="6962" y="1690"/>
                </a:lnTo>
                <a:lnTo>
                  <a:pt x="6966" y="1696"/>
                </a:lnTo>
                <a:lnTo>
                  <a:pt x="6972" y="1704"/>
                </a:lnTo>
                <a:lnTo>
                  <a:pt x="6978" y="1710"/>
                </a:lnTo>
                <a:lnTo>
                  <a:pt x="6978" y="1714"/>
                </a:lnTo>
                <a:lnTo>
                  <a:pt x="6978" y="1716"/>
                </a:lnTo>
                <a:lnTo>
                  <a:pt x="6976" y="1716"/>
                </a:lnTo>
                <a:lnTo>
                  <a:pt x="6972" y="1718"/>
                </a:lnTo>
                <a:lnTo>
                  <a:pt x="6970" y="1720"/>
                </a:lnTo>
                <a:lnTo>
                  <a:pt x="6970" y="1724"/>
                </a:lnTo>
                <a:lnTo>
                  <a:pt x="6972" y="1732"/>
                </a:lnTo>
                <a:lnTo>
                  <a:pt x="6972" y="1740"/>
                </a:lnTo>
                <a:lnTo>
                  <a:pt x="6968" y="1762"/>
                </a:lnTo>
                <a:lnTo>
                  <a:pt x="6964" y="1772"/>
                </a:lnTo>
                <a:lnTo>
                  <a:pt x="6964" y="1780"/>
                </a:lnTo>
                <a:lnTo>
                  <a:pt x="6966" y="1782"/>
                </a:lnTo>
                <a:lnTo>
                  <a:pt x="6970" y="1784"/>
                </a:lnTo>
                <a:lnTo>
                  <a:pt x="6982" y="1788"/>
                </a:lnTo>
                <a:lnTo>
                  <a:pt x="7006" y="1792"/>
                </a:lnTo>
                <a:lnTo>
                  <a:pt x="7012" y="1796"/>
                </a:lnTo>
                <a:lnTo>
                  <a:pt x="7014" y="1798"/>
                </a:lnTo>
                <a:lnTo>
                  <a:pt x="7012" y="1802"/>
                </a:lnTo>
                <a:lnTo>
                  <a:pt x="7012" y="1810"/>
                </a:lnTo>
                <a:lnTo>
                  <a:pt x="7014" y="1818"/>
                </a:lnTo>
                <a:lnTo>
                  <a:pt x="7016" y="1820"/>
                </a:lnTo>
                <a:lnTo>
                  <a:pt x="7018" y="1822"/>
                </a:lnTo>
                <a:lnTo>
                  <a:pt x="7020" y="1820"/>
                </a:lnTo>
                <a:lnTo>
                  <a:pt x="7024" y="1818"/>
                </a:lnTo>
                <a:lnTo>
                  <a:pt x="7030" y="1812"/>
                </a:lnTo>
                <a:lnTo>
                  <a:pt x="7036" y="1812"/>
                </a:lnTo>
                <a:lnTo>
                  <a:pt x="7038" y="1812"/>
                </a:lnTo>
                <a:lnTo>
                  <a:pt x="7040" y="1814"/>
                </a:lnTo>
                <a:lnTo>
                  <a:pt x="7038" y="1818"/>
                </a:lnTo>
                <a:lnTo>
                  <a:pt x="7036" y="1822"/>
                </a:lnTo>
                <a:lnTo>
                  <a:pt x="7032" y="1830"/>
                </a:lnTo>
                <a:lnTo>
                  <a:pt x="7030" y="1832"/>
                </a:lnTo>
                <a:lnTo>
                  <a:pt x="7036" y="1832"/>
                </a:lnTo>
                <a:lnTo>
                  <a:pt x="7050" y="1824"/>
                </a:lnTo>
                <a:lnTo>
                  <a:pt x="7060" y="1822"/>
                </a:lnTo>
                <a:lnTo>
                  <a:pt x="7074" y="1820"/>
                </a:lnTo>
                <a:lnTo>
                  <a:pt x="7092" y="1816"/>
                </a:lnTo>
                <a:lnTo>
                  <a:pt x="7122" y="1806"/>
                </a:lnTo>
                <a:lnTo>
                  <a:pt x="7132" y="1802"/>
                </a:lnTo>
                <a:lnTo>
                  <a:pt x="7138" y="1800"/>
                </a:lnTo>
                <a:lnTo>
                  <a:pt x="7144" y="1802"/>
                </a:lnTo>
                <a:lnTo>
                  <a:pt x="7146" y="1802"/>
                </a:lnTo>
                <a:lnTo>
                  <a:pt x="7150" y="1804"/>
                </a:lnTo>
                <a:lnTo>
                  <a:pt x="7154" y="1798"/>
                </a:lnTo>
                <a:lnTo>
                  <a:pt x="7160" y="1794"/>
                </a:lnTo>
                <a:lnTo>
                  <a:pt x="7164" y="1794"/>
                </a:lnTo>
                <a:lnTo>
                  <a:pt x="7168" y="1796"/>
                </a:lnTo>
                <a:lnTo>
                  <a:pt x="7174" y="1794"/>
                </a:lnTo>
                <a:lnTo>
                  <a:pt x="7182" y="1792"/>
                </a:lnTo>
                <a:lnTo>
                  <a:pt x="7190" y="1788"/>
                </a:lnTo>
                <a:lnTo>
                  <a:pt x="7196" y="1788"/>
                </a:lnTo>
                <a:lnTo>
                  <a:pt x="7206" y="1788"/>
                </a:lnTo>
                <a:lnTo>
                  <a:pt x="7216" y="1788"/>
                </a:lnTo>
                <a:lnTo>
                  <a:pt x="7222" y="1786"/>
                </a:lnTo>
                <a:lnTo>
                  <a:pt x="7230" y="1784"/>
                </a:lnTo>
                <a:lnTo>
                  <a:pt x="7234" y="1786"/>
                </a:lnTo>
                <a:lnTo>
                  <a:pt x="7240" y="1786"/>
                </a:lnTo>
                <a:lnTo>
                  <a:pt x="7250" y="1780"/>
                </a:lnTo>
                <a:lnTo>
                  <a:pt x="7258" y="1772"/>
                </a:lnTo>
                <a:lnTo>
                  <a:pt x="7262" y="1772"/>
                </a:lnTo>
                <a:lnTo>
                  <a:pt x="7264" y="1772"/>
                </a:lnTo>
                <a:lnTo>
                  <a:pt x="7266" y="1774"/>
                </a:lnTo>
                <a:lnTo>
                  <a:pt x="7262" y="1776"/>
                </a:lnTo>
                <a:lnTo>
                  <a:pt x="7260" y="1778"/>
                </a:lnTo>
                <a:lnTo>
                  <a:pt x="7262" y="1784"/>
                </a:lnTo>
                <a:lnTo>
                  <a:pt x="7264" y="1788"/>
                </a:lnTo>
                <a:lnTo>
                  <a:pt x="7262" y="1788"/>
                </a:lnTo>
                <a:lnTo>
                  <a:pt x="7258" y="1786"/>
                </a:lnTo>
                <a:lnTo>
                  <a:pt x="7254" y="1786"/>
                </a:lnTo>
                <a:lnTo>
                  <a:pt x="7256" y="1792"/>
                </a:lnTo>
                <a:lnTo>
                  <a:pt x="7262" y="1798"/>
                </a:lnTo>
                <a:lnTo>
                  <a:pt x="7266" y="1798"/>
                </a:lnTo>
                <a:lnTo>
                  <a:pt x="7268" y="1798"/>
                </a:lnTo>
                <a:lnTo>
                  <a:pt x="7272" y="1804"/>
                </a:lnTo>
                <a:lnTo>
                  <a:pt x="7276" y="1806"/>
                </a:lnTo>
                <a:lnTo>
                  <a:pt x="7282" y="1808"/>
                </a:lnTo>
                <a:lnTo>
                  <a:pt x="7292" y="1808"/>
                </a:lnTo>
                <a:lnTo>
                  <a:pt x="7302" y="1808"/>
                </a:lnTo>
                <a:lnTo>
                  <a:pt x="7308" y="1810"/>
                </a:lnTo>
                <a:lnTo>
                  <a:pt x="7310" y="1812"/>
                </a:lnTo>
                <a:lnTo>
                  <a:pt x="7312" y="1816"/>
                </a:lnTo>
                <a:lnTo>
                  <a:pt x="7316" y="1818"/>
                </a:lnTo>
                <a:lnTo>
                  <a:pt x="7322" y="1820"/>
                </a:lnTo>
                <a:lnTo>
                  <a:pt x="7326" y="1820"/>
                </a:lnTo>
                <a:lnTo>
                  <a:pt x="7326" y="1822"/>
                </a:lnTo>
                <a:lnTo>
                  <a:pt x="7326" y="1824"/>
                </a:lnTo>
                <a:lnTo>
                  <a:pt x="7322" y="1828"/>
                </a:lnTo>
                <a:lnTo>
                  <a:pt x="7318" y="1828"/>
                </a:lnTo>
                <a:lnTo>
                  <a:pt x="7294" y="1820"/>
                </a:lnTo>
                <a:lnTo>
                  <a:pt x="7286" y="1820"/>
                </a:lnTo>
                <a:lnTo>
                  <a:pt x="7280" y="1820"/>
                </a:lnTo>
                <a:lnTo>
                  <a:pt x="7278" y="1824"/>
                </a:lnTo>
                <a:lnTo>
                  <a:pt x="7276" y="1826"/>
                </a:lnTo>
                <a:lnTo>
                  <a:pt x="7274" y="1830"/>
                </a:lnTo>
                <a:lnTo>
                  <a:pt x="7272" y="1832"/>
                </a:lnTo>
                <a:lnTo>
                  <a:pt x="7268" y="1834"/>
                </a:lnTo>
                <a:lnTo>
                  <a:pt x="7264" y="1832"/>
                </a:lnTo>
                <a:lnTo>
                  <a:pt x="7258" y="1830"/>
                </a:lnTo>
                <a:lnTo>
                  <a:pt x="7254" y="1830"/>
                </a:lnTo>
                <a:lnTo>
                  <a:pt x="7254" y="1834"/>
                </a:lnTo>
                <a:lnTo>
                  <a:pt x="7254" y="1836"/>
                </a:lnTo>
                <a:lnTo>
                  <a:pt x="7252" y="1840"/>
                </a:lnTo>
                <a:lnTo>
                  <a:pt x="7250" y="1840"/>
                </a:lnTo>
                <a:lnTo>
                  <a:pt x="7244" y="1838"/>
                </a:lnTo>
                <a:lnTo>
                  <a:pt x="7240" y="1834"/>
                </a:lnTo>
                <a:lnTo>
                  <a:pt x="7236" y="1834"/>
                </a:lnTo>
                <a:lnTo>
                  <a:pt x="7236" y="1836"/>
                </a:lnTo>
                <a:lnTo>
                  <a:pt x="7236" y="1838"/>
                </a:lnTo>
                <a:lnTo>
                  <a:pt x="7238" y="1846"/>
                </a:lnTo>
                <a:lnTo>
                  <a:pt x="7238" y="1850"/>
                </a:lnTo>
                <a:lnTo>
                  <a:pt x="7236" y="1854"/>
                </a:lnTo>
                <a:lnTo>
                  <a:pt x="7226" y="1858"/>
                </a:lnTo>
                <a:lnTo>
                  <a:pt x="7214" y="1858"/>
                </a:lnTo>
                <a:lnTo>
                  <a:pt x="7204" y="1858"/>
                </a:lnTo>
                <a:lnTo>
                  <a:pt x="7192" y="1854"/>
                </a:lnTo>
                <a:lnTo>
                  <a:pt x="7182" y="1848"/>
                </a:lnTo>
                <a:lnTo>
                  <a:pt x="7172" y="1846"/>
                </a:lnTo>
                <a:lnTo>
                  <a:pt x="7160" y="1846"/>
                </a:lnTo>
                <a:lnTo>
                  <a:pt x="7144" y="1842"/>
                </a:lnTo>
                <a:lnTo>
                  <a:pt x="7138" y="1842"/>
                </a:lnTo>
                <a:lnTo>
                  <a:pt x="7134" y="1842"/>
                </a:lnTo>
                <a:lnTo>
                  <a:pt x="7132" y="1844"/>
                </a:lnTo>
                <a:lnTo>
                  <a:pt x="7132" y="1846"/>
                </a:lnTo>
                <a:lnTo>
                  <a:pt x="7130" y="1850"/>
                </a:lnTo>
                <a:lnTo>
                  <a:pt x="7126" y="1852"/>
                </a:lnTo>
                <a:lnTo>
                  <a:pt x="7120" y="1852"/>
                </a:lnTo>
                <a:lnTo>
                  <a:pt x="7106" y="1850"/>
                </a:lnTo>
                <a:lnTo>
                  <a:pt x="7092" y="1852"/>
                </a:lnTo>
                <a:lnTo>
                  <a:pt x="7082" y="1856"/>
                </a:lnTo>
                <a:lnTo>
                  <a:pt x="7078" y="1858"/>
                </a:lnTo>
                <a:lnTo>
                  <a:pt x="7076" y="1862"/>
                </a:lnTo>
                <a:lnTo>
                  <a:pt x="7074" y="1864"/>
                </a:lnTo>
                <a:lnTo>
                  <a:pt x="7072" y="1866"/>
                </a:lnTo>
                <a:lnTo>
                  <a:pt x="7064" y="1868"/>
                </a:lnTo>
                <a:lnTo>
                  <a:pt x="7058" y="1872"/>
                </a:lnTo>
                <a:lnTo>
                  <a:pt x="7056" y="1874"/>
                </a:lnTo>
                <a:lnTo>
                  <a:pt x="7054" y="1880"/>
                </a:lnTo>
                <a:lnTo>
                  <a:pt x="7052" y="1890"/>
                </a:lnTo>
                <a:lnTo>
                  <a:pt x="7052" y="1898"/>
                </a:lnTo>
                <a:lnTo>
                  <a:pt x="7054" y="1904"/>
                </a:lnTo>
                <a:lnTo>
                  <a:pt x="7056" y="1912"/>
                </a:lnTo>
                <a:lnTo>
                  <a:pt x="7062" y="1920"/>
                </a:lnTo>
                <a:lnTo>
                  <a:pt x="7066" y="1928"/>
                </a:lnTo>
                <a:lnTo>
                  <a:pt x="7070" y="1930"/>
                </a:lnTo>
                <a:lnTo>
                  <a:pt x="7074" y="1932"/>
                </a:lnTo>
                <a:lnTo>
                  <a:pt x="7080" y="1930"/>
                </a:lnTo>
                <a:lnTo>
                  <a:pt x="7086" y="1928"/>
                </a:lnTo>
                <a:lnTo>
                  <a:pt x="7094" y="1924"/>
                </a:lnTo>
                <a:lnTo>
                  <a:pt x="7096" y="1924"/>
                </a:lnTo>
                <a:lnTo>
                  <a:pt x="7096" y="1928"/>
                </a:lnTo>
                <a:lnTo>
                  <a:pt x="7086" y="1956"/>
                </a:lnTo>
                <a:lnTo>
                  <a:pt x="7086" y="1964"/>
                </a:lnTo>
                <a:lnTo>
                  <a:pt x="7088" y="1972"/>
                </a:lnTo>
                <a:lnTo>
                  <a:pt x="7092" y="1986"/>
                </a:lnTo>
                <a:lnTo>
                  <a:pt x="7092" y="1992"/>
                </a:lnTo>
                <a:lnTo>
                  <a:pt x="7090" y="1998"/>
                </a:lnTo>
                <a:lnTo>
                  <a:pt x="7086" y="2004"/>
                </a:lnTo>
                <a:lnTo>
                  <a:pt x="7076" y="2008"/>
                </a:lnTo>
                <a:lnTo>
                  <a:pt x="7064" y="2012"/>
                </a:lnTo>
                <a:lnTo>
                  <a:pt x="7054" y="2010"/>
                </a:lnTo>
                <a:lnTo>
                  <a:pt x="7048" y="2008"/>
                </a:lnTo>
                <a:lnTo>
                  <a:pt x="7044" y="2002"/>
                </a:lnTo>
                <a:lnTo>
                  <a:pt x="7038" y="1990"/>
                </a:lnTo>
                <a:lnTo>
                  <a:pt x="7034" y="1984"/>
                </a:lnTo>
                <a:lnTo>
                  <a:pt x="7028" y="1980"/>
                </a:lnTo>
                <a:lnTo>
                  <a:pt x="7022" y="1976"/>
                </a:lnTo>
                <a:lnTo>
                  <a:pt x="7018" y="1974"/>
                </a:lnTo>
                <a:lnTo>
                  <a:pt x="7018" y="1970"/>
                </a:lnTo>
                <a:lnTo>
                  <a:pt x="7018" y="1968"/>
                </a:lnTo>
                <a:lnTo>
                  <a:pt x="7018" y="1966"/>
                </a:lnTo>
                <a:lnTo>
                  <a:pt x="7016" y="1964"/>
                </a:lnTo>
                <a:lnTo>
                  <a:pt x="7010" y="1966"/>
                </a:lnTo>
                <a:lnTo>
                  <a:pt x="6986" y="1974"/>
                </a:lnTo>
                <a:lnTo>
                  <a:pt x="6980" y="1978"/>
                </a:lnTo>
                <a:lnTo>
                  <a:pt x="6976" y="1980"/>
                </a:lnTo>
                <a:lnTo>
                  <a:pt x="6970" y="1992"/>
                </a:lnTo>
                <a:lnTo>
                  <a:pt x="6968" y="1996"/>
                </a:lnTo>
                <a:lnTo>
                  <a:pt x="6970" y="2002"/>
                </a:lnTo>
                <a:lnTo>
                  <a:pt x="6970" y="2006"/>
                </a:lnTo>
                <a:lnTo>
                  <a:pt x="6970" y="2008"/>
                </a:lnTo>
                <a:lnTo>
                  <a:pt x="6966" y="2012"/>
                </a:lnTo>
                <a:lnTo>
                  <a:pt x="6960" y="2018"/>
                </a:lnTo>
                <a:lnTo>
                  <a:pt x="6956" y="2022"/>
                </a:lnTo>
                <a:lnTo>
                  <a:pt x="6954" y="2026"/>
                </a:lnTo>
                <a:lnTo>
                  <a:pt x="6952" y="2038"/>
                </a:lnTo>
                <a:lnTo>
                  <a:pt x="6952" y="2048"/>
                </a:lnTo>
                <a:lnTo>
                  <a:pt x="6952" y="2070"/>
                </a:lnTo>
                <a:lnTo>
                  <a:pt x="6954" y="2084"/>
                </a:lnTo>
                <a:lnTo>
                  <a:pt x="6954" y="2088"/>
                </a:lnTo>
                <a:lnTo>
                  <a:pt x="6958" y="2094"/>
                </a:lnTo>
                <a:lnTo>
                  <a:pt x="6962" y="2100"/>
                </a:lnTo>
                <a:lnTo>
                  <a:pt x="6964" y="2108"/>
                </a:lnTo>
                <a:lnTo>
                  <a:pt x="6964" y="2120"/>
                </a:lnTo>
                <a:lnTo>
                  <a:pt x="6964" y="2124"/>
                </a:lnTo>
                <a:lnTo>
                  <a:pt x="6962" y="2124"/>
                </a:lnTo>
                <a:lnTo>
                  <a:pt x="6960" y="2126"/>
                </a:lnTo>
                <a:lnTo>
                  <a:pt x="6962" y="2134"/>
                </a:lnTo>
                <a:lnTo>
                  <a:pt x="6962" y="2136"/>
                </a:lnTo>
                <a:lnTo>
                  <a:pt x="6960" y="2138"/>
                </a:lnTo>
                <a:lnTo>
                  <a:pt x="6956" y="2142"/>
                </a:lnTo>
                <a:lnTo>
                  <a:pt x="6948" y="2142"/>
                </a:lnTo>
                <a:lnTo>
                  <a:pt x="6942" y="2142"/>
                </a:lnTo>
                <a:lnTo>
                  <a:pt x="6942" y="2140"/>
                </a:lnTo>
                <a:lnTo>
                  <a:pt x="6940" y="2140"/>
                </a:lnTo>
                <a:lnTo>
                  <a:pt x="6942" y="2134"/>
                </a:lnTo>
                <a:lnTo>
                  <a:pt x="6952" y="2122"/>
                </a:lnTo>
                <a:lnTo>
                  <a:pt x="6954" y="2118"/>
                </a:lnTo>
                <a:lnTo>
                  <a:pt x="6952" y="2118"/>
                </a:lnTo>
                <a:lnTo>
                  <a:pt x="6940" y="2130"/>
                </a:lnTo>
                <a:lnTo>
                  <a:pt x="6934" y="2138"/>
                </a:lnTo>
                <a:lnTo>
                  <a:pt x="6930" y="2138"/>
                </a:lnTo>
                <a:lnTo>
                  <a:pt x="6924" y="2138"/>
                </a:lnTo>
                <a:lnTo>
                  <a:pt x="6916" y="2138"/>
                </a:lnTo>
                <a:lnTo>
                  <a:pt x="6912" y="2140"/>
                </a:lnTo>
                <a:lnTo>
                  <a:pt x="6910" y="2142"/>
                </a:lnTo>
                <a:lnTo>
                  <a:pt x="6908" y="2148"/>
                </a:lnTo>
                <a:lnTo>
                  <a:pt x="6910" y="2152"/>
                </a:lnTo>
                <a:lnTo>
                  <a:pt x="6908" y="2158"/>
                </a:lnTo>
                <a:lnTo>
                  <a:pt x="6904" y="2162"/>
                </a:lnTo>
                <a:lnTo>
                  <a:pt x="6898" y="2168"/>
                </a:lnTo>
                <a:lnTo>
                  <a:pt x="6886" y="2174"/>
                </a:lnTo>
                <a:lnTo>
                  <a:pt x="6874" y="2176"/>
                </a:lnTo>
                <a:lnTo>
                  <a:pt x="6866" y="2176"/>
                </a:lnTo>
                <a:lnTo>
                  <a:pt x="6862" y="2174"/>
                </a:lnTo>
                <a:lnTo>
                  <a:pt x="6858" y="2170"/>
                </a:lnTo>
                <a:lnTo>
                  <a:pt x="6854" y="2166"/>
                </a:lnTo>
                <a:lnTo>
                  <a:pt x="6850" y="2154"/>
                </a:lnTo>
                <a:lnTo>
                  <a:pt x="6852" y="2154"/>
                </a:lnTo>
                <a:lnTo>
                  <a:pt x="6858" y="2158"/>
                </a:lnTo>
                <a:lnTo>
                  <a:pt x="6864" y="2162"/>
                </a:lnTo>
                <a:lnTo>
                  <a:pt x="6868" y="2162"/>
                </a:lnTo>
                <a:lnTo>
                  <a:pt x="6868" y="2160"/>
                </a:lnTo>
                <a:lnTo>
                  <a:pt x="6866" y="2158"/>
                </a:lnTo>
                <a:lnTo>
                  <a:pt x="6852" y="2150"/>
                </a:lnTo>
                <a:lnTo>
                  <a:pt x="6844" y="2146"/>
                </a:lnTo>
                <a:lnTo>
                  <a:pt x="6836" y="2146"/>
                </a:lnTo>
                <a:lnTo>
                  <a:pt x="6822" y="2148"/>
                </a:lnTo>
                <a:lnTo>
                  <a:pt x="6802" y="2152"/>
                </a:lnTo>
                <a:lnTo>
                  <a:pt x="6798" y="2156"/>
                </a:lnTo>
                <a:lnTo>
                  <a:pt x="6794" y="2158"/>
                </a:lnTo>
                <a:lnTo>
                  <a:pt x="6784" y="2162"/>
                </a:lnTo>
                <a:lnTo>
                  <a:pt x="6776" y="2164"/>
                </a:lnTo>
                <a:lnTo>
                  <a:pt x="6770" y="2168"/>
                </a:lnTo>
                <a:lnTo>
                  <a:pt x="6766" y="2172"/>
                </a:lnTo>
                <a:lnTo>
                  <a:pt x="6764" y="2176"/>
                </a:lnTo>
                <a:lnTo>
                  <a:pt x="6760" y="2178"/>
                </a:lnTo>
                <a:lnTo>
                  <a:pt x="6752" y="2182"/>
                </a:lnTo>
                <a:lnTo>
                  <a:pt x="6738" y="2186"/>
                </a:lnTo>
                <a:lnTo>
                  <a:pt x="6718" y="2192"/>
                </a:lnTo>
                <a:lnTo>
                  <a:pt x="6704" y="2198"/>
                </a:lnTo>
                <a:lnTo>
                  <a:pt x="6692" y="2202"/>
                </a:lnTo>
                <a:lnTo>
                  <a:pt x="6686" y="2202"/>
                </a:lnTo>
                <a:lnTo>
                  <a:pt x="6680" y="2202"/>
                </a:lnTo>
                <a:lnTo>
                  <a:pt x="6676" y="2200"/>
                </a:lnTo>
                <a:lnTo>
                  <a:pt x="6672" y="2196"/>
                </a:lnTo>
                <a:lnTo>
                  <a:pt x="6664" y="2188"/>
                </a:lnTo>
                <a:lnTo>
                  <a:pt x="6664" y="2192"/>
                </a:lnTo>
                <a:lnTo>
                  <a:pt x="6668" y="2200"/>
                </a:lnTo>
                <a:lnTo>
                  <a:pt x="6668" y="2202"/>
                </a:lnTo>
                <a:lnTo>
                  <a:pt x="6668" y="2204"/>
                </a:lnTo>
                <a:lnTo>
                  <a:pt x="6666" y="2206"/>
                </a:lnTo>
                <a:lnTo>
                  <a:pt x="6666" y="2208"/>
                </a:lnTo>
                <a:lnTo>
                  <a:pt x="6670" y="2208"/>
                </a:lnTo>
                <a:lnTo>
                  <a:pt x="6674" y="2206"/>
                </a:lnTo>
                <a:lnTo>
                  <a:pt x="6678" y="2206"/>
                </a:lnTo>
                <a:lnTo>
                  <a:pt x="6680" y="2206"/>
                </a:lnTo>
                <a:lnTo>
                  <a:pt x="6684" y="2210"/>
                </a:lnTo>
                <a:lnTo>
                  <a:pt x="6686" y="2208"/>
                </a:lnTo>
                <a:lnTo>
                  <a:pt x="6688" y="2208"/>
                </a:lnTo>
                <a:lnTo>
                  <a:pt x="6692" y="2208"/>
                </a:lnTo>
                <a:lnTo>
                  <a:pt x="6694" y="2210"/>
                </a:lnTo>
                <a:lnTo>
                  <a:pt x="6694" y="2218"/>
                </a:lnTo>
                <a:lnTo>
                  <a:pt x="6694" y="2220"/>
                </a:lnTo>
                <a:lnTo>
                  <a:pt x="6692" y="2220"/>
                </a:lnTo>
                <a:lnTo>
                  <a:pt x="6688" y="2218"/>
                </a:lnTo>
                <a:lnTo>
                  <a:pt x="6682" y="2216"/>
                </a:lnTo>
                <a:lnTo>
                  <a:pt x="6680" y="2214"/>
                </a:lnTo>
                <a:lnTo>
                  <a:pt x="6670" y="2212"/>
                </a:lnTo>
                <a:lnTo>
                  <a:pt x="6664" y="2210"/>
                </a:lnTo>
                <a:lnTo>
                  <a:pt x="6664" y="2208"/>
                </a:lnTo>
                <a:lnTo>
                  <a:pt x="6664" y="2204"/>
                </a:lnTo>
                <a:lnTo>
                  <a:pt x="6664" y="2200"/>
                </a:lnTo>
                <a:lnTo>
                  <a:pt x="6662" y="2198"/>
                </a:lnTo>
                <a:lnTo>
                  <a:pt x="6662" y="2194"/>
                </a:lnTo>
                <a:lnTo>
                  <a:pt x="6660" y="2188"/>
                </a:lnTo>
                <a:lnTo>
                  <a:pt x="6658" y="2188"/>
                </a:lnTo>
                <a:lnTo>
                  <a:pt x="6654" y="2190"/>
                </a:lnTo>
                <a:lnTo>
                  <a:pt x="6646" y="2190"/>
                </a:lnTo>
                <a:lnTo>
                  <a:pt x="6642" y="2188"/>
                </a:lnTo>
                <a:lnTo>
                  <a:pt x="6638" y="2184"/>
                </a:lnTo>
                <a:lnTo>
                  <a:pt x="6634" y="2178"/>
                </a:lnTo>
                <a:lnTo>
                  <a:pt x="6632" y="2174"/>
                </a:lnTo>
                <a:lnTo>
                  <a:pt x="6632" y="2172"/>
                </a:lnTo>
                <a:lnTo>
                  <a:pt x="6628" y="2172"/>
                </a:lnTo>
                <a:lnTo>
                  <a:pt x="6622" y="2172"/>
                </a:lnTo>
                <a:lnTo>
                  <a:pt x="6618" y="2170"/>
                </a:lnTo>
                <a:lnTo>
                  <a:pt x="6614" y="2168"/>
                </a:lnTo>
                <a:lnTo>
                  <a:pt x="6612" y="2168"/>
                </a:lnTo>
                <a:lnTo>
                  <a:pt x="6608" y="2172"/>
                </a:lnTo>
                <a:lnTo>
                  <a:pt x="6604" y="2178"/>
                </a:lnTo>
                <a:lnTo>
                  <a:pt x="6596" y="2184"/>
                </a:lnTo>
                <a:lnTo>
                  <a:pt x="6592" y="2186"/>
                </a:lnTo>
                <a:lnTo>
                  <a:pt x="6586" y="2188"/>
                </a:lnTo>
                <a:lnTo>
                  <a:pt x="6580" y="2188"/>
                </a:lnTo>
                <a:lnTo>
                  <a:pt x="6576" y="2190"/>
                </a:lnTo>
                <a:lnTo>
                  <a:pt x="6572" y="2198"/>
                </a:lnTo>
                <a:lnTo>
                  <a:pt x="6568" y="2202"/>
                </a:lnTo>
                <a:lnTo>
                  <a:pt x="6566" y="2202"/>
                </a:lnTo>
                <a:lnTo>
                  <a:pt x="6562" y="2200"/>
                </a:lnTo>
                <a:lnTo>
                  <a:pt x="6558" y="2198"/>
                </a:lnTo>
                <a:lnTo>
                  <a:pt x="6554" y="2198"/>
                </a:lnTo>
                <a:lnTo>
                  <a:pt x="6550" y="2198"/>
                </a:lnTo>
                <a:lnTo>
                  <a:pt x="6544" y="2200"/>
                </a:lnTo>
                <a:lnTo>
                  <a:pt x="6542" y="2200"/>
                </a:lnTo>
                <a:lnTo>
                  <a:pt x="6540" y="2198"/>
                </a:lnTo>
                <a:lnTo>
                  <a:pt x="6540" y="2196"/>
                </a:lnTo>
                <a:lnTo>
                  <a:pt x="6542" y="2194"/>
                </a:lnTo>
                <a:lnTo>
                  <a:pt x="6548" y="2190"/>
                </a:lnTo>
                <a:lnTo>
                  <a:pt x="6554" y="2186"/>
                </a:lnTo>
                <a:lnTo>
                  <a:pt x="6556" y="2184"/>
                </a:lnTo>
                <a:lnTo>
                  <a:pt x="6554" y="2182"/>
                </a:lnTo>
                <a:lnTo>
                  <a:pt x="6554" y="2180"/>
                </a:lnTo>
                <a:lnTo>
                  <a:pt x="6556" y="2176"/>
                </a:lnTo>
                <a:lnTo>
                  <a:pt x="6556" y="2174"/>
                </a:lnTo>
                <a:lnTo>
                  <a:pt x="6554" y="2174"/>
                </a:lnTo>
                <a:lnTo>
                  <a:pt x="6546" y="2176"/>
                </a:lnTo>
                <a:lnTo>
                  <a:pt x="6540" y="2178"/>
                </a:lnTo>
                <a:lnTo>
                  <a:pt x="6536" y="2178"/>
                </a:lnTo>
                <a:lnTo>
                  <a:pt x="6532" y="2178"/>
                </a:lnTo>
                <a:lnTo>
                  <a:pt x="6530" y="2176"/>
                </a:lnTo>
                <a:lnTo>
                  <a:pt x="6528" y="2172"/>
                </a:lnTo>
                <a:lnTo>
                  <a:pt x="6526" y="2172"/>
                </a:lnTo>
                <a:lnTo>
                  <a:pt x="6522" y="2172"/>
                </a:lnTo>
                <a:lnTo>
                  <a:pt x="6520" y="2174"/>
                </a:lnTo>
                <a:lnTo>
                  <a:pt x="6518" y="2172"/>
                </a:lnTo>
                <a:lnTo>
                  <a:pt x="6514" y="2168"/>
                </a:lnTo>
                <a:lnTo>
                  <a:pt x="6510" y="2168"/>
                </a:lnTo>
                <a:lnTo>
                  <a:pt x="6506" y="2168"/>
                </a:lnTo>
                <a:lnTo>
                  <a:pt x="6508" y="2166"/>
                </a:lnTo>
                <a:lnTo>
                  <a:pt x="6512" y="2162"/>
                </a:lnTo>
                <a:lnTo>
                  <a:pt x="6512" y="2158"/>
                </a:lnTo>
                <a:lnTo>
                  <a:pt x="6510" y="2156"/>
                </a:lnTo>
                <a:lnTo>
                  <a:pt x="6508" y="2150"/>
                </a:lnTo>
                <a:lnTo>
                  <a:pt x="6506" y="2150"/>
                </a:lnTo>
                <a:lnTo>
                  <a:pt x="6504" y="2150"/>
                </a:lnTo>
                <a:lnTo>
                  <a:pt x="6500" y="2150"/>
                </a:lnTo>
                <a:lnTo>
                  <a:pt x="6496" y="2148"/>
                </a:lnTo>
                <a:lnTo>
                  <a:pt x="6494" y="2148"/>
                </a:lnTo>
                <a:lnTo>
                  <a:pt x="6490" y="2148"/>
                </a:lnTo>
                <a:lnTo>
                  <a:pt x="6488" y="2148"/>
                </a:lnTo>
                <a:lnTo>
                  <a:pt x="6492" y="2142"/>
                </a:lnTo>
                <a:lnTo>
                  <a:pt x="6494" y="2142"/>
                </a:lnTo>
                <a:lnTo>
                  <a:pt x="6494" y="2144"/>
                </a:lnTo>
                <a:lnTo>
                  <a:pt x="6496" y="2144"/>
                </a:lnTo>
                <a:lnTo>
                  <a:pt x="6500" y="2146"/>
                </a:lnTo>
                <a:lnTo>
                  <a:pt x="6502" y="2144"/>
                </a:lnTo>
                <a:lnTo>
                  <a:pt x="6504" y="2144"/>
                </a:lnTo>
                <a:lnTo>
                  <a:pt x="6506" y="2144"/>
                </a:lnTo>
                <a:lnTo>
                  <a:pt x="6508" y="2146"/>
                </a:lnTo>
                <a:lnTo>
                  <a:pt x="6512" y="2144"/>
                </a:lnTo>
                <a:lnTo>
                  <a:pt x="6512" y="2142"/>
                </a:lnTo>
                <a:lnTo>
                  <a:pt x="6512" y="2140"/>
                </a:lnTo>
                <a:lnTo>
                  <a:pt x="6506" y="2134"/>
                </a:lnTo>
                <a:lnTo>
                  <a:pt x="6500" y="2132"/>
                </a:lnTo>
                <a:lnTo>
                  <a:pt x="6496" y="2134"/>
                </a:lnTo>
                <a:lnTo>
                  <a:pt x="6494" y="2134"/>
                </a:lnTo>
                <a:lnTo>
                  <a:pt x="6490" y="2132"/>
                </a:lnTo>
                <a:lnTo>
                  <a:pt x="6490" y="2130"/>
                </a:lnTo>
                <a:lnTo>
                  <a:pt x="6490" y="2128"/>
                </a:lnTo>
                <a:lnTo>
                  <a:pt x="6494" y="2124"/>
                </a:lnTo>
                <a:lnTo>
                  <a:pt x="6498" y="2122"/>
                </a:lnTo>
                <a:lnTo>
                  <a:pt x="6498" y="2120"/>
                </a:lnTo>
                <a:lnTo>
                  <a:pt x="6496" y="2118"/>
                </a:lnTo>
                <a:lnTo>
                  <a:pt x="6494" y="2114"/>
                </a:lnTo>
                <a:lnTo>
                  <a:pt x="6494" y="2112"/>
                </a:lnTo>
                <a:lnTo>
                  <a:pt x="6494" y="2110"/>
                </a:lnTo>
                <a:lnTo>
                  <a:pt x="6492" y="2106"/>
                </a:lnTo>
                <a:lnTo>
                  <a:pt x="6492" y="2104"/>
                </a:lnTo>
                <a:lnTo>
                  <a:pt x="6498" y="2102"/>
                </a:lnTo>
                <a:lnTo>
                  <a:pt x="6502" y="2100"/>
                </a:lnTo>
                <a:lnTo>
                  <a:pt x="6504" y="2098"/>
                </a:lnTo>
                <a:lnTo>
                  <a:pt x="6502" y="2096"/>
                </a:lnTo>
                <a:lnTo>
                  <a:pt x="6504" y="2094"/>
                </a:lnTo>
                <a:lnTo>
                  <a:pt x="6508" y="2092"/>
                </a:lnTo>
                <a:lnTo>
                  <a:pt x="6510" y="2090"/>
                </a:lnTo>
                <a:lnTo>
                  <a:pt x="6510" y="2088"/>
                </a:lnTo>
                <a:lnTo>
                  <a:pt x="6508" y="2086"/>
                </a:lnTo>
                <a:lnTo>
                  <a:pt x="6506" y="2082"/>
                </a:lnTo>
                <a:lnTo>
                  <a:pt x="6508" y="2082"/>
                </a:lnTo>
                <a:lnTo>
                  <a:pt x="6514" y="2084"/>
                </a:lnTo>
                <a:lnTo>
                  <a:pt x="6516" y="2084"/>
                </a:lnTo>
                <a:lnTo>
                  <a:pt x="6518" y="2084"/>
                </a:lnTo>
                <a:lnTo>
                  <a:pt x="6520" y="2080"/>
                </a:lnTo>
                <a:lnTo>
                  <a:pt x="6520" y="2078"/>
                </a:lnTo>
                <a:lnTo>
                  <a:pt x="6518" y="2068"/>
                </a:lnTo>
                <a:lnTo>
                  <a:pt x="6520" y="2060"/>
                </a:lnTo>
                <a:lnTo>
                  <a:pt x="6522" y="2056"/>
                </a:lnTo>
                <a:lnTo>
                  <a:pt x="6524" y="2056"/>
                </a:lnTo>
                <a:lnTo>
                  <a:pt x="6528" y="2056"/>
                </a:lnTo>
                <a:lnTo>
                  <a:pt x="6528" y="2058"/>
                </a:lnTo>
                <a:lnTo>
                  <a:pt x="6526" y="2062"/>
                </a:lnTo>
                <a:lnTo>
                  <a:pt x="6526" y="2064"/>
                </a:lnTo>
                <a:lnTo>
                  <a:pt x="6528" y="2066"/>
                </a:lnTo>
                <a:lnTo>
                  <a:pt x="6532" y="2068"/>
                </a:lnTo>
                <a:lnTo>
                  <a:pt x="6534" y="2066"/>
                </a:lnTo>
                <a:lnTo>
                  <a:pt x="6534" y="2064"/>
                </a:lnTo>
                <a:lnTo>
                  <a:pt x="6536" y="2064"/>
                </a:lnTo>
                <a:lnTo>
                  <a:pt x="6538" y="2064"/>
                </a:lnTo>
                <a:lnTo>
                  <a:pt x="6540" y="2064"/>
                </a:lnTo>
                <a:lnTo>
                  <a:pt x="6542" y="2060"/>
                </a:lnTo>
                <a:lnTo>
                  <a:pt x="6548" y="2050"/>
                </a:lnTo>
                <a:lnTo>
                  <a:pt x="6548" y="2046"/>
                </a:lnTo>
                <a:lnTo>
                  <a:pt x="6548" y="2044"/>
                </a:lnTo>
                <a:lnTo>
                  <a:pt x="6542" y="2042"/>
                </a:lnTo>
                <a:lnTo>
                  <a:pt x="6530" y="2042"/>
                </a:lnTo>
                <a:lnTo>
                  <a:pt x="6526" y="2040"/>
                </a:lnTo>
                <a:lnTo>
                  <a:pt x="6522" y="2040"/>
                </a:lnTo>
                <a:lnTo>
                  <a:pt x="6522" y="2038"/>
                </a:lnTo>
                <a:lnTo>
                  <a:pt x="6524" y="2036"/>
                </a:lnTo>
                <a:lnTo>
                  <a:pt x="6526" y="2030"/>
                </a:lnTo>
                <a:lnTo>
                  <a:pt x="6524" y="2026"/>
                </a:lnTo>
                <a:lnTo>
                  <a:pt x="6522" y="2022"/>
                </a:lnTo>
                <a:lnTo>
                  <a:pt x="6522" y="2018"/>
                </a:lnTo>
                <a:lnTo>
                  <a:pt x="6524" y="2008"/>
                </a:lnTo>
                <a:lnTo>
                  <a:pt x="6526" y="2004"/>
                </a:lnTo>
                <a:lnTo>
                  <a:pt x="6528" y="2002"/>
                </a:lnTo>
                <a:lnTo>
                  <a:pt x="6530" y="1998"/>
                </a:lnTo>
                <a:lnTo>
                  <a:pt x="6532" y="1994"/>
                </a:lnTo>
                <a:lnTo>
                  <a:pt x="6532" y="1988"/>
                </a:lnTo>
                <a:lnTo>
                  <a:pt x="6530" y="1980"/>
                </a:lnTo>
                <a:lnTo>
                  <a:pt x="6528" y="1976"/>
                </a:lnTo>
                <a:lnTo>
                  <a:pt x="6528" y="1974"/>
                </a:lnTo>
                <a:lnTo>
                  <a:pt x="6532" y="1968"/>
                </a:lnTo>
                <a:lnTo>
                  <a:pt x="6534" y="1966"/>
                </a:lnTo>
                <a:lnTo>
                  <a:pt x="6534" y="1964"/>
                </a:lnTo>
                <a:lnTo>
                  <a:pt x="6530" y="1964"/>
                </a:lnTo>
                <a:lnTo>
                  <a:pt x="6528" y="1966"/>
                </a:lnTo>
                <a:lnTo>
                  <a:pt x="6522" y="1970"/>
                </a:lnTo>
                <a:lnTo>
                  <a:pt x="6514" y="1974"/>
                </a:lnTo>
                <a:lnTo>
                  <a:pt x="6510" y="1974"/>
                </a:lnTo>
                <a:lnTo>
                  <a:pt x="6506" y="1978"/>
                </a:lnTo>
                <a:lnTo>
                  <a:pt x="6500" y="1988"/>
                </a:lnTo>
                <a:lnTo>
                  <a:pt x="6494" y="1994"/>
                </a:lnTo>
                <a:lnTo>
                  <a:pt x="6488" y="1998"/>
                </a:lnTo>
                <a:lnTo>
                  <a:pt x="6480" y="2002"/>
                </a:lnTo>
                <a:lnTo>
                  <a:pt x="6470" y="2002"/>
                </a:lnTo>
                <a:lnTo>
                  <a:pt x="6460" y="2004"/>
                </a:lnTo>
                <a:lnTo>
                  <a:pt x="6452" y="2006"/>
                </a:lnTo>
                <a:lnTo>
                  <a:pt x="6446" y="2012"/>
                </a:lnTo>
                <a:lnTo>
                  <a:pt x="6442" y="2018"/>
                </a:lnTo>
                <a:lnTo>
                  <a:pt x="6438" y="2026"/>
                </a:lnTo>
                <a:lnTo>
                  <a:pt x="6436" y="2034"/>
                </a:lnTo>
                <a:lnTo>
                  <a:pt x="6432" y="2054"/>
                </a:lnTo>
                <a:lnTo>
                  <a:pt x="6432" y="2070"/>
                </a:lnTo>
                <a:lnTo>
                  <a:pt x="6434" y="2080"/>
                </a:lnTo>
                <a:lnTo>
                  <a:pt x="6436" y="2088"/>
                </a:lnTo>
                <a:lnTo>
                  <a:pt x="6434" y="2096"/>
                </a:lnTo>
                <a:lnTo>
                  <a:pt x="6432" y="2102"/>
                </a:lnTo>
                <a:lnTo>
                  <a:pt x="6434" y="2104"/>
                </a:lnTo>
                <a:lnTo>
                  <a:pt x="6438" y="2106"/>
                </a:lnTo>
                <a:lnTo>
                  <a:pt x="6442" y="2110"/>
                </a:lnTo>
                <a:lnTo>
                  <a:pt x="6442" y="2108"/>
                </a:lnTo>
                <a:lnTo>
                  <a:pt x="6444" y="2104"/>
                </a:lnTo>
                <a:lnTo>
                  <a:pt x="6446" y="2106"/>
                </a:lnTo>
                <a:lnTo>
                  <a:pt x="6450" y="2108"/>
                </a:lnTo>
                <a:lnTo>
                  <a:pt x="6452" y="2110"/>
                </a:lnTo>
                <a:lnTo>
                  <a:pt x="6456" y="2114"/>
                </a:lnTo>
                <a:lnTo>
                  <a:pt x="6456" y="2122"/>
                </a:lnTo>
                <a:lnTo>
                  <a:pt x="6456" y="2128"/>
                </a:lnTo>
                <a:lnTo>
                  <a:pt x="6452" y="2126"/>
                </a:lnTo>
                <a:lnTo>
                  <a:pt x="6450" y="2124"/>
                </a:lnTo>
                <a:lnTo>
                  <a:pt x="6448" y="2128"/>
                </a:lnTo>
                <a:lnTo>
                  <a:pt x="6448" y="2132"/>
                </a:lnTo>
                <a:lnTo>
                  <a:pt x="6450" y="2132"/>
                </a:lnTo>
                <a:lnTo>
                  <a:pt x="6452" y="2130"/>
                </a:lnTo>
                <a:lnTo>
                  <a:pt x="6454" y="2130"/>
                </a:lnTo>
                <a:lnTo>
                  <a:pt x="6454" y="2142"/>
                </a:lnTo>
                <a:lnTo>
                  <a:pt x="6456" y="2148"/>
                </a:lnTo>
                <a:lnTo>
                  <a:pt x="6458" y="2154"/>
                </a:lnTo>
                <a:lnTo>
                  <a:pt x="6468" y="2164"/>
                </a:lnTo>
                <a:lnTo>
                  <a:pt x="6470" y="2168"/>
                </a:lnTo>
                <a:lnTo>
                  <a:pt x="6470" y="2170"/>
                </a:lnTo>
                <a:lnTo>
                  <a:pt x="6466" y="2172"/>
                </a:lnTo>
                <a:lnTo>
                  <a:pt x="6458" y="2172"/>
                </a:lnTo>
                <a:lnTo>
                  <a:pt x="6456" y="2174"/>
                </a:lnTo>
                <a:lnTo>
                  <a:pt x="6454" y="2178"/>
                </a:lnTo>
                <a:lnTo>
                  <a:pt x="6454" y="2180"/>
                </a:lnTo>
                <a:lnTo>
                  <a:pt x="6454" y="2182"/>
                </a:lnTo>
                <a:lnTo>
                  <a:pt x="6460" y="2180"/>
                </a:lnTo>
                <a:lnTo>
                  <a:pt x="6464" y="2180"/>
                </a:lnTo>
                <a:lnTo>
                  <a:pt x="6464" y="2184"/>
                </a:lnTo>
                <a:lnTo>
                  <a:pt x="6462" y="2186"/>
                </a:lnTo>
                <a:lnTo>
                  <a:pt x="6462" y="2188"/>
                </a:lnTo>
                <a:lnTo>
                  <a:pt x="6466" y="2192"/>
                </a:lnTo>
                <a:lnTo>
                  <a:pt x="6470" y="2194"/>
                </a:lnTo>
                <a:lnTo>
                  <a:pt x="6468" y="2196"/>
                </a:lnTo>
                <a:lnTo>
                  <a:pt x="6464" y="2198"/>
                </a:lnTo>
                <a:lnTo>
                  <a:pt x="6464" y="2200"/>
                </a:lnTo>
                <a:lnTo>
                  <a:pt x="6466" y="2202"/>
                </a:lnTo>
                <a:lnTo>
                  <a:pt x="6474" y="2204"/>
                </a:lnTo>
                <a:lnTo>
                  <a:pt x="6482" y="2206"/>
                </a:lnTo>
                <a:lnTo>
                  <a:pt x="6488" y="2212"/>
                </a:lnTo>
                <a:lnTo>
                  <a:pt x="6490" y="2214"/>
                </a:lnTo>
                <a:lnTo>
                  <a:pt x="6486" y="2212"/>
                </a:lnTo>
                <a:lnTo>
                  <a:pt x="6478" y="2208"/>
                </a:lnTo>
                <a:lnTo>
                  <a:pt x="6472" y="2208"/>
                </a:lnTo>
                <a:lnTo>
                  <a:pt x="6464" y="2208"/>
                </a:lnTo>
                <a:lnTo>
                  <a:pt x="6456" y="2206"/>
                </a:lnTo>
                <a:lnTo>
                  <a:pt x="6454" y="2206"/>
                </a:lnTo>
                <a:lnTo>
                  <a:pt x="6452" y="2208"/>
                </a:lnTo>
                <a:lnTo>
                  <a:pt x="6452" y="2216"/>
                </a:lnTo>
                <a:lnTo>
                  <a:pt x="6454" y="2228"/>
                </a:lnTo>
                <a:lnTo>
                  <a:pt x="6454" y="2232"/>
                </a:lnTo>
                <a:lnTo>
                  <a:pt x="6450" y="2236"/>
                </a:lnTo>
                <a:lnTo>
                  <a:pt x="6448" y="2236"/>
                </a:lnTo>
                <a:lnTo>
                  <a:pt x="6448" y="2232"/>
                </a:lnTo>
                <a:lnTo>
                  <a:pt x="6448" y="2226"/>
                </a:lnTo>
                <a:lnTo>
                  <a:pt x="6448" y="2224"/>
                </a:lnTo>
                <a:lnTo>
                  <a:pt x="6446" y="2222"/>
                </a:lnTo>
                <a:lnTo>
                  <a:pt x="6442" y="2222"/>
                </a:lnTo>
                <a:lnTo>
                  <a:pt x="6440" y="2224"/>
                </a:lnTo>
                <a:lnTo>
                  <a:pt x="6440" y="2228"/>
                </a:lnTo>
                <a:lnTo>
                  <a:pt x="6438" y="2232"/>
                </a:lnTo>
                <a:lnTo>
                  <a:pt x="6438" y="2234"/>
                </a:lnTo>
                <a:lnTo>
                  <a:pt x="6436" y="2232"/>
                </a:lnTo>
                <a:lnTo>
                  <a:pt x="6434" y="2230"/>
                </a:lnTo>
                <a:lnTo>
                  <a:pt x="6432" y="2226"/>
                </a:lnTo>
                <a:lnTo>
                  <a:pt x="6434" y="2222"/>
                </a:lnTo>
                <a:lnTo>
                  <a:pt x="6432" y="2220"/>
                </a:lnTo>
                <a:lnTo>
                  <a:pt x="6430" y="2218"/>
                </a:lnTo>
                <a:lnTo>
                  <a:pt x="6426" y="2216"/>
                </a:lnTo>
                <a:lnTo>
                  <a:pt x="6418" y="2216"/>
                </a:lnTo>
                <a:lnTo>
                  <a:pt x="6406" y="2216"/>
                </a:lnTo>
                <a:lnTo>
                  <a:pt x="6398" y="2218"/>
                </a:lnTo>
                <a:lnTo>
                  <a:pt x="6394" y="2222"/>
                </a:lnTo>
                <a:lnTo>
                  <a:pt x="6392" y="2230"/>
                </a:lnTo>
                <a:lnTo>
                  <a:pt x="6390" y="2234"/>
                </a:lnTo>
                <a:lnTo>
                  <a:pt x="6392" y="2236"/>
                </a:lnTo>
                <a:lnTo>
                  <a:pt x="6394" y="2238"/>
                </a:lnTo>
                <a:lnTo>
                  <a:pt x="6398" y="2240"/>
                </a:lnTo>
                <a:lnTo>
                  <a:pt x="6398" y="2242"/>
                </a:lnTo>
                <a:lnTo>
                  <a:pt x="6394" y="2244"/>
                </a:lnTo>
                <a:lnTo>
                  <a:pt x="6390" y="2242"/>
                </a:lnTo>
                <a:lnTo>
                  <a:pt x="6384" y="2234"/>
                </a:lnTo>
                <a:lnTo>
                  <a:pt x="6380" y="2232"/>
                </a:lnTo>
                <a:lnTo>
                  <a:pt x="6374" y="2230"/>
                </a:lnTo>
                <a:lnTo>
                  <a:pt x="6348" y="2234"/>
                </a:lnTo>
                <a:lnTo>
                  <a:pt x="6338" y="2238"/>
                </a:lnTo>
                <a:lnTo>
                  <a:pt x="6330" y="2240"/>
                </a:lnTo>
                <a:lnTo>
                  <a:pt x="6324" y="2244"/>
                </a:lnTo>
                <a:lnTo>
                  <a:pt x="6322" y="2248"/>
                </a:lnTo>
                <a:lnTo>
                  <a:pt x="6318" y="2252"/>
                </a:lnTo>
                <a:lnTo>
                  <a:pt x="6318" y="2254"/>
                </a:lnTo>
                <a:lnTo>
                  <a:pt x="6318" y="2258"/>
                </a:lnTo>
                <a:lnTo>
                  <a:pt x="6320" y="2258"/>
                </a:lnTo>
                <a:lnTo>
                  <a:pt x="6322" y="2258"/>
                </a:lnTo>
                <a:lnTo>
                  <a:pt x="6324" y="2260"/>
                </a:lnTo>
                <a:lnTo>
                  <a:pt x="6324" y="2264"/>
                </a:lnTo>
                <a:lnTo>
                  <a:pt x="6324" y="2266"/>
                </a:lnTo>
                <a:lnTo>
                  <a:pt x="6326" y="2268"/>
                </a:lnTo>
                <a:lnTo>
                  <a:pt x="6328" y="2268"/>
                </a:lnTo>
                <a:lnTo>
                  <a:pt x="6330" y="2270"/>
                </a:lnTo>
                <a:lnTo>
                  <a:pt x="6330" y="2276"/>
                </a:lnTo>
                <a:lnTo>
                  <a:pt x="6330" y="2280"/>
                </a:lnTo>
                <a:lnTo>
                  <a:pt x="6332" y="2282"/>
                </a:lnTo>
                <a:lnTo>
                  <a:pt x="6334" y="2284"/>
                </a:lnTo>
                <a:lnTo>
                  <a:pt x="6338" y="2286"/>
                </a:lnTo>
                <a:lnTo>
                  <a:pt x="6340" y="2288"/>
                </a:lnTo>
                <a:lnTo>
                  <a:pt x="6338" y="2292"/>
                </a:lnTo>
                <a:lnTo>
                  <a:pt x="6336" y="2298"/>
                </a:lnTo>
                <a:lnTo>
                  <a:pt x="6332" y="2300"/>
                </a:lnTo>
                <a:lnTo>
                  <a:pt x="6328" y="2304"/>
                </a:lnTo>
                <a:lnTo>
                  <a:pt x="6324" y="2304"/>
                </a:lnTo>
                <a:lnTo>
                  <a:pt x="6318" y="2304"/>
                </a:lnTo>
                <a:lnTo>
                  <a:pt x="6312" y="2298"/>
                </a:lnTo>
                <a:lnTo>
                  <a:pt x="6308" y="2292"/>
                </a:lnTo>
                <a:lnTo>
                  <a:pt x="6308" y="2288"/>
                </a:lnTo>
                <a:lnTo>
                  <a:pt x="6308" y="2286"/>
                </a:lnTo>
                <a:lnTo>
                  <a:pt x="6312" y="2282"/>
                </a:lnTo>
                <a:lnTo>
                  <a:pt x="6314" y="2280"/>
                </a:lnTo>
                <a:lnTo>
                  <a:pt x="6318" y="2278"/>
                </a:lnTo>
                <a:lnTo>
                  <a:pt x="6316" y="2276"/>
                </a:lnTo>
                <a:lnTo>
                  <a:pt x="6312" y="2272"/>
                </a:lnTo>
                <a:lnTo>
                  <a:pt x="6310" y="2272"/>
                </a:lnTo>
                <a:lnTo>
                  <a:pt x="6310" y="2270"/>
                </a:lnTo>
                <a:lnTo>
                  <a:pt x="6312" y="2264"/>
                </a:lnTo>
                <a:lnTo>
                  <a:pt x="6314" y="2260"/>
                </a:lnTo>
                <a:lnTo>
                  <a:pt x="6314" y="2258"/>
                </a:lnTo>
                <a:lnTo>
                  <a:pt x="6312" y="2258"/>
                </a:lnTo>
                <a:lnTo>
                  <a:pt x="6302" y="2262"/>
                </a:lnTo>
                <a:lnTo>
                  <a:pt x="6298" y="2262"/>
                </a:lnTo>
                <a:lnTo>
                  <a:pt x="6296" y="2262"/>
                </a:lnTo>
                <a:lnTo>
                  <a:pt x="6294" y="2272"/>
                </a:lnTo>
                <a:lnTo>
                  <a:pt x="6292" y="2286"/>
                </a:lnTo>
                <a:lnTo>
                  <a:pt x="6288" y="2294"/>
                </a:lnTo>
                <a:lnTo>
                  <a:pt x="6286" y="2304"/>
                </a:lnTo>
                <a:lnTo>
                  <a:pt x="6278" y="2316"/>
                </a:lnTo>
                <a:lnTo>
                  <a:pt x="6272" y="2320"/>
                </a:lnTo>
                <a:lnTo>
                  <a:pt x="6270" y="2322"/>
                </a:lnTo>
                <a:lnTo>
                  <a:pt x="6270" y="2324"/>
                </a:lnTo>
                <a:lnTo>
                  <a:pt x="6270" y="2328"/>
                </a:lnTo>
                <a:lnTo>
                  <a:pt x="6270" y="2330"/>
                </a:lnTo>
                <a:lnTo>
                  <a:pt x="6262" y="2332"/>
                </a:lnTo>
                <a:lnTo>
                  <a:pt x="6256" y="2334"/>
                </a:lnTo>
                <a:lnTo>
                  <a:pt x="6256" y="2336"/>
                </a:lnTo>
                <a:lnTo>
                  <a:pt x="6256" y="2338"/>
                </a:lnTo>
                <a:lnTo>
                  <a:pt x="6262" y="2340"/>
                </a:lnTo>
                <a:lnTo>
                  <a:pt x="6272" y="2342"/>
                </a:lnTo>
                <a:lnTo>
                  <a:pt x="6276" y="2344"/>
                </a:lnTo>
                <a:lnTo>
                  <a:pt x="6268" y="2346"/>
                </a:lnTo>
                <a:lnTo>
                  <a:pt x="6254" y="2344"/>
                </a:lnTo>
                <a:lnTo>
                  <a:pt x="6250" y="2344"/>
                </a:lnTo>
                <a:lnTo>
                  <a:pt x="6246" y="2346"/>
                </a:lnTo>
                <a:lnTo>
                  <a:pt x="6246" y="2348"/>
                </a:lnTo>
                <a:lnTo>
                  <a:pt x="6252" y="2352"/>
                </a:lnTo>
                <a:lnTo>
                  <a:pt x="6260" y="2354"/>
                </a:lnTo>
                <a:lnTo>
                  <a:pt x="6264" y="2354"/>
                </a:lnTo>
                <a:lnTo>
                  <a:pt x="6270" y="2352"/>
                </a:lnTo>
                <a:lnTo>
                  <a:pt x="6272" y="2354"/>
                </a:lnTo>
                <a:lnTo>
                  <a:pt x="6274" y="2356"/>
                </a:lnTo>
                <a:lnTo>
                  <a:pt x="6272" y="2356"/>
                </a:lnTo>
                <a:lnTo>
                  <a:pt x="6264" y="2358"/>
                </a:lnTo>
                <a:lnTo>
                  <a:pt x="6260" y="2360"/>
                </a:lnTo>
                <a:lnTo>
                  <a:pt x="6256" y="2358"/>
                </a:lnTo>
                <a:lnTo>
                  <a:pt x="6252" y="2356"/>
                </a:lnTo>
                <a:lnTo>
                  <a:pt x="6248" y="2356"/>
                </a:lnTo>
                <a:lnTo>
                  <a:pt x="6242" y="2356"/>
                </a:lnTo>
                <a:lnTo>
                  <a:pt x="6234" y="2360"/>
                </a:lnTo>
                <a:lnTo>
                  <a:pt x="6226" y="2366"/>
                </a:lnTo>
                <a:lnTo>
                  <a:pt x="6216" y="2372"/>
                </a:lnTo>
                <a:lnTo>
                  <a:pt x="6208" y="2374"/>
                </a:lnTo>
                <a:lnTo>
                  <a:pt x="6190" y="2378"/>
                </a:lnTo>
                <a:lnTo>
                  <a:pt x="6176" y="2382"/>
                </a:lnTo>
                <a:lnTo>
                  <a:pt x="6172" y="2384"/>
                </a:lnTo>
                <a:lnTo>
                  <a:pt x="6170" y="2388"/>
                </a:lnTo>
                <a:lnTo>
                  <a:pt x="6170" y="2390"/>
                </a:lnTo>
                <a:lnTo>
                  <a:pt x="6170" y="2396"/>
                </a:lnTo>
                <a:lnTo>
                  <a:pt x="6170" y="2402"/>
                </a:lnTo>
                <a:lnTo>
                  <a:pt x="6170" y="2408"/>
                </a:lnTo>
                <a:lnTo>
                  <a:pt x="6170" y="2410"/>
                </a:lnTo>
                <a:lnTo>
                  <a:pt x="6170" y="2414"/>
                </a:lnTo>
                <a:lnTo>
                  <a:pt x="6170" y="2416"/>
                </a:lnTo>
                <a:lnTo>
                  <a:pt x="6170" y="2418"/>
                </a:lnTo>
                <a:lnTo>
                  <a:pt x="6168" y="2420"/>
                </a:lnTo>
                <a:lnTo>
                  <a:pt x="6170" y="2424"/>
                </a:lnTo>
                <a:lnTo>
                  <a:pt x="6172" y="2426"/>
                </a:lnTo>
                <a:lnTo>
                  <a:pt x="6170" y="2428"/>
                </a:lnTo>
                <a:lnTo>
                  <a:pt x="6168" y="2428"/>
                </a:lnTo>
                <a:lnTo>
                  <a:pt x="6164" y="2432"/>
                </a:lnTo>
                <a:lnTo>
                  <a:pt x="6162" y="2436"/>
                </a:lnTo>
                <a:lnTo>
                  <a:pt x="6156" y="2438"/>
                </a:lnTo>
                <a:lnTo>
                  <a:pt x="6128" y="2448"/>
                </a:lnTo>
                <a:lnTo>
                  <a:pt x="6120" y="2454"/>
                </a:lnTo>
                <a:lnTo>
                  <a:pt x="6114" y="2458"/>
                </a:lnTo>
                <a:lnTo>
                  <a:pt x="6110" y="2460"/>
                </a:lnTo>
                <a:lnTo>
                  <a:pt x="6110" y="2464"/>
                </a:lnTo>
                <a:lnTo>
                  <a:pt x="6110" y="2466"/>
                </a:lnTo>
                <a:lnTo>
                  <a:pt x="6112" y="2468"/>
                </a:lnTo>
                <a:lnTo>
                  <a:pt x="6118" y="2470"/>
                </a:lnTo>
                <a:lnTo>
                  <a:pt x="6120" y="2472"/>
                </a:lnTo>
                <a:lnTo>
                  <a:pt x="6116" y="2474"/>
                </a:lnTo>
                <a:lnTo>
                  <a:pt x="6104" y="2480"/>
                </a:lnTo>
                <a:lnTo>
                  <a:pt x="6100" y="2480"/>
                </a:lnTo>
                <a:lnTo>
                  <a:pt x="6096" y="2480"/>
                </a:lnTo>
                <a:lnTo>
                  <a:pt x="6088" y="2478"/>
                </a:lnTo>
                <a:lnTo>
                  <a:pt x="6076" y="2476"/>
                </a:lnTo>
                <a:lnTo>
                  <a:pt x="6068" y="2476"/>
                </a:lnTo>
                <a:lnTo>
                  <a:pt x="6060" y="2478"/>
                </a:lnTo>
                <a:lnTo>
                  <a:pt x="6058" y="2476"/>
                </a:lnTo>
                <a:lnTo>
                  <a:pt x="6058" y="2474"/>
                </a:lnTo>
                <a:lnTo>
                  <a:pt x="6056" y="2466"/>
                </a:lnTo>
                <a:lnTo>
                  <a:pt x="6054" y="2458"/>
                </a:lnTo>
                <a:lnTo>
                  <a:pt x="6052" y="2456"/>
                </a:lnTo>
                <a:lnTo>
                  <a:pt x="6048" y="2456"/>
                </a:lnTo>
                <a:lnTo>
                  <a:pt x="6040" y="2458"/>
                </a:lnTo>
                <a:lnTo>
                  <a:pt x="6034" y="2456"/>
                </a:lnTo>
                <a:lnTo>
                  <a:pt x="6030" y="2456"/>
                </a:lnTo>
                <a:lnTo>
                  <a:pt x="6030" y="2460"/>
                </a:lnTo>
                <a:lnTo>
                  <a:pt x="6032" y="2464"/>
                </a:lnTo>
                <a:lnTo>
                  <a:pt x="6032" y="2470"/>
                </a:lnTo>
                <a:lnTo>
                  <a:pt x="6032" y="2474"/>
                </a:lnTo>
                <a:lnTo>
                  <a:pt x="6036" y="2476"/>
                </a:lnTo>
                <a:lnTo>
                  <a:pt x="6040" y="2480"/>
                </a:lnTo>
                <a:lnTo>
                  <a:pt x="6042" y="2488"/>
                </a:lnTo>
                <a:lnTo>
                  <a:pt x="6044" y="2498"/>
                </a:lnTo>
                <a:lnTo>
                  <a:pt x="6044" y="2506"/>
                </a:lnTo>
                <a:lnTo>
                  <a:pt x="6044" y="2510"/>
                </a:lnTo>
                <a:lnTo>
                  <a:pt x="6044" y="2512"/>
                </a:lnTo>
                <a:lnTo>
                  <a:pt x="6046" y="2516"/>
                </a:lnTo>
                <a:lnTo>
                  <a:pt x="6048" y="2520"/>
                </a:lnTo>
                <a:lnTo>
                  <a:pt x="6042" y="2522"/>
                </a:lnTo>
                <a:lnTo>
                  <a:pt x="6036" y="2522"/>
                </a:lnTo>
                <a:lnTo>
                  <a:pt x="6034" y="2518"/>
                </a:lnTo>
                <a:lnTo>
                  <a:pt x="6032" y="2516"/>
                </a:lnTo>
                <a:lnTo>
                  <a:pt x="6030" y="2514"/>
                </a:lnTo>
                <a:lnTo>
                  <a:pt x="6028" y="2516"/>
                </a:lnTo>
                <a:lnTo>
                  <a:pt x="6026" y="2518"/>
                </a:lnTo>
                <a:lnTo>
                  <a:pt x="6022" y="2520"/>
                </a:lnTo>
                <a:lnTo>
                  <a:pt x="6018" y="2520"/>
                </a:lnTo>
                <a:lnTo>
                  <a:pt x="6016" y="2518"/>
                </a:lnTo>
                <a:lnTo>
                  <a:pt x="6014" y="2516"/>
                </a:lnTo>
                <a:lnTo>
                  <a:pt x="6010" y="2518"/>
                </a:lnTo>
                <a:lnTo>
                  <a:pt x="6002" y="2524"/>
                </a:lnTo>
                <a:lnTo>
                  <a:pt x="5998" y="2526"/>
                </a:lnTo>
                <a:lnTo>
                  <a:pt x="5994" y="2522"/>
                </a:lnTo>
                <a:lnTo>
                  <a:pt x="5988" y="2508"/>
                </a:lnTo>
                <a:lnTo>
                  <a:pt x="5982" y="2504"/>
                </a:lnTo>
                <a:lnTo>
                  <a:pt x="5980" y="2504"/>
                </a:lnTo>
                <a:lnTo>
                  <a:pt x="5976" y="2504"/>
                </a:lnTo>
                <a:lnTo>
                  <a:pt x="5970" y="2508"/>
                </a:lnTo>
                <a:lnTo>
                  <a:pt x="5966" y="2508"/>
                </a:lnTo>
                <a:lnTo>
                  <a:pt x="5964" y="2508"/>
                </a:lnTo>
                <a:lnTo>
                  <a:pt x="5964" y="2512"/>
                </a:lnTo>
                <a:lnTo>
                  <a:pt x="5962" y="2514"/>
                </a:lnTo>
                <a:lnTo>
                  <a:pt x="5960" y="2516"/>
                </a:lnTo>
                <a:lnTo>
                  <a:pt x="5956" y="2518"/>
                </a:lnTo>
                <a:lnTo>
                  <a:pt x="5950" y="2516"/>
                </a:lnTo>
                <a:lnTo>
                  <a:pt x="5946" y="2514"/>
                </a:lnTo>
                <a:lnTo>
                  <a:pt x="5944" y="2514"/>
                </a:lnTo>
                <a:lnTo>
                  <a:pt x="5942" y="2516"/>
                </a:lnTo>
                <a:lnTo>
                  <a:pt x="5934" y="2518"/>
                </a:lnTo>
                <a:lnTo>
                  <a:pt x="5924" y="2520"/>
                </a:lnTo>
                <a:lnTo>
                  <a:pt x="5918" y="2524"/>
                </a:lnTo>
                <a:lnTo>
                  <a:pt x="5914" y="2528"/>
                </a:lnTo>
                <a:lnTo>
                  <a:pt x="5914" y="2534"/>
                </a:lnTo>
                <a:lnTo>
                  <a:pt x="5916" y="2536"/>
                </a:lnTo>
                <a:lnTo>
                  <a:pt x="5920" y="2536"/>
                </a:lnTo>
                <a:lnTo>
                  <a:pt x="5924" y="2534"/>
                </a:lnTo>
                <a:lnTo>
                  <a:pt x="5928" y="2536"/>
                </a:lnTo>
                <a:lnTo>
                  <a:pt x="5930" y="2538"/>
                </a:lnTo>
                <a:lnTo>
                  <a:pt x="5926" y="2538"/>
                </a:lnTo>
                <a:lnTo>
                  <a:pt x="5922" y="2540"/>
                </a:lnTo>
                <a:lnTo>
                  <a:pt x="5922" y="2542"/>
                </a:lnTo>
                <a:lnTo>
                  <a:pt x="5924" y="2544"/>
                </a:lnTo>
                <a:lnTo>
                  <a:pt x="5926" y="2544"/>
                </a:lnTo>
                <a:lnTo>
                  <a:pt x="5930" y="2544"/>
                </a:lnTo>
                <a:lnTo>
                  <a:pt x="5934" y="2546"/>
                </a:lnTo>
                <a:lnTo>
                  <a:pt x="5934" y="2548"/>
                </a:lnTo>
                <a:lnTo>
                  <a:pt x="5932" y="2550"/>
                </a:lnTo>
                <a:lnTo>
                  <a:pt x="5924" y="2550"/>
                </a:lnTo>
                <a:lnTo>
                  <a:pt x="5918" y="2552"/>
                </a:lnTo>
                <a:lnTo>
                  <a:pt x="5918" y="2554"/>
                </a:lnTo>
                <a:lnTo>
                  <a:pt x="5920" y="2556"/>
                </a:lnTo>
                <a:lnTo>
                  <a:pt x="5928" y="2562"/>
                </a:lnTo>
                <a:lnTo>
                  <a:pt x="5930" y="2566"/>
                </a:lnTo>
                <a:lnTo>
                  <a:pt x="5932" y="2568"/>
                </a:lnTo>
                <a:lnTo>
                  <a:pt x="5938" y="2566"/>
                </a:lnTo>
                <a:lnTo>
                  <a:pt x="5942" y="2566"/>
                </a:lnTo>
                <a:lnTo>
                  <a:pt x="5950" y="2566"/>
                </a:lnTo>
                <a:lnTo>
                  <a:pt x="5964" y="2572"/>
                </a:lnTo>
                <a:lnTo>
                  <a:pt x="5972" y="2574"/>
                </a:lnTo>
                <a:lnTo>
                  <a:pt x="5976" y="2578"/>
                </a:lnTo>
                <a:lnTo>
                  <a:pt x="5980" y="2580"/>
                </a:lnTo>
                <a:lnTo>
                  <a:pt x="5986" y="2580"/>
                </a:lnTo>
                <a:lnTo>
                  <a:pt x="5990" y="2580"/>
                </a:lnTo>
                <a:lnTo>
                  <a:pt x="5990" y="2582"/>
                </a:lnTo>
                <a:lnTo>
                  <a:pt x="5992" y="2584"/>
                </a:lnTo>
                <a:lnTo>
                  <a:pt x="5998" y="2586"/>
                </a:lnTo>
                <a:lnTo>
                  <a:pt x="6004" y="2584"/>
                </a:lnTo>
                <a:lnTo>
                  <a:pt x="6006" y="2586"/>
                </a:lnTo>
                <a:lnTo>
                  <a:pt x="6008" y="2588"/>
                </a:lnTo>
                <a:lnTo>
                  <a:pt x="6008" y="2590"/>
                </a:lnTo>
                <a:lnTo>
                  <a:pt x="6004" y="2594"/>
                </a:lnTo>
                <a:lnTo>
                  <a:pt x="6004" y="2596"/>
                </a:lnTo>
                <a:lnTo>
                  <a:pt x="6006" y="2598"/>
                </a:lnTo>
                <a:lnTo>
                  <a:pt x="6014" y="2600"/>
                </a:lnTo>
                <a:lnTo>
                  <a:pt x="6020" y="2600"/>
                </a:lnTo>
                <a:lnTo>
                  <a:pt x="6018" y="2602"/>
                </a:lnTo>
                <a:lnTo>
                  <a:pt x="6018" y="2606"/>
                </a:lnTo>
                <a:lnTo>
                  <a:pt x="6018" y="2608"/>
                </a:lnTo>
                <a:lnTo>
                  <a:pt x="6020" y="2608"/>
                </a:lnTo>
                <a:lnTo>
                  <a:pt x="6024" y="2610"/>
                </a:lnTo>
                <a:lnTo>
                  <a:pt x="6026" y="2612"/>
                </a:lnTo>
                <a:lnTo>
                  <a:pt x="6026" y="2614"/>
                </a:lnTo>
                <a:lnTo>
                  <a:pt x="6024" y="2618"/>
                </a:lnTo>
                <a:lnTo>
                  <a:pt x="6022" y="2620"/>
                </a:lnTo>
                <a:lnTo>
                  <a:pt x="6020" y="2624"/>
                </a:lnTo>
                <a:lnTo>
                  <a:pt x="6024" y="2632"/>
                </a:lnTo>
                <a:lnTo>
                  <a:pt x="6032" y="2642"/>
                </a:lnTo>
                <a:lnTo>
                  <a:pt x="6044" y="2650"/>
                </a:lnTo>
                <a:lnTo>
                  <a:pt x="6052" y="2654"/>
                </a:lnTo>
                <a:lnTo>
                  <a:pt x="6058" y="2656"/>
                </a:lnTo>
                <a:lnTo>
                  <a:pt x="6060" y="2656"/>
                </a:lnTo>
                <a:lnTo>
                  <a:pt x="6060" y="2658"/>
                </a:lnTo>
                <a:lnTo>
                  <a:pt x="6058" y="2662"/>
                </a:lnTo>
                <a:lnTo>
                  <a:pt x="6060" y="2664"/>
                </a:lnTo>
                <a:lnTo>
                  <a:pt x="6062" y="2668"/>
                </a:lnTo>
                <a:lnTo>
                  <a:pt x="6062" y="2678"/>
                </a:lnTo>
                <a:lnTo>
                  <a:pt x="6060" y="2682"/>
                </a:lnTo>
                <a:lnTo>
                  <a:pt x="6058" y="2684"/>
                </a:lnTo>
                <a:lnTo>
                  <a:pt x="6054" y="2686"/>
                </a:lnTo>
                <a:lnTo>
                  <a:pt x="6054" y="2688"/>
                </a:lnTo>
                <a:lnTo>
                  <a:pt x="6062" y="2692"/>
                </a:lnTo>
                <a:lnTo>
                  <a:pt x="6072" y="2700"/>
                </a:lnTo>
                <a:lnTo>
                  <a:pt x="6078" y="2706"/>
                </a:lnTo>
                <a:lnTo>
                  <a:pt x="6078" y="2712"/>
                </a:lnTo>
                <a:lnTo>
                  <a:pt x="6080" y="2720"/>
                </a:lnTo>
                <a:lnTo>
                  <a:pt x="6078" y="2722"/>
                </a:lnTo>
                <a:lnTo>
                  <a:pt x="6076" y="2716"/>
                </a:lnTo>
                <a:lnTo>
                  <a:pt x="6072" y="2706"/>
                </a:lnTo>
                <a:lnTo>
                  <a:pt x="6068" y="2702"/>
                </a:lnTo>
                <a:lnTo>
                  <a:pt x="6064" y="2700"/>
                </a:lnTo>
                <a:lnTo>
                  <a:pt x="6062" y="2708"/>
                </a:lnTo>
                <a:lnTo>
                  <a:pt x="6058" y="2728"/>
                </a:lnTo>
                <a:lnTo>
                  <a:pt x="6056" y="2744"/>
                </a:lnTo>
                <a:lnTo>
                  <a:pt x="6058" y="2744"/>
                </a:lnTo>
                <a:lnTo>
                  <a:pt x="6060" y="2742"/>
                </a:lnTo>
                <a:lnTo>
                  <a:pt x="6062" y="2744"/>
                </a:lnTo>
                <a:lnTo>
                  <a:pt x="6062" y="2746"/>
                </a:lnTo>
                <a:lnTo>
                  <a:pt x="6060" y="2748"/>
                </a:lnTo>
                <a:lnTo>
                  <a:pt x="6058" y="2750"/>
                </a:lnTo>
                <a:lnTo>
                  <a:pt x="6056" y="2752"/>
                </a:lnTo>
                <a:lnTo>
                  <a:pt x="6054" y="2778"/>
                </a:lnTo>
                <a:lnTo>
                  <a:pt x="6050" y="2798"/>
                </a:lnTo>
                <a:lnTo>
                  <a:pt x="6046" y="2810"/>
                </a:lnTo>
                <a:lnTo>
                  <a:pt x="6042" y="2816"/>
                </a:lnTo>
                <a:lnTo>
                  <a:pt x="6036" y="2820"/>
                </a:lnTo>
                <a:lnTo>
                  <a:pt x="6026" y="2822"/>
                </a:lnTo>
                <a:lnTo>
                  <a:pt x="6020" y="2824"/>
                </a:lnTo>
                <a:lnTo>
                  <a:pt x="6010" y="2820"/>
                </a:lnTo>
                <a:lnTo>
                  <a:pt x="5998" y="2818"/>
                </a:lnTo>
                <a:lnTo>
                  <a:pt x="5992" y="2818"/>
                </a:lnTo>
                <a:lnTo>
                  <a:pt x="5984" y="2818"/>
                </a:lnTo>
                <a:lnTo>
                  <a:pt x="5972" y="2816"/>
                </a:lnTo>
                <a:lnTo>
                  <a:pt x="5962" y="2814"/>
                </a:lnTo>
                <a:lnTo>
                  <a:pt x="5954" y="2814"/>
                </a:lnTo>
                <a:lnTo>
                  <a:pt x="5936" y="2816"/>
                </a:lnTo>
                <a:lnTo>
                  <a:pt x="5916" y="2816"/>
                </a:lnTo>
                <a:lnTo>
                  <a:pt x="5904" y="2814"/>
                </a:lnTo>
                <a:lnTo>
                  <a:pt x="5890" y="2810"/>
                </a:lnTo>
                <a:lnTo>
                  <a:pt x="5876" y="2808"/>
                </a:lnTo>
                <a:lnTo>
                  <a:pt x="5868" y="2808"/>
                </a:lnTo>
                <a:lnTo>
                  <a:pt x="5856" y="2810"/>
                </a:lnTo>
                <a:lnTo>
                  <a:pt x="5838" y="2810"/>
                </a:lnTo>
                <a:lnTo>
                  <a:pt x="5828" y="2810"/>
                </a:lnTo>
                <a:lnTo>
                  <a:pt x="5818" y="2808"/>
                </a:lnTo>
                <a:lnTo>
                  <a:pt x="5806" y="2802"/>
                </a:lnTo>
                <a:lnTo>
                  <a:pt x="5794" y="2800"/>
                </a:lnTo>
                <a:lnTo>
                  <a:pt x="5788" y="2800"/>
                </a:lnTo>
                <a:lnTo>
                  <a:pt x="5782" y="2802"/>
                </a:lnTo>
                <a:lnTo>
                  <a:pt x="5776" y="2806"/>
                </a:lnTo>
                <a:lnTo>
                  <a:pt x="5774" y="2810"/>
                </a:lnTo>
                <a:lnTo>
                  <a:pt x="5772" y="2816"/>
                </a:lnTo>
                <a:lnTo>
                  <a:pt x="5770" y="2822"/>
                </a:lnTo>
                <a:lnTo>
                  <a:pt x="5768" y="2822"/>
                </a:lnTo>
                <a:lnTo>
                  <a:pt x="5762" y="2822"/>
                </a:lnTo>
                <a:lnTo>
                  <a:pt x="5756" y="2824"/>
                </a:lnTo>
                <a:lnTo>
                  <a:pt x="5750" y="2826"/>
                </a:lnTo>
                <a:lnTo>
                  <a:pt x="5740" y="2834"/>
                </a:lnTo>
                <a:lnTo>
                  <a:pt x="5736" y="2838"/>
                </a:lnTo>
                <a:lnTo>
                  <a:pt x="5734" y="2842"/>
                </a:lnTo>
                <a:lnTo>
                  <a:pt x="5732" y="2844"/>
                </a:lnTo>
                <a:lnTo>
                  <a:pt x="5734" y="2848"/>
                </a:lnTo>
                <a:lnTo>
                  <a:pt x="5740" y="2852"/>
                </a:lnTo>
                <a:lnTo>
                  <a:pt x="5740" y="2856"/>
                </a:lnTo>
                <a:lnTo>
                  <a:pt x="5742" y="2862"/>
                </a:lnTo>
                <a:lnTo>
                  <a:pt x="5746" y="2870"/>
                </a:lnTo>
                <a:lnTo>
                  <a:pt x="5748" y="2878"/>
                </a:lnTo>
                <a:lnTo>
                  <a:pt x="5750" y="2886"/>
                </a:lnTo>
                <a:lnTo>
                  <a:pt x="5750" y="2896"/>
                </a:lnTo>
                <a:lnTo>
                  <a:pt x="5752" y="2904"/>
                </a:lnTo>
                <a:lnTo>
                  <a:pt x="5750" y="2910"/>
                </a:lnTo>
                <a:lnTo>
                  <a:pt x="5750" y="2914"/>
                </a:lnTo>
                <a:lnTo>
                  <a:pt x="5752" y="2916"/>
                </a:lnTo>
                <a:lnTo>
                  <a:pt x="5752" y="2920"/>
                </a:lnTo>
                <a:lnTo>
                  <a:pt x="5750" y="2924"/>
                </a:lnTo>
                <a:lnTo>
                  <a:pt x="5752" y="2930"/>
                </a:lnTo>
                <a:lnTo>
                  <a:pt x="5758" y="2944"/>
                </a:lnTo>
                <a:lnTo>
                  <a:pt x="5760" y="2950"/>
                </a:lnTo>
                <a:lnTo>
                  <a:pt x="5758" y="2956"/>
                </a:lnTo>
                <a:lnTo>
                  <a:pt x="5756" y="2972"/>
                </a:lnTo>
                <a:lnTo>
                  <a:pt x="5750" y="2986"/>
                </a:lnTo>
                <a:lnTo>
                  <a:pt x="5750" y="2996"/>
                </a:lnTo>
                <a:lnTo>
                  <a:pt x="5750" y="3000"/>
                </a:lnTo>
                <a:lnTo>
                  <a:pt x="5748" y="3004"/>
                </a:lnTo>
                <a:lnTo>
                  <a:pt x="5746" y="3012"/>
                </a:lnTo>
                <a:lnTo>
                  <a:pt x="5740" y="3026"/>
                </a:lnTo>
                <a:lnTo>
                  <a:pt x="5738" y="3032"/>
                </a:lnTo>
                <a:lnTo>
                  <a:pt x="5734" y="3038"/>
                </a:lnTo>
                <a:lnTo>
                  <a:pt x="5730" y="3042"/>
                </a:lnTo>
                <a:lnTo>
                  <a:pt x="5728" y="3042"/>
                </a:lnTo>
                <a:lnTo>
                  <a:pt x="5728" y="3048"/>
                </a:lnTo>
                <a:lnTo>
                  <a:pt x="5728" y="3052"/>
                </a:lnTo>
                <a:lnTo>
                  <a:pt x="5728" y="3056"/>
                </a:lnTo>
                <a:lnTo>
                  <a:pt x="5724" y="3068"/>
                </a:lnTo>
                <a:lnTo>
                  <a:pt x="5722" y="3074"/>
                </a:lnTo>
                <a:lnTo>
                  <a:pt x="5722" y="3078"/>
                </a:lnTo>
                <a:lnTo>
                  <a:pt x="5724" y="3080"/>
                </a:lnTo>
                <a:lnTo>
                  <a:pt x="5728" y="3080"/>
                </a:lnTo>
                <a:lnTo>
                  <a:pt x="5736" y="3080"/>
                </a:lnTo>
                <a:lnTo>
                  <a:pt x="5736" y="3082"/>
                </a:lnTo>
                <a:lnTo>
                  <a:pt x="5734" y="3084"/>
                </a:lnTo>
                <a:lnTo>
                  <a:pt x="5734" y="3086"/>
                </a:lnTo>
                <a:lnTo>
                  <a:pt x="5734" y="3090"/>
                </a:lnTo>
                <a:lnTo>
                  <a:pt x="5734" y="3094"/>
                </a:lnTo>
                <a:lnTo>
                  <a:pt x="5734" y="3096"/>
                </a:lnTo>
                <a:lnTo>
                  <a:pt x="5738" y="3096"/>
                </a:lnTo>
                <a:lnTo>
                  <a:pt x="5742" y="3094"/>
                </a:lnTo>
                <a:lnTo>
                  <a:pt x="5748" y="3094"/>
                </a:lnTo>
                <a:lnTo>
                  <a:pt x="5750" y="3096"/>
                </a:lnTo>
                <a:lnTo>
                  <a:pt x="5752" y="3100"/>
                </a:lnTo>
                <a:lnTo>
                  <a:pt x="5752" y="3104"/>
                </a:lnTo>
                <a:lnTo>
                  <a:pt x="5750" y="3110"/>
                </a:lnTo>
                <a:lnTo>
                  <a:pt x="5748" y="3120"/>
                </a:lnTo>
                <a:lnTo>
                  <a:pt x="5750" y="3126"/>
                </a:lnTo>
                <a:lnTo>
                  <a:pt x="5750" y="3138"/>
                </a:lnTo>
                <a:lnTo>
                  <a:pt x="5748" y="3160"/>
                </a:lnTo>
                <a:lnTo>
                  <a:pt x="5744" y="3172"/>
                </a:lnTo>
                <a:lnTo>
                  <a:pt x="5746" y="3174"/>
                </a:lnTo>
                <a:lnTo>
                  <a:pt x="5748" y="3172"/>
                </a:lnTo>
                <a:lnTo>
                  <a:pt x="5752" y="3170"/>
                </a:lnTo>
                <a:lnTo>
                  <a:pt x="5756" y="3168"/>
                </a:lnTo>
                <a:lnTo>
                  <a:pt x="5764" y="3168"/>
                </a:lnTo>
                <a:lnTo>
                  <a:pt x="5778" y="3172"/>
                </a:lnTo>
                <a:lnTo>
                  <a:pt x="5788" y="3174"/>
                </a:lnTo>
                <a:lnTo>
                  <a:pt x="5794" y="3172"/>
                </a:lnTo>
                <a:lnTo>
                  <a:pt x="5798" y="3168"/>
                </a:lnTo>
                <a:lnTo>
                  <a:pt x="5808" y="3162"/>
                </a:lnTo>
                <a:lnTo>
                  <a:pt x="5814" y="3162"/>
                </a:lnTo>
                <a:lnTo>
                  <a:pt x="5820" y="3162"/>
                </a:lnTo>
                <a:lnTo>
                  <a:pt x="5828" y="3164"/>
                </a:lnTo>
                <a:lnTo>
                  <a:pt x="5834" y="3166"/>
                </a:lnTo>
                <a:lnTo>
                  <a:pt x="5842" y="3176"/>
                </a:lnTo>
                <a:lnTo>
                  <a:pt x="5846" y="3180"/>
                </a:lnTo>
                <a:lnTo>
                  <a:pt x="5846" y="3184"/>
                </a:lnTo>
                <a:lnTo>
                  <a:pt x="5848" y="3192"/>
                </a:lnTo>
                <a:lnTo>
                  <a:pt x="5852" y="3200"/>
                </a:lnTo>
                <a:lnTo>
                  <a:pt x="5858" y="3210"/>
                </a:lnTo>
                <a:lnTo>
                  <a:pt x="5866" y="3218"/>
                </a:lnTo>
                <a:lnTo>
                  <a:pt x="5874" y="3226"/>
                </a:lnTo>
                <a:lnTo>
                  <a:pt x="5880" y="3228"/>
                </a:lnTo>
                <a:lnTo>
                  <a:pt x="5882" y="3228"/>
                </a:lnTo>
                <a:lnTo>
                  <a:pt x="5886" y="3224"/>
                </a:lnTo>
                <a:lnTo>
                  <a:pt x="5890" y="3220"/>
                </a:lnTo>
                <a:lnTo>
                  <a:pt x="5892" y="3216"/>
                </a:lnTo>
                <a:lnTo>
                  <a:pt x="5896" y="3210"/>
                </a:lnTo>
                <a:lnTo>
                  <a:pt x="5900" y="3206"/>
                </a:lnTo>
                <a:lnTo>
                  <a:pt x="5902" y="3204"/>
                </a:lnTo>
                <a:lnTo>
                  <a:pt x="5912" y="3202"/>
                </a:lnTo>
                <a:lnTo>
                  <a:pt x="5920" y="3200"/>
                </a:lnTo>
                <a:lnTo>
                  <a:pt x="5924" y="3198"/>
                </a:lnTo>
                <a:lnTo>
                  <a:pt x="5924" y="3196"/>
                </a:lnTo>
                <a:lnTo>
                  <a:pt x="5930" y="3190"/>
                </a:lnTo>
                <a:lnTo>
                  <a:pt x="5938" y="3186"/>
                </a:lnTo>
                <a:lnTo>
                  <a:pt x="5948" y="3184"/>
                </a:lnTo>
                <a:lnTo>
                  <a:pt x="5954" y="3186"/>
                </a:lnTo>
                <a:lnTo>
                  <a:pt x="5960" y="3188"/>
                </a:lnTo>
                <a:lnTo>
                  <a:pt x="5968" y="3190"/>
                </a:lnTo>
                <a:lnTo>
                  <a:pt x="5976" y="3190"/>
                </a:lnTo>
                <a:lnTo>
                  <a:pt x="5994" y="3188"/>
                </a:lnTo>
                <a:lnTo>
                  <a:pt x="6008" y="3184"/>
                </a:lnTo>
                <a:lnTo>
                  <a:pt x="6012" y="3184"/>
                </a:lnTo>
                <a:lnTo>
                  <a:pt x="6016" y="3186"/>
                </a:lnTo>
                <a:lnTo>
                  <a:pt x="6020" y="3186"/>
                </a:lnTo>
                <a:lnTo>
                  <a:pt x="6024" y="3184"/>
                </a:lnTo>
                <a:lnTo>
                  <a:pt x="6030" y="3170"/>
                </a:lnTo>
                <a:lnTo>
                  <a:pt x="6036" y="3162"/>
                </a:lnTo>
                <a:lnTo>
                  <a:pt x="6042" y="3154"/>
                </a:lnTo>
                <a:lnTo>
                  <a:pt x="6048" y="3148"/>
                </a:lnTo>
                <a:lnTo>
                  <a:pt x="6060" y="3144"/>
                </a:lnTo>
                <a:lnTo>
                  <a:pt x="6074" y="3144"/>
                </a:lnTo>
                <a:lnTo>
                  <a:pt x="6076" y="3140"/>
                </a:lnTo>
                <a:lnTo>
                  <a:pt x="6076" y="3136"/>
                </a:lnTo>
                <a:lnTo>
                  <a:pt x="6076" y="3124"/>
                </a:lnTo>
                <a:lnTo>
                  <a:pt x="6080" y="3114"/>
                </a:lnTo>
                <a:lnTo>
                  <a:pt x="6086" y="3106"/>
                </a:lnTo>
                <a:lnTo>
                  <a:pt x="6094" y="3098"/>
                </a:lnTo>
                <a:lnTo>
                  <a:pt x="6108" y="3086"/>
                </a:lnTo>
                <a:lnTo>
                  <a:pt x="6114" y="3082"/>
                </a:lnTo>
                <a:lnTo>
                  <a:pt x="6114" y="3078"/>
                </a:lnTo>
                <a:lnTo>
                  <a:pt x="6112" y="3074"/>
                </a:lnTo>
                <a:lnTo>
                  <a:pt x="6106" y="3070"/>
                </a:lnTo>
                <a:lnTo>
                  <a:pt x="6100" y="3064"/>
                </a:lnTo>
                <a:lnTo>
                  <a:pt x="6098" y="3058"/>
                </a:lnTo>
                <a:lnTo>
                  <a:pt x="6094" y="3050"/>
                </a:lnTo>
                <a:lnTo>
                  <a:pt x="6094" y="3042"/>
                </a:lnTo>
                <a:lnTo>
                  <a:pt x="6096" y="3032"/>
                </a:lnTo>
                <a:lnTo>
                  <a:pt x="6102" y="3020"/>
                </a:lnTo>
                <a:lnTo>
                  <a:pt x="6108" y="3008"/>
                </a:lnTo>
                <a:lnTo>
                  <a:pt x="6124" y="2988"/>
                </a:lnTo>
                <a:lnTo>
                  <a:pt x="6130" y="2982"/>
                </a:lnTo>
                <a:lnTo>
                  <a:pt x="6134" y="2978"/>
                </a:lnTo>
                <a:lnTo>
                  <a:pt x="6144" y="2972"/>
                </a:lnTo>
                <a:lnTo>
                  <a:pt x="6144" y="2970"/>
                </a:lnTo>
                <a:lnTo>
                  <a:pt x="6140" y="2966"/>
                </a:lnTo>
                <a:lnTo>
                  <a:pt x="6138" y="2964"/>
                </a:lnTo>
                <a:lnTo>
                  <a:pt x="6138" y="2960"/>
                </a:lnTo>
                <a:lnTo>
                  <a:pt x="6142" y="2956"/>
                </a:lnTo>
                <a:lnTo>
                  <a:pt x="6150" y="2952"/>
                </a:lnTo>
                <a:lnTo>
                  <a:pt x="6168" y="2946"/>
                </a:lnTo>
                <a:lnTo>
                  <a:pt x="6186" y="2940"/>
                </a:lnTo>
                <a:lnTo>
                  <a:pt x="6192" y="2938"/>
                </a:lnTo>
                <a:lnTo>
                  <a:pt x="6196" y="2934"/>
                </a:lnTo>
                <a:lnTo>
                  <a:pt x="6198" y="2930"/>
                </a:lnTo>
                <a:lnTo>
                  <a:pt x="6204" y="2926"/>
                </a:lnTo>
                <a:lnTo>
                  <a:pt x="6220" y="2918"/>
                </a:lnTo>
                <a:lnTo>
                  <a:pt x="6228" y="2912"/>
                </a:lnTo>
                <a:lnTo>
                  <a:pt x="6234" y="2908"/>
                </a:lnTo>
                <a:lnTo>
                  <a:pt x="6238" y="2900"/>
                </a:lnTo>
                <a:lnTo>
                  <a:pt x="6236" y="2896"/>
                </a:lnTo>
                <a:lnTo>
                  <a:pt x="6236" y="2892"/>
                </a:lnTo>
                <a:lnTo>
                  <a:pt x="6234" y="2890"/>
                </a:lnTo>
                <a:lnTo>
                  <a:pt x="6236" y="2888"/>
                </a:lnTo>
                <a:lnTo>
                  <a:pt x="6240" y="2884"/>
                </a:lnTo>
                <a:lnTo>
                  <a:pt x="6240" y="2882"/>
                </a:lnTo>
                <a:lnTo>
                  <a:pt x="6240" y="2880"/>
                </a:lnTo>
                <a:lnTo>
                  <a:pt x="6238" y="2876"/>
                </a:lnTo>
                <a:lnTo>
                  <a:pt x="6232" y="2872"/>
                </a:lnTo>
                <a:lnTo>
                  <a:pt x="6232" y="2860"/>
                </a:lnTo>
                <a:lnTo>
                  <a:pt x="6232" y="2854"/>
                </a:lnTo>
                <a:lnTo>
                  <a:pt x="6234" y="2848"/>
                </a:lnTo>
                <a:lnTo>
                  <a:pt x="6234" y="2840"/>
                </a:lnTo>
                <a:lnTo>
                  <a:pt x="6234" y="2836"/>
                </a:lnTo>
                <a:lnTo>
                  <a:pt x="6234" y="2832"/>
                </a:lnTo>
                <a:lnTo>
                  <a:pt x="6240" y="2828"/>
                </a:lnTo>
                <a:lnTo>
                  <a:pt x="6248" y="2824"/>
                </a:lnTo>
                <a:lnTo>
                  <a:pt x="6256" y="2820"/>
                </a:lnTo>
                <a:lnTo>
                  <a:pt x="6268" y="2810"/>
                </a:lnTo>
                <a:lnTo>
                  <a:pt x="6272" y="2810"/>
                </a:lnTo>
                <a:lnTo>
                  <a:pt x="6272" y="2812"/>
                </a:lnTo>
                <a:lnTo>
                  <a:pt x="6274" y="2816"/>
                </a:lnTo>
                <a:lnTo>
                  <a:pt x="6278" y="2818"/>
                </a:lnTo>
                <a:lnTo>
                  <a:pt x="6282" y="2818"/>
                </a:lnTo>
                <a:lnTo>
                  <a:pt x="6290" y="2820"/>
                </a:lnTo>
                <a:lnTo>
                  <a:pt x="6292" y="2822"/>
                </a:lnTo>
                <a:lnTo>
                  <a:pt x="6294" y="2824"/>
                </a:lnTo>
                <a:lnTo>
                  <a:pt x="6302" y="2822"/>
                </a:lnTo>
                <a:lnTo>
                  <a:pt x="6310" y="2820"/>
                </a:lnTo>
                <a:lnTo>
                  <a:pt x="6316" y="2822"/>
                </a:lnTo>
                <a:lnTo>
                  <a:pt x="6320" y="2824"/>
                </a:lnTo>
                <a:lnTo>
                  <a:pt x="6324" y="2830"/>
                </a:lnTo>
                <a:lnTo>
                  <a:pt x="6328" y="2834"/>
                </a:lnTo>
                <a:lnTo>
                  <a:pt x="6332" y="2832"/>
                </a:lnTo>
                <a:lnTo>
                  <a:pt x="6336" y="2832"/>
                </a:lnTo>
                <a:lnTo>
                  <a:pt x="6338" y="2832"/>
                </a:lnTo>
                <a:lnTo>
                  <a:pt x="6340" y="2834"/>
                </a:lnTo>
                <a:lnTo>
                  <a:pt x="6344" y="2836"/>
                </a:lnTo>
                <a:lnTo>
                  <a:pt x="6350" y="2836"/>
                </a:lnTo>
                <a:lnTo>
                  <a:pt x="6362" y="2834"/>
                </a:lnTo>
                <a:lnTo>
                  <a:pt x="6374" y="2830"/>
                </a:lnTo>
                <a:lnTo>
                  <a:pt x="6378" y="2826"/>
                </a:lnTo>
                <a:lnTo>
                  <a:pt x="6378" y="2822"/>
                </a:lnTo>
                <a:lnTo>
                  <a:pt x="6378" y="2820"/>
                </a:lnTo>
                <a:lnTo>
                  <a:pt x="6380" y="2818"/>
                </a:lnTo>
                <a:lnTo>
                  <a:pt x="6390" y="2812"/>
                </a:lnTo>
                <a:lnTo>
                  <a:pt x="6410" y="2800"/>
                </a:lnTo>
                <a:lnTo>
                  <a:pt x="6422" y="2794"/>
                </a:lnTo>
                <a:lnTo>
                  <a:pt x="6432" y="2788"/>
                </a:lnTo>
                <a:lnTo>
                  <a:pt x="6438" y="2784"/>
                </a:lnTo>
                <a:lnTo>
                  <a:pt x="6442" y="2778"/>
                </a:lnTo>
                <a:lnTo>
                  <a:pt x="6448" y="2770"/>
                </a:lnTo>
                <a:lnTo>
                  <a:pt x="6452" y="2766"/>
                </a:lnTo>
                <a:lnTo>
                  <a:pt x="6458" y="2762"/>
                </a:lnTo>
                <a:lnTo>
                  <a:pt x="6464" y="2760"/>
                </a:lnTo>
                <a:lnTo>
                  <a:pt x="6472" y="2762"/>
                </a:lnTo>
                <a:lnTo>
                  <a:pt x="6478" y="2766"/>
                </a:lnTo>
                <a:lnTo>
                  <a:pt x="6482" y="2770"/>
                </a:lnTo>
                <a:lnTo>
                  <a:pt x="6492" y="2780"/>
                </a:lnTo>
                <a:lnTo>
                  <a:pt x="6498" y="2782"/>
                </a:lnTo>
                <a:lnTo>
                  <a:pt x="6504" y="2782"/>
                </a:lnTo>
                <a:lnTo>
                  <a:pt x="6510" y="2782"/>
                </a:lnTo>
                <a:lnTo>
                  <a:pt x="6514" y="2786"/>
                </a:lnTo>
                <a:lnTo>
                  <a:pt x="6516" y="2790"/>
                </a:lnTo>
                <a:lnTo>
                  <a:pt x="6518" y="2798"/>
                </a:lnTo>
                <a:lnTo>
                  <a:pt x="6520" y="2812"/>
                </a:lnTo>
                <a:lnTo>
                  <a:pt x="6522" y="2818"/>
                </a:lnTo>
                <a:lnTo>
                  <a:pt x="6526" y="2822"/>
                </a:lnTo>
                <a:lnTo>
                  <a:pt x="6528" y="2826"/>
                </a:lnTo>
                <a:lnTo>
                  <a:pt x="6530" y="2828"/>
                </a:lnTo>
                <a:lnTo>
                  <a:pt x="6530" y="2836"/>
                </a:lnTo>
                <a:lnTo>
                  <a:pt x="6530" y="2840"/>
                </a:lnTo>
                <a:lnTo>
                  <a:pt x="6530" y="2844"/>
                </a:lnTo>
                <a:lnTo>
                  <a:pt x="6534" y="2848"/>
                </a:lnTo>
                <a:lnTo>
                  <a:pt x="6538" y="2852"/>
                </a:lnTo>
                <a:lnTo>
                  <a:pt x="6554" y="2864"/>
                </a:lnTo>
                <a:lnTo>
                  <a:pt x="6556" y="2868"/>
                </a:lnTo>
                <a:lnTo>
                  <a:pt x="6556" y="2874"/>
                </a:lnTo>
                <a:lnTo>
                  <a:pt x="6556" y="2876"/>
                </a:lnTo>
                <a:lnTo>
                  <a:pt x="6558" y="2878"/>
                </a:lnTo>
                <a:lnTo>
                  <a:pt x="6566" y="2880"/>
                </a:lnTo>
                <a:lnTo>
                  <a:pt x="6574" y="2884"/>
                </a:lnTo>
                <a:lnTo>
                  <a:pt x="6578" y="2888"/>
                </a:lnTo>
                <a:lnTo>
                  <a:pt x="6582" y="2894"/>
                </a:lnTo>
                <a:lnTo>
                  <a:pt x="6586" y="2900"/>
                </a:lnTo>
                <a:lnTo>
                  <a:pt x="6590" y="2902"/>
                </a:lnTo>
                <a:lnTo>
                  <a:pt x="6594" y="2906"/>
                </a:lnTo>
                <a:lnTo>
                  <a:pt x="6604" y="2916"/>
                </a:lnTo>
                <a:lnTo>
                  <a:pt x="6616" y="2928"/>
                </a:lnTo>
                <a:lnTo>
                  <a:pt x="6628" y="2936"/>
                </a:lnTo>
                <a:lnTo>
                  <a:pt x="6642" y="2940"/>
                </a:lnTo>
                <a:lnTo>
                  <a:pt x="6654" y="2942"/>
                </a:lnTo>
                <a:lnTo>
                  <a:pt x="6658" y="2942"/>
                </a:lnTo>
                <a:lnTo>
                  <a:pt x="6662" y="2946"/>
                </a:lnTo>
                <a:lnTo>
                  <a:pt x="6666" y="2956"/>
                </a:lnTo>
                <a:lnTo>
                  <a:pt x="6672" y="2964"/>
                </a:lnTo>
                <a:lnTo>
                  <a:pt x="6676" y="2966"/>
                </a:lnTo>
                <a:lnTo>
                  <a:pt x="6680" y="2968"/>
                </a:lnTo>
                <a:lnTo>
                  <a:pt x="6686" y="2966"/>
                </a:lnTo>
                <a:lnTo>
                  <a:pt x="6688" y="2968"/>
                </a:lnTo>
                <a:lnTo>
                  <a:pt x="6688" y="2972"/>
                </a:lnTo>
                <a:lnTo>
                  <a:pt x="6688" y="2974"/>
                </a:lnTo>
                <a:lnTo>
                  <a:pt x="6688" y="2976"/>
                </a:lnTo>
                <a:lnTo>
                  <a:pt x="6690" y="2976"/>
                </a:lnTo>
                <a:lnTo>
                  <a:pt x="6696" y="2976"/>
                </a:lnTo>
                <a:lnTo>
                  <a:pt x="6702" y="2976"/>
                </a:lnTo>
                <a:lnTo>
                  <a:pt x="6706" y="2976"/>
                </a:lnTo>
                <a:lnTo>
                  <a:pt x="6706" y="2980"/>
                </a:lnTo>
                <a:lnTo>
                  <a:pt x="6706" y="2982"/>
                </a:lnTo>
                <a:lnTo>
                  <a:pt x="6706" y="2992"/>
                </a:lnTo>
                <a:lnTo>
                  <a:pt x="6708" y="2998"/>
                </a:lnTo>
                <a:lnTo>
                  <a:pt x="6714" y="3002"/>
                </a:lnTo>
                <a:lnTo>
                  <a:pt x="6726" y="3008"/>
                </a:lnTo>
                <a:lnTo>
                  <a:pt x="6734" y="3012"/>
                </a:lnTo>
                <a:lnTo>
                  <a:pt x="6738" y="3014"/>
                </a:lnTo>
                <a:lnTo>
                  <a:pt x="6742" y="3020"/>
                </a:lnTo>
                <a:lnTo>
                  <a:pt x="6746" y="3026"/>
                </a:lnTo>
                <a:lnTo>
                  <a:pt x="6750" y="3038"/>
                </a:lnTo>
                <a:lnTo>
                  <a:pt x="6754" y="3058"/>
                </a:lnTo>
                <a:lnTo>
                  <a:pt x="6756" y="3068"/>
                </a:lnTo>
                <a:lnTo>
                  <a:pt x="6756" y="3076"/>
                </a:lnTo>
                <a:lnTo>
                  <a:pt x="6752" y="3080"/>
                </a:lnTo>
                <a:lnTo>
                  <a:pt x="6748" y="3084"/>
                </a:lnTo>
                <a:lnTo>
                  <a:pt x="6748" y="3090"/>
                </a:lnTo>
                <a:lnTo>
                  <a:pt x="6746" y="3094"/>
                </a:lnTo>
                <a:lnTo>
                  <a:pt x="6744" y="3100"/>
                </a:lnTo>
                <a:lnTo>
                  <a:pt x="6740" y="3108"/>
                </a:lnTo>
                <a:lnTo>
                  <a:pt x="6738" y="3114"/>
                </a:lnTo>
                <a:lnTo>
                  <a:pt x="6738" y="3120"/>
                </a:lnTo>
                <a:lnTo>
                  <a:pt x="6742" y="3124"/>
                </a:lnTo>
                <a:lnTo>
                  <a:pt x="6748" y="3126"/>
                </a:lnTo>
                <a:lnTo>
                  <a:pt x="6752" y="3126"/>
                </a:lnTo>
                <a:lnTo>
                  <a:pt x="6754" y="3124"/>
                </a:lnTo>
                <a:lnTo>
                  <a:pt x="6756" y="3122"/>
                </a:lnTo>
                <a:lnTo>
                  <a:pt x="6760" y="3112"/>
                </a:lnTo>
                <a:lnTo>
                  <a:pt x="6768" y="3102"/>
                </a:lnTo>
                <a:lnTo>
                  <a:pt x="6772" y="3096"/>
                </a:lnTo>
                <a:lnTo>
                  <a:pt x="6774" y="3092"/>
                </a:lnTo>
                <a:lnTo>
                  <a:pt x="6776" y="3086"/>
                </a:lnTo>
                <a:lnTo>
                  <a:pt x="6780" y="3078"/>
                </a:lnTo>
                <a:lnTo>
                  <a:pt x="6784" y="3074"/>
                </a:lnTo>
                <a:lnTo>
                  <a:pt x="6790" y="3070"/>
                </a:lnTo>
                <a:lnTo>
                  <a:pt x="6796" y="3066"/>
                </a:lnTo>
                <a:lnTo>
                  <a:pt x="6798" y="3060"/>
                </a:lnTo>
                <a:lnTo>
                  <a:pt x="6800" y="3054"/>
                </a:lnTo>
                <a:lnTo>
                  <a:pt x="6800" y="3050"/>
                </a:lnTo>
                <a:lnTo>
                  <a:pt x="6796" y="3044"/>
                </a:lnTo>
                <a:lnTo>
                  <a:pt x="6794" y="3040"/>
                </a:lnTo>
                <a:lnTo>
                  <a:pt x="6788" y="3036"/>
                </a:lnTo>
                <a:lnTo>
                  <a:pt x="6784" y="3034"/>
                </a:lnTo>
                <a:lnTo>
                  <a:pt x="6774" y="3030"/>
                </a:lnTo>
                <a:lnTo>
                  <a:pt x="6770" y="3026"/>
                </a:lnTo>
                <a:lnTo>
                  <a:pt x="6770" y="3022"/>
                </a:lnTo>
                <a:lnTo>
                  <a:pt x="6774" y="3016"/>
                </a:lnTo>
                <a:lnTo>
                  <a:pt x="6778" y="3008"/>
                </a:lnTo>
                <a:lnTo>
                  <a:pt x="6778" y="3002"/>
                </a:lnTo>
                <a:lnTo>
                  <a:pt x="6780" y="2994"/>
                </a:lnTo>
                <a:lnTo>
                  <a:pt x="6784" y="2990"/>
                </a:lnTo>
                <a:lnTo>
                  <a:pt x="6788" y="2986"/>
                </a:lnTo>
                <a:lnTo>
                  <a:pt x="6796" y="2984"/>
                </a:lnTo>
                <a:lnTo>
                  <a:pt x="6802" y="2984"/>
                </a:lnTo>
                <a:lnTo>
                  <a:pt x="6808" y="2988"/>
                </a:lnTo>
                <a:lnTo>
                  <a:pt x="6818" y="2990"/>
                </a:lnTo>
                <a:lnTo>
                  <a:pt x="6824" y="2992"/>
                </a:lnTo>
                <a:lnTo>
                  <a:pt x="6828" y="2996"/>
                </a:lnTo>
                <a:lnTo>
                  <a:pt x="6832" y="3004"/>
                </a:lnTo>
                <a:lnTo>
                  <a:pt x="6836" y="3014"/>
                </a:lnTo>
                <a:lnTo>
                  <a:pt x="6838" y="3018"/>
                </a:lnTo>
                <a:lnTo>
                  <a:pt x="6842" y="3020"/>
                </a:lnTo>
                <a:lnTo>
                  <a:pt x="6850" y="3020"/>
                </a:lnTo>
                <a:lnTo>
                  <a:pt x="6850" y="3018"/>
                </a:lnTo>
                <a:lnTo>
                  <a:pt x="6850" y="3014"/>
                </a:lnTo>
                <a:lnTo>
                  <a:pt x="6852" y="3006"/>
                </a:lnTo>
                <a:lnTo>
                  <a:pt x="6854" y="3000"/>
                </a:lnTo>
                <a:lnTo>
                  <a:pt x="6852" y="2996"/>
                </a:lnTo>
                <a:lnTo>
                  <a:pt x="6850" y="2992"/>
                </a:lnTo>
                <a:lnTo>
                  <a:pt x="6846" y="2986"/>
                </a:lnTo>
                <a:lnTo>
                  <a:pt x="6836" y="2978"/>
                </a:lnTo>
                <a:lnTo>
                  <a:pt x="6826" y="2972"/>
                </a:lnTo>
                <a:lnTo>
                  <a:pt x="6810" y="2962"/>
                </a:lnTo>
                <a:lnTo>
                  <a:pt x="6804" y="2958"/>
                </a:lnTo>
                <a:lnTo>
                  <a:pt x="6798" y="2952"/>
                </a:lnTo>
                <a:lnTo>
                  <a:pt x="6794" y="2950"/>
                </a:lnTo>
                <a:lnTo>
                  <a:pt x="6786" y="2946"/>
                </a:lnTo>
                <a:lnTo>
                  <a:pt x="6768" y="2938"/>
                </a:lnTo>
                <a:lnTo>
                  <a:pt x="6758" y="2932"/>
                </a:lnTo>
                <a:lnTo>
                  <a:pt x="6752" y="2928"/>
                </a:lnTo>
                <a:lnTo>
                  <a:pt x="6750" y="2922"/>
                </a:lnTo>
                <a:lnTo>
                  <a:pt x="6752" y="2920"/>
                </a:lnTo>
                <a:lnTo>
                  <a:pt x="6754" y="2918"/>
                </a:lnTo>
                <a:lnTo>
                  <a:pt x="6760" y="2912"/>
                </a:lnTo>
                <a:lnTo>
                  <a:pt x="6760" y="2908"/>
                </a:lnTo>
                <a:lnTo>
                  <a:pt x="6758" y="2908"/>
                </a:lnTo>
                <a:lnTo>
                  <a:pt x="6752" y="2906"/>
                </a:lnTo>
                <a:lnTo>
                  <a:pt x="6744" y="2904"/>
                </a:lnTo>
                <a:lnTo>
                  <a:pt x="6722" y="2902"/>
                </a:lnTo>
                <a:lnTo>
                  <a:pt x="6710" y="2898"/>
                </a:lnTo>
                <a:lnTo>
                  <a:pt x="6702" y="2894"/>
                </a:lnTo>
                <a:lnTo>
                  <a:pt x="6686" y="2878"/>
                </a:lnTo>
                <a:lnTo>
                  <a:pt x="6676" y="2862"/>
                </a:lnTo>
                <a:lnTo>
                  <a:pt x="6668" y="2848"/>
                </a:lnTo>
                <a:lnTo>
                  <a:pt x="6664" y="2834"/>
                </a:lnTo>
                <a:lnTo>
                  <a:pt x="6658" y="2816"/>
                </a:lnTo>
                <a:lnTo>
                  <a:pt x="6654" y="2810"/>
                </a:lnTo>
                <a:lnTo>
                  <a:pt x="6650" y="2808"/>
                </a:lnTo>
                <a:lnTo>
                  <a:pt x="6642" y="2806"/>
                </a:lnTo>
                <a:lnTo>
                  <a:pt x="6636" y="2800"/>
                </a:lnTo>
                <a:lnTo>
                  <a:pt x="6628" y="2794"/>
                </a:lnTo>
                <a:lnTo>
                  <a:pt x="6618" y="2786"/>
                </a:lnTo>
                <a:lnTo>
                  <a:pt x="6612" y="2780"/>
                </a:lnTo>
                <a:lnTo>
                  <a:pt x="6608" y="2774"/>
                </a:lnTo>
                <a:lnTo>
                  <a:pt x="6604" y="2766"/>
                </a:lnTo>
                <a:lnTo>
                  <a:pt x="6602" y="2758"/>
                </a:lnTo>
                <a:lnTo>
                  <a:pt x="6602" y="2752"/>
                </a:lnTo>
                <a:lnTo>
                  <a:pt x="6602" y="2746"/>
                </a:lnTo>
                <a:lnTo>
                  <a:pt x="6604" y="2742"/>
                </a:lnTo>
                <a:lnTo>
                  <a:pt x="6608" y="2738"/>
                </a:lnTo>
                <a:lnTo>
                  <a:pt x="6610" y="2738"/>
                </a:lnTo>
                <a:lnTo>
                  <a:pt x="6612" y="2736"/>
                </a:lnTo>
                <a:lnTo>
                  <a:pt x="6612" y="2730"/>
                </a:lnTo>
                <a:lnTo>
                  <a:pt x="6602" y="2718"/>
                </a:lnTo>
                <a:lnTo>
                  <a:pt x="6600" y="2710"/>
                </a:lnTo>
                <a:lnTo>
                  <a:pt x="6600" y="2704"/>
                </a:lnTo>
                <a:lnTo>
                  <a:pt x="6604" y="2702"/>
                </a:lnTo>
                <a:lnTo>
                  <a:pt x="6608" y="2704"/>
                </a:lnTo>
                <a:lnTo>
                  <a:pt x="6612" y="2704"/>
                </a:lnTo>
                <a:lnTo>
                  <a:pt x="6614" y="2704"/>
                </a:lnTo>
                <a:lnTo>
                  <a:pt x="6618" y="2702"/>
                </a:lnTo>
                <a:lnTo>
                  <a:pt x="6626" y="2696"/>
                </a:lnTo>
                <a:lnTo>
                  <a:pt x="6634" y="2690"/>
                </a:lnTo>
                <a:lnTo>
                  <a:pt x="6642" y="2688"/>
                </a:lnTo>
                <a:lnTo>
                  <a:pt x="6642" y="2690"/>
                </a:lnTo>
                <a:lnTo>
                  <a:pt x="6644" y="2692"/>
                </a:lnTo>
                <a:lnTo>
                  <a:pt x="6650" y="2690"/>
                </a:lnTo>
                <a:lnTo>
                  <a:pt x="6656" y="2690"/>
                </a:lnTo>
                <a:lnTo>
                  <a:pt x="6658" y="2690"/>
                </a:lnTo>
                <a:lnTo>
                  <a:pt x="6658" y="2696"/>
                </a:lnTo>
                <a:lnTo>
                  <a:pt x="6658" y="2698"/>
                </a:lnTo>
                <a:lnTo>
                  <a:pt x="6656" y="2698"/>
                </a:lnTo>
                <a:lnTo>
                  <a:pt x="6654" y="2700"/>
                </a:lnTo>
                <a:lnTo>
                  <a:pt x="6652" y="2702"/>
                </a:lnTo>
                <a:lnTo>
                  <a:pt x="6652" y="2704"/>
                </a:lnTo>
                <a:lnTo>
                  <a:pt x="6654" y="2716"/>
                </a:lnTo>
                <a:lnTo>
                  <a:pt x="6660" y="2730"/>
                </a:lnTo>
                <a:lnTo>
                  <a:pt x="6666" y="2742"/>
                </a:lnTo>
                <a:lnTo>
                  <a:pt x="6670" y="2744"/>
                </a:lnTo>
                <a:lnTo>
                  <a:pt x="6672" y="2742"/>
                </a:lnTo>
                <a:lnTo>
                  <a:pt x="6678" y="2718"/>
                </a:lnTo>
                <a:lnTo>
                  <a:pt x="6680" y="2714"/>
                </a:lnTo>
                <a:lnTo>
                  <a:pt x="6684" y="2712"/>
                </a:lnTo>
                <a:lnTo>
                  <a:pt x="6688" y="2712"/>
                </a:lnTo>
                <a:lnTo>
                  <a:pt x="6694" y="2714"/>
                </a:lnTo>
                <a:lnTo>
                  <a:pt x="6700" y="2722"/>
                </a:lnTo>
                <a:lnTo>
                  <a:pt x="6706" y="2728"/>
                </a:lnTo>
                <a:lnTo>
                  <a:pt x="6706" y="2732"/>
                </a:lnTo>
                <a:lnTo>
                  <a:pt x="6708" y="2736"/>
                </a:lnTo>
                <a:lnTo>
                  <a:pt x="6708" y="2746"/>
                </a:lnTo>
                <a:lnTo>
                  <a:pt x="6710" y="2752"/>
                </a:lnTo>
                <a:lnTo>
                  <a:pt x="6714" y="2758"/>
                </a:lnTo>
                <a:lnTo>
                  <a:pt x="6720" y="2764"/>
                </a:lnTo>
                <a:lnTo>
                  <a:pt x="6720" y="2768"/>
                </a:lnTo>
                <a:lnTo>
                  <a:pt x="6720" y="2770"/>
                </a:lnTo>
                <a:lnTo>
                  <a:pt x="6718" y="2772"/>
                </a:lnTo>
                <a:lnTo>
                  <a:pt x="6718" y="2774"/>
                </a:lnTo>
                <a:lnTo>
                  <a:pt x="6718" y="2778"/>
                </a:lnTo>
                <a:lnTo>
                  <a:pt x="6722" y="2782"/>
                </a:lnTo>
                <a:lnTo>
                  <a:pt x="6732" y="2790"/>
                </a:lnTo>
                <a:lnTo>
                  <a:pt x="6740" y="2798"/>
                </a:lnTo>
                <a:lnTo>
                  <a:pt x="6746" y="2804"/>
                </a:lnTo>
                <a:lnTo>
                  <a:pt x="6750" y="2812"/>
                </a:lnTo>
                <a:lnTo>
                  <a:pt x="6750" y="2814"/>
                </a:lnTo>
                <a:lnTo>
                  <a:pt x="6752" y="2814"/>
                </a:lnTo>
                <a:lnTo>
                  <a:pt x="6762" y="2814"/>
                </a:lnTo>
                <a:lnTo>
                  <a:pt x="6768" y="2814"/>
                </a:lnTo>
                <a:lnTo>
                  <a:pt x="6774" y="2814"/>
                </a:lnTo>
                <a:lnTo>
                  <a:pt x="6786" y="2822"/>
                </a:lnTo>
                <a:lnTo>
                  <a:pt x="6800" y="2832"/>
                </a:lnTo>
                <a:lnTo>
                  <a:pt x="6812" y="2844"/>
                </a:lnTo>
                <a:lnTo>
                  <a:pt x="6798" y="2842"/>
                </a:lnTo>
                <a:lnTo>
                  <a:pt x="6794" y="2842"/>
                </a:lnTo>
                <a:lnTo>
                  <a:pt x="6800" y="2846"/>
                </a:lnTo>
                <a:lnTo>
                  <a:pt x="6818" y="2854"/>
                </a:lnTo>
                <a:lnTo>
                  <a:pt x="6828" y="2858"/>
                </a:lnTo>
                <a:lnTo>
                  <a:pt x="6836" y="2862"/>
                </a:lnTo>
                <a:lnTo>
                  <a:pt x="6844" y="2870"/>
                </a:lnTo>
                <a:lnTo>
                  <a:pt x="6848" y="2876"/>
                </a:lnTo>
                <a:lnTo>
                  <a:pt x="6852" y="2876"/>
                </a:lnTo>
                <a:lnTo>
                  <a:pt x="6858" y="2876"/>
                </a:lnTo>
                <a:lnTo>
                  <a:pt x="6862" y="2880"/>
                </a:lnTo>
                <a:lnTo>
                  <a:pt x="6868" y="2882"/>
                </a:lnTo>
                <a:lnTo>
                  <a:pt x="6872" y="2886"/>
                </a:lnTo>
                <a:lnTo>
                  <a:pt x="6874" y="2892"/>
                </a:lnTo>
                <a:lnTo>
                  <a:pt x="6876" y="2898"/>
                </a:lnTo>
                <a:lnTo>
                  <a:pt x="6876" y="2902"/>
                </a:lnTo>
                <a:lnTo>
                  <a:pt x="6880" y="2904"/>
                </a:lnTo>
                <a:lnTo>
                  <a:pt x="6888" y="2904"/>
                </a:lnTo>
                <a:lnTo>
                  <a:pt x="6892" y="2908"/>
                </a:lnTo>
                <a:lnTo>
                  <a:pt x="6894" y="2912"/>
                </a:lnTo>
                <a:lnTo>
                  <a:pt x="6892" y="2928"/>
                </a:lnTo>
                <a:lnTo>
                  <a:pt x="6890" y="2944"/>
                </a:lnTo>
                <a:lnTo>
                  <a:pt x="6890" y="2950"/>
                </a:lnTo>
                <a:lnTo>
                  <a:pt x="6890" y="2954"/>
                </a:lnTo>
                <a:lnTo>
                  <a:pt x="6892" y="2956"/>
                </a:lnTo>
                <a:lnTo>
                  <a:pt x="6890" y="2958"/>
                </a:lnTo>
                <a:lnTo>
                  <a:pt x="6888" y="2962"/>
                </a:lnTo>
                <a:lnTo>
                  <a:pt x="6884" y="2968"/>
                </a:lnTo>
                <a:lnTo>
                  <a:pt x="6884" y="2974"/>
                </a:lnTo>
                <a:lnTo>
                  <a:pt x="6886" y="2978"/>
                </a:lnTo>
                <a:lnTo>
                  <a:pt x="6888" y="2984"/>
                </a:lnTo>
                <a:lnTo>
                  <a:pt x="6888" y="2988"/>
                </a:lnTo>
                <a:lnTo>
                  <a:pt x="6886" y="2990"/>
                </a:lnTo>
                <a:lnTo>
                  <a:pt x="6886" y="2992"/>
                </a:lnTo>
                <a:lnTo>
                  <a:pt x="6894" y="2996"/>
                </a:lnTo>
                <a:lnTo>
                  <a:pt x="6902" y="3002"/>
                </a:lnTo>
                <a:lnTo>
                  <a:pt x="6906" y="3008"/>
                </a:lnTo>
                <a:lnTo>
                  <a:pt x="6908" y="3012"/>
                </a:lnTo>
                <a:lnTo>
                  <a:pt x="6910" y="3016"/>
                </a:lnTo>
                <a:lnTo>
                  <a:pt x="6910" y="3022"/>
                </a:lnTo>
                <a:lnTo>
                  <a:pt x="6912" y="3026"/>
                </a:lnTo>
                <a:lnTo>
                  <a:pt x="6916" y="3026"/>
                </a:lnTo>
                <a:lnTo>
                  <a:pt x="6924" y="3044"/>
                </a:lnTo>
                <a:lnTo>
                  <a:pt x="6930" y="3052"/>
                </a:lnTo>
                <a:lnTo>
                  <a:pt x="6936" y="3058"/>
                </a:lnTo>
                <a:lnTo>
                  <a:pt x="6940" y="3062"/>
                </a:lnTo>
                <a:lnTo>
                  <a:pt x="6942" y="3066"/>
                </a:lnTo>
                <a:lnTo>
                  <a:pt x="6944" y="3064"/>
                </a:lnTo>
                <a:lnTo>
                  <a:pt x="6946" y="3064"/>
                </a:lnTo>
                <a:lnTo>
                  <a:pt x="6948" y="3062"/>
                </a:lnTo>
                <a:lnTo>
                  <a:pt x="6952" y="3064"/>
                </a:lnTo>
                <a:lnTo>
                  <a:pt x="6958" y="3068"/>
                </a:lnTo>
                <a:lnTo>
                  <a:pt x="6960" y="3070"/>
                </a:lnTo>
                <a:lnTo>
                  <a:pt x="6958" y="3070"/>
                </a:lnTo>
                <a:lnTo>
                  <a:pt x="6950" y="3070"/>
                </a:lnTo>
                <a:lnTo>
                  <a:pt x="6942" y="3072"/>
                </a:lnTo>
                <a:lnTo>
                  <a:pt x="6942" y="3074"/>
                </a:lnTo>
                <a:lnTo>
                  <a:pt x="6944" y="3078"/>
                </a:lnTo>
                <a:lnTo>
                  <a:pt x="6952" y="3088"/>
                </a:lnTo>
                <a:lnTo>
                  <a:pt x="6956" y="3098"/>
                </a:lnTo>
                <a:lnTo>
                  <a:pt x="6958" y="3102"/>
                </a:lnTo>
                <a:lnTo>
                  <a:pt x="6962" y="3102"/>
                </a:lnTo>
                <a:lnTo>
                  <a:pt x="6964" y="3100"/>
                </a:lnTo>
                <a:lnTo>
                  <a:pt x="6968" y="3098"/>
                </a:lnTo>
                <a:lnTo>
                  <a:pt x="6970" y="3098"/>
                </a:lnTo>
                <a:lnTo>
                  <a:pt x="6974" y="3100"/>
                </a:lnTo>
                <a:lnTo>
                  <a:pt x="6984" y="3098"/>
                </a:lnTo>
                <a:lnTo>
                  <a:pt x="6996" y="3098"/>
                </a:lnTo>
                <a:lnTo>
                  <a:pt x="7000" y="3098"/>
                </a:lnTo>
                <a:lnTo>
                  <a:pt x="7004" y="3100"/>
                </a:lnTo>
                <a:lnTo>
                  <a:pt x="7008" y="3100"/>
                </a:lnTo>
                <a:lnTo>
                  <a:pt x="7014" y="3100"/>
                </a:lnTo>
                <a:lnTo>
                  <a:pt x="7020" y="3104"/>
                </a:lnTo>
                <a:lnTo>
                  <a:pt x="7026" y="3106"/>
                </a:lnTo>
                <a:lnTo>
                  <a:pt x="7032" y="3108"/>
                </a:lnTo>
                <a:lnTo>
                  <a:pt x="7038" y="3108"/>
                </a:lnTo>
                <a:lnTo>
                  <a:pt x="7042" y="3110"/>
                </a:lnTo>
                <a:lnTo>
                  <a:pt x="7042" y="3112"/>
                </a:lnTo>
                <a:lnTo>
                  <a:pt x="7042" y="3114"/>
                </a:lnTo>
                <a:lnTo>
                  <a:pt x="7036" y="3116"/>
                </a:lnTo>
                <a:lnTo>
                  <a:pt x="7028" y="3118"/>
                </a:lnTo>
                <a:lnTo>
                  <a:pt x="7022" y="3118"/>
                </a:lnTo>
                <a:lnTo>
                  <a:pt x="7006" y="3108"/>
                </a:lnTo>
                <a:lnTo>
                  <a:pt x="6996" y="3104"/>
                </a:lnTo>
                <a:lnTo>
                  <a:pt x="6990" y="3102"/>
                </a:lnTo>
                <a:lnTo>
                  <a:pt x="6986" y="3104"/>
                </a:lnTo>
                <a:lnTo>
                  <a:pt x="6982" y="3108"/>
                </a:lnTo>
                <a:lnTo>
                  <a:pt x="6980" y="3110"/>
                </a:lnTo>
                <a:lnTo>
                  <a:pt x="6978" y="3110"/>
                </a:lnTo>
                <a:lnTo>
                  <a:pt x="6972" y="3110"/>
                </a:lnTo>
                <a:lnTo>
                  <a:pt x="6968" y="3110"/>
                </a:lnTo>
                <a:lnTo>
                  <a:pt x="6966" y="3112"/>
                </a:lnTo>
                <a:lnTo>
                  <a:pt x="6966" y="3116"/>
                </a:lnTo>
                <a:lnTo>
                  <a:pt x="6964" y="3120"/>
                </a:lnTo>
                <a:lnTo>
                  <a:pt x="6962" y="3122"/>
                </a:lnTo>
                <a:lnTo>
                  <a:pt x="6960" y="3124"/>
                </a:lnTo>
                <a:lnTo>
                  <a:pt x="6958" y="3126"/>
                </a:lnTo>
                <a:lnTo>
                  <a:pt x="6960" y="3130"/>
                </a:lnTo>
                <a:lnTo>
                  <a:pt x="6964" y="3134"/>
                </a:lnTo>
                <a:lnTo>
                  <a:pt x="6964" y="3138"/>
                </a:lnTo>
                <a:lnTo>
                  <a:pt x="6964" y="3140"/>
                </a:lnTo>
                <a:lnTo>
                  <a:pt x="6970" y="3142"/>
                </a:lnTo>
                <a:lnTo>
                  <a:pt x="6974" y="3142"/>
                </a:lnTo>
                <a:lnTo>
                  <a:pt x="6976" y="3144"/>
                </a:lnTo>
                <a:lnTo>
                  <a:pt x="6980" y="3148"/>
                </a:lnTo>
                <a:lnTo>
                  <a:pt x="6978" y="3156"/>
                </a:lnTo>
                <a:lnTo>
                  <a:pt x="6976" y="3162"/>
                </a:lnTo>
                <a:lnTo>
                  <a:pt x="6976" y="3166"/>
                </a:lnTo>
                <a:lnTo>
                  <a:pt x="6976" y="3170"/>
                </a:lnTo>
                <a:lnTo>
                  <a:pt x="6982" y="3180"/>
                </a:lnTo>
                <a:lnTo>
                  <a:pt x="6986" y="3184"/>
                </a:lnTo>
                <a:lnTo>
                  <a:pt x="6988" y="3186"/>
                </a:lnTo>
                <a:lnTo>
                  <a:pt x="6990" y="3184"/>
                </a:lnTo>
                <a:lnTo>
                  <a:pt x="6992" y="3178"/>
                </a:lnTo>
                <a:lnTo>
                  <a:pt x="6994" y="3174"/>
                </a:lnTo>
                <a:lnTo>
                  <a:pt x="6996" y="3172"/>
                </a:lnTo>
                <a:lnTo>
                  <a:pt x="6998" y="3172"/>
                </a:lnTo>
                <a:lnTo>
                  <a:pt x="7000" y="3174"/>
                </a:lnTo>
                <a:lnTo>
                  <a:pt x="7006" y="3184"/>
                </a:lnTo>
                <a:lnTo>
                  <a:pt x="7008" y="3196"/>
                </a:lnTo>
                <a:lnTo>
                  <a:pt x="7008" y="3204"/>
                </a:lnTo>
                <a:lnTo>
                  <a:pt x="7010" y="3206"/>
                </a:lnTo>
                <a:lnTo>
                  <a:pt x="7012" y="3206"/>
                </a:lnTo>
                <a:lnTo>
                  <a:pt x="7014" y="3200"/>
                </a:lnTo>
                <a:lnTo>
                  <a:pt x="7018" y="3190"/>
                </a:lnTo>
                <a:lnTo>
                  <a:pt x="7018" y="3184"/>
                </a:lnTo>
                <a:lnTo>
                  <a:pt x="7020" y="3182"/>
                </a:lnTo>
                <a:lnTo>
                  <a:pt x="7022" y="3184"/>
                </a:lnTo>
                <a:lnTo>
                  <a:pt x="7026" y="3190"/>
                </a:lnTo>
                <a:lnTo>
                  <a:pt x="7032" y="3200"/>
                </a:lnTo>
                <a:lnTo>
                  <a:pt x="7036" y="3204"/>
                </a:lnTo>
                <a:lnTo>
                  <a:pt x="7040" y="3204"/>
                </a:lnTo>
                <a:lnTo>
                  <a:pt x="7040" y="3200"/>
                </a:lnTo>
                <a:lnTo>
                  <a:pt x="7040" y="3192"/>
                </a:lnTo>
                <a:lnTo>
                  <a:pt x="7032" y="3172"/>
                </a:lnTo>
                <a:lnTo>
                  <a:pt x="7024" y="3150"/>
                </a:lnTo>
                <a:lnTo>
                  <a:pt x="7022" y="3144"/>
                </a:lnTo>
                <a:lnTo>
                  <a:pt x="7022" y="3142"/>
                </a:lnTo>
                <a:lnTo>
                  <a:pt x="7024" y="3142"/>
                </a:lnTo>
                <a:lnTo>
                  <a:pt x="7030" y="3144"/>
                </a:lnTo>
                <a:lnTo>
                  <a:pt x="7034" y="3146"/>
                </a:lnTo>
                <a:lnTo>
                  <a:pt x="7036" y="3150"/>
                </a:lnTo>
                <a:lnTo>
                  <a:pt x="7038" y="3154"/>
                </a:lnTo>
                <a:lnTo>
                  <a:pt x="7040" y="3158"/>
                </a:lnTo>
                <a:lnTo>
                  <a:pt x="7044" y="3158"/>
                </a:lnTo>
                <a:lnTo>
                  <a:pt x="7052" y="3152"/>
                </a:lnTo>
                <a:lnTo>
                  <a:pt x="7054" y="3152"/>
                </a:lnTo>
                <a:lnTo>
                  <a:pt x="7056" y="3150"/>
                </a:lnTo>
                <a:lnTo>
                  <a:pt x="7054" y="3146"/>
                </a:lnTo>
                <a:lnTo>
                  <a:pt x="7050" y="3142"/>
                </a:lnTo>
                <a:lnTo>
                  <a:pt x="7044" y="3140"/>
                </a:lnTo>
                <a:lnTo>
                  <a:pt x="7040" y="3140"/>
                </a:lnTo>
                <a:lnTo>
                  <a:pt x="7040" y="3138"/>
                </a:lnTo>
                <a:lnTo>
                  <a:pt x="7040" y="3134"/>
                </a:lnTo>
                <a:lnTo>
                  <a:pt x="7038" y="3130"/>
                </a:lnTo>
                <a:lnTo>
                  <a:pt x="7036" y="3128"/>
                </a:lnTo>
                <a:lnTo>
                  <a:pt x="7038" y="3124"/>
                </a:lnTo>
                <a:lnTo>
                  <a:pt x="7044" y="3120"/>
                </a:lnTo>
                <a:lnTo>
                  <a:pt x="7052" y="3118"/>
                </a:lnTo>
                <a:lnTo>
                  <a:pt x="7056" y="3118"/>
                </a:lnTo>
                <a:lnTo>
                  <a:pt x="7058" y="3120"/>
                </a:lnTo>
                <a:lnTo>
                  <a:pt x="7066" y="3132"/>
                </a:lnTo>
                <a:lnTo>
                  <a:pt x="7072" y="3136"/>
                </a:lnTo>
                <a:lnTo>
                  <a:pt x="7074" y="3138"/>
                </a:lnTo>
                <a:lnTo>
                  <a:pt x="7076" y="3138"/>
                </a:lnTo>
                <a:lnTo>
                  <a:pt x="7078" y="3136"/>
                </a:lnTo>
                <a:lnTo>
                  <a:pt x="7078" y="3134"/>
                </a:lnTo>
                <a:lnTo>
                  <a:pt x="7078" y="3128"/>
                </a:lnTo>
                <a:lnTo>
                  <a:pt x="7076" y="3120"/>
                </a:lnTo>
                <a:lnTo>
                  <a:pt x="7076" y="3114"/>
                </a:lnTo>
                <a:lnTo>
                  <a:pt x="7076" y="3110"/>
                </a:lnTo>
                <a:lnTo>
                  <a:pt x="7076" y="3108"/>
                </a:lnTo>
                <a:lnTo>
                  <a:pt x="7070" y="3104"/>
                </a:lnTo>
                <a:lnTo>
                  <a:pt x="7062" y="3102"/>
                </a:lnTo>
                <a:lnTo>
                  <a:pt x="7060" y="3100"/>
                </a:lnTo>
                <a:lnTo>
                  <a:pt x="7058" y="3096"/>
                </a:lnTo>
                <a:lnTo>
                  <a:pt x="7054" y="3092"/>
                </a:lnTo>
                <a:lnTo>
                  <a:pt x="7052" y="3092"/>
                </a:lnTo>
                <a:lnTo>
                  <a:pt x="7048" y="3090"/>
                </a:lnTo>
                <a:lnTo>
                  <a:pt x="7044" y="3086"/>
                </a:lnTo>
                <a:lnTo>
                  <a:pt x="7042" y="3082"/>
                </a:lnTo>
                <a:lnTo>
                  <a:pt x="7036" y="3078"/>
                </a:lnTo>
                <a:lnTo>
                  <a:pt x="7024" y="3074"/>
                </a:lnTo>
                <a:lnTo>
                  <a:pt x="7016" y="3072"/>
                </a:lnTo>
                <a:lnTo>
                  <a:pt x="7016" y="3070"/>
                </a:lnTo>
                <a:lnTo>
                  <a:pt x="7022" y="3068"/>
                </a:lnTo>
                <a:lnTo>
                  <a:pt x="7030" y="3068"/>
                </a:lnTo>
                <a:lnTo>
                  <a:pt x="7032" y="3064"/>
                </a:lnTo>
                <a:lnTo>
                  <a:pt x="7032" y="3060"/>
                </a:lnTo>
                <a:lnTo>
                  <a:pt x="7032" y="3056"/>
                </a:lnTo>
                <a:lnTo>
                  <a:pt x="7028" y="3050"/>
                </a:lnTo>
                <a:lnTo>
                  <a:pt x="7030" y="3048"/>
                </a:lnTo>
                <a:lnTo>
                  <a:pt x="7034" y="3046"/>
                </a:lnTo>
                <a:lnTo>
                  <a:pt x="7036" y="3048"/>
                </a:lnTo>
                <a:lnTo>
                  <a:pt x="7038" y="3048"/>
                </a:lnTo>
                <a:lnTo>
                  <a:pt x="7038" y="3054"/>
                </a:lnTo>
                <a:lnTo>
                  <a:pt x="7038" y="3060"/>
                </a:lnTo>
                <a:lnTo>
                  <a:pt x="7040" y="3060"/>
                </a:lnTo>
                <a:lnTo>
                  <a:pt x="7042" y="3058"/>
                </a:lnTo>
                <a:lnTo>
                  <a:pt x="7044" y="3056"/>
                </a:lnTo>
                <a:lnTo>
                  <a:pt x="7046" y="3052"/>
                </a:lnTo>
                <a:lnTo>
                  <a:pt x="7044" y="3046"/>
                </a:lnTo>
                <a:lnTo>
                  <a:pt x="7038" y="3038"/>
                </a:lnTo>
                <a:lnTo>
                  <a:pt x="7032" y="3028"/>
                </a:lnTo>
                <a:lnTo>
                  <a:pt x="7024" y="3018"/>
                </a:lnTo>
                <a:lnTo>
                  <a:pt x="7018" y="3010"/>
                </a:lnTo>
                <a:lnTo>
                  <a:pt x="7016" y="3000"/>
                </a:lnTo>
                <a:lnTo>
                  <a:pt x="7014" y="2996"/>
                </a:lnTo>
                <a:lnTo>
                  <a:pt x="7016" y="2990"/>
                </a:lnTo>
                <a:lnTo>
                  <a:pt x="7020" y="2984"/>
                </a:lnTo>
                <a:lnTo>
                  <a:pt x="7026" y="2978"/>
                </a:lnTo>
                <a:lnTo>
                  <a:pt x="7028" y="2976"/>
                </a:lnTo>
                <a:lnTo>
                  <a:pt x="7030" y="2976"/>
                </a:lnTo>
                <a:lnTo>
                  <a:pt x="7030" y="2980"/>
                </a:lnTo>
                <a:lnTo>
                  <a:pt x="7030" y="2984"/>
                </a:lnTo>
                <a:lnTo>
                  <a:pt x="7030" y="2988"/>
                </a:lnTo>
                <a:lnTo>
                  <a:pt x="7032" y="2988"/>
                </a:lnTo>
                <a:lnTo>
                  <a:pt x="7036" y="2990"/>
                </a:lnTo>
                <a:lnTo>
                  <a:pt x="7042" y="2994"/>
                </a:lnTo>
                <a:lnTo>
                  <a:pt x="7044" y="2998"/>
                </a:lnTo>
                <a:lnTo>
                  <a:pt x="7046" y="3004"/>
                </a:lnTo>
                <a:lnTo>
                  <a:pt x="7048" y="3008"/>
                </a:lnTo>
                <a:lnTo>
                  <a:pt x="7050" y="3012"/>
                </a:lnTo>
                <a:lnTo>
                  <a:pt x="7056" y="3014"/>
                </a:lnTo>
                <a:lnTo>
                  <a:pt x="7058" y="3014"/>
                </a:lnTo>
                <a:lnTo>
                  <a:pt x="7060" y="3012"/>
                </a:lnTo>
                <a:lnTo>
                  <a:pt x="7060" y="3010"/>
                </a:lnTo>
                <a:lnTo>
                  <a:pt x="7058" y="3008"/>
                </a:lnTo>
                <a:lnTo>
                  <a:pt x="7054" y="3002"/>
                </a:lnTo>
                <a:lnTo>
                  <a:pt x="7052" y="2996"/>
                </a:lnTo>
                <a:lnTo>
                  <a:pt x="7054" y="2996"/>
                </a:lnTo>
                <a:lnTo>
                  <a:pt x="7062" y="3002"/>
                </a:lnTo>
                <a:lnTo>
                  <a:pt x="7070" y="3010"/>
                </a:lnTo>
                <a:lnTo>
                  <a:pt x="7074" y="3012"/>
                </a:lnTo>
                <a:lnTo>
                  <a:pt x="7076" y="3010"/>
                </a:lnTo>
                <a:lnTo>
                  <a:pt x="7076" y="3008"/>
                </a:lnTo>
                <a:lnTo>
                  <a:pt x="7070" y="3000"/>
                </a:lnTo>
                <a:lnTo>
                  <a:pt x="7064" y="2992"/>
                </a:lnTo>
                <a:lnTo>
                  <a:pt x="7066" y="2990"/>
                </a:lnTo>
                <a:lnTo>
                  <a:pt x="7080" y="2998"/>
                </a:lnTo>
                <a:lnTo>
                  <a:pt x="7086" y="3002"/>
                </a:lnTo>
                <a:lnTo>
                  <a:pt x="7090" y="3002"/>
                </a:lnTo>
                <a:lnTo>
                  <a:pt x="7090" y="3000"/>
                </a:lnTo>
                <a:lnTo>
                  <a:pt x="7084" y="2994"/>
                </a:lnTo>
                <a:lnTo>
                  <a:pt x="7076" y="2988"/>
                </a:lnTo>
                <a:lnTo>
                  <a:pt x="7072" y="2986"/>
                </a:lnTo>
                <a:lnTo>
                  <a:pt x="7068" y="2986"/>
                </a:lnTo>
                <a:lnTo>
                  <a:pt x="7070" y="2982"/>
                </a:lnTo>
                <a:lnTo>
                  <a:pt x="7070" y="2980"/>
                </a:lnTo>
                <a:lnTo>
                  <a:pt x="7068" y="2976"/>
                </a:lnTo>
                <a:lnTo>
                  <a:pt x="7066" y="2974"/>
                </a:lnTo>
                <a:lnTo>
                  <a:pt x="7064" y="2972"/>
                </a:lnTo>
                <a:lnTo>
                  <a:pt x="7072" y="2970"/>
                </a:lnTo>
                <a:lnTo>
                  <a:pt x="7078" y="2968"/>
                </a:lnTo>
                <a:lnTo>
                  <a:pt x="7082" y="2966"/>
                </a:lnTo>
                <a:lnTo>
                  <a:pt x="7088" y="2962"/>
                </a:lnTo>
                <a:lnTo>
                  <a:pt x="7094" y="2958"/>
                </a:lnTo>
                <a:lnTo>
                  <a:pt x="7096" y="2958"/>
                </a:lnTo>
                <a:lnTo>
                  <a:pt x="7102" y="2960"/>
                </a:lnTo>
                <a:lnTo>
                  <a:pt x="7106" y="2962"/>
                </a:lnTo>
                <a:lnTo>
                  <a:pt x="7110" y="2960"/>
                </a:lnTo>
                <a:lnTo>
                  <a:pt x="7114" y="2958"/>
                </a:lnTo>
                <a:lnTo>
                  <a:pt x="7120" y="2956"/>
                </a:lnTo>
                <a:lnTo>
                  <a:pt x="7124" y="2956"/>
                </a:lnTo>
                <a:lnTo>
                  <a:pt x="7128" y="2958"/>
                </a:lnTo>
                <a:lnTo>
                  <a:pt x="7134" y="2960"/>
                </a:lnTo>
                <a:lnTo>
                  <a:pt x="7140" y="2962"/>
                </a:lnTo>
                <a:lnTo>
                  <a:pt x="7148" y="2962"/>
                </a:lnTo>
                <a:lnTo>
                  <a:pt x="7154" y="2962"/>
                </a:lnTo>
                <a:lnTo>
                  <a:pt x="7156" y="2964"/>
                </a:lnTo>
                <a:lnTo>
                  <a:pt x="7158" y="2968"/>
                </a:lnTo>
                <a:lnTo>
                  <a:pt x="7158" y="2974"/>
                </a:lnTo>
                <a:lnTo>
                  <a:pt x="7164" y="2976"/>
                </a:lnTo>
                <a:lnTo>
                  <a:pt x="7170" y="2978"/>
                </a:lnTo>
                <a:lnTo>
                  <a:pt x="7178" y="2976"/>
                </a:lnTo>
                <a:lnTo>
                  <a:pt x="7188" y="2974"/>
                </a:lnTo>
                <a:lnTo>
                  <a:pt x="7186" y="2976"/>
                </a:lnTo>
                <a:lnTo>
                  <a:pt x="7168" y="2986"/>
                </a:lnTo>
                <a:lnTo>
                  <a:pt x="7164" y="2990"/>
                </a:lnTo>
                <a:lnTo>
                  <a:pt x="7162" y="2998"/>
                </a:lnTo>
                <a:lnTo>
                  <a:pt x="7164" y="3002"/>
                </a:lnTo>
                <a:lnTo>
                  <a:pt x="7166" y="3000"/>
                </a:lnTo>
                <a:lnTo>
                  <a:pt x="7180" y="2988"/>
                </a:lnTo>
                <a:lnTo>
                  <a:pt x="7190" y="2980"/>
                </a:lnTo>
                <a:lnTo>
                  <a:pt x="7200" y="2976"/>
                </a:lnTo>
                <a:lnTo>
                  <a:pt x="7206" y="2972"/>
                </a:lnTo>
                <a:lnTo>
                  <a:pt x="7212" y="2964"/>
                </a:lnTo>
                <a:lnTo>
                  <a:pt x="7216" y="2956"/>
                </a:lnTo>
                <a:lnTo>
                  <a:pt x="7220" y="2952"/>
                </a:lnTo>
                <a:lnTo>
                  <a:pt x="7222" y="2952"/>
                </a:lnTo>
                <a:lnTo>
                  <a:pt x="7224" y="2952"/>
                </a:lnTo>
                <a:lnTo>
                  <a:pt x="7230" y="2956"/>
                </a:lnTo>
                <a:lnTo>
                  <a:pt x="7232" y="2956"/>
                </a:lnTo>
                <a:lnTo>
                  <a:pt x="7236" y="2954"/>
                </a:lnTo>
                <a:lnTo>
                  <a:pt x="7240" y="2952"/>
                </a:lnTo>
                <a:lnTo>
                  <a:pt x="7246" y="2952"/>
                </a:lnTo>
                <a:lnTo>
                  <a:pt x="7256" y="2954"/>
                </a:lnTo>
                <a:lnTo>
                  <a:pt x="7266" y="2956"/>
                </a:lnTo>
                <a:lnTo>
                  <a:pt x="7270" y="2954"/>
                </a:lnTo>
                <a:lnTo>
                  <a:pt x="7274" y="2950"/>
                </a:lnTo>
                <a:lnTo>
                  <a:pt x="7278" y="2944"/>
                </a:lnTo>
                <a:lnTo>
                  <a:pt x="7278" y="2942"/>
                </a:lnTo>
                <a:lnTo>
                  <a:pt x="7276" y="2940"/>
                </a:lnTo>
                <a:lnTo>
                  <a:pt x="7268" y="2938"/>
                </a:lnTo>
                <a:lnTo>
                  <a:pt x="7256" y="2934"/>
                </a:lnTo>
                <a:lnTo>
                  <a:pt x="7244" y="2926"/>
                </a:lnTo>
                <a:lnTo>
                  <a:pt x="7238" y="2918"/>
                </a:lnTo>
                <a:lnTo>
                  <a:pt x="7236" y="2910"/>
                </a:lnTo>
                <a:lnTo>
                  <a:pt x="7236" y="2900"/>
                </a:lnTo>
                <a:lnTo>
                  <a:pt x="7236" y="2896"/>
                </a:lnTo>
                <a:lnTo>
                  <a:pt x="7234" y="2892"/>
                </a:lnTo>
                <a:lnTo>
                  <a:pt x="7230" y="2890"/>
                </a:lnTo>
                <a:lnTo>
                  <a:pt x="7226" y="2888"/>
                </a:lnTo>
                <a:lnTo>
                  <a:pt x="7224" y="2884"/>
                </a:lnTo>
                <a:lnTo>
                  <a:pt x="7224" y="2882"/>
                </a:lnTo>
                <a:lnTo>
                  <a:pt x="7224" y="2878"/>
                </a:lnTo>
                <a:lnTo>
                  <a:pt x="7222" y="2876"/>
                </a:lnTo>
                <a:lnTo>
                  <a:pt x="7216" y="2874"/>
                </a:lnTo>
                <a:lnTo>
                  <a:pt x="7212" y="2872"/>
                </a:lnTo>
                <a:lnTo>
                  <a:pt x="7220" y="2864"/>
                </a:lnTo>
                <a:lnTo>
                  <a:pt x="7226" y="2860"/>
                </a:lnTo>
                <a:lnTo>
                  <a:pt x="7230" y="2856"/>
                </a:lnTo>
                <a:lnTo>
                  <a:pt x="7232" y="2852"/>
                </a:lnTo>
                <a:lnTo>
                  <a:pt x="7232" y="2848"/>
                </a:lnTo>
                <a:lnTo>
                  <a:pt x="7230" y="2840"/>
                </a:lnTo>
                <a:lnTo>
                  <a:pt x="7232" y="2834"/>
                </a:lnTo>
                <a:lnTo>
                  <a:pt x="7234" y="2826"/>
                </a:lnTo>
                <a:lnTo>
                  <a:pt x="7240" y="2822"/>
                </a:lnTo>
                <a:lnTo>
                  <a:pt x="7244" y="2820"/>
                </a:lnTo>
                <a:lnTo>
                  <a:pt x="7250" y="2822"/>
                </a:lnTo>
                <a:lnTo>
                  <a:pt x="7254" y="2822"/>
                </a:lnTo>
                <a:lnTo>
                  <a:pt x="7256" y="2818"/>
                </a:lnTo>
                <a:lnTo>
                  <a:pt x="7258" y="2812"/>
                </a:lnTo>
                <a:lnTo>
                  <a:pt x="7258" y="2800"/>
                </a:lnTo>
                <a:lnTo>
                  <a:pt x="7262" y="2776"/>
                </a:lnTo>
                <a:lnTo>
                  <a:pt x="7264" y="2766"/>
                </a:lnTo>
                <a:lnTo>
                  <a:pt x="7268" y="2758"/>
                </a:lnTo>
                <a:lnTo>
                  <a:pt x="7272" y="2752"/>
                </a:lnTo>
                <a:lnTo>
                  <a:pt x="7278" y="2746"/>
                </a:lnTo>
                <a:lnTo>
                  <a:pt x="7284" y="2742"/>
                </a:lnTo>
                <a:lnTo>
                  <a:pt x="7292" y="2740"/>
                </a:lnTo>
                <a:lnTo>
                  <a:pt x="7300" y="2736"/>
                </a:lnTo>
                <a:lnTo>
                  <a:pt x="7302" y="2730"/>
                </a:lnTo>
                <a:lnTo>
                  <a:pt x="7304" y="2724"/>
                </a:lnTo>
                <a:lnTo>
                  <a:pt x="7306" y="2716"/>
                </a:lnTo>
                <a:lnTo>
                  <a:pt x="7306" y="2708"/>
                </a:lnTo>
                <a:lnTo>
                  <a:pt x="7304" y="2704"/>
                </a:lnTo>
                <a:lnTo>
                  <a:pt x="7302" y="2702"/>
                </a:lnTo>
                <a:lnTo>
                  <a:pt x="7300" y="2696"/>
                </a:lnTo>
                <a:lnTo>
                  <a:pt x="7300" y="2688"/>
                </a:lnTo>
                <a:lnTo>
                  <a:pt x="7304" y="2688"/>
                </a:lnTo>
                <a:lnTo>
                  <a:pt x="7310" y="2690"/>
                </a:lnTo>
                <a:lnTo>
                  <a:pt x="7316" y="2688"/>
                </a:lnTo>
                <a:lnTo>
                  <a:pt x="7320" y="2684"/>
                </a:lnTo>
                <a:lnTo>
                  <a:pt x="7332" y="2674"/>
                </a:lnTo>
                <a:lnTo>
                  <a:pt x="7340" y="2666"/>
                </a:lnTo>
                <a:lnTo>
                  <a:pt x="7344" y="2658"/>
                </a:lnTo>
                <a:lnTo>
                  <a:pt x="7346" y="2648"/>
                </a:lnTo>
                <a:lnTo>
                  <a:pt x="7346" y="2644"/>
                </a:lnTo>
                <a:lnTo>
                  <a:pt x="7348" y="2640"/>
                </a:lnTo>
                <a:lnTo>
                  <a:pt x="7352" y="2640"/>
                </a:lnTo>
                <a:lnTo>
                  <a:pt x="7356" y="2638"/>
                </a:lnTo>
                <a:lnTo>
                  <a:pt x="7366" y="2638"/>
                </a:lnTo>
                <a:lnTo>
                  <a:pt x="7374" y="2636"/>
                </a:lnTo>
                <a:lnTo>
                  <a:pt x="7382" y="2634"/>
                </a:lnTo>
                <a:lnTo>
                  <a:pt x="7386" y="2636"/>
                </a:lnTo>
                <a:lnTo>
                  <a:pt x="7390" y="2636"/>
                </a:lnTo>
                <a:lnTo>
                  <a:pt x="7390" y="2630"/>
                </a:lnTo>
                <a:lnTo>
                  <a:pt x="7392" y="2612"/>
                </a:lnTo>
                <a:lnTo>
                  <a:pt x="7394" y="2610"/>
                </a:lnTo>
                <a:lnTo>
                  <a:pt x="7396" y="2616"/>
                </a:lnTo>
                <a:lnTo>
                  <a:pt x="7396" y="2626"/>
                </a:lnTo>
                <a:lnTo>
                  <a:pt x="7396" y="2634"/>
                </a:lnTo>
                <a:lnTo>
                  <a:pt x="7398" y="2636"/>
                </a:lnTo>
                <a:lnTo>
                  <a:pt x="7402" y="2638"/>
                </a:lnTo>
                <a:lnTo>
                  <a:pt x="7408" y="2640"/>
                </a:lnTo>
                <a:lnTo>
                  <a:pt x="7418" y="2640"/>
                </a:lnTo>
                <a:lnTo>
                  <a:pt x="7410" y="2642"/>
                </a:lnTo>
                <a:lnTo>
                  <a:pt x="7404" y="2644"/>
                </a:lnTo>
                <a:lnTo>
                  <a:pt x="7392" y="2642"/>
                </a:lnTo>
                <a:lnTo>
                  <a:pt x="7384" y="2640"/>
                </a:lnTo>
                <a:lnTo>
                  <a:pt x="7382" y="2640"/>
                </a:lnTo>
                <a:lnTo>
                  <a:pt x="7380" y="2642"/>
                </a:lnTo>
                <a:lnTo>
                  <a:pt x="7380" y="2644"/>
                </a:lnTo>
                <a:lnTo>
                  <a:pt x="7384" y="2648"/>
                </a:lnTo>
                <a:lnTo>
                  <a:pt x="7392" y="2654"/>
                </a:lnTo>
                <a:lnTo>
                  <a:pt x="7402" y="2660"/>
                </a:lnTo>
                <a:lnTo>
                  <a:pt x="7406" y="2664"/>
                </a:lnTo>
                <a:lnTo>
                  <a:pt x="7406" y="2666"/>
                </a:lnTo>
                <a:lnTo>
                  <a:pt x="7408" y="2668"/>
                </a:lnTo>
                <a:lnTo>
                  <a:pt x="7412" y="2668"/>
                </a:lnTo>
                <a:lnTo>
                  <a:pt x="7424" y="2666"/>
                </a:lnTo>
                <a:lnTo>
                  <a:pt x="7438" y="2666"/>
                </a:lnTo>
                <a:lnTo>
                  <a:pt x="7444" y="2666"/>
                </a:lnTo>
                <a:lnTo>
                  <a:pt x="7448" y="2666"/>
                </a:lnTo>
                <a:lnTo>
                  <a:pt x="7450" y="2668"/>
                </a:lnTo>
                <a:lnTo>
                  <a:pt x="7454" y="2668"/>
                </a:lnTo>
                <a:lnTo>
                  <a:pt x="7458" y="2668"/>
                </a:lnTo>
                <a:lnTo>
                  <a:pt x="7460" y="2666"/>
                </a:lnTo>
                <a:lnTo>
                  <a:pt x="7464" y="2672"/>
                </a:lnTo>
                <a:lnTo>
                  <a:pt x="7464" y="2676"/>
                </a:lnTo>
                <a:lnTo>
                  <a:pt x="7464" y="2678"/>
                </a:lnTo>
                <a:lnTo>
                  <a:pt x="7458" y="2682"/>
                </a:lnTo>
                <a:lnTo>
                  <a:pt x="7440" y="2692"/>
                </a:lnTo>
                <a:lnTo>
                  <a:pt x="7422" y="2700"/>
                </a:lnTo>
                <a:lnTo>
                  <a:pt x="7416" y="2704"/>
                </a:lnTo>
                <a:lnTo>
                  <a:pt x="7416" y="2706"/>
                </a:lnTo>
                <a:lnTo>
                  <a:pt x="7416" y="2708"/>
                </a:lnTo>
                <a:lnTo>
                  <a:pt x="7420" y="2710"/>
                </a:lnTo>
                <a:lnTo>
                  <a:pt x="7426" y="2712"/>
                </a:lnTo>
                <a:lnTo>
                  <a:pt x="7440" y="2716"/>
                </a:lnTo>
                <a:lnTo>
                  <a:pt x="7446" y="2718"/>
                </a:lnTo>
                <a:lnTo>
                  <a:pt x="7452" y="2722"/>
                </a:lnTo>
                <a:lnTo>
                  <a:pt x="7458" y="2726"/>
                </a:lnTo>
                <a:lnTo>
                  <a:pt x="7458" y="2734"/>
                </a:lnTo>
                <a:lnTo>
                  <a:pt x="7458" y="2742"/>
                </a:lnTo>
                <a:lnTo>
                  <a:pt x="7456" y="2746"/>
                </a:lnTo>
                <a:lnTo>
                  <a:pt x="7452" y="2750"/>
                </a:lnTo>
                <a:lnTo>
                  <a:pt x="7452" y="2752"/>
                </a:lnTo>
                <a:lnTo>
                  <a:pt x="7458" y="2760"/>
                </a:lnTo>
                <a:lnTo>
                  <a:pt x="7466" y="2764"/>
                </a:lnTo>
                <a:lnTo>
                  <a:pt x="7472" y="2764"/>
                </a:lnTo>
                <a:lnTo>
                  <a:pt x="7478" y="2762"/>
                </a:lnTo>
                <a:lnTo>
                  <a:pt x="7484" y="2760"/>
                </a:lnTo>
                <a:lnTo>
                  <a:pt x="7494" y="2750"/>
                </a:lnTo>
                <a:lnTo>
                  <a:pt x="7506" y="2740"/>
                </a:lnTo>
                <a:lnTo>
                  <a:pt x="7510" y="2738"/>
                </a:lnTo>
                <a:lnTo>
                  <a:pt x="7514" y="2736"/>
                </a:lnTo>
                <a:lnTo>
                  <a:pt x="7518" y="2738"/>
                </a:lnTo>
                <a:lnTo>
                  <a:pt x="7520" y="2738"/>
                </a:lnTo>
                <a:lnTo>
                  <a:pt x="7528" y="2734"/>
                </a:lnTo>
                <a:lnTo>
                  <a:pt x="7534" y="2728"/>
                </a:lnTo>
                <a:lnTo>
                  <a:pt x="7540" y="2724"/>
                </a:lnTo>
                <a:lnTo>
                  <a:pt x="7544" y="2724"/>
                </a:lnTo>
                <a:lnTo>
                  <a:pt x="7546" y="2726"/>
                </a:lnTo>
                <a:lnTo>
                  <a:pt x="7554" y="2730"/>
                </a:lnTo>
                <a:lnTo>
                  <a:pt x="7560" y="2730"/>
                </a:lnTo>
                <a:lnTo>
                  <a:pt x="7566" y="2730"/>
                </a:lnTo>
                <a:lnTo>
                  <a:pt x="7576" y="2724"/>
                </a:lnTo>
                <a:lnTo>
                  <a:pt x="7578" y="2724"/>
                </a:lnTo>
                <a:lnTo>
                  <a:pt x="7578" y="2722"/>
                </a:lnTo>
                <a:lnTo>
                  <a:pt x="7576" y="2718"/>
                </a:lnTo>
                <a:lnTo>
                  <a:pt x="7576" y="2716"/>
                </a:lnTo>
                <a:lnTo>
                  <a:pt x="7578" y="2712"/>
                </a:lnTo>
                <a:lnTo>
                  <a:pt x="7580" y="2706"/>
                </a:lnTo>
                <a:lnTo>
                  <a:pt x="7578" y="2704"/>
                </a:lnTo>
                <a:lnTo>
                  <a:pt x="7570" y="2702"/>
                </a:lnTo>
                <a:lnTo>
                  <a:pt x="7558" y="2704"/>
                </a:lnTo>
                <a:lnTo>
                  <a:pt x="7552" y="2706"/>
                </a:lnTo>
                <a:lnTo>
                  <a:pt x="7548" y="2708"/>
                </a:lnTo>
                <a:lnTo>
                  <a:pt x="7540" y="2712"/>
                </a:lnTo>
                <a:lnTo>
                  <a:pt x="7536" y="2712"/>
                </a:lnTo>
                <a:lnTo>
                  <a:pt x="7532" y="2710"/>
                </a:lnTo>
                <a:lnTo>
                  <a:pt x="7526" y="2704"/>
                </a:lnTo>
                <a:lnTo>
                  <a:pt x="7520" y="2694"/>
                </a:lnTo>
                <a:lnTo>
                  <a:pt x="7510" y="2676"/>
                </a:lnTo>
                <a:lnTo>
                  <a:pt x="7508" y="2666"/>
                </a:lnTo>
                <a:lnTo>
                  <a:pt x="7508" y="2664"/>
                </a:lnTo>
                <a:lnTo>
                  <a:pt x="7510" y="2662"/>
                </a:lnTo>
                <a:lnTo>
                  <a:pt x="7514" y="2660"/>
                </a:lnTo>
                <a:lnTo>
                  <a:pt x="7520" y="2656"/>
                </a:lnTo>
                <a:lnTo>
                  <a:pt x="7522" y="2656"/>
                </a:lnTo>
                <a:lnTo>
                  <a:pt x="7524" y="2658"/>
                </a:lnTo>
                <a:lnTo>
                  <a:pt x="7522" y="2662"/>
                </a:lnTo>
                <a:lnTo>
                  <a:pt x="7522" y="2666"/>
                </a:lnTo>
                <a:lnTo>
                  <a:pt x="7526" y="2662"/>
                </a:lnTo>
                <a:lnTo>
                  <a:pt x="7536" y="2654"/>
                </a:lnTo>
                <a:lnTo>
                  <a:pt x="7546" y="2644"/>
                </a:lnTo>
                <a:lnTo>
                  <a:pt x="7556" y="2636"/>
                </a:lnTo>
                <a:lnTo>
                  <a:pt x="7560" y="2634"/>
                </a:lnTo>
                <a:lnTo>
                  <a:pt x="7564" y="2634"/>
                </a:lnTo>
                <a:lnTo>
                  <a:pt x="7572" y="2636"/>
                </a:lnTo>
                <a:lnTo>
                  <a:pt x="7580" y="2634"/>
                </a:lnTo>
                <a:lnTo>
                  <a:pt x="7590" y="2630"/>
                </a:lnTo>
                <a:lnTo>
                  <a:pt x="7600" y="2624"/>
                </a:lnTo>
                <a:lnTo>
                  <a:pt x="7618" y="2614"/>
                </a:lnTo>
                <a:lnTo>
                  <a:pt x="7628" y="2608"/>
                </a:lnTo>
                <a:lnTo>
                  <a:pt x="7638" y="2610"/>
                </a:lnTo>
                <a:lnTo>
                  <a:pt x="7642" y="2612"/>
                </a:lnTo>
                <a:lnTo>
                  <a:pt x="7644" y="2614"/>
                </a:lnTo>
                <a:lnTo>
                  <a:pt x="7648" y="2610"/>
                </a:lnTo>
                <a:lnTo>
                  <a:pt x="7658" y="2604"/>
                </a:lnTo>
                <a:lnTo>
                  <a:pt x="7660" y="2604"/>
                </a:lnTo>
                <a:lnTo>
                  <a:pt x="7660" y="2606"/>
                </a:lnTo>
                <a:lnTo>
                  <a:pt x="7666" y="2608"/>
                </a:lnTo>
                <a:lnTo>
                  <a:pt x="7670" y="2606"/>
                </a:lnTo>
                <a:lnTo>
                  <a:pt x="7676" y="2604"/>
                </a:lnTo>
                <a:lnTo>
                  <a:pt x="7682" y="2602"/>
                </a:lnTo>
                <a:lnTo>
                  <a:pt x="7686" y="2600"/>
                </a:lnTo>
                <a:lnTo>
                  <a:pt x="7688" y="2602"/>
                </a:lnTo>
                <a:lnTo>
                  <a:pt x="7690" y="2604"/>
                </a:lnTo>
                <a:lnTo>
                  <a:pt x="7688" y="2608"/>
                </a:lnTo>
                <a:lnTo>
                  <a:pt x="7686" y="2612"/>
                </a:lnTo>
                <a:lnTo>
                  <a:pt x="7680" y="2614"/>
                </a:lnTo>
                <a:lnTo>
                  <a:pt x="7674" y="2618"/>
                </a:lnTo>
                <a:lnTo>
                  <a:pt x="7664" y="2620"/>
                </a:lnTo>
                <a:lnTo>
                  <a:pt x="7658" y="2624"/>
                </a:lnTo>
                <a:lnTo>
                  <a:pt x="7652" y="2628"/>
                </a:lnTo>
                <a:lnTo>
                  <a:pt x="7646" y="2632"/>
                </a:lnTo>
                <a:lnTo>
                  <a:pt x="7634" y="2634"/>
                </a:lnTo>
                <a:lnTo>
                  <a:pt x="7630" y="2636"/>
                </a:lnTo>
                <a:lnTo>
                  <a:pt x="7628" y="2638"/>
                </a:lnTo>
                <a:lnTo>
                  <a:pt x="7628" y="2640"/>
                </a:lnTo>
                <a:lnTo>
                  <a:pt x="7630" y="2644"/>
                </a:lnTo>
                <a:lnTo>
                  <a:pt x="7636" y="2650"/>
                </a:lnTo>
                <a:lnTo>
                  <a:pt x="7640" y="2652"/>
                </a:lnTo>
                <a:lnTo>
                  <a:pt x="7644" y="2652"/>
                </a:lnTo>
                <a:lnTo>
                  <a:pt x="7648" y="2652"/>
                </a:lnTo>
                <a:lnTo>
                  <a:pt x="7652" y="2654"/>
                </a:lnTo>
                <a:lnTo>
                  <a:pt x="7660" y="2662"/>
                </a:lnTo>
                <a:lnTo>
                  <a:pt x="7662" y="2668"/>
                </a:lnTo>
                <a:lnTo>
                  <a:pt x="7662" y="2670"/>
                </a:lnTo>
                <a:lnTo>
                  <a:pt x="7658" y="2670"/>
                </a:lnTo>
                <a:lnTo>
                  <a:pt x="7648" y="2668"/>
                </a:lnTo>
                <a:lnTo>
                  <a:pt x="7642" y="2668"/>
                </a:lnTo>
                <a:lnTo>
                  <a:pt x="7636" y="2670"/>
                </a:lnTo>
                <a:lnTo>
                  <a:pt x="7634" y="2678"/>
                </a:lnTo>
                <a:lnTo>
                  <a:pt x="7626" y="2694"/>
                </a:lnTo>
                <a:lnTo>
                  <a:pt x="7624" y="2698"/>
                </a:lnTo>
                <a:lnTo>
                  <a:pt x="7626" y="2704"/>
                </a:lnTo>
                <a:lnTo>
                  <a:pt x="7628" y="2712"/>
                </a:lnTo>
                <a:lnTo>
                  <a:pt x="7628" y="2714"/>
                </a:lnTo>
                <a:lnTo>
                  <a:pt x="7624" y="2712"/>
                </a:lnTo>
                <a:lnTo>
                  <a:pt x="7618" y="2710"/>
                </a:lnTo>
                <a:lnTo>
                  <a:pt x="7614" y="2710"/>
                </a:lnTo>
                <a:lnTo>
                  <a:pt x="7610" y="2710"/>
                </a:lnTo>
                <a:lnTo>
                  <a:pt x="7606" y="2710"/>
                </a:lnTo>
                <a:lnTo>
                  <a:pt x="7602" y="2710"/>
                </a:lnTo>
                <a:lnTo>
                  <a:pt x="7594" y="2708"/>
                </a:lnTo>
                <a:lnTo>
                  <a:pt x="7590" y="2706"/>
                </a:lnTo>
                <a:lnTo>
                  <a:pt x="7588" y="2706"/>
                </a:lnTo>
                <a:lnTo>
                  <a:pt x="7588" y="2710"/>
                </a:lnTo>
                <a:lnTo>
                  <a:pt x="7588" y="2712"/>
                </a:lnTo>
                <a:lnTo>
                  <a:pt x="7588" y="2716"/>
                </a:lnTo>
                <a:lnTo>
                  <a:pt x="7584" y="2718"/>
                </a:lnTo>
                <a:lnTo>
                  <a:pt x="7584" y="2720"/>
                </a:lnTo>
                <a:lnTo>
                  <a:pt x="7586" y="2722"/>
                </a:lnTo>
                <a:lnTo>
                  <a:pt x="7596" y="2728"/>
                </a:lnTo>
                <a:lnTo>
                  <a:pt x="7604" y="2732"/>
                </a:lnTo>
                <a:lnTo>
                  <a:pt x="7608" y="2736"/>
                </a:lnTo>
                <a:lnTo>
                  <a:pt x="7614" y="2742"/>
                </a:lnTo>
                <a:lnTo>
                  <a:pt x="7618" y="2748"/>
                </a:lnTo>
                <a:lnTo>
                  <a:pt x="7622" y="2750"/>
                </a:lnTo>
                <a:lnTo>
                  <a:pt x="7630" y="2750"/>
                </a:lnTo>
                <a:lnTo>
                  <a:pt x="7636" y="2752"/>
                </a:lnTo>
                <a:lnTo>
                  <a:pt x="7638" y="2754"/>
                </a:lnTo>
                <a:lnTo>
                  <a:pt x="7640" y="2758"/>
                </a:lnTo>
                <a:lnTo>
                  <a:pt x="7642" y="2760"/>
                </a:lnTo>
                <a:lnTo>
                  <a:pt x="7646" y="2762"/>
                </a:lnTo>
                <a:lnTo>
                  <a:pt x="7650" y="2766"/>
                </a:lnTo>
                <a:lnTo>
                  <a:pt x="7660" y="2768"/>
                </a:lnTo>
                <a:lnTo>
                  <a:pt x="7674" y="2774"/>
                </a:lnTo>
                <a:lnTo>
                  <a:pt x="7678" y="2776"/>
                </a:lnTo>
                <a:lnTo>
                  <a:pt x="7680" y="2778"/>
                </a:lnTo>
                <a:lnTo>
                  <a:pt x="7690" y="2792"/>
                </a:lnTo>
                <a:lnTo>
                  <a:pt x="7718" y="2820"/>
                </a:lnTo>
                <a:lnTo>
                  <a:pt x="7726" y="2828"/>
                </a:lnTo>
                <a:lnTo>
                  <a:pt x="7734" y="2832"/>
                </a:lnTo>
                <a:lnTo>
                  <a:pt x="7746" y="2838"/>
                </a:lnTo>
                <a:lnTo>
                  <a:pt x="7754" y="2840"/>
                </a:lnTo>
                <a:lnTo>
                  <a:pt x="7758" y="2844"/>
                </a:lnTo>
                <a:lnTo>
                  <a:pt x="7760" y="2848"/>
                </a:lnTo>
                <a:lnTo>
                  <a:pt x="7764" y="2852"/>
                </a:lnTo>
                <a:lnTo>
                  <a:pt x="7766" y="2854"/>
                </a:lnTo>
                <a:lnTo>
                  <a:pt x="7772" y="2856"/>
                </a:lnTo>
                <a:lnTo>
                  <a:pt x="7776" y="2858"/>
                </a:lnTo>
                <a:lnTo>
                  <a:pt x="7778" y="2862"/>
                </a:lnTo>
                <a:lnTo>
                  <a:pt x="7782" y="2868"/>
                </a:lnTo>
                <a:lnTo>
                  <a:pt x="7786" y="2880"/>
                </a:lnTo>
                <a:lnTo>
                  <a:pt x="7788" y="2902"/>
                </a:lnTo>
                <a:lnTo>
                  <a:pt x="7788" y="2916"/>
                </a:lnTo>
                <a:lnTo>
                  <a:pt x="7786" y="2922"/>
                </a:lnTo>
                <a:lnTo>
                  <a:pt x="7782" y="2926"/>
                </a:lnTo>
                <a:lnTo>
                  <a:pt x="7770" y="2936"/>
                </a:lnTo>
                <a:lnTo>
                  <a:pt x="7750" y="2948"/>
                </a:lnTo>
                <a:lnTo>
                  <a:pt x="7740" y="2954"/>
                </a:lnTo>
                <a:lnTo>
                  <a:pt x="7728" y="2956"/>
                </a:lnTo>
                <a:lnTo>
                  <a:pt x="7718" y="2956"/>
                </a:lnTo>
                <a:lnTo>
                  <a:pt x="7712" y="2954"/>
                </a:lnTo>
                <a:lnTo>
                  <a:pt x="7708" y="2952"/>
                </a:lnTo>
                <a:lnTo>
                  <a:pt x="7698" y="2948"/>
                </a:lnTo>
                <a:lnTo>
                  <a:pt x="7690" y="2946"/>
                </a:lnTo>
                <a:lnTo>
                  <a:pt x="7680" y="2950"/>
                </a:lnTo>
                <a:lnTo>
                  <a:pt x="7670" y="2954"/>
                </a:lnTo>
                <a:lnTo>
                  <a:pt x="7662" y="2956"/>
                </a:lnTo>
                <a:lnTo>
                  <a:pt x="7652" y="2960"/>
                </a:lnTo>
                <a:lnTo>
                  <a:pt x="7644" y="2958"/>
                </a:lnTo>
                <a:lnTo>
                  <a:pt x="7640" y="2956"/>
                </a:lnTo>
                <a:lnTo>
                  <a:pt x="7636" y="2954"/>
                </a:lnTo>
                <a:lnTo>
                  <a:pt x="7626" y="2946"/>
                </a:lnTo>
                <a:lnTo>
                  <a:pt x="7624" y="2946"/>
                </a:lnTo>
                <a:lnTo>
                  <a:pt x="7624" y="2948"/>
                </a:lnTo>
                <a:lnTo>
                  <a:pt x="7622" y="2950"/>
                </a:lnTo>
                <a:lnTo>
                  <a:pt x="7620" y="2950"/>
                </a:lnTo>
                <a:lnTo>
                  <a:pt x="7616" y="2950"/>
                </a:lnTo>
                <a:lnTo>
                  <a:pt x="7610" y="2948"/>
                </a:lnTo>
                <a:lnTo>
                  <a:pt x="7602" y="2944"/>
                </a:lnTo>
                <a:lnTo>
                  <a:pt x="7598" y="2940"/>
                </a:lnTo>
                <a:lnTo>
                  <a:pt x="7594" y="2936"/>
                </a:lnTo>
                <a:lnTo>
                  <a:pt x="7592" y="2934"/>
                </a:lnTo>
                <a:lnTo>
                  <a:pt x="7590" y="2934"/>
                </a:lnTo>
                <a:lnTo>
                  <a:pt x="7582" y="2938"/>
                </a:lnTo>
                <a:lnTo>
                  <a:pt x="7574" y="2938"/>
                </a:lnTo>
                <a:lnTo>
                  <a:pt x="7572" y="2936"/>
                </a:lnTo>
                <a:lnTo>
                  <a:pt x="7568" y="2932"/>
                </a:lnTo>
                <a:lnTo>
                  <a:pt x="7566" y="2926"/>
                </a:lnTo>
                <a:lnTo>
                  <a:pt x="7564" y="2920"/>
                </a:lnTo>
                <a:lnTo>
                  <a:pt x="7560" y="2916"/>
                </a:lnTo>
                <a:lnTo>
                  <a:pt x="7554" y="2914"/>
                </a:lnTo>
                <a:lnTo>
                  <a:pt x="7544" y="2916"/>
                </a:lnTo>
                <a:lnTo>
                  <a:pt x="7534" y="2916"/>
                </a:lnTo>
                <a:lnTo>
                  <a:pt x="7528" y="2914"/>
                </a:lnTo>
                <a:lnTo>
                  <a:pt x="7526" y="2910"/>
                </a:lnTo>
                <a:lnTo>
                  <a:pt x="7524" y="2904"/>
                </a:lnTo>
                <a:lnTo>
                  <a:pt x="7524" y="2898"/>
                </a:lnTo>
                <a:lnTo>
                  <a:pt x="7522" y="2894"/>
                </a:lnTo>
                <a:lnTo>
                  <a:pt x="7520" y="2894"/>
                </a:lnTo>
                <a:lnTo>
                  <a:pt x="7514" y="2896"/>
                </a:lnTo>
                <a:lnTo>
                  <a:pt x="7506" y="2900"/>
                </a:lnTo>
                <a:lnTo>
                  <a:pt x="7498" y="2902"/>
                </a:lnTo>
                <a:lnTo>
                  <a:pt x="7482" y="2900"/>
                </a:lnTo>
                <a:lnTo>
                  <a:pt x="7474" y="2898"/>
                </a:lnTo>
                <a:lnTo>
                  <a:pt x="7462" y="2898"/>
                </a:lnTo>
                <a:lnTo>
                  <a:pt x="7450" y="2898"/>
                </a:lnTo>
                <a:lnTo>
                  <a:pt x="7436" y="2902"/>
                </a:lnTo>
                <a:lnTo>
                  <a:pt x="7408" y="2914"/>
                </a:lnTo>
                <a:lnTo>
                  <a:pt x="7390" y="2924"/>
                </a:lnTo>
                <a:lnTo>
                  <a:pt x="7378" y="2934"/>
                </a:lnTo>
                <a:lnTo>
                  <a:pt x="7372" y="2942"/>
                </a:lnTo>
                <a:lnTo>
                  <a:pt x="7368" y="2948"/>
                </a:lnTo>
                <a:lnTo>
                  <a:pt x="7362" y="2950"/>
                </a:lnTo>
                <a:lnTo>
                  <a:pt x="7354" y="2950"/>
                </a:lnTo>
                <a:lnTo>
                  <a:pt x="7342" y="2946"/>
                </a:lnTo>
                <a:lnTo>
                  <a:pt x="7330" y="2944"/>
                </a:lnTo>
                <a:lnTo>
                  <a:pt x="7322" y="2944"/>
                </a:lnTo>
                <a:lnTo>
                  <a:pt x="7314" y="2946"/>
                </a:lnTo>
                <a:lnTo>
                  <a:pt x="7302" y="2944"/>
                </a:lnTo>
                <a:lnTo>
                  <a:pt x="7292" y="2942"/>
                </a:lnTo>
                <a:lnTo>
                  <a:pt x="7286" y="2942"/>
                </a:lnTo>
                <a:lnTo>
                  <a:pt x="7282" y="2946"/>
                </a:lnTo>
                <a:lnTo>
                  <a:pt x="7280" y="2952"/>
                </a:lnTo>
                <a:lnTo>
                  <a:pt x="7278" y="2956"/>
                </a:lnTo>
                <a:lnTo>
                  <a:pt x="7280" y="2958"/>
                </a:lnTo>
                <a:lnTo>
                  <a:pt x="7284" y="2960"/>
                </a:lnTo>
                <a:lnTo>
                  <a:pt x="7288" y="2964"/>
                </a:lnTo>
                <a:lnTo>
                  <a:pt x="7292" y="2966"/>
                </a:lnTo>
                <a:lnTo>
                  <a:pt x="7296" y="2968"/>
                </a:lnTo>
                <a:lnTo>
                  <a:pt x="7304" y="2970"/>
                </a:lnTo>
                <a:lnTo>
                  <a:pt x="7306" y="2970"/>
                </a:lnTo>
                <a:lnTo>
                  <a:pt x="7290" y="2974"/>
                </a:lnTo>
                <a:lnTo>
                  <a:pt x="7270" y="2978"/>
                </a:lnTo>
                <a:lnTo>
                  <a:pt x="7268" y="2980"/>
                </a:lnTo>
                <a:lnTo>
                  <a:pt x="7270" y="2982"/>
                </a:lnTo>
                <a:lnTo>
                  <a:pt x="7276" y="2984"/>
                </a:lnTo>
                <a:lnTo>
                  <a:pt x="7278" y="2986"/>
                </a:lnTo>
                <a:lnTo>
                  <a:pt x="7278" y="2990"/>
                </a:lnTo>
                <a:lnTo>
                  <a:pt x="7270" y="2990"/>
                </a:lnTo>
                <a:lnTo>
                  <a:pt x="7256" y="2990"/>
                </a:lnTo>
                <a:lnTo>
                  <a:pt x="7242" y="2988"/>
                </a:lnTo>
                <a:lnTo>
                  <a:pt x="7238" y="2986"/>
                </a:lnTo>
                <a:lnTo>
                  <a:pt x="7236" y="2984"/>
                </a:lnTo>
                <a:lnTo>
                  <a:pt x="7236" y="2982"/>
                </a:lnTo>
                <a:lnTo>
                  <a:pt x="7236" y="2980"/>
                </a:lnTo>
                <a:lnTo>
                  <a:pt x="7228" y="2980"/>
                </a:lnTo>
                <a:lnTo>
                  <a:pt x="7222" y="2982"/>
                </a:lnTo>
                <a:lnTo>
                  <a:pt x="7222" y="2984"/>
                </a:lnTo>
                <a:lnTo>
                  <a:pt x="7222" y="2986"/>
                </a:lnTo>
                <a:lnTo>
                  <a:pt x="7224" y="2990"/>
                </a:lnTo>
                <a:lnTo>
                  <a:pt x="7220" y="2994"/>
                </a:lnTo>
                <a:lnTo>
                  <a:pt x="7214" y="2994"/>
                </a:lnTo>
                <a:lnTo>
                  <a:pt x="7212" y="2992"/>
                </a:lnTo>
                <a:lnTo>
                  <a:pt x="7210" y="2990"/>
                </a:lnTo>
                <a:lnTo>
                  <a:pt x="7208" y="2986"/>
                </a:lnTo>
                <a:lnTo>
                  <a:pt x="7204" y="2986"/>
                </a:lnTo>
                <a:lnTo>
                  <a:pt x="7200" y="2984"/>
                </a:lnTo>
                <a:lnTo>
                  <a:pt x="7196" y="2984"/>
                </a:lnTo>
                <a:lnTo>
                  <a:pt x="7190" y="2986"/>
                </a:lnTo>
                <a:lnTo>
                  <a:pt x="7184" y="2990"/>
                </a:lnTo>
                <a:lnTo>
                  <a:pt x="7178" y="2996"/>
                </a:lnTo>
                <a:lnTo>
                  <a:pt x="7172" y="3004"/>
                </a:lnTo>
                <a:lnTo>
                  <a:pt x="7168" y="3010"/>
                </a:lnTo>
                <a:lnTo>
                  <a:pt x="7164" y="3010"/>
                </a:lnTo>
                <a:lnTo>
                  <a:pt x="7162" y="3014"/>
                </a:lnTo>
                <a:lnTo>
                  <a:pt x="7160" y="3022"/>
                </a:lnTo>
                <a:lnTo>
                  <a:pt x="7158" y="3032"/>
                </a:lnTo>
                <a:lnTo>
                  <a:pt x="7160" y="3036"/>
                </a:lnTo>
                <a:lnTo>
                  <a:pt x="7160" y="3038"/>
                </a:lnTo>
                <a:lnTo>
                  <a:pt x="7168" y="3038"/>
                </a:lnTo>
                <a:lnTo>
                  <a:pt x="7180" y="3034"/>
                </a:lnTo>
                <a:lnTo>
                  <a:pt x="7188" y="3032"/>
                </a:lnTo>
                <a:lnTo>
                  <a:pt x="7190" y="3032"/>
                </a:lnTo>
                <a:lnTo>
                  <a:pt x="7190" y="3034"/>
                </a:lnTo>
                <a:lnTo>
                  <a:pt x="7188" y="3038"/>
                </a:lnTo>
                <a:lnTo>
                  <a:pt x="7184" y="3044"/>
                </a:lnTo>
                <a:lnTo>
                  <a:pt x="7184" y="3048"/>
                </a:lnTo>
                <a:lnTo>
                  <a:pt x="7186" y="3052"/>
                </a:lnTo>
                <a:lnTo>
                  <a:pt x="7188" y="3054"/>
                </a:lnTo>
                <a:lnTo>
                  <a:pt x="7190" y="3058"/>
                </a:lnTo>
                <a:lnTo>
                  <a:pt x="7188" y="3064"/>
                </a:lnTo>
                <a:lnTo>
                  <a:pt x="7186" y="3068"/>
                </a:lnTo>
                <a:lnTo>
                  <a:pt x="7188" y="3068"/>
                </a:lnTo>
                <a:lnTo>
                  <a:pt x="7192" y="3070"/>
                </a:lnTo>
                <a:lnTo>
                  <a:pt x="7194" y="3070"/>
                </a:lnTo>
                <a:lnTo>
                  <a:pt x="7194" y="3072"/>
                </a:lnTo>
                <a:lnTo>
                  <a:pt x="7188" y="3078"/>
                </a:lnTo>
                <a:lnTo>
                  <a:pt x="7182" y="3082"/>
                </a:lnTo>
                <a:lnTo>
                  <a:pt x="7182" y="3086"/>
                </a:lnTo>
                <a:lnTo>
                  <a:pt x="7186" y="3088"/>
                </a:lnTo>
                <a:lnTo>
                  <a:pt x="7192" y="3092"/>
                </a:lnTo>
                <a:lnTo>
                  <a:pt x="7194" y="3094"/>
                </a:lnTo>
                <a:lnTo>
                  <a:pt x="7194" y="3098"/>
                </a:lnTo>
                <a:lnTo>
                  <a:pt x="7192" y="3100"/>
                </a:lnTo>
                <a:lnTo>
                  <a:pt x="7188" y="3100"/>
                </a:lnTo>
                <a:lnTo>
                  <a:pt x="7184" y="3100"/>
                </a:lnTo>
                <a:lnTo>
                  <a:pt x="7182" y="3096"/>
                </a:lnTo>
                <a:lnTo>
                  <a:pt x="7178" y="3090"/>
                </a:lnTo>
                <a:lnTo>
                  <a:pt x="7176" y="3086"/>
                </a:lnTo>
                <a:lnTo>
                  <a:pt x="7174" y="3084"/>
                </a:lnTo>
                <a:lnTo>
                  <a:pt x="7170" y="3086"/>
                </a:lnTo>
                <a:lnTo>
                  <a:pt x="7170" y="3090"/>
                </a:lnTo>
                <a:lnTo>
                  <a:pt x="7170" y="3100"/>
                </a:lnTo>
                <a:lnTo>
                  <a:pt x="7170" y="3104"/>
                </a:lnTo>
                <a:lnTo>
                  <a:pt x="7174" y="3108"/>
                </a:lnTo>
                <a:lnTo>
                  <a:pt x="7180" y="3112"/>
                </a:lnTo>
                <a:lnTo>
                  <a:pt x="7182" y="3112"/>
                </a:lnTo>
                <a:lnTo>
                  <a:pt x="7186" y="3110"/>
                </a:lnTo>
                <a:lnTo>
                  <a:pt x="7188" y="3114"/>
                </a:lnTo>
                <a:lnTo>
                  <a:pt x="7192" y="3116"/>
                </a:lnTo>
                <a:lnTo>
                  <a:pt x="7196" y="3118"/>
                </a:lnTo>
                <a:lnTo>
                  <a:pt x="7202" y="3120"/>
                </a:lnTo>
                <a:lnTo>
                  <a:pt x="7204" y="3120"/>
                </a:lnTo>
                <a:lnTo>
                  <a:pt x="7206" y="3122"/>
                </a:lnTo>
                <a:lnTo>
                  <a:pt x="7206" y="3124"/>
                </a:lnTo>
                <a:lnTo>
                  <a:pt x="7204" y="3128"/>
                </a:lnTo>
                <a:lnTo>
                  <a:pt x="7200" y="3136"/>
                </a:lnTo>
                <a:lnTo>
                  <a:pt x="7202" y="3140"/>
                </a:lnTo>
                <a:lnTo>
                  <a:pt x="7204" y="3144"/>
                </a:lnTo>
                <a:lnTo>
                  <a:pt x="7204" y="3150"/>
                </a:lnTo>
                <a:lnTo>
                  <a:pt x="7204" y="3154"/>
                </a:lnTo>
                <a:lnTo>
                  <a:pt x="7208" y="3154"/>
                </a:lnTo>
                <a:lnTo>
                  <a:pt x="7212" y="3156"/>
                </a:lnTo>
                <a:lnTo>
                  <a:pt x="7214" y="3158"/>
                </a:lnTo>
                <a:lnTo>
                  <a:pt x="7214" y="3162"/>
                </a:lnTo>
                <a:lnTo>
                  <a:pt x="7216" y="3164"/>
                </a:lnTo>
                <a:lnTo>
                  <a:pt x="7214" y="3166"/>
                </a:lnTo>
                <a:lnTo>
                  <a:pt x="7208" y="3166"/>
                </a:lnTo>
                <a:lnTo>
                  <a:pt x="7204" y="3166"/>
                </a:lnTo>
                <a:lnTo>
                  <a:pt x="7202" y="3168"/>
                </a:lnTo>
                <a:lnTo>
                  <a:pt x="7204" y="3172"/>
                </a:lnTo>
                <a:lnTo>
                  <a:pt x="7208" y="3174"/>
                </a:lnTo>
                <a:lnTo>
                  <a:pt x="7212" y="3174"/>
                </a:lnTo>
                <a:lnTo>
                  <a:pt x="7226" y="3174"/>
                </a:lnTo>
                <a:lnTo>
                  <a:pt x="7238" y="3174"/>
                </a:lnTo>
                <a:lnTo>
                  <a:pt x="7240" y="3174"/>
                </a:lnTo>
                <a:lnTo>
                  <a:pt x="7238" y="3178"/>
                </a:lnTo>
                <a:lnTo>
                  <a:pt x="7234" y="3182"/>
                </a:lnTo>
                <a:lnTo>
                  <a:pt x="7230" y="3184"/>
                </a:lnTo>
                <a:lnTo>
                  <a:pt x="7220" y="3186"/>
                </a:lnTo>
                <a:lnTo>
                  <a:pt x="7210" y="3186"/>
                </a:lnTo>
                <a:lnTo>
                  <a:pt x="7210" y="3188"/>
                </a:lnTo>
                <a:lnTo>
                  <a:pt x="7210" y="3190"/>
                </a:lnTo>
                <a:lnTo>
                  <a:pt x="7212" y="3192"/>
                </a:lnTo>
                <a:lnTo>
                  <a:pt x="7216" y="3192"/>
                </a:lnTo>
                <a:lnTo>
                  <a:pt x="7224" y="3190"/>
                </a:lnTo>
                <a:lnTo>
                  <a:pt x="7232" y="3190"/>
                </a:lnTo>
                <a:lnTo>
                  <a:pt x="7236" y="3190"/>
                </a:lnTo>
                <a:lnTo>
                  <a:pt x="7236" y="3194"/>
                </a:lnTo>
                <a:lnTo>
                  <a:pt x="7236" y="3196"/>
                </a:lnTo>
                <a:lnTo>
                  <a:pt x="7238" y="3196"/>
                </a:lnTo>
                <a:lnTo>
                  <a:pt x="7244" y="3190"/>
                </a:lnTo>
                <a:lnTo>
                  <a:pt x="7248" y="3186"/>
                </a:lnTo>
                <a:lnTo>
                  <a:pt x="7252" y="3184"/>
                </a:lnTo>
                <a:lnTo>
                  <a:pt x="7256" y="3184"/>
                </a:lnTo>
                <a:lnTo>
                  <a:pt x="7260" y="3188"/>
                </a:lnTo>
                <a:lnTo>
                  <a:pt x="7264" y="3192"/>
                </a:lnTo>
                <a:lnTo>
                  <a:pt x="7268" y="3192"/>
                </a:lnTo>
                <a:lnTo>
                  <a:pt x="7272" y="3190"/>
                </a:lnTo>
                <a:lnTo>
                  <a:pt x="7274" y="3190"/>
                </a:lnTo>
                <a:lnTo>
                  <a:pt x="7276" y="3190"/>
                </a:lnTo>
                <a:lnTo>
                  <a:pt x="7278" y="3192"/>
                </a:lnTo>
                <a:lnTo>
                  <a:pt x="7280" y="3198"/>
                </a:lnTo>
                <a:lnTo>
                  <a:pt x="7282" y="3204"/>
                </a:lnTo>
                <a:lnTo>
                  <a:pt x="7286" y="3210"/>
                </a:lnTo>
                <a:lnTo>
                  <a:pt x="7296" y="3218"/>
                </a:lnTo>
                <a:lnTo>
                  <a:pt x="7300" y="3220"/>
                </a:lnTo>
                <a:lnTo>
                  <a:pt x="7304" y="3222"/>
                </a:lnTo>
                <a:lnTo>
                  <a:pt x="7310" y="3220"/>
                </a:lnTo>
                <a:lnTo>
                  <a:pt x="7312" y="3218"/>
                </a:lnTo>
                <a:lnTo>
                  <a:pt x="7318" y="3214"/>
                </a:lnTo>
                <a:lnTo>
                  <a:pt x="7322" y="3212"/>
                </a:lnTo>
                <a:lnTo>
                  <a:pt x="7326" y="3212"/>
                </a:lnTo>
                <a:lnTo>
                  <a:pt x="7328" y="3212"/>
                </a:lnTo>
                <a:lnTo>
                  <a:pt x="7330" y="3214"/>
                </a:lnTo>
                <a:lnTo>
                  <a:pt x="7332" y="3214"/>
                </a:lnTo>
                <a:lnTo>
                  <a:pt x="7336" y="3212"/>
                </a:lnTo>
                <a:lnTo>
                  <a:pt x="7338" y="3208"/>
                </a:lnTo>
                <a:lnTo>
                  <a:pt x="7338" y="3202"/>
                </a:lnTo>
                <a:lnTo>
                  <a:pt x="7338" y="3188"/>
                </a:lnTo>
                <a:lnTo>
                  <a:pt x="7340" y="3184"/>
                </a:lnTo>
                <a:lnTo>
                  <a:pt x="7346" y="3180"/>
                </a:lnTo>
                <a:lnTo>
                  <a:pt x="7356" y="3180"/>
                </a:lnTo>
                <a:lnTo>
                  <a:pt x="7370" y="3184"/>
                </a:lnTo>
                <a:lnTo>
                  <a:pt x="7384" y="3192"/>
                </a:lnTo>
                <a:lnTo>
                  <a:pt x="7396" y="3200"/>
                </a:lnTo>
                <a:lnTo>
                  <a:pt x="7404" y="3208"/>
                </a:lnTo>
                <a:lnTo>
                  <a:pt x="7412" y="3214"/>
                </a:lnTo>
                <a:lnTo>
                  <a:pt x="7418" y="3222"/>
                </a:lnTo>
                <a:lnTo>
                  <a:pt x="7422" y="3226"/>
                </a:lnTo>
                <a:lnTo>
                  <a:pt x="7428" y="3228"/>
                </a:lnTo>
                <a:lnTo>
                  <a:pt x="7436" y="3226"/>
                </a:lnTo>
                <a:lnTo>
                  <a:pt x="7450" y="3222"/>
                </a:lnTo>
                <a:lnTo>
                  <a:pt x="7462" y="3220"/>
                </a:lnTo>
                <a:lnTo>
                  <a:pt x="7466" y="3218"/>
                </a:lnTo>
                <a:lnTo>
                  <a:pt x="7472" y="3214"/>
                </a:lnTo>
                <a:lnTo>
                  <a:pt x="7480" y="3210"/>
                </a:lnTo>
                <a:lnTo>
                  <a:pt x="7488" y="3200"/>
                </a:lnTo>
                <a:lnTo>
                  <a:pt x="7498" y="3190"/>
                </a:lnTo>
                <a:lnTo>
                  <a:pt x="7506" y="3186"/>
                </a:lnTo>
                <a:lnTo>
                  <a:pt x="7514" y="3186"/>
                </a:lnTo>
                <a:lnTo>
                  <a:pt x="7518" y="3190"/>
                </a:lnTo>
                <a:lnTo>
                  <a:pt x="7524" y="3194"/>
                </a:lnTo>
                <a:lnTo>
                  <a:pt x="7528" y="3196"/>
                </a:lnTo>
                <a:lnTo>
                  <a:pt x="7534" y="3198"/>
                </a:lnTo>
                <a:lnTo>
                  <a:pt x="7540" y="3194"/>
                </a:lnTo>
                <a:lnTo>
                  <a:pt x="7552" y="3182"/>
                </a:lnTo>
                <a:lnTo>
                  <a:pt x="7560" y="3178"/>
                </a:lnTo>
                <a:lnTo>
                  <a:pt x="7562" y="3178"/>
                </a:lnTo>
                <a:lnTo>
                  <a:pt x="7564" y="3178"/>
                </a:lnTo>
                <a:lnTo>
                  <a:pt x="7566" y="3186"/>
                </a:lnTo>
                <a:lnTo>
                  <a:pt x="7566" y="3192"/>
                </a:lnTo>
                <a:lnTo>
                  <a:pt x="7564" y="3196"/>
                </a:lnTo>
                <a:lnTo>
                  <a:pt x="7556" y="3202"/>
                </a:lnTo>
                <a:lnTo>
                  <a:pt x="7550" y="3208"/>
                </a:lnTo>
                <a:lnTo>
                  <a:pt x="7550" y="3212"/>
                </a:lnTo>
                <a:lnTo>
                  <a:pt x="7550" y="3214"/>
                </a:lnTo>
                <a:lnTo>
                  <a:pt x="7556" y="3222"/>
                </a:lnTo>
                <a:lnTo>
                  <a:pt x="7558" y="3226"/>
                </a:lnTo>
                <a:lnTo>
                  <a:pt x="7556" y="3230"/>
                </a:lnTo>
                <a:lnTo>
                  <a:pt x="7552" y="3236"/>
                </a:lnTo>
                <a:lnTo>
                  <a:pt x="7548" y="3242"/>
                </a:lnTo>
                <a:lnTo>
                  <a:pt x="7546" y="3248"/>
                </a:lnTo>
                <a:lnTo>
                  <a:pt x="7550" y="3256"/>
                </a:lnTo>
                <a:lnTo>
                  <a:pt x="7554" y="3264"/>
                </a:lnTo>
                <a:lnTo>
                  <a:pt x="7554" y="3272"/>
                </a:lnTo>
                <a:lnTo>
                  <a:pt x="7554" y="3284"/>
                </a:lnTo>
                <a:lnTo>
                  <a:pt x="7556" y="3298"/>
                </a:lnTo>
                <a:lnTo>
                  <a:pt x="7556" y="3304"/>
                </a:lnTo>
                <a:lnTo>
                  <a:pt x="7556" y="3308"/>
                </a:lnTo>
                <a:lnTo>
                  <a:pt x="7550" y="3312"/>
                </a:lnTo>
                <a:lnTo>
                  <a:pt x="7544" y="3318"/>
                </a:lnTo>
                <a:lnTo>
                  <a:pt x="7542" y="3322"/>
                </a:lnTo>
                <a:lnTo>
                  <a:pt x="7542" y="3328"/>
                </a:lnTo>
                <a:lnTo>
                  <a:pt x="7544" y="3336"/>
                </a:lnTo>
                <a:lnTo>
                  <a:pt x="7542" y="3338"/>
                </a:lnTo>
                <a:lnTo>
                  <a:pt x="7538" y="3340"/>
                </a:lnTo>
                <a:lnTo>
                  <a:pt x="7536" y="3350"/>
                </a:lnTo>
                <a:lnTo>
                  <a:pt x="7532" y="3362"/>
                </a:lnTo>
                <a:lnTo>
                  <a:pt x="7530" y="3366"/>
                </a:lnTo>
                <a:lnTo>
                  <a:pt x="7526" y="3372"/>
                </a:lnTo>
                <a:lnTo>
                  <a:pt x="7522" y="3382"/>
                </a:lnTo>
                <a:lnTo>
                  <a:pt x="7508" y="3424"/>
                </a:lnTo>
                <a:lnTo>
                  <a:pt x="7502" y="3446"/>
                </a:lnTo>
                <a:lnTo>
                  <a:pt x="7498" y="3460"/>
                </a:lnTo>
                <a:lnTo>
                  <a:pt x="7492" y="3472"/>
                </a:lnTo>
                <a:lnTo>
                  <a:pt x="7486" y="3478"/>
                </a:lnTo>
                <a:lnTo>
                  <a:pt x="7452" y="3488"/>
                </a:lnTo>
                <a:lnTo>
                  <a:pt x="7448" y="3488"/>
                </a:lnTo>
                <a:lnTo>
                  <a:pt x="7444" y="3484"/>
                </a:lnTo>
                <a:lnTo>
                  <a:pt x="7440" y="3482"/>
                </a:lnTo>
                <a:lnTo>
                  <a:pt x="7438" y="3482"/>
                </a:lnTo>
                <a:lnTo>
                  <a:pt x="7432" y="3486"/>
                </a:lnTo>
                <a:lnTo>
                  <a:pt x="7428" y="3488"/>
                </a:lnTo>
                <a:lnTo>
                  <a:pt x="7424" y="3488"/>
                </a:lnTo>
                <a:lnTo>
                  <a:pt x="7418" y="3486"/>
                </a:lnTo>
                <a:lnTo>
                  <a:pt x="7414" y="3482"/>
                </a:lnTo>
                <a:lnTo>
                  <a:pt x="7410" y="3478"/>
                </a:lnTo>
                <a:lnTo>
                  <a:pt x="7408" y="3478"/>
                </a:lnTo>
                <a:lnTo>
                  <a:pt x="7408" y="3482"/>
                </a:lnTo>
                <a:lnTo>
                  <a:pt x="7408" y="3484"/>
                </a:lnTo>
                <a:lnTo>
                  <a:pt x="7406" y="3486"/>
                </a:lnTo>
                <a:lnTo>
                  <a:pt x="7402" y="3488"/>
                </a:lnTo>
                <a:lnTo>
                  <a:pt x="7400" y="3484"/>
                </a:lnTo>
                <a:lnTo>
                  <a:pt x="7398" y="3482"/>
                </a:lnTo>
                <a:lnTo>
                  <a:pt x="7394" y="3482"/>
                </a:lnTo>
                <a:lnTo>
                  <a:pt x="7390" y="3482"/>
                </a:lnTo>
                <a:lnTo>
                  <a:pt x="7388" y="3480"/>
                </a:lnTo>
                <a:lnTo>
                  <a:pt x="7388" y="3478"/>
                </a:lnTo>
                <a:lnTo>
                  <a:pt x="7390" y="3476"/>
                </a:lnTo>
                <a:lnTo>
                  <a:pt x="7392" y="3474"/>
                </a:lnTo>
                <a:lnTo>
                  <a:pt x="7392" y="3470"/>
                </a:lnTo>
                <a:lnTo>
                  <a:pt x="7394" y="3470"/>
                </a:lnTo>
                <a:lnTo>
                  <a:pt x="7398" y="3472"/>
                </a:lnTo>
                <a:lnTo>
                  <a:pt x="7402" y="3476"/>
                </a:lnTo>
                <a:lnTo>
                  <a:pt x="7404" y="3478"/>
                </a:lnTo>
                <a:lnTo>
                  <a:pt x="7404" y="3476"/>
                </a:lnTo>
                <a:lnTo>
                  <a:pt x="7402" y="3472"/>
                </a:lnTo>
                <a:lnTo>
                  <a:pt x="7396" y="3466"/>
                </a:lnTo>
                <a:lnTo>
                  <a:pt x="7392" y="3464"/>
                </a:lnTo>
                <a:lnTo>
                  <a:pt x="7390" y="3464"/>
                </a:lnTo>
                <a:lnTo>
                  <a:pt x="7384" y="3468"/>
                </a:lnTo>
                <a:lnTo>
                  <a:pt x="7382" y="3468"/>
                </a:lnTo>
                <a:lnTo>
                  <a:pt x="7378" y="3468"/>
                </a:lnTo>
                <a:lnTo>
                  <a:pt x="7370" y="3464"/>
                </a:lnTo>
                <a:lnTo>
                  <a:pt x="7362" y="3460"/>
                </a:lnTo>
                <a:lnTo>
                  <a:pt x="7358" y="3460"/>
                </a:lnTo>
                <a:lnTo>
                  <a:pt x="7352" y="3462"/>
                </a:lnTo>
                <a:lnTo>
                  <a:pt x="7342" y="3466"/>
                </a:lnTo>
                <a:lnTo>
                  <a:pt x="7336" y="3468"/>
                </a:lnTo>
                <a:lnTo>
                  <a:pt x="7332" y="3468"/>
                </a:lnTo>
                <a:lnTo>
                  <a:pt x="7326" y="3474"/>
                </a:lnTo>
                <a:lnTo>
                  <a:pt x="7324" y="3476"/>
                </a:lnTo>
                <a:lnTo>
                  <a:pt x="7320" y="3476"/>
                </a:lnTo>
                <a:lnTo>
                  <a:pt x="7312" y="3482"/>
                </a:lnTo>
                <a:lnTo>
                  <a:pt x="7298" y="3496"/>
                </a:lnTo>
                <a:lnTo>
                  <a:pt x="7290" y="3500"/>
                </a:lnTo>
                <a:lnTo>
                  <a:pt x="7284" y="3502"/>
                </a:lnTo>
                <a:lnTo>
                  <a:pt x="7278" y="3502"/>
                </a:lnTo>
                <a:lnTo>
                  <a:pt x="7270" y="3498"/>
                </a:lnTo>
                <a:lnTo>
                  <a:pt x="7258" y="3492"/>
                </a:lnTo>
                <a:lnTo>
                  <a:pt x="7254" y="3490"/>
                </a:lnTo>
                <a:lnTo>
                  <a:pt x="7248" y="3490"/>
                </a:lnTo>
                <a:lnTo>
                  <a:pt x="7240" y="3488"/>
                </a:lnTo>
                <a:lnTo>
                  <a:pt x="7236" y="3484"/>
                </a:lnTo>
                <a:lnTo>
                  <a:pt x="7230" y="3482"/>
                </a:lnTo>
                <a:lnTo>
                  <a:pt x="7226" y="3482"/>
                </a:lnTo>
                <a:lnTo>
                  <a:pt x="7222" y="3482"/>
                </a:lnTo>
                <a:lnTo>
                  <a:pt x="7218" y="3482"/>
                </a:lnTo>
                <a:lnTo>
                  <a:pt x="7216" y="3478"/>
                </a:lnTo>
                <a:lnTo>
                  <a:pt x="7214" y="3476"/>
                </a:lnTo>
                <a:lnTo>
                  <a:pt x="7208" y="3474"/>
                </a:lnTo>
                <a:lnTo>
                  <a:pt x="7198" y="3470"/>
                </a:lnTo>
                <a:lnTo>
                  <a:pt x="7182" y="3466"/>
                </a:lnTo>
                <a:lnTo>
                  <a:pt x="7166" y="3464"/>
                </a:lnTo>
                <a:lnTo>
                  <a:pt x="7154" y="3462"/>
                </a:lnTo>
                <a:lnTo>
                  <a:pt x="7138" y="3464"/>
                </a:lnTo>
                <a:lnTo>
                  <a:pt x="7128" y="3466"/>
                </a:lnTo>
                <a:lnTo>
                  <a:pt x="7124" y="3466"/>
                </a:lnTo>
                <a:lnTo>
                  <a:pt x="7122" y="3464"/>
                </a:lnTo>
                <a:lnTo>
                  <a:pt x="7120" y="3456"/>
                </a:lnTo>
                <a:lnTo>
                  <a:pt x="7118" y="3448"/>
                </a:lnTo>
                <a:lnTo>
                  <a:pt x="7116" y="3444"/>
                </a:lnTo>
                <a:lnTo>
                  <a:pt x="7112" y="3442"/>
                </a:lnTo>
                <a:lnTo>
                  <a:pt x="7106" y="3440"/>
                </a:lnTo>
                <a:lnTo>
                  <a:pt x="7096" y="3440"/>
                </a:lnTo>
                <a:lnTo>
                  <a:pt x="7082" y="3440"/>
                </a:lnTo>
                <a:lnTo>
                  <a:pt x="7076" y="3438"/>
                </a:lnTo>
                <a:lnTo>
                  <a:pt x="7072" y="3436"/>
                </a:lnTo>
                <a:lnTo>
                  <a:pt x="7060" y="3434"/>
                </a:lnTo>
                <a:lnTo>
                  <a:pt x="7052" y="3432"/>
                </a:lnTo>
                <a:lnTo>
                  <a:pt x="7048" y="3430"/>
                </a:lnTo>
                <a:lnTo>
                  <a:pt x="7044" y="3422"/>
                </a:lnTo>
                <a:lnTo>
                  <a:pt x="7042" y="3416"/>
                </a:lnTo>
                <a:lnTo>
                  <a:pt x="7036" y="3410"/>
                </a:lnTo>
                <a:lnTo>
                  <a:pt x="7028" y="3404"/>
                </a:lnTo>
                <a:lnTo>
                  <a:pt x="7016" y="3398"/>
                </a:lnTo>
                <a:lnTo>
                  <a:pt x="7000" y="3392"/>
                </a:lnTo>
                <a:lnTo>
                  <a:pt x="6988" y="3390"/>
                </a:lnTo>
                <a:lnTo>
                  <a:pt x="6980" y="3392"/>
                </a:lnTo>
                <a:lnTo>
                  <a:pt x="6972" y="3398"/>
                </a:lnTo>
                <a:lnTo>
                  <a:pt x="6968" y="3400"/>
                </a:lnTo>
                <a:lnTo>
                  <a:pt x="6964" y="3400"/>
                </a:lnTo>
                <a:lnTo>
                  <a:pt x="6956" y="3402"/>
                </a:lnTo>
                <a:lnTo>
                  <a:pt x="6948" y="3404"/>
                </a:lnTo>
                <a:lnTo>
                  <a:pt x="6942" y="3408"/>
                </a:lnTo>
                <a:lnTo>
                  <a:pt x="6932" y="3416"/>
                </a:lnTo>
                <a:lnTo>
                  <a:pt x="6920" y="3428"/>
                </a:lnTo>
                <a:lnTo>
                  <a:pt x="6914" y="3438"/>
                </a:lnTo>
                <a:lnTo>
                  <a:pt x="6912" y="3448"/>
                </a:lnTo>
                <a:lnTo>
                  <a:pt x="6914" y="3458"/>
                </a:lnTo>
                <a:lnTo>
                  <a:pt x="6914" y="3468"/>
                </a:lnTo>
                <a:lnTo>
                  <a:pt x="6916" y="3478"/>
                </a:lnTo>
                <a:lnTo>
                  <a:pt x="6918" y="3488"/>
                </a:lnTo>
                <a:lnTo>
                  <a:pt x="6916" y="3498"/>
                </a:lnTo>
                <a:lnTo>
                  <a:pt x="6910" y="3508"/>
                </a:lnTo>
                <a:lnTo>
                  <a:pt x="6904" y="3518"/>
                </a:lnTo>
                <a:lnTo>
                  <a:pt x="6896" y="3524"/>
                </a:lnTo>
                <a:lnTo>
                  <a:pt x="6888" y="3528"/>
                </a:lnTo>
                <a:lnTo>
                  <a:pt x="6882" y="3530"/>
                </a:lnTo>
                <a:lnTo>
                  <a:pt x="6874" y="3530"/>
                </a:lnTo>
                <a:lnTo>
                  <a:pt x="6868" y="3528"/>
                </a:lnTo>
                <a:lnTo>
                  <a:pt x="6862" y="3524"/>
                </a:lnTo>
                <a:lnTo>
                  <a:pt x="6856" y="3518"/>
                </a:lnTo>
                <a:lnTo>
                  <a:pt x="6850" y="3510"/>
                </a:lnTo>
                <a:lnTo>
                  <a:pt x="6842" y="3504"/>
                </a:lnTo>
                <a:lnTo>
                  <a:pt x="6824" y="3494"/>
                </a:lnTo>
                <a:lnTo>
                  <a:pt x="6802" y="3486"/>
                </a:lnTo>
                <a:lnTo>
                  <a:pt x="6780" y="3482"/>
                </a:lnTo>
                <a:lnTo>
                  <a:pt x="6762" y="3480"/>
                </a:lnTo>
                <a:lnTo>
                  <a:pt x="6754" y="3478"/>
                </a:lnTo>
                <a:lnTo>
                  <a:pt x="6748" y="3476"/>
                </a:lnTo>
                <a:lnTo>
                  <a:pt x="6742" y="3472"/>
                </a:lnTo>
                <a:lnTo>
                  <a:pt x="6738" y="3464"/>
                </a:lnTo>
                <a:lnTo>
                  <a:pt x="6734" y="3454"/>
                </a:lnTo>
                <a:lnTo>
                  <a:pt x="6732" y="3442"/>
                </a:lnTo>
                <a:lnTo>
                  <a:pt x="6728" y="3430"/>
                </a:lnTo>
                <a:lnTo>
                  <a:pt x="6724" y="3422"/>
                </a:lnTo>
                <a:lnTo>
                  <a:pt x="6718" y="3418"/>
                </a:lnTo>
                <a:lnTo>
                  <a:pt x="6712" y="3416"/>
                </a:lnTo>
                <a:lnTo>
                  <a:pt x="6698" y="3414"/>
                </a:lnTo>
                <a:lnTo>
                  <a:pt x="6692" y="3412"/>
                </a:lnTo>
                <a:lnTo>
                  <a:pt x="6688" y="3410"/>
                </a:lnTo>
                <a:lnTo>
                  <a:pt x="6676" y="3402"/>
                </a:lnTo>
                <a:lnTo>
                  <a:pt x="6660" y="3396"/>
                </a:lnTo>
                <a:lnTo>
                  <a:pt x="6644" y="3394"/>
                </a:lnTo>
                <a:lnTo>
                  <a:pt x="6636" y="3394"/>
                </a:lnTo>
                <a:lnTo>
                  <a:pt x="6628" y="3396"/>
                </a:lnTo>
                <a:lnTo>
                  <a:pt x="6622" y="3396"/>
                </a:lnTo>
                <a:lnTo>
                  <a:pt x="6614" y="3396"/>
                </a:lnTo>
                <a:lnTo>
                  <a:pt x="6600" y="3392"/>
                </a:lnTo>
                <a:lnTo>
                  <a:pt x="6586" y="3386"/>
                </a:lnTo>
                <a:lnTo>
                  <a:pt x="6576" y="3380"/>
                </a:lnTo>
                <a:lnTo>
                  <a:pt x="6564" y="3374"/>
                </a:lnTo>
                <a:lnTo>
                  <a:pt x="6560" y="3370"/>
                </a:lnTo>
                <a:lnTo>
                  <a:pt x="6558" y="3362"/>
                </a:lnTo>
                <a:lnTo>
                  <a:pt x="6556" y="3354"/>
                </a:lnTo>
                <a:lnTo>
                  <a:pt x="6554" y="3352"/>
                </a:lnTo>
                <a:lnTo>
                  <a:pt x="6552" y="3354"/>
                </a:lnTo>
                <a:lnTo>
                  <a:pt x="6548" y="3354"/>
                </a:lnTo>
                <a:lnTo>
                  <a:pt x="6546" y="3354"/>
                </a:lnTo>
                <a:lnTo>
                  <a:pt x="6544" y="3354"/>
                </a:lnTo>
                <a:lnTo>
                  <a:pt x="6536" y="3352"/>
                </a:lnTo>
                <a:lnTo>
                  <a:pt x="6528" y="3350"/>
                </a:lnTo>
                <a:lnTo>
                  <a:pt x="6522" y="3348"/>
                </a:lnTo>
                <a:lnTo>
                  <a:pt x="6518" y="3344"/>
                </a:lnTo>
                <a:lnTo>
                  <a:pt x="6516" y="3340"/>
                </a:lnTo>
                <a:lnTo>
                  <a:pt x="6512" y="3332"/>
                </a:lnTo>
                <a:lnTo>
                  <a:pt x="6514" y="3326"/>
                </a:lnTo>
                <a:lnTo>
                  <a:pt x="6520" y="3318"/>
                </a:lnTo>
                <a:lnTo>
                  <a:pt x="6538" y="3298"/>
                </a:lnTo>
                <a:lnTo>
                  <a:pt x="6548" y="3288"/>
                </a:lnTo>
                <a:lnTo>
                  <a:pt x="6554" y="3280"/>
                </a:lnTo>
                <a:lnTo>
                  <a:pt x="6558" y="3272"/>
                </a:lnTo>
                <a:lnTo>
                  <a:pt x="6558" y="3268"/>
                </a:lnTo>
                <a:lnTo>
                  <a:pt x="6556" y="3266"/>
                </a:lnTo>
                <a:lnTo>
                  <a:pt x="6554" y="3262"/>
                </a:lnTo>
                <a:lnTo>
                  <a:pt x="6554" y="3258"/>
                </a:lnTo>
                <a:lnTo>
                  <a:pt x="6554" y="3252"/>
                </a:lnTo>
                <a:lnTo>
                  <a:pt x="6552" y="3248"/>
                </a:lnTo>
                <a:lnTo>
                  <a:pt x="6550" y="3244"/>
                </a:lnTo>
                <a:lnTo>
                  <a:pt x="6548" y="3242"/>
                </a:lnTo>
                <a:lnTo>
                  <a:pt x="6540" y="3236"/>
                </a:lnTo>
                <a:lnTo>
                  <a:pt x="6536" y="3234"/>
                </a:lnTo>
                <a:lnTo>
                  <a:pt x="6532" y="3230"/>
                </a:lnTo>
                <a:lnTo>
                  <a:pt x="6528" y="3220"/>
                </a:lnTo>
                <a:lnTo>
                  <a:pt x="6528" y="3216"/>
                </a:lnTo>
                <a:lnTo>
                  <a:pt x="6528" y="3210"/>
                </a:lnTo>
                <a:lnTo>
                  <a:pt x="6532" y="3208"/>
                </a:lnTo>
                <a:lnTo>
                  <a:pt x="6534" y="3204"/>
                </a:lnTo>
                <a:lnTo>
                  <a:pt x="6544" y="3198"/>
                </a:lnTo>
                <a:lnTo>
                  <a:pt x="6552" y="3190"/>
                </a:lnTo>
                <a:lnTo>
                  <a:pt x="6556" y="3180"/>
                </a:lnTo>
                <a:lnTo>
                  <a:pt x="6556" y="3176"/>
                </a:lnTo>
                <a:lnTo>
                  <a:pt x="6556" y="3172"/>
                </a:lnTo>
                <a:lnTo>
                  <a:pt x="6552" y="3170"/>
                </a:lnTo>
                <a:lnTo>
                  <a:pt x="6550" y="3170"/>
                </a:lnTo>
                <a:lnTo>
                  <a:pt x="6542" y="3176"/>
                </a:lnTo>
                <a:lnTo>
                  <a:pt x="6532" y="3184"/>
                </a:lnTo>
                <a:lnTo>
                  <a:pt x="6530" y="3186"/>
                </a:lnTo>
                <a:lnTo>
                  <a:pt x="6526" y="3188"/>
                </a:lnTo>
                <a:lnTo>
                  <a:pt x="6524" y="3186"/>
                </a:lnTo>
                <a:lnTo>
                  <a:pt x="6524" y="3182"/>
                </a:lnTo>
                <a:lnTo>
                  <a:pt x="6522" y="3174"/>
                </a:lnTo>
                <a:lnTo>
                  <a:pt x="6520" y="3164"/>
                </a:lnTo>
                <a:lnTo>
                  <a:pt x="6516" y="3162"/>
                </a:lnTo>
                <a:lnTo>
                  <a:pt x="6512" y="3158"/>
                </a:lnTo>
                <a:lnTo>
                  <a:pt x="6502" y="3156"/>
                </a:lnTo>
                <a:lnTo>
                  <a:pt x="6492" y="3156"/>
                </a:lnTo>
                <a:lnTo>
                  <a:pt x="6484" y="3158"/>
                </a:lnTo>
                <a:lnTo>
                  <a:pt x="6478" y="3162"/>
                </a:lnTo>
                <a:lnTo>
                  <a:pt x="6468" y="3170"/>
                </a:lnTo>
                <a:lnTo>
                  <a:pt x="6462" y="3176"/>
                </a:lnTo>
                <a:lnTo>
                  <a:pt x="6456" y="3178"/>
                </a:lnTo>
                <a:lnTo>
                  <a:pt x="6444" y="3178"/>
                </a:lnTo>
                <a:lnTo>
                  <a:pt x="6438" y="3178"/>
                </a:lnTo>
                <a:lnTo>
                  <a:pt x="6432" y="3180"/>
                </a:lnTo>
                <a:lnTo>
                  <a:pt x="6426" y="3182"/>
                </a:lnTo>
                <a:lnTo>
                  <a:pt x="6422" y="3180"/>
                </a:lnTo>
                <a:lnTo>
                  <a:pt x="6420" y="3174"/>
                </a:lnTo>
                <a:lnTo>
                  <a:pt x="6410" y="3168"/>
                </a:lnTo>
                <a:lnTo>
                  <a:pt x="6406" y="3168"/>
                </a:lnTo>
                <a:lnTo>
                  <a:pt x="6404" y="3168"/>
                </a:lnTo>
                <a:lnTo>
                  <a:pt x="6398" y="3174"/>
                </a:lnTo>
                <a:lnTo>
                  <a:pt x="6396" y="3176"/>
                </a:lnTo>
                <a:lnTo>
                  <a:pt x="6392" y="3178"/>
                </a:lnTo>
                <a:lnTo>
                  <a:pt x="6388" y="3178"/>
                </a:lnTo>
                <a:lnTo>
                  <a:pt x="6382" y="3176"/>
                </a:lnTo>
                <a:lnTo>
                  <a:pt x="6370" y="3172"/>
                </a:lnTo>
                <a:lnTo>
                  <a:pt x="6366" y="3172"/>
                </a:lnTo>
                <a:lnTo>
                  <a:pt x="6364" y="3172"/>
                </a:lnTo>
                <a:lnTo>
                  <a:pt x="6358" y="3176"/>
                </a:lnTo>
                <a:lnTo>
                  <a:pt x="6346" y="3182"/>
                </a:lnTo>
                <a:lnTo>
                  <a:pt x="6340" y="3184"/>
                </a:lnTo>
                <a:lnTo>
                  <a:pt x="6334" y="3186"/>
                </a:lnTo>
                <a:lnTo>
                  <a:pt x="6328" y="3192"/>
                </a:lnTo>
                <a:lnTo>
                  <a:pt x="6326" y="3192"/>
                </a:lnTo>
                <a:lnTo>
                  <a:pt x="6322" y="3192"/>
                </a:lnTo>
                <a:lnTo>
                  <a:pt x="6318" y="3192"/>
                </a:lnTo>
                <a:lnTo>
                  <a:pt x="6314" y="3188"/>
                </a:lnTo>
                <a:lnTo>
                  <a:pt x="6310" y="3184"/>
                </a:lnTo>
                <a:lnTo>
                  <a:pt x="6304" y="3182"/>
                </a:lnTo>
                <a:lnTo>
                  <a:pt x="6290" y="3178"/>
                </a:lnTo>
                <a:lnTo>
                  <a:pt x="6274" y="3178"/>
                </a:lnTo>
                <a:lnTo>
                  <a:pt x="6258" y="3182"/>
                </a:lnTo>
                <a:lnTo>
                  <a:pt x="6252" y="3184"/>
                </a:lnTo>
                <a:lnTo>
                  <a:pt x="6246" y="3184"/>
                </a:lnTo>
                <a:lnTo>
                  <a:pt x="6236" y="3184"/>
                </a:lnTo>
                <a:lnTo>
                  <a:pt x="6228" y="3184"/>
                </a:lnTo>
                <a:lnTo>
                  <a:pt x="6224" y="3184"/>
                </a:lnTo>
                <a:lnTo>
                  <a:pt x="6222" y="3188"/>
                </a:lnTo>
                <a:lnTo>
                  <a:pt x="6216" y="3194"/>
                </a:lnTo>
                <a:lnTo>
                  <a:pt x="6208" y="3196"/>
                </a:lnTo>
                <a:lnTo>
                  <a:pt x="6180" y="3196"/>
                </a:lnTo>
                <a:lnTo>
                  <a:pt x="6158" y="3200"/>
                </a:lnTo>
                <a:lnTo>
                  <a:pt x="6138" y="3208"/>
                </a:lnTo>
                <a:lnTo>
                  <a:pt x="6128" y="3212"/>
                </a:lnTo>
                <a:lnTo>
                  <a:pt x="6120" y="3218"/>
                </a:lnTo>
                <a:lnTo>
                  <a:pt x="6114" y="3226"/>
                </a:lnTo>
                <a:lnTo>
                  <a:pt x="6110" y="3232"/>
                </a:lnTo>
                <a:lnTo>
                  <a:pt x="6108" y="3238"/>
                </a:lnTo>
                <a:lnTo>
                  <a:pt x="6106" y="3240"/>
                </a:lnTo>
                <a:lnTo>
                  <a:pt x="6102" y="3240"/>
                </a:lnTo>
                <a:lnTo>
                  <a:pt x="6100" y="3240"/>
                </a:lnTo>
                <a:lnTo>
                  <a:pt x="6094" y="3236"/>
                </a:lnTo>
                <a:lnTo>
                  <a:pt x="6090" y="3236"/>
                </a:lnTo>
                <a:lnTo>
                  <a:pt x="6086" y="3240"/>
                </a:lnTo>
                <a:lnTo>
                  <a:pt x="6084" y="3242"/>
                </a:lnTo>
                <a:lnTo>
                  <a:pt x="6080" y="3244"/>
                </a:lnTo>
                <a:lnTo>
                  <a:pt x="6076" y="3242"/>
                </a:lnTo>
                <a:lnTo>
                  <a:pt x="6072" y="3242"/>
                </a:lnTo>
                <a:lnTo>
                  <a:pt x="6070" y="3242"/>
                </a:lnTo>
                <a:lnTo>
                  <a:pt x="6066" y="3246"/>
                </a:lnTo>
                <a:lnTo>
                  <a:pt x="6062" y="3250"/>
                </a:lnTo>
                <a:lnTo>
                  <a:pt x="6054" y="3260"/>
                </a:lnTo>
                <a:lnTo>
                  <a:pt x="6044" y="3270"/>
                </a:lnTo>
                <a:lnTo>
                  <a:pt x="6038" y="3274"/>
                </a:lnTo>
                <a:lnTo>
                  <a:pt x="6032" y="3276"/>
                </a:lnTo>
                <a:lnTo>
                  <a:pt x="6026" y="3276"/>
                </a:lnTo>
                <a:lnTo>
                  <a:pt x="6020" y="3276"/>
                </a:lnTo>
                <a:lnTo>
                  <a:pt x="6006" y="3274"/>
                </a:lnTo>
                <a:lnTo>
                  <a:pt x="6000" y="3274"/>
                </a:lnTo>
                <a:lnTo>
                  <a:pt x="5996" y="3272"/>
                </a:lnTo>
                <a:lnTo>
                  <a:pt x="5992" y="3268"/>
                </a:lnTo>
                <a:lnTo>
                  <a:pt x="5990" y="3262"/>
                </a:lnTo>
                <a:lnTo>
                  <a:pt x="5990" y="3258"/>
                </a:lnTo>
                <a:lnTo>
                  <a:pt x="5988" y="3258"/>
                </a:lnTo>
                <a:lnTo>
                  <a:pt x="5986" y="3262"/>
                </a:lnTo>
                <a:lnTo>
                  <a:pt x="5982" y="3266"/>
                </a:lnTo>
                <a:lnTo>
                  <a:pt x="5978" y="3268"/>
                </a:lnTo>
                <a:lnTo>
                  <a:pt x="5974" y="3268"/>
                </a:lnTo>
                <a:lnTo>
                  <a:pt x="5968" y="3266"/>
                </a:lnTo>
                <a:lnTo>
                  <a:pt x="5962" y="3266"/>
                </a:lnTo>
                <a:lnTo>
                  <a:pt x="5958" y="3266"/>
                </a:lnTo>
                <a:lnTo>
                  <a:pt x="5948" y="3270"/>
                </a:lnTo>
                <a:lnTo>
                  <a:pt x="5942" y="3272"/>
                </a:lnTo>
                <a:lnTo>
                  <a:pt x="5934" y="3272"/>
                </a:lnTo>
                <a:lnTo>
                  <a:pt x="5926" y="3272"/>
                </a:lnTo>
                <a:lnTo>
                  <a:pt x="5914" y="3266"/>
                </a:lnTo>
                <a:lnTo>
                  <a:pt x="5904" y="3260"/>
                </a:lnTo>
                <a:lnTo>
                  <a:pt x="5898" y="3254"/>
                </a:lnTo>
                <a:lnTo>
                  <a:pt x="5896" y="3248"/>
                </a:lnTo>
                <a:lnTo>
                  <a:pt x="5896" y="3242"/>
                </a:lnTo>
                <a:lnTo>
                  <a:pt x="5896" y="3236"/>
                </a:lnTo>
                <a:lnTo>
                  <a:pt x="5894" y="3234"/>
                </a:lnTo>
                <a:lnTo>
                  <a:pt x="5890" y="3232"/>
                </a:lnTo>
                <a:lnTo>
                  <a:pt x="5884" y="3234"/>
                </a:lnTo>
                <a:lnTo>
                  <a:pt x="5880" y="3238"/>
                </a:lnTo>
                <a:lnTo>
                  <a:pt x="5874" y="3242"/>
                </a:lnTo>
                <a:lnTo>
                  <a:pt x="5868" y="3254"/>
                </a:lnTo>
                <a:lnTo>
                  <a:pt x="5856" y="3290"/>
                </a:lnTo>
                <a:lnTo>
                  <a:pt x="5848" y="3310"/>
                </a:lnTo>
                <a:lnTo>
                  <a:pt x="5838" y="3328"/>
                </a:lnTo>
                <a:lnTo>
                  <a:pt x="5830" y="3336"/>
                </a:lnTo>
                <a:lnTo>
                  <a:pt x="5822" y="3344"/>
                </a:lnTo>
                <a:lnTo>
                  <a:pt x="5814" y="3350"/>
                </a:lnTo>
                <a:lnTo>
                  <a:pt x="5804" y="3354"/>
                </a:lnTo>
                <a:lnTo>
                  <a:pt x="5786" y="3362"/>
                </a:lnTo>
                <a:lnTo>
                  <a:pt x="5772" y="3368"/>
                </a:lnTo>
                <a:lnTo>
                  <a:pt x="5766" y="3374"/>
                </a:lnTo>
                <a:lnTo>
                  <a:pt x="5762" y="3378"/>
                </a:lnTo>
                <a:lnTo>
                  <a:pt x="5756" y="3386"/>
                </a:lnTo>
                <a:lnTo>
                  <a:pt x="5752" y="3392"/>
                </a:lnTo>
                <a:lnTo>
                  <a:pt x="5746" y="3400"/>
                </a:lnTo>
                <a:lnTo>
                  <a:pt x="5738" y="3406"/>
                </a:lnTo>
                <a:lnTo>
                  <a:pt x="5736" y="3412"/>
                </a:lnTo>
                <a:lnTo>
                  <a:pt x="5734" y="3416"/>
                </a:lnTo>
                <a:lnTo>
                  <a:pt x="5736" y="3420"/>
                </a:lnTo>
                <a:lnTo>
                  <a:pt x="5736" y="3424"/>
                </a:lnTo>
                <a:lnTo>
                  <a:pt x="5734" y="3430"/>
                </a:lnTo>
                <a:lnTo>
                  <a:pt x="5732" y="3438"/>
                </a:lnTo>
                <a:lnTo>
                  <a:pt x="5724" y="3448"/>
                </a:lnTo>
                <a:lnTo>
                  <a:pt x="5716" y="3462"/>
                </a:lnTo>
                <a:lnTo>
                  <a:pt x="5714" y="3476"/>
                </a:lnTo>
                <a:lnTo>
                  <a:pt x="5712" y="3490"/>
                </a:lnTo>
                <a:lnTo>
                  <a:pt x="5714" y="3504"/>
                </a:lnTo>
                <a:lnTo>
                  <a:pt x="5718" y="3530"/>
                </a:lnTo>
                <a:lnTo>
                  <a:pt x="5718" y="3542"/>
                </a:lnTo>
                <a:lnTo>
                  <a:pt x="5714" y="3554"/>
                </a:lnTo>
                <a:lnTo>
                  <a:pt x="5702" y="3576"/>
                </a:lnTo>
                <a:lnTo>
                  <a:pt x="5694" y="3590"/>
                </a:lnTo>
                <a:lnTo>
                  <a:pt x="5686" y="3598"/>
                </a:lnTo>
                <a:lnTo>
                  <a:pt x="5680" y="3602"/>
                </a:lnTo>
                <a:lnTo>
                  <a:pt x="5668" y="3606"/>
                </a:lnTo>
                <a:lnTo>
                  <a:pt x="5662" y="3612"/>
                </a:lnTo>
                <a:lnTo>
                  <a:pt x="5654" y="3622"/>
                </a:lnTo>
                <a:lnTo>
                  <a:pt x="5644" y="3632"/>
                </a:lnTo>
                <a:lnTo>
                  <a:pt x="5634" y="3640"/>
                </a:lnTo>
                <a:lnTo>
                  <a:pt x="5622" y="3642"/>
                </a:lnTo>
                <a:lnTo>
                  <a:pt x="5610" y="3646"/>
                </a:lnTo>
                <a:lnTo>
                  <a:pt x="5600" y="3648"/>
                </a:lnTo>
                <a:lnTo>
                  <a:pt x="5592" y="3650"/>
                </a:lnTo>
                <a:lnTo>
                  <a:pt x="5584" y="3656"/>
                </a:lnTo>
                <a:lnTo>
                  <a:pt x="5580" y="3666"/>
                </a:lnTo>
                <a:lnTo>
                  <a:pt x="5570" y="3694"/>
                </a:lnTo>
                <a:lnTo>
                  <a:pt x="5560" y="3712"/>
                </a:lnTo>
                <a:lnTo>
                  <a:pt x="5552" y="3722"/>
                </a:lnTo>
                <a:lnTo>
                  <a:pt x="5544" y="3726"/>
                </a:lnTo>
                <a:lnTo>
                  <a:pt x="5538" y="3730"/>
                </a:lnTo>
                <a:lnTo>
                  <a:pt x="5534" y="3732"/>
                </a:lnTo>
                <a:lnTo>
                  <a:pt x="5528" y="3738"/>
                </a:lnTo>
                <a:lnTo>
                  <a:pt x="5524" y="3752"/>
                </a:lnTo>
                <a:lnTo>
                  <a:pt x="5520" y="3766"/>
                </a:lnTo>
                <a:lnTo>
                  <a:pt x="5518" y="3770"/>
                </a:lnTo>
                <a:lnTo>
                  <a:pt x="5516" y="3776"/>
                </a:lnTo>
                <a:lnTo>
                  <a:pt x="5512" y="3794"/>
                </a:lnTo>
                <a:lnTo>
                  <a:pt x="5508" y="3816"/>
                </a:lnTo>
                <a:lnTo>
                  <a:pt x="5506" y="3822"/>
                </a:lnTo>
                <a:lnTo>
                  <a:pt x="5502" y="3826"/>
                </a:lnTo>
                <a:lnTo>
                  <a:pt x="5494" y="3834"/>
                </a:lnTo>
                <a:lnTo>
                  <a:pt x="5482" y="3848"/>
                </a:lnTo>
                <a:lnTo>
                  <a:pt x="5468" y="3862"/>
                </a:lnTo>
                <a:lnTo>
                  <a:pt x="5462" y="3868"/>
                </a:lnTo>
                <a:lnTo>
                  <a:pt x="5462" y="3870"/>
                </a:lnTo>
                <a:lnTo>
                  <a:pt x="5464" y="3870"/>
                </a:lnTo>
                <a:lnTo>
                  <a:pt x="5470" y="3870"/>
                </a:lnTo>
                <a:lnTo>
                  <a:pt x="5470" y="3872"/>
                </a:lnTo>
                <a:lnTo>
                  <a:pt x="5466" y="3880"/>
                </a:lnTo>
                <a:lnTo>
                  <a:pt x="5458" y="3896"/>
                </a:lnTo>
                <a:lnTo>
                  <a:pt x="5456" y="3906"/>
                </a:lnTo>
                <a:lnTo>
                  <a:pt x="5454" y="3918"/>
                </a:lnTo>
                <a:lnTo>
                  <a:pt x="5452" y="3928"/>
                </a:lnTo>
                <a:lnTo>
                  <a:pt x="5450" y="3934"/>
                </a:lnTo>
                <a:lnTo>
                  <a:pt x="5446" y="3938"/>
                </a:lnTo>
                <a:lnTo>
                  <a:pt x="5442" y="3940"/>
                </a:lnTo>
                <a:lnTo>
                  <a:pt x="5436" y="3944"/>
                </a:lnTo>
                <a:lnTo>
                  <a:pt x="5432" y="3948"/>
                </a:lnTo>
                <a:lnTo>
                  <a:pt x="5428" y="3956"/>
                </a:lnTo>
                <a:lnTo>
                  <a:pt x="5424" y="3966"/>
                </a:lnTo>
                <a:lnTo>
                  <a:pt x="5420" y="3990"/>
                </a:lnTo>
                <a:lnTo>
                  <a:pt x="5420" y="4006"/>
                </a:lnTo>
                <a:lnTo>
                  <a:pt x="5420" y="4014"/>
                </a:lnTo>
                <a:lnTo>
                  <a:pt x="5422" y="4016"/>
                </a:lnTo>
                <a:lnTo>
                  <a:pt x="5424" y="4016"/>
                </a:lnTo>
                <a:lnTo>
                  <a:pt x="5424" y="4014"/>
                </a:lnTo>
                <a:lnTo>
                  <a:pt x="5426" y="4012"/>
                </a:lnTo>
                <a:lnTo>
                  <a:pt x="5426" y="4006"/>
                </a:lnTo>
                <a:lnTo>
                  <a:pt x="5428" y="4002"/>
                </a:lnTo>
                <a:lnTo>
                  <a:pt x="5430" y="4000"/>
                </a:lnTo>
                <a:lnTo>
                  <a:pt x="5432" y="4000"/>
                </a:lnTo>
                <a:lnTo>
                  <a:pt x="5434" y="4002"/>
                </a:lnTo>
                <a:lnTo>
                  <a:pt x="5434" y="4006"/>
                </a:lnTo>
                <a:lnTo>
                  <a:pt x="5436" y="4014"/>
                </a:lnTo>
                <a:lnTo>
                  <a:pt x="5438" y="4022"/>
                </a:lnTo>
                <a:lnTo>
                  <a:pt x="5440" y="4024"/>
                </a:lnTo>
                <a:lnTo>
                  <a:pt x="5442" y="4024"/>
                </a:lnTo>
                <a:lnTo>
                  <a:pt x="5446" y="4022"/>
                </a:lnTo>
                <a:lnTo>
                  <a:pt x="5448" y="4024"/>
                </a:lnTo>
                <a:lnTo>
                  <a:pt x="5452" y="4032"/>
                </a:lnTo>
                <a:lnTo>
                  <a:pt x="5454" y="4044"/>
                </a:lnTo>
                <a:lnTo>
                  <a:pt x="5454" y="4058"/>
                </a:lnTo>
                <a:lnTo>
                  <a:pt x="5454" y="4066"/>
                </a:lnTo>
                <a:lnTo>
                  <a:pt x="5452" y="4072"/>
                </a:lnTo>
                <a:lnTo>
                  <a:pt x="5446" y="4080"/>
                </a:lnTo>
                <a:lnTo>
                  <a:pt x="5442" y="4086"/>
                </a:lnTo>
                <a:lnTo>
                  <a:pt x="5444" y="4088"/>
                </a:lnTo>
                <a:lnTo>
                  <a:pt x="5446" y="4090"/>
                </a:lnTo>
                <a:lnTo>
                  <a:pt x="5450" y="4096"/>
                </a:lnTo>
                <a:lnTo>
                  <a:pt x="5456" y="4104"/>
                </a:lnTo>
                <a:lnTo>
                  <a:pt x="5458" y="4114"/>
                </a:lnTo>
                <a:lnTo>
                  <a:pt x="5462" y="4128"/>
                </a:lnTo>
                <a:lnTo>
                  <a:pt x="5464" y="4142"/>
                </a:lnTo>
                <a:lnTo>
                  <a:pt x="5464" y="4156"/>
                </a:lnTo>
                <a:lnTo>
                  <a:pt x="5462" y="4172"/>
                </a:lnTo>
                <a:lnTo>
                  <a:pt x="5460" y="4186"/>
                </a:lnTo>
                <a:lnTo>
                  <a:pt x="5448" y="4222"/>
                </a:lnTo>
                <a:lnTo>
                  <a:pt x="5446" y="4232"/>
                </a:lnTo>
                <a:lnTo>
                  <a:pt x="5444" y="4242"/>
                </a:lnTo>
                <a:lnTo>
                  <a:pt x="5444" y="4258"/>
                </a:lnTo>
                <a:lnTo>
                  <a:pt x="5438" y="4278"/>
                </a:lnTo>
                <a:lnTo>
                  <a:pt x="5434" y="4288"/>
                </a:lnTo>
                <a:lnTo>
                  <a:pt x="5428" y="4298"/>
                </a:lnTo>
                <a:lnTo>
                  <a:pt x="5420" y="4304"/>
                </a:lnTo>
                <a:lnTo>
                  <a:pt x="5412" y="4310"/>
                </a:lnTo>
                <a:lnTo>
                  <a:pt x="5406" y="4314"/>
                </a:lnTo>
                <a:lnTo>
                  <a:pt x="5404" y="4318"/>
                </a:lnTo>
                <a:lnTo>
                  <a:pt x="5408" y="4320"/>
                </a:lnTo>
                <a:lnTo>
                  <a:pt x="5414" y="4318"/>
                </a:lnTo>
                <a:lnTo>
                  <a:pt x="5418" y="4320"/>
                </a:lnTo>
                <a:lnTo>
                  <a:pt x="5422" y="4324"/>
                </a:lnTo>
                <a:lnTo>
                  <a:pt x="5428" y="4338"/>
                </a:lnTo>
                <a:lnTo>
                  <a:pt x="5434" y="4358"/>
                </a:lnTo>
                <a:lnTo>
                  <a:pt x="5438" y="4366"/>
                </a:lnTo>
                <a:lnTo>
                  <a:pt x="5442" y="4374"/>
                </a:lnTo>
                <a:lnTo>
                  <a:pt x="5444" y="4378"/>
                </a:lnTo>
                <a:lnTo>
                  <a:pt x="5448" y="4380"/>
                </a:lnTo>
                <a:lnTo>
                  <a:pt x="5452" y="4382"/>
                </a:lnTo>
                <a:lnTo>
                  <a:pt x="5456" y="4382"/>
                </a:lnTo>
                <a:lnTo>
                  <a:pt x="5468" y="4380"/>
                </a:lnTo>
                <a:lnTo>
                  <a:pt x="5484" y="4378"/>
                </a:lnTo>
                <a:lnTo>
                  <a:pt x="5466" y="4382"/>
                </a:lnTo>
                <a:lnTo>
                  <a:pt x="5454" y="4386"/>
                </a:lnTo>
                <a:lnTo>
                  <a:pt x="5446" y="4388"/>
                </a:lnTo>
                <a:lnTo>
                  <a:pt x="5442" y="4386"/>
                </a:lnTo>
                <a:lnTo>
                  <a:pt x="5440" y="4384"/>
                </a:lnTo>
                <a:lnTo>
                  <a:pt x="5438" y="4380"/>
                </a:lnTo>
                <a:lnTo>
                  <a:pt x="5436" y="4380"/>
                </a:lnTo>
                <a:lnTo>
                  <a:pt x="5432" y="4382"/>
                </a:lnTo>
                <a:lnTo>
                  <a:pt x="5430" y="4390"/>
                </a:lnTo>
                <a:lnTo>
                  <a:pt x="5432" y="4398"/>
                </a:lnTo>
                <a:lnTo>
                  <a:pt x="5434" y="4408"/>
                </a:lnTo>
                <a:lnTo>
                  <a:pt x="5434" y="4416"/>
                </a:lnTo>
                <a:lnTo>
                  <a:pt x="5436" y="4420"/>
                </a:lnTo>
                <a:lnTo>
                  <a:pt x="5440" y="4418"/>
                </a:lnTo>
                <a:lnTo>
                  <a:pt x="5444" y="4416"/>
                </a:lnTo>
                <a:lnTo>
                  <a:pt x="5448" y="4418"/>
                </a:lnTo>
                <a:lnTo>
                  <a:pt x="5452" y="4420"/>
                </a:lnTo>
                <a:lnTo>
                  <a:pt x="5458" y="4420"/>
                </a:lnTo>
                <a:lnTo>
                  <a:pt x="5464" y="4418"/>
                </a:lnTo>
                <a:lnTo>
                  <a:pt x="5468" y="4420"/>
                </a:lnTo>
                <a:lnTo>
                  <a:pt x="5474" y="4422"/>
                </a:lnTo>
                <a:lnTo>
                  <a:pt x="5480" y="4424"/>
                </a:lnTo>
                <a:lnTo>
                  <a:pt x="5468" y="4426"/>
                </a:lnTo>
                <a:lnTo>
                  <a:pt x="5460" y="4426"/>
                </a:lnTo>
                <a:lnTo>
                  <a:pt x="5448" y="4424"/>
                </a:lnTo>
                <a:lnTo>
                  <a:pt x="5442" y="4422"/>
                </a:lnTo>
                <a:lnTo>
                  <a:pt x="5440" y="4422"/>
                </a:lnTo>
                <a:lnTo>
                  <a:pt x="5436" y="4426"/>
                </a:lnTo>
                <a:lnTo>
                  <a:pt x="5434" y="4430"/>
                </a:lnTo>
                <a:lnTo>
                  <a:pt x="5434" y="4432"/>
                </a:lnTo>
                <a:lnTo>
                  <a:pt x="5438" y="4434"/>
                </a:lnTo>
                <a:lnTo>
                  <a:pt x="5442" y="4438"/>
                </a:lnTo>
                <a:lnTo>
                  <a:pt x="5444" y="4440"/>
                </a:lnTo>
                <a:lnTo>
                  <a:pt x="5446" y="4440"/>
                </a:lnTo>
                <a:lnTo>
                  <a:pt x="5452" y="4440"/>
                </a:lnTo>
                <a:lnTo>
                  <a:pt x="5456" y="4440"/>
                </a:lnTo>
                <a:lnTo>
                  <a:pt x="5454" y="4444"/>
                </a:lnTo>
                <a:lnTo>
                  <a:pt x="5452" y="4452"/>
                </a:lnTo>
                <a:lnTo>
                  <a:pt x="5452" y="4454"/>
                </a:lnTo>
                <a:lnTo>
                  <a:pt x="5454" y="4456"/>
                </a:lnTo>
                <a:lnTo>
                  <a:pt x="5458" y="4456"/>
                </a:lnTo>
                <a:lnTo>
                  <a:pt x="5464" y="4454"/>
                </a:lnTo>
                <a:lnTo>
                  <a:pt x="5468" y="4454"/>
                </a:lnTo>
                <a:lnTo>
                  <a:pt x="5470" y="4456"/>
                </a:lnTo>
                <a:lnTo>
                  <a:pt x="5468" y="4462"/>
                </a:lnTo>
                <a:lnTo>
                  <a:pt x="5468" y="4468"/>
                </a:lnTo>
                <a:lnTo>
                  <a:pt x="5470" y="4468"/>
                </a:lnTo>
                <a:lnTo>
                  <a:pt x="5474" y="4464"/>
                </a:lnTo>
                <a:lnTo>
                  <a:pt x="5484" y="4458"/>
                </a:lnTo>
                <a:lnTo>
                  <a:pt x="5490" y="4456"/>
                </a:lnTo>
                <a:lnTo>
                  <a:pt x="5492" y="4456"/>
                </a:lnTo>
                <a:lnTo>
                  <a:pt x="5488" y="4460"/>
                </a:lnTo>
                <a:lnTo>
                  <a:pt x="5484" y="4462"/>
                </a:lnTo>
                <a:lnTo>
                  <a:pt x="5484" y="4464"/>
                </a:lnTo>
                <a:lnTo>
                  <a:pt x="5484" y="4468"/>
                </a:lnTo>
                <a:lnTo>
                  <a:pt x="5488" y="4472"/>
                </a:lnTo>
                <a:lnTo>
                  <a:pt x="5488" y="4476"/>
                </a:lnTo>
                <a:lnTo>
                  <a:pt x="5486" y="4478"/>
                </a:lnTo>
                <a:lnTo>
                  <a:pt x="5486" y="4482"/>
                </a:lnTo>
                <a:lnTo>
                  <a:pt x="5486" y="4484"/>
                </a:lnTo>
                <a:lnTo>
                  <a:pt x="5488" y="4484"/>
                </a:lnTo>
                <a:lnTo>
                  <a:pt x="5490" y="4488"/>
                </a:lnTo>
                <a:lnTo>
                  <a:pt x="5490" y="4492"/>
                </a:lnTo>
                <a:lnTo>
                  <a:pt x="5492" y="4492"/>
                </a:lnTo>
                <a:lnTo>
                  <a:pt x="5494" y="4492"/>
                </a:lnTo>
                <a:lnTo>
                  <a:pt x="5496" y="4496"/>
                </a:lnTo>
                <a:lnTo>
                  <a:pt x="5496" y="4500"/>
                </a:lnTo>
                <a:lnTo>
                  <a:pt x="5498" y="4500"/>
                </a:lnTo>
                <a:lnTo>
                  <a:pt x="5504" y="4492"/>
                </a:lnTo>
                <a:lnTo>
                  <a:pt x="5502" y="4500"/>
                </a:lnTo>
                <a:lnTo>
                  <a:pt x="5504" y="4504"/>
                </a:lnTo>
                <a:lnTo>
                  <a:pt x="5502" y="4508"/>
                </a:lnTo>
                <a:lnTo>
                  <a:pt x="5504" y="4510"/>
                </a:lnTo>
                <a:lnTo>
                  <a:pt x="5506" y="4512"/>
                </a:lnTo>
                <a:lnTo>
                  <a:pt x="5508" y="4510"/>
                </a:lnTo>
                <a:lnTo>
                  <a:pt x="5508" y="4506"/>
                </a:lnTo>
                <a:lnTo>
                  <a:pt x="5512" y="4502"/>
                </a:lnTo>
                <a:lnTo>
                  <a:pt x="5514" y="4500"/>
                </a:lnTo>
                <a:lnTo>
                  <a:pt x="5518" y="4498"/>
                </a:lnTo>
                <a:lnTo>
                  <a:pt x="5520" y="4500"/>
                </a:lnTo>
                <a:lnTo>
                  <a:pt x="5518" y="4502"/>
                </a:lnTo>
                <a:lnTo>
                  <a:pt x="5514" y="4506"/>
                </a:lnTo>
                <a:lnTo>
                  <a:pt x="5514" y="4508"/>
                </a:lnTo>
                <a:lnTo>
                  <a:pt x="5516" y="4512"/>
                </a:lnTo>
                <a:lnTo>
                  <a:pt x="5516" y="4514"/>
                </a:lnTo>
                <a:lnTo>
                  <a:pt x="5518" y="4516"/>
                </a:lnTo>
                <a:lnTo>
                  <a:pt x="5522" y="4512"/>
                </a:lnTo>
                <a:lnTo>
                  <a:pt x="5524" y="4510"/>
                </a:lnTo>
                <a:lnTo>
                  <a:pt x="5522" y="4518"/>
                </a:lnTo>
                <a:lnTo>
                  <a:pt x="5522" y="4528"/>
                </a:lnTo>
                <a:lnTo>
                  <a:pt x="5524" y="4528"/>
                </a:lnTo>
                <a:lnTo>
                  <a:pt x="5524" y="4534"/>
                </a:lnTo>
                <a:lnTo>
                  <a:pt x="5528" y="4538"/>
                </a:lnTo>
                <a:lnTo>
                  <a:pt x="5532" y="4542"/>
                </a:lnTo>
                <a:lnTo>
                  <a:pt x="5538" y="4544"/>
                </a:lnTo>
                <a:lnTo>
                  <a:pt x="5544" y="4548"/>
                </a:lnTo>
                <a:lnTo>
                  <a:pt x="5550" y="4554"/>
                </a:lnTo>
                <a:lnTo>
                  <a:pt x="5558" y="4556"/>
                </a:lnTo>
                <a:lnTo>
                  <a:pt x="5562" y="4560"/>
                </a:lnTo>
                <a:lnTo>
                  <a:pt x="5564" y="4562"/>
                </a:lnTo>
                <a:lnTo>
                  <a:pt x="5562" y="4564"/>
                </a:lnTo>
                <a:lnTo>
                  <a:pt x="5560" y="4568"/>
                </a:lnTo>
                <a:lnTo>
                  <a:pt x="5560" y="4572"/>
                </a:lnTo>
                <a:lnTo>
                  <a:pt x="5560" y="4576"/>
                </a:lnTo>
                <a:lnTo>
                  <a:pt x="5566" y="4578"/>
                </a:lnTo>
                <a:lnTo>
                  <a:pt x="5570" y="4582"/>
                </a:lnTo>
                <a:lnTo>
                  <a:pt x="5570" y="4584"/>
                </a:lnTo>
                <a:lnTo>
                  <a:pt x="5572" y="4586"/>
                </a:lnTo>
                <a:lnTo>
                  <a:pt x="5574" y="4588"/>
                </a:lnTo>
                <a:lnTo>
                  <a:pt x="5576" y="4592"/>
                </a:lnTo>
                <a:lnTo>
                  <a:pt x="5574" y="4594"/>
                </a:lnTo>
                <a:lnTo>
                  <a:pt x="5574" y="4596"/>
                </a:lnTo>
                <a:lnTo>
                  <a:pt x="5580" y="4604"/>
                </a:lnTo>
                <a:lnTo>
                  <a:pt x="5580" y="4606"/>
                </a:lnTo>
                <a:lnTo>
                  <a:pt x="5576" y="4608"/>
                </a:lnTo>
                <a:lnTo>
                  <a:pt x="5576" y="4610"/>
                </a:lnTo>
                <a:lnTo>
                  <a:pt x="5576" y="4612"/>
                </a:lnTo>
                <a:lnTo>
                  <a:pt x="5578" y="4618"/>
                </a:lnTo>
                <a:lnTo>
                  <a:pt x="5580" y="4618"/>
                </a:lnTo>
                <a:lnTo>
                  <a:pt x="5584" y="4616"/>
                </a:lnTo>
                <a:lnTo>
                  <a:pt x="5590" y="4620"/>
                </a:lnTo>
                <a:lnTo>
                  <a:pt x="5586" y="4624"/>
                </a:lnTo>
                <a:lnTo>
                  <a:pt x="5584" y="4624"/>
                </a:lnTo>
                <a:lnTo>
                  <a:pt x="5578" y="4624"/>
                </a:lnTo>
                <a:lnTo>
                  <a:pt x="5574" y="4624"/>
                </a:lnTo>
                <a:lnTo>
                  <a:pt x="5574" y="4628"/>
                </a:lnTo>
                <a:lnTo>
                  <a:pt x="5580" y="4636"/>
                </a:lnTo>
                <a:lnTo>
                  <a:pt x="5584" y="4638"/>
                </a:lnTo>
                <a:lnTo>
                  <a:pt x="5586" y="4638"/>
                </a:lnTo>
                <a:lnTo>
                  <a:pt x="5590" y="4642"/>
                </a:lnTo>
                <a:lnTo>
                  <a:pt x="5590" y="4648"/>
                </a:lnTo>
                <a:lnTo>
                  <a:pt x="5588" y="4650"/>
                </a:lnTo>
                <a:lnTo>
                  <a:pt x="5586" y="4650"/>
                </a:lnTo>
                <a:lnTo>
                  <a:pt x="5588" y="4654"/>
                </a:lnTo>
                <a:lnTo>
                  <a:pt x="5590" y="4656"/>
                </a:lnTo>
                <a:lnTo>
                  <a:pt x="5596" y="4658"/>
                </a:lnTo>
                <a:lnTo>
                  <a:pt x="5602" y="4660"/>
                </a:lnTo>
                <a:lnTo>
                  <a:pt x="5606" y="4666"/>
                </a:lnTo>
                <a:lnTo>
                  <a:pt x="5608" y="4668"/>
                </a:lnTo>
                <a:lnTo>
                  <a:pt x="5608" y="4670"/>
                </a:lnTo>
                <a:lnTo>
                  <a:pt x="5606" y="4672"/>
                </a:lnTo>
                <a:lnTo>
                  <a:pt x="5606" y="4674"/>
                </a:lnTo>
                <a:lnTo>
                  <a:pt x="5606" y="4676"/>
                </a:lnTo>
                <a:lnTo>
                  <a:pt x="5612" y="4680"/>
                </a:lnTo>
                <a:lnTo>
                  <a:pt x="5632" y="4688"/>
                </a:lnTo>
                <a:lnTo>
                  <a:pt x="5640" y="4694"/>
                </a:lnTo>
                <a:lnTo>
                  <a:pt x="5646" y="4700"/>
                </a:lnTo>
                <a:lnTo>
                  <a:pt x="5650" y="4706"/>
                </a:lnTo>
                <a:lnTo>
                  <a:pt x="5656" y="4710"/>
                </a:lnTo>
                <a:lnTo>
                  <a:pt x="5664" y="4716"/>
                </a:lnTo>
                <a:lnTo>
                  <a:pt x="5672" y="4722"/>
                </a:lnTo>
                <a:lnTo>
                  <a:pt x="5676" y="4724"/>
                </a:lnTo>
                <a:lnTo>
                  <a:pt x="5676" y="4728"/>
                </a:lnTo>
                <a:lnTo>
                  <a:pt x="5678" y="4732"/>
                </a:lnTo>
                <a:lnTo>
                  <a:pt x="5680" y="4734"/>
                </a:lnTo>
                <a:lnTo>
                  <a:pt x="5686" y="4738"/>
                </a:lnTo>
                <a:lnTo>
                  <a:pt x="5698" y="4744"/>
                </a:lnTo>
                <a:lnTo>
                  <a:pt x="5706" y="4752"/>
                </a:lnTo>
                <a:lnTo>
                  <a:pt x="5714" y="4762"/>
                </a:lnTo>
                <a:lnTo>
                  <a:pt x="5732" y="4782"/>
                </a:lnTo>
                <a:lnTo>
                  <a:pt x="5752" y="4798"/>
                </a:lnTo>
                <a:lnTo>
                  <a:pt x="5768" y="4810"/>
                </a:lnTo>
                <a:lnTo>
                  <a:pt x="5784" y="4816"/>
                </a:lnTo>
                <a:lnTo>
                  <a:pt x="5794" y="4820"/>
                </a:lnTo>
                <a:lnTo>
                  <a:pt x="5796" y="4824"/>
                </a:lnTo>
                <a:lnTo>
                  <a:pt x="5800" y="4826"/>
                </a:lnTo>
                <a:lnTo>
                  <a:pt x="5808" y="4826"/>
                </a:lnTo>
                <a:lnTo>
                  <a:pt x="5812" y="4824"/>
                </a:lnTo>
                <a:lnTo>
                  <a:pt x="5816" y="4822"/>
                </a:lnTo>
                <a:lnTo>
                  <a:pt x="5826" y="4814"/>
                </a:lnTo>
                <a:lnTo>
                  <a:pt x="5840" y="4804"/>
                </a:lnTo>
                <a:lnTo>
                  <a:pt x="5852" y="4798"/>
                </a:lnTo>
                <a:lnTo>
                  <a:pt x="5866" y="4794"/>
                </a:lnTo>
                <a:lnTo>
                  <a:pt x="5892" y="4788"/>
                </a:lnTo>
                <a:lnTo>
                  <a:pt x="5908" y="4788"/>
                </a:lnTo>
                <a:lnTo>
                  <a:pt x="5920" y="4788"/>
                </a:lnTo>
                <a:lnTo>
                  <a:pt x="5934" y="4786"/>
                </a:lnTo>
                <a:lnTo>
                  <a:pt x="5944" y="4782"/>
                </a:lnTo>
                <a:lnTo>
                  <a:pt x="5958" y="4786"/>
                </a:lnTo>
                <a:lnTo>
                  <a:pt x="5972" y="4786"/>
                </a:lnTo>
                <a:lnTo>
                  <a:pt x="5976" y="4786"/>
                </a:lnTo>
                <a:lnTo>
                  <a:pt x="5980" y="4784"/>
                </a:lnTo>
                <a:lnTo>
                  <a:pt x="5984" y="4784"/>
                </a:lnTo>
                <a:lnTo>
                  <a:pt x="5994" y="4786"/>
                </a:lnTo>
                <a:lnTo>
                  <a:pt x="5996" y="4788"/>
                </a:lnTo>
                <a:lnTo>
                  <a:pt x="5994" y="4788"/>
                </a:lnTo>
                <a:lnTo>
                  <a:pt x="5986" y="4790"/>
                </a:lnTo>
                <a:lnTo>
                  <a:pt x="5982" y="4790"/>
                </a:lnTo>
                <a:lnTo>
                  <a:pt x="5980" y="4790"/>
                </a:lnTo>
                <a:lnTo>
                  <a:pt x="5982" y="4792"/>
                </a:lnTo>
                <a:lnTo>
                  <a:pt x="6000" y="4796"/>
                </a:lnTo>
                <a:lnTo>
                  <a:pt x="6010" y="4800"/>
                </a:lnTo>
                <a:lnTo>
                  <a:pt x="6022" y="4804"/>
                </a:lnTo>
                <a:lnTo>
                  <a:pt x="6026" y="4806"/>
                </a:lnTo>
                <a:lnTo>
                  <a:pt x="6030" y="4806"/>
                </a:lnTo>
                <a:lnTo>
                  <a:pt x="6040" y="4800"/>
                </a:lnTo>
                <a:lnTo>
                  <a:pt x="6052" y="4790"/>
                </a:lnTo>
                <a:lnTo>
                  <a:pt x="6060" y="4786"/>
                </a:lnTo>
                <a:lnTo>
                  <a:pt x="6068" y="4784"/>
                </a:lnTo>
                <a:lnTo>
                  <a:pt x="6078" y="4782"/>
                </a:lnTo>
                <a:lnTo>
                  <a:pt x="6084" y="4778"/>
                </a:lnTo>
                <a:lnTo>
                  <a:pt x="6096" y="4770"/>
                </a:lnTo>
                <a:lnTo>
                  <a:pt x="6102" y="4766"/>
                </a:lnTo>
                <a:lnTo>
                  <a:pt x="6110" y="4762"/>
                </a:lnTo>
                <a:lnTo>
                  <a:pt x="6120" y="4758"/>
                </a:lnTo>
                <a:lnTo>
                  <a:pt x="6134" y="4756"/>
                </a:lnTo>
                <a:lnTo>
                  <a:pt x="6146" y="4754"/>
                </a:lnTo>
                <a:lnTo>
                  <a:pt x="6150" y="4752"/>
                </a:lnTo>
                <a:lnTo>
                  <a:pt x="6152" y="4750"/>
                </a:lnTo>
                <a:lnTo>
                  <a:pt x="6152" y="4746"/>
                </a:lnTo>
                <a:lnTo>
                  <a:pt x="6158" y="4740"/>
                </a:lnTo>
                <a:lnTo>
                  <a:pt x="6164" y="4736"/>
                </a:lnTo>
                <a:lnTo>
                  <a:pt x="6178" y="4732"/>
                </a:lnTo>
                <a:lnTo>
                  <a:pt x="6202" y="4730"/>
                </a:lnTo>
                <a:lnTo>
                  <a:pt x="6218" y="4728"/>
                </a:lnTo>
                <a:lnTo>
                  <a:pt x="6236" y="4726"/>
                </a:lnTo>
                <a:lnTo>
                  <a:pt x="6242" y="4726"/>
                </a:lnTo>
                <a:lnTo>
                  <a:pt x="6246" y="4722"/>
                </a:lnTo>
                <a:lnTo>
                  <a:pt x="6248" y="4720"/>
                </a:lnTo>
                <a:lnTo>
                  <a:pt x="6250" y="4722"/>
                </a:lnTo>
                <a:lnTo>
                  <a:pt x="6254" y="4724"/>
                </a:lnTo>
                <a:lnTo>
                  <a:pt x="6264" y="4726"/>
                </a:lnTo>
                <a:lnTo>
                  <a:pt x="6278" y="4726"/>
                </a:lnTo>
                <a:lnTo>
                  <a:pt x="6290" y="4730"/>
                </a:lnTo>
                <a:lnTo>
                  <a:pt x="6294" y="4734"/>
                </a:lnTo>
                <a:lnTo>
                  <a:pt x="6300" y="4738"/>
                </a:lnTo>
                <a:lnTo>
                  <a:pt x="6314" y="4756"/>
                </a:lnTo>
                <a:lnTo>
                  <a:pt x="6320" y="4772"/>
                </a:lnTo>
                <a:lnTo>
                  <a:pt x="6328" y="4796"/>
                </a:lnTo>
                <a:lnTo>
                  <a:pt x="6334" y="4808"/>
                </a:lnTo>
                <a:lnTo>
                  <a:pt x="6340" y="4818"/>
                </a:lnTo>
                <a:lnTo>
                  <a:pt x="6348" y="4826"/>
                </a:lnTo>
                <a:lnTo>
                  <a:pt x="6352" y="4826"/>
                </a:lnTo>
                <a:lnTo>
                  <a:pt x="6358" y="4828"/>
                </a:lnTo>
                <a:lnTo>
                  <a:pt x="6374" y="4828"/>
                </a:lnTo>
                <a:lnTo>
                  <a:pt x="6380" y="4828"/>
                </a:lnTo>
                <a:lnTo>
                  <a:pt x="6388" y="4826"/>
                </a:lnTo>
                <a:lnTo>
                  <a:pt x="6394" y="4822"/>
                </a:lnTo>
                <a:lnTo>
                  <a:pt x="6396" y="4820"/>
                </a:lnTo>
                <a:lnTo>
                  <a:pt x="6398" y="4816"/>
                </a:lnTo>
                <a:lnTo>
                  <a:pt x="6398" y="4814"/>
                </a:lnTo>
                <a:lnTo>
                  <a:pt x="6396" y="4810"/>
                </a:lnTo>
                <a:lnTo>
                  <a:pt x="6402" y="4814"/>
                </a:lnTo>
                <a:lnTo>
                  <a:pt x="6406" y="4816"/>
                </a:lnTo>
                <a:lnTo>
                  <a:pt x="6414" y="4818"/>
                </a:lnTo>
                <a:lnTo>
                  <a:pt x="6422" y="4818"/>
                </a:lnTo>
                <a:lnTo>
                  <a:pt x="6432" y="4818"/>
                </a:lnTo>
                <a:lnTo>
                  <a:pt x="6440" y="4816"/>
                </a:lnTo>
                <a:lnTo>
                  <a:pt x="6444" y="4812"/>
                </a:lnTo>
                <a:lnTo>
                  <a:pt x="6446" y="4808"/>
                </a:lnTo>
                <a:lnTo>
                  <a:pt x="6446" y="4806"/>
                </a:lnTo>
                <a:lnTo>
                  <a:pt x="6440" y="4796"/>
                </a:lnTo>
                <a:lnTo>
                  <a:pt x="6452" y="4806"/>
                </a:lnTo>
                <a:lnTo>
                  <a:pt x="6452" y="4814"/>
                </a:lnTo>
                <a:lnTo>
                  <a:pt x="6454" y="4818"/>
                </a:lnTo>
                <a:lnTo>
                  <a:pt x="6458" y="4818"/>
                </a:lnTo>
                <a:lnTo>
                  <a:pt x="6460" y="4818"/>
                </a:lnTo>
                <a:lnTo>
                  <a:pt x="6464" y="4816"/>
                </a:lnTo>
                <a:lnTo>
                  <a:pt x="6466" y="4816"/>
                </a:lnTo>
                <a:lnTo>
                  <a:pt x="6468" y="4822"/>
                </a:lnTo>
                <a:lnTo>
                  <a:pt x="6470" y="4836"/>
                </a:lnTo>
                <a:lnTo>
                  <a:pt x="6474" y="4840"/>
                </a:lnTo>
                <a:lnTo>
                  <a:pt x="6482" y="4844"/>
                </a:lnTo>
                <a:lnTo>
                  <a:pt x="6486" y="4846"/>
                </a:lnTo>
                <a:lnTo>
                  <a:pt x="6488" y="4844"/>
                </a:lnTo>
                <a:lnTo>
                  <a:pt x="6492" y="4842"/>
                </a:lnTo>
                <a:lnTo>
                  <a:pt x="6494" y="4838"/>
                </a:lnTo>
                <a:lnTo>
                  <a:pt x="6498" y="4840"/>
                </a:lnTo>
                <a:lnTo>
                  <a:pt x="6500" y="4844"/>
                </a:lnTo>
                <a:lnTo>
                  <a:pt x="6500" y="4846"/>
                </a:lnTo>
                <a:lnTo>
                  <a:pt x="6498" y="4850"/>
                </a:lnTo>
                <a:lnTo>
                  <a:pt x="6494" y="4852"/>
                </a:lnTo>
                <a:lnTo>
                  <a:pt x="6494" y="4856"/>
                </a:lnTo>
                <a:lnTo>
                  <a:pt x="6496" y="4858"/>
                </a:lnTo>
                <a:lnTo>
                  <a:pt x="6500" y="4862"/>
                </a:lnTo>
                <a:lnTo>
                  <a:pt x="6500" y="4864"/>
                </a:lnTo>
                <a:lnTo>
                  <a:pt x="6500" y="4866"/>
                </a:lnTo>
                <a:lnTo>
                  <a:pt x="6504" y="4874"/>
                </a:lnTo>
                <a:lnTo>
                  <a:pt x="6506" y="4880"/>
                </a:lnTo>
                <a:lnTo>
                  <a:pt x="6508" y="4886"/>
                </a:lnTo>
                <a:lnTo>
                  <a:pt x="6508" y="4898"/>
                </a:lnTo>
                <a:lnTo>
                  <a:pt x="6504" y="4910"/>
                </a:lnTo>
                <a:lnTo>
                  <a:pt x="6504" y="4924"/>
                </a:lnTo>
                <a:lnTo>
                  <a:pt x="6504" y="4936"/>
                </a:lnTo>
                <a:lnTo>
                  <a:pt x="6502" y="4946"/>
                </a:lnTo>
                <a:lnTo>
                  <a:pt x="6498" y="4954"/>
                </a:lnTo>
                <a:lnTo>
                  <a:pt x="6494" y="4960"/>
                </a:lnTo>
                <a:lnTo>
                  <a:pt x="6488" y="4970"/>
                </a:lnTo>
                <a:lnTo>
                  <a:pt x="6486" y="4974"/>
                </a:lnTo>
                <a:lnTo>
                  <a:pt x="6486" y="4978"/>
                </a:lnTo>
                <a:lnTo>
                  <a:pt x="6486" y="4982"/>
                </a:lnTo>
                <a:lnTo>
                  <a:pt x="6488" y="4984"/>
                </a:lnTo>
                <a:lnTo>
                  <a:pt x="6494" y="4984"/>
                </a:lnTo>
                <a:lnTo>
                  <a:pt x="6496" y="4984"/>
                </a:lnTo>
                <a:lnTo>
                  <a:pt x="6496" y="4988"/>
                </a:lnTo>
                <a:lnTo>
                  <a:pt x="6494" y="4994"/>
                </a:lnTo>
                <a:lnTo>
                  <a:pt x="6496" y="4998"/>
                </a:lnTo>
                <a:lnTo>
                  <a:pt x="6498" y="5002"/>
                </a:lnTo>
                <a:lnTo>
                  <a:pt x="6496" y="5006"/>
                </a:lnTo>
                <a:lnTo>
                  <a:pt x="6494" y="5006"/>
                </a:lnTo>
                <a:lnTo>
                  <a:pt x="6492" y="5004"/>
                </a:lnTo>
                <a:lnTo>
                  <a:pt x="6490" y="5004"/>
                </a:lnTo>
                <a:lnTo>
                  <a:pt x="6486" y="5006"/>
                </a:lnTo>
                <a:lnTo>
                  <a:pt x="6486" y="5010"/>
                </a:lnTo>
                <a:lnTo>
                  <a:pt x="6486" y="5014"/>
                </a:lnTo>
                <a:lnTo>
                  <a:pt x="6490" y="5018"/>
                </a:lnTo>
                <a:lnTo>
                  <a:pt x="6500" y="5024"/>
                </a:lnTo>
                <a:lnTo>
                  <a:pt x="6510" y="5026"/>
                </a:lnTo>
                <a:lnTo>
                  <a:pt x="6514" y="5028"/>
                </a:lnTo>
                <a:lnTo>
                  <a:pt x="6516" y="5030"/>
                </a:lnTo>
                <a:lnTo>
                  <a:pt x="6514" y="5032"/>
                </a:lnTo>
                <a:lnTo>
                  <a:pt x="6512" y="5034"/>
                </a:lnTo>
                <a:lnTo>
                  <a:pt x="6508" y="5034"/>
                </a:lnTo>
                <a:lnTo>
                  <a:pt x="6502" y="5034"/>
                </a:lnTo>
                <a:lnTo>
                  <a:pt x="6498" y="5034"/>
                </a:lnTo>
                <a:lnTo>
                  <a:pt x="6494" y="5030"/>
                </a:lnTo>
                <a:lnTo>
                  <a:pt x="6488" y="5022"/>
                </a:lnTo>
                <a:lnTo>
                  <a:pt x="6486" y="5022"/>
                </a:lnTo>
                <a:lnTo>
                  <a:pt x="6484" y="5022"/>
                </a:lnTo>
                <a:lnTo>
                  <a:pt x="6484" y="5026"/>
                </a:lnTo>
                <a:lnTo>
                  <a:pt x="6484" y="5038"/>
                </a:lnTo>
                <a:lnTo>
                  <a:pt x="6484" y="5052"/>
                </a:lnTo>
                <a:lnTo>
                  <a:pt x="6480" y="5066"/>
                </a:lnTo>
                <a:lnTo>
                  <a:pt x="6476" y="5070"/>
                </a:lnTo>
                <a:lnTo>
                  <a:pt x="6474" y="5072"/>
                </a:lnTo>
                <a:lnTo>
                  <a:pt x="6470" y="5072"/>
                </a:lnTo>
                <a:lnTo>
                  <a:pt x="6466" y="5070"/>
                </a:lnTo>
                <a:lnTo>
                  <a:pt x="6460" y="5066"/>
                </a:lnTo>
                <a:lnTo>
                  <a:pt x="6460" y="5068"/>
                </a:lnTo>
                <a:lnTo>
                  <a:pt x="6462" y="5076"/>
                </a:lnTo>
                <a:lnTo>
                  <a:pt x="6468" y="5092"/>
                </a:lnTo>
                <a:lnTo>
                  <a:pt x="6480" y="5120"/>
                </a:lnTo>
                <a:lnTo>
                  <a:pt x="6484" y="5130"/>
                </a:lnTo>
                <a:lnTo>
                  <a:pt x="6488" y="5136"/>
                </a:lnTo>
                <a:lnTo>
                  <a:pt x="6494" y="5144"/>
                </a:lnTo>
                <a:lnTo>
                  <a:pt x="6498" y="5152"/>
                </a:lnTo>
                <a:lnTo>
                  <a:pt x="6504" y="5162"/>
                </a:lnTo>
                <a:lnTo>
                  <a:pt x="6514" y="5174"/>
                </a:lnTo>
                <a:lnTo>
                  <a:pt x="6536" y="5198"/>
                </a:lnTo>
                <a:lnTo>
                  <a:pt x="6544" y="5208"/>
                </a:lnTo>
                <a:lnTo>
                  <a:pt x="6546" y="5214"/>
                </a:lnTo>
                <a:lnTo>
                  <a:pt x="6556" y="5224"/>
                </a:lnTo>
                <a:lnTo>
                  <a:pt x="6576" y="5248"/>
                </a:lnTo>
                <a:lnTo>
                  <a:pt x="6582" y="5256"/>
                </a:lnTo>
                <a:lnTo>
                  <a:pt x="6584" y="5264"/>
                </a:lnTo>
                <a:lnTo>
                  <a:pt x="6588" y="5274"/>
                </a:lnTo>
                <a:lnTo>
                  <a:pt x="6594" y="5282"/>
                </a:lnTo>
                <a:lnTo>
                  <a:pt x="6600" y="5292"/>
                </a:lnTo>
                <a:lnTo>
                  <a:pt x="6600" y="5296"/>
                </a:lnTo>
                <a:lnTo>
                  <a:pt x="6600" y="5302"/>
                </a:lnTo>
                <a:lnTo>
                  <a:pt x="6598" y="5310"/>
                </a:lnTo>
                <a:lnTo>
                  <a:pt x="6598" y="5314"/>
                </a:lnTo>
                <a:lnTo>
                  <a:pt x="6600" y="5314"/>
                </a:lnTo>
                <a:lnTo>
                  <a:pt x="6602" y="5318"/>
                </a:lnTo>
                <a:lnTo>
                  <a:pt x="6606" y="5324"/>
                </a:lnTo>
                <a:lnTo>
                  <a:pt x="6608" y="5324"/>
                </a:lnTo>
                <a:lnTo>
                  <a:pt x="6614" y="5322"/>
                </a:lnTo>
                <a:lnTo>
                  <a:pt x="6620" y="5320"/>
                </a:lnTo>
                <a:lnTo>
                  <a:pt x="6626" y="5318"/>
                </a:lnTo>
                <a:lnTo>
                  <a:pt x="6630" y="5316"/>
                </a:lnTo>
                <a:lnTo>
                  <a:pt x="6638" y="5318"/>
                </a:lnTo>
                <a:lnTo>
                  <a:pt x="6630" y="5324"/>
                </a:lnTo>
                <a:lnTo>
                  <a:pt x="6624" y="5328"/>
                </a:lnTo>
                <a:lnTo>
                  <a:pt x="6612" y="5330"/>
                </a:lnTo>
                <a:lnTo>
                  <a:pt x="6606" y="5332"/>
                </a:lnTo>
                <a:lnTo>
                  <a:pt x="6604" y="5334"/>
                </a:lnTo>
                <a:lnTo>
                  <a:pt x="6606" y="5336"/>
                </a:lnTo>
                <a:lnTo>
                  <a:pt x="6616" y="5358"/>
                </a:lnTo>
                <a:lnTo>
                  <a:pt x="6630" y="5394"/>
                </a:lnTo>
                <a:lnTo>
                  <a:pt x="6638" y="5416"/>
                </a:lnTo>
                <a:lnTo>
                  <a:pt x="6642" y="5434"/>
                </a:lnTo>
                <a:lnTo>
                  <a:pt x="6642" y="5450"/>
                </a:lnTo>
                <a:lnTo>
                  <a:pt x="6642" y="5456"/>
                </a:lnTo>
                <a:lnTo>
                  <a:pt x="6638" y="5460"/>
                </a:lnTo>
                <a:lnTo>
                  <a:pt x="6634" y="5470"/>
                </a:lnTo>
                <a:lnTo>
                  <a:pt x="6634" y="5480"/>
                </a:lnTo>
                <a:lnTo>
                  <a:pt x="6636" y="5490"/>
                </a:lnTo>
                <a:lnTo>
                  <a:pt x="6638" y="5502"/>
                </a:lnTo>
                <a:lnTo>
                  <a:pt x="6650" y="5526"/>
                </a:lnTo>
                <a:lnTo>
                  <a:pt x="6660" y="5552"/>
                </a:lnTo>
                <a:lnTo>
                  <a:pt x="6664" y="5564"/>
                </a:lnTo>
                <a:lnTo>
                  <a:pt x="6666" y="5578"/>
                </a:lnTo>
                <a:lnTo>
                  <a:pt x="6668" y="5592"/>
                </a:lnTo>
                <a:lnTo>
                  <a:pt x="6666" y="5606"/>
                </a:lnTo>
                <a:lnTo>
                  <a:pt x="6664" y="5618"/>
                </a:lnTo>
                <a:lnTo>
                  <a:pt x="6658" y="5630"/>
                </a:lnTo>
                <a:lnTo>
                  <a:pt x="6652" y="5642"/>
                </a:lnTo>
                <a:lnTo>
                  <a:pt x="6642" y="5650"/>
                </a:lnTo>
                <a:lnTo>
                  <a:pt x="6634" y="5658"/>
                </a:lnTo>
                <a:lnTo>
                  <a:pt x="6628" y="5666"/>
                </a:lnTo>
                <a:lnTo>
                  <a:pt x="6622" y="5674"/>
                </a:lnTo>
                <a:lnTo>
                  <a:pt x="6618" y="5684"/>
                </a:lnTo>
                <a:lnTo>
                  <a:pt x="6610" y="5704"/>
                </a:lnTo>
                <a:lnTo>
                  <a:pt x="6606" y="5724"/>
                </a:lnTo>
                <a:lnTo>
                  <a:pt x="6600" y="5764"/>
                </a:lnTo>
                <a:lnTo>
                  <a:pt x="6598" y="5782"/>
                </a:lnTo>
                <a:lnTo>
                  <a:pt x="6592" y="5794"/>
                </a:lnTo>
                <a:lnTo>
                  <a:pt x="6586" y="5806"/>
                </a:lnTo>
                <a:lnTo>
                  <a:pt x="6582" y="5816"/>
                </a:lnTo>
                <a:lnTo>
                  <a:pt x="6582" y="5826"/>
                </a:lnTo>
                <a:lnTo>
                  <a:pt x="6582" y="5836"/>
                </a:lnTo>
                <a:lnTo>
                  <a:pt x="6584" y="5854"/>
                </a:lnTo>
                <a:lnTo>
                  <a:pt x="6584" y="5868"/>
                </a:lnTo>
                <a:lnTo>
                  <a:pt x="6582" y="5882"/>
                </a:lnTo>
                <a:lnTo>
                  <a:pt x="6580" y="5892"/>
                </a:lnTo>
                <a:lnTo>
                  <a:pt x="6582" y="5900"/>
                </a:lnTo>
                <a:lnTo>
                  <a:pt x="6586" y="5920"/>
                </a:lnTo>
                <a:lnTo>
                  <a:pt x="6594" y="5938"/>
                </a:lnTo>
                <a:lnTo>
                  <a:pt x="6604" y="5960"/>
                </a:lnTo>
                <a:lnTo>
                  <a:pt x="6628" y="6004"/>
                </a:lnTo>
                <a:lnTo>
                  <a:pt x="6638" y="6030"/>
                </a:lnTo>
                <a:lnTo>
                  <a:pt x="6646" y="6060"/>
                </a:lnTo>
                <a:lnTo>
                  <a:pt x="6654" y="6084"/>
                </a:lnTo>
                <a:lnTo>
                  <a:pt x="6664" y="6102"/>
                </a:lnTo>
                <a:lnTo>
                  <a:pt x="6672" y="6112"/>
                </a:lnTo>
                <a:lnTo>
                  <a:pt x="6682" y="6122"/>
                </a:lnTo>
                <a:lnTo>
                  <a:pt x="6688" y="6132"/>
                </a:lnTo>
                <a:lnTo>
                  <a:pt x="6692" y="6144"/>
                </a:lnTo>
                <a:lnTo>
                  <a:pt x="6692" y="6164"/>
                </a:lnTo>
                <a:lnTo>
                  <a:pt x="6690" y="6194"/>
                </a:lnTo>
                <a:lnTo>
                  <a:pt x="6688" y="6208"/>
                </a:lnTo>
                <a:lnTo>
                  <a:pt x="6690" y="6226"/>
                </a:lnTo>
                <a:lnTo>
                  <a:pt x="6698" y="6266"/>
                </a:lnTo>
                <a:lnTo>
                  <a:pt x="6708" y="6312"/>
                </a:lnTo>
                <a:lnTo>
                  <a:pt x="6712" y="6334"/>
                </a:lnTo>
                <a:lnTo>
                  <a:pt x="6714" y="6356"/>
                </a:lnTo>
                <a:lnTo>
                  <a:pt x="6718" y="6376"/>
                </a:lnTo>
                <a:lnTo>
                  <a:pt x="6722" y="6394"/>
                </a:lnTo>
                <a:lnTo>
                  <a:pt x="6730" y="6408"/>
                </a:lnTo>
                <a:lnTo>
                  <a:pt x="6738" y="6422"/>
                </a:lnTo>
                <a:lnTo>
                  <a:pt x="6748" y="6432"/>
                </a:lnTo>
                <a:lnTo>
                  <a:pt x="6756" y="6442"/>
                </a:lnTo>
                <a:lnTo>
                  <a:pt x="6772" y="6456"/>
                </a:lnTo>
                <a:lnTo>
                  <a:pt x="6782" y="6470"/>
                </a:lnTo>
                <a:lnTo>
                  <a:pt x="6788" y="6484"/>
                </a:lnTo>
                <a:lnTo>
                  <a:pt x="6792" y="6498"/>
                </a:lnTo>
                <a:lnTo>
                  <a:pt x="6796" y="6514"/>
                </a:lnTo>
                <a:lnTo>
                  <a:pt x="6800" y="6530"/>
                </a:lnTo>
                <a:lnTo>
                  <a:pt x="6806" y="6548"/>
                </a:lnTo>
                <a:lnTo>
                  <a:pt x="6816" y="6568"/>
                </a:lnTo>
                <a:lnTo>
                  <a:pt x="6830" y="6592"/>
                </a:lnTo>
                <a:lnTo>
                  <a:pt x="6840" y="6612"/>
                </a:lnTo>
                <a:lnTo>
                  <a:pt x="6848" y="6630"/>
                </a:lnTo>
                <a:lnTo>
                  <a:pt x="6850" y="6644"/>
                </a:lnTo>
                <a:lnTo>
                  <a:pt x="6850" y="6656"/>
                </a:lnTo>
                <a:lnTo>
                  <a:pt x="6846" y="6666"/>
                </a:lnTo>
                <a:lnTo>
                  <a:pt x="6844" y="6672"/>
                </a:lnTo>
                <a:lnTo>
                  <a:pt x="6840" y="6674"/>
                </a:lnTo>
                <a:lnTo>
                  <a:pt x="6836" y="6674"/>
                </a:lnTo>
                <a:lnTo>
                  <a:pt x="6834" y="6672"/>
                </a:lnTo>
                <a:lnTo>
                  <a:pt x="6832" y="6672"/>
                </a:lnTo>
                <a:lnTo>
                  <a:pt x="6830" y="6674"/>
                </a:lnTo>
                <a:lnTo>
                  <a:pt x="6828" y="6676"/>
                </a:lnTo>
                <a:lnTo>
                  <a:pt x="6828" y="6682"/>
                </a:lnTo>
                <a:lnTo>
                  <a:pt x="6830" y="6686"/>
                </a:lnTo>
                <a:lnTo>
                  <a:pt x="6832" y="6694"/>
                </a:lnTo>
                <a:lnTo>
                  <a:pt x="6836" y="6700"/>
                </a:lnTo>
                <a:lnTo>
                  <a:pt x="6846" y="6714"/>
                </a:lnTo>
                <a:lnTo>
                  <a:pt x="6850" y="6722"/>
                </a:lnTo>
                <a:lnTo>
                  <a:pt x="6852" y="6730"/>
                </a:lnTo>
                <a:lnTo>
                  <a:pt x="6848" y="6734"/>
                </a:lnTo>
                <a:lnTo>
                  <a:pt x="6846" y="6738"/>
                </a:lnTo>
                <a:lnTo>
                  <a:pt x="6846" y="6742"/>
                </a:lnTo>
                <a:lnTo>
                  <a:pt x="6848" y="6752"/>
                </a:lnTo>
                <a:lnTo>
                  <a:pt x="6850" y="6758"/>
                </a:lnTo>
                <a:lnTo>
                  <a:pt x="6852" y="6756"/>
                </a:lnTo>
                <a:lnTo>
                  <a:pt x="6854" y="6754"/>
                </a:lnTo>
                <a:lnTo>
                  <a:pt x="6854" y="6750"/>
                </a:lnTo>
                <a:lnTo>
                  <a:pt x="6856" y="6746"/>
                </a:lnTo>
                <a:lnTo>
                  <a:pt x="6858" y="6744"/>
                </a:lnTo>
                <a:lnTo>
                  <a:pt x="6862" y="6744"/>
                </a:lnTo>
                <a:lnTo>
                  <a:pt x="6864" y="6744"/>
                </a:lnTo>
                <a:lnTo>
                  <a:pt x="6866" y="6746"/>
                </a:lnTo>
                <a:lnTo>
                  <a:pt x="6868" y="6748"/>
                </a:lnTo>
                <a:lnTo>
                  <a:pt x="6868" y="6752"/>
                </a:lnTo>
                <a:lnTo>
                  <a:pt x="6870" y="6758"/>
                </a:lnTo>
                <a:lnTo>
                  <a:pt x="6870" y="6760"/>
                </a:lnTo>
                <a:lnTo>
                  <a:pt x="6874" y="6760"/>
                </a:lnTo>
                <a:lnTo>
                  <a:pt x="6876" y="6760"/>
                </a:lnTo>
                <a:lnTo>
                  <a:pt x="6882" y="6762"/>
                </a:lnTo>
                <a:lnTo>
                  <a:pt x="6884" y="6764"/>
                </a:lnTo>
                <a:lnTo>
                  <a:pt x="6886" y="6768"/>
                </a:lnTo>
                <a:lnTo>
                  <a:pt x="6888" y="6774"/>
                </a:lnTo>
                <a:lnTo>
                  <a:pt x="6890" y="6776"/>
                </a:lnTo>
                <a:lnTo>
                  <a:pt x="6894" y="6776"/>
                </a:lnTo>
                <a:lnTo>
                  <a:pt x="6898" y="6780"/>
                </a:lnTo>
                <a:lnTo>
                  <a:pt x="6902" y="6782"/>
                </a:lnTo>
                <a:lnTo>
                  <a:pt x="6906" y="6782"/>
                </a:lnTo>
                <a:lnTo>
                  <a:pt x="6910" y="6782"/>
                </a:lnTo>
                <a:lnTo>
                  <a:pt x="6916" y="6782"/>
                </a:lnTo>
                <a:lnTo>
                  <a:pt x="6918" y="6782"/>
                </a:lnTo>
                <a:lnTo>
                  <a:pt x="6920" y="6782"/>
                </a:lnTo>
                <a:lnTo>
                  <a:pt x="6924" y="6774"/>
                </a:lnTo>
                <a:lnTo>
                  <a:pt x="6932" y="6768"/>
                </a:lnTo>
                <a:lnTo>
                  <a:pt x="6936" y="6764"/>
                </a:lnTo>
                <a:lnTo>
                  <a:pt x="6944" y="6762"/>
                </a:lnTo>
                <a:lnTo>
                  <a:pt x="6956" y="6762"/>
                </a:lnTo>
                <a:lnTo>
                  <a:pt x="6962" y="6764"/>
                </a:lnTo>
                <a:lnTo>
                  <a:pt x="6970" y="6764"/>
                </a:lnTo>
                <a:lnTo>
                  <a:pt x="6982" y="6760"/>
                </a:lnTo>
                <a:lnTo>
                  <a:pt x="6988" y="6758"/>
                </a:lnTo>
                <a:lnTo>
                  <a:pt x="6994" y="6754"/>
                </a:lnTo>
                <a:lnTo>
                  <a:pt x="7000" y="6748"/>
                </a:lnTo>
                <a:lnTo>
                  <a:pt x="7004" y="6742"/>
                </a:lnTo>
                <a:lnTo>
                  <a:pt x="7008" y="6740"/>
                </a:lnTo>
                <a:lnTo>
                  <a:pt x="7012" y="6740"/>
                </a:lnTo>
                <a:lnTo>
                  <a:pt x="7024" y="6740"/>
                </a:lnTo>
                <a:lnTo>
                  <a:pt x="7036" y="6742"/>
                </a:lnTo>
                <a:lnTo>
                  <a:pt x="7046" y="6744"/>
                </a:lnTo>
                <a:lnTo>
                  <a:pt x="7052" y="6744"/>
                </a:lnTo>
                <a:lnTo>
                  <a:pt x="7056" y="6742"/>
                </a:lnTo>
                <a:lnTo>
                  <a:pt x="7062" y="6740"/>
                </a:lnTo>
                <a:lnTo>
                  <a:pt x="7068" y="6742"/>
                </a:lnTo>
                <a:lnTo>
                  <a:pt x="7084" y="6746"/>
                </a:lnTo>
                <a:lnTo>
                  <a:pt x="7092" y="6750"/>
                </a:lnTo>
                <a:lnTo>
                  <a:pt x="7098" y="6750"/>
                </a:lnTo>
                <a:lnTo>
                  <a:pt x="7106" y="6748"/>
                </a:lnTo>
                <a:lnTo>
                  <a:pt x="7112" y="6744"/>
                </a:lnTo>
                <a:lnTo>
                  <a:pt x="7116" y="6740"/>
                </a:lnTo>
                <a:lnTo>
                  <a:pt x="7122" y="6738"/>
                </a:lnTo>
                <a:lnTo>
                  <a:pt x="7128" y="6738"/>
                </a:lnTo>
                <a:lnTo>
                  <a:pt x="7134" y="6740"/>
                </a:lnTo>
                <a:lnTo>
                  <a:pt x="7142" y="6742"/>
                </a:lnTo>
                <a:lnTo>
                  <a:pt x="7144" y="6740"/>
                </a:lnTo>
                <a:lnTo>
                  <a:pt x="7144" y="6734"/>
                </a:lnTo>
                <a:lnTo>
                  <a:pt x="7144" y="6730"/>
                </a:lnTo>
                <a:lnTo>
                  <a:pt x="7148" y="6728"/>
                </a:lnTo>
                <a:lnTo>
                  <a:pt x="7152" y="6726"/>
                </a:lnTo>
                <a:lnTo>
                  <a:pt x="7160" y="6726"/>
                </a:lnTo>
                <a:lnTo>
                  <a:pt x="7168" y="6726"/>
                </a:lnTo>
                <a:lnTo>
                  <a:pt x="7178" y="6726"/>
                </a:lnTo>
                <a:lnTo>
                  <a:pt x="7188" y="6724"/>
                </a:lnTo>
                <a:lnTo>
                  <a:pt x="7196" y="6718"/>
                </a:lnTo>
                <a:lnTo>
                  <a:pt x="7214" y="6704"/>
                </a:lnTo>
                <a:lnTo>
                  <a:pt x="7236" y="6686"/>
                </a:lnTo>
                <a:lnTo>
                  <a:pt x="7262" y="6662"/>
                </a:lnTo>
                <a:lnTo>
                  <a:pt x="7276" y="6646"/>
                </a:lnTo>
                <a:lnTo>
                  <a:pt x="7288" y="6626"/>
                </a:lnTo>
                <a:lnTo>
                  <a:pt x="7296" y="6618"/>
                </a:lnTo>
                <a:lnTo>
                  <a:pt x="7302" y="6610"/>
                </a:lnTo>
                <a:lnTo>
                  <a:pt x="7316" y="6598"/>
                </a:lnTo>
                <a:lnTo>
                  <a:pt x="7324" y="6588"/>
                </a:lnTo>
                <a:lnTo>
                  <a:pt x="7334" y="6574"/>
                </a:lnTo>
                <a:lnTo>
                  <a:pt x="7344" y="6554"/>
                </a:lnTo>
                <a:lnTo>
                  <a:pt x="7356" y="6528"/>
                </a:lnTo>
                <a:lnTo>
                  <a:pt x="7372" y="6498"/>
                </a:lnTo>
                <a:lnTo>
                  <a:pt x="7384" y="6480"/>
                </a:lnTo>
                <a:lnTo>
                  <a:pt x="7396" y="6468"/>
                </a:lnTo>
                <a:lnTo>
                  <a:pt x="7406" y="6460"/>
                </a:lnTo>
                <a:lnTo>
                  <a:pt x="7416" y="6448"/>
                </a:lnTo>
                <a:lnTo>
                  <a:pt x="7424" y="6432"/>
                </a:lnTo>
                <a:lnTo>
                  <a:pt x="7430" y="6406"/>
                </a:lnTo>
                <a:lnTo>
                  <a:pt x="7436" y="6366"/>
                </a:lnTo>
                <a:lnTo>
                  <a:pt x="7438" y="6338"/>
                </a:lnTo>
                <a:lnTo>
                  <a:pt x="7438" y="6332"/>
                </a:lnTo>
                <a:lnTo>
                  <a:pt x="7436" y="6330"/>
                </a:lnTo>
                <a:lnTo>
                  <a:pt x="7430" y="6332"/>
                </a:lnTo>
                <a:lnTo>
                  <a:pt x="7428" y="6330"/>
                </a:lnTo>
                <a:lnTo>
                  <a:pt x="7426" y="6326"/>
                </a:lnTo>
                <a:lnTo>
                  <a:pt x="7426" y="6320"/>
                </a:lnTo>
                <a:lnTo>
                  <a:pt x="7428" y="6312"/>
                </a:lnTo>
                <a:lnTo>
                  <a:pt x="7434" y="6304"/>
                </a:lnTo>
                <a:lnTo>
                  <a:pt x="7440" y="6296"/>
                </a:lnTo>
                <a:lnTo>
                  <a:pt x="7450" y="6288"/>
                </a:lnTo>
                <a:lnTo>
                  <a:pt x="7462" y="6280"/>
                </a:lnTo>
                <a:lnTo>
                  <a:pt x="7474" y="6274"/>
                </a:lnTo>
                <a:lnTo>
                  <a:pt x="7488" y="6268"/>
                </a:lnTo>
                <a:lnTo>
                  <a:pt x="7502" y="6262"/>
                </a:lnTo>
                <a:lnTo>
                  <a:pt x="7514" y="6256"/>
                </a:lnTo>
                <a:lnTo>
                  <a:pt x="7524" y="6248"/>
                </a:lnTo>
                <a:lnTo>
                  <a:pt x="7530" y="6242"/>
                </a:lnTo>
                <a:lnTo>
                  <a:pt x="7536" y="6234"/>
                </a:lnTo>
                <a:lnTo>
                  <a:pt x="7540" y="6226"/>
                </a:lnTo>
                <a:lnTo>
                  <a:pt x="7540" y="6218"/>
                </a:lnTo>
                <a:lnTo>
                  <a:pt x="7538" y="6210"/>
                </a:lnTo>
                <a:lnTo>
                  <a:pt x="7534" y="6206"/>
                </a:lnTo>
                <a:lnTo>
                  <a:pt x="7534" y="6200"/>
                </a:lnTo>
                <a:lnTo>
                  <a:pt x="7536" y="6188"/>
                </a:lnTo>
                <a:lnTo>
                  <a:pt x="7540" y="6172"/>
                </a:lnTo>
                <a:lnTo>
                  <a:pt x="7542" y="6160"/>
                </a:lnTo>
                <a:lnTo>
                  <a:pt x="7542" y="6146"/>
                </a:lnTo>
                <a:lnTo>
                  <a:pt x="7540" y="6126"/>
                </a:lnTo>
                <a:lnTo>
                  <a:pt x="7538" y="6128"/>
                </a:lnTo>
                <a:lnTo>
                  <a:pt x="7536" y="6130"/>
                </a:lnTo>
                <a:lnTo>
                  <a:pt x="7534" y="6130"/>
                </a:lnTo>
                <a:lnTo>
                  <a:pt x="7532" y="6126"/>
                </a:lnTo>
                <a:lnTo>
                  <a:pt x="7530" y="6118"/>
                </a:lnTo>
                <a:lnTo>
                  <a:pt x="7526" y="6090"/>
                </a:lnTo>
                <a:lnTo>
                  <a:pt x="7524" y="6074"/>
                </a:lnTo>
                <a:lnTo>
                  <a:pt x="7522" y="6064"/>
                </a:lnTo>
                <a:lnTo>
                  <a:pt x="7512" y="6052"/>
                </a:lnTo>
                <a:lnTo>
                  <a:pt x="7508" y="6046"/>
                </a:lnTo>
                <a:lnTo>
                  <a:pt x="7506" y="6042"/>
                </a:lnTo>
                <a:lnTo>
                  <a:pt x="7506" y="6034"/>
                </a:lnTo>
                <a:lnTo>
                  <a:pt x="7508" y="6026"/>
                </a:lnTo>
                <a:lnTo>
                  <a:pt x="7508" y="6016"/>
                </a:lnTo>
                <a:lnTo>
                  <a:pt x="7508" y="6010"/>
                </a:lnTo>
                <a:lnTo>
                  <a:pt x="7514" y="6008"/>
                </a:lnTo>
                <a:lnTo>
                  <a:pt x="7518" y="6008"/>
                </a:lnTo>
                <a:lnTo>
                  <a:pt x="7524" y="6004"/>
                </a:lnTo>
                <a:lnTo>
                  <a:pt x="7530" y="5998"/>
                </a:lnTo>
                <a:lnTo>
                  <a:pt x="7540" y="5988"/>
                </a:lnTo>
                <a:lnTo>
                  <a:pt x="7548" y="5976"/>
                </a:lnTo>
                <a:lnTo>
                  <a:pt x="7556" y="5972"/>
                </a:lnTo>
                <a:lnTo>
                  <a:pt x="7566" y="5966"/>
                </a:lnTo>
                <a:lnTo>
                  <a:pt x="7570" y="5964"/>
                </a:lnTo>
                <a:lnTo>
                  <a:pt x="7576" y="5960"/>
                </a:lnTo>
                <a:lnTo>
                  <a:pt x="7582" y="5950"/>
                </a:lnTo>
                <a:lnTo>
                  <a:pt x="7590" y="5936"/>
                </a:lnTo>
                <a:lnTo>
                  <a:pt x="7600" y="5918"/>
                </a:lnTo>
                <a:lnTo>
                  <a:pt x="7610" y="5906"/>
                </a:lnTo>
                <a:lnTo>
                  <a:pt x="7620" y="5896"/>
                </a:lnTo>
                <a:lnTo>
                  <a:pt x="7630" y="5888"/>
                </a:lnTo>
                <a:lnTo>
                  <a:pt x="7640" y="5884"/>
                </a:lnTo>
                <a:lnTo>
                  <a:pt x="7650" y="5880"/>
                </a:lnTo>
                <a:lnTo>
                  <a:pt x="7670" y="5874"/>
                </a:lnTo>
                <a:lnTo>
                  <a:pt x="7680" y="5868"/>
                </a:lnTo>
                <a:lnTo>
                  <a:pt x="7690" y="5862"/>
                </a:lnTo>
                <a:lnTo>
                  <a:pt x="7698" y="5854"/>
                </a:lnTo>
                <a:lnTo>
                  <a:pt x="7708" y="5844"/>
                </a:lnTo>
                <a:lnTo>
                  <a:pt x="7724" y="5822"/>
                </a:lnTo>
                <a:lnTo>
                  <a:pt x="7742" y="5792"/>
                </a:lnTo>
                <a:lnTo>
                  <a:pt x="7748" y="5778"/>
                </a:lnTo>
                <a:lnTo>
                  <a:pt x="7748" y="5774"/>
                </a:lnTo>
                <a:lnTo>
                  <a:pt x="7748" y="5772"/>
                </a:lnTo>
                <a:lnTo>
                  <a:pt x="7752" y="5762"/>
                </a:lnTo>
                <a:lnTo>
                  <a:pt x="7756" y="5754"/>
                </a:lnTo>
                <a:lnTo>
                  <a:pt x="7756" y="5748"/>
                </a:lnTo>
                <a:lnTo>
                  <a:pt x="7754" y="5744"/>
                </a:lnTo>
                <a:lnTo>
                  <a:pt x="7752" y="5742"/>
                </a:lnTo>
                <a:lnTo>
                  <a:pt x="7748" y="5736"/>
                </a:lnTo>
                <a:lnTo>
                  <a:pt x="7744" y="5730"/>
                </a:lnTo>
                <a:lnTo>
                  <a:pt x="7742" y="5720"/>
                </a:lnTo>
                <a:lnTo>
                  <a:pt x="7742" y="5706"/>
                </a:lnTo>
                <a:lnTo>
                  <a:pt x="7744" y="5654"/>
                </a:lnTo>
                <a:lnTo>
                  <a:pt x="7742" y="5632"/>
                </a:lnTo>
                <a:lnTo>
                  <a:pt x="7738" y="5610"/>
                </a:lnTo>
                <a:lnTo>
                  <a:pt x="7738" y="5596"/>
                </a:lnTo>
                <a:lnTo>
                  <a:pt x="7740" y="5588"/>
                </a:lnTo>
                <a:lnTo>
                  <a:pt x="7742" y="5582"/>
                </a:lnTo>
                <a:lnTo>
                  <a:pt x="7746" y="5578"/>
                </a:lnTo>
                <a:lnTo>
                  <a:pt x="7748" y="5576"/>
                </a:lnTo>
                <a:lnTo>
                  <a:pt x="7748" y="5570"/>
                </a:lnTo>
                <a:lnTo>
                  <a:pt x="7746" y="5562"/>
                </a:lnTo>
                <a:lnTo>
                  <a:pt x="7738" y="5550"/>
                </a:lnTo>
                <a:lnTo>
                  <a:pt x="7728" y="5538"/>
                </a:lnTo>
                <a:lnTo>
                  <a:pt x="7722" y="5536"/>
                </a:lnTo>
                <a:lnTo>
                  <a:pt x="7716" y="5532"/>
                </a:lnTo>
                <a:lnTo>
                  <a:pt x="7712" y="5524"/>
                </a:lnTo>
                <a:lnTo>
                  <a:pt x="7708" y="5512"/>
                </a:lnTo>
                <a:lnTo>
                  <a:pt x="7708" y="5502"/>
                </a:lnTo>
                <a:lnTo>
                  <a:pt x="7704" y="5488"/>
                </a:lnTo>
                <a:lnTo>
                  <a:pt x="7696" y="5466"/>
                </a:lnTo>
                <a:lnTo>
                  <a:pt x="7692" y="5454"/>
                </a:lnTo>
                <a:lnTo>
                  <a:pt x="7692" y="5446"/>
                </a:lnTo>
                <a:lnTo>
                  <a:pt x="7692" y="5440"/>
                </a:lnTo>
                <a:lnTo>
                  <a:pt x="7694" y="5436"/>
                </a:lnTo>
                <a:lnTo>
                  <a:pt x="7698" y="5432"/>
                </a:lnTo>
                <a:lnTo>
                  <a:pt x="7700" y="5428"/>
                </a:lnTo>
                <a:lnTo>
                  <a:pt x="7700" y="5422"/>
                </a:lnTo>
                <a:lnTo>
                  <a:pt x="7696" y="5414"/>
                </a:lnTo>
                <a:lnTo>
                  <a:pt x="7694" y="5402"/>
                </a:lnTo>
                <a:lnTo>
                  <a:pt x="7692" y="5396"/>
                </a:lnTo>
                <a:lnTo>
                  <a:pt x="7694" y="5390"/>
                </a:lnTo>
                <a:lnTo>
                  <a:pt x="7696" y="5388"/>
                </a:lnTo>
                <a:lnTo>
                  <a:pt x="7700" y="5386"/>
                </a:lnTo>
                <a:lnTo>
                  <a:pt x="7700" y="5384"/>
                </a:lnTo>
                <a:lnTo>
                  <a:pt x="7700" y="5380"/>
                </a:lnTo>
                <a:lnTo>
                  <a:pt x="7698" y="5374"/>
                </a:lnTo>
                <a:lnTo>
                  <a:pt x="7686" y="5360"/>
                </a:lnTo>
                <a:lnTo>
                  <a:pt x="7676" y="5348"/>
                </a:lnTo>
                <a:lnTo>
                  <a:pt x="7672" y="5340"/>
                </a:lnTo>
                <a:lnTo>
                  <a:pt x="7670" y="5330"/>
                </a:lnTo>
                <a:lnTo>
                  <a:pt x="7672" y="5318"/>
                </a:lnTo>
                <a:lnTo>
                  <a:pt x="7676" y="5304"/>
                </a:lnTo>
                <a:lnTo>
                  <a:pt x="7680" y="5294"/>
                </a:lnTo>
                <a:lnTo>
                  <a:pt x="7682" y="5286"/>
                </a:lnTo>
                <a:lnTo>
                  <a:pt x="7686" y="5278"/>
                </a:lnTo>
                <a:lnTo>
                  <a:pt x="7692" y="5264"/>
                </a:lnTo>
                <a:lnTo>
                  <a:pt x="7708" y="5240"/>
                </a:lnTo>
                <a:lnTo>
                  <a:pt x="7712" y="5228"/>
                </a:lnTo>
                <a:lnTo>
                  <a:pt x="7714" y="5214"/>
                </a:lnTo>
                <a:lnTo>
                  <a:pt x="7716" y="5208"/>
                </a:lnTo>
                <a:lnTo>
                  <a:pt x="7718" y="5204"/>
                </a:lnTo>
                <a:lnTo>
                  <a:pt x="7724" y="5202"/>
                </a:lnTo>
                <a:lnTo>
                  <a:pt x="7726" y="5200"/>
                </a:lnTo>
                <a:lnTo>
                  <a:pt x="7728" y="5198"/>
                </a:lnTo>
                <a:lnTo>
                  <a:pt x="7728" y="5192"/>
                </a:lnTo>
                <a:lnTo>
                  <a:pt x="7728" y="5182"/>
                </a:lnTo>
                <a:lnTo>
                  <a:pt x="7728" y="5170"/>
                </a:lnTo>
                <a:lnTo>
                  <a:pt x="7732" y="5164"/>
                </a:lnTo>
                <a:lnTo>
                  <a:pt x="7736" y="5160"/>
                </a:lnTo>
                <a:lnTo>
                  <a:pt x="7744" y="5158"/>
                </a:lnTo>
                <a:lnTo>
                  <a:pt x="7754" y="5154"/>
                </a:lnTo>
                <a:lnTo>
                  <a:pt x="7758" y="5150"/>
                </a:lnTo>
                <a:lnTo>
                  <a:pt x="7758" y="5144"/>
                </a:lnTo>
                <a:lnTo>
                  <a:pt x="7756" y="5136"/>
                </a:lnTo>
                <a:lnTo>
                  <a:pt x="7760" y="5136"/>
                </a:lnTo>
                <a:lnTo>
                  <a:pt x="7764" y="5134"/>
                </a:lnTo>
                <a:lnTo>
                  <a:pt x="7770" y="5132"/>
                </a:lnTo>
                <a:lnTo>
                  <a:pt x="7776" y="5126"/>
                </a:lnTo>
                <a:lnTo>
                  <a:pt x="7786" y="5116"/>
                </a:lnTo>
                <a:lnTo>
                  <a:pt x="7792" y="5106"/>
                </a:lnTo>
                <a:lnTo>
                  <a:pt x="7796" y="5098"/>
                </a:lnTo>
                <a:lnTo>
                  <a:pt x="7798" y="5088"/>
                </a:lnTo>
                <a:lnTo>
                  <a:pt x="7800" y="5082"/>
                </a:lnTo>
                <a:lnTo>
                  <a:pt x="7804" y="5074"/>
                </a:lnTo>
                <a:lnTo>
                  <a:pt x="7814" y="5062"/>
                </a:lnTo>
                <a:lnTo>
                  <a:pt x="7826" y="5046"/>
                </a:lnTo>
                <a:lnTo>
                  <a:pt x="7854" y="5016"/>
                </a:lnTo>
                <a:lnTo>
                  <a:pt x="7874" y="4990"/>
                </a:lnTo>
                <a:lnTo>
                  <a:pt x="7898" y="4966"/>
                </a:lnTo>
                <a:lnTo>
                  <a:pt x="7936" y="4934"/>
                </a:lnTo>
                <a:lnTo>
                  <a:pt x="7960" y="4914"/>
                </a:lnTo>
                <a:lnTo>
                  <a:pt x="7984" y="4892"/>
                </a:lnTo>
                <a:lnTo>
                  <a:pt x="8008" y="4864"/>
                </a:lnTo>
                <a:lnTo>
                  <a:pt x="8030" y="4834"/>
                </a:lnTo>
                <a:lnTo>
                  <a:pt x="8050" y="4802"/>
                </a:lnTo>
                <a:lnTo>
                  <a:pt x="8070" y="4766"/>
                </a:lnTo>
                <a:lnTo>
                  <a:pt x="8090" y="4726"/>
                </a:lnTo>
                <a:lnTo>
                  <a:pt x="8108" y="4682"/>
                </a:lnTo>
                <a:lnTo>
                  <a:pt x="8116" y="4658"/>
                </a:lnTo>
                <a:lnTo>
                  <a:pt x="8126" y="4638"/>
                </a:lnTo>
                <a:lnTo>
                  <a:pt x="8142" y="4606"/>
                </a:lnTo>
                <a:lnTo>
                  <a:pt x="8154" y="4582"/>
                </a:lnTo>
                <a:lnTo>
                  <a:pt x="8158" y="4570"/>
                </a:lnTo>
                <a:lnTo>
                  <a:pt x="8160" y="4558"/>
                </a:lnTo>
                <a:lnTo>
                  <a:pt x="8162" y="4542"/>
                </a:lnTo>
                <a:lnTo>
                  <a:pt x="8166" y="4534"/>
                </a:lnTo>
                <a:lnTo>
                  <a:pt x="8172" y="4530"/>
                </a:lnTo>
                <a:lnTo>
                  <a:pt x="8176" y="4530"/>
                </a:lnTo>
                <a:lnTo>
                  <a:pt x="8180" y="4532"/>
                </a:lnTo>
                <a:lnTo>
                  <a:pt x="8182" y="4532"/>
                </a:lnTo>
                <a:lnTo>
                  <a:pt x="8174" y="4518"/>
                </a:lnTo>
                <a:lnTo>
                  <a:pt x="8168" y="4508"/>
                </a:lnTo>
                <a:lnTo>
                  <a:pt x="8168" y="4496"/>
                </a:lnTo>
                <a:lnTo>
                  <a:pt x="8168" y="4486"/>
                </a:lnTo>
                <a:lnTo>
                  <a:pt x="8172" y="4478"/>
                </a:lnTo>
                <a:lnTo>
                  <a:pt x="8174" y="4470"/>
                </a:lnTo>
                <a:lnTo>
                  <a:pt x="8174" y="4464"/>
                </a:lnTo>
                <a:lnTo>
                  <a:pt x="8172" y="4460"/>
                </a:lnTo>
                <a:lnTo>
                  <a:pt x="8166" y="4456"/>
                </a:lnTo>
                <a:lnTo>
                  <a:pt x="8158" y="4454"/>
                </a:lnTo>
                <a:lnTo>
                  <a:pt x="8150" y="4458"/>
                </a:lnTo>
                <a:lnTo>
                  <a:pt x="8134" y="4468"/>
                </a:lnTo>
                <a:lnTo>
                  <a:pt x="8124" y="4474"/>
                </a:lnTo>
                <a:lnTo>
                  <a:pt x="8112" y="4480"/>
                </a:lnTo>
                <a:lnTo>
                  <a:pt x="8098" y="4484"/>
                </a:lnTo>
                <a:lnTo>
                  <a:pt x="8080" y="4486"/>
                </a:lnTo>
                <a:lnTo>
                  <a:pt x="8064" y="4486"/>
                </a:lnTo>
                <a:lnTo>
                  <a:pt x="8056" y="4488"/>
                </a:lnTo>
                <a:lnTo>
                  <a:pt x="8052" y="4490"/>
                </a:lnTo>
                <a:lnTo>
                  <a:pt x="8050" y="4492"/>
                </a:lnTo>
                <a:lnTo>
                  <a:pt x="8050" y="4494"/>
                </a:lnTo>
                <a:lnTo>
                  <a:pt x="8048" y="4496"/>
                </a:lnTo>
                <a:lnTo>
                  <a:pt x="8044" y="4496"/>
                </a:lnTo>
                <a:lnTo>
                  <a:pt x="8034" y="4496"/>
                </a:lnTo>
                <a:lnTo>
                  <a:pt x="8022" y="4496"/>
                </a:lnTo>
                <a:lnTo>
                  <a:pt x="8014" y="4498"/>
                </a:lnTo>
                <a:lnTo>
                  <a:pt x="8006" y="4502"/>
                </a:lnTo>
                <a:lnTo>
                  <a:pt x="8000" y="4508"/>
                </a:lnTo>
                <a:lnTo>
                  <a:pt x="7994" y="4512"/>
                </a:lnTo>
                <a:lnTo>
                  <a:pt x="7988" y="4516"/>
                </a:lnTo>
                <a:lnTo>
                  <a:pt x="7980" y="4516"/>
                </a:lnTo>
                <a:lnTo>
                  <a:pt x="7968" y="4514"/>
                </a:lnTo>
                <a:lnTo>
                  <a:pt x="7956" y="4510"/>
                </a:lnTo>
                <a:lnTo>
                  <a:pt x="7948" y="4512"/>
                </a:lnTo>
                <a:lnTo>
                  <a:pt x="7940" y="4516"/>
                </a:lnTo>
                <a:lnTo>
                  <a:pt x="7932" y="4522"/>
                </a:lnTo>
                <a:lnTo>
                  <a:pt x="7924" y="4526"/>
                </a:lnTo>
                <a:lnTo>
                  <a:pt x="7918" y="4530"/>
                </a:lnTo>
                <a:lnTo>
                  <a:pt x="7908" y="4532"/>
                </a:lnTo>
                <a:lnTo>
                  <a:pt x="7898" y="4530"/>
                </a:lnTo>
                <a:lnTo>
                  <a:pt x="7888" y="4524"/>
                </a:lnTo>
                <a:lnTo>
                  <a:pt x="7880" y="4518"/>
                </a:lnTo>
                <a:lnTo>
                  <a:pt x="7874" y="4512"/>
                </a:lnTo>
                <a:lnTo>
                  <a:pt x="7870" y="4504"/>
                </a:lnTo>
                <a:lnTo>
                  <a:pt x="7862" y="4490"/>
                </a:lnTo>
                <a:lnTo>
                  <a:pt x="7858" y="4484"/>
                </a:lnTo>
                <a:lnTo>
                  <a:pt x="7852" y="4476"/>
                </a:lnTo>
                <a:lnTo>
                  <a:pt x="7848" y="4472"/>
                </a:lnTo>
                <a:lnTo>
                  <a:pt x="7842" y="4472"/>
                </a:lnTo>
                <a:lnTo>
                  <a:pt x="7832" y="4472"/>
                </a:lnTo>
                <a:lnTo>
                  <a:pt x="7830" y="4472"/>
                </a:lnTo>
                <a:lnTo>
                  <a:pt x="7832" y="4470"/>
                </a:lnTo>
                <a:lnTo>
                  <a:pt x="7848" y="4458"/>
                </a:lnTo>
                <a:lnTo>
                  <a:pt x="7854" y="4454"/>
                </a:lnTo>
                <a:lnTo>
                  <a:pt x="7856" y="4448"/>
                </a:lnTo>
                <a:lnTo>
                  <a:pt x="7858" y="4444"/>
                </a:lnTo>
                <a:lnTo>
                  <a:pt x="7856" y="4438"/>
                </a:lnTo>
                <a:lnTo>
                  <a:pt x="7852" y="4428"/>
                </a:lnTo>
                <a:lnTo>
                  <a:pt x="7846" y="4414"/>
                </a:lnTo>
                <a:lnTo>
                  <a:pt x="7842" y="4412"/>
                </a:lnTo>
                <a:lnTo>
                  <a:pt x="7836" y="4410"/>
                </a:lnTo>
                <a:lnTo>
                  <a:pt x="7832" y="4408"/>
                </a:lnTo>
                <a:lnTo>
                  <a:pt x="7826" y="4400"/>
                </a:lnTo>
                <a:lnTo>
                  <a:pt x="7824" y="4394"/>
                </a:lnTo>
                <a:lnTo>
                  <a:pt x="7822" y="4392"/>
                </a:lnTo>
                <a:lnTo>
                  <a:pt x="7818" y="4388"/>
                </a:lnTo>
                <a:lnTo>
                  <a:pt x="7814" y="4380"/>
                </a:lnTo>
                <a:lnTo>
                  <a:pt x="7808" y="4370"/>
                </a:lnTo>
                <a:lnTo>
                  <a:pt x="7808" y="4368"/>
                </a:lnTo>
                <a:lnTo>
                  <a:pt x="7808" y="4370"/>
                </a:lnTo>
                <a:lnTo>
                  <a:pt x="7806" y="4370"/>
                </a:lnTo>
                <a:lnTo>
                  <a:pt x="7802" y="4364"/>
                </a:lnTo>
                <a:lnTo>
                  <a:pt x="7798" y="4360"/>
                </a:lnTo>
                <a:lnTo>
                  <a:pt x="7796" y="4358"/>
                </a:lnTo>
                <a:lnTo>
                  <a:pt x="7792" y="4358"/>
                </a:lnTo>
                <a:lnTo>
                  <a:pt x="7790" y="4356"/>
                </a:lnTo>
                <a:lnTo>
                  <a:pt x="7786" y="4354"/>
                </a:lnTo>
                <a:lnTo>
                  <a:pt x="7782" y="4348"/>
                </a:lnTo>
                <a:lnTo>
                  <a:pt x="7776" y="4336"/>
                </a:lnTo>
                <a:lnTo>
                  <a:pt x="7770" y="4326"/>
                </a:lnTo>
                <a:lnTo>
                  <a:pt x="7766" y="4320"/>
                </a:lnTo>
                <a:lnTo>
                  <a:pt x="7762" y="4320"/>
                </a:lnTo>
                <a:lnTo>
                  <a:pt x="7760" y="4320"/>
                </a:lnTo>
                <a:lnTo>
                  <a:pt x="7758" y="4320"/>
                </a:lnTo>
                <a:lnTo>
                  <a:pt x="7756" y="4320"/>
                </a:lnTo>
                <a:lnTo>
                  <a:pt x="7752" y="4318"/>
                </a:lnTo>
                <a:lnTo>
                  <a:pt x="7748" y="4312"/>
                </a:lnTo>
                <a:lnTo>
                  <a:pt x="7744" y="4306"/>
                </a:lnTo>
                <a:lnTo>
                  <a:pt x="7742" y="4304"/>
                </a:lnTo>
                <a:lnTo>
                  <a:pt x="7740" y="4306"/>
                </a:lnTo>
                <a:lnTo>
                  <a:pt x="7736" y="4308"/>
                </a:lnTo>
                <a:lnTo>
                  <a:pt x="7734" y="4308"/>
                </a:lnTo>
                <a:lnTo>
                  <a:pt x="7732" y="4306"/>
                </a:lnTo>
                <a:lnTo>
                  <a:pt x="7726" y="4300"/>
                </a:lnTo>
                <a:lnTo>
                  <a:pt x="7720" y="4288"/>
                </a:lnTo>
                <a:lnTo>
                  <a:pt x="7716" y="4280"/>
                </a:lnTo>
                <a:lnTo>
                  <a:pt x="7714" y="4276"/>
                </a:lnTo>
                <a:lnTo>
                  <a:pt x="7714" y="4278"/>
                </a:lnTo>
                <a:lnTo>
                  <a:pt x="7712" y="4284"/>
                </a:lnTo>
                <a:lnTo>
                  <a:pt x="7714" y="4296"/>
                </a:lnTo>
                <a:lnTo>
                  <a:pt x="7712" y="4300"/>
                </a:lnTo>
                <a:lnTo>
                  <a:pt x="7710" y="4300"/>
                </a:lnTo>
                <a:lnTo>
                  <a:pt x="7708" y="4298"/>
                </a:lnTo>
                <a:lnTo>
                  <a:pt x="7706" y="4292"/>
                </a:lnTo>
                <a:lnTo>
                  <a:pt x="7702" y="4282"/>
                </a:lnTo>
                <a:lnTo>
                  <a:pt x="7696" y="4266"/>
                </a:lnTo>
                <a:lnTo>
                  <a:pt x="7692" y="4254"/>
                </a:lnTo>
                <a:lnTo>
                  <a:pt x="7688" y="4242"/>
                </a:lnTo>
                <a:lnTo>
                  <a:pt x="7684" y="4212"/>
                </a:lnTo>
                <a:lnTo>
                  <a:pt x="7680" y="4196"/>
                </a:lnTo>
                <a:lnTo>
                  <a:pt x="7676" y="4182"/>
                </a:lnTo>
                <a:lnTo>
                  <a:pt x="7672" y="4166"/>
                </a:lnTo>
                <a:lnTo>
                  <a:pt x="7664" y="4154"/>
                </a:lnTo>
                <a:lnTo>
                  <a:pt x="7656" y="4142"/>
                </a:lnTo>
                <a:lnTo>
                  <a:pt x="7652" y="4140"/>
                </a:lnTo>
                <a:lnTo>
                  <a:pt x="7648" y="4142"/>
                </a:lnTo>
                <a:lnTo>
                  <a:pt x="7646" y="4142"/>
                </a:lnTo>
                <a:lnTo>
                  <a:pt x="7644" y="4140"/>
                </a:lnTo>
                <a:lnTo>
                  <a:pt x="7640" y="4132"/>
                </a:lnTo>
                <a:lnTo>
                  <a:pt x="7634" y="4124"/>
                </a:lnTo>
                <a:lnTo>
                  <a:pt x="7630" y="4120"/>
                </a:lnTo>
                <a:lnTo>
                  <a:pt x="7626" y="4120"/>
                </a:lnTo>
                <a:lnTo>
                  <a:pt x="7624" y="4120"/>
                </a:lnTo>
                <a:lnTo>
                  <a:pt x="7622" y="4118"/>
                </a:lnTo>
                <a:lnTo>
                  <a:pt x="7618" y="4110"/>
                </a:lnTo>
                <a:lnTo>
                  <a:pt x="7614" y="4098"/>
                </a:lnTo>
                <a:lnTo>
                  <a:pt x="7610" y="4084"/>
                </a:lnTo>
                <a:lnTo>
                  <a:pt x="7606" y="4056"/>
                </a:lnTo>
                <a:lnTo>
                  <a:pt x="7606" y="4046"/>
                </a:lnTo>
                <a:lnTo>
                  <a:pt x="7606" y="4040"/>
                </a:lnTo>
                <a:lnTo>
                  <a:pt x="7608" y="4032"/>
                </a:lnTo>
                <a:lnTo>
                  <a:pt x="7608" y="4024"/>
                </a:lnTo>
                <a:lnTo>
                  <a:pt x="7606" y="4014"/>
                </a:lnTo>
                <a:lnTo>
                  <a:pt x="7602" y="4006"/>
                </a:lnTo>
                <a:lnTo>
                  <a:pt x="7604" y="4004"/>
                </a:lnTo>
                <a:lnTo>
                  <a:pt x="7608" y="4004"/>
                </a:lnTo>
                <a:lnTo>
                  <a:pt x="7612" y="4006"/>
                </a:lnTo>
                <a:lnTo>
                  <a:pt x="7614" y="4004"/>
                </a:lnTo>
                <a:lnTo>
                  <a:pt x="7610" y="3996"/>
                </a:lnTo>
                <a:lnTo>
                  <a:pt x="7602" y="3982"/>
                </a:lnTo>
                <a:lnTo>
                  <a:pt x="7598" y="3970"/>
                </a:lnTo>
                <a:lnTo>
                  <a:pt x="7596" y="3958"/>
                </a:lnTo>
                <a:lnTo>
                  <a:pt x="7594" y="3950"/>
                </a:lnTo>
                <a:lnTo>
                  <a:pt x="7592" y="3944"/>
                </a:lnTo>
                <a:lnTo>
                  <a:pt x="7588" y="3942"/>
                </a:lnTo>
                <a:lnTo>
                  <a:pt x="7582" y="3940"/>
                </a:lnTo>
                <a:lnTo>
                  <a:pt x="7578" y="3938"/>
                </a:lnTo>
                <a:lnTo>
                  <a:pt x="7574" y="3936"/>
                </a:lnTo>
                <a:lnTo>
                  <a:pt x="7572" y="3928"/>
                </a:lnTo>
                <a:lnTo>
                  <a:pt x="7568" y="3922"/>
                </a:lnTo>
                <a:lnTo>
                  <a:pt x="7564" y="3920"/>
                </a:lnTo>
                <a:lnTo>
                  <a:pt x="7558" y="3918"/>
                </a:lnTo>
                <a:lnTo>
                  <a:pt x="7554" y="3918"/>
                </a:lnTo>
                <a:lnTo>
                  <a:pt x="7550" y="3914"/>
                </a:lnTo>
                <a:lnTo>
                  <a:pt x="7544" y="3902"/>
                </a:lnTo>
                <a:lnTo>
                  <a:pt x="7538" y="3908"/>
                </a:lnTo>
                <a:lnTo>
                  <a:pt x="7544" y="3902"/>
                </a:lnTo>
                <a:lnTo>
                  <a:pt x="7538" y="3886"/>
                </a:lnTo>
                <a:lnTo>
                  <a:pt x="7536" y="3872"/>
                </a:lnTo>
                <a:lnTo>
                  <a:pt x="7536" y="3866"/>
                </a:lnTo>
                <a:lnTo>
                  <a:pt x="7538" y="3860"/>
                </a:lnTo>
                <a:lnTo>
                  <a:pt x="7542" y="3858"/>
                </a:lnTo>
                <a:lnTo>
                  <a:pt x="7546" y="3856"/>
                </a:lnTo>
                <a:lnTo>
                  <a:pt x="7550" y="3856"/>
                </a:lnTo>
                <a:lnTo>
                  <a:pt x="7542" y="3852"/>
                </a:lnTo>
                <a:lnTo>
                  <a:pt x="7538" y="3848"/>
                </a:lnTo>
                <a:lnTo>
                  <a:pt x="7532" y="3840"/>
                </a:lnTo>
                <a:lnTo>
                  <a:pt x="7526" y="3830"/>
                </a:lnTo>
                <a:lnTo>
                  <a:pt x="7520" y="3818"/>
                </a:lnTo>
                <a:lnTo>
                  <a:pt x="7512" y="3798"/>
                </a:lnTo>
                <a:lnTo>
                  <a:pt x="7504" y="3780"/>
                </a:lnTo>
                <a:lnTo>
                  <a:pt x="7488" y="3750"/>
                </a:lnTo>
                <a:lnTo>
                  <a:pt x="7476" y="3728"/>
                </a:lnTo>
                <a:lnTo>
                  <a:pt x="7474" y="3718"/>
                </a:lnTo>
                <a:lnTo>
                  <a:pt x="7474" y="3710"/>
                </a:lnTo>
                <a:lnTo>
                  <a:pt x="7476" y="3704"/>
                </a:lnTo>
                <a:lnTo>
                  <a:pt x="7474" y="3700"/>
                </a:lnTo>
                <a:lnTo>
                  <a:pt x="7470" y="3690"/>
                </a:lnTo>
                <a:lnTo>
                  <a:pt x="7464" y="3680"/>
                </a:lnTo>
                <a:lnTo>
                  <a:pt x="7462" y="3674"/>
                </a:lnTo>
                <a:lnTo>
                  <a:pt x="7460" y="3668"/>
                </a:lnTo>
                <a:lnTo>
                  <a:pt x="7460" y="3658"/>
                </a:lnTo>
                <a:lnTo>
                  <a:pt x="7454" y="3648"/>
                </a:lnTo>
                <a:lnTo>
                  <a:pt x="7440" y="3628"/>
                </a:lnTo>
                <a:lnTo>
                  <a:pt x="7426" y="3608"/>
                </a:lnTo>
                <a:lnTo>
                  <a:pt x="7422" y="3598"/>
                </a:lnTo>
                <a:lnTo>
                  <a:pt x="7420" y="3588"/>
                </a:lnTo>
                <a:lnTo>
                  <a:pt x="7420" y="3582"/>
                </a:lnTo>
                <a:lnTo>
                  <a:pt x="7418" y="3576"/>
                </a:lnTo>
                <a:lnTo>
                  <a:pt x="7414" y="3570"/>
                </a:lnTo>
                <a:lnTo>
                  <a:pt x="7412" y="3568"/>
                </a:lnTo>
                <a:lnTo>
                  <a:pt x="7412" y="3562"/>
                </a:lnTo>
                <a:lnTo>
                  <a:pt x="7414" y="3556"/>
                </a:lnTo>
                <a:lnTo>
                  <a:pt x="7420" y="3546"/>
                </a:lnTo>
                <a:lnTo>
                  <a:pt x="7422" y="3550"/>
                </a:lnTo>
                <a:lnTo>
                  <a:pt x="7424" y="3552"/>
                </a:lnTo>
                <a:lnTo>
                  <a:pt x="7424" y="3560"/>
                </a:lnTo>
                <a:lnTo>
                  <a:pt x="7426" y="3570"/>
                </a:lnTo>
                <a:lnTo>
                  <a:pt x="7428" y="3576"/>
                </a:lnTo>
                <a:lnTo>
                  <a:pt x="7434" y="3584"/>
                </a:lnTo>
                <a:lnTo>
                  <a:pt x="7438" y="3590"/>
                </a:lnTo>
                <a:lnTo>
                  <a:pt x="7442" y="3594"/>
                </a:lnTo>
                <a:lnTo>
                  <a:pt x="7444" y="3606"/>
                </a:lnTo>
                <a:lnTo>
                  <a:pt x="7446" y="3618"/>
                </a:lnTo>
                <a:lnTo>
                  <a:pt x="7450" y="3622"/>
                </a:lnTo>
                <a:lnTo>
                  <a:pt x="7454" y="3628"/>
                </a:lnTo>
                <a:lnTo>
                  <a:pt x="7468" y="3644"/>
                </a:lnTo>
                <a:lnTo>
                  <a:pt x="7478" y="3658"/>
                </a:lnTo>
                <a:lnTo>
                  <a:pt x="7480" y="3660"/>
                </a:lnTo>
                <a:lnTo>
                  <a:pt x="7484" y="3662"/>
                </a:lnTo>
                <a:lnTo>
                  <a:pt x="7486" y="3662"/>
                </a:lnTo>
                <a:lnTo>
                  <a:pt x="7490" y="3658"/>
                </a:lnTo>
                <a:lnTo>
                  <a:pt x="7494" y="3644"/>
                </a:lnTo>
                <a:lnTo>
                  <a:pt x="7496" y="3632"/>
                </a:lnTo>
                <a:lnTo>
                  <a:pt x="7502" y="3610"/>
                </a:lnTo>
                <a:lnTo>
                  <a:pt x="7514" y="3572"/>
                </a:lnTo>
                <a:lnTo>
                  <a:pt x="7516" y="3568"/>
                </a:lnTo>
                <a:lnTo>
                  <a:pt x="7516" y="3572"/>
                </a:lnTo>
                <a:lnTo>
                  <a:pt x="7516" y="3578"/>
                </a:lnTo>
                <a:lnTo>
                  <a:pt x="7510" y="3602"/>
                </a:lnTo>
                <a:lnTo>
                  <a:pt x="7510" y="3614"/>
                </a:lnTo>
                <a:lnTo>
                  <a:pt x="7510" y="3620"/>
                </a:lnTo>
                <a:lnTo>
                  <a:pt x="7508" y="3630"/>
                </a:lnTo>
                <a:lnTo>
                  <a:pt x="7502" y="3644"/>
                </a:lnTo>
                <a:lnTo>
                  <a:pt x="7502" y="3646"/>
                </a:lnTo>
                <a:lnTo>
                  <a:pt x="7508" y="3644"/>
                </a:lnTo>
                <a:lnTo>
                  <a:pt x="7512" y="3644"/>
                </a:lnTo>
                <a:lnTo>
                  <a:pt x="7518" y="3644"/>
                </a:lnTo>
                <a:lnTo>
                  <a:pt x="7522" y="3646"/>
                </a:lnTo>
                <a:lnTo>
                  <a:pt x="7526" y="3648"/>
                </a:lnTo>
                <a:lnTo>
                  <a:pt x="7532" y="3658"/>
                </a:lnTo>
                <a:lnTo>
                  <a:pt x="7548" y="3688"/>
                </a:lnTo>
                <a:lnTo>
                  <a:pt x="7564" y="3722"/>
                </a:lnTo>
                <a:lnTo>
                  <a:pt x="7572" y="3736"/>
                </a:lnTo>
                <a:lnTo>
                  <a:pt x="7580" y="3746"/>
                </a:lnTo>
                <a:lnTo>
                  <a:pt x="7584" y="3752"/>
                </a:lnTo>
                <a:lnTo>
                  <a:pt x="7586" y="3756"/>
                </a:lnTo>
                <a:lnTo>
                  <a:pt x="7586" y="3762"/>
                </a:lnTo>
                <a:lnTo>
                  <a:pt x="7592" y="3768"/>
                </a:lnTo>
                <a:lnTo>
                  <a:pt x="7600" y="3776"/>
                </a:lnTo>
                <a:lnTo>
                  <a:pt x="7608" y="3788"/>
                </a:lnTo>
                <a:lnTo>
                  <a:pt x="7610" y="3798"/>
                </a:lnTo>
                <a:lnTo>
                  <a:pt x="7610" y="3804"/>
                </a:lnTo>
                <a:lnTo>
                  <a:pt x="7608" y="3808"/>
                </a:lnTo>
                <a:lnTo>
                  <a:pt x="7608" y="3814"/>
                </a:lnTo>
                <a:lnTo>
                  <a:pt x="7608" y="3818"/>
                </a:lnTo>
                <a:lnTo>
                  <a:pt x="7610" y="3824"/>
                </a:lnTo>
                <a:lnTo>
                  <a:pt x="7612" y="3830"/>
                </a:lnTo>
                <a:lnTo>
                  <a:pt x="7622" y="3840"/>
                </a:lnTo>
                <a:lnTo>
                  <a:pt x="7628" y="3844"/>
                </a:lnTo>
                <a:lnTo>
                  <a:pt x="7636" y="3846"/>
                </a:lnTo>
                <a:lnTo>
                  <a:pt x="7642" y="3850"/>
                </a:lnTo>
                <a:lnTo>
                  <a:pt x="7648" y="3856"/>
                </a:lnTo>
                <a:lnTo>
                  <a:pt x="7656" y="3866"/>
                </a:lnTo>
                <a:lnTo>
                  <a:pt x="7662" y="3878"/>
                </a:lnTo>
                <a:lnTo>
                  <a:pt x="7672" y="3904"/>
                </a:lnTo>
                <a:lnTo>
                  <a:pt x="7680" y="3928"/>
                </a:lnTo>
                <a:lnTo>
                  <a:pt x="7684" y="3938"/>
                </a:lnTo>
                <a:lnTo>
                  <a:pt x="7684" y="3944"/>
                </a:lnTo>
                <a:lnTo>
                  <a:pt x="7682" y="3948"/>
                </a:lnTo>
                <a:lnTo>
                  <a:pt x="7680" y="3952"/>
                </a:lnTo>
                <a:lnTo>
                  <a:pt x="7678" y="3956"/>
                </a:lnTo>
                <a:lnTo>
                  <a:pt x="7678" y="3960"/>
                </a:lnTo>
                <a:lnTo>
                  <a:pt x="7678" y="3966"/>
                </a:lnTo>
                <a:lnTo>
                  <a:pt x="7680" y="3972"/>
                </a:lnTo>
                <a:lnTo>
                  <a:pt x="7684" y="3980"/>
                </a:lnTo>
                <a:lnTo>
                  <a:pt x="7684" y="3984"/>
                </a:lnTo>
                <a:lnTo>
                  <a:pt x="7684" y="3988"/>
                </a:lnTo>
                <a:lnTo>
                  <a:pt x="7682" y="3990"/>
                </a:lnTo>
                <a:lnTo>
                  <a:pt x="7680" y="3992"/>
                </a:lnTo>
                <a:lnTo>
                  <a:pt x="7680" y="3994"/>
                </a:lnTo>
                <a:lnTo>
                  <a:pt x="7688" y="4006"/>
                </a:lnTo>
                <a:lnTo>
                  <a:pt x="7698" y="4022"/>
                </a:lnTo>
                <a:lnTo>
                  <a:pt x="7704" y="4032"/>
                </a:lnTo>
                <a:lnTo>
                  <a:pt x="7710" y="4040"/>
                </a:lnTo>
                <a:lnTo>
                  <a:pt x="7720" y="4044"/>
                </a:lnTo>
                <a:lnTo>
                  <a:pt x="7726" y="4046"/>
                </a:lnTo>
                <a:lnTo>
                  <a:pt x="7732" y="4050"/>
                </a:lnTo>
                <a:lnTo>
                  <a:pt x="7742" y="4062"/>
                </a:lnTo>
                <a:lnTo>
                  <a:pt x="7750" y="4074"/>
                </a:lnTo>
                <a:lnTo>
                  <a:pt x="7756" y="4088"/>
                </a:lnTo>
                <a:lnTo>
                  <a:pt x="7762" y="4096"/>
                </a:lnTo>
                <a:lnTo>
                  <a:pt x="7766" y="4100"/>
                </a:lnTo>
                <a:lnTo>
                  <a:pt x="7768" y="4104"/>
                </a:lnTo>
                <a:lnTo>
                  <a:pt x="7768" y="4112"/>
                </a:lnTo>
                <a:lnTo>
                  <a:pt x="7770" y="4122"/>
                </a:lnTo>
                <a:lnTo>
                  <a:pt x="7772" y="4128"/>
                </a:lnTo>
                <a:lnTo>
                  <a:pt x="7776" y="4132"/>
                </a:lnTo>
                <a:lnTo>
                  <a:pt x="7778" y="4142"/>
                </a:lnTo>
                <a:lnTo>
                  <a:pt x="7780" y="4148"/>
                </a:lnTo>
                <a:lnTo>
                  <a:pt x="7782" y="4154"/>
                </a:lnTo>
                <a:lnTo>
                  <a:pt x="7792" y="4166"/>
                </a:lnTo>
                <a:lnTo>
                  <a:pt x="7804" y="4180"/>
                </a:lnTo>
                <a:lnTo>
                  <a:pt x="7808" y="4188"/>
                </a:lnTo>
                <a:lnTo>
                  <a:pt x="7812" y="4196"/>
                </a:lnTo>
                <a:lnTo>
                  <a:pt x="7814" y="4202"/>
                </a:lnTo>
                <a:lnTo>
                  <a:pt x="7816" y="4204"/>
                </a:lnTo>
                <a:lnTo>
                  <a:pt x="7820" y="4202"/>
                </a:lnTo>
                <a:lnTo>
                  <a:pt x="7822" y="4204"/>
                </a:lnTo>
                <a:lnTo>
                  <a:pt x="7824" y="4210"/>
                </a:lnTo>
                <a:lnTo>
                  <a:pt x="7828" y="4220"/>
                </a:lnTo>
                <a:lnTo>
                  <a:pt x="7832" y="4236"/>
                </a:lnTo>
                <a:lnTo>
                  <a:pt x="7832" y="4254"/>
                </a:lnTo>
                <a:lnTo>
                  <a:pt x="7830" y="4260"/>
                </a:lnTo>
                <a:lnTo>
                  <a:pt x="7826" y="4268"/>
                </a:lnTo>
                <a:lnTo>
                  <a:pt x="7826" y="4272"/>
                </a:lnTo>
                <a:lnTo>
                  <a:pt x="7826" y="4276"/>
                </a:lnTo>
                <a:lnTo>
                  <a:pt x="7828" y="4282"/>
                </a:lnTo>
                <a:lnTo>
                  <a:pt x="7832" y="4286"/>
                </a:lnTo>
                <a:lnTo>
                  <a:pt x="7830" y="4288"/>
                </a:lnTo>
                <a:lnTo>
                  <a:pt x="7828" y="4290"/>
                </a:lnTo>
                <a:lnTo>
                  <a:pt x="7824" y="4294"/>
                </a:lnTo>
                <a:lnTo>
                  <a:pt x="7826" y="4296"/>
                </a:lnTo>
                <a:lnTo>
                  <a:pt x="7832" y="4300"/>
                </a:lnTo>
                <a:lnTo>
                  <a:pt x="7832" y="4302"/>
                </a:lnTo>
                <a:lnTo>
                  <a:pt x="7834" y="4306"/>
                </a:lnTo>
                <a:lnTo>
                  <a:pt x="7834" y="4312"/>
                </a:lnTo>
                <a:lnTo>
                  <a:pt x="7836" y="4318"/>
                </a:lnTo>
                <a:lnTo>
                  <a:pt x="7840" y="4326"/>
                </a:lnTo>
                <a:lnTo>
                  <a:pt x="7840" y="4336"/>
                </a:lnTo>
                <a:lnTo>
                  <a:pt x="7842" y="4350"/>
                </a:lnTo>
                <a:lnTo>
                  <a:pt x="7846" y="4362"/>
                </a:lnTo>
                <a:lnTo>
                  <a:pt x="7850" y="4370"/>
                </a:lnTo>
                <a:lnTo>
                  <a:pt x="7850" y="4376"/>
                </a:lnTo>
                <a:lnTo>
                  <a:pt x="7850" y="4380"/>
                </a:lnTo>
                <a:lnTo>
                  <a:pt x="7850" y="4388"/>
                </a:lnTo>
                <a:lnTo>
                  <a:pt x="7850" y="4394"/>
                </a:lnTo>
                <a:lnTo>
                  <a:pt x="7854" y="4398"/>
                </a:lnTo>
                <a:lnTo>
                  <a:pt x="7856" y="4410"/>
                </a:lnTo>
                <a:lnTo>
                  <a:pt x="7860" y="4418"/>
                </a:lnTo>
                <a:lnTo>
                  <a:pt x="7862" y="4418"/>
                </a:lnTo>
                <a:lnTo>
                  <a:pt x="7864" y="4418"/>
                </a:lnTo>
                <a:lnTo>
                  <a:pt x="7868" y="4418"/>
                </a:lnTo>
                <a:lnTo>
                  <a:pt x="7872" y="4420"/>
                </a:lnTo>
                <a:lnTo>
                  <a:pt x="7874" y="4422"/>
                </a:lnTo>
                <a:lnTo>
                  <a:pt x="7880" y="4424"/>
                </a:lnTo>
                <a:lnTo>
                  <a:pt x="7884" y="4424"/>
                </a:lnTo>
                <a:lnTo>
                  <a:pt x="7888" y="4422"/>
                </a:lnTo>
                <a:lnTo>
                  <a:pt x="7892" y="4422"/>
                </a:lnTo>
                <a:lnTo>
                  <a:pt x="7896" y="4420"/>
                </a:lnTo>
                <a:lnTo>
                  <a:pt x="7900" y="4418"/>
                </a:lnTo>
                <a:lnTo>
                  <a:pt x="7902" y="4416"/>
                </a:lnTo>
                <a:lnTo>
                  <a:pt x="7910" y="4416"/>
                </a:lnTo>
                <a:lnTo>
                  <a:pt x="7916" y="4416"/>
                </a:lnTo>
                <a:lnTo>
                  <a:pt x="7920" y="4416"/>
                </a:lnTo>
                <a:lnTo>
                  <a:pt x="7922" y="4414"/>
                </a:lnTo>
                <a:lnTo>
                  <a:pt x="7924" y="4412"/>
                </a:lnTo>
                <a:lnTo>
                  <a:pt x="7926" y="4408"/>
                </a:lnTo>
                <a:lnTo>
                  <a:pt x="7928" y="4406"/>
                </a:lnTo>
                <a:lnTo>
                  <a:pt x="7932" y="4404"/>
                </a:lnTo>
                <a:lnTo>
                  <a:pt x="7936" y="4404"/>
                </a:lnTo>
                <a:lnTo>
                  <a:pt x="7938" y="4400"/>
                </a:lnTo>
                <a:lnTo>
                  <a:pt x="7942" y="4392"/>
                </a:lnTo>
                <a:lnTo>
                  <a:pt x="7946" y="4388"/>
                </a:lnTo>
                <a:lnTo>
                  <a:pt x="7950" y="4384"/>
                </a:lnTo>
                <a:lnTo>
                  <a:pt x="7958" y="4382"/>
                </a:lnTo>
                <a:lnTo>
                  <a:pt x="7968" y="4382"/>
                </a:lnTo>
                <a:lnTo>
                  <a:pt x="7984" y="4384"/>
                </a:lnTo>
                <a:lnTo>
                  <a:pt x="7998" y="4380"/>
                </a:lnTo>
                <a:lnTo>
                  <a:pt x="8008" y="4374"/>
                </a:lnTo>
                <a:lnTo>
                  <a:pt x="8018" y="4368"/>
                </a:lnTo>
                <a:lnTo>
                  <a:pt x="8034" y="4356"/>
                </a:lnTo>
                <a:lnTo>
                  <a:pt x="8040" y="4354"/>
                </a:lnTo>
                <a:lnTo>
                  <a:pt x="8048" y="4354"/>
                </a:lnTo>
                <a:lnTo>
                  <a:pt x="8054" y="4356"/>
                </a:lnTo>
                <a:lnTo>
                  <a:pt x="8058" y="4356"/>
                </a:lnTo>
                <a:lnTo>
                  <a:pt x="8066" y="4352"/>
                </a:lnTo>
                <a:lnTo>
                  <a:pt x="8074" y="4346"/>
                </a:lnTo>
                <a:lnTo>
                  <a:pt x="8082" y="4336"/>
                </a:lnTo>
                <a:lnTo>
                  <a:pt x="8090" y="4328"/>
                </a:lnTo>
                <a:lnTo>
                  <a:pt x="8100" y="4320"/>
                </a:lnTo>
                <a:lnTo>
                  <a:pt x="8110" y="4316"/>
                </a:lnTo>
                <a:lnTo>
                  <a:pt x="8116" y="4314"/>
                </a:lnTo>
                <a:lnTo>
                  <a:pt x="8124" y="4314"/>
                </a:lnTo>
                <a:lnTo>
                  <a:pt x="8128" y="4314"/>
                </a:lnTo>
                <a:lnTo>
                  <a:pt x="8130" y="4314"/>
                </a:lnTo>
                <a:lnTo>
                  <a:pt x="8136" y="4310"/>
                </a:lnTo>
                <a:lnTo>
                  <a:pt x="8146" y="4302"/>
                </a:lnTo>
                <a:lnTo>
                  <a:pt x="8154" y="4300"/>
                </a:lnTo>
                <a:lnTo>
                  <a:pt x="8164" y="4296"/>
                </a:lnTo>
                <a:lnTo>
                  <a:pt x="8184" y="4290"/>
                </a:lnTo>
                <a:lnTo>
                  <a:pt x="8192" y="4286"/>
                </a:lnTo>
                <a:lnTo>
                  <a:pt x="8194" y="4282"/>
                </a:lnTo>
                <a:lnTo>
                  <a:pt x="8204" y="4280"/>
                </a:lnTo>
                <a:lnTo>
                  <a:pt x="8210" y="4276"/>
                </a:lnTo>
                <a:lnTo>
                  <a:pt x="8212" y="4272"/>
                </a:lnTo>
                <a:lnTo>
                  <a:pt x="8212" y="4260"/>
                </a:lnTo>
                <a:lnTo>
                  <a:pt x="8212" y="4252"/>
                </a:lnTo>
                <a:lnTo>
                  <a:pt x="8216" y="4244"/>
                </a:lnTo>
                <a:lnTo>
                  <a:pt x="8228" y="4234"/>
                </a:lnTo>
                <a:lnTo>
                  <a:pt x="8246" y="4222"/>
                </a:lnTo>
                <a:lnTo>
                  <a:pt x="8252" y="4220"/>
                </a:lnTo>
                <a:lnTo>
                  <a:pt x="8256" y="4218"/>
                </a:lnTo>
                <a:lnTo>
                  <a:pt x="8264" y="4218"/>
                </a:lnTo>
                <a:lnTo>
                  <a:pt x="8268" y="4218"/>
                </a:lnTo>
                <a:lnTo>
                  <a:pt x="8272" y="4216"/>
                </a:lnTo>
                <a:lnTo>
                  <a:pt x="8280" y="4212"/>
                </a:lnTo>
                <a:lnTo>
                  <a:pt x="8284" y="4208"/>
                </a:lnTo>
                <a:lnTo>
                  <a:pt x="8290" y="4206"/>
                </a:lnTo>
                <a:lnTo>
                  <a:pt x="8298" y="4206"/>
                </a:lnTo>
                <a:lnTo>
                  <a:pt x="8308" y="4206"/>
                </a:lnTo>
                <a:lnTo>
                  <a:pt x="8314" y="4208"/>
                </a:lnTo>
                <a:lnTo>
                  <a:pt x="8320" y="4208"/>
                </a:lnTo>
                <a:lnTo>
                  <a:pt x="8322" y="4206"/>
                </a:lnTo>
                <a:lnTo>
                  <a:pt x="8326" y="4202"/>
                </a:lnTo>
                <a:lnTo>
                  <a:pt x="8330" y="4194"/>
                </a:lnTo>
                <a:lnTo>
                  <a:pt x="8334" y="4186"/>
                </a:lnTo>
                <a:lnTo>
                  <a:pt x="8338" y="4176"/>
                </a:lnTo>
                <a:lnTo>
                  <a:pt x="8342" y="4168"/>
                </a:lnTo>
                <a:lnTo>
                  <a:pt x="8350" y="4160"/>
                </a:lnTo>
                <a:lnTo>
                  <a:pt x="8354" y="4160"/>
                </a:lnTo>
                <a:lnTo>
                  <a:pt x="8360" y="4158"/>
                </a:lnTo>
                <a:lnTo>
                  <a:pt x="8374" y="4158"/>
                </a:lnTo>
                <a:lnTo>
                  <a:pt x="8382" y="4154"/>
                </a:lnTo>
                <a:lnTo>
                  <a:pt x="8386" y="4146"/>
                </a:lnTo>
                <a:lnTo>
                  <a:pt x="8390" y="4138"/>
                </a:lnTo>
                <a:lnTo>
                  <a:pt x="8392" y="4130"/>
                </a:lnTo>
                <a:lnTo>
                  <a:pt x="8396" y="4122"/>
                </a:lnTo>
                <a:lnTo>
                  <a:pt x="8406" y="4116"/>
                </a:lnTo>
                <a:lnTo>
                  <a:pt x="8420" y="4110"/>
                </a:lnTo>
                <a:lnTo>
                  <a:pt x="8430" y="4108"/>
                </a:lnTo>
                <a:lnTo>
                  <a:pt x="8436" y="4104"/>
                </a:lnTo>
                <a:lnTo>
                  <a:pt x="8438" y="4100"/>
                </a:lnTo>
                <a:lnTo>
                  <a:pt x="8438" y="4094"/>
                </a:lnTo>
                <a:lnTo>
                  <a:pt x="8436" y="4086"/>
                </a:lnTo>
                <a:lnTo>
                  <a:pt x="8434" y="4076"/>
                </a:lnTo>
                <a:lnTo>
                  <a:pt x="8434" y="4062"/>
                </a:lnTo>
                <a:lnTo>
                  <a:pt x="8438" y="4046"/>
                </a:lnTo>
                <a:lnTo>
                  <a:pt x="8444" y="4034"/>
                </a:lnTo>
                <a:lnTo>
                  <a:pt x="8448" y="4028"/>
                </a:lnTo>
                <a:lnTo>
                  <a:pt x="8452" y="4028"/>
                </a:lnTo>
                <a:lnTo>
                  <a:pt x="8454" y="4032"/>
                </a:lnTo>
                <a:lnTo>
                  <a:pt x="8458" y="4036"/>
                </a:lnTo>
                <a:lnTo>
                  <a:pt x="8460" y="4036"/>
                </a:lnTo>
                <a:lnTo>
                  <a:pt x="8464" y="4034"/>
                </a:lnTo>
                <a:lnTo>
                  <a:pt x="8470" y="4022"/>
                </a:lnTo>
                <a:lnTo>
                  <a:pt x="8476" y="4010"/>
                </a:lnTo>
                <a:lnTo>
                  <a:pt x="8480" y="4002"/>
                </a:lnTo>
                <a:lnTo>
                  <a:pt x="8490" y="3992"/>
                </a:lnTo>
                <a:lnTo>
                  <a:pt x="8500" y="3982"/>
                </a:lnTo>
                <a:lnTo>
                  <a:pt x="8504" y="3974"/>
                </a:lnTo>
                <a:lnTo>
                  <a:pt x="8510" y="3962"/>
                </a:lnTo>
                <a:lnTo>
                  <a:pt x="8516" y="3946"/>
                </a:lnTo>
                <a:lnTo>
                  <a:pt x="8518" y="3936"/>
                </a:lnTo>
                <a:lnTo>
                  <a:pt x="8518" y="3932"/>
                </a:lnTo>
                <a:lnTo>
                  <a:pt x="8516" y="3930"/>
                </a:lnTo>
                <a:lnTo>
                  <a:pt x="8508" y="3926"/>
                </a:lnTo>
                <a:lnTo>
                  <a:pt x="8502" y="3922"/>
                </a:lnTo>
                <a:lnTo>
                  <a:pt x="8498" y="3916"/>
                </a:lnTo>
                <a:lnTo>
                  <a:pt x="8488" y="3896"/>
                </a:lnTo>
                <a:lnTo>
                  <a:pt x="8482" y="3886"/>
                </a:lnTo>
                <a:lnTo>
                  <a:pt x="8476" y="3880"/>
                </a:lnTo>
                <a:lnTo>
                  <a:pt x="8470" y="3874"/>
                </a:lnTo>
                <a:lnTo>
                  <a:pt x="8468" y="3874"/>
                </a:lnTo>
                <a:lnTo>
                  <a:pt x="8464" y="3874"/>
                </a:lnTo>
                <a:lnTo>
                  <a:pt x="8460" y="3876"/>
                </a:lnTo>
                <a:lnTo>
                  <a:pt x="8458" y="3876"/>
                </a:lnTo>
                <a:lnTo>
                  <a:pt x="8452" y="3872"/>
                </a:lnTo>
                <a:lnTo>
                  <a:pt x="8446" y="3868"/>
                </a:lnTo>
                <a:lnTo>
                  <a:pt x="8440" y="3866"/>
                </a:lnTo>
                <a:lnTo>
                  <a:pt x="8432" y="3864"/>
                </a:lnTo>
                <a:lnTo>
                  <a:pt x="8422" y="3862"/>
                </a:lnTo>
                <a:lnTo>
                  <a:pt x="8412" y="3856"/>
                </a:lnTo>
                <a:lnTo>
                  <a:pt x="8404" y="3850"/>
                </a:lnTo>
                <a:lnTo>
                  <a:pt x="8396" y="3842"/>
                </a:lnTo>
                <a:lnTo>
                  <a:pt x="8390" y="3834"/>
                </a:lnTo>
                <a:lnTo>
                  <a:pt x="8386" y="3824"/>
                </a:lnTo>
                <a:lnTo>
                  <a:pt x="8382" y="3814"/>
                </a:lnTo>
                <a:lnTo>
                  <a:pt x="8378" y="3804"/>
                </a:lnTo>
                <a:lnTo>
                  <a:pt x="8378" y="3780"/>
                </a:lnTo>
                <a:lnTo>
                  <a:pt x="8378" y="3774"/>
                </a:lnTo>
                <a:lnTo>
                  <a:pt x="8376" y="3770"/>
                </a:lnTo>
                <a:lnTo>
                  <a:pt x="8376" y="3766"/>
                </a:lnTo>
                <a:lnTo>
                  <a:pt x="8378" y="3760"/>
                </a:lnTo>
                <a:lnTo>
                  <a:pt x="8382" y="3756"/>
                </a:lnTo>
                <a:lnTo>
                  <a:pt x="8382" y="3752"/>
                </a:lnTo>
                <a:lnTo>
                  <a:pt x="8382" y="3746"/>
                </a:lnTo>
                <a:lnTo>
                  <a:pt x="8384" y="3740"/>
                </a:lnTo>
                <a:lnTo>
                  <a:pt x="8384" y="3734"/>
                </a:lnTo>
                <a:lnTo>
                  <a:pt x="8384" y="3732"/>
                </a:lnTo>
                <a:lnTo>
                  <a:pt x="8380" y="3732"/>
                </a:lnTo>
                <a:lnTo>
                  <a:pt x="8378" y="3732"/>
                </a:lnTo>
                <a:lnTo>
                  <a:pt x="8378" y="3734"/>
                </a:lnTo>
                <a:lnTo>
                  <a:pt x="8378" y="3738"/>
                </a:lnTo>
                <a:lnTo>
                  <a:pt x="8378" y="3742"/>
                </a:lnTo>
                <a:lnTo>
                  <a:pt x="8376" y="3742"/>
                </a:lnTo>
                <a:lnTo>
                  <a:pt x="8372" y="3740"/>
                </a:lnTo>
                <a:lnTo>
                  <a:pt x="8370" y="3740"/>
                </a:lnTo>
                <a:lnTo>
                  <a:pt x="8368" y="3748"/>
                </a:lnTo>
                <a:lnTo>
                  <a:pt x="8364" y="3760"/>
                </a:lnTo>
                <a:lnTo>
                  <a:pt x="8362" y="3762"/>
                </a:lnTo>
                <a:lnTo>
                  <a:pt x="8360" y="3762"/>
                </a:lnTo>
                <a:lnTo>
                  <a:pt x="8358" y="3762"/>
                </a:lnTo>
                <a:lnTo>
                  <a:pt x="8354" y="3770"/>
                </a:lnTo>
                <a:lnTo>
                  <a:pt x="8350" y="3776"/>
                </a:lnTo>
                <a:lnTo>
                  <a:pt x="8344" y="3780"/>
                </a:lnTo>
                <a:lnTo>
                  <a:pt x="8338" y="3784"/>
                </a:lnTo>
                <a:lnTo>
                  <a:pt x="8330" y="3794"/>
                </a:lnTo>
                <a:lnTo>
                  <a:pt x="8322" y="3804"/>
                </a:lnTo>
                <a:lnTo>
                  <a:pt x="8312" y="3814"/>
                </a:lnTo>
                <a:lnTo>
                  <a:pt x="8300" y="3826"/>
                </a:lnTo>
                <a:lnTo>
                  <a:pt x="8300" y="3828"/>
                </a:lnTo>
                <a:lnTo>
                  <a:pt x="8302" y="3830"/>
                </a:lnTo>
                <a:lnTo>
                  <a:pt x="8302" y="3832"/>
                </a:lnTo>
                <a:lnTo>
                  <a:pt x="8298" y="3840"/>
                </a:lnTo>
                <a:lnTo>
                  <a:pt x="8290" y="3848"/>
                </a:lnTo>
                <a:lnTo>
                  <a:pt x="8282" y="3850"/>
                </a:lnTo>
                <a:lnTo>
                  <a:pt x="8272" y="3850"/>
                </a:lnTo>
                <a:lnTo>
                  <a:pt x="8262" y="3850"/>
                </a:lnTo>
                <a:lnTo>
                  <a:pt x="8242" y="3846"/>
                </a:lnTo>
                <a:lnTo>
                  <a:pt x="8232" y="3846"/>
                </a:lnTo>
                <a:lnTo>
                  <a:pt x="8222" y="3848"/>
                </a:lnTo>
                <a:lnTo>
                  <a:pt x="8208" y="3854"/>
                </a:lnTo>
                <a:lnTo>
                  <a:pt x="8200" y="3856"/>
                </a:lnTo>
                <a:lnTo>
                  <a:pt x="8196" y="3854"/>
                </a:lnTo>
                <a:lnTo>
                  <a:pt x="8196" y="3852"/>
                </a:lnTo>
                <a:lnTo>
                  <a:pt x="8194" y="3846"/>
                </a:lnTo>
                <a:lnTo>
                  <a:pt x="8194" y="3840"/>
                </a:lnTo>
                <a:lnTo>
                  <a:pt x="8190" y="3838"/>
                </a:lnTo>
                <a:lnTo>
                  <a:pt x="8186" y="3838"/>
                </a:lnTo>
                <a:lnTo>
                  <a:pt x="8180" y="3838"/>
                </a:lnTo>
                <a:lnTo>
                  <a:pt x="8176" y="3838"/>
                </a:lnTo>
                <a:lnTo>
                  <a:pt x="8176" y="3836"/>
                </a:lnTo>
                <a:lnTo>
                  <a:pt x="8176" y="3832"/>
                </a:lnTo>
                <a:lnTo>
                  <a:pt x="8180" y="3826"/>
                </a:lnTo>
                <a:lnTo>
                  <a:pt x="8182" y="3824"/>
                </a:lnTo>
                <a:lnTo>
                  <a:pt x="8180" y="3824"/>
                </a:lnTo>
                <a:lnTo>
                  <a:pt x="8176" y="3824"/>
                </a:lnTo>
                <a:lnTo>
                  <a:pt x="8174" y="3826"/>
                </a:lnTo>
                <a:lnTo>
                  <a:pt x="8172" y="3824"/>
                </a:lnTo>
                <a:lnTo>
                  <a:pt x="8172" y="3822"/>
                </a:lnTo>
                <a:lnTo>
                  <a:pt x="8176" y="3822"/>
                </a:lnTo>
                <a:lnTo>
                  <a:pt x="8178" y="3820"/>
                </a:lnTo>
                <a:lnTo>
                  <a:pt x="8180" y="3818"/>
                </a:lnTo>
                <a:lnTo>
                  <a:pt x="8184" y="3812"/>
                </a:lnTo>
                <a:lnTo>
                  <a:pt x="8188" y="3796"/>
                </a:lnTo>
                <a:lnTo>
                  <a:pt x="8186" y="3790"/>
                </a:lnTo>
                <a:lnTo>
                  <a:pt x="8184" y="3786"/>
                </a:lnTo>
                <a:lnTo>
                  <a:pt x="8182" y="3780"/>
                </a:lnTo>
                <a:lnTo>
                  <a:pt x="8182" y="3776"/>
                </a:lnTo>
                <a:lnTo>
                  <a:pt x="8182" y="3772"/>
                </a:lnTo>
                <a:lnTo>
                  <a:pt x="8184" y="3764"/>
                </a:lnTo>
                <a:lnTo>
                  <a:pt x="8184" y="3758"/>
                </a:lnTo>
                <a:lnTo>
                  <a:pt x="8180" y="3750"/>
                </a:lnTo>
                <a:lnTo>
                  <a:pt x="8174" y="3746"/>
                </a:lnTo>
                <a:lnTo>
                  <a:pt x="8170" y="3744"/>
                </a:lnTo>
                <a:lnTo>
                  <a:pt x="8168" y="3744"/>
                </a:lnTo>
                <a:lnTo>
                  <a:pt x="8164" y="3748"/>
                </a:lnTo>
                <a:lnTo>
                  <a:pt x="8160" y="3762"/>
                </a:lnTo>
                <a:lnTo>
                  <a:pt x="8156" y="3774"/>
                </a:lnTo>
                <a:lnTo>
                  <a:pt x="8154" y="3784"/>
                </a:lnTo>
                <a:lnTo>
                  <a:pt x="8152" y="3816"/>
                </a:lnTo>
                <a:lnTo>
                  <a:pt x="8148" y="3804"/>
                </a:lnTo>
                <a:lnTo>
                  <a:pt x="8146" y="3794"/>
                </a:lnTo>
                <a:lnTo>
                  <a:pt x="8142" y="3786"/>
                </a:lnTo>
                <a:lnTo>
                  <a:pt x="8138" y="3778"/>
                </a:lnTo>
                <a:lnTo>
                  <a:pt x="8132" y="3774"/>
                </a:lnTo>
                <a:lnTo>
                  <a:pt x="8132" y="3770"/>
                </a:lnTo>
                <a:lnTo>
                  <a:pt x="8132" y="3768"/>
                </a:lnTo>
                <a:lnTo>
                  <a:pt x="8130" y="3760"/>
                </a:lnTo>
                <a:lnTo>
                  <a:pt x="8128" y="3756"/>
                </a:lnTo>
                <a:lnTo>
                  <a:pt x="8126" y="3752"/>
                </a:lnTo>
                <a:lnTo>
                  <a:pt x="8128" y="3744"/>
                </a:lnTo>
                <a:lnTo>
                  <a:pt x="8128" y="3736"/>
                </a:lnTo>
                <a:lnTo>
                  <a:pt x="8126" y="3732"/>
                </a:lnTo>
                <a:lnTo>
                  <a:pt x="8124" y="3726"/>
                </a:lnTo>
                <a:lnTo>
                  <a:pt x="8122" y="3720"/>
                </a:lnTo>
                <a:lnTo>
                  <a:pt x="8122" y="3718"/>
                </a:lnTo>
                <a:lnTo>
                  <a:pt x="8126" y="3718"/>
                </a:lnTo>
                <a:lnTo>
                  <a:pt x="8128" y="3722"/>
                </a:lnTo>
                <a:lnTo>
                  <a:pt x="8130" y="3722"/>
                </a:lnTo>
                <a:lnTo>
                  <a:pt x="8132" y="3722"/>
                </a:lnTo>
                <a:lnTo>
                  <a:pt x="8132" y="3724"/>
                </a:lnTo>
                <a:lnTo>
                  <a:pt x="8130" y="3726"/>
                </a:lnTo>
                <a:lnTo>
                  <a:pt x="8128" y="3728"/>
                </a:lnTo>
                <a:lnTo>
                  <a:pt x="8132" y="3728"/>
                </a:lnTo>
                <a:lnTo>
                  <a:pt x="8134" y="3730"/>
                </a:lnTo>
                <a:lnTo>
                  <a:pt x="8132" y="3732"/>
                </a:lnTo>
                <a:lnTo>
                  <a:pt x="8134" y="3734"/>
                </a:lnTo>
                <a:lnTo>
                  <a:pt x="8138" y="3736"/>
                </a:lnTo>
                <a:lnTo>
                  <a:pt x="8140" y="3738"/>
                </a:lnTo>
                <a:lnTo>
                  <a:pt x="8142" y="3740"/>
                </a:lnTo>
                <a:lnTo>
                  <a:pt x="8144" y="3740"/>
                </a:lnTo>
                <a:lnTo>
                  <a:pt x="8144" y="3738"/>
                </a:lnTo>
                <a:lnTo>
                  <a:pt x="8146" y="3738"/>
                </a:lnTo>
                <a:lnTo>
                  <a:pt x="8146" y="3736"/>
                </a:lnTo>
                <a:lnTo>
                  <a:pt x="8146" y="3734"/>
                </a:lnTo>
                <a:lnTo>
                  <a:pt x="8150" y="3730"/>
                </a:lnTo>
                <a:lnTo>
                  <a:pt x="8150" y="3722"/>
                </a:lnTo>
                <a:lnTo>
                  <a:pt x="8150" y="3720"/>
                </a:lnTo>
                <a:lnTo>
                  <a:pt x="8152" y="3718"/>
                </a:lnTo>
                <a:lnTo>
                  <a:pt x="8158" y="3720"/>
                </a:lnTo>
                <a:lnTo>
                  <a:pt x="8160" y="3722"/>
                </a:lnTo>
                <a:lnTo>
                  <a:pt x="8160" y="3720"/>
                </a:lnTo>
                <a:lnTo>
                  <a:pt x="8162" y="3718"/>
                </a:lnTo>
                <a:lnTo>
                  <a:pt x="8164" y="3718"/>
                </a:lnTo>
                <a:lnTo>
                  <a:pt x="8164" y="3714"/>
                </a:lnTo>
                <a:lnTo>
                  <a:pt x="8166" y="3712"/>
                </a:lnTo>
                <a:lnTo>
                  <a:pt x="8168" y="3708"/>
                </a:lnTo>
                <a:lnTo>
                  <a:pt x="8166" y="3706"/>
                </a:lnTo>
                <a:lnTo>
                  <a:pt x="8166" y="3704"/>
                </a:lnTo>
                <a:lnTo>
                  <a:pt x="8166" y="3702"/>
                </a:lnTo>
                <a:lnTo>
                  <a:pt x="8164" y="3700"/>
                </a:lnTo>
                <a:lnTo>
                  <a:pt x="8162" y="3700"/>
                </a:lnTo>
                <a:lnTo>
                  <a:pt x="8162" y="3702"/>
                </a:lnTo>
                <a:lnTo>
                  <a:pt x="8162" y="3704"/>
                </a:lnTo>
                <a:lnTo>
                  <a:pt x="8160" y="3704"/>
                </a:lnTo>
                <a:lnTo>
                  <a:pt x="8156" y="3704"/>
                </a:lnTo>
                <a:lnTo>
                  <a:pt x="8154" y="3706"/>
                </a:lnTo>
                <a:lnTo>
                  <a:pt x="8152" y="3700"/>
                </a:lnTo>
                <a:lnTo>
                  <a:pt x="8152" y="3696"/>
                </a:lnTo>
                <a:lnTo>
                  <a:pt x="8152" y="3690"/>
                </a:lnTo>
                <a:lnTo>
                  <a:pt x="8152" y="3688"/>
                </a:lnTo>
                <a:lnTo>
                  <a:pt x="8150" y="3688"/>
                </a:lnTo>
                <a:lnTo>
                  <a:pt x="8148" y="3688"/>
                </a:lnTo>
                <a:lnTo>
                  <a:pt x="8148" y="3692"/>
                </a:lnTo>
                <a:lnTo>
                  <a:pt x="8148" y="3696"/>
                </a:lnTo>
                <a:lnTo>
                  <a:pt x="8146" y="3698"/>
                </a:lnTo>
                <a:lnTo>
                  <a:pt x="8144" y="3698"/>
                </a:lnTo>
                <a:lnTo>
                  <a:pt x="8140" y="3696"/>
                </a:lnTo>
                <a:lnTo>
                  <a:pt x="8136" y="3698"/>
                </a:lnTo>
                <a:lnTo>
                  <a:pt x="8134" y="3700"/>
                </a:lnTo>
                <a:lnTo>
                  <a:pt x="8130" y="3702"/>
                </a:lnTo>
                <a:lnTo>
                  <a:pt x="8128" y="3704"/>
                </a:lnTo>
                <a:lnTo>
                  <a:pt x="8126" y="3712"/>
                </a:lnTo>
                <a:lnTo>
                  <a:pt x="8118" y="3704"/>
                </a:lnTo>
                <a:lnTo>
                  <a:pt x="8106" y="3696"/>
                </a:lnTo>
                <a:lnTo>
                  <a:pt x="8098" y="3686"/>
                </a:lnTo>
                <a:lnTo>
                  <a:pt x="8094" y="3680"/>
                </a:lnTo>
                <a:lnTo>
                  <a:pt x="8094" y="3676"/>
                </a:lnTo>
                <a:lnTo>
                  <a:pt x="8094" y="3672"/>
                </a:lnTo>
                <a:lnTo>
                  <a:pt x="8092" y="3670"/>
                </a:lnTo>
                <a:lnTo>
                  <a:pt x="8086" y="3668"/>
                </a:lnTo>
                <a:lnTo>
                  <a:pt x="8080" y="3666"/>
                </a:lnTo>
                <a:lnTo>
                  <a:pt x="8078" y="3664"/>
                </a:lnTo>
                <a:lnTo>
                  <a:pt x="8076" y="3662"/>
                </a:lnTo>
                <a:lnTo>
                  <a:pt x="8074" y="3654"/>
                </a:lnTo>
                <a:lnTo>
                  <a:pt x="8072" y="3648"/>
                </a:lnTo>
                <a:lnTo>
                  <a:pt x="8066" y="3638"/>
                </a:lnTo>
                <a:lnTo>
                  <a:pt x="8060" y="3620"/>
                </a:lnTo>
                <a:lnTo>
                  <a:pt x="8056" y="3608"/>
                </a:lnTo>
                <a:lnTo>
                  <a:pt x="8052" y="3602"/>
                </a:lnTo>
                <a:lnTo>
                  <a:pt x="8048" y="3596"/>
                </a:lnTo>
                <a:lnTo>
                  <a:pt x="8046" y="3588"/>
                </a:lnTo>
                <a:lnTo>
                  <a:pt x="8046" y="3584"/>
                </a:lnTo>
                <a:lnTo>
                  <a:pt x="8042" y="3580"/>
                </a:lnTo>
                <a:lnTo>
                  <a:pt x="8036" y="3578"/>
                </a:lnTo>
                <a:lnTo>
                  <a:pt x="8030" y="3578"/>
                </a:lnTo>
                <a:lnTo>
                  <a:pt x="8030" y="3576"/>
                </a:lnTo>
                <a:lnTo>
                  <a:pt x="8032" y="3572"/>
                </a:lnTo>
                <a:lnTo>
                  <a:pt x="8034" y="3568"/>
                </a:lnTo>
                <a:lnTo>
                  <a:pt x="8038" y="3566"/>
                </a:lnTo>
                <a:lnTo>
                  <a:pt x="8046" y="3566"/>
                </a:lnTo>
                <a:lnTo>
                  <a:pt x="8046" y="3562"/>
                </a:lnTo>
                <a:lnTo>
                  <a:pt x="8038" y="3546"/>
                </a:lnTo>
                <a:lnTo>
                  <a:pt x="8038" y="3542"/>
                </a:lnTo>
                <a:lnTo>
                  <a:pt x="8040" y="3540"/>
                </a:lnTo>
                <a:lnTo>
                  <a:pt x="8048" y="3544"/>
                </a:lnTo>
                <a:lnTo>
                  <a:pt x="8056" y="3548"/>
                </a:lnTo>
                <a:lnTo>
                  <a:pt x="8060" y="3548"/>
                </a:lnTo>
                <a:lnTo>
                  <a:pt x="8062" y="3548"/>
                </a:lnTo>
                <a:lnTo>
                  <a:pt x="8070" y="3544"/>
                </a:lnTo>
                <a:lnTo>
                  <a:pt x="8074" y="3544"/>
                </a:lnTo>
                <a:lnTo>
                  <a:pt x="8076" y="3540"/>
                </a:lnTo>
                <a:lnTo>
                  <a:pt x="8078" y="3532"/>
                </a:lnTo>
                <a:lnTo>
                  <a:pt x="8080" y="3530"/>
                </a:lnTo>
                <a:lnTo>
                  <a:pt x="8082" y="3530"/>
                </a:lnTo>
                <a:lnTo>
                  <a:pt x="8090" y="3534"/>
                </a:lnTo>
                <a:lnTo>
                  <a:pt x="8096" y="3538"/>
                </a:lnTo>
                <a:lnTo>
                  <a:pt x="8102" y="3540"/>
                </a:lnTo>
                <a:lnTo>
                  <a:pt x="8108" y="3542"/>
                </a:lnTo>
                <a:lnTo>
                  <a:pt x="8114" y="3538"/>
                </a:lnTo>
                <a:lnTo>
                  <a:pt x="8120" y="3536"/>
                </a:lnTo>
                <a:lnTo>
                  <a:pt x="8122" y="3536"/>
                </a:lnTo>
                <a:lnTo>
                  <a:pt x="8126" y="3538"/>
                </a:lnTo>
                <a:lnTo>
                  <a:pt x="8126" y="3540"/>
                </a:lnTo>
                <a:lnTo>
                  <a:pt x="8130" y="3550"/>
                </a:lnTo>
                <a:lnTo>
                  <a:pt x="8132" y="3556"/>
                </a:lnTo>
                <a:lnTo>
                  <a:pt x="8138" y="3562"/>
                </a:lnTo>
                <a:lnTo>
                  <a:pt x="8142" y="3566"/>
                </a:lnTo>
                <a:lnTo>
                  <a:pt x="8146" y="3572"/>
                </a:lnTo>
                <a:lnTo>
                  <a:pt x="8150" y="3582"/>
                </a:lnTo>
                <a:lnTo>
                  <a:pt x="8154" y="3594"/>
                </a:lnTo>
                <a:lnTo>
                  <a:pt x="8156" y="3600"/>
                </a:lnTo>
                <a:lnTo>
                  <a:pt x="8160" y="3606"/>
                </a:lnTo>
                <a:lnTo>
                  <a:pt x="8164" y="3612"/>
                </a:lnTo>
                <a:lnTo>
                  <a:pt x="8166" y="3616"/>
                </a:lnTo>
                <a:lnTo>
                  <a:pt x="8166" y="3624"/>
                </a:lnTo>
                <a:lnTo>
                  <a:pt x="8168" y="3632"/>
                </a:lnTo>
                <a:lnTo>
                  <a:pt x="8170" y="3636"/>
                </a:lnTo>
                <a:lnTo>
                  <a:pt x="8176" y="3644"/>
                </a:lnTo>
                <a:lnTo>
                  <a:pt x="8182" y="3650"/>
                </a:lnTo>
                <a:lnTo>
                  <a:pt x="8190" y="3656"/>
                </a:lnTo>
                <a:lnTo>
                  <a:pt x="8208" y="3664"/>
                </a:lnTo>
                <a:lnTo>
                  <a:pt x="8222" y="3670"/>
                </a:lnTo>
                <a:lnTo>
                  <a:pt x="8226" y="3672"/>
                </a:lnTo>
                <a:lnTo>
                  <a:pt x="8226" y="3678"/>
                </a:lnTo>
                <a:lnTo>
                  <a:pt x="8226" y="3680"/>
                </a:lnTo>
                <a:lnTo>
                  <a:pt x="8230" y="3684"/>
                </a:lnTo>
                <a:lnTo>
                  <a:pt x="8238" y="3690"/>
                </a:lnTo>
                <a:lnTo>
                  <a:pt x="8248" y="3696"/>
                </a:lnTo>
                <a:lnTo>
                  <a:pt x="8254" y="3700"/>
                </a:lnTo>
                <a:lnTo>
                  <a:pt x="8262" y="3708"/>
                </a:lnTo>
                <a:lnTo>
                  <a:pt x="8270" y="3712"/>
                </a:lnTo>
                <a:lnTo>
                  <a:pt x="8276" y="3714"/>
                </a:lnTo>
                <a:lnTo>
                  <a:pt x="8282" y="3714"/>
                </a:lnTo>
                <a:lnTo>
                  <a:pt x="8292" y="3714"/>
                </a:lnTo>
                <a:lnTo>
                  <a:pt x="8298" y="3716"/>
                </a:lnTo>
                <a:lnTo>
                  <a:pt x="8302" y="3720"/>
                </a:lnTo>
                <a:lnTo>
                  <a:pt x="8308" y="3724"/>
                </a:lnTo>
                <a:lnTo>
                  <a:pt x="8312" y="3726"/>
                </a:lnTo>
                <a:lnTo>
                  <a:pt x="8316" y="3724"/>
                </a:lnTo>
                <a:lnTo>
                  <a:pt x="8322" y="3722"/>
                </a:lnTo>
                <a:lnTo>
                  <a:pt x="8330" y="3714"/>
                </a:lnTo>
                <a:lnTo>
                  <a:pt x="8334" y="3712"/>
                </a:lnTo>
                <a:lnTo>
                  <a:pt x="8340" y="3712"/>
                </a:lnTo>
                <a:lnTo>
                  <a:pt x="8346" y="3710"/>
                </a:lnTo>
                <a:lnTo>
                  <a:pt x="8348" y="3706"/>
                </a:lnTo>
                <a:lnTo>
                  <a:pt x="8350" y="3702"/>
                </a:lnTo>
                <a:lnTo>
                  <a:pt x="8352" y="3702"/>
                </a:lnTo>
                <a:lnTo>
                  <a:pt x="8356" y="3700"/>
                </a:lnTo>
                <a:lnTo>
                  <a:pt x="8360" y="3700"/>
                </a:lnTo>
                <a:lnTo>
                  <a:pt x="8364" y="3698"/>
                </a:lnTo>
                <a:lnTo>
                  <a:pt x="8368" y="3692"/>
                </a:lnTo>
                <a:lnTo>
                  <a:pt x="8372" y="3690"/>
                </a:lnTo>
                <a:lnTo>
                  <a:pt x="8376" y="3690"/>
                </a:lnTo>
                <a:lnTo>
                  <a:pt x="8382" y="3690"/>
                </a:lnTo>
                <a:lnTo>
                  <a:pt x="8388" y="3690"/>
                </a:lnTo>
                <a:lnTo>
                  <a:pt x="8396" y="3694"/>
                </a:lnTo>
                <a:lnTo>
                  <a:pt x="8402" y="3702"/>
                </a:lnTo>
                <a:lnTo>
                  <a:pt x="8406" y="3712"/>
                </a:lnTo>
                <a:lnTo>
                  <a:pt x="8408" y="3722"/>
                </a:lnTo>
                <a:lnTo>
                  <a:pt x="8412" y="3742"/>
                </a:lnTo>
                <a:lnTo>
                  <a:pt x="8414" y="3758"/>
                </a:lnTo>
                <a:lnTo>
                  <a:pt x="8418" y="3762"/>
                </a:lnTo>
                <a:lnTo>
                  <a:pt x="8420" y="3764"/>
                </a:lnTo>
                <a:lnTo>
                  <a:pt x="8430" y="3766"/>
                </a:lnTo>
                <a:lnTo>
                  <a:pt x="8438" y="3768"/>
                </a:lnTo>
                <a:lnTo>
                  <a:pt x="8444" y="3770"/>
                </a:lnTo>
                <a:lnTo>
                  <a:pt x="8446" y="3772"/>
                </a:lnTo>
                <a:lnTo>
                  <a:pt x="8450" y="3774"/>
                </a:lnTo>
                <a:lnTo>
                  <a:pt x="8454" y="3774"/>
                </a:lnTo>
                <a:lnTo>
                  <a:pt x="8458" y="3772"/>
                </a:lnTo>
                <a:lnTo>
                  <a:pt x="8468" y="3772"/>
                </a:lnTo>
                <a:lnTo>
                  <a:pt x="8474" y="3774"/>
                </a:lnTo>
                <a:lnTo>
                  <a:pt x="8478" y="3776"/>
                </a:lnTo>
                <a:lnTo>
                  <a:pt x="8484" y="3780"/>
                </a:lnTo>
                <a:lnTo>
                  <a:pt x="8490" y="3782"/>
                </a:lnTo>
                <a:lnTo>
                  <a:pt x="8492" y="3782"/>
                </a:lnTo>
                <a:lnTo>
                  <a:pt x="8496" y="3782"/>
                </a:lnTo>
                <a:lnTo>
                  <a:pt x="8502" y="3780"/>
                </a:lnTo>
                <a:lnTo>
                  <a:pt x="8508" y="3780"/>
                </a:lnTo>
                <a:lnTo>
                  <a:pt x="8524" y="3784"/>
                </a:lnTo>
                <a:lnTo>
                  <a:pt x="8538" y="3788"/>
                </a:lnTo>
                <a:lnTo>
                  <a:pt x="8542" y="3788"/>
                </a:lnTo>
                <a:lnTo>
                  <a:pt x="8542" y="3786"/>
                </a:lnTo>
                <a:lnTo>
                  <a:pt x="8542" y="3782"/>
                </a:lnTo>
                <a:lnTo>
                  <a:pt x="8544" y="3780"/>
                </a:lnTo>
                <a:lnTo>
                  <a:pt x="8546" y="3780"/>
                </a:lnTo>
                <a:lnTo>
                  <a:pt x="8550" y="3786"/>
                </a:lnTo>
                <a:lnTo>
                  <a:pt x="8554" y="3790"/>
                </a:lnTo>
                <a:lnTo>
                  <a:pt x="8560" y="3792"/>
                </a:lnTo>
                <a:lnTo>
                  <a:pt x="8568" y="3792"/>
                </a:lnTo>
                <a:lnTo>
                  <a:pt x="8578" y="3796"/>
                </a:lnTo>
                <a:lnTo>
                  <a:pt x="8582" y="3798"/>
                </a:lnTo>
                <a:lnTo>
                  <a:pt x="8584" y="3798"/>
                </a:lnTo>
                <a:lnTo>
                  <a:pt x="8586" y="3796"/>
                </a:lnTo>
                <a:lnTo>
                  <a:pt x="8586" y="3792"/>
                </a:lnTo>
                <a:lnTo>
                  <a:pt x="8588" y="3790"/>
                </a:lnTo>
                <a:lnTo>
                  <a:pt x="8590" y="3790"/>
                </a:lnTo>
                <a:lnTo>
                  <a:pt x="8594" y="3798"/>
                </a:lnTo>
                <a:lnTo>
                  <a:pt x="8598" y="3800"/>
                </a:lnTo>
                <a:lnTo>
                  <a:pt x="8602" y="3800"/>
                </a:lnTo>
                <a:lnTo>
                  <a:pt x="8604" y="3798"/>
                </a:lnTo>
                <a:lnTo>
                  <a:pt x="8612" y="3794"/>
                </a:lnTo>
                <a:lnTo>
                  <a:pt x="8616" y="3792"/>
                </a:lnTo>
                <a:lnTo>
                  <a:pt x="8618" y="3792"/>
                </a:lnTo>
                <a:lnTo>
                  <a:pt x="8620" y="3794"/>
                </a:lnTo>
                <a:lnTo>
                  <a:pt x="8622" y="3794"/>
                </a:lnTo>
                <a:lnTo>
                  <a:pt x="8626" y="3790"/>
                </a:lnTo>
                <a:lnTo>
                  <a:pt x="8628" y="3788"/>
                </a:lnTo>
                <a:lnTo>
                  <a:pt x="8634" y="3788"/>
                </a:lnTo>
                <a:lnTo>
                  <a:pt x="8640" y="3788"/>
                </a:lnTo>
                <a:lnTo>
                  <a:pt x="8650" y="3790"/>
                </a:lnTo>
                <a:lnTo>
                  <a:pt x="8658" y="3792"/>
                </a:lnTo>
                <a:lnTo>
                  <a:pt x="8664" y="3794"/>
                </a:lnTo>
                <a:lnTo>
                  <a:pt x="8666" y="3792"/>
                </a:lnTo>
                <a:lnTo>
                  <a:pt x="8666" y="3790"/>
                </a:lnTo>
                <a:lnTo>
                  <a:pt x="8668" y="3788"/>
                </a:lnTo>
                <a:lnTo>
                  <a:pt x="8670" y="3786"/>
                </a:lnTo>
                <a:lnTo>
                  <a:pt x="8674" y="3786"/>
                </a:lnTo>
                <a:lnTo>
                  <a:pt x="8682" y="3786"/>
                </a:lnTo>
                <a:lnTo>
                  <a:pt x="8698" y="3790"/>
                </a:lnTo>
                <a:lnTo>
                  <a:pt x="8708" y="3792"/>
                </a:lnTo>
                <a:lnTo>
                  <a:pt x="8712" y="3794"/>
                </a:lnTo>
                <a:lnTo>
                  <a:pt x="8716" y="3790"/>
                </a:lnTo>
                <a:lnTo>
                  <a:pt x="8720" y="3788"/>
                </a:lnTo>
                <a:lnTo>
                  <a:pt x="8728" y="3786"/>
                </a:lnTo>
                <a:lnTo>
                  <a:pt x="8754" y="3782"/>
                </a:lnTo>
                <a:lnTo>
                  <a:pt x="8780" y="3782"/>
                </a:lnTo>
                <a:lnTo>
                  <a:pt x="8788" y="3784"/>
                </a:lnTo>
                <a:lnTo>
                  <a:pt x="8792" y="3786"/>
                </a:lnTo>
                <a:lnTo>
                  <a:pt x="8792" y="3788"/>
                </a:lnTo>
                <a:lnTo>
                  <a:pt x="8794" y="3798"/>
                </a:lnTo>
                <a:lnTo>
                  <a:pt x="8792" y="3804"/>
                </a:lnTo>
                <a:lnTo>
                  <a:pt x="8794" y="3808"/>
                </a:lnTo>
                <a:lnTo>
                  <a:pt x="8796" y="3810"/>
                </a:lnTo>
                <a:lnTo>
                  <a:pt x="8804" y="3812"/>
                </a:lnTo>
                <a:lnTo>
                  <a:pt x="8810" y="3812"/>
                </a:lnTo>
                <a:lnTo>
                  <a:pt x="8812" y="3814"/>
                </a:lnTo>
                <a:lnTo>
                  <a:pt x="8814" y="3816"/>
                </a:lnTo>
                <a:lnTo>
                  <a:pt x="8814" y="3820"/>
                </a:lnTo>
                <a:lnTo>
                  <a:pt x="8814" y="3826"/>
                </a:lnTo>
                <a:lnTo>
                  <a:pt x="8814" y="3830"/>
                </a:lnTo>
                <a:lnTo>
                  <a:pt x="8816" y="3832"/>
                </a:lnTo>
                <a:lnTo>
                  <a:pt x="8820" y="3838"/>
                </a:lnTo>
                <a:lnTo>
                  <a:pt x="8820" y="3842"/>
                </a:lnTo>
                <a:lnTo>
                  <a:pt x="8820" y="3846"/>
                </a:lnTo>
                <a:lnTo>
                  <a:pt x="8822" y="3850"/>
                </a:lnTo>
                <a:lnTo>
                  <a:pt x="8826" y="3854"/>
                </a:lnTo>
                <a:lnTo>
                  <a:pt x="8824" y="3856"/>
                </a:lnTo>
                <a:lnTo>
                  <a:pt x="8824" y="3858"/>
                </a:lnTo>
                <a:lnTo>
                  <a:pt x="8828" y="3862"/>
                </a:lnTo>
                <a:lnTo>
                  <a:pt x="8832" y="3864"/>
                </a:lnTo>
                <a:lnTo>
                  <a:pt x="8834" y="3864"/>
                </a:lnTo>
                <a:lnTo>
                  <a:pt x="8838" y="3862"/>
                </a:lnTo>
                <a:lnTo>
                  <a:pt x="8840" y="3862"/>
                </a:lnTo>
                <a:lnTo>
                  <a:pt x="8844" y="3862"/>
                </a:lnTo>
                <a:lnTo>
                  <a:pt x="8846" y="3864"/>
                </a:lnTo>
                <a:lnTo>
                  <a:pt x="8852" y="3870"/>
                </a:lnTo>
                <a:lnTo>
                  <a:pt x="8856" y="3874"/>
                </a:lnTo>
                <a:lnTo>
                  <a:pt x="8860" y="3876"/>
                </a:lnTo>
                <a:lnTo>
                  <a:pt x="8864" y="3880"/>
                </a:lnTo>
                <a:lnTo>
                  <a:pt x="8870" y="3888"/>
                </a:lnTo>
                <a:lnTo>
                  <a:pt x="8874" y="3896"/>
                </a:lnTo>
                <a:lnTo>
                  <a:pt x="8880" y="3902"/>
                </a:lnTo>
                <a:lnTo>
                  <a:pt x="8888" y="3908"/>
                </a:lnTo>
                <a:lnTo>
                  <a:pt x="8896" y="3912"/>
                </a:lnTo>
                <a:lnTo>
                  <a:pt x="8904" y="3914"/>
                </a:lnTo>
                <a:lnTo>
                  <a:pt x="8912" y="3916"/>
                </a:lnTo>
                <a:lnTo>
                  <a:pt x="8920" y="3914"/>
                </a:lnTo>
                <a:lnTo>
                  <a:pt x="8926" y="3910"/>
                </a:lnTo>
                <a:lnTo>
                  <a:pt x="8932" y="3908"/>
                </a:lnTo>
                <a:lnTo>
                  <a:pt x="8936" y="3908"/>
                </a:lnTo>
                <a:lnTo>
                  <a:pt x="8940" y="3910"/>
                </a:lnTo>
                <a:lnTo>
                  <a:pt x="8940" y="3914"/>
                </a:lnTo>
                <a:lnTo>
                  <a:pt x="8940" y="3920"/>
                </a:lnTo>
                <a:lnTo>
                  <a:pt x="8934" y="3926"/>
                </a:lnTo>
                <a:lnTo>
                  <a:pt x="8928" y="3930"/>
                </a:lnTo>
                <a:lnTo>
                  <a:pt x="8916" y="3934"/>
                </a:lnTo>
                <a:lnTo>
                  <a:pt x="8904" y="3934"/>
                </a:lnTo>
                <a:lnTo>
                  <a:pt x="8894" y="3934"/>
                </a:lnTo>
                <a:lnTo>
                  <a:pt x="8880" y="3932"/>
                </a:lnTo>
                <a:lnTo>
                  <a:pt x="8880" y="3934"/>
                </a:lnTo>
                <a:lnTo>
                  <a:pt x="8884" y="3940"/>
                </a:lnTo>
                <a:lnTo>
                  <a:pt x="8908" y="3970"/>
                </a:lnTo>
                <a:lnTo>
                  <a:pt x="8938" y="4004"/>
                </a:lnTo>
                <a:lnTo>
                  <a:pt x="8948" y="4014"/>
                </a:lnTo>
                <a:lnTo>
                  <a:pt x="8958" y="4020"/>
                </a:lnTo>
                <a:lnTo>
                  <a:pt x="8968" y="4020"/>
                </a:lnTo>
                <a:lnTo>
                  <a:pt x="8978" y="4018"/>
                </a:lnTo>
                <a:lnTo>
                  <a:pt x="8990" y="4010"/>
                </a:lnTo>
                <a:lnTo>
                  <a:pt x="9006" y="3998"/>
                </a:lnTo>
                <a:lnTo>
                  <a:pt x="9012" y="3990"/>
                </a:lnTo>
                <a:lnTo>
                  <a:pt x="9016" y="3980"/>
                </a:lnTo>
                <a:lnTo>
                  <a:pt x="9016" y="3972"/>
                </a:lnTo>
                <a:lnTo>
                  <a:pt x="9016" y="3964"/>
                </a:lnTo>
                <a:lnTo>
                  <a:pt x="9016" y="3956"/>
                </a:lnTo>
                <a:lnTo>
                  <a:pt x="9018" y="3950"/>
                </a:lnTo>
                <a:lnTo>
                  <a:pt x="9020" y="3944"/>
                </a:lnTo>
                <a:lnTo>
                  <a:pt x="9026" y="3940"/>
                </a:lnTo>
                <a:lnTo>
                  <a:pt x="9034" y="3940"/>
                </a:lnTo>
                <a:lnTo>
                  <a:pt x="9036" y="3940"/>
                </a:lnTo>
                <a:lnTo>
                  <a:pt x="9036" y="3942"/>
                </a:lnTo>
                <a:lnTo>
                  <a:pt x="9034" y="3944"/>
                </a:lnTo>
                <a:lnTo>
                  <a:pt x="9030" y="3954"/>
                </a:lnTo>
                <a:lnTo>
                  <a:pt x="9030" y="3958"/>
                </a:lnTo>
                <a:lnTo>
                  <a:pt x="9032" y="3964"/>
                </a:lnTo>
                <a:lnTo>
                  <a:pt x="9034" y="3968"/>
                </a:lnTo>
                <a:lnTo>
                  <a:pt x="9034" y="3972"/>
                </a:lnTo>
                <a:lnTo>
                  <a:pt x="9032" y="3978"/>
                </a:lnTo>
                <a:lnTo>
                  <a:pt x="9032" y="3982"/>
                </a:lnTo>
                <a:lnTo>
                  <a:pt x="9032" y="3988"/>
                </a:lnTo>
                <a:lnTo>
                  <a:pt x="9034" y="3994"/>
                </a:lnTo>
                <a:lnTo>
                  <a:pt x="9038" y="4004"/>
                </a:lnTo>
                <a:lnTo>
                  <a:pt x="9042" y="4014"/>
                </a:lnTo>
                <a:lnTo>
                  <a:pt x="9042" y="4022"/>
                </a:lnTo>
                <a:lnTo>
                  <a:pt x="9040" y="4038"/>
                </a:lnTo>
                <a:lnTo>
                  <a:pt x="9038" y="4048"/>
                </a:lnTo>
                <a:lnTo>
                  <a:pt x="9036" y="4062"/>
                </a:lnTo>
                <a:lnTo>
                  <a:pt x="9036" y="4084"/>
                </a:lnTo>
                <a:lnTo>
                  <a:pt x="9040" y="4112"/>
                </a:lnTo>
                <a:lnTo>
                  <a:pt x="9058" y="4210"/>
                </a:lnTo>
                <a:lnTo>
                  <a:pt x="9064" y="4240"/>
                </a:lnTo>
                <a:lnTo>
                  <a:pt x="9072" y="4260"/>
                </a:lnTo>
                <a:lnTo>
                  <a:pt x="9082" y="4284"/>
                </a:lnTo>
                <a:lnTo>
                  <a:pt x="9098" y="4320"/>
                </a:lnTo>
                <a:lnTo>
                  <a:pt x="9112" y="4364"/>
                </a:lnTo>
                <a:lnTo>
                  <a:pt x="9118" y="4384"/>
                </a:lnTo>
                <a:lnTo>
                  <a:pt x="9122" y="4404"/>
                </a:lnTo>
                <a:lnTo>
                  <a:pt x="9124" y="4418"/>
                </a:lnTo>
                <a:lnTo>
                  <a:pt x="9130" y="4432"/>
                </a:lnTo>
                <a:lnTo>
                  <a:pt x="9142" y="4454"/>
                </a:lnTo>
                <a:lnTo>
                  <a:pt x="9150" y="4468"/>
                </a:lnTo>
                <a:lnTo>
                  <a:pt x="9158" y="4484"/>
                </a:lnTo>
                <a:lnTo>
                  <a:pt x="9164" y="4504"/>
                </a:lnTo>
                <a:lnTo>
                  <a:pt x="9170" y="4530"/>
                </a:lnTo>
                <a:lnTo>
                  <a:pt x="9178" y="4558"/>
                </a:lnTo>
                <a:lnTo>
                  <a:pt x="9186" y="4582"/>
                </a:lnTo>
                <a:lnTo>
                  <a:pt x="9194" y="4604"/>
                </a:lnTo>
                <a:lnTo>
                  <a:pt x="9202" y="4622"/>
                </a:lnTo>
                <a:lnTo>
                  <a:pt x="9212" y="4636"/>
                </a:lnTo>
                <a:lnTo>
                  <a:pt x="9218" y="4640"/>
                </a:lnTo>
                <a:lnTo>
                  <a:pt x="9222" y="4644"/>
                </a:lnTo>
                <a:lnTo>
                  <a:pt x="9228" y="4646"/>
                </a:lnTo>
                <a:lnTo>
                  <a:pt x="9232" y="4646"/>
                </a:lnTo>
                <a:lnTo>
                  <a:pt x="9238" y="4644"/>
                </a:lnTo>
                <a:lnTo>
                  <a:pt x="9242" y="4640"/>
                </a:lnTo>
                <a:lnTo>
                  <a:pt x="9250" y="4630"/>
                </a:lnTo>
                <a:lnTo>
                  <a:pt x="9254" y="4624"/>
                </a:lnTo>
                <a:lnTo>
                  <a:pt x="9256" y="4616"/>
                </a:lnTo>
                <a:lnTo>
                  <a:pt x="9256" y="4610"/>
                </a:lnTo>
                <a:lnTo>
                  <a:pt x="9258" y="4604"/>
                </a:lnTo>
                <a:lnTo>
                  <a:pt x="9260" y="4600"/>
                </a:lnTo>
                <a:lnTo>
                  <a:pt x="9264" y="4596"/>
                </a:lnTo>
                <a:lnTo>
                  <a:pt x="9272" y="4592"/>
                </a:lnTo>
                <a:lnTo>
                  <a:pt x="9290" y="4590"/>
                </a:lnTo>
                <a:lnTo>
                  <a:pt x="9300" y="4590"/>
                </a:lnTo>
                <a:lnTo>
                  <a:pt x="9306" y="4590"/>
                </a:lnTo>
                <a:lnTo>
                  <a:pt x="9308" y="4590"/>
                </a:lnTo>
                <a:lnTo>
                  <a:pt x="9308" y="4588"/>
                </a:lnTo>
                <a:lnTo>
                  <a:pt x="9308" y="4586"/>
                </a:lnTo>
                <a:lnTo>
                  <a:pt x="9304" y="4584"/>
                </a:lnTo>
                <a:lnTo>
                  <a:pt x="9296" y="4582"/>
                </a:lnTo>
                <a:lnTo>
                  <a:pt x="9292" y="4578"/>
                </a:lnTo>
                <a:lnTo>
                  <a:pt x="9290" y="4574"/>
                </a:lnTo>
                <a:lnTo>
                  <a:pt x="9290" y="4570"/>
                </a:lnTo>
                <a:lnTo>
                  <a:pt x="9294" y="4562"/>
                </a:lnTo>
                <a:lnTo>
                  <a:pt x="9300" y="4554"/>
                </a:lnTo>
                <a:lnTo>
                  <a:pt x="9302" y="4548"/>
                </a:lnTo>
                <a:lnTo>
                  <a:pt x="9302" y="4540"/>
                </a:lnTo>
                <a:lnTo>
                  <a:pt x="9304" y="4538"/>
                </a:lnTo>
                <a:lnTo>
                  <a:pt x="9316" y="4538"/>
                </a:lnTo>
                <a:lnTo>
                  <a:pt x="9324" y="4536"/>
                </a:lnTo>
                <a:lnTo>
                  <a:pt x="9326" y="4534"/>
                </a:lnTo>
                <a:lnTo>
                  <a:pt x="9326" y="4530"/>
                </a:lnTo>
                <a:lnTo>
                  <a:pt x="9326" y="4522"/>
                </a:lnTo>
                <a:lnTo>
                  <a:pt x="9324" y="4512"/>
                </a:lnTo>
                <a:lnTo>
                  <a:pt x="9322" y="4498"/>
                </a:lnTo>
                <a:lnTo>
                  <a:pt x="9322" y="4482"/>
                </a:lnTo>
                <a:lnTo>
                  <a:pt x="9322" y="4464"/>
                </a:lnTo>
                <a:lnTo>
                  <a:pt x="9328" y="4446"/>
                </a:lnTo>
                <a:lnTo>
                  <a:pt x="9336" y="4424"/>
                </a:lnTo>
                <a:lnTo>
                  <a:pt x="9342" y="4406"/>
                </a:lnTo>
                <a:lnTo>
                  <a:pt x="9344" y="4396"/>
                </a:lnTo>
                <a:lnTo>
                  <a:pt x="9344" y="4384"/>
                </a:lnTo>
                <a:lnTo>
                  <a:pt x="9342" y="4370"/>
                </a:lnTo>
                <a:lnTo>
                  <a:pt x="9338" y="4354"/>
                </a:lnTo>
                <a:lnTo>
                  <a:pt x="9336" y="4342"/>
                </a:lnTo>
                <a:lnTo>
                  <a:pt x="9338" y="4336"/>
                </a:lnTo>
                <a:lnTo>
                  <a:pt x="9338" y="4328"/>
                </a:lnTo>
                <a:lnTo>
                  <a:pt x="9334" y="4308"/>
                </a:lnTo>
                <a:lnTo>
                  <a:pt x="9332" y="4296"/>
                </a:lnTo>
                <a:lnTo>
                  <a:pt x="9330" y="4288"/>
                </a:lnTo>
                <a:lnTo>
                  <a:pt x="9332" y="4282"/>
                </a:lnTo>
                <a:lnTo>
                  <a:pt x="9334" y="4276"/>
                </a:lnTo>
                <a:lnTo>
                  <a:pt x="9336" y="4272"/>
                </a:lnTo>
                <a:lnTo>
                  <a:pt x="9340" y="4270"/>
                </a:lnTo>
                <a:lnTo>
                  <a:pt x="9348" y="4266"/>
                </a:lnTo>
                <a:lnTo>
                  <a:pt x="9358" y="4264"/>
                </a:lnTo>
                <a:lnTo>
                  <a:pt x="9368" y="4262"/>
                </a:lnTo>
                <a:lnTo>
                  <a:pt x="9376" y="4258"/>
                </a:lnTo>
                <a:lnTo>
                  <a:pt x="9378" y="4254"/>
                </a:lnTo>
                <a:lnTo>
                  <a:pt x="9380" y="4248"/>
                </a:lnTo>
                <a:lnTo>
                  <a:pt x="9382" y="4240"/>
                </a:lnTo>
                <a:lnTo>
                  <a:pt x="9384" y="4236"/>
                </a:lnTo>
                <a:lnTo>
                  <a:pt x="9386" y="4236"/>
                </a:lnTo>
                <a:lnTo>
                  <a:pt x="9390" y="4238"/>
                </a:lnTo>
                <a:lnTo>
                  <a:pt x="9396" y="4240"/>
                </a:lnTo>
                <a:lnTo>
                  <a:pt x="9402" y="4242"/>
                </a:lnTo>
                <a:lnTo>
                  <a:pt x="9408" y="4240"/>
                </a:lnTo>
                <a:lnTo>
                  <a:pt x="9418" y="4232"/>
                </a:lnTo>
                <a:lnTo>
                  <a:pt x="9424" y="4224"/>
                </a:lnTo>
                <a:lnTo>
                  <a:pt x="9426" y="4218"/>
                </a:lnTo>
                <a:lnTo>
                  <a:pt x="9426" y="4216"/>
                </a:lnTo>
                <a:lnTo>
                  <a:pt x="9426" y="4214"/>
                </a:lnTo>
                <a:lnTo>
                  <a:pt x="9426" y="4210"/>
                </a:lnTo>
                <a:lnTo>
                  <a:pt x="9430" y="4204"/>
                </a:lnTo>
                <a:lnTo>
                  <a:pt x="9440" y="4196"/>
                </a:lnTo>
                <a:lnTo>
                  <a:pt x="9454" y="4182"/>
                </a:lnTo>
                <a:lnTo>
                  <a:pt x="9472" y="4166"/>
                </a:lnTo>
                <a:lnTo>
                  <a:pt x="9488" y="4148"/>
                </a:lnTo>
                <a:lnTo>
                  <a:pt x="9512" y="4118"/>
                </a:lnTo>
                <a:lnTo>
                  <a:pt x="9532" y="4090"/>
                </a:lnTo>
                <a:lnTo>
                  <a:pt x="9542" y="4080"/>
                </a:lnTo>
                <a:lnTo>
                  <a:pt x="9554" y="4070"/>
                </a:lnTo>
                <a:lnTo>
                  <a:pt x="9562" y="4066"/>
                </a:lnTo>
                <a:lnTo>
                  <a:pt x="9568" y="4064"/>
                </a:lnTo>
                <a:lnTo>
                  <a:pt x="9576" y="4064"/>
                </a:lnTo>
                <a:lnTo>
                  <a:pt x="9580" y="4062"/>
                </a:lnTo>
                <a:lnTo>
                  <a:pt x="9586" y="4060"/>
                </a:lnTo>
                <a:lnTo>
                  <a:pt x="9592" y="4052"/>
                </a:lnTo>
                <a:lnTo>
                  <a:pt x="9602" y="4040"/>
                </a:lnTo>
                <a:lnTo>
                  <a:pt x="9610" y="4026"/>
                </a:lnTo>
                <a:lnTo>
                  <a:pt x="9612" y="4016"/>
                </a:lnTo>
                <a:lnTo>
                  <a:pt x="9612" y="4008"/>
                </a:lnTo>
                <a:lnTo>
                  <a:pt x="9610" y="4000"/>
                </a:lnTo>
                <a:lnTo>
                  <a:pt x="9608" y="3994"/>
                </a:lnTo>
                <a:lnTo>
                  <a:pt x="9608" y="3988"/>
                </a:lnTo>
                <a:lnTo>
                  <a:pt x="9614" y="3984"/>
                </a:lnTo>
                <a:lnTo>
                  <a:pt x="9624" y="3978"/>
                </a:lnTo>
                <a:lnTo>
                  <a:pt x="9636" y="3972"/>
                </a:lnTo>
                <a:lnTo>
                  <a:pt x="9646" y="3966"/>
                </a:lnTo>
                <a:lnTo>
                  <a:pt x="9656" y="3958"/>
                </a:lnTo>
                <a:lnTo>
                  <a:pt x="9658" y="3956"/>
                </a:lnTo>
                <a:lnTo>
                  <a:pt x="9660" y="3956"/>
                </a:lnTo>
                <a:lnTo>
                  <a:pt x="9662" y="3966"/>
                </a:lnTo>
                <a:lnTo>
                  <a:pt x="9664" y="3972"/>
                </a:lnTo>
                <a:lnTo>
                  <a:pt x="9666" y="3976"/>
                </a:lnTo>
                <a:lnTo>
                  <a:pt x="9668" y="3976"/>
                </a:lnTo>
                <a:lnTo>
                  <a:pt x="9672" y="3976"/>
                </a:lnTo>
                <a:lnTo>
                  <a:pt x="9678" y="3974"/>
                </a:lnTo>
                <a:lnTo>
                  <a:pt x="9682" y="3972"/>
                </a:lnTo>
                <a:lnTo>
                  <a:pt x="9686" y="3974"/>
                </a:lnTo>
                <a:lnTo>
                  <a:pt x="9694" y="3976"/>
                </a:lnTo>
                <a:lnTo>
                  <a:pt x="9696" y="3976"/>
                </a:lnTo>
                <a:lnTo>
                  <a:pt x="9698" y="3972"/>
                </a:lnTo>
                <a:lnTo>
                  <a:pt x="9696" y="3966"/>
                </a:lnTo>
                <a:lnTo>
                  <a:pt x="9694" y="3960"/>
                </a:lnTo>
                <a:lnTo>
                  <a:pt x="9694" y="3958"/>
                </a:lnTo>
                <a:lnTo>
                  <a:pt x="9698" y="3956"/>
                </a:lnTo>
                <a:lnTo>
                  <a:pt x="9700" y="3962"/>
                </a:lnTo>
                <a:lnTo>
                  <a:pt x="9704" y="3964"/>
                </a:lnTo>
                <a:lnTo>
                  <a:pt x="9706" y="3966"/>
                </a:lnTo>
                <a:lnTo>
                  <a:pt x="9708" y="3966"/>
                </a:lnTo>
                <a:lnTo>
                  <a:pt x="9714" y="3964"/>
                </a:lnTo>
                <a:lnTo>
                  <a:pt x="9716" y="3966"/>
                </a:lnTo>
                <a:lnTo>
                  <a:pt x="9716" y="3968"/>
                </a:lnTo>
                <a:lnTo>
                  <a:pt x="9718" y="3970"/>
                </a:lnTo>
                <a:lnTo>
                  <a:pt x="9720" y="3970"/>
                </a:lnTo>
                <a:lnTo>
                  <a:pt x="9726" y="3964"/>
                </a:lnTo>
                <a:lnTo>
                  <a:pt x="9730" y="3958"/>
                </a:lnTo>
                <a:lnTo>
                  <a:pt x="9734" y="3958"/>
                </a:lnTo>
                <a:lnTo>
                  <a:pt x="9736" y="3962"/>
                </a:lnTo>
                <a:lnTo>
                  <a:pt x="9740" y="3964"/>
                </a:lnTo>
                <a:lnTo>
                  <a:pt x="9744" y="3964"/>
                </a:lnTo>
                <a:lnTo>
                  <a:pt x="9748" y="3960"/>
                </a:lnTo>
                <a:lnTo>
                  <a:pt x="9752" y="3954"/>
                </a:lnTo>
                <a:lnTo>
                  <a:pt x="9754" y="3948"/>
                </a:lnTo>
                <a:lnTo>
                  <a:pt x="9756" y="3940"/>
                </a:lnTo>
                <a:lnTo>
                  <a:pt x="9756" y="3932"/>
                </a:lnTo>
                <a:lnTo>
                  <a:pt x="9756" y="3926"/>
                </a:lnTo>
                <a:lnTo>
                  <a:pt x="9752" y="3916"/>
                </a:lnTo>
                <a:lnTo>
                  <a:pt x="9754" y="3906"/>
                </a:lnTo>
                <a:lnTo>
                  <a:pt x="9754" y="3898"/>
                </a:lnTo>
                <a:lnTo>
                  <a:pt x="9754" y="3890"/>
                </a:lnTo>
                <a:lnTo>
                  <a:pt x="9752" y="3884"/>
                </a:lnTo>
                <a:lnTo>
                  <a:pt x="9754" y="3884"/>
                </a:lnTo>
                <a:lnTo>
                  <a:pt x="9756" y="3878"/>
                </a:lnTo>
                <a:lnTo>
                  <a:pt x="9758" y="3876"/>
                </a:lnTo>
                <a:lnTo>
                  <a:pt x="9760" y="3876"/>
                </a:lnTo>
                <a:lnTo>
                  <a:pt x="9762" y="3884"/>
                </a:lnTo>
                <a:lnTo>
                  <a:pt x="9764" y="3910"/>
                </a:lnTo>
                <a:lnTo>
                  <a:pt x="9768" y="3920"/>
                </a:lnTo>
                <a:lnTo>
                  <a:pt x="9770" y="3924"/>
                </a:lnTo>
                <a:lnTo>
                  <a:pt x="9772" y="3926"/>
                </a:lnTo>
                <a:lnTo>
                  <a:pt x="9776" y="3926"/>
                </a:lnTo>
                <a:lnTo>
                  <a:pt x="9780" y="3926"/>
                </a:lnTo>
                <a:lnTo>
                  <a:pt x="9786" y="3920"/>
                </a:lnTo>
                <a:lnTo>
                  <a:pt x="9788" y="3918"/>
                </a:lnTo>
                <a:lnTo>
                  <a:pt x="9792" y="3918"/>
                </a:lnTo>
                <a:lnTo>
                  <a:pt x="9794" y="3920"/>
                </a:lnTo>
                <a:lnTo>
                  <a:pt x="9798" y="3924"/>
                </a:lnTo>
                <a:lnTo>
                  <a:pt x="9804" y="3938"/>
                </a:lnTo>
                <a:lnTo>
                  <a:pt x="9812" y="3958"/>
                </a:lnTo>
                <a:lnTo>
                  <a:pt x="9814" y="3968"/>
                </a:lnTo>
                <a:lnTo>
                  <a:pt x="9816" y="3972"/>
                </a:lnTo>
                <a:lnTo>
                  <a:pt x="9818" y="3974"/>
                </a:lnTo>
                <a:lnTo>
                  <a:pt x="9816" y="3978"/>
                </a:lnTo>
                <a:lnTo>
                  <a:pt x="9814" y="3986"/>
                </a:lnTo>
                <a:lnTo>
                  <a:pt x="9814" y="3992"/>
                </a:lnTo>
                <a:lnTo>
                  <a:pt x="9820" y="4004"/>
                </a:lnTo>
                <a:lnTo>
                  <a:pt x="9824" y="4012"/>
                </a:lnTo>
                <a:lnTo>
                  <a:pt x="9824" y="4010"/>
                </a:lnTo>
                <a:lnTo>
                  <a:pt x="9824" y="4000"/>
                </a:lnTo>
                <a:lnTo>
                  <a:pt x="9826" y="4006"/>
                </a:lnTo>
                <a:lnTo>
                  <a:pt x="9830" y="4016"/>
                </a:lnTo>
                <a:lnTo>
                  <a:pt x="9834" y="4026"/>
                </a:lnTo>
                <a:lnTo>
                  <a:pt x="9840" y="4038"/>
                </a:lnTo>
                <a:lnTo>
                  <a:pt x="9858" y="4062"/>
                </a:lnTo>
                <a:lnTo>
                  <a:pt x="9862" y="4064"/>
                </a:lnTo>
                <a:lnTo>
                  <a:pt x="9862" y="4058"/>
                </a:lnTo>
                <a:lnTo>
                  <a:pt x="9864" y="4054"/>
                </a:lnTo>
                <a:lnTo>
                  <a:pt x="9866" y="4052"/>
                </a:lnTo>
                <a:lnTo>
                  <a:pt x="9868" y="4052"/>
                </a:lnTo>
                <a:lnTo>
                  <a:pt x="9872" y="4054"/>
                </a:lnTo>
                <a:lnTo>
                  <a:pt x="9878" y="4060"/>
                </a:lnTo>
                <a:lnTo>
                  <a:pt x="9882" y="4068"/>
                </a:lnTo>
                <a:lnTo>
                  <a:pt x="9888" y="4076"/>
                </a:lnTo>
                <a:lnTo>
                  <a:pt x="9892" y="4080"/>
                </a:lnTo>
                <a:lnTo>
                  <a:pt x="9896" y="4086"/>
                </a:lnTo>
                <a:lnTo>
                  <a:pt x="9896" y="4088"/>
                </a:lnTo>
                <a:lnTo>
                  <a:pt x="9894" y="4090"/>
                </a:lnTo>
                <a:lnTo>
                  <a:pt x="9890" y="4092"/>
                </a:lnTo>
                <a:lnTo>
                  <a:pt x="9888" y="4092"/>
                </a:lnTo>
                <a:lnTo>
                  <a:pt x="9884" y="4088"/>
                </a:lnTo>
                <a:lnTo>
                  <a:pt x="9880" y="4086"/>
                </a:lnTo>
                <a:lnTo>
                  <a:pt x="9878" y="4086"/>
                </a:lnTo>
                <a:lnTo>
                  <a:pt x="9876" y="4086"/>
                </a:lnTo>
                <a:lnTo>
                  <a:pt x="9874" y="4090"/>
                </a:lnTo>
                <a:lnTo>
                  <a:pt x="9876" y="4094"/>
                </a:lnTo>
                <a:lnTo>
                  <a:pt x="9880" y="4104"/>
                </a:lnTo>
                <a:lnTo>
                  <a:pt x="9886" y="4110"/>
                </a:lnTo>
                <a:lnTo>
                  <a:pt x="9888" y="4112"/>
                </a:lnTo>
                <a:lnTo>
                  <a:pt x="9888" y="4110"/>
                </a:lnTo>
                <a:lnTo>
                  <a:pt x="9890" y="4104"/>
                </a:lnTo>
                <a:lnTo>
                  <a:pt x="9892" y="4098"/>
                </a:lnTo>
                <a:lnTo>
                  <a:pt x="9894" y="4098"/>
                </a:lnTo>
                <a:lnTo>
                  <a:pt x="9896" y="4100"/>
                </a:lnTo>
                <a:lnTo>
                  <a:pt x="9898" y="4110"/>
                </a:lnTo>
                <a:lnTo>
                  <a:pt x="9904" y="4128"/>
                </a:lnTo>
                <a:lnTo>
                  <a:pt x="9914" y="4150"/>
                </a:lnTo>
                <a:lnTo>
                  <a:pt x="9918" y="4160"/>
                </a:lnTo>
                <a:lnTo>
                  <a:pt x="9920" y="4170"/>
                </a:lnTo>
                <a:lnTo>
                  <a:pt x="9920" y="4182"/>
                </a:lnTo>
                <a:lnTo>
                  <a:pt x="9920" y="4192"/>
                </a:lnTo>
                <a:lnTo>
                  <a:pt x="9906" y="4234"/>
                </a:lnTo>
                <a:lnTo>
                  <a:pt x="9902" y="4250"/>
                </a:lnTo>
                <a:lnTo>
                  <a:pt x="9902" y="4256"/>
                </a:lnTo>
                <a:lnTo>
                  <a:pt x="9906" y="4258"/>
                </a:lnTo>
                <a:lnTo>
                  <a:pt x="9908" y="4258"/>
                </a:lnTo>
                <a:lnTo>
                  <a:pt x="9910" y="4256"/>
                </a:lnTo>
                <a:lnTo>
                  <a:pt x="9914" y="4250"/>
                </a:lnTo>
                <a:lnTo>
                  <a:pt x="9916" y="4242"/>
                </a:lnTo>
                <a:lnTo>
                  <a:pt x="9918" y="4242"/>
                </a:lnTo>
                <a:lnTo>
                  <a:pt x="9922" y="4240"/>
                </a:lnTo>
                <a:lnTo>
                  <a:pt x="9924" y="4242"/>
                </a:lnTo>
                <a:lnTo>
                  <a:pt x="9924" y="4244"/>
                </a:lnTo>
                <a:lnTo>
                  <a:pt x="9922" y="4248"/>
                </a:lnTo>
                <a:lnTo>
                  <a:pt x="9920" y="4252"/>
                </a:lnTo>
                <a:lnTo>
                  <a:pt x="9920" y="4256"/>
                </a:lnTo>
                <a:lnTo>
                  <a:pt x="9924" y="4260"/>
                </a:lnTo>
                <a:lnTo>
                  <a:pt x="9928" y="4262"/>
                </a:lnTo>
                <a:lnTo>
                  <a:pt x="9930" y="4264"/>
                </a:lnTo>
                <a:lnTo>
                  <a:pt x="9934" y="4262"/>
                </a:lnTo>
                <a:lnTo>
                  <a:pt x="9936" y="4260"/>
                </a:lnTo>
                <a:lnTo>
                  <a:pt x="9938" y="4260"/>
                </a:lnTo>
                <a:lnTo>
                  <a:pt x="9940" y="4262"/>
                </a:lnTo>
                <a:lnTo>
                  <a:pt x="9944" y="4264"/>
                </a:lnTo>
                <a:lnTo>
                  <a:pt x="9950" y="4268"/>
                </a:lnTo>
                <a:lnTo>
                  <a:pt x="9954" y="4268"/>
                </a:lnTo>
                <a:lnTo>
                  <a:pt x="9958" y="4264"/>
                </a:lnTo>
                <a:lnTo>
                  <a:pt x="9962" y="4260"/>
                </a:lnTo>
                <a:lnTo>
                  <a:pt x="9970" y="4246"/>
                </a:lnTo>
                <a:lnTo>
                  <a:pt x="9974" y="4242"/>
                </a:lnTo>
                <a:lnTo>
                  <a:pt x="9980" y="4238"/>
                </a:lnTo>
                <a:lnTo>
                  <a:pt x="9994" y="4232"/>
                </a:lnTo>
                <a:lnTo>
                  <a:pt x="10000" y="4228"/>
                </a:lnTo>
                <a:lnTo>
                  <a:pt x="10006" y="4222"/>
                </a:lnTo>
                <a:lnTo>
                  <a:pt x="10010" y="4216"/>
                </a:lnTo>
                <a:lnTo>
                  <a:pt x="10014" y="4208"/>
                </a:lnTo>
                <a:lnTo>
                  <a:pt x="10014" y="4198"/>
                </a:lnTo>
                <a:lnTo>
                  <a:pt x="10012" y="4184"/>
                </a:lnTo>
                <a:lnTo>
                  <a:pt x="10016" y="4190"/>
                </a:lnTo>
                <a:lnTo>
                  <a:pt x="10018" y="4192"/>
                </a:lnTo>
                <a:lnTo>
                  <a:pt x="10020" y="4196"/>
                </a:lnTo>
                <a:lnTo>
                  <a:pt x="10022" y="4200"/>
                </a:lnTo>
                <a:lnTo>
                  <a:pt x="10024" y="4204"/>
                </a:lnTo>
                <a:lnTo>
                  <a:pt x="10026" y="4208"/>
                </a:lnTo>
                <a:lnTo>
                  <a:pt x="10028" y="4218"/>
                </a:lnTo>
                <a:lnTo>
                  <a:pt x="10032" y="4228"/>
                </a:lnTo>
                <a:lnTo>
                  <a:pt x="10034" y="4230"/>
                </a:lnTo>
                <a:lnTo>
                  <a:pt x="10036" y="4230"/>
                </a:lnTo>
                <a:lnTo>
                  <a:pt x="10040" y="4228"/>
                </a:lnTo>
                <a:lnTo>
                  <a:pt x="10044" y="4226"/>
                </a:lnTo>
                <a:lnTo>
                  <a:pt x="10046" y="4226"/>
                </a:lnTo>
                <a:lnTo>
                  <a:pt x="10046" y="4228"/>
                </a:lnTo>
                <a:lnTo>
                  <a:pt x="10044" y="4232"/>
                </a:lnTo>
                <a:lnTo>
                  <a:pt x="10040" y="4238"/>
                </a:lnTo>
                <a:lnTo>
                  <a:pt x="10038" y="4246"/>
                </a:lnTo>
                <a:lnTo>
                  <a:pt x="10040" y="4252"/>
                </a:lnTo>
                <a:lnTo>
                  <a:pt x="10042" y="4258"/>
                </a:lnTo>
                <a:lnTo>
                  <a:pt x="10046" y="4270"/>
                </a:lnTo>
                <a:lnTo>
                  <a:pt x="10046" y="4290"/>
                </a:lnTo>
                <a:lnTo>
                  <a:pt x="10048" y="4312"/>
                </a:lnTo>
                <a:lnTo>
                  <a:pt x="10052" y="4328"/>
                </a:lnTo>
                <a:lnTo>
                  <a:pt x="10058" y="4340"/>
                </a:lnTo>
                <a:lnTo>
                  <a:pt x="10060" y="4354"/>
                </a:lnTo>
                <a:lnTo>
                  <a:pt x="10060" y="4372"/>
                </a:lnTo>
                <a:lnTo>
                  <a:pt x="10062" y="4372"/>
                </a:lnTo>
                <a:lnTo>
                  <a:pt x="10062" y="4370"/>
                </a:lnTo>
                <a:lnTo>
                  <a:pt x="10064" y="4366"/>
                </a:lnTo>
                <a:lnTo>
                  <a:pt x="10066" y="4366"/>
                </a:lnTo>
                <a:lnTo>
                  <a:pt x="10068" y="4372"/>
                </a:lnTo>
                <a:lnTo>
                  <a:pt x="10074" y="4384"/>
                </a:lnTo>
                <a:lnTo>
                  <a:pt x="10076" y="4398"/>
                </a:lnTo>
                <a:lnTo>
                  <a:pt x="10078" y="4408"/>
                </a:lnTo>
                <a:lnTo>
                  <a:pt x="10080" y="4416"/>
                </a:lnTo>
                <a:lnTo>
                  <a:pt x="10082" y="4424"/>
                </a:lnTo>
                <a:lnTo>
                  <a:pt x="10080" y="4432"/>
                </a:lnTo>
                <a:lnTo>
                  <a:pt x="10080" y="4440"/>
                </a:lnTo>
                <a:lnTo>
                  <a:pt x="10080" y="4442"/>
                </a:lnTo>
                <a:lnTo>
                  <a:pt x="10082" y="4444"/>
                </a:lnTo>
                <a:lnTo>
                  <a:pt x="10082" y="4446"/>
                </a:lnTo>
                <a:lnTo>
                  <a:pt x="10082" y="4450"/>
                </a:lnTo>
                <a:lnTo>
                  <a:pt x="10080" y="4458"/>
                </a:lnTo>
                <a:lnTo>
                  <a:pt x="10080" y="4464"/>
                </a:lnTo>
                <a:lnTo>
                  <a:pt x="10080" y="4466"/>
                </a:lnTo>
                <a:lnTo>
                  <a:pt x="10084" y="4468"/>
                </a:lnTo>
                <a:lnTo>
                  <a:pt x="10088" y="4468"/>
                </a:lnTo>
                <a:lnTo>
                  <a:pt x="10088" y="4470"/>
                </a:lnTo>
                <a:lnTo>
                  <a:pt x="10088" y="4476"/>
                </a:lnTo>
                <a:lnTo>
                  <a:pt x="10084" y="4486"/>
                </a:lnTo>
                <a:lnTo>
                  <a:pt x="10084" y="4496"/>
                </a:lnTo>
                <a:lnTo>
                  <a:pt x="10084" y="4504"/>
                </a:lnTo>
                <a:lnTo>
                  <a:pt x="10080" y="4510"/>
                </a:lnTo>
                <a:lnTo>
                  <a:pt x="10078" y="4518"/>
                </a:lnTo>
                <a:lnTo>
                  <a:pt x="10076" y="4542"/>
                </a:lnTo>
                <a:lnTo>
                  <a:pt x="10078" y="4550"/>
                </a:lnTo>
                <a:lnTo>
                  <a:pt x="10078" y="4552"/>
                </a:lnTo>
                <a:lnTo>
                  <a:pt x="10080" y="4552"/>
                </a:lnTo>
                <a:lnTo>
                  <a:pt x="10086" y="4536"/>
                </a:lnTo>
                <a:lnTo>
                  <a:pt x="10086" y="4540"/>
                </a:lnTo>
                <a:lnTo>
                  <a:pt x="10086" y="4544"/>
                </a:lnTo>
                <a:lnTo>
                  <a:pt x="10078" y="4560"/>
                </a:lnTo>
                <a:lnTo>
                  <a:pt x="10076" y="4568"/>
                </a:lnTo>
                <a:lnTo>
                  <a:pt x="10076" y="4572"/>
                </a:lnTo>
                <a:lnTo>
                  <a:pt x="10076" y="4574"/>
                </a:lnTo>
                <a:lnTo>
                  <a:pt x="10074" y="4578"/>
                </a:lnTo>
                <a:lnTo>
                  <a:pt x="10070" y="4590"/>
                </a:lnTo>
                <a:lnTo>
                  <a:pt x="10070" y="4594"/>
                </a:lnTo>
                <a:lnTo>
                  <a:pt x="10070" y="4600"/>
                </a:lnTo>
                <a:lnTo>
                  <a:pt x="10070" y="4606"/>
                </a:lnTo>
                <a:lnTo>
                  <a:pt x="10066" y="4616"/>
                </a:lnTo>
                <a:lnTo>
                  <a:pt x="10066" y="4626"/>
                </a:lnTo>
                <a:lnTo>
                  <a:pt x="10066" y="4634"/>
                </a:lnTo>
                <a:lnTo>
                  <a:pt x="10068" y="4638"/>
                </a:lnTo>
                <a:lnTo>
                  <a:pt x="10070" y="4642"/>
                </a:lnTo>
                <a:lnTo>
                  <a:pt x="10072" y="4642"/>
                </a:lnTo>
                <a:lnTo>
                  <a:pt x="10076" y="4638"/>
                </a:lnTo>
                <a:lnTo>
                  <a:pt x="10078" y="4632"/>
                </a:lnTo>
                <a:lnTo>
                  <a:pt x="10078" y="4630"/>
                </a:lnTo>
                <a:lnTo>
                  <a:pt x="10080" y="4630"/>
                </a:lnTo>
                <a:lnTo>
                  <a:pt x="10086" y="4638"/>
                </a:lnTo>
                <a:lnTo>
                  <a:pt x="10092" y="4650"/>
                </a:lnTo>
                <a:lnTo>
                  <a:pt x="10100" y="4664"/>
                </a:lnTo>
                <a:lnTo>
                  <a:pt x="10108" y="4680"/>
                </a:lnTo>
                <a:lnTo>
                  <a:pt x="10112" y="4684"/>
                </a:lnTo>
                <a:lnTo>
                  <a:pt x="10116" y="4684"/>
                </a:lnTo>
                <a:lnTo>
                  <a:pt x="10120" y="4684"/>
                </a:lnTo>
                <a:lnTo>
                  <a:pt x="10122" y="4688"/>
                </a:lnTo>
                <a:lnTo>
                  <a:pt x="10122" y="4692"/>
                </a:lnTo>
                <a:lnTo>
                  <a:pt x="10122" y="4698"/>
                </a:lnTo>
                <a:lnTo>
                  <a:pt x="10124" y="4702"/>
                </a:lnTo>
                <a:lnTo>
                  <a:pt x="10128" y="4706"/>
                </a:lnTo>
                <a:lnTo>
                  <a:pt x="10136" y="4716"/>
                </a:lnTo>
                <a:lnTo>
                  <a:pt x="10142" y="4726"/>
                </a:lnTo>
                <a:lnTo>
                  <a:pt x="10148" y="4734"/>
                </a:lnTo>
                <a:lnTo>
                  <a:pt x="10150" y="4744"/>
                </a:lnTo>
                <a:lnTo>
                  <a:pt x="10154" y="4762"/>
                </a:lnTo>
                <a:lnTo>
                  <a:pt x="10156" y="4778"/>
                </a:lnTo>
                <a:lnTo>
                  <a:pt x="10154" y="4788"/>
                </a:lnTo>
                <a:lnTo>
                  <a:pt x="10152" y="4792"/>
                </a:lnTo>
                <a:lnTo>
                  <a:pt x="10154" y="4794"/>
                </a:lnTo>
                <a:lnTo>
                  <a:pt x="10156" y="4798"/>
                </a:lnTo>
                <a:lnTo>
                  <a:pt x="10158" y="4802"/>
                </a:lnTo>
                <a:lnTo>
                  <a:pt x="10160" y="4806"/>
                </a:lnTo>
                <a:lnTo>
                  <a:pt x="10162" y="4812"/>
                </a:lnTo>
                <a:lnTo>
                  <a:pt x="10160" y="4820"/>
                </a:lnTo>
                <a:lnTo>
                  <a:pt x="10160" y="4834"/>
                </a:lnTo>
                <a:lnTo>
                  <a:pt x="10164" y="4838"/>
                </a:lnTo>
                <a:lnTo>
                  <a:pt x="10166" y="4840"/>
                </a:lnTo>
                <a:lnTo>
                  <a:pt x="10166" y="4844"/>
                </a:lnTo>
                <a:lnTo>
                  <a:pt x="10166" y="4848"/>
                </a:lnTo>
                <a:lnTo>
                  <a:pt x="10170" y="4854"/>
                </a:lnTo>
                <a:lnTo>
                  <a:pt x="10180" y="4866"/>
                </a:lnTo>
                <a:lnTo>
                  <a:pt x="10184" y="4872"/>
                </a:lnTo>
                <a:lnTo>
                  <a:pt x="10188" y="4880"/>
                </a:lnTo>
                <a:lnTo>
                  <a:pt x="10192" y="4888"/>
                </a:lnTo>
                <a:lnTo>
                  <a:pt x="10190" y="4894"/>
                </a:lnTo>
                <a:lnTo>
                  <a:pt x="10190" y="4900"/>
                </a:lnTo>
                <a:lnTo>
                  <a:pt x="10190" y="4902"/>
                </a:lnTo>
                <a:lnTo>
                  <a:pt x="10196" y="4906"/>
                </a:lnTo>
                <a:lnTo>
                  <a:pt x="10210" y="4916"/>
                </a:lnTo>
                <a:lnTo>
                  <a:pt x="10220" y="4924"/>
                </a:lnTo>
                <a:lnTo>
                  <a:pt x="10232" y="4936"/>
                </a:lnTo>
                <a:lnTo>
                  <a:pt x="10244" y="4946"/>
                </a:lnTo>
                <a:lnTo>
                  <a:pt x="10252" y="4952"/>
                </a:lnTo>
                <a:lnTo>
                  <a:pt x="10264" y="4958"/>
                </a:lnTo>
                <a:lnTo>
                  <a:pt x="10270" y="4962"/>
                </a:lnTo>
                <a:lnTo>
                  <a:pt x="10272" y="4966"/>
                </a:lnTo>
                <a:lnTo>
                  <a:pt x="10276" y="4970"/>
                </a:lnTo>
                <a:lnTo>
                  <a:pt x="10278" y="4976"/>
                </a:lnTo>
                <a:lnTo>
                  <a:pt x="10280" y="4974"/>
                </a:lnTo>
                <a:lnTo>
                  <a:pt x="10284" y="4970"/>
                </a:lnTo>
                <a:lnTo>
                  <a:pt x="10288" y="4968"/>
                </a:lnTo>
                <a:lnTo>
                  <a:pt x="10292" y="4970"/>
                </a:lnTo>
                <a:lnTo>
                  <a:pt x="10296" y="4968"/>
                </a:lnTo>
                <a:lnTo>
                  <a:pt x="10298" y="4966"/>
                </a:lnTo>
                <a:lnTo>
                  <a:pt x="10298" y="4964"/>
                </a:lnTo>
                <a:lnTo>
                  <a:pt x="10302" y="4964"/>
                </a:lnTo>
                <a:lnTo>
                  <a:pt x="10304" y="4966"/>
                </a:lnTo>
                <a:lnTo>
                  <a:pt x="10304" y="4968"/>
                </a:lnTo>
                <a:lnTo>
                  <a:pt x="10302" y="4972"/>
                </a:lnTo>
                <a:lnTo>
                  <a:pt x="10306" y="4974"/>
                </a:lnTo>
                <a:lnTo>
                  <a:pt x="10308" y="4974"/>
                </a:lnTo>
                <a:lnTo>
                  <a:pt x="10310" y="4972"/>
                </a:lnTo>
                <a:lnTo>
                  <a:pt x="10310" y="4964"/>
                </a:lnTo>
                <a:lnTo>
                  <a:pt x="10308" y="4956"/>
                </a:lnTo>
                <a:lnTo>
                  <a:pt x="10304" y="4948"/>
                </a:lnTo>
                <a:lnTo>
                  <a:pt x="10302" y="4944"/>
                </a:lnTo>
                <a:lnTo>
                  <a:pt x="10300" y="4940"/>
                </a:lnTo>
                <a:lnTo>
                  <a:pt x="10298" y="4928"/>
                </a:lnTo>
                <a:lnTo>
                  <a:pt x="10294" y="4918"/>
                </a:lnTo>
                <a:lnTo>
                  <a:pt x="10292" y="4912"/>
                </a:lnTo>
                <a:lnTo>
                  <a:pt x="10286" y="4908"/>
                </a:lnTo>
                <a:lnTo>
                  <a:pt x="10280" y="4902"/>
                </a:lnTo>
                <a:lnTo>
                  <a:pt x="10276" y="4896"/>
                </a:lnTo>
                <a:lnTo>
                  <a:pt x="10276" y="4890"/>
                </a:lnTo>
                <a:lnTo>
                  <a:pt x="10276" y="4884"/>
                </a:lnTo>
                <a:lnTo>
                  <a:pt x="10278" y="4872"/>
                </a:lnTo>
                <a:lnTo>
                  <a:pt x="10278" y="4868"/>
                </a:lnTo>
                <a:lnTo>
                  <a:pt x="10276" y="4862"/>
                </a:lnTo>
                <a:lnTo>
                  <a:pt x="10274" y="4858"/>
                </a:lnTo>
                <a:lnTo>
                  <a:pt x="10274" y="4852"/>
                </a:lnTo>
                <a:lnTo>
                  <a:pt x="10276" y="4846"/>
                </a:lnTo>
                <a:lnTo>
                  <a:pt x="10276" y="4842"/>
                </a:lnTo>
                <a:lnTo>
                  <a:pt x="10276" y="4836"/>
                </a:lnTo>
                <a:lnTo>
                  <a:pt x="10278" y="4826"/>
                </a:lnTo>
                <a:lnTo>
                  <a:pt x="10278" y="4814"/>
                </a:lnTo>
                <a:lnTo>
                  <a:pt x="10276" y="4798"/>
                </a:lnTo>
                <a:lnTo>
                  <a:pt x="10272" y="4790"/>
                </a:lnTo>
                <a:lnTo>
                  <a:pt x="10266" y="4782"/>
                </a:lnTo>
                <a:lnTo>
                  <a:pt x="10254" y="4768"/>
                </a:lnTo>
                <a:lnTo>
                  <a:pt x="10244" y="4756"/>
                </a:lnTo>
                <a:lnTo>
                  <a:pt x="10238" y="4750"/>
                </a:lnTo>
                <a:lnTo>
                  <a:pt x="10236" y="4744"/>
                </a:lnTo>
                <a:lnTo>
                  <a:pt x="10234" y="4738"/>
                </a:lnTo>
                <a:lnTo>
                  <a:pt x="10230" y="4736"/>
                </a:lnTo>
                <a:lnTo>
                  <a:pt x="10222" y="4734"/>
                </a:lnTo>
                <a:lnTo>
                  <a:pt x="10212" y="4724"/>
                </a:lnTo>
                <a:lnTo>
                  <a:pt x="10200" y="4706"/>
                </a:lnTo>
                <a:lnTo>
                  <a:pt x="10196" y="4702"/>
                </a:lnTo>
                <a:lnTo>
                  <a:pt x="10192" y="4700"/>
                </a:lnTo>
                <a:lnTo>
                  <a:pt x="10188" y="4702"/>
                </a:lnTo>
                <a:lnTo>
                  <a:pt x="10184" y="4704"/>
                </a:lnTo>
                <a:lnTo>
                  <a:pt x="10180" y="4704"/>
                </a:lnTo>
                <a:lnTo>
                  <a:pt x="10174" y="4700"/>
                </a:lnTo>
                <a:lnTo>
                  <a:pt x="10166" y="4692"/>
                </a:lnTo>
                <a:lnTo>
                  <a:pt x="10160" y="4686"/>
                </a:lnTo>
                <a:lnTo>
                  <a:pt x="10158" y="4676"/>
                </a:lnTo>
                <a:lnTo>
                  <a:pt x="10154" y="4652"/>
                </a:lnTo>
                <a:lnTo>
                  <a:pt x="10150" y="4632"/>
                </a:lnTo>
                <a:lnTo>
                  <a:pt x="10148" y="4626"/>
                </a:lnTo>
                <a:lnTo>
                  <a:pt x="10146" y="4626"/>
                </a:lnTo>
                <a:lnTo>
                  <a:pt x="10144" y="4626"/>
                </a:lnTo>
                <a:lnTo>
                  <a:pt x="10140" y="4624"/>
                </a:lnTo>
                <a:lnTo>
                  <a:pt x="10136" y="4614"/>
                </a:lnTo>
                <a:lnTo>
                  <a:pt x="10134" y="4602"/>
                </a:lnTo>
                <a:lnTo>
                  <a:pt x="10132" y="4588"/>
                </a:lnTo>
                <a:lnTo>
                  <a:pt x="10130" y="4584"/>
                </a:lnTo>
                <a:lnTo>
                  <a:pt x="10128" y="4584"/>
                </a:lnTo>
                <a:lnTo>
                  <a:pt x="10118" y="4588"/>
                </a:lnTo>
                <a:lnTo>
                  <a:pt x="10114" y="4588"/>
                </a:lnTo>
                <a:lnTo>
                  <a:pt x="10110" y="4590"/>
                </a:lnTo>
                <a:lnTo>
                  <a:pt x="10108" y="4586"/>
                </a:lnTo>
                <a:lnTo>
                  <a:pt x="10108" y="4580"/>
                </a:lnTo>
                <a:lnTo>
                  <a:pt x="10106" y="4550"/>
                </a:lnTo>
                <a:lnTo>
                  <a:pt x="10108" y="4528"/>
                </a:lnTo>
                <a:lnTo>
                  <a:pt x="10108" y="4520"/>
                </a:lnTo>
                <a:lnTo>
                  <a:pt x="10112" y="4514"/>
                </a:lnTo>
                <a:lnTo>
                  <a:pt x="10116" y="4510"/>
                </a:lnTo>
                <a:lnTo>
                  <a:pt x="10118" y="4506"/>
                </a:lnTo>
                <a:lnTo>
                  <a:pt x="10120" y="4494"/>
                </a:lnTo>
                <a:lnTo>
                  <a:pt x="10122" y="4484"/>
                </a:lnTo>
                <a:lnTo>
                  <a:pt x="10126" y="4474"/>
                </a:lnTo>
                <a:lnTo>
                  <a:pt x="10132" y="4458"/>
                </a:lnTo>
                <a:lnTo>
                  <a:pt x="10138" y="4432"/>
                </a:lnTo>
                <a:lnTo>
                  <a:pt x="10140" y="4408"/>
                </a:lnTo>
                <a:lnTo>
                  <a:pt x="10142" y="4400"/>
                </a:lnTo>
                <a:lnTo>
                  <a:pt x="10140" y="4396"/>
                </a:lnTo>
                <a:lnTo>
                  <a:pt x="10138" y="4392"/>
                </a:lnTo>
                <a:lnTo>
                  <a:pt x="10136" y="4388"/>
                </a:lnTo>
                <a:lnTo>
                  <a:pt x="10136" y="4386"/>
                </a:lnTo>
                <a:lnTo>
                  <a:pt x="10138" y="4382"/>
                </a:lnTo>
                <a:lnTo>
                  <a:pt x="10140" y="4380"/>
                </a:lnTo>
                <a:lnTo>
                  <a:pt x="10146" y="4378"/>
                </a:lnTo>
                <a:lnTo>
                  <a:pt x="10160" y="4376"/>
                </a:lnTo>
                <a:lnTo>
                  <a:pt x="10166" y="4376"/>
                </a:lnTo>
                <a:lnTo>
                  <a:pt x="10172" y="4378"/>
                </a:lnTo>
                <a:lnTo>
                  <a:pt x="10174" y="4380"/>
                </a:lnTo>
                <a:lnTo>
                  <a:pt x="10174" y="4384"/>
                </a:lnTo>
                <a:lnTo>
                  <a:pt x="10174" y="4394"/>
                </a:lnTo>
                <a:lnTo>
                  <a:pt x="10170" y="4410"/>
                </a:lnTo>
                <a:lnTo>
                  <a:pt x="10170" y="4420"/>
                </a:lnTo>
                <a:lnTo>
                  <a:pt x="10172" y="4422"/>
                </a:lnTo>
                <a:lnTo>
                  <a:pt x="10174" y="4422"/>
                </a:lnTo>
                <a:lnTo>
                  <a:pt x="10182" y="4420"/>
                </a:lnTo>
                <a:lnTo>
                  <a:pt x="10184" y="4420"/>
                </a:lnTo>
                <a:lnTo>
                  <a:pt x="10188" y="4422"/>
                </a:lnTo>
                <a:lnTo>
                  <a:pt x="10192" y="4422"/>
                </a:lnTo>
                <a:lnTo>
                  <a:pt x="10194" y="4422"/>
                </a:lnTo>
                <a:lnTo>
                  <a:pt x="10200" y="4420"/>
                </a:lnTo>
                <a:lnTo>
                  <a:pt x="10204" y="4418"/>
                </a:lnTo>
                <a:lnTo>
                  <a:pt x="10206" y="4418"/>
                </a:lnTo>
                <a:lnTo>
                  <a:pt x="10210" y="4420"/>
                </a:lnTo>
                <a:lnTo>
                  <a:pt x="10218" y="4428"/>
                </a:lnTo>
                <a:lnTo>
                  <a:pt x="10224" y="4436"/>
                </a:lnTo>
                <a:lnTo>
                  <a:pt x="10232" y="4442"/>
                </a:lnTo>
                <a:lnTo>
                  <a:pt x="10234" y="4446"/>
                </a:lnTo>
                <a:lnTo>
                  <a:pt x="10238" y="4448"/>
                </a:lnTo>
                <a:lnTo>
                  <a:pt x="10242" y="4448"/>
                </a:lnTo>
                <a:lnTo>
                  <a:pt x="10244" y="4452"/>
                </a:lnTo>
                <a:lnTo>
                  <a:pt x="10248" y="4458"/>
                </a:lnTo>
                <a:lnTo>
                  <a:pt x="10250" y="4464"/>
                </a:lnTo>
                <a:lnTo>
                  <a:pt x="10252" y="4466"/>
                </a:lnTo>
                <a:lnTo>
                  <a:pt x="10256" y="4468"/>
                </a:lnTo>
                <a:lnTo>
                  <a:pt x="10250" y="4454"/>
                </a:lnTo>
                <a:lnTo>
                  <a:pt x="10250" y="4446"/>
                </a:lnTo>
                <a:lnTo>
                  <a:pt x="10250" y="4454"/>
                </a:lnTo>
                <a:lnTo>
                  <a:pt x="10256" y="4468"/>
                </a:lnTo>
                <a:lnTo>
                  <a:pt x="10262" y="4480"/>
                </a:lnTo>
                <a:lnTo>
                  <a:pt x="10264" y="4486"/>
                </a:lnTo>
                <a:lnTo>
                  <a:pt x="10262" y="4490"/>
                </a:lnTo>
                <a:lnTo>
                  <a:pt x="10262" y="4500"/>
                </a:lnTo>
                <a:lnTo>
                  <a:pt x="10264" y="4508"/>
                </a:lnTo>
                <a:lnTo>
                  <a:pt x="10264" y="4510"/>
                </a:lnTo>
                <a:lnTo>
                  <a:pt x="10266" y="4510"/>
                </a:lnTo>
                <a:lnTo>
                  <a:pt x="10270" y="4508"/>
                </a:lnTo>
                <a:lnTo>
                  <a:pt x="10274" y="4506"/>
                </a:lnTo>
                <a:lnTo>
                  <a:pt x="10276" y="4506"/>
                </a:lnTo>
                <a:lnTo>
                  <a:pt x="10276" y="4504"/>
                </a:lnTo>
                <a:lnTo>
                  <a:pt x="10276" y="4498"/>
                </a:lnTo>
                <a:lnTo>
                  <a:pt x="10276" y="4496"/>
                </a:lnTo>
                <a:lnTo>
                  <a:pt x="10278" y="4494"/>
                </a:lnTo>
                <a:lnTo>
                  <a:pt x="10280" y="4496"/>
                </a:lnTo>
                <a:lnTo>
                  <a:pt x="10284" y="4500"/>
                </a:lnTo>
                <a:lnTo>
                  <a:pt x="10286" y="4504"/>
                </a:lnTo>
                <a:lnTo>
                  <a:pt x="10288" y="4508"/>
                </a:lnTo>
                <a:lnTo>
                  <a:pt x="10284" y="4514"/>
                </a:lnTo>
                <a:lnTo>
                  <a:pt x="10280" y="4518"/>
                </a:lnTo>
                <a:lnTo>
                  <a:pt x="10280" y="4522"/>
                </a:lnTo>
                <a:lnTo>
                  <a:pt x="10282" y="4524"/>
                </a:lnTo>
                <a:lnTo>
                  <a:pt x="10284" y="4526"/>
                </a:lnTo>
                <a:lnTo>
                  <a:pt x="10286" y="4526"/>
                </a:lnTo>
                <a:lnTo>
                  <a:pt x="10290" y="4524"/>
                </a:lnTo>
                <a:lnTo>
                  <a:pt x="10292" y="4520"/>
                </a:lnTo>
                <a:lnTo>
                  <a:pt x="10294" y="4520"/>
                </a:lnTo>
                <a:lnTo>
                  <a:pt x="10296" y="4522"/>
                </a:lnTo>
                <a:lnTo>
                  <a:pt x="10300" y="4524"/>
                </a:lnTo>
                <a:lnTo>
                  <a:pt x="10304" y="4524"/>
                </a:lnTo>
                <a:lnTo>
                  <a:pt x="10310" y="4526"/>
                </a:lnTo>
                <a:lnTo>
                  <a:pt x="10312" y="4528"/>
                </a:lnTo>
                <a:lnTo>
                  <a:pt x="10316" y="4532"/>
                </a:lnTo>
                <a:lnTo>
                  <a:pt x="10320" y="4540"/>
                </a:lnTo>
                <a:lnTo>
                  <a:pt x="10322" y="4542"/>
                </a:lnTo>
                <a:lnTo>
                  <a:pt x="10324" y="4544"/>
                </a:lnTo>
                <a:lnTo>
                  <a:pt x="10328" y="4542"/>
                </a:lnTo>
                <a:lnTo>
                  <a:pt x="10332" y="4542"/>
                </a:lnTo>
                <a:lnTo>
                  <a:pt x="10334" y="4542"/>
                </a:lnTo>
                <a:lnTo>
                  <a:pt x="10338" y="4544"/>
                </a:lnTo>
                <a:lnTo>
                  <a:pt x="10340" y="4548"/>
                </a:lnTo>
                <a:lnTo>
                  <a:pt x="10340" y="4552"/>
                </a:lnTo>
                <a:lnTo>
                  <a:pt x="10336" y="4558"/>
                </a:lnTo>
                <a:lnTo>
                  <a:pt x="10332" y="4568"/>
                </a:lnTo>
                <a:lnTo>
                  <a:pt x="10330" y="4576"/>
                </a:lnTo>
                <a:lnTo>
                  <a:pt x="10330" y="4588"/>
                </a:lnTo>
                <a:lnTo>
                  <a:pt x="10328" y="4608"/>
                </a:lnTo>
                <a:lnTo>
                  <a:pt x="10330" y="4620"/>
                </a:lnTo>
                <a:lnTo>
                  <a:pt x="10332" y="4624"/>
                </a:lnTo>
                <a:lnTo>
                  <a:pt x="10334" y="4624"/>
                </a:lnTo>
                <a:lnTo>
                  <a:pt x="10338" y="4622"/>
                </a:lnTo>
                <a:lnTo>
                  <a:pt x="10344" y="4616"/>
                </a:lnTo>
                <a:lnTo>
                  <a:pt x="10366" y="4594"/>
                </a:lnTo>
                <a:lnTo>
                  <a:pt x="10376" y="4588"/>
                </a:lnTo>
                <a:lnTo>
                  <a:pt x="10384" y="4584"/>
                </a:lnTo>
                <a:lnTo>
                  <a:pt x="10388" y="4582"/>
                </a:lnTo>
                <a:lnTo>
                  <a:pt x="10390" y="4580"/>
                </a:lnTo>
                <a:lnTo>
                  <a:pt x="10390" y="4576"/>
                </a:lnTo>
                <a:lnTo>
                  <a:pt x="10390" y="4574"/>
                </a:lnTo>
                <a:lnTo>
                  <a:pt x="10396" y="4572"/>
                </a:lnTo>
                <a:lnTo>
                  <a:pt x="10400" y="4570"/>
                </a:lnTo>
                <a:lnTo>
                  <a:pt x="10404" y="4564"/>
                </a:lnTo>
                <a:lnTo>
                  <a:pt x="10408" y="4544"/>
                </a:lnTo>
                <a:lnTo>
                  <a:pt x="10412" y="4528"/>
                </a:lnTo>
                <a:lnTo>
                  <a:pt x="10414" y="4522"/>
                </a:lnTo>
                <a:lnTo>
                  <a:pt x="10416" y="4522"/>
                </a:lnTo>
                <a:lnTo>
                  <a:pt x="10422" y="4528"/>
                </a:lnTo>
                <a:lnTo>
                  <a:pt x="10424" y="4530"/>
                </a:lnTo>
                <a:lnTo>
                  <a:pt x="10428" y="4532"/>
                </a:lnTo>
                <a:lnTo>
                  <a:pt x="10432" y="4532"/>
                </a:lnTo>
                <a:lnTo>
                  <a:pt x="10438" y="4530"/>
                </a:lnTo>
                <a:lnTo>
                  <a:pt x="10444" y="4526"/>
                </a:lnTo>
                <a:lnTo>
                  <a:pt x="10454" y="4518"/>
                </a:lnTo>
                <a:lnTo>
                  <a:pt x="10464" y="4510"/>
                </a:lnTo>
                <a:lnTo>
                  <a:pt x="10472" y="4504"/>
                </a:lnTo>
                <a:lnTo>
                  <a:pt x="10488" y="4494"/>
                </a:lnTo>
                <a:lnTo>
                  <a:pt x="10494" y="4492"/>
                </a:lnTo>
                <a:lnTo>
                  <a:pt x="10498" y="4486"/>
                </a:lnTo>
                <a:lnTo>
                  <a:pt x="10502" y="4480"/>
                </a:lnTo>
                <a:lnTo>
                  <a:pt x="10506" y="4470"/>
                </a:lnTo>
                <a:lnTo>
                  <a:pt x="10510" y="4452"/>
                </a:lnTo>
                <a:lnTo>
                  <a:pt x="10510" y="4436"/>
                </a:lnTo>
                <a:lnTo>
                  <a:pt x="10512" y="4426"/>
                </a:lnTo>
                <a:lnTo>
                  <a:pt x="10512" y="4424"/>
                </a:lnTo>
                <a:lnTo>
                  <a:pt x="10514" y="4422"/>
                </a:lnTo>
                <a:lnTo>
                  <a:pt x="10518" y="4420"/>
                </a:lnTo>
                <a:lnTo>
                  <a:pt x="10518" y="4418"/>
                </a:lnTo>
                <a:lnTo>
                  <a:pt x="10518" y="4412"/>
                </a:lnTo>
                <a:lnTo>
                  <a:pt x="10516" y="4406"/>
                </a:lnTo>
                <a:lnTo>
                  <a:pt x="10512" y="4398"/>
                </a:lnTo>
                <a:lnTo>
                  <a:pt x="10510" y="4394"/>
                </a:lnTo>
                <a:lnTo>
                  <a:pt x="10510" y="4388"/>
                </a:lnTo>
                <a:lnTo>
                  <a:pt x="10512" y="4374"/>
                </a:lnTo>
                <a:lnTo>
                  <a:pt x="10512" y="4352"/>
                </a:lnTo>
                <a:lnTo>
                  <a:pt x="10510" y="4338"/>
                </a:lnTo>
                <a:lnTo>
                  <a:pt x="10506" y="4322"/>
                </a:lnTo>
                <a:lnTo>
                  <a:pt x="10494" y="4294"/>
                </a:lnTo>
                <a:lnTo>
                  <a:pt x="10486" y="4278"/>
                </a:lnTo>
                <a:lnTo>
                  <a:pt x="10478" y="4268"/>
                </a:lnTo>
                <a:lnTo>
                  <a:pt x="10474" y="4256"/>
                </a:lnTo>
                <a:lnTo>
                  <a:pt x="10468" y="4246"/>
                </a:lnTo>
                <a:lnTo>
                  <a:pt x="10462" y="4240"/>
                </a:lnTo>
                <a:lnTo>
                  <a:pt x="10452" y="4234"/>
                </a:lnTo>
                <a:lnTo>
                  <a:pt x="10438" y="4220"/>
                </a:lnTo>
                <a:lnTo>
                  <a:pt x="10422" y="4202"/>
                </a:lnTo>
                <a:lnTo>
                  <a:pt x="10410" y="4186"/>
                </a:lnTo>
                <a:lnTo>
                  <a:pt x="10402" y="4172"/>
                </a:lnTo>
                <a:lnTo>
                  <a:pt x="10398" y="4166"/>
                </a:lnTo>
                <a:lnTo>
                  <a:pt x="10398" y="4158"/>
                </a:lnTo>
                <a:lnTo>
                  <a:pt x="10396" y="4154"/>
                </a:lnTo>
                <a:lnTo>
                  <a:pt x="10394" y="4150"/>
                </a:lnTo>
                <a:lnTo>
                  <a:pt x="10388" y="4146"/>
                </a:lnTo>
                <a:lnTo>
                  <a:pt x="10380" y="4138"/>
                </a:lnTo>
                <a:lnTo>
                  <a:pt x="10376" y="4132"/>
                </a:lnTo>
                <a:lnTo>
                  <a:pt x="10370" y="4124"/>
                </a:lnTo>
                <a:lnTo>
                  <a:pt x="10368" y="4114"/>
                </a:lnTo>
                <a:lnTo>
                  <a:pt x="10366" y="4104"/>
                </a:lnTo>
                <a:lnTo>
                  <a:pt x="10368" y="4094"/>
                </a:lnTo>
                <a:lnTo>
                  <a:pt x="10370" y="4082"/>
                </a:lnTo>
                <a:lnTo>
                  <a:pt x="10374" y="4072"/>
                </a:lnTo>
                <a:lnTo>
                  <a:pt x="10380" y="4064"/>
                </a:lnTo>
                <a:lnTo>
                  <a:pt x="10386" y="4054"/>
                </a:lnTo>
                <a:lnTo>
                  <a:pt x="10394" y="4048"/>
                </a:lnTo>
                <a:lnTo>
                  <a:pt x="10400" y="4042"/>
                </a:lnTo>
                <a:lnTo>
                  <a:pt x="10404" y="4036"/>
                </a:lnTo>
                <a:lnTo>
                  <a:pt x="10408" y="4024"/>
                </a:lnTo>
                <a:lnTo>
                  <a:pt x="10410" y="4016"/>
                </a:lnTo>
                <a:lnTo>
                  <a:pt x="10412" y="4012"/>
                </a:lnTo>
                <a:lnTo>
                  <a:pt x="10414" y="4008"/>
                </a:lnTo>
                <a:lnTo>
                  <a:pt x="10420" y="4006"/>
                </a:lnTo>
                <a:lnTo>
                  <a:pt x="10424" y="4006"/>
                </a:lnTo>
                <a:lnTo>
                  <a:pt x="10426" y="4008"/>
                </a:lnTo>
                <a:lnTo>
                  <a:pt x="10430" y="4006"/>
                </a:lnTo>
                <a:lnTo>
                  <a:pt x="10432" y="4002"/>
                </a:lnTo>
                <a:lnTo>
                  <a:pt x="10434" y="3998"/>
                </a:lnTo>
                <a:lnTo>
                  <a:pt x="10436" y="3994"/>
                </a:lnTo>
                <a:lnTo>
                  <a:pt x="10442" y="3988"/>
                </a:lnTo>
                <a:lnTo>
                  <a:pt x="10450" y="3984"/>
                </a:lnTo>
                <a:lnTo>
                  <a:pt x="10456" y="3982"/>
                </a:lnTo>
                <a:lnTo>
                  <a:pt x="10460" y="3980"/>
                </a:lnTo>
                <a:lnTo>
                  <a:pt x="10462" y="3978"/>
                </a:lnTo>
                <a:lnTo>
                  <a:pt x="10464" y="3980"/>
                </a:lnTo>
                <a:lnTo>
                  <a:pt x="10468" y="3980"/>
                </a:lnTo>
                <a:lnTo>
                  <a:pt x="10470" y="3980"/>
                </a:lnTo>
                <a:lnTo>
                  <a:pt x="10472" y="3976"/>
                </a:lnTo>
                <a:lnTo>
                  <a:pt x="10474" y="3974"/>
                </a:lnTo>
                <a:lnTo>
                  <a:pt x="10476" y="3974"/>
                </a:lnTo>
                <a:lnTo>
                  <a:pt x="10478" y="3976"/>
                </a:lnTo>
                <a:lnTo>
                  <a:pt x="10480" y="3976"/>
                </a:lnTo>
                <a:lnTo>
                  <a:pt x="10482" y="3974"/>
                </a:lnTo>
                <a:lnTo>
                  <a:pt x="10482" y="3970"/>
                </a:lnTo>
                <a:lnTo>
                  <a:pt x="10480" y="3966"/>
                </a:lnTo>
                <a:lnTo>
                  <a:pt x="10480" y="3962"/>
                </a:lnTo>
                <a:lnTo>
                  <a:pt x="10480" y="3960"/>
                </a:lnTo>
                <a:lnTo>
                  <a:pt x="10482" y="3960"/>
                </a:lnTo>
                <a:lnTo>
                  <a:pt x="10484" y="3966"/>
                </a:lnTo>
                <a:lnTo>
                  <a:pt x="10490" y="3972"/>
                </a:lnTo>
                <a:lnTo>
                  <a:pt x="10494" y="3974"/>
                </a:lnTo>
                <a:lnTo>
                  <a:pt x="10498" y="3974"/>
                </a:lnTo>
                <a:lnTo>
                  <a:pt x="10502" y="3976"/>
                </a:lnTo>
                <a:lnTo>
                  <a:pt x="10504" y="3976"/>
                </a:lnTo>
                <a:lnTo>
                  <a:pt x="10504" y="3980"/>
                </a:lnTo>
                <a:lnTo>
                  <a:pt x="10502" y="3984"/>
                </a:lnTo>
                <a:lnTo>
                  <a:pt x="10504" y="3984"/>
                </a:lnTo>
                <a:lnTo>
                  <a:pt x="10508" y="3984"/>
                </a:lnTo>
                <a:lnTo>
                  <a:pt x="10518" y="3984"/>
                </a:lnTo>
                <a:lnTo>
                  <a:pt x="10522" y="3982"/>
                </a:lnTo>
                <a:lnTo>
                  <a:pt x="10522" y="3978"/>
                </a:lnTo>
                <a:lnTo>
                  <a:pt x="10522" y="3970"/>
                </a:lnTo>
                <a:lnTo>
                  <a:pt x="10522" y="3972"/>
                </a:lnTo>
                <a:lnTo>
                  <a:pt x="10526" y="3976"/>
                </a:lnTo>
                <a:lnTo>
                  <a:pt x="10528" y="3982"/>
                </a:lnTo>
                <a:lnTo>
                  <a:pt x="10530" y="3982"/>
                </a:lnTo>
                <a:lnTo>
                  <a:pt x="10534" y="3982"/>
                </a:lnTo>
                <a:lnTo>
                  <a:pt x="10536" y="3982"/>
                </a:lnTo>
                <a:lnTo>
                  <a:pt x="10538" y="3986"/>
                </a:lnTo>
                <a:lnTo>
                  <a:pt x="10534" y="3988"/>
                </a:lnTo>
                <a:lnTo>
                  <a:pt x="10530" y="3994"/>
                </a:lnTo>
                <a:lnTo>
                  <a:pt x="10528" y="4002"/>
                </a:lnTo>
                <a:lnTo>
                  <a:pt x="10528" y="4010"/>
                </a:lnTo>
                <a:lnTo>
                  <a:pt x="10528" y="4014"/>
                </a:lnTo>
                <a:lnTo>
                  <a:pt x="10530" y="4016"/>
                </a:lnTo>
                <a:lnTo>
                  <a:pt x="10530" y="4020"/>
                </a:lnTo>
                <a:lnTo>
                  <a:pt x="10530" y="4024"/>
                </a:lnTo>
                <a:lnTo>
                  <a:pt x="10532" y="4028"/>
                </a:lnTo>
                <a:lnTo>
                  <a:pt x="10534" y="4030"/>
                </a:lnTo>
                <a:lnTo>
                  <a:pt x="10536" y="4034"/>
                </a:lnTo>
                <a:lnTo>
                  <a:pt x="10536" y="4038"/>
                </a:lnTo>
                <a:lnTo>
                  <a:pt x="10536" y="4042"/>
                </a:lnTo>
                <a:lnTo>
                  <a:pt x="10540" y="4044"/>
                </a:lnTo>
                <a:lnTo>
                  <a:pt x="10552" y="4042"/>
                </a:lnTo>
                <a:lnTo>
                  <a:pt x="10560" y="4038"/>
                </a:lnTo>
                <a:lnTo>
                  <a:pt x="10562" y="4036"/>
                </a:lnTo>
                <a:lnTo>
                  <a:pt x="10562" y="4032"/>
                </a:lnTo>
                <a:lnTo>
                  <a:pt x="10560" y="4026"/>
                </a:lnTo>
                <a:lnTo>
                  <a:pt x="10556" y="4018"/>
                </a:lnTo>
                <a:lnTo>
                  <a:pt x="10554" y="4012"/>
                </a:lnTo>
                <a:lnTo>
                  <a:pt x="10550" y="4012"/>
                </a:lnTo>
                <a:lnTo>
                  <a:pt x="10548" y="4012"/>
                </a:lnTo>
                <a:lnTo>
                  <a:pt x="10546" y="4008"/>
                </a:lnTo>
                <a:lnTo>
                  <a:pt x="10548" y="4004"/>
                </a:lnTo>
                <a:lnTo>
                  <a:pt x="10554" y="4000"/>
                </a:lnTo>
                <a:lnTo>
                  <a:pt x="10572" y="3988"/>
                </a:lnTo>
                <a:lnTo>
                  <a:pt x="10580" y="3982"/>
                </a:lnTo>
                <a:lnTo>
                  <a:pt x="10586" y="3982"/>
                </a:lnTo>
                <a:lnTo>
                  <a:pt x="10592" y="3982"/>
                </a:lnTo>
                <a:lnTo>
                  <a:pt x="10604" y="3980"/>
                </a:lnTo>
                <a:lnTo>
                  <a:pt x="10610" y="3976"/>
                </a:lnTo>
                <a:lnTo>
                  <a:pt x="10614" y="3974"/>
                </a:lnTo>
                <a:lnTo>
                  <a:pt x="10618" y="3968"/>
                </a:lnTo>
                <a:lnTo>
                  <a:pt x="10620" y="3964"/>
                </a:lnTo>
                <a:lnTo>
                  <a:pt x="10624" y="3964"/>
                </a:lnTo>
                <a:lnTo>
                  <a:pt x="10630" y="3968"/>
                </a:lnTo>
                <a:lnTo>
                  <a:pt x="10630" y="3972"/>
                </a:lnTo>
                <a:lnTo>
                  <a:pt x="10632" y="3972"/>
                </a:lnTo>
                <a:lnTo>
                  <a:pt x="10634" y="3966"/>
                </a:lnTo>
                <a:lnTo>
                  <a:pt x="10638" y="3964"/>
                </a:lnTo>
                <a:lnTo>
                  <a:pt x="10640" y="3966"/>
                </a:lnTo>
                <a:lnTo>
                  <a:pt x="10642" y="3966"/>
                </a:lnTo>
                <a:lnTo>
                  <a:pt x="10646" y="3962"/>
                </a:lnTo>
                <a:lnTo>
                  <a:pt x="10650" y="3960"/>
                </a:lnTo>
                <a:lnTo>
                  <a:pt x="10652" y="3958"/>
                </a:lnTo>
                <a:lnTo>
                  <a:pt x="10658" y="3960"/>
                </a:lnTo>
                <a:lnTo>
                  <a:pt x="10660" y="3962"/>
                </a:lnTo>
                <a:lnTo>
                  <a:pt x="10662" y="3960"/>
                </a:lnTo>
                <a:lnTo>
                  <a:pt x="10662" y="3956"/>
                </a:lnTo>
                <a:lnTo>
                  <a:pt x="10664" y="3948"/>
                </a:lnTo>
                <a:lnTo>
                  <a:pt x="10666" y="3950"/>
                </a:lnTo>
                <a:lnTo>
                  <a:pt x="10670" y="3954"/>
                </a:lnTo>
                <a:lnTo>
                  <a:pt x="10670" y="3952"/>
                </a:lnTo>
                <a:lnTo>
                  <a:pt x="10672" y="3950"/>
                </a:lnTo>
                <a:lnTo>
                  <a:pt x="10676" y="3948"/>
                </a:lnTo>
                <a:lnTo>
                  <a:pt x="10678" y="3948"/>
                </a:lnTo>
                <a:lnTo>
                  <a:pt x="10682" y="3948"/>
                </a:lnTo>
                <a:lnTo>
                  <a:pt x="10684" y="3944"/>
                </a:lnTo>
                <a:lnTo>
                  <a:pt x="10686" y="3940"/>
                </a:lnTo>
                <a:lnTo>
                  <a:pt x="10686" y="3934"/>
                </a:lnTo>
                <a:lnTo>
                  <a:pt x="10682" y="3924"/>
                </a:lnTo>
                <a:lnTo>
                  <a:pt x="10680" y="3914"/>
                </a:lnTo>
                <a:lnTo>
                  <a:pt x="10680" y="3910"/>
                </a:lnTo>
                <a:lnTo>
                  <a:pt x="10680" y="3908"/>
                </a:lnTo>
                <a:lnTo>
                  <a:pt x="10682" y="3906"/>
                </a:lnTo>
                <a:lnTo>
                  <a:pt x="10686" y="3908"/>
                </a:lnTo>
                <a:lnTo>
                  <a:pt x="10692" y="3918"/>
                </a:lnTo>
                <a:lnTo>
                  <a:pt x="10696" y="3924"/>
                </a:lnTo>
                <a:lnTo>
                  <a:pt x="10700" y="3930"/>
                </a:lnTo>
                <a:lnTo>
                  <a:pt x="10700" y="3934"/>
                </a:lnTo>
                <a:lnTo>
                  <a:pt x="10698" y="3936"/>
                </a:lnTo>
                <a:lnTo>
                  <a:pt x="10702" y="3938"/>
                </a:lnTo>
                <a:lnTo>
                  <a:pt x="10706" y="3938"/>
                </a:lnTo>
                <a:lnTo>
                  <a:pt x="10708" y="3940"/>
                </a:lnTo>
                <a:lnTo>
                  <a:pt x="10712" y="3940"/>
                </a:lnTo>
                <a:lnTo>
                  <a:pt x="10716" y="3938"/>
                </a:lnTo>
                <a:lnTo>
                  <a:pt x="10716" y="3936"/>
                </a:lnTo>
                <a:lnTo>
                  <a:pt x="10716" y="3932"/>
                </a:lnTo>
                <a:lnTo>
                  <a:pt x="10714" y="3930"/>
                </a:lnTo>
                <a:lnTo>
                  <a:pt x="10714" y="3926"/>
                </a:lnTo>
                <a:lnTo>
                  <a:pt x="10716" y="3924"/>
                </a:lnTo>
                <a:lnTo>
                  <a:pt x="10718" y="3928"/>
                </a:lnTo>
                <a:lnTo>
                  <a:pt x="10722" y="3930"/>
                </a:lnTo>
                <a:lnTo>
                  <a:pt x="10724" y="3930"/>
                </a:lnTo>
                <a:lnTo>
                  <a:pt x="10726" y="3930"/>
                </a:lnTo>
                <a:lnTo>
                  <a:pt x="10728" y="3926"/>
                </a:lnTo>
                <a:lnTo>
                  <a:pt x="10726" y="3924"/>
                </a:lnTo>
                <a:lnTo>
                  <a:pt x="10726" y="3920"/>
                </a:lnTo>
                <a:lnTo>
                  <a:pt x="10726" y="3918"/>
                </a:lnTo>
                <a:lnTo>
                  <a:pt x="10728" y="3916"/>
                </a:lnTo>
                <a:lnTo>
                  <a:pt x="10730" y="3916"/>
                </a:lnTo>
                <a:lnTo>
                  <a:pt x="10732" y="3918"/>
                </a:lnTo>
                <a:lnTo>
                  <a:pt x="10734" y="3924"/>
                </a:lnTo>
                <a:lnTo>
                  <a:pt x="10736" y="3926"/>
                </a:lnTo>
                <a:lnTo>
                  <a:pt x="10736" y="3928"/>
                </a:lnTo>
                <a:lnTo>
                  <a:pt x="10738" y="3926"/>
                </a:lnTo>
                <a:lnTo>
                  <a:pt x="10742" y="3922"/>
                </a:lnTo>
                <a:lnTo>
                  <a:pt x="10748" y="3916"/>
                </a:lnTo>
                <a:lnTo>
                  <a:pt x="10752" y="3916"/>
                </a:lnTo>
                <a:lnTo>
                  <a:pt x="10762" y="3922"/>
                </a:lnTo>
                <a:lnTo>
                  <a:pt x="10764" y="3922"/>
                </a:lnTo>
                <a:lnTo>
                  <a:pt x="10766" y="3922"/>
                </a:lnTo>
                <a:lnTo>
                  <a:pt x="10766" y="3918"/>
                </a:lnTo>
                <a:lnTo>
                  <a:pt x="10766" y="3914"/>
                </a:lnTo>
                <a:lnTo>
                  <a:pt x="10766" y="3912"/>
                </a:lnTo>
                <a:lnTo>
                  <a:pt x="10768" y="3912"/>
                </a:lnTo>
                <a:lnTo>
                  <a:pt x="10770" y="3912"/>
                </a:lnTo>
                <a:lnTo>
                  <a:pt x="10772" y="3916"/>
                </a:lnTo>
                <a:lnTo>
                  <a:pt x="10776" y="3918"/>
                </a:lnTo>
                <a:lnTo>
                  <a:pt x="10782" y="3916"/>
                </a:lnTo>
                <a:lnTo>
                  <a:pt x="10792" y="3910"/>
                </a:lnTo>
                <a:lnTo>
                  <a:pt x="10798" y="3908"/>
                </a:lnTo>
                <a:lnTo>
                  <a:pt x="10804" y="3906"/>
                </a:lnTo>
                <a:lnTo>
                  <a:pt x="10806" y="3900"/>
                </a:lnTo>
                <a:lnTo>
                  <a:pt x="10806" y="3898"/>
                </a:lnTo>
                <a:lnTo>
                  <a:pt x="10808" y="3896"/>
                </a:lnTo>
                <a:lnTo>
                  <a:pt x="10812" y="3894"/>
                </a:lnTo>
                <a:lnTo>
                  <a:pt x="10814" y="3892"/>
                </a:lnTo>
                <a:lnTo>
                  <a:pt x="10812" y="3890"/>
                </a:lnTo>
                <a:lnTo>
                  <a:pt x="10810" y="3888"/>
                </a:lnTo>
                <a:lnTo>
                  <a:pt x="10812" y="3886"/>
                </a:lnTo>
                <a:lnTo>
                  <a:pt x="10814" y="3884"/>
                </a:lnTo>
                <a:lnTo>
                  <a:pt x="10818" y="3878"/>
                </a:lnTo>
                <a:lnTo>
                  <a:pt x="10822" y="3874"/>
                </a:lnTo>
                <a:lnTo>
                  <a:pt x="10824" y="3874"/>
                </a:lnTo>
                <a:lnTo>
                  <a:pt x="10830" y="3874"/>
                </a:lnTo>
                <a:lnTo>
                  <a:pt x="10832" y="3872"/>
                </a:lnTo>
                <a:lnTo>
                  <a:pt x="10836" y="3868"/>
                </a:lnTo>
                <a:lnTo>
                  <a:pt x="10842" y="3862"/>
                </a:lnTo>
                <a:lnTo>
                  <a:pt x="10844" y="3862"/>
                </a:lnTo>
                <a:lnTo>
                  <a:pt x="10846" y="3862"/>
                </a:lnTo>
                <a:lnTo>
                  <a:pt x="10846" y="3866"/>
                </a:lnTo>
                <a:lnTo>
                  <a:pt x="10850" y="3862"/>
                </a:lnTo>
                <a:lnTo>
                  <a:pt x="10862" y="3846"/>
                </a:lnTo>
                <a:lnTo>
                  <a:pt x="10868" y="3840"/>
                </a:lnTo>
                <a:lnTo>
                  <a:pt x="10868" y="3838"/>
                </a:lnTo>
                <a:lnTo>
                  <a:pt x="10868" y="3836"/>
                </a:lnTo>
                <a:lnTo>
                  <a:pt x="10864" y="3832"/>
                </a:lnTo>
                <a:lnTo>
                  <a:pt x="10866" y="3826"/>
                </a:lnTo>
                <a:lnTo>
                  <a:pt x="10868" y="3822"/>
                </a:lnTo>
                <a:lnTo>
                  <a:pt x="10870" y="3822"/>
                </a:lnTo>
                <a:lnTo>
                  <a:pt x="10872" y="3824"/>
                </a:lnTo>
                <a:lnTo>
                  <a:pt x="10874" y="3828"/>
                </a:lnTo>
                <a:lnTo>
                  <a:pt x="10876" y="3826"/>
                </a:lnTo>
                <a:lnTo>
                  <a:pt x="10878" y="3824"/>
                </a:lnTo>
                <a:lnTo>
                  <a:pt x="10884" y="3826"/>
                </a:lnTo>
                <a:lnTo>
                  <a:pt x="10886" y="3828"/>
                </a:lnTo>
                <a:lnTo>
                  <a:pt x="10888" y="3828"/>
                </a:lnTo>
                <a:lnTo>
                  <a:pt x="10890" y="3824"/>
                </a:lnTo>
                <a:lnTo>
                  <a:pt x="10892" y="3816"/>
                </a:lnTo>
                <a:lnTo>
                  <a:pt x="10896" y="3812"/>
                </a:lnTo>
                <a:lnTo>
                  <a:pt x="10900" y="3810"/>
                </a:lnTo>
                <a:lnTo>
                  <a:pt x="10906" y="3808"/>
                </a:lnTo>
                <a:lnTo>
                  <a:pt x="10904" y="3804"/>
                </a:lnTo>
                <a:lnTo>
                  <a:pt x="10900" y="3800"/>
                </a:lnTo>
                <a:lnTo>
                  <a:pt x="10900" y="3798"/>
                </a:lnTo>
                <a:lnTo>
                  <a:pt x="10900" y="3794"/>
                </a:lnTo>
                <a:lnTo>
                  <a:pt x="10902" y="3790"/>
                </a:lnTo>
                <a:lnTo>
                  <a:pt x="10904" y="3794"/>
                </a:lnTo>
                <a:lnTo>
                  <a:pt x="10906" y="3796"/>
                </a:lnTo>
                <a:lnTo>
                  <a:pt x="10910" y="3796"/>
                </a:lnTo>
                <a:lnTo>
                  <a:pt x="10914" y="3794"/>
                </a:lnTo>
                <a:lnTo>
                  <a:pt x="10918" y="3788"/>
                </a:lnTo>
                <a:lnTo>
                  <a:pt x="10916" y="3788"/>
                </a:lnTo>
                <a:lnTo>
                  <a:pt x="10912" y="3786"/>
                </a:lnTo>
                <a:lnTo>
                  <a:pt x="10908" y="3784"/>
                </a:lnTo>
                <a:lnTo>
                  <a:pt x="10908" y="3780"/>
                </a:lnTo>
                <a:lnTo>
                  <a:pt x="10910" y="3776"/>
                </a:lnTo>
                <a:lnTo>
                  <a:pt x="10912" y="3776"/>
                </a:lnTo>
                <a:lnTo>
                  <a:pt x="10916" y="3776"/>
                </a:lnTo>
                <a:lnTo>
                  <a:pt x="10918" y="3776"/>
                </a:lnTo>
                <a:lnTo>
                  <a:pt x="10920" y="3780"/>
                </a:lnTo>
                <a:lnTo>
                  <a:pt x="10926" y="3786"/>
                </a:lnTo>
                <a:lnTo>
                  <a:pt x="10928" y="3786"/>
                </a:lnTo>
                <a:lnTo>
                  <a:pt x="10930" y="3782"/>
                </a:lnTo>
                <a:lnTo>
                  <a:pt x="10926" y="3776"/>
                </a:lnTo>
                <a:lnTo>
                  <a:pt x="10926" y="3772"/>
                </a:lnTo>
                <a:lnTo>
                  <a:pt x="10926" y="3766"/>
                </a:lnTo>
                <a:lnTo>
                  <a:pt x="10930" y="3758"/>
                </a:lnTo>
                <a:lnTo>
                  <a:pt x="10932" y="3752"/>
                </a:lnTo>
                <a:lnTo>
                  <a:pt x="10932" y="3750"/>
                </a:lnTo>
                <a:lnTo>
                  <a:pt x="10928" y="3750"/>
                </a:lnTo>
                <a:lnTo>
                  <a:pt x="10926" y="3750"/>
                </a:lnTo>
                <a:lnTo>
                  <a:pt x="10924" y="3750"/>
                </a:lnTo>
                <a:lnTo>
                  <a:pt x="10926" y="3746"/>
                </a:lnTo>
                <a:lnTo>
                  <a:pt x="10930" y="3740"/>
                </a:lnTo>
                <a:lnTo>
                  <a:pt x="10936" y="3736"/>
                </a:lnTo>
                <a:lnTo>
                  <a:pt x="10942" y="3732"/>
                </a:lnTo>
                <a:lnTo>
                  <a:pt x="10938" y="3730"/>
                </a:lnTo>
                <a:lnTo>
                  <a:pt x="10934" y="3726"/>
                </a:lnTo>
                <a:lnTo>
                  <a:pt x="10932" y="3720"/>
                </a:lnTo>
                <a:lnTo>
                  <a:pt x="10928" y="3718"/>
                </a:lnTo>
                <a:lnTo>
                  <a:pt x="10928" y="3716"/>
                </a:lnTo>
                <a:lnTo>
                  <a:pt x="10930" y="3714"/>
                </a:lnTo>
                <a:lnTo>
                  <a:pt x="10934" y="3714"/>
                </a:lnTo>
                <a:lnTo>
                  <a:pt x="10936" y="3714"/>
                </a:lnTo>
                <a:lnTo>
                  <a:pt x="10938" y="3718"/>
                </a:lnTo>
                <a:lnTo>
                  <a:pt x="10940" y="3722"/>
                </a:lnTo>
                <a:lnTo>
                  <a:pt x="10942" y="3722"/>
                </a:lnTo>
                <a:lnTo>
                  <a:pt x="10946" y="3722"/>
                </a:lnTo>
                <a:lnTo>
                  <a:pt x="10948" y="3720"/>
                </a:lnTo>
                <a:lnTo>
                  <a:pt x="10950" y="3716"/>
                </a:lnTo>
                <a:lnTo>
                  <a:pt x="10950" y="3712"/>
                </a:lnTo>
                <a:lnTo>
                  <a:pt x="10948" y="3708"/>
                </a:lnTo>
                <a:lnTo>
                  <a:pt x="10948" y="3706"/>
                </a:lnTo>
                <a:lnTo>
                  <a:pt x="10950" y="3706"/>
                </a:lnTo>
                <a:lnTo>
                  <a:pt x="10956" y="3700"/>
                </a:lnTo>
                <a:lnTo>
                  <a:pt x="10964" y="3692"/>
                </a:lnTo>
                <a:lnTo>
                  <a:pt x="10968" y="3682"/>
                </a:lnTo>
                <a:lnTo>
                  <a:pt x="10970" y="3676"/>
                </a:lnTo>
                <a:lnTo>
                  <a:pt x="10968" y="3674"/>
                </a:lnTo>
                <a:lnTo>
                  <a:pt x="10968" y="3670"/>
                </a:lnTo>
                <a:lnTo>
                  <a:pt x="10968" y="3668"/>
                </a:lnTo>
                <a:lnTo>
                  <a:pt x="10972" y="3662"/>
                </a:lnTo>
                <a:lnTo>
                  <a:pt x="10980" y="3654"/>
                </a:lnTo>
                <a:lnTo>
                  <a:pt x="10986" y="3640"/>
                </a:lnTo>
                <a:lnTo>
                  <a:pt x="10988" y="3634"/>
                </a:lnTo>
                <a:lnTo>
                  <a:pt x="10990" y="3632"/>
                </a:lnTo>
                <a:lnTo>
                  <a:pt x="10992" y="3632"/>
                </a:lnTo>
                <a:lnTo>
                  <a:pt x="10994" y="3634"/>
                </a:lnTo>
                <a:lnTo>
                  <a:pt x="10996" y="3640"/>
                </a:lnTo>
                <a:lnTo>
                  <a:pt x="10998" y="3640"/>
                </a:lnTo>
                <a:lnTo>
                  <a:pt x="11000" y="3638"/>
                </a:lnTo>
                <a:lnTo>
                  <a:pt x="11004" y="3634"/>
                </a:lnTo>
                <a:lnTo>
                  <a:pt x="11008" y="3634"/>
                </a:lnTo>
                <a:lnTo>
                  <a:pt x="11010" y="3632"/>
                </a:lnTo>
                <a:lnTo>
                  <a:pt x="11006" y="3624"/>
                </a:lnTo>
                <a:lnTo>
                  <a:pt x="11004" y="3618"/>
                </a:lnTo>
                <a:lnTo>
                  <a:pt x="11004" y="3616"/>
                </a:lnTo>
                <a:lnTo>
                  <a:pt x="11006" y="3614"/>
                </a:lnTo>
                <a:lnTo>
                  <a:pt x="11008" y="3612"/>
                </a:lnTo>
                <a:lnTo>
                  <a:pt x="11010" y="3610"/>
                </a:lnTo>
                <a:lnTo>
                  <a:pt x="11012" y="3610"/>
                </a:lnTo>
                <a:lnTo>
                  <a:pt x="11010" y="3606"/>
                </a:lnTo>
                <a:lnTo>
                  <a:pt x="11010" y="3602"/>
                </a:lnTo>
                <a:lnTo>
                  <a:pt x="11012" y="3600"/>
                </a:lnTo>
                <a:lnTo>
                  <a:pt x="11012" y="3596"/>
                </a:lnTo>
                <a:lnTo>
                  <a:pt x="11008" y="3592"/>
                </a:lnTo>
                <a:lnTo>
                  <a:pt x="11006" y="3590"/>
                </a:lnTo>
                <a:lnTo>
                  <a:pt x="11008" y="3590"/>
                </a:lnTo>
                <a:lnTo>
                  <a:pt x="11012" y="3590"/>
                </a:lnTo>
                <a:lnTo>
                  <a:pt x="11016" y="3590"/>
                </a:lnTo>
                <a:lnTo>
                  <a:pt x="11020" y="3588"/>
                </a:lnTo>
                <a:lnTo>
                  <a:pt x="11022" y="3582"/>
                </a:lnTo>
                <a:lnTo>
                  <a:pt x="11024" y="3574"/>
                </a:lnTo>
                <a:lnTo>
                  <a:pt x="11022" y="3568"/>
                </a:lnTo>
                <a:lnTo>
                  <a:pt x="11020" y="3566"/>
                </a:lnTo>
                <a:lnTo>
                  <a:pt x="11016" y="3562"/>
                </a:lnTo>
                <a:lnTo>
                  <a:pt x="11016" y="3560"/>
                </a:lnTo>
                <a:lnTo>
                  <a:pt x="11026" y="3554"/>
                </a:lnTo>
                <a:lnTo>
                  <a:pt x="11028" y="3550"/>
                </a:lnTo>
                <a:lnTo>
                  <a:pt x="11024" y="3550"/>
                </a:lnTo>
                <a:lnTo>
                  <a:pt x="11016" y="3546"/>
                </a:lnTo>
                <a:lnTo>
                  <a:pt x="11010" y="3544"/>
                </a:lnTo>
                <a:lnTo>
                  <a:pt x="11006" y="3538"/>
                </a:lnTo>
                <a:lnTo>
                  <a:pt x="11002" y="3532"/>
                </a:lnTo>
                <a:lnTo>
                  <a:pt x="10996" y="3528"/>
                </a:lnTo>
                <a:lnTo>
                  <a:pt x="10990" y="3530"/>
                </a:lnTo>
                <a:lnTo>
                  <a:pt x="10984" y="3532"/>
                </a:lnTo>
                <a:lnTo>
                  <a:pt x="10976" y="3538"/>
                </a:lnTo>
                <a:lnTo>
                  <a:pt x="10970" y="3538"/>
                </a:lnTo>
                <a:lnTo>
                  <a:pt x="10966" y="3534"/>
                </a:lnTo>
                <a:lnTo>
                  <a:pt x="10966" y="3532"/>
                </a:lnTo>
                <a:lnTo>
                  <a:pt x="10964" y="3530"/>
                </a:lnTo>
                <a:lnTo>
                  <a:pt x="10960" y="3530"/>
                </a:lnTo>
                <a:lnTo>
                  <a:pt x="10958" y="3530"/>
                </a:lnTo>
                <a:lnTo>
                  <a:pt x="10958" y="3528"/>
                </a:lnTo>
                <a:lnTo>
                  <a:pt x="10960" y="3524"/>
                </a:lnTo>
                <a:lnTo>
                  <a:pt x="10964" y="3524"/>
                </a:lnTo>
                <a:lnTo>
                  <a:pt x="10970" y="3524"/>
                </a:lnTo>
                <a:lnTo>
                  <a:pt x="10976" y="3526"/>
                </a:lnTo>
                <a:lnTo>
                  <a:pt x="10978" y="3524"/>
                </a:lnTo>
                <a:lnTo>
                  <a:pt x="10980" y="3522"/>
                </a:lnTo>
                <a:lnTo>
                  <a:pt x="10986" y="3516"/>
                </a:lnTo>
                <a:lnTo>
                  <a:pt x="10994" y="3508"/>
                </a:lnTo>
                <a:lnTo>
                  <a:pt x="11004" y="3504"/>
                </a:lnTo>
                <a:lnTo>
                  <a:pt x="11012" y="3502"/>
                </a:lnTo>
                <a:lnTo>
                  <a:pt x="11018" y="3500"/>
                </a:lnTo>
                <a:lnTo>
                  <a:pt x="11020" y="3498"/>
                </a:lnTo>
                <a:lnTo>
                  <a:pt x="11020" y="3494"/>
                </a:lnTo>
                <a:lnTo>
                  <a:pt x="11018" y="3488"/>
                </a:lnTo>
                <a:lnTo>
                  <a:pt x="11010" y="3478"/>
                </a:lnTo>
                <a:lnTo>
                  <a:pt x="10998" y="3466"/>
                </a:lnTo>
                <a:lnTo>
                  <a:pt x="10988" y="3458"/>
                </a:lnTo>
                <a:lnTo>
                  <a:pt x="10980" y="3454"/>
                </a:lnTo>
                <a:lnTo>
                  <a:pt x="10974" y="3450"/>
                </a:lnTo>
                <a:lnTo>
                  <a:pt x="10974" y="3448"/>
                </a:lnTo>
                <a:lnTo>
                  <a:pt x="10976" y="3446"/>
                </a:lnTo>
                <a:lnTo>
                  <a:pt x="10974" y="3444"/>
                </a:lnTo>
                <a:lnTo>
                  <a:pt x="10970" y="3442"/>
                </a:lnTo>
                <a:lnTo>
                  <a:pt x="10966" y="3440"/>
                </a:lnTo>
                <a:lnTo>
                  <a:pt x="10962" y="3442"/>
                </a:lnTo>
                <a:lnTo>
                  <a:pt x="10956" y="3444"/>
                </a:lnTo>
                <a:lnTo>
                  <a:pt x="10950" y="3446"/>
                </a:lnTo>
                <a:lnTo>
                  <a:pt x="10944" y="3444"/>
                </a:lnTo>
                <a:lnTo>
                  <a:pt x="10940" y="3440"/>
                </a:lnTo>
                <a:lnTo>
                  <a:pt x="10936" y="3436"/>
                </a:lnTo>
                <a:lnTo>
                  <a:pt x="10932" y="3432"/>
                </a:lnTo>
                <a:lnTo>
                  <a:pt x="10932" y="3428"/>
                </a:lnTo>
                <a:lnTo>
                  <a:pt x="10932" y="3424"/>
                </a:lnTo>
                <a:lnTo>
                  <a:pt x="10934" y="3424"/>
                </a:lnTo>
                <a:lnTo>
                  <a:pt x="10936" y="3424"/>
                </a:lnTo>
                <a:lnTo>
                  <a:pt x="10940" y="3430"/>
                </a:lnTo>
                <a:lnTo>
                  <a:pt x="10944" y="3438"/>
                </a:lnTo>
                <a:lnTo>
                  <a:pt x="10948" y="3442"/>
                </a:lnTo>
                <a:lnTo>
                  <a:pt x="10952" y="3442"/>
                </a:lnTo>
                <a:lnTo>
                  <a:pt x="10954" y="3442"/>
                </a:lnTo>
                <a:lnTo>
                  <a:pt x="10960" y="3438"/>
                </a:lnTo>
                <a:lnTo>
                  <a:pt x="10966" y="3436"/>
                </a:lnTo>
                <a:lnTo>
                  <a:pt x="10968" y="3434"/>
                </a:lnTo>
                <a:lnTo>
                  <a:pt x="10972" y="3436"/>
                </a:lnTo>
                <a:lnTo>
                  <a:pt x="10976" y="3438"/>
                </a:lnTo>
                <a:lnTo>
                  <a:pt x="10978" y="3442"/>
                </a:lnTo>
                <a:lnTo>
                  <a:pt x="10980" y="3444"/>
                </a:lnTo>
                <a:lnTo>
                  <a:pt x="10984" y="3448"/>
                </a:lnTo>
                <a:lnTo>
                  <a:pt x="10988" y="3448"/>
                </a:lnTo>
                <a:lnTo>
                  <a:pt x="10992" y="3448"/>
                </a:lnTo>
                <a:lnTo>
                  <a:pt x="10998" y="3450"/>
                </a:lnTo>
                <a:lnTo>
                  <a:pt x="11010" y="3454"/>
                </a:lnTo>
                <a:lnTo>
                  <a:pt x="11016" y="3458"/>
                </a:lnTo>
                <a:lnTo>
                  <a:pt x="11020" y="3458"/>
                </a:lnTo>
                <a:lnTo>
                  <a:pt x="11020" y="3456"/>
                </a:lnTo>
                <a:lnTo>
                  <a:pt x="11020" y="3452"/>
                </a:lnTo>
                <a:lnTo>
                  <a:pt x="11016" y="3444"/>
                </a:lnTo>
                <a:lnTo>
                  <a:pt x="11008" y="3436"/>
                </a:lnTo>
                <a:lnTo>
                  <a:pt x="11002" y="3430"/>
                </a:lnTo>
                <a:lnTo>
                  <a:pt x="11000" y="3424"/>
                </a:lnTo>
                <a:lnTo>
                  <a:pt x="10996" y="3420"/>
                </a:lnTo>
                <a:lnTo>
                  <a:pt x="10988" y="3412"/>
                </a:lnTo>
                <a:lnTo>
                  <a:pt x="10980" y="3406"/>
                </a:lnTo>
                <a:lnTo>
                  <a:pt x="10980" y="3400"/>
                </a:lnTo>
                <a:lnTo>
                  <a:pt x="10978" y="3390"/>
                </a:lnTo>
                <a:lnTo>
                  <a:pt x="10978" y="3384"/>
                </a:lnTo>
                <a:lnTo>
                  <a:pt x="10974" y="3376"/>
                </a:lnTo>
                <a:lnTo>
                  <a:pt x="10970" y="3366"/>
                </a:lnTo>
                <a:lnTo>
                  <a:pt x="10966" y="3356"/>
                </a:lnTo>
                <a:lnTo>
                  <a:pt x="10962" y="3338"/>
                </a:lnTo>
                <a:lnTo>
                  <a:pt x="10958" y="3328"/>
                </a:lnTo>
                <a:lnTo>
                  <a:pt x="10954" y="3320"/>
                </a:lnTo>
                <a:lnTo>
                  <a:pt x="10948" y="3314"/>
                </a:lnTo>
                <a:lnTo>
                  <a:pt x="10940" y="3310"/>
                </a:lnTo>
                <a:lnTo>
                  <a:pt x="10934" y="3308"/>
                </a:lnTo>
                <a:lnTo>
                  <a:pt x="10928" y="3304"/>
                </a:lnTo>
                <a:lnTo>
                  <a:pt x="10924" y="3298"/>
                </a:lnTo>
                <a:lnTo>
                  <a:pt x="10922" y="3294"/>
                </a:lnTo>
                <a:lnTo>
                  <a:pt x="10920" y="3294"/>
                </a:lnTo>
                <a:lnTo>
                  <a:pt x="10914" y="3294"/>
                </a:lnTo>
                <a:lnTo>
                  <a:pt x="10910" y="3294"/>
                </a:lnTo>
                <a:lnTo>
                  <a:pt x="10910" y="3290"/>
                </a:lnTo>
                <a:lnTo>
                  <a:pt x="10912" y="3284"/>
                </a:lnTo>
                <a:lnTo>
                  <a:pt x="10916" y="3276"/>
                </a:lnTo>
                <a:lnTo>
                  <a:pt x="10926" y="3258"/>
                </a:lnTo>
                <a:lnTo>
                  <a:pt x="10932" y="3252"/>
                </a:lnTo>
                <a:lnTo>
                  <a:pt x="10936" y="3248"/>
                </a:lnTo>
                <a:lnTo>
                  <a:pt x="10942" y="3244"/>
                </a:lnTo>
                <a:lnTo>
                  <a:pt x="10944" y="3242"/>
                </a:lnTo>
                <a:lnTo>
                  <a:pt x="10946" y="3238"/>
                </a:lnTo>
                <a:lnTo>
                  <a:pt x="10950" y="3232"/>
                </a:lnTo>
                <a:lnTo>
                  <a:pt x="10952" y="3230"/>
                </a:lnTo>
                <a:lnTo>
                  <a:pt x="10952" y="3228"/>
                </a:lnTo>
                <a:lnTo>
                  <a:pt x="10950" y="3224"/>
                </a:lnTo>
                <a:lnTo>
                  <a:pt x="10948" y="3220"/>
                </a:lnTo>
                <a:lnTo>
                  <a:pt x="10948" y="3218"/>
                </a:lnTo>
                <a:lnTo>
                  <a:pt x="10950" y="3216"/>
                </a:lnTo>
                <a:lnTo>
                  <a:pt x="10952" y="3216"/>
                </a:lnTo>
                <a:lnTo>
                  <a:pt x="10954" y="3216"/>
                </a:lnTo>
                <a:lnTo>
                  <a:pt x="10956" y="3220"/>
                </a:lnTo>
                <a:lnTo>
                  <a:pt x="10956" y="3222"/>
                </a:lnTo>
                <a:lnTo>
                  <a:pt x="10958" y="3224"/>
                </a:lnTo>
                <a:lnTo>
                  <a:pt x="10960" y="3224"/>
                </a:lnTo>
                <a:lnTo>
                  <a:pt x="10966" y="3222"/>
                </a:lnTo>
                <a:lnTo>
                  <a:pt x="10968" y="3220"/>
                </a:lnTo>
                <a:lnTo>
                  <a:pt x="10970" y="3218"/>
                </a:lnTo>
                <a:lnTo>
                  <a:pt x="10972" y="3212"/>
                </a:lnTo>
                <a:lnTo>
                  <a:pt x="10974" y="3208"/>
                </a:lnTo>
                <a:lnTo>
                  <a:pt x="10976" y="3206"/>
                </a:lnTo>
                <a:lnTo>
                  <a:pt x="10978" y="3206"/>
                </a:lnTo>
                <a:lnTo>
                  <a:pt x="10980" y="3206"/>
                </a:lnTo>
                <a:lnTo>
                  <a:pt x="10982" y="3206"/>
                </a:lnTo>
                <a:lnTo>
                  <a:pt x="10984" y="3202"/>
                </a:lnTo>
                <a:lnTo>
                  <a:pt x="10988" y="3196"/>
                </a:lnTo>
                <a:lnTo>
                  <a:pt x="10994" y="3190"/>
                </a:lnTo>
                <a:lnTo>
                  <a:pt x="11002" y="3186"/>
                </a:lnTo>
                <a:lnTo>
                  <a:pt x="11006" y="3186"/>
                </a:lnTo>
                <a:lnTo>
                  <a:pt x="11010" y="3186"/>
                </a:lnTo>
                <a:lnTo>
                  <a:pt x="11016" y="3180"/>
                </a:lnTo>
                <a:lnTo>
                  <a:pt x="11022" y="3176"/>
                </a:lnTo>
                <a:lnTo>
                  <a:pt x="11024" y="3176"/>
                </a:lnTo>
                <a:lnTo>
                  <a:pt x="11026" y="3178"/>
                </a:lnTo>
                <a:lnTo>
                  <a:pt x="11028" y="3176"/>
                </a:lnTo>
                <a:lnTo>
                  <a:pt x="11030" y="3176"/>
                </a:lnTo>
                <a:lnTo>
                  <a:pt x="11032" y="3176"/>
                </a:lnTo>
                <a:lnTo>
                  <a:pt x="11032" y="3180"/>
                </a:lnTo>
                <a:lnTo>
                  <a:pt x="11032" y="3182"/>
                </a:lnTo>
                <a:lnTo>
                  <a:pt x="11034" y="3182"/>
                </a:lnTo>
                <a:lnTo>
                  <a:pt x="11036" y="3182"/>
                </a:lnTo>
                <a:lnTo>
                  <a:pt x="11042" y="3182"/>
                </a:lnTo>
                <a:lnTo>
                  <a:pt x="11046" y="3180"/>
                </a:lnTo>
                <a:lnTo>
                  <a:pt x="11046" y="3178"/>
                </a:lnTo>
                <a:lnTo>
                  <a:pt x="11046" y="3174"/>
                </a:lnTo>
                <a:lnTo>
                  <a:pt x="11044" y="3172"/>
                </a:lnTo>
                <a:lnTo>
                  <a:pt x="11044" y="3168"/>
                </a:lnTo>
                <a:lnTo>
                  <a:pt x="11046" y="3164"/>
                </a:lnTo>
                <a:lnTo>
                  <a:pt x="11050" y="3160"/>
                </a:lnTo>
                <a:lnTo>
                  <a:pt x="11052" y="3156"/>
                </a:lnTo>
                <a:lnTo>
                  <a:pt x="11052" y="3154"/>
                </a:lnTo>
                <a:lnTo>
                  <a:pt x="11046" y="3152"/>
                </a:lnTo>
                <a:lnTo>
                  <a:pt x="11038" y="3148"/>
                </a:lnTo>
                <a:lnTo>
                  <a:pt x="11032" y="3146"/>
                </a:lnTo>
                <a:lnTo>
                  <a:pt x="11028" y="3142"/>
                </a:lnTo>
                <a:lnTo>
                  <a:pt x="11026" y="3144"/>
                </a:lnTo>
                <a:lnTo>
                  <a:pt x="11024" y="3146"/>
                </a:lnTo>
                <a:lnTo>
                  <a:pt x="11020" y="3148"/>
                </a:lnTo>
                <a:lnTo>
                  <a:pt x="11014" y="3148"/>
                </a:lnTo>
                <a:lnTo>
                  <a:pt x="11006" y="3146"/>
                </a:lnTo>
                <a:lnTo>
                  <a:pt x="11002" y="3144"/>
                </a:lnTo>
                <a:lnTo>
                  <a:pt x="11000" y="3142"/>
                </a:lnTo>
                <a:lnTo>
                  <a:pt x="10996" y="3142"/>
                </a:lnTo>
                <a:lnTo>
                  <a:pt x="10992" y="3142"/>
                </a:lnTo>
                <a:lnTo>
                  <a:pt x="10990" y="3140"/>
                </a:lnTo>
                <a:lnTo>
                  <a:pt x="10988" y="3138"/>
                </a:lnTo>
                <a:lnTo>
                  <a:pt x="10984" y="3132"/>
                </a:lnTo>
                <a:lnTo>
                  <a:pt x="10982" y="3130"/>
                </a:lnTo>
                <a:lnTo>
                  <a:pt x="10978" y="3130"/>
                </a:lnTo>
                <a:lnTo>
                  <a:pt x="10968" y="3130"/>
                </a:lnTo>
                <a:lnTo>
                  <a:pt x="10960" y="3134"/>
                </a:lnTo>
                <a:lnTo>
                  <a:pt x="10956" y="3140"/>
                </a:lnTo>
                <a:lnTo>
                  <a:pt x="10950" y="3146"/>
                </a:lnTo>
                <a:lnTo>
                  <a:pt x="10944" y="3150"/>
                </a:lnTo>
                <a:lnTo>
                  <a:pt x="10940" y="3152"/>
                </a:lnTo>
                <a:lnTo>
                  <a:pt x="10938" y="3154"/>
                </a:lnTo>
                <a:lnTo>
                  <a:pt x="10938" y="3156"/>
                </a:lnTo>
                <a:lnTo>
                  <a:pt x="10940" y="3162"/>
                </a:lnTo>
                <a:lnTo>
                  <a:pt x="10938" y="3164"/>
                </a:lnTo>
                <a:lnTo>
                  <a:pt x="10932" y="3166"/>
                </a:lnTo>
                <a:lnTo>
                  <a:pt x="10920" y="3166"/>
                </a:lnTo>
                <a:lnTo>
                  <a:pt x="10914" y="3166"/>
                </a:lnTo>
                <a:lnTo>
                  <a:pt x="10910" y="3164"/>
                </a:lnTo>
                <a:lnTo>
                  <a:pt x="10906" y="3160"/>
                </a:lnTo>
                <a:lnTo>
                  <a:pt x="10904" y="3156"/>
                </a:lnTo>
                <a:lnTo>
                  <a:pt x="10902" y="3144"/>
                </a:lnTo>
                <a:lnTo>
                  <a:pt x="10902" y="3140"/>
                </a:lnTo>
                <a:lnTo>
                  <a:pt x="10906" y="3138"/>
                </a:lnTo>
                <a:lnTo>
                  <a:pt x="10906" y="3134"/>
                </a:lnTo>
                <a:lnTo>
                  <a:pt x="10906" y="3130"/>
                </a:lnTo>
                <a:lnTo>
                  <a:pt x="10904" y="3120"/>
                </a:lnTo>
                <a:lnTo>
                  <a:pt x="10896" y="3112"/>
                </a:lnTo>
                <a:lnTo>
                  <a:pt x="10894" y="3110"/>
                </a:lnTo>
                <a:lnTo>
                  <a:pt x="10890" y="3112"/>
                </a:lnTo>
                <a:lnTo>
                  <a:pt x="10884" y="3114"/>
                </a:lnTo>
                <a:lnTo>
                  <a:pt x="10876" y="3114"/>
                </a:lnTo>
                <a:lnTo>
                  <a:pt x="10868" y="3112"/>
                </a:lnTo>
                <a:lnTo>
                  <a:pt x="10864" y="3110"/>
                </a:lnTo>
                <a:lnTo>
                  <a:pt x="10864" y="3108"/>
                </a:lnTo>
                <a:lnTo>
                  <a:pt x="10860" y="3106"/>
                </a:lnTo>
                <a:lnTo>
                  <a:pt x="10854" y="3102"/>
                </a:lnTo>
                <a:lnTo>
                  <a:pt x="10850" y="3098"/>
                </a:lnTo>
                <a:lnTo>
                  <a:pt x="10846" y="3090"/>
                </a:lnTo>
                <a:lnTo>
                  <a:pt x="10846" y="3080"/>
                </a:lnTo>
                <a:lnTo>
                  <a:pt x="10848" y="3072"/>
                </a:lnTo>
                <a:lnTo>
                  <a:pt x="10850" y="3066"/>
                </a:lnTo>
                <a:lnTo>
                  <a:pt x="10852" y="3062"/>
                </a:lnTo>
                <a:lnTo>
                  <a:pt x="10854" y="3056"/>
                </a:lnTo>
                <a:lnTo>
                  <a:pt x="10858" y="3054"/>
                </a:lnTo>
                <a:lnTo>
                  <a:pt x="10864" y="3054"/>
                </a:lnTo>
                <a:lnTo>
                  <a:pt x="10872" y="3060"/>
                </a:lnTo>
                <a:lnTo>
                  <a:pt x="10874" y="3062"/>
                </a:lnTo>
                <a:lnTo>
                  <a:pt x="10876" y="3064"/>
                </a:lnTo>
                <a:lnTo>
                  <a:pt x="10880" y="3060"/>
                </a:lnTo>
                <a:lnTo>
                  <a:pt x="10886" y="3056"/>
                </a:lnTo>
                <a:lnTo>
                  <a:pt x="10888" y="3056"/>
                </a:lnTo>
                <a:lnTo>
                  <a:pt x="10892" y="3056"/>
                </a:lnTo>
                <a:lnTo>
                  <a:pt x="10900" y="3056"/>
                </a:lnTo>
                <a:lnTo>
                  <a:pt x="10906" y="3052"/>
                </a:lnTo>
                <a:lnTo>
                  <a:pt x="10912" y="3046"/>
                </a:lnTo>
                <a:lnTo>
                  <a:pt x="10914" y="3036"/>
                </a:lnTo>
                <a:lnTo>
                  <a:pt x="10916" y="3030"/>
                </a:lnTo>
                <a:lnTo>
                  <a:pt x="10920" y="3024"/>
                </a:lnTo>
                <a:lnTo>
                  <a:pt x="10932" y="3014"/>
                </a:lnTo>
                <a:lnTo>
                  <a:pt x="10948" y="3006"/>
                </a:lnTo>
                <a:lnTo>
                  <a:pt x="10958" y="3000"/>
                </a:lnTo>
                <a:lnTo>
                  <a:pt x="10964" y="2998"/>
                </a:lnTo>
                <a:lnTo>
                  <a:pt x="10966" y="2992"/>
                </a:lnTo>
                <a:lnTo>
                  <a:pt x="10970" y="2986"/>
                </a:lnTo>
                <a:lnTo>
                  <a:pt x="10976" y="2978"/>
                </a:lnTo>
                <a:lnTo>
                  <a:pt x="10982" y="2970"/>
                </a:lnTo>
                <a:lnTo>
                  <a:pt x="10984" y="2966"/>
                </a:lnTo>
                <a:lnTo>
                  <a:pt x="10984" y="2964"/>
                </a:lnTo>
                <a:lnTo>
                  <a:pt x="10988" y="2960"/>
                </a:lnTo>
                <a:lnTo>
                  <a:pt x="10992" y="2958"/>
                </a:lnTo>
                <a:lnTo>
                  <a:pt x="10996" y="2958"/>
                </a:lnTo>
                <a:lnTo>
                  <a:pt x="11002" y="2960"/>
                </a:lnTo>
                <a:lnTo>
                  <a:pt x="11008" y="2962"/>
                </a:lnTo>
                <a:lnTo>
                  <a:pt x="11010" y="2962"/>
                </a:lnTo>
                <a:lnTo>
                  <a:pt x="11012" y="2960"/>
                </a:lnTo>
                <a:lnTo>
                  <a:pt x="11016" y="2958"/>
                </a:lnTo>
                <a:lnTo>
                  <a:pt x="11018" y="2960"/>
                </a:lnTo>
                <a:lnTo>
                  <a:pt x="11020" y="2964"/>
                </a:lnTo>
                <a:lnTo>
                  <a:pt x="11026" y="2970"/>
                </a:lnTo>
                <a:lnTo>
                  <a:pt x="11032" y="2976"/>
                </a:lnTo>
                <a:lnTo>
                  <a:pt x="11034" y="2982"/>
                </a:lnTo>
                <a:lnTo>
                  <a:pt x="11032" y="2988"/>
                </a:lnTo>
                <a:lnTo>
                  <a:pt x="11026" y="3000"/>
                </a:lnTo>
                <a:lnTo>
                  <a:pt x="11022" y="3006"/>
                </a:lnTo>
                <a:lnTo>
                  <a:pt x="11016" y="3010"/>
                </a:lnTo>
                <a:lnTo>
                  <a:pt x="11008" y="3016"/>
                </a:lnTo>
                <a:lnTo>
                  <a:pt x="11004" y="3020"/>
                </a:lnTo>
                <a:lnTo>
                  <a:pt x="11002" y="3022"/>
                </a:lnTo>
                <a:lnTo>
                  <a:pt x="11004" y="3024"/>
                </a:lnTo>
                <a:lnTo>
                  <a:pt x="11004" y="3026"/>
                </a:lnTo>
                <a:lnTo>
                  <a:pt x="11002" y="3028"/>
                </a:lnTo>
                <a:lnTo>
                  <a:pt x="10998" y="3032"/>
                </a:lnTo>
                <a:lnTo>
                  <a:pt x="10994" y="3034"/>
                </a:lnTo>
                <a:lnTo>
                  <a:pt x="10992" y="3036"/>
                </a:lnTo>
                <a:lnTo>
                  <a:pt x="10994" y="3036"/>
                </a:lnTo>
                <a:lnTo>
                  <a:pt x="11000" y="3038"/>
                </a:lnTo>
                <a:lnTo>
                  <a:pt x="11004" y="3044"/>
                </a:lnTo>
                <a:lnTo>
                  <a:pt x="11010" y="3050"/>
                </a:lnTo>
                <a:lnTo>
                  <a:pt x="11010" y="3054"/>
                </a:lnTo>
                <a:lnTo>
                  <a:pt x="11010" y="3058"/>
                </a:lnTo>
                <a:lnTo>
                  <a:pt x="11008" y="3062"/>
                </a:lnTo>
                <a:lnTo>
                  <a:pt x="11004" y="3062"/>
                </a:lnTo>
                <a:lnTo>
                  <a:pt x="11000" y="3060"/>
                </a:lnTo>
                <a:lnTo>
                  <a:pt x="10998" y="3062"/>
                </a:lnTo>
                <a:lnTo>
                  <a:pt x="10996" y="3064"/>
                </a:lnTo>
                <a:lnTo>
                  <a:pt x="10994" y="3068"/>
                </a:lnTo>
                <a:lnTo>
                  <a:pt x="10992" y="3068"/>
                </a:lnTo>
                <a:lnTo>
                  <a:pt x="10990" y="3068"/>
                </a:lnTo>
                <a:lnTo>
                  <a:pt x="10988" y="3074"/>
                </a:lnTo>
                <a:lnTo>
                  <a:pt x="10988" y="3078"/>
                </a:lnTo>
                <a:lnTo>
                  <a:pt x="10990" y="3080"/>
                </a:lnTo>
                <a:lnTo>
                  <a:pt x="10992" y="3082"/>
                </a:lnTo>
                <a:lnTo>
                  <a:pt x="10994" y="3080"/>
                </a:lnTo>
                <a:lnTo>
                  <a:pt x="11000" y="3076"/>
                </a:lnTo>
                <a:lnTo>
                  <a:pt x="11008" y="3074"/>
                </a:lnTo>
                <a:lnTo>
                  <a:pt x="11014" y="3072"/>
                </a:lnTo>
                <a:lnTo>
                  <a:pt x="11014" y="3070"/>
                </a:lnTo>
                <a:lnTo>
                  <a:pt x="11012" y="3068"/>
                </a:lnTo>
                <a:lnTo>
                  <a:pt x="11012" y="3066"/>
                </a:lnTo>
                <a:lnTo>
                  <a:pt x="11016" y="3066"/>
                </a:lnTo>
                <a:lnTo>
                  <a:pt x="11020" y="3066"/>
                </a:lnTo>
                <a:lnTo>
                  <a:pt x="11026" y="3064"/>
                </a:lnTo>
                <a:lnTo>
                  <a:pt x="11030" y="3056"/>
                </a:lnTo>
                <a:lnTo>
                  <a:pt x="11036" y="3048"/>
                </a:lnTo>
                <a:lnTo>
                  <a:pt x="11040" y="3042"/>
                </a:lnTo>
                <a:lnTo>
                  <a:pt x="11044" y="3040"/>
                </a:lnTo>
                <a:lnTo>
                  <a:pt x="11050" y="3036"/>
                </a:lnTo>
                <a:lnTo>
                  <a:pt x="11054" y="3032"/>
                </a:lnTo>
                <a:lnTo>
                  <a:pt x="11056" y="3032"/>
                </a:lnTo>
                <a:lnTo>
                  <a:pt x="11064" y="3030"/>
                </a:lnTo>
                <a:lnTo>
                  <a:pt x="11072" y="3028"/>
                </a:lnTo>
                <a:lnTo>
                  <a:pt x="11074" y="3028"/>
                </a:lnTo>
                <a:lnTo>
                  <a:pt x="11076" y="3024"/>
                </a:lnTo>
                <a:lnTo>
                  <a:pt x="11080" y="3020"/>
                </a:lnTo>
                <a:lnTo>
                  <a:pt x="11082" y="3022"/>
                </a:lnTo>
                <a:lnTo>
                  <a:pt x="11086" y="3022"/>
                </a:lnTo>
                <a:lnTo>
                  <a:pt x="11088" y="3020"/>
                </a:lnTo>
                <a:lnTo>
                  <a:pt x="11090" y="3018"/>
                </a:lnTo>
                <a:lnTo>
                  <a:pt x="11094" y="3018"/>
                </a:lnTo>
                <a:lnTo>
                  <a:pt x="11100" y="3018"/>
                </a:lnTo>
                <a:lnTo>
                  <a:pt x="11110" y="3018"/>
                </a:lnTo>
                <a:lnTo>
                  <a:pt x="11114" y="3014"/>
                </a:lnTo>
                <a:lnTo>
                  <a:pt x="11120" y="3010"/>
                </a:lnTo>
                <a:lnTo>
                  <a:pt x="11120" y="3008"/>
                </a:lnTo>
                <a:lnTo>
                  <a:pt x="11120" y="3010"/>
                </a:lnTo>
                <a:lnTo>
                  <a:pt x="11122" y="3018"/>
                </a:lnTo>
                <a:lnTo>
                  <a:pt x="11126" y="3024"/>
                </a:lnTo>
                <a:lnTo>
                  <a:pt x="11130" y="3028"/>
                </a:lnTo>
                <a:lnTo>
                  <a:pt x="11132" y="3028"/>
                </a:lnTo>
                <a:lnTo>
                  <a:pt x="11136" y="3028"/>
                </a:lnTo>
                <a:lnTo>
                  <a:pt x="11138" y="3026"/>
                </a:lnTo>
                <a:lnTo>
                  <a:pt x="11142" y="3026"/>
                </a:lnTo>
                <a:lnTo>
                  <a:pt x="11152" y="3032"/>
                </a:lnTo>
                <a:lnTo>
                  <a:pt x="11156" y="3036"/>
                </a:lnTo>
                <a:lnTo>
                  <a:pt x="11160" y="3040"/>
                </a:lnTo>
                <a:lnTo>
                  <a:pt x="11162" y="3044"/>
                </a:lnTo>
                <a:lnTo>
                  <a:pt x="11160" y="3050"/>
                </a:lnTo>
                <a:lnTo>
                  <a:pt x="11152" y="3068"/>
                </a:lnTo>
                <a:lnTo>
                  <a:pt x="11150" y="3074"/>
                </a:lnTo>
                <a:lnTo>
                  <a:pt x="11150" y="3078"/>
                </a:lnTo>
                <a:lnTo>
                  <a:pt x="11152" y="3080"/>
                </a:lnTo>
                <a:lnTo>
                  <a:pt x="11154" y="3084"/>
                </a:lnTo>
                <a:lnTo>
                  <a:pt x="11150" y="3086"/>
                </a:lnTo>
                <a:lnTo>
                  <a:pt x="11146" y="3090"/>
                </a:lnTo>
                <a:lnTo>
                  <a:pt x="11142" y="3100"/>
                </a:lnTo>
                <a:lnTo>
                  <a:pt x="11140" y="3104"/>
                </a:lnTo>
                <a:lnTo>
                  <a:pt x="11136" y="3108"/>
                </a:lnTo>
                <a:lnTo>
                  <a:pt x="11132" y="3112"/>
                </a:lnTo>
                <a:lnTo>
                  <a:pt x="11130" y="3114"/>
                </a:lnTo>
                <a:lnTo>
                  <a:pt x="11132" y="3114"/>
                </a:lnTo>
                <a:lnTo>
                  <a:pt x="11140" y="3116"/>
                </a:lnTo>
                <a:lnTo>
                  <a:pt x="11146" y="3116"/>
                </a:lnTo>
                <a:lnTo>
                  <a:pt x="11148" y="3118"/>
                </a:lnTo>
                <a:lnTo>
                  <a:pt x="11148" y="3120"/>
                </a:lnTo>
                <a:lnTo>
                  <a:pt x="11146" y="3122"/>
                </a:lnTo>
                <a:lnTo>
                  <a:pt x="11144" y="3124"/>
                </a:lnTo>
                <a:lnTo>
                  <a:pt x="11144" y="3126"/>
                </a:lnTo>
                <a:lnTo>
                  <a:pt x="11150" y="3126"/>
                </a:lnTo>
                <a:lnTo>
                  <a:pt x="11156" y="3128"/>
                </a:lnTo>
                <a:lnTo>
                  <a:pt x="11158" y="3130"/>
                </a:lnTo>
                <a:lnTo>
                  <a:pt x="11160" y="3132"/>
                </a:lnTo>
                <a:lnTo>
                  <a:pt x="11158" y="3134"/>
                </a:lnTo>
                <a:lnTo>
                  <a:pt x="11158" y="3136"/>
                </a:lnTo>
                <a:lnTo>
                  <a:pt x="11164" y="3136"/>
                </a:lnTo>
                <a:lnTo>
                  <a:pt x="11166" y="3132"/>
                </a:lnTo>
                <a:lnTo>
                  <a:pt x="11168" y="3130"/>
                </a:lnTo>
                <a:lnTo>
                  <a:pt x="11170" y="3124"/>
                </a:lnTo>
                <a:lnTo>
                  <a:pt x="11172" y="3122"/>
                </a:lnTo>
                <a:lnTo>
                  <a:pt x="11174" y="3122"/>
                </a:lnTo>
                <a:lnTo>
                  <a:pt x="11180" y="3124"/>
                </a:lnTo>
                <a:lnTo>
                  <a:pt x="11190" y="3134"/>
                </a:lnTo>
                <a:lnTo>
                  <a:pt x="11190" y="3132"/>
                </a:lnTo>
                <a:lnTo>
                  <a:pt x="11192" y="3128"/>
                </a:lnTo>
                <a:lnTo>
                  <a:pt x="11194" y="3126"/>
                </a:lnTo>
                <a:lnTo>
                  <a:pt x="11196" y="3126"/>
                </a:lnTo>
                <a:lnTo>
                  <a:pt x="11200" y="3128"/>
                </a:lnTo>
                <a:lnTo>
                  <a:pt x="11206" y="3128"/>
                </a:lnTo>
                <a:lnTo>
                  <a:pt x="11214" y="3128"/>
                </a:lnTo>
                <a:lnTo>
                  <a:pt x="11214" y="3134"/>
                </a:lnTo>
                <a:lnTo>
                  <a:pt x="11212" y="3134"/>
                </a:lnTo>
                <a:lnTo>
                  <a:pt x="11210" y="3134"/>
                </a:lnTo>
                <a:lnTo>
                  <a:pt x="11208" y="3136"/>
                </a:lnTo>
                <a:lnTo>
                  <a:pt x="11210" y="3142"/>
                </a:lnTo>
                <a:lnTo>
                  <a:pt x="11212" y="3148"/>
                </a:lnTo>
                <a:lnTo>
                  <a:pt x="11214" y="3154"/>
                </a:lnTo>
                <a:lnTo>
                  <a:pt x="11214" y="3156"/>
                </a:lnTo>
                <a:lnTo>
                  <a:pt x="11214" y="3160"/>
                </a:lnTo>
                <a:lnTo>
                  <a:pt x="11212" y="3162"/>
                </a:lnTo>
                <a:lnTo>
                  <a:pt x="11212" y="3164"/>
                </a:lnTo>
                <a:lnTo>
                  <a:pt x="11216" y="3168"/>
                </a:lnTo>
                <a:lnTo>
                  <a:pt x="11220" y="3174"/>
                </a:lnTo>
                <a:lnTo>
                  <a:pt x="11222" y="3176"/>
                </a:lnTo>
                <a:lnTo>
                  <a:pt x="11222" y="3178"/>
                </a:lnTo>
                <a:lnTo>
                  <a:pt x="11220" y="3182"/>
                </a:lnTo>
                <a:lnTo>
                  <a:pt x="11220" y="3180"/>
                </a:lnTo>
                <a:lnTo>
                  <a:pt x="11216" y="3176"/>
                </a:lnTo>
                <a:lnTo>
                  <a:pt x="11214" y="3174"/>
                </a:lnTo>
                <a:lnTo>
                  <a:pt x="11210" y="3172"/>
                </a:lnTo>
                <a:lnTo>
                  <a:pt x="11200" y="3172"/>
                </a:lnTo>
                <a:lnTo>
                  <a:pt x="11198" y="3174"/>
                </a:lnTo>
                <a:lnTo>
                  <a:pt x="11200" y="3176"/>
                </a:lnTo>
                <a:lnTo>
                  <a:pt x="11200" y="3180"/>
                </a:lnTo>
                <a:lnTo>
                  <a:pt x="11198" y="3182"/>
                </a:lnTo>
                <a:lnTo>
                  <a:pt x="11196" y="3180"/>
                </a:lnTo>
                <a:lnTo>
                  <a:pt x="11194" y="3180"/>
                </a:lnTo>
                <a:lnTo>
                  <a:pt x="11192" y="3182"/>
                </a:lnTo>
                <a:lnTo>
                  <a:pt x="11190" y="3188"/>
                </a:lnTo>
                <a:lnTo>
                  <a:pt x="11192" y="3192"/>
                </a:lnTo>
                <a:lnTo>
                  <a:pt x="11198" y="3192"/>
                </a:lnTo>
                <a:lnTo>
                  <a:pt x="11200" y="3192"/>
                </a:lnTo>
                <a:lnTo>
                  <a:pt x="11204" y="3192"/>
                </a:lnTo>
                <a:lnTo>
                  <a:pt x="11206" y="3196"/>
                </a:lnTo>
                <a:lnTo>
                  <a:pt x="11206" y="3212"/>
                </a:lnTo>
                <a:lnTo>
                  <a:pt x="11206" y="3218"/>
                </a:lnTo>
                <a:lnTo>
                  <a:pt x="11208" y="3222"/>
                </a:lnTo>
                <a:lnTo>
                  <a:pt x="11212" y="3226"/>
                </a:lnTo>
                <a:lnTo>
                  <a:pt x="11212" y="3228"/>
                </a:lnTo>
                <a:lnTo>
                  <a:pt x="11212" y="3230"/>
                </a:lnTo>
                <a:lnTo>
                  <a:pt x="11212" y="3232"/>
                </a:lnTo>
                <a:lnTo>
                  <a:pt x="11216" y="3238"/>
                </a:lnTo>
                <a:lnTo>
                  <a:pt x="11212" y="3240"/>
                </a:lnTo>
                <a:lnTo>
                  <a:pt x="11208" y="3244"/>
                </a:lnTo>
                <a:lnTo>
                  <a:pt x="11204" y="3252"/>
                </a:lnTo>
                <a:lnTo>
                  <a:pt x="11198" y="3270"/>
                </a:lnTo>
                <a:lnTo>
                  <a:pt x="11196" y="3274"/>
                </a:lnTo>
                <a:lnTo>
                  <a:pt x="11196" y="3278"/>
                </a:lnTo>
                <a:lnTo>
                  <a:pt x="11198" y="3280"/>
                </a:lnTo>
                <a:lnTo>
                  <a:pt x="11200" y="3284"/>
                </a:lnTo>
                <a:lnTo>
                  <a:pt x="11200" y="3288"/>
                </a:lnTo>
                <a:lnTo>
                  <a:pt x="11202" y="3292"/>
                </a:lnTo>
                <a:lnTo>
                  <a:pt x="11202" y="3294"/>
                </a:lnTo>
                <a:lnTo>
                  <a:pt x="11200" y="3296"/>
                </a:lnTo>
                <a:lnTo>
                  <a:pt x="11196" y="3296"/>
                </a:lnTo>
                <a:lnTo>
                  <a:pt x="11196" y="3298"/>
                </a:lnTo>
                <a:lnTo>
                  <a:pt x="11198" y="3304"/>
                </a:lnTo>
                <a:lnTo>
                  <a:pt x="11200" y="3304"/>
                </a:lnTo>
                <a:lnTo>
                  <a:pt x="11204" y="3304"/>
                </a:lnTo>
                <a:lnTo>
                  <a:pt x="11204" y="3308"/>
                </a:lnTo>
                <a:lnTo>
                  <a:pt x="11206" y="3314"/>
                </a:lnTo>
                <a:lnTo>
                  <a:pt x="11206" y="3318"/>
                </a:lnTo>
                <a:lnTo>
                  <a:pt x="11210" y="3316"/>
                </a:lnTo>
                <a:lnTo>
                  <a:pt x="11214" y="3310"/>
                </a:lnTo>
                <a:lnTo>
                  <a:pt x="11218" y="3304"/>
                </a:lnTo>
                <a:lnTo>
                  <a:pt x="11218" y="3306"/>
                </a:lnTo>
                <a:lnTo>
                  <a:pt x="11218" y="3310"/>
                </a:lnTo>
                <a:lnTo>
                  <a:pt x="11220" y="3312"/>
                </a:lnTo>
                <a:lnTo>
                  <a:pt x="11222" y="3310"/>
                </a:lnTo>
                <a:lnTo>
                  <a:pt x="11224" y="3306"/>
                </a:lnTo>
                <a:lnTo>
                  <a:pt x="11226" y="3302"/>
                </a:lnTo>
                <a:lnTo>
                  <a:pt x="11230" y="3298"/>
                </a:lnTo>
                <a:lnTo>
                  <a:pt x="11234" y="3294"/>
                </a:lnTo>
                <a:lnTo>
                  <a:pt x="11238" y="3294"/>
                </a:lnTo>
                <a:lnTo>
                  <a:pt x="11238" y="3296"/>
                </a:lnTo>
                <a:lnTo>
                  <a:pt x="11234" y="3300"/>
                </a:lnTo>
                <a:lnTo>
                  <a:pt x="11232" y="3304"/>
                </a:lnTo>
                <a:lnTo>
                  <a:pt x="11234" y="3308"/>
                </a:lnTo>
                <a:lnTo>
                  <a:pt x="11238" y="3310"/>
                </a:lnTo>
                <a:lnTo>
                  <a:pt x="11242" y="3308"/>
                </a:lnTo>
                <a:lnTo>
                  <a:pt x="11244" y="3306"/>
                </a:lnTo>
                <a:lnTo>
                  <a:pt x="11246" y="3302"/>
                </a:lnTo>
                <a:lnTo>
                  <a:pt x="11244" y="3296"/>
                </a:lnTo>
                <a:lnTo>
                  <a:pt x="11242" y="3292"/>
                </a:lnTo>
                <a:lnTo>
                  <a:pt x="11244" y="3290"/>
                </a:lnTo>
                <a:lnTo>
                  <a:pt x="11246" y="3290"/>
                </a:lnTo>
                <a:lnTo>
                  <a:pt x="11248" y="3294"/>
                </a:lnTo>
                <a:lnTo>
                  <a:pt x="11250" y="3300"/>
                </a:lnTo>
                <a:lnTo>
                  <a:pt x="11254" y="3296"/>
                </a:lnTo>
                <a:lnTo>
                  <a:pt x="11256" y="3294"/>
                </a:lnTo>
                <a:lnTo>
                  <a:pt x="11256" y="3292"/>
                </a:lnTo>
                <a:lnTo>
                  <a:pt x="11252" y="3288"/>
                </a:lnTo>
                <a:lnTo>
                  <a:pt x="11250" y="3286"/>
                </a:lnTo>
                <a:lnTo>
                  <a:pt x="11254" y="3284"/>
                </a:lnTo>
                <a:lnTo>
                  <a:pt x="11264" y="3284"/>
                </a:lnTo>
                <a:lnTo>
                  <a:pt x="11272" y="3286"/>
                </a:lnTo>
                <a:lnTo>
                  <a:pt x="11278" y="3288"/>
                </a:lnTo>
                <a:lnTo>
                  <a:pt x="11282" y="3288"/>
                </a:lnTo>
                <a:lnTo>
                  <a:pt x="11284" y="3286"/>
                </a:lnTo>
                <a:lnTo>
                  <a:pt x="11284" y="3284"/>
                </a:lnTo>
                <a:lnTo>
                  <a:pt x="11284" y="3280"/>
                </a:lnTo>
                <a:lnTo>
                  <a:pt x="11288" y="3278"/>
                </a:lnTo>
                <a:lnTo>
                  <a:pt x="11296" y="3276"/>
                </a:lnTo>
                <a:lnTo>
                  <a:pt x="11302" y="3276"/>
                </a:lnTo>
                <a:lnTo>
                  <a:pt x="11306" y="3278"/>
                </a:lnTo>
                <a:lnTo>
                  <a:pt x="11310" y="3276"/>
                </a:lnTo>
                <a:lnTo>
                  <a:pt x="11316" y="3268"/>
                </a:lnTo>
                <a:lnTo>
                  <a:pt x="11322" y="3256"/>
                </a:lnTo>
                <a:lnTo>
                  <a:pt x="11326" y="3244"/>
                </a:lnTo>
                <a:lnTo>
                  <a:pt x="11328" y="3232"/>
                </a:lnTo>
                <a:lnTo>
                  <a:pt x="11328" y="3226"/>
                </a:lnTo>
                <a:lnTo>
                  <a:pt x="11326" y="3226"/>
                </a:lnTo>
                <a:lnTo>
                  <a:pt x="11322" y="3226"/>
                </a:lnTo>
                <a:lnTo>
                  <a:pt x="11322" y="3218"/>
                </a:lnTo>
                <a:lnTo>
                  <a:pt x="11322" y="3208"/>
                </a:lnTo>
                <a:lnTo>
                  <a:pt x="11324" y="3200"/>
                </a:lnTo>
                <a:lnTo>
                  <a:pt x="11324" y="3192"/>
                </a:lnTo>
                <a:lnTo>
                  <a:pt x="11324" y="3180"/>
                </a:lnTo>
                <a:lnTo>
                  <a:pt x="11320" y="3164"/>
                </a:lnTo>
                <a:lnTo>
                  <a:pt x="11314" y="3148"/>
                </a:lnTo>
                <a:lnTo>
                  <a:pt x="11306" y="3134"/>
                </a:lnTo>
                <a:lnTo>
                  <a:pt x="11298" y="3122"/>
                </a:lnTo>
                <a:lnTo>
                  <a:pt x="11292" y="3110"/>
                </a:lnTo>
                <a:lnTo>
                  <a:pt x="11286" y="3100"/>
                </a:lnTo>
                <a:lnTo>
                  <a:pt x="11280" y="3086"/>
                </a:lnTo>
                <a:lnTo>
                  <a:pt x="11278" y="3080"/>
                </a:lnTo>
                <a:lnTo>
                  <a:pt x="11274" y="3078"/>
                </a:lnTo>
                <a:lnTo>
                  <a:pt x="11270" y="3074"/>
                </a:lnTo>
                <a:lnTo>
                  <a:pt x="11262" y="3066"/>
                </a:lnTo>
                <a:lnTo>
                  <a:pt x="11258" y="3060"/>
                </a:lnTo>
                <a:lnTo>
                  <a:pt x="11254" y="3058"/>
                </a:lnTo>
                <a:lnTo>
                  <a:pt x="11248" y="3056"/>
                </a:lnTo>
                <a:lnTo>
                  <a:pt x="11244" y="3054"/>
                </a:lnTo>
                <a:lnTo>
                  <a:pt x="11242" y="3050"/>
                </a:lnTo>
                <a:lnTo>
                  <a:pt x="11242" y="3048"/>
                </a:lnTo>
                <a:lnTo>
                  <a:pt x="11246" y="3048"/>
                </a:lnTo>
                <a:lnTo>
                  <a:pt x="11248" y="3046"/>
                </a:lnTo>
                <a:lnTo>
                  <a:pt x="11248" y="3038"/>
                </a:lnTo>
                <a:lnTo>
                  <a:pt x="11246" y="3030"/>
                </a:lnTo>
                <a:lnTo>
                  <a:pt x="11248" y="3026"/>
                </a:lnTo>
                <a:lnTo>
                  <a:pt x="11248" y="3022"/>
                </a:lnTo>
                <a:lnTo>
                  <a:pt x="11250" y="3020"/>
                </a:lnTo>
                <a:lnTo>
                  <a:pt x="11256" y="3018"/>
                </a:lnTo>
                <a:lnTo>
                  <a:pt x="11260" y="3016"/>
                </a:lnTo>
                <a:lnTo>
                  <a:pt x="11262" y="3012"/>
                </a:lnTo>
                <a:lnTo>
                  <a:pt x="11266" y="3008"/>
                </a:lnTo>
                <a:lnTo>
                  <a:pt x="11268" y="3008"/>
                </a:lnTo>
                <a:lnTo>
                  <a:pt x="11272" y="3008"/>
                </a:lnTo>
                <a:lnTo>
                  <a:pt x="11276" y="3010"/>
                </a:lnTo>
                <a:lnTo>
                  <a:pt x="11280" y="3008"/>
                </a:lnTo>
                <a:lnTo>
                  <a:pt x="11284" y="3006"/>
                </a:lnTo>
                <a:lnTo>
                  <a:pt x="11290" y="3000"/>
                </a:lnTo>
                <a:lnTo>
                  <a:pt x="11314" y="2976"/>
                </a:lnTo>
                <a:lnTo>
                  <a:pt x="11322" y="2968"/>
                </a:lnTo>
                <a:lnTo>
                  <a:pt x="11330" y="2964"/>
                </a:lnTo>
                <a:lnTo>
                  <a:pt x="11334" y="2964"/>
                </a:lnTo>
                <a:lnTo>
                  <a:pt x="11334" y="2960"/>
                </a:lnTo>
                <a:lnTo>
                  <a:pt x="11336" y="2954"/>
                </a:lnTo>
                <a:lnTo>
                  <a:pt x="11336" y="2944"/>
                </a:lnTo>
                <a:lnTo>
                  <a:pt x="11336" y="2938"/>
                </a:lnTo>
                <a:lnTo>
                  <a:pt x="11338" y="2934"/>
                </a:lnTo>
                <a:lnTo>
                  <a:pt x="11336" y="2932"/>
                </a:lnTo>
                <a:lnTo>
                  <a:pt x="11334" y="2928"/>
                </a:lnTo>
                <a:lnTo>
                  <a:pt x="11334" y="2926"/>
                </a:lnTo>
                <a:lnTo>
                  <a:pt x="11334" y="2924"/>
                </a:lnTo>
                <a:lnTo>
                  <a:pt x="11338" y="2914"/>
                </a:lnTo>
                <a:lnTo>
                  <a:pt x="11352" y="2894"/>
                </a:lnTo>
                <a:lnTo>
                  <a:pt x="11362" y="2884"/>
                </a:lnTo>
                <a:lnTo>
                  <a:pt x="11366" y="2882"/>
                </a:lnTo>
                <a:lnTo>
                  <a:pt x="11368" y="2882"/>
                </a:lnTo>
                <a:lnTo>
                  <a:pt x="11372" y="2884"/>
                </a:lnTo>
                <a:lnTo>
                  <a:pt x="11376" y="2882"/>
                </a:lnTo>
                <a:lnTo>
                  <a:pt x="11380" y="2878"/>
                </a:lnTo>
                <a:lnTo>
                  <a:pt x="11382" y="2872"/>
                </a:lnTo>
                <a:lnTo>
                  <a:pt x="11380" y="2866"/>
                </a:lnTo>
                <a:lnTo>
                  <a:pt x="11380" y="2862"/>
                </a:lnTo>
                <a:lnTo>
                  <a:pt x="11386" y="2864"/>
                </a:lnTo>
                <a:lnTo>
                  <a:pt x="11396" y="2864"/>
                </a:lnTo>
                <a:lnTo>
                  <a:pt x="11398" y="2862"/>
                </a:lnTo>
                <a:lnTo>
                  <a:pt x="11402" y="2858"/>
                </a:lnTo>
                <a:lnTo>
                  <a:pt x="11408" y="2848"/>
                </a:lnTo>
                <a:lnTo>
                  <a:pt x="11412" y="2840"/>
                </a:lnTo>
                <a:lnTo>
                  <a:pt x="11414" y="2832"/>
                </a:lnTo>
                <a:lnTo>
                  <a:pt x="11414" y="2828"/>
                </a:lnTo>
                <a:lnTo>
                  <a:pt x="11416" y="2826"/>
                </a:lnTo>
                <a:lnTo>
                  <a:pt x="11420" y="2826"/>
                </a:lnTo>
                <a:lnTo>
                  <a:pt x="11424" y="2826"/>
                </a:lnTo>
                <a:lnTo>
                  <a:pt x="11424" y="2828"/>
                </a:lnTo>
                <a:lnTo>
                  <a:pt x="11424" y="2834"/>
                </a:lnTo>
                <a:lnTo>
                  <a:pt x="11422" y="2836"/>
                </a:lnTo>
                <a:lnTo>
                  <a:pt x="11424" y="2838"/>
                </a:lnTo>
                <a:lnTo>
                  <a:pt x="11426" y="2838"/>
                </a:lnTo>
                <a:lnTo>
                  <a:pt x="11430" y="2834"/>
                </a:lnTo>
                <a:lnTo>
                  <a:pt x="11436" y="2832"/>
                </a:lnTo>
                <a:lnTo>
                  <a:pt x="11438" y="2832"/>
                </a:lnTo>
                <a:lnTo>
                  <a:pt x="11440" y="2834"/>
                </a:lnTo>
                <a:lnTo>
                  <a:pt x="11440" y="2836"/>
                </a:lnTo>
                <a:lnTo>
                  <a:pt x="11440" y="2844"/>
                </a:lnTo>
                <a:lnTo>
                  <a:pt x="11442" y="2848"/>
                </a:lnTo>
                <a:lnTo>
                  <a:pt x="11444" y="2850"/>
                </a:lnTo>
                <a:lnTo>
                  <a:pt x="11458" y="2854"/>
                </a:lnTo>
                <a:lnTo>
                  <a:pt x="11468" y="2860"/>
                </a:lnTo>
                <a:lnTo>
                  <a:pt x="11474" y="2860"/>
                </a:lnTo>
                <a:lnTo>
                  <a:pt x="11478" y="2858"/>
                </a:lnTo>
                <a:lnTo>
                  <a:pt x="11486" y="2854"/>
                </a:lnTo>
                <a:lnTo>
                  <a:pt x="11496" y="2852"/>
                </a:lnTo>
                <a:lnTo>
                  <a:pt x="11506" y="2848"/>
                </a:lnTo>
                <a:lnTo>
                  <a:pt x="11512" y="2844"/>
                </a:lnTo>
                <a:lnTo>
                  <a:pt x="11520" y="2836"/>
                </a:lnTo>
                <a:lnTo>
                  <a:pt x="11536" y="2826"/>
                </a:lnTo>
                <a:lnTo>
                  <a:pt x="11546" y="2820"/>
                </a:lnTo>
                <a:lnTo>
                  <a:pt x="11554" y="2810"/>
                </a:lnTo>
                <a:lnTo>
                  <a:pt x="11574" y="2784"/>
                </a:lnTo>
                <a:lnTo>
                  <a:pt x="11600" y="2748"/>
                </a:lnTo>
                <a:lnTo>
                  <a:pt x="11616" y="2728"/>
                </a:lnTo>
                <a:lnTo>
                  <a:pt x="11638" y="2708"/>
                </a:lnTo>
                <a:lnTo>
                  <a:pt x="11656" y="2686"/>
                </a:lnTo>
                <a:lnTo>
                  <a:pt x="11668" y="2668"/>
                </a:lnTo>
                <a:lnTo>
                  <a:pt x="11678" y="2652"/>
                </a:lnTo>
                <a:lnTo>
                  <a:pt x="11684" y="2638"/>
                </a:lnTo>
                <a:lnTo>
                  <a:pt x="11692" y="2616"/>
                </a:lnTo>
                <a:lnTo>
                  <a:pt x="11696" y="2608"/>
                </a:lnTo>
                <a:lnTo>
                  <a:pt x="11704" y="2600"/>
                </a:lnTo>
                <a:lnTo>
                  <a:pt x="11712" y="2592"/>
                </a:lnTo>
                <a:lnTo>
                  <a:pt x="11716" y="2586"/>
                </a:lnTo>
                <a:lnTo>
                  <a:pt x="11720" y="2576"/>
                </a:lnTo>
                <a:lnTo>
                  <a:pt x="11722" y="2572"/>
                </a:lnTo>
                <a:lnTo>
                  <a:pt x="11726" y="2564"/>
                </a:lnTo>
                <a:lnTo>
                  <a:pt x="11732" y="2556"/>
                </a:lnTo>
                <a:lnTo>
                  <a:pt x="11742" y="2546"/>
                </a:lnTo>
                <a:lnTo>
                  <a:pt x="11748" y="2540"/>
                </a:lnTo>
                <a:lnTo>
                  <a:pt x="11754" y="2532"/>
                </a:lnTo>
                <a:lnTo>
                  <a:pt x="11762" y="2516"/>
                </a:lnTo>
                <a:lnTo>
                  <a:pt x="11768" y="2496"/>
                </a:lnTo>
                <a:lnTo>
                  <a:pt x="11772" y="2476"/>
                </a:lnTo>
                <a:lnTo>
                  <a:pt x="11772" y="2456"/>
                </a:lnTo>
                <a:lnTo>
                  <a:pt x="11772" y="2438"/>
                </a:lnTo>
                <a:lnTo>
                  <a:pt x="11770" y="2422"/>
                </a:lnTo>
                <a:lnTo>
                  <a:pt x="11768" y="2412"/>
                </a:lnTo>
                <a:lnTo>
                  <a:pt x="11768" y="2404"/>
                </a:lnTo>
                <a:lnTo>
                  <a:pt x="11768" y="2398"/>
                </a:lnTo>
                <a:lnTo>
                  <a:pt x="11768" y="2392"/>
                </a:lnTo>
                <a:lnTo>
                  <a:pt x="11770" y="2388"/>
                </a:lnTo>
                <a:lnTo>
                  <a:pt x="11778" y="2376"/>
                </a:lnTo>
                <a:lnTo>
                  <a:pt x="11780" y="2370"/>
                </a:lnTo>
                <a:lnTo>
                  <a:pt x="11784" y="2360"/>
                </a:lnTo>
                <a:lnTo>
                  <a:pt x="11788" y="2350"/>
                </a:lnTo>
                <a:lnTo>
                  <a:pt x="11792" y="2340"/>
                </a:lnTo>
                <a:lnTo>
                  <a:pt x="11804" y="2328"/>
                </a:lnTo>
                <a:lnTo>
                  <a:pt x="11808" y="2322"/>
                </a:lnTo>
                <a:lnTo>
                  <a:pt x="11810" y="2316"/>
                </a:lnTo>
                <a:lnTo>
                  <a:pt x="11810" y="2310"/>
                </a:lnTo>
                <a:lnTo>
                  <a:pt x="11804" y="2304"/>
                </a:lnTo>
                <a:lnTo>
                  <a:pt x="11800" y="2298"/>
                </a:lnTo>
                <a:lnTo>
                  <a:pt x="11798" y="2292"/>
                </a:lnTo>
                <a:lnTo>
                  <a:pt x="11796" y="2288"/>
                </a:lnTo>
                <a:lnTo>
                  <a:pt x="11798" y="2284"/>
                </a:lnTo>
                <a:lnTo>
                  <a:pt x="11800" y="2276"/>
                </a:lnTo>
                <a:lnTo>
                  <a:pt x="11798" y="2272"/>
                </a:lnTo>
                <a:lnTo>
                  <a:pt x="11794" y="2266"/>
                </a:lnTo>
                <a:lnTo>
                  <a:pt x="11792" y="2260"/>
                </a:lnTo>
                <a:lnTo>
                  <a:pt x="11794" y="2258"/>
                </a:lnTo>
                <a:lnTo>
                  <a:pt x="11804" y="2252"/>
                </a:lnTo>
                <a:lnTo>
                  <a:pt x="11808" y="2248"/>
                </a:lnTo>
                <a:lnTo>
                  <a:pt x="11808" y="2246"/>
                </a:lnTo>
                <a:lnTo>
                  <a:pt x="11806" y="2240"/>
                </a:lnTo>
                <a:lnTo>
                  <a:pt x="11798" y="2234"/>
                </a:lnTo>
                <a:lnTo>
                  <a:pt x="11780" y="2220"/>
                </a:lnTo>
                <a:lnTo>
                  <a:pt x="11768" y="2208"/>
                </a:lnTo>
                <a:lnTo>
                  <a:pt x="11752" y="2188"/>
                </a:lnTo>
                <a:lnTo>
                  <a:pt x="11746" y="2186"/>
                </a:lnTo>
                <a:lnTo>
                  <a:pt x="11742" y="2184"/>
                </a:lnTo>
                <a:lnTo>
                  <a:pt x="11732" y="2184"/>
                </a:lnTo>
                <a:lnTo>
                  <a:pt x="11720" y="2186"/>
                </a:lnTo>
                <a:lnTo>
                  <a:pt x="11714" y="2186"/>
                </a:lnTo>
                <a:lnTo>
                  <a:pt x="11708" y="2182"/>
                </a:lnTo>
                <a:lnTo>
                  <a:pt x="11702" y="2182"/>
                </a:lnTo>
                <a:lnTo>
                  <a:pt x="11700" y="2184"/>
                </a:lnTo>
                <a:lnTo>
                  <a:pt x="11696" y="2196"/>
                </a:lnTo>
                <a:lnTo>
                  <a:pt x="11692" y="2202"/>
                </a:lnTo>
                <a:lnTo>
                  <a:pt x="11688" y="2210"/>
                </a:lnTo>
                <a:lnTo>
                  <a:pt x="11680" y="2218"/>
                </a:lnTo>
                <a:lnTo>
                  <a:pt x="11670" y="2222"/>
                </a:lnTo>
                <a:lnTo>
                  <a:pt x="11660" y="2224"/>
                </a:lnTo>
                <a:lnTo>
                  <a:pt x="11656" y="2224"/>
                </a:lnTo>
                <a:lnTo>
                  <a:pt x="11652" y="2224"/>
                </a:lnTo>
                <a:lnTo>
                  <a:pt x="11650" y="2220"/>
                </a:lnTo>
                <a:lnTo>
                  <a:pt x="11650" y="2216"/>
                </a:lnTo>
                <a:lnTo>
                  <a:pt x="11650" y="2212"/>
                </a:lnTo>
                <a:lnTo>
                  <a:pt x="11654" y="2202"/>
                </a:lnTo>
                <a:lnTo>
                  <a:pt x="11658" y="2192"/>
                </a:lnTo>
                <a:lnTo>
                  <a:pt x="11660" y="2184"/>
                </a:lnTo>
                <a:lnTo>
                  <a:pt x="11660" y="2182"/>
                </a:lnTo>
                <a:lnTo>
                  <a:pt x="11658" y="2180"/>
                </a:lnTo>
                <a:lnTo>
                  <a:pt x="11654" y="2180"/>
                </a:lnTo>
                <a:lnTo>
                  <a:pt x="11648" y="2180"/>
                </a:lnTo>
                <a:lnTo>
                  <a:pt x="11638" y="2186"/>
                </a:lnTo>
                <a:lnTo>
                  <a:pt x="11634" y="2190"/>
                </a:lnTo>
                <a:lnTo>
                  <a:pt x="11634" y="2194"/>
                </a:lnTo>
                <a:lnTo>
                  <a:pt x="11636" y="2198"/>
                </a:lnTo>
                <a:lnTo>
                  <a:pt x="11638" y="2202"/>
                </a:lnTo>
                <a:lnTo>
                  <a:pt x="11638" y="2204"/>
                </a:lnTo>
                <a:lnTo>
                  <a:pt x="11634" y="2206"/>
                </a:lnTo>
                <a:lnTo>
                  <a:pt x="11626" y="2208"/>
                </a:lnTo>
                <a:lnTo>
                  <a:pt x="11622" y="2208"/>
                </a:lnTo>
                <a:lnTo>
                  <a:pt x="11618" y="2206"/>
                </a:lnTo>
                <a:lnTo>
                  <a:pt x="11616" y="2204"/>
                </a:lnTo>
                <a:lnTo>
                  <a:pt x="11616" y="2202"/>
                </a:lnTo>
                <a:lnTo>
                  <a:pt x="11618" y="2194"/>
                </a:lnTo>
                <a:lnTo>
                  <a:pt x="11622" y="2186"/>
                </a:lnTo>
                <a:lnTo>
                  <a:pt x="11624" y="2176"/>
                </a:lnTo>
                <a:lnTo>
                  <a:pt x="11624" y="2172"/>
                </a:lnTo>
                <a:lnTo>
                  <a:pt x="11622" y="2168"/>
                </a:lnTo>
                <a:lnTo>
                  <a:pt x="11620" y="2164"/>
                </a:lnTo>
                <a:lnTo>
                  <a:pt x="11616" y="2162"/>
                </a:lnTo>
                <a:lnTo>
                  <a:pt x="11610" y="2160"/>
                </a:lnTo>
                <a:lnTo>
                  <a:pt x="11602" y="2160"/>
                </a:lnTo>
                <a:lnTo>
                  <a:pt x="11584" y="2160"/>
                </a:lnTo>
                <a:lnTo>
                  <a:pt x="11570" y="2160"/>
                </a:lnTo>
                <a:lnTo>
                  <a:pt x="11560" y="2158"/>
                </a:lnTo>
                <a:lnTo>
                  <a:pt x="11556" y="2154"/>
                </a:lnTo>
                <a:lnTo>
                  <a:pt x="11554" y="2150"/>
                </a:lnTo>
                <a:lnTo>
                  <a:pt x="11556" y="2146"/>
                </a:lnTo>
                <a:lnTo>
                  <a:pt x="11562" y="2138"/>
                </a:lnTo>
                <a:lnTo>
                  <a:pt x="11574" y="2126"/>
                </a:lnTo>
                <a:lnTo>
                  <a:pt x="11594" y="2112"/>
                </a:lnTo>
                <a:lnTo>
                  <a:pt x="11634" y="2086"/>
                </a:lnTo>
                <a:lnTo>
                  <a:pt x="11658" y="2068"/>
                </a:lnTo>
                <a:lnTo>
                  <a:pt x="11666" y="2060"/>
                </a:lnTo>
                <a:lnTo>
                  <a:pt x="11672" y="2052"/>
                </a:lnTo>
                <a:lnTo>
                  <a:pt x="11676" y="2042"/>
                </a:lnTo>
                <a:lnTo>
                  <a:pt x="11682" y="2030"/>
                </a:lnTo>
                <a:lnTo>
                  <a:pt x="11690" y="2018"/>
                </a:lnTo>
                <a:lnTo>
                  <a:pt x="11700" y="2008"/>
                </a:lnTo>
                <a:lnTo>
                  <a:pt x="11714" y="1998"/>
                </a:lnTo>
                <a:lnTo>
                  <a:pt x="11728" y="1990"/>
                </a:lnTo>
                <a:lnTo>
                  <a:pt x="11742" y="1982"/>
                </a:lnTo>
                <a:lnTo>
                  <a:pt x="11754" y="1972"/>
                </a:lnTo>
                <a:lnTo>
                  <a:pt x="11766" y="1960"/>
                </a:lnTo>
                <a:lnTo>
                  <a:pt x="11770" y="1952"/>
                </a:lnTo>
                <a:lnTo>
                  <a:pt x="11774" y="1944"/>
                </a:lnTo>
                <a:lnTo>
                  <a:pt x="11782" y="1928"/>
                </a:lnTo>
                <a:lnTo>
                  <a:pt x="11796" y="1912"/>
                </a:lnTo>
                <a:lnTo>
                  <a:pt x="11814" y="1896"/>
                </a:lnTo>
                <a:lnTo>
                  <a:pt x="11834" y="1882"/>
                </a:lnTo>
                <a:lnTo>
                  <a:pt x="11854" y="1870"/>
                </a:lnTo>
                <a:lnTo>
                  <a:pt x="11874" y="1864"/>
                </a:lnTo>
                <a:lnTo>
                  <a:pt x="11894" y="1860"/>
                </a:lnTo>
                <a:lnTo>
                  <a:pt x="11902" y="1860"/>
                </a:lnTo>
                <a:lnTo>
                  <a:pt x="11912" y="1862"/>
                </a:lnTo>
                <a:lnTo>
                  <a:pt x="11926" y="1864"/>
                </a:lnTo>
                <a:lnTo>
                  <a:pt x="11936" y="1866"/>
                </a:lnTo>
                <a:lnTo>
                  <a:pt x="11956" y="1864"/>
                </a:lnTo>
                <a:lnTo>
                  <a:pt x="11970" y="1864"/>
                </a:lnTo>
                <a:lnTo>
                  <a:pt x="11978" y="1866"/>
                </a:lnTo>
                <a:lnTo>
                  <a:pt x="11986" y="1868"/>
                </a:lnTo>
                <a:lnTo>
                  <a:pt x="11994" y="1872"/>
                </a:lnTo>
                <a:lnTo>
                  <a:pt x="11996" y="1872"/>
                </a:lnTo>
                <a:lnTo>
                  <a:pt x="11998" y="1870"/>
                </a:lnTo>
                <a:lnTo>
                  <a:pt x="12002" y="1866"/>
                </a:lnTo>
                <a:lnTo>
                  <a:pt x="12006" y="1862"/>
                </a:lnTo>
                <a:lnTo>
                  <a:pt x="12012" y="1858"/>
                </a:lnTo>
                <a:lnTo>
                  <a:pt x="12024" y="1858"/>
                </a:lnTo>
                <a:lnTo>
                  <a:pt x="12042" y="1860"/>
                </a:lnTo>
                <a:lnTo>
                  <a:pt x="12076" y="1868"/>
                </a:lnTo>
                <a:lnTo>
                  <a:pt x="12088" y="1870"/>
                </a:lnTo>
                <a:lnTo>
                  <a:pt x="12096" y="1870"/>
                </a:lnTo>
                <a:lnTo>
                  <a:pt x="12104" y="1868"/>
                </a:lnTo>
                <a:lnTo>
                  <a:pt x="12108" y="1866"/>
                </a:lnTo>
                <a:lnTo>
                  <a:pt x="12112" y="1858"/>
                </a:lnTo>
                <a:lnTo>
                  <a:pt x="12116" y="1848"/>
                </a:lnTo>
                <a:lnTo>
                  <a:pt x="12118" y="1846"/>
                </a:lnTo>
                <a:lnTo>
                  <a:pt x="12124" y="1844"/>
                </a:lnTo>
                <a:lnTo>
                  <a:pt x="12140" y="1842"/>
                </a:lnTo>
                <a:lnTo>
                  <a:pt x="12160" y="1842"/>
                </a:lnTo>
                <a:lnTo>
                  <a:pt x="12182" y="1844"/>
                </a:lnTo>
                <a:lnTo>
                  <a:pt x="12202" y="1848"/>
                </a:lnTo>
                <a:lnTo>
                  <a:pt x="12210" y="1852"/>
                </a:lnTo>
                <a:lnTo>
                  <a:pt x="12216" y="1854"/>
                </a:lnTo>
                <a:lnTo>
                  <a:pt x="12218" y="1858"/>
                </a:lnTo>
                <a:lnTo>
                  <a:pt x="12220" y="1864"/>
                </a:lnTo>
                <a:lnTo>
                  <a:pt x="12216" y="1870"/>
                </a:lnTo>
                <a:lnTo>
                  <a:pt x="12208" y="1876"/>
                </a:lnTo>
                <a:lnTo>
                  <a:pt x="12202" y="1880"/>
                </a:lnTo>
                <a:lnTo>
                  <a:pt x="12200" y="1884"/>
                </a:lnTo>
                <a:lnTo>
                  <a:pt x="12200" y="1888"/>
                </a:lnTo>
                <a:lnTo>
                  <a:pt x="12202" y="1890"/>
                </a:lnTo>
                <a:lnTo>
                  <a:pt x="12214" y="1890"/>
                </a:lnTo>
                <a:lnTo>
                  <a:pt x="12228" y="1890"/>
                </a:lnTo>
                <a:lnTo>
                  <a:pt x="12246" y="1888"/>
                </a:lnTo>
                <a:lnTo>
                  <a:pt x="12262" y="1884"/>
                </a:lnTo>
                <a:lnTo>
                  <a:pt x="12276" y="1880"/>
                </a:lnTo>
                <a:lnTo>
                  <a:pt x="12282" y="1876"/>
                </a:lnTo>
                <a:lnTo>
                  <a:pt x="12286" y="1870"/>
                </a:lnTo>
                <a:lnTo>
                  <a:pt x="12292" y="1870"/>
                </a:lnTo>
                <a:lnTo>
                  <a:pt x="12298" y="1872"/>
                </a:lnTo>
                <a:lnTo>
                  <a:pt x="12306" y="1878"/>
                </a:lnTo>
                <a:lnTo>
                  <a:pt x="12316" y="1882"/>
                </a:lnTo>
                <a:lnTo>
                  <a:pt x="12326" y="1884"/>
                </a:lnTo>
                <a:lnTo>
                  <a:pt x="12336" y="1882"/>
                </a:lnTo>
                <a:lnTo>
                  <a:pt x="12344" y="1880"/>
                </a:lnTo>
                <a:lnTo>
                  <a:pt x="12350" y="1876"/>
                </a:lnTo>
                <a:lnTo>
                  <a:pt x="12354" y="1870"/>
                </a:lnTo>
                <a:lnTo>
                  <a:pt x="12358" y="1866"/>
                </a:lnTo>
                <a:lnTo>
                  <a:pt x="12356" y="1862"/>
                </a:lnTo>
                <a:lnTo>
                  <a:pt x="12354" y="1858"/>
                </a:lnTo>
                <a:lnTo>
                  <a:pt x="12346" y="1852"/>
                </a:lnTo>
                <a:lnTo>
                  <a:pt x="12336" y="1844"/>
                </a:lnTo>
                <a:lnTo>
                  <a:pt x="12332" y="1840"/>
                </a:lnTo>
                <a:lnTo>
                  <a:pt x="12328" y="1836"/>
                </a:lnTo>
                <a:lnTo>
                  <a:pt x="12326" y="1830"/>
                </a:lnTo>
                <a:lnTo>
                  <a:pt x="12326" y="1824"/>
                </a:lnTo>
                <a:lnTo>
                  <a:pt x="12328" y="1818"/>
                </a:lnTo>
                <a:lnTo>
                  <a:pt x="12334" y="1810"/>
                </a:lnTo>
                <a:lnTo>
                  <a:pt x="12344" y="1802"/>
                </a:lnTo>
                <a:lnTo>
                  <a:pt x="12358" y="1792"/>
                </a:lnTo>
                <a:lnTo>
                  <a:pt x="12384" y="1772"/>
                </a:lnTo>
                <a:lnTo>
                  <a:pt x="12402" y="1756"/>
                </a:lnTo>
                <a:lnTo>
                  <a:pt x="12424" y="1730"/>
                </a:lnTo>
                <a:lnTo>
                  <a:pt x="12434" y="1720"/>
                </a:lnTo>
                <a:lnTo>
                  <a:pt x="12450" y="1714"/>
                </a:lnTo>
                <a:lnTo>
                  <a:pt x="12472" y="1708"/>
                </a:lnTo>
                <a:lnTo>
                  <a:pt x="12504" y="1702"/>
                </a:lnTo>
                <a:lnTo>
                  <a:pt x="12520" y="1702"/>
                </a:lnTo>
                <a:lnTo>
                  <a:pt x="12530" y="1702"/>
                </a:lnTo>
                <a:lnTo>
                  <a:pt x="12540" y="1706"/>
                </a:lnTo>
                <a:lnTo>
                  <a:pt x="12546" y="1712"/>
                </a:lnTo>
                <a:lnTo>
                  <a:pt x="12550" y="1720"/>
                </a:lnTo>
                <a:lnTo>
                  <a:pt x="12552" y="1728"/>
                </a:lnTo>
                <a:lnTo>
                  <a:pt x="12554" y="1744"/>
                </a:lnTo>
                <a:lnTo>
                  <a:pt x="12554" y="1762"/>
                </a:lnTo>
                <a:lnTo>
                  <a:pt x="12554" y="1768"/>
                </a:lnTo>
                <a:lnTo>
                  <a:pt x="12556" y="1774"/>
                </a:lnTo>
                <a:lnTo>
                  <a:pt x="12560" y="1778"/>
                </a:lnTo>
                <a:lnTo>
                  <a:pt x="12566" y="1778"/>
                </a:lnTo>
                <a:lnTo>
                  <a:pt x="12572" y="1778"/>
                </a:lnTo>
                <a:lnTo>
                  <a:pt x="12582" y="1774"/>
                </a:lnTo>
                <a:lnTo>
                  <a:pt x="12604" y="1762"/>
                </a:lnTo>
                <a:lnTo>
                  <a:pt x="12618" y="1750"/>
                </a:lnTo>
                <a:lnTo>
                  <a:pt x="12628" y="1740"/>
                </a:lnTo>
                <a:lnTo>
                  <a:pt x="12634" y="1730"/>
                </a:lnTo>
                <a:lnTo>
                  <a:pt x="12640" y="1724"/>
                </a:lnTo>
                <a:lnTo>
                  <a:pt x="12646" y="1718"/>
                </a:lnTo>
                <a:lnTo>
                  <a:pt x="12654" y="1718"/>
                </a:lnTo>
                <a:lnTo>
                  <a:pt x="12666" y="1720"/>
                </a:lnTo>
                <a:lnTo>
                  <a:pt x="12672" y="1720"/>
                </a:lnTo>
                <a:lnTo>
                  <a:pt x="12676" y="1720"/>
                </a:lnTo>
                <a:lnTo>
                  <a:pt x="12678" y="1716"/>
                </a:lnTo>
                <a:lnTo>
                  <a:pt x="12680" y="1712"/>
                </a:lnTo>
                <a:lnTo>
                  <a:pt x="12680" y="1700"/>
                </a:lnTo>
                <a:lnTo>
                  <a:pt x="12678" y="1686"/>
                </a:lnTo>
                <a:lnTo>
                  <a:pt x="12676" y="1670"/>
                </a:lnTo>
                <a:lnTo>
                  <a:pt x="12678" y="1664"/>
                </a:lnTo>
                <a:lnTo>
                  <a:pt x="12680" y="1658"/>
                </a:lnTo>
                <a:lnTo>
                  <a:pt x="12684" y="1652"/>
                </a:lnTo>
                <a:lnTo>
                  <a:pt x="12692" y="1648"/>
                </a:lnTo>
                <a:lnTo>
                  <a:pt x="12700" y="1646"/>
                </a:lnTo>
                <a:lnTo>
                  <a:pt x="12712" y="1644"/>
                </a:lnTo>
                <a:lnTo>
                  <a:pt x="12744" y="1646"/>
                </a:lnTo>
                <a:lnTo>
                  <a:pt x="12746" y="1646"/>
                </a:lnTo>
                <a:lnTo>
                  <a:pt x="12746" y="1648"/>
                </a:lnTo>
                <a:lnTo>
                  <a:pt x="12742" y="1652"/>
                </a:lnTo>
                <a:lnTo>
                  <a:pt x="12736" y="1660"/>
                </a:lnTo>
                <a:lnTo>
                  <a:pt x="12728" y="1672"/>
                </a:lnTo>
                <a:lnTo>
                  <a:pt x="12718" y="1688"/>
                </a:lnTo>
                <a:lnTo>
                  <a:pt x="12716" y="1700"/>
                </a:lnTo>
                <a:lnTo>
                  <a:pt x="12712" y="1712"/>
                </a:lnTo>
                <a:lnTo>
                  <a:pt x="12710" y="1724"/>
                </a:lnTo>
                <a:lnTo>
                  <a:pt x="12706" y="1736"/>
                </a:lnTo>
                <a:lnTo>
                  <a:pt x="12702" y="1744"/>
                </a:lnTo>
                <a:lnTo>
                  <a:pt x="12698" y="1752"/>
                </a:lnTo>
                <a:lnTo>
                  <a:pt x="12686" y="1762"/>
                </a:lnTo>
                <a:lnTo>
                  <a:pt x="12672" y="1772"/>
                </a:lnTo>
                <a:lnTo>
                  <a:pt x="12654" y="1782"/>
                </a:lnTo>
                <a:lnTo>
                  <a:pt x="12636" y="1794"/>
                </a:lnTo>
                <a:lnTo>
                  <a:pt x="12616" y="1810"/>
                </a:lnTo>
                <a:lnTo>
                  <a:pt x="12604" y="1822"/>
                </a:lnTo>
                <a:lnTo>
                  <a:pt x="12594" y="1836"/>
                </a:lnTo>
                <a:lnTo>
                  <a:pt x="12552" y="1886"/>
                </a:lnTo>
                <a:lnTo>
                  <a:pt x="12534" y="1904"/>
                </a:lnTo>
                <a:lnTo>
                  <a:pt x="12518" y="1920"/>
                </a:lnTo>
                <a:lnTo>
                  <a:pt x="12502" y="1934"/>
                </a:lnTo>
                <a:lnTo>
                  <a:pt x="12488" y="1944"/>
                </a:lnTo>
                <a:lnTo>
                  <a:pt x="12472" y="1950"/>
                </a:lnTo>
                <a:lnTo>
                  <a:pt x="12456" y="1956"/>
                </a:lnTo>
                <a:lnTo>
                  <a:pt x="12442" y="1960"/>
                </a:lnTo>
                <a:lnTo>
                  <a:pt x="12436" y="1964"/>
                </a:lnTo>
                <a:lnTo>
                  <a:pt x="12432" y="1968"/>
                </a:lnTo>
                <a:lnTo>
                  <a:pt x="12432" y="1976"/>
                </a:lnTo>
                <a:lnTo>
                  <a:pt x="12430" y="1982"/>
                </a:lnTo>
                <a:lnTo>
                  <a:pt x="12428" y="1990"/>
                </a:lnTo>
                <a:lnTo>
                  <a:pt x="12422" y="2000"/>
                </a:lnTo>
                <a:lnTo>
                  <a:pt x="12408" y="2012"/>
                </a:lnTo>
                <a:lnTo>
                  <a:pt x="12402" y="2018"/>
                </a:lnTo>
                <a:lnTo>
                  <a:pt x="12396" y="2028"/>
                </a:lnTo>
                <a:lnTo>
                  <a:pt x="12390" y="2040"/>
                </a:lnTo>
                <a:lnTo>
                  <a:pt x="12386" y="2054"/>
                </a:lnTo>
                <a:lnTo>
                  <a:pt x="12384" y="2068"/>
                </a:lnTo>
                <a:lnTo>
                  <a:pt x="12382" y="2084"/>
                </a:lnTo>
                <a:lnTo>
                  <a:pt x="12382" y="2122"/>
                </a:lnTo>
                <a:lnTo>
                  <a:pt x="12384" y="2162"/>
                </a:lnTo>
                <a:lnTo>
                  <a:pt x="12390" y="2204"/>
                </a:lnTo>
                <a:lnTo>
                  <a:pt x="12398" y="2248"/>
                </a:lnTo>
                <a:lnTo>
                  <a:pt x="12406" y="2292"/>
                </a:lnTo>
                <a:lnTo>
                  <a:pt x="12408" y="2310"/>
                </a:lnTo>
                <a:lnTo>
                  <a:pt x="12412" y="2330"/>
                </a:lnTo>
                <a:lnTo>
                  <a:pt x="12414" y="2350"/>
                </a:lnTo>
                <a:lnTo>
                  <a:pt x="12418" y="2366"/>
                </a:lnTo>
                <a:lnTo>
                  <a:pt x="12422" y="2372"/>
                </a:lnTo>
                <a:lnTo>
                  <a:pt x="12426" y="2376"/>
                </a:lnTo>
                <a:lnTo>
                  <a:pt x="12430" y="2378"/>
                </a:lnTo>
                <a:lnTo>
                  <a:pt x="12436" y="2376"/>
                </a:lnTo>
                <a:lnTo>
                  <a:pt x="12444" y="2372"/>
                </a:lnTo>
                <a:lnTo>
                  <a:pt x="12452" y="2364"/>
                </a:lnTo>
                <a:lnTo>
                  <a:pt x="12464" y="2352"/>
                </a:lnTo>
                <a:lnTo>
                  <a:pt x="12476" y="2336"/>
                </a:lnTo>
                <a:lnTo>
                  <a:pt x="12484" y="2324"/>
                </a:lnTo>
                <a:lnTo>
                  <a:pt x="12490" y="2312"/>
                </a:lnTo>
                <a:lnTo>
                  <a:pt x="12496" y="2294"/>
                </a:lnTo>
                <a:lnTo>
                  <a:pt x="12498" y="2280"/>
                </a:lnTo>
                <a:lnTo>
                  <a:pt x="12500" y="2268"/>
                </a:lnTo>
                <a:lnTo>
                  <a:pt x="12502" y="2258"/>
                </a:lnTo>
                <a:lnTo>
                  <a:pt x="12502" y="2256"/>
                </a:lnTo>
                <a:lnTo>
                  <a:pt x="12506" y="2254"/>
                </a:lnTo>
                <a:lnTo>
                  <a:pt x="12516" y="2250"/>
                </a:lnTo>
                <a:lnTo>
                  <a:pt x="12532" y="2248"/>
                </a:lnTo>
                <a:lnTo>
                  <a:pt x="12542" y="2248"/>
                </a:lnTo>
                <a:lnTo>
                  <a:pt x="12548" y="2246"/>
                </a:lnTo>
                <a:lnTo>
                  <a:pt x="12552" y="2242"/>
                </a:lnTo>
                <a:lnTo>
                  <a:pt x="12556" y="2236"/>
                </a:lnTo>
                <a:lnTo>
                  <a:pt x="12558" y="2224"/>
                </a:lnTo>
                <a:lnTo>
                  <a:pt x="12558" y="2210"/>
                </a:lnTo>
                <a:lnTo>
                  <a:pt x="12560" y="2194"/>
                </a:lnTo>
                <a:lnTo>
                  <a:pt x="12560" y="2188"/>
                </a:lnTo>
                <a:lnTo>
                  <a:pt x="12564" y="2182"/>
                </a:lnTo>
                <a:lnTo>
                  <a:pt x="12568" y="2176"/>
                </a:lnTo>
                <a:lnTo>
                  <a:pt x="12574" y="2172"/>
                </a:lnTo>
                <a:lnTo>
                  <a:pt x="12582" y="2168"/>
                </a:lnTo>
                <a:lnTo>
                  <a:pt x="12594" y="2166"/>
                </a:lnTo>
                <a:lnTo>
                  <a:pt x="12620" y="2162"/>
                </a:lnTo>
                <a:lnTo>
                  <a:pt x="12628" y="2160"/>
                </a:lnTo>
                <a:lnTo>
                  <a:pt x="12634" y="2156"/>
                </a:lnTo>
                <a:lnTo>
                  <a:pt x="12636" y="2152"/>
                </a:lnTo>
                <a:lnTo>
                  <a:pt x="12638" y="2148"/>
                </a:lnTo>
                <a:lnTo>
                  <a:pt x="12638" y="2142"/>
                </a:lnTo>
                <a:lnTo>
                  <a:pt x="12636" y="2136"/>
                </a:lnTo>
                <a:lnTo>
                  <a:pt x="12632" y="2124"/>
                </a:lnTo>
                <a:lnTo>
                  <a:pt x="12628" y="2110"/>
                </a:lnTo>
                <a:lnTo>
                  <a:pt x="12628" y="2104"/>
                </a:lnTo>
                <a:lnTo>
                  <a:pt x="12628" y="2096"/>
                </a:lnTo>
                <a:lnTo>
                  <a:pt x="12628" y="2088"/>
                </a:lnTo>
                <a:lnTo>
                  <a:pt x="12632" y="2080"/>
                </a:lnTo>
                <a:lnTo>
                  <a:pt x="12636" y="2074"/>
                </a:lnTo>
                <a:lnTo>
                  <a:pt x="12640" y="2068"/>
                </a:lnTo>
                <a:lnTo>
                  <a:pt x="12644" y="2066"/>
                </a:lnTo>
                <a:lnTo>
                  <a:pt x="12650" y="2064"/>
                </a:lnTo>
                <a:lnTo>
                  <a:pt x="12658" y="2066"/>
                </a:lnTo>
                <a:lnTo>
                  <a:pt x="12666" y="2068"/>
                </a:lnTo>
                <a:lnTo>
                  <a:pt x="12674" y="2072"/>
                </a:lnTo>
                <a:lnTo>
                  <a:pt x="12680" y="2074"/>
                </a:lnTo>
                <a:lnTo>
                  <a:pt x="12682" y="2074"/>
                </a:lnTo>
                <a:lnTo>
                  <a:pt x="12684" y="2070"/>
                </a:lnTo>
                <a:lnTo>
                  <a:pt x="12688" y="2060"/>
                </a:lnTo>
                <a:lnTo>
                  <a:pt x="12690" y="2052"/>
                </a:lnTo>
                <a:lnTo>
                  <a:pt x="12688" y="2046"/>
                </a:lnTo>
                <a:lnTo>
                  <a:pt x="12686" y="2040"/>
                </a:lnTo>
                <a:lnTo>
                  <a:pt x="12684" y="2034"/>
                </a:lnTo>
                <a:lnTo>
                  <a:pt x="12678" y="2028"/>
                </a:lnTo>
                <a:lnTo>
                  <a:pt x="12670" y="2022"/>
                </a:lnTo>
                <a:lnTo>
                  <a:pt x="12664" y="2016"/>
                </a:lnTo>
                <a:lnTo>
                  <a:pt x="12662" y="2014"/>
                </a:lnTo>
                <a:lnTo>
                  <a:pt x="12660" y="2010"/>
                </a:lnTo>
                <a:lnTo>
                  <a:pt x="12660" y="2006"/>
                </a:lnTo>
                <a:lnTo>
                  <a:pt x="12662" y="2002"/>
                </a:lnTo>
                <a:lnTo>
                  <a:pt x="12672" y="1988"/>
                </a:lnTo>
                <a:lnTo>
                  <a:pt x="12678" y="1978"/>
                </a:lnTo>
                <a:lnTo>
                  <a:pt x="12682" y="1970"/>
                </a:lnTo>
                <a:lnTo>
                  <a:pt x="12684" y="1964"/>
                </a:lnTo>
                <a:lnTo>
                  <a:pt x="12682" y="1960"/>
                </a:lnTo>
                <a:lnTo>
                  <a:pt x="12676" y="1956"/>
                </a:lnTo>
                <a:lnTo>
                  <a:pt x="12672" y="1952"/>
                </a:lnTo>
                <a:lnTo>
                  <a:pt x="12658" y="1948"/>
                </a:lnTo>
                <a:lnTo>
                  <a:pt x="12644" y="1942"/>
                </a:lnTo>
                <a:lnTo>
                  <a:pt x="12638" y="1940"/>
                </a:lnTo>
                <a:lnTo>
                  <a:pt x="12634" y="1936"/>
                </a:lnTo>
                <a:lnTo>
                  <a:pt x="12634" y="1932"/>
                </a:lnTo>
                <a:lnTo>
                  <a:pt x="12636" y="1926"/>
                </a:lnTo>
                <a:lnTo>
                  <a:pt x="12642" y="1920"/>
                </a:lnTo>
                <a:lnTo>
                  <a:pt x="12650" y="1912"/>
                </a:lnTo>
                <a:lnTo>
                  <a:pt x="12670" y="1894"/>
                </a:lnTo>
                <a:lnTo>
                  <a:pt x="12682" y="1878"/>
                </a:lnTo>
                <a:lnTo>
                  <a:pt x="12690" y="1864"/>
                </a:lnTo>
                <a:lnTo>
                  <a:pt x="12692" y="1852"/>
                </a:lnTo>
                <a:lnTo>
                  <a:pt x="12694" y="1842"/>
                </a:lnTo>
                <a:lnTo>
                  <a:pt x="12698" y="1834"/>
                </a:lnTo>
                <a:lnTo>
                  <a:pt x="12704" y="1826"/>
                </a:lnTo>
                <a:lnTo>
                  <a:pt x="12716" y="1820"/>
                </a:lnTo>
                <a:lnTo>
                  <a:pt x="12728" y="1818"/>
                </a:lnTo>
                <a:lnTo>
                  <a:pt x="12736" y="1818"/>
                </a:lnTo>
                <a:lnTo>
                  <a:pt x="12740" y="1820"/>
                </a:lnTo>
                <a:lnTo>
                  <a:pt x="12742" y="1822"/>
                </a:lnTo>
                <a:lnTo>
                  <a:pt x="12744" y="1824"/>
                </a:lnTo>
                <a:lnTo>
                  <a:pt x="12750" y="1822"/>
                </a:lnTo>
                <a:lnTo>
                  <a:pt x="12760" y="1816"/>
                </a:lnTo>
                <a:lnTo>
                  <a:pt x="12776" y="1804"/>
                </a:lnTo>
                <a:lnTo>
                  <a:pt x="12788" y="1796"/>
                </a:lnTo>
                <a:lnTo>
                  <a:pt x="12796" y="1792"/>
                </a:lnTo>
                <a:lnTo>
                  <a:pt x="12802" y="1790"/>
                </a:lnTo>
                <a:lnTo>
                  <a:pt x="12804" y="1792"/>
                </a:lnTo>
                <a:lnTo>
                  <a:pt x="12806" y="1794"/>
                </a:lnTo>
                <a:lnTo>
                  <a:pt x="12806" y="1800"/>
                </a:lnTo>
                <a:lnTo>
                  <a:pt x="12802" y="1812"/>
                </a:lnTo>
                <a:lnTo>
                  <a:pt x="12798" y="1824"/>
                </a:lnTo>
                <a:lnTo>
                  <a:pt x="12798" y="1828"/>
                </a:lnTo>
                <a:lnTo>
                  <a:pt x="12798" y="1832"/>
                </a:lnTo>
                <a:lnTo>
                  <a:pt x="12800" y="1832"/>
                </a:lnTo>
                <a:lnTo>
                  <a:pt x="12806" y="1830"/>
                </a:lnTo>
                <a:lnTo>
                  <a:pt x="12824" y="1816"/>
                </a:lnTo>
                <a:lnTo>
                  <a:pt x="12846" y="1800"/>
                </a:lnTo>
                <a:lnTo>
                  <a:pt x="12868" y="1788"/>
                </a:lnTo>
                <a:lnTo>
                  <a:pt x="12878" y="1786"/>
                </a:lnTo>
                <a:lnTo>
                  <a:pt x="12888" y="1784"/>
                </a:lnTo>
                <a:lnTo>
                  <a:pt x="12906" y="1784"/>
                </a:lnTo>
                <a:lnTo>
                  <a:pt x="12922" y="1788"/>
                </a:lnTo>
                <a:lnTo>
                  <a:pt x="12936" y="1794"/>
                </a:lnTo>
                <a:lnTo>
                  <a:pt x="12948" y="1804"/>
                </a:lnTo>
                <a:lnTo>
                  <a:pt x="12960" y="1818"/>
                </a:lnTo>
                <a:lnTo>
                  <a:pt x="12968" y="1826"/>
                </a:lnTo>
                <a:lnTo>
                  <a:pt x="12972" y="1830"/>
                </a:lnTo>
                <a:lnTo>
                  <a:pt x="12972" y="1826"/>
                </a:lnTo>
                <a:lnTo>
                  <a:pt x="12976" y="1820"/>
                </a:lnTo>
                <a:lnTo>
                  <a:pt x="12982" y="1808"/>
                </a:lnTo>
                <a:lnTo>
                  <a:pt x="12996" y="1792"/>
                </a:lnTo>
                <a:lnTo>
                  <a:pt x="13006" y="1782"/>
                </a:lnTo>
                <a:lnTo>
                  <a:pt x="13020" y="1772"/>
                </a:lnTo>
                <a:lnTo>
                  <a:pt x="13036" y="1762"/>
                </a:lnTo>
                <a:lnTo>
                  <a:pt x="13056" y="1752"/>
                </a:lnTo>
                <a:lnTo>
                  <a:pt x="13074" y="1742"/>
                </a:lnTo>
                <a:lnTo>
                  <a:pt x="13090" y="1730"/>
                </a:lnTo>
                <a:lnTo>
                  <a:pt x="13124" y="1706"/>
                </a:lnTo>
                <a:lnTo>
                  <a:pt x="13142" y="1694"/>
                </a:lnTo>
                <a:lnTo>
                  <a:pt x="13160" y="1684"/>
                </a:lnTo>
                <a:lnTo>
                  <a:pt x="13178" y="1674"/>
                </a:lnTo>
                <a:lnTo>
                  <a:pt x="13200" y="1666"/>
                </a:lnTo>
                <a:lnTo>
                  <a:pt x="13218" y="1660"/>
                </a:lnTo>
                <a:lnTo>
                  <a:pt x="13236" y="1656"/>
                </a:lnTo>
                <a:lnTo>
                  <a:pt x="13250" y="1654"/>
                </a:lnTo>
                <a:lnTo>
                  <a:pt x="13264" y="1654"/>
                </a:lnTo>
                <a:lnTo>
                  <a:pt x="13284" y="1654"/>
                </a:lnTo>
                <a:lnTo>
                  <a:pt x="13298" y="1658"/>
                </a:lnTo>
                <a:lnTo>
                  <a:pt x="13310" y="1662"/>
                </a:lnTo>
                <a:lnTo>
                  <a:pt x="13318" y="1666"/>
                </a:lnTo>
                <a:lnTo>
                  <a:pt x="13322" y="1666"/>
                </a:lnTo>
                <a:lnTo>
                  <a:pt x="13326" y="1664"/>
                </a:lnTo>
                <a:lnTo>
                  <a:pt x="13336" y="1658"/>
                </a:lnTo>
                <a:lnTo>
                  <a:pt x="13344" y="1648"/>
                </a:lnTo>
                <a:lnTo>
                  <a:pt x="13346" y="1640"/>
                </a:lnTo>
                <a:lnTo>
                  <a:pt x="13344" y="1630"/>
                </a:lnTo>
                <a:lnTo>
                  <a:pt x="13340" y="1622"/>
                </a:lnTo>
                <a:lnTo>
                  <a:pt x="13324" y="1600"/>
                </a:lnTo>
                <a:lnTo>
                  <a:pt x="13316" y="1586"/>
                </a:lnTo>
                <a:lnTo>
                  <a:pt x="13308" y="1568"/>
                </a:lnTo>
                <a:lnTo>
                  <a:pt x="13300" y="1548"/>
                </a:lnTo>
                <a:lnTo>
                  <a:pt x="13292" y="1538"/>
                </a:lnTo>
                <a:lnTo>
                  <a:pt x="13288" y="1536"/>
                </a:lnTo>
                <a:lnTo>
                  <a:pt x="13286" y="1536"/>
                </a:lnTo>
                <a:lnTo>
                  <a:pt x="13278" y="1536"/>
                </a:lnTo>
                <a:lnTo>
                  <a:pt x="13272" y="1538"/>
                </a:lnTo>
                <a:lnTo>
                  <a:pt x="13268" y="1538"/>
                </a:lnTo>
                <a:lnTo>
                  <a:pt x="13264" y="1536"/>
                </a:lnTo>
                <a:lnTo>
                  <a:pt x="13262" y="1532"/>
                </a:lnTo>
                <a:lnTo>
                  <a:pt x="13258" y="1520"/>
                </a:lnTo>
                <a:lnTo>
                  <a:pt x="13256" y="1516"/>
                </a:lnTo>
                <a:lnTo>
                  <a:pt x="13258" y="1512"/>
                </a:lnTo>
                <a:lnTo>
                  <a:pt x="13260" y="1510"/>
                </a:lnTo>
                <a:lnTo>
                  <a:pt x="13264" y="1508"/>
                </a:lnTo>
                <a:lnTo>
                  <a:pt x="13274" y="1508"/>
                </a:lnTo>
                <a:lnTo>
                  <a:pt x="13288" y="1510"/>
                </a:lnTo>
                <a:lnTo>
                  <a:pt x="13302" y="1510"/>
                </a:lnTo>
                <a:lnTo>
                  <a:pt x="13320" y="1510"/>
                </a:lnTo>
                <a:lnTo>
                  <a:pt x="13328" y="1508"/>
                </a:lnTo>
                <a:lnTo>
                  <a:pt x="13336" y="1504"/>
                </a:lnTo>
                <a:lnTo>
                  <a:pt x="13344" y="1498"/>
                </a:lnTo>
                <a:lnTo>
                  <a:pt x="13350" y="1490"/>
                </a:lnTo>
                <a:lnTo>
                  <a:pt x="13366" y="1472"/>
                </a:lnTo>
                <a:lnTo>
                  <a:pt x="13366" y="1458"/>
                </a:lnTo>
                <a:lnTo>
                  <a:pt x="13376" y="1446"/>
                </a:lnTo>
                <a:lnTo>
                  <a:pt x="13378" y="1442"/>
                </a:lnTo>
                <a:lnTo>
                  <a:pt x="13378" y="1438"/>
                </a:lnTo>
                <a:lnTo>
                  <a:pt x="13378" y="1436"/>
                </a:lnTo>
                <a:lnTo>
                  <a:pt x="13376" y="1432"/>
                </a:lnTo>
                <a:lnTo>
                  <a:pt x="13368" y="1420"/>
                </a:lnTo>
                <a:lnTo>
                  <a:pt x="13366" y="1414"/>
                </a:lnTo>
                <a:lnTo>
                  <a:pt x="13366" y="1402"/>
                </a:lnTo>
                <a:lnTo>
                  <a:pt x="13370" y="1400"/>
                </a:lnTo>
                <a:lnTo>
                  <a:pt x="13374" y="1398"/>
                </a:lnTo>
                <a:lnTo>
                  <a:pt x="13378" y="1398"/>
                </a:lnTo>
                <a:lnTo>
                  <a:pt x="13384" y="1400"/>
                </a:lnTo>
                <a:lnTo>
                  <a:pt x="13392" y="1404"/>
                </a:lnTo>
                <a:lnTo>
                  <a:pt x="13398" y="1410"/>
                </a:lnTo>
                <a:lnTo>
                  <a:pt x="13404" y="1418"/>
                </a:lnTo>
                <a:lnTo>
                  <a:pt x="13410" y="1430"/>
                </a:lnTo>
                <a:lnTo>
                  <a:pt x="13414" y="1436"/>
                </a:lnTo>
                <a:lnTo>
                  <a:pt x="13418" y="1442"/>
                </a:lnTo>
                <a:lnTo>
                  <a:pt x="13424" y="1444"/>
                </a:lnTo>
                <a:lnTo>
                  <a:pt x="13430" y="1446"/>
                </a:lnTo>
                <a:lnTo>
                  <a:pt x="13446" y="1444"/>
                </a:lnTo>
                <a:lnTo>
                  <a:pt x="13460" y="1440"/>
                </a:lnTo>
                <a:lnTo>
                  <a:pt x="13476" y="1438"/>
                </a:lnTo>
                <a:lnTo>
                  <a:pt x="13484" y="1438"/>
                </a:lnTo>
                <a:lnTo>
                  <a:pt x="13492" y="1438"/>
                </a:lnTo>
                <a:lnTo>
                  <a:pt x="13500" y="1440"/>
                </a:lnTo>
                <a:lnTo>
                  <a:pt x="13506" y="1444"/>
                </a:lnTo>
                <a:lnTo>
                  <a:pt x="13512" y="1452"/>
                </a:lnTo>
                <a:lnTo>
                  <a:pt x="13516" y="1460"/>
                </a:lnTo>
                <a:lnTo>
                  <a:pt x="13526" y="1478"/>
                </a:lnTo>
                <a:lnTo>
                  <a:pt x="13536" y="1488"/>
                </a:lnTo>
                <a:lnTo>
                  <a:pt x="13544" y="1494"/>
                </a:lnTo>
                <a:lnTo>
                  <a:pt x="13554" y="1496"/>
                </a:lnTo>
                <a:lnTo>
                  <a:pt x="13562" y="1496"/>
                </a:lnTo>
                <a:lnTo>
                  <a:pt x="13570" y="1498"/>
                </a:lnTo>
                <a:lnTo>
                  <a:pt x="13578" y="1502"/>
                </a:lnTo>
                <a:lnTo>
                  <a:pt x="13586" y="1510"/>
                </a:lnTo>
                <a:lnTo>
                  <a:pt x="13590" y="1514"/>
                </a:lnTo>
                <a:lnTo>
                  <a:pt x="13594" y="1518"/>
                </a:lnTo>
                <a:lnTo>
                  <a:pt x="13598" y="1520"/>
                </a:lnTo>
                <a:lnTo>
                  <a:pt x="13604" y="1522"/>
                </a:lnTo>
                <a:lnTo>
                  <a:pt x="13614" y="1522"/>
                </a:lnTo>
                <a:lnTo>
                  <a:pt x="13626" y="1516"/>
                </a:lnTo>
                <a:lnTo>
                  <a:pt x="13636" y="1508"/>
                </a:lnTo>
                <a:lnTo>
                  <a:pt x="13646" y="1498"/>
                </a:lnTo>
                <a:lnTo>
                  <a:pt x="13652" y="1482"/>
                </a:lnTo>
                <a:lnTo>
                  <a:pt x="13654" y="1466"/>
                </a:lnTo>
                <a:lnTo>
                  <a:pt x="13656" y="1452"/>
                </a:lnTo>
                <a:lnTo>
                  <a:pt x="13660" y="1448"/>
                </a:lnTo>
                <a:lnTo>
                  <a:pt x="13662" y="1444"/>
                </a:lnTo>
                <a:lnTo>
                  <a:pt x="13670" y="1440"/>
                </a:lnTo>
                <a:lnTo>
                  <a:pt x="13680" y="1438"/>
                </a:lnTo>
                <a:lnTo>
                  <a:pt x="13690" y="1436"/>
                </a:lnTo>
                <a:lnTo>
                  <a:pt x="13704" y="1434"/>
                </a:lnTo>
                <a:lnTo>
                  <a:pt x="13718" y="1426"/>
                </a:lnTo>
                <a:lnTo>
                  <a:pt x="13724" y="1422"/>
                </a:lnTo>
                <a:lnTo>
                  <a:pt x="13732" y="1414"/>
                </a:lnTo>
                <a:lnTo>
                  <a:pt x="13742" y="1402"/>
                </a:lnTo>
                <a:lnTo>
                  <a:pt x="13744" y="1396"/>
                </a:lnTo>
                <a:lnTo>
                  <a:pt x="13744" y="1394"/>
                </a:lnTo>
                <a:lnTo>
                  <a:pt x="13742" y="1394"/>
                </a:lnTo>
                <a:lnTo>
                  <a:pt x="13734" y="1392"/>
                </a:lnTo>
                <a:lnTo>
                  <a:pt x="13724" y="1392"/>
                </a:lnTo>
                <a:lnTo>
                  <a:pt x="13712" y="1388"/>
                </a:lnTo>
                <a:lnTo>
                  <a:pt x="13706" y="1384"/>
                </a:lnTo>
                <a:lnTo>
                  <a:pt x="13698" y="1380"/>
                </a:lnTo>
                <a:lnTo>
                  <a:pt x="13692" y="1374"/>
                </a:lnTo>
                <a:lnTo>
                  <a:pt x="13688" y="1366"/>
                </a:lnTo>
                <a:close/>
                <a:moveTo>
                  <a:pt x="6176" y="2870"/>
                </a:moveTo>
                <a:lnTo>
                  <a:pt x="6176" y="2870"/>
                </a:lnTo>
                <a:lnTo>
                  <a:pt x="6174" y="2872"/>
                </a:lnTo>
                <a:lnTo>
                  <a:pt x="6170" y="2870"/>
                </a:lnTo>
                <a:lnTo>
                  <a:pt x="6168" y="2868"/>
                </a:lnTo>
                <a:lnTo>
                  <a:pt x="6166" y="2864"/>
                </a:lnTo>
                <a:lnTo>
                  <a:pt x="6170" y="2862"/>
                </a:lnTo>
                <a:lnTo>
                  <a:pt x="6174" y="2864"/>
                </a:lnTo>
                <a:lnTo>
                  <a:pt x="6176" y="2866"/>
                </a:lnTo>
                <a:lnTo>
                  <a:pt x="6176" y="2870"/>
                </a:lnTo>
                <a:close/>
                <a:moveTo>
                  <a:pt x="7520" y="3416"/>
                </a:moveTo>
                <a:lnTo>
                  <a:pt x="7520" y="3416"/>
                </a:lnTo>
                <a:lnTo>
                  <a:pt x="7524" y="3412"/>
                </a:lnTo>
                <a:lnTo>
                  <a:pt x="7526" y="3412"/>
                </a:lnTo>
                <a:lnTo>
                  <a:pt x="7524" y="3412"/>
                </a:lnTo>
                <a:lnTo>
                  <a:pt x="7520" y="3416"/>
                </a:lnTo>
                <a:close/>
                <a:moveTo>
                  <a:pt x="7540" y="3418"/>
                </a:moveTo>
                <a:lnTo>
                  <a:pt x="7540" y="3418"/>
                </a:lnTo>
                <a:lnTo>
                  <a:pt x="7540" y="3406"/>
                </a:lnTo>
                <a:lnTo>
                  <a:pt x="7542" y="3402"/>
                </a:lnTo>
                <a:lnTo>
                  <a:pt x="7544" y="3400"/>
                </a:lnTo>
                <a:lnTo>
                  <a:pt x="7542" y="3402"/>
                </a:lnTo>
                <a:lnTo>
                  <a:pt x="7540" y="3406"/>
                </a:lnTo>
                <a:lnTo>
                  <a:pt x="7540" y="3418"/>
                </a:lnTo>
                <a:close/>
                <a:moveTo>
                  <a:pt x="8152" y="3716"/>
                </a:moveTo>
                <a:lnTo>
                  <a:pt x="8152" y="3716"/>
                </a:lnTo>
                <a:lnTo>
                  <a:pt x="8154" y="3718"/>
                </a:lnTo>
                <a:lnTo>
                  <a:pt x="8152" y="3718"/>
                </a:lnTo>
                <a:lnTo>
                  <a:pt x="8152" y="3716"/>
                </a:lnTo>
                <a:close/>
                <a:moveTo>
                  <a:pt x="8302" y="2962"/>
                </a:moveTo>
                <a:lnTo>
                  <a:pt x="8302" y="2962"/>
                </a:lnTo>
                <a:lnTo>
                  <a:pt x="8300" y="2960"/>
                </a:lnTo>
                <a:lnTo>
                  <a:pt x="8296" y="2960"/>
                </a:lnTo>
                <a:lnTo>
                  <a:pt x="8296" y="2962"/>
                </a:lnTo>
                <a:lnTo>
                  <a:pt x="8298" y="2968"/>
                </a:lnTo>
                <a:lnTo>
                  <a:pt x="8296" y="2968"/>
                </a:lnTo>
                <a:lnTo>
                  <a:pt x="8294" y="2970"/>
                </a:lnTo>
                <a:lnTo>
                  <a:pt x="8284" y="2974"/>
                </a:lnTo>
                <a:lnTo>
                  <a:pt x="8280" y="2974"/>
                </a:lnTo>
                <a:lnTo>
                  <a:pt x="8274" y="2974"/>
                </a:lnTo>
                <a:lnTo>
                  <a:pt x="8272" y="2970"/>
                </a:lnTo>
                <a:lnTo>
                  <a:pt x="8270" y="2966"/>
                </a:lnTo>
                <a:lnTo>
                  <a:pt x="8268" y="2960"/>
                </a:lnTo>
                <a:lnTo>
                  <a:pt x="8266" y="2962"/>
                </a:lnTo>
                <a:lnTo>
                  <a:pt x="8264" y="2966"/>
                </a:lnTo>
                <a:lnTo>
                  <a:pt x="8262" y="2966"/>
                </a:lnTo>
                <a:lnTo>
                  <a:pt x="8260" y="2966"/>
                </a:lnTo>
                <a:lnTo>
                  <a:pt x="8256" y="2964"/>
                </a:lnTo>
                <a:lnTo>
                  <a:pt x="8254" y="2966"/>
                </a:lnTo>
                <a:lnTo>
                  <a:pt x="8250" y="2966"/>
                </a:lnTo>
                <a:lnTo>
                  <a:pt x="8248" y="2964"/>
                </a:lnTo>
                <a:lnTo>
                  <a:pt x="8246" y="2958"/>
                </a:lnTo>
                <a:lnTo>
                  <a:pt x="8242" y="2954"/>
                </a:lnTo>
                <a:lnTo>
                  <a:pt x="8240" y="2952"/>
                </a:lnTo>
                <a:lnTo>
                  <a:pt x="8238" y="2958"/>
                </a:lnTo>
                <a:lnTo>
                  <a:pt x="8238" y="2970"/>
                </a:lnTo>
                <a:lnTo>
                  <a:pt x="8234" y="2980"/>
                </a:lnTo>
                <a:lnTo>
                  <a:pt x="8232" y="2990"/>
                </a:lnTo>
                <a:lnTo>
                  <a:pt x="8230" y="2998"/>
                </a:lnTo>
                <a:lnTo>
                  <a:pt x="8232" y="3006"/>
                </a:lnTo>
                <a:lnTo>
                  <a:pt x="8236" y="3014"/>
                </a:lnTo>
                <a:lnTo>
                  <a:pt x="8242" y="3022"/>
                </a:lnTo>
                <a:lnTo>
                  <a:pt x="8244" y="3022"/>
                </a:lnTo>
                <a:lnTo>
                  <a:pt x="8246" y="3020"/>
                </a:lnTo>
                <a:lnTo>
                  <a:pt x="8244" y="3016"/>
                </a:lnTo>
                <a:lnTo>
                  <a:pt x="8244" y="3012"/>
                </a:lnTo>
                <a:lnTo>
                  <a:pt x="8248" y="3012"/>
                </a:lnTo>
                <a:lnTo>
                  <a:pt x="8254" y="3012"/>
                </a:lnTo>
                <a:lnTo>
                  <a:pt x="8260" y="3010"/>
                </a:lnTo>
                <a:lnTo>
                  <a:pt x="8264" y="3010"/>
                </a:lnTo>
                <a:lnTo>
                  <a:pt x="8262" y="3016"/>
                </a:lnTo>
                <a:lnTo>
                  <a:pt x="8260" y="3022"/>
                </a:lnTo>
                <a:lnTo>
                  <a:pt x="8260" y="3026"/>
                </a:lnTo>
                <a:lnTo>
                  <a:pt x="8262" y="3028"/>
                </a:lnTo>
                <a:lnTo>
                  <a:pt x="8264" y="3028"/>
                </a:lnTo>
                <a:lnTo>
                  <a:pt x="8268" y="3030"/>
                </a:lnTo>
                <a:lnTo>
                  <a:pt x="8270" y="3034"/>
                </a:lnTo>
                <a:lnTo>
                  <a:pt x="8268" y="3036"/>
                </a:lnTo>
                <a:lnTo>
                  <a:pt x="8262" y="3038"/>
                </a:lnTo>
                <a:lnTo>
                  <a:pt x="8256" y="3036"/>
                </a:lnTo>
                <a:lnTo>
                  <a:pt x="8254" y="3034"/>
                </a:lnTo>
                <a:lnTo>
                  <a:pt x="8256" y="3030"/>
                </a:lnTo>
                <a:lnTo>
                  <a:pt x="8254" y="3028"/>
                </a:lnTo>
                <a:lnTo>
                  <a:pt x="8252" y="3030"/>
                </a:lnTo>
                <a:lnTo>
                  <a:pt x="8250" y="3032"/>
                </a:lnTo>
                <a:lnTo>
                  <a:pt x="8248" y="3042"/>
                </a:lnTo>
                <a:lnTo>
                  <a:pt x="8248" y="3050"/>
                </a:lnTo>
                <a:lnTo>
                  <a:pt x="8248" y="3054"/>
                </a:lnTo>
                <a:lnTo>
                  <a:pt x="8250" y="3054"/>
                </a:lnTo>
                <a:lnTo>
                  <a:pt x="8252" y="3054"/>
                </a:lnTo>
                <a:lnTo>
                  <a:pt x="8252" y="3050"/>
                </a:lnTo>
                <a:lnTo>
                  <a:pt x="8252" y="3046"/>
                </a:lnTo>
                <a:lnTo>
                  <a:pt x="8258" y="3046"/>
                </a:lnTo>
                <a:lnTo>
                  <a:pt x="8262" y="3048"/>
                </a:lnTo>
                <a:lnTo>
                  <a:pt x="8266" y="3050"/>
                </a:lnTo>
                <a:lnTo>
                  <a:pt x="8270" y="3058"/>
                </a:lnTo>
                <a:lnTo>
                  <a:pt x="8274" y="3064"/>
                </a:lnTo>
                <a:lnTo>
                  <a:pt x="8280" y="3066"/>
                </a:lnTo>
                <a:lnTo>
                  <a:pt x="8282" y="3070"/>
                </a:lnTo>
                <a:lnTo>
                  <a:pt x="8282" y="3072"/>
                </a:lnTo>
                <a:lnTo>
                  <a:pt x="8282" y="3076"/>
                </a:lnTo>
                <a:lnTo>
                  <a:pt x="8278" y="3084"/>
                </a:lnTo>
                <a:lnTo>
                  <a:pt x="8276" y="3100"/>
                </a:lnTo>
                <a:lnTo>
                  <a:pt x="8276" y="3120"/>
                </a:lnTo>
                <a:lnTo>
                  <a:pt x="8280" y="3152"/>
                </a:lnTo>
                <a:lnTo>
                  <a:pt x="8280" y="3154"/>
                </a:lnTo>
                <a:lnTo>
                  <a:pt x="8286" y="3174"/>
                </a:lnTo>
                <a:lnTo>
                  <a:pt x="8286" y="3180"/>
                </a:lnTo>
                <a:lnTo>
                  <a:pt x="8286" y="3182"/>
                </a:lnTo>
                <a:lnTo>
                  <a:pt x="8284" y="3184"/>
                </a:lnTo>
                <a:lnTo>
                  <a:pt x="8280" y="3186"/>
                </a:lnTo>
                <a:lnTo>
                  <a:pt x="8270" y="3184"/>
                </a:lnTo>
                <a:lnTo>
                  <a:pt x="8272" y="3182"/>
                </a:lnTo>
                <a:lnTo>
                  <a:pt x="8276" y="3180"/>
                </a:lnTo>
                <a:lnTo>
                  <a:pt x="8278" y="3178"/>
                </a:lnTo>
                <a:lnTo>
                  <a:pt x="8266" y="3180"/>
                </a:lnTo>
                <a:lnTo>
                  <a:pt x="8244" y="3184"/>
                </a:lnTo>
                <a:lnTo>
                  <a:pt x="8206" y="3196"/>
                </a:lnTo>
                <a:lnTo>
                  <a:pt x="8200" y="3196"/>
                </a:lnTo>
                <a:lnTo>
                  <a:pt x="8192" y="3196"/>
                </a:lnTo>
                <a:lnTo>
                  <a:pt x="8180" y="3192"/>
                </a:lnTo>
                <a:lnTo>
                  <a:pt x="8170" y="3188"/>
                </a:lnTo>
                <a:lnTo>
                  <a:pt x="8158" y="3184"/>
                </a:lnTo>
                <a:lnTo>
                  <a:pt x="8148" y="3176"/>
                </a:lnTo>
                <a:lnTo>
                  <a:pt x="8138" y="3168"/>
                </a:lnTo>
                <a:lnTo>
                  <a:pt x="8132" y="3158"/>
                </a:lnTo>
                <a:lnTo>
                  <a:pt x="8130" y="3154"/>
                </a:lnTo>
                <a:lnTo>
                  <a:pt x="8126" y="3150"/>
                </a:lnTo>
                <a:lnTo>
                  <a:pt x="8120" y="3148"/>
                </a:lnTo>
                <a:lnTo>
                  <a:pt x="8102" y="3146"/>
                </a:lnTo>
                <a:lnTo>
                  <a:pt x="8092" y="3144"/>
                </a:lnTo>
                <a:lnTo>
                  <a:pt x="8088" y="3140"/>
                </a:lnTo>
                <a:lnTo>
                  <a:pt x="8084" y="3136"/>
                </a:lnTo>
                <a:lnTo>
                  <a:pt x="8082" y="3130"/>
                </a:lnTo>
                <a:lnTo>
                  <a:pt x="8080" y="3120"/>
                </a:lnTo>
                <a:lnTo>
                  <a:pt x="8076" y="3096"/>
                </a:lnTo>
                <a:lnTo>
                  <a:pt x="8070" y="3098"/>
                </a:lnTo>
                <a:lnTo>
                  <a:pt x="8066" y="3098"/>
                </a:lnTo>
                <a:lnTo>
                  <a:pt x="8064" y="3096"/>
                </a:lnTo>
                <a:lnTo>
                  <a:pt x="8064" y="3094"/>
                </a:lnTo>
                <a:lnTo>
                  <a:pt x="8062" y="3088"/>
                </a:lnTo>
                <a:lnTo>
                  <a:pt x="8062" y="3086"/>
                </a:lnTo>
                <a:lnTo>
                  <a:pt x="8058" y="3084"/>
                </a:lnTo>
                <a:lnTo>
                  <a:pt x="8062" y="3086"/>
                </a:lnTo>
                <a:lnTo>
                  <a:pt x="8062" y="3088"/>
                </a:lnTo>
                <a:lnTo>
                  <a:pt x="8064" y="3092"/>
                </a:lnTo>
                <a:lnTo>
                  <a:pt x="8064" y="3096"/>
                </a:lnTo>
                <a:lnTo>
                  <a:pt x="8066" y="3096"/>
                </a:lnTo>
                <a:lnTo>
                  <a:pt x="8070" y="3096"/>
                </a:lnTo>
                <a:lnTo>
                  <a:pt x="8076" y="3096"/>
                </a:lnTo>
                <a:lnTo>
                  <a:pt x="8076" y="3082"/>
                </a:lnTo>
                <a:lnTo>
                  <a:pt x="8078" y="3062"/>
                </a:lnTo>
                <a:lnTo>
                  <a:pt x="8082" y="3052"/>
                </a:lnTo>
                <a:lnTo>
                  <a:pt x="8082" y="3054"/>
                </a:lnTo>
                <a:lnTo>
                  <a:pt x="8084" y="3056"/>
                </a:lnTo>
                <a:lnTo>
                  <a:pt x="8086" y="3064"/>
                </a:lnTo>
                <a:lnTo>
                  <a:pt x="8086" y="3066"/>
                </a:lnTo>
                <a:lnTo>
                  <a:pt x="8088" y="3066"/>
                </a:lnTo>
                <a:lnTo>
                  <a:pt x="8090" y="3062"/>
                </a:lnTo>
                <a:lnTo>
                  <a:pt x="8092" y="3058"/>
                </a:lnTo>
                <a:lnTo>
                  <a:pt x="8092" y="3054"/>
                </a:lnTo>
                <a:lnTo>
                  <a:pt x="8094" y="3048"/>
                </a:lnTo>
                <a:lnTo>
                  <a:pt x="8096" y="3046"/>
                </a:lnTo>
                <a:lnTo>
                  <a:pt x="8096" y="3044"/>
                </a:lnTo>
                <a:lnTo>
                  <a:pt x="8094" y="3040"/>
                </a:lnTo>
                <a:lnTo>
                  <a:pt x="8092" y="3036"/>
                </a:lnTo>
                <a:lnTo>
                  <a:pt x="8094" y="3034"/>
                </a:lnTo>
                <a:lnTo>
                  <a:pt x="8096" y="3030"/>
                </a:lnTo>
                <a:lnTo>
                  <a:pt x="8098" y="3026"/>
                </a:lnTo>
                <a:lnTo>
                  <a:pt x="8100" y="3020"/>
                </a:lnTo>
                <a:lnTo>
                  <a:pt x="8100" y="3010"/>
                </a:lnTo>
                <a:lnTo>
                  <a:pt x="8102" y="3006"/>
                </a:lnTo>
                <a:lnTo>
                  <a:pt x="8104" y="3000"/>
                </a:lnTo>
                <a:lnTo>
                  <a:pt x="8106" y="2996"/>
                </a:lnTo>
                <a:lnTo>
                  <a:pt x="8114" y="2992"/>
                </a:lnTo>
                <a:lnTo>
                  <a:pt x="8122" y="2990"/>
                </a:lnTo>
                <a:lnTo>
                  <a:pt x="8128" y="2990"/>
                </a:lnTo>
                <a:lnTo>
                  <a:pt x="8132" y="2992"/>
                </a:lnTo>
                <a:lnTo>
                  <a:pt x="8134" y="2994"/>
                </a:lnTo>
                <a:lnTo>
                  <a:pt x="8138" y="2996"/>
                </a:lnTo>
                <a:lnTo>
                  <a:pt x="8138" y="2990"/>
                </a:lnTo>
                <a:lnTo>
                  <a:pt x="8134" y="2984"/>
                </a:lnTo>
                <a:lnTo>
                  <a:pt x="8130" y="2982"/>
                </a:lnTo>
                <a:lnTo>
                  <a:pt x="8118" y="2980"/>
                </a:lnTo>
                <a:lnTo>
                  <a:pt x="8108" y="2978"/>
                </a:lnTo>
                <a:lnTo>
                  <a:pt x="8104" y="2976"/>
                </a:lnTo>
                <a:lnTo>
                  <a:pt x="8104" y="2970"/>
                </a:lnTo>
                <a:lnTo>
                  <a:pt x="8104" y="2968"/>
                </a:lnTo>
                <a:lnTo>
                  <a:pt x="8102" y="2964"/>
                </a:lnTo>
                <a:lnTo>
                  <a:pt x="8098" y="2958"/>
                </a:lnTo>
                <a:lnTo>
                  <a:pt x="8094" y="2954"/>
                </a:lnTo>
                <a:lnTo>
                  <a:pt x="8090" y="2948"/>
                </a:lnTo>
                <a:lnTo>
                  <a:pt x="8088" y="2940"/>
                </a:lnTo>
                <a:lnTo>
                  <a:pt x="8082" y="2928"/>
                </a:lnTo>
                <a:lnTo>
                  <a:pt x="8072" y="2916"/>
                </a:lnTo>
                <a:lnTo>
                  <a:pt x="8066" y="2908"/>
                </a:lnTo>
                <a:lnTo>
                  <a:pt x="8056" y="2892"/>
                </a:lnTo>
                <a:lnTo>
                  <a:pt x="8046" y="2882"/>
                </a:lnTo>
                <a:lnTo>
                  <a:pt x="8032" y="2864"/>
                </a:lnTo>
                <a:lnTo>
                  <a:pt x="8028" y="2856"/>
                </a:lnTo>
                <a:lnTo>
                  <a:pt x="8024" y="2846"/>
                </a:lnTo>
                <a:lnTo>
                  <a:pt x="8024" y="2832"/>
                </a:lnTo>
                <a:lnTo>
                  <a:pt x="8026" y="2816"/>
                </a:lnTo>
                <a:lnTo>
                  <a:pt x="8028" y="2794"/>
                </a:lnTo>
                <a:lnTo>
                  <a:pt x="8028" y="2792"/>
                </a:lnTo>
                <a:lnTo>
                  <a:pt x="8026" y="2794"/>
                </a:lnTo>
                <a:lnTo>
                  <a:pt x="8024" y="2798"/>
                </a:lnTo>
                <a:lnTo>
                  <a:pt x="8020" y="2800"/>
                </a:lnTo>
                <a:lnTo>
                  <a:pt x="8018" y="2798"/>
                </a:lnTo>
                <a:lnTo>
                  <a:pt x="8016" y="2790"/>
                </a:lnTo>
                <a:lnTo>
                  <a:pt x="8014" y="2778"/>
                </a:lnTo>
                <a:lnTo>
                  <a:pt x="8008" y="2772"/>
                </a:lnTo>
                <a:lnTo>
                  <a:pt x="8002" y="2766"/>
                </a:lnTo>
                <a:lnTo>
                  <a:pt x="7996" y="2762"/>
                </a:lnTo>
                <a:lnTo>
                  <a:pt x="7990" y="2760"/>
                </a:lnTo>
                <a:lnTo>
                  <a:pt x="7986" y="2756"/>
                </a:lnTo>
                <a:lnTo>
                  <a:pt x="7988" y="2754"/>
                </a:lnTo>
                <a:lnTo>
                  <a:pt x="7992" y="2748"/>
                </a:lnTo>
                <a:lnTo>
                  <a:pt x="7998" y="2742"/>
                </a:lnTo>
                <a:lnTo>
                  <a:pt x="8004" y="2736"/>
                </a:lnTo>
                <a:lnTo>
                  <a:pt x="8014" y="2722"/>
                </a:lnTo>
                <a:lnTo>
                  <a:pt x="8024" y="2706"/>
                </a:lnTo>
                <a:lnTo>
                  <a:pt x="8038" y="2690"/>
                </a:lnTo>
                <a:lnTo>
                  <a:pt x="8048" y="2684"/>
                </a:lnTo>
                <a:lnTo>
                  <a:pt x="8054" y="2680"/>
                </a:lnTo>
                <a:lnTo>
                  <a:pt x="8060" y="2678"/>
                </a:lnTo>
                <a:lnTo>
                  <a:pt x="8064" y="2680"/>
                </a:lnTo>
                <a:lnTo>
                  <a:pt x="8070" y="2680"/>
                </a:lnTo>
                <a:lnTo>
                  <a:pt x="8070" y="2678"/>
                </a:lnTo>
                <a:lnTo>
                  <a:pt x="8070" y="2676"/>
                </a:lnTo>
                <a:lnTo>
                  <a:pt x="8070" y="2668"/>
                </a:lnTo>
                <a:lnTo>
                  <a:pt x="8072" y="2664"/>
                </a:lnTo>
                <a:lnTo>
                  <a:pt x="8076" y="2658"/>
                </a:lnTo>
                <a:lnTo>
                  <a:pt x="8080" y="2648"/>
                </a:lnTo>
                <a:lnTo>
                  <a:pt x="8076" y="2658"/>
                </a:lnTo>
                <a:lnTo>
                  <a:pt x="8072" y="2664"/>
                </a:lnTo>
                <a:lnTo>
                  <a:pt x="8070" y="2668"/>
                </a:lnTo>
                <a:lnTo>
                  <a:pt x="8070" y="2676"/>
                </a:lnTo>
                <a:lnTo>
                  <a:pt x="8070" y="2672"/>
                </a:lnTo>
                <a:lnTo>
                  <a:pt x="8072" y="2668"/>
                </a:lnTo>
                <a:lnTo>
                  <a:pt x="8076" y="2666"/>
                </a:lnTo>
                <a:lnTo>
                  <a:pt x="8084" y="2662"/>
                </a:lnTo>
                <a:lnTo>
                  <a:pt x="8086" y="2658"/>
                </a:lnTo>
                <a:lnTo>
                  <a:pt x="8088" y="2652"/>
                </a:lnTo>
                <a:lnTo>
                  <a:pt x="8092" y="2646"/>
                </a:lnTo>
                <a:lnTo>
                  <a:pt x="8096" y="2644"/>
                </a:lnTo>
                <a:lnTo>
                  <a:pt x="8104" y="2642"/>
                </a:lnTo>
                <a:lnTo>
                  <a:pt x="8114" y="2642"/>
                </a:lnTo>
                <a:lnTo>
                  <a:pt x="8122" y="2638"/>
                </a:lnTo>
                <a:lnTo>
                  <a:pt x="8130" y="2632"/>
                </a:lnTo>
                <a:lnTo>
                  <a:pt x="8146" y="2618"/>
                </a:lnTo>
                <a:lnTo>
                  <a:pt x="8154" y="2614"/>
                </a:lnTo>
                <a:lnTo>
                  <a:pt x="8160" y="2612"/>
                </a:lnTo>
                <a:lnTo>
                  <a:pt x="8168" y="2610"/>
                </a:lnTo>
                <a:lnTo>
                  <a:pt x="8176" y="2610"/>
                </a:lnTo>
                <a:lnTo>
                  <a:pt x="8182" y="2612"/>
                </a:lnTo>
                <a:lnTo>
                  <a:pt x="8190" y="2616"/>
                </a:lnTo>
                <a:lnTo>
                  <a:pt x="8208" y="2626"/>
                </a:lnTo>
                <a:lnTo>
                  <a:pt x="8212" y="2626"/>
                </a:lnTo>
                <a:lnTo>
                  <a:pt x="8218" y="2620"/>
                </a:lnTo>
                <a:lnTo>
                  <a:pt x="8220" y="2616"/>
                </a:lnTo>
                <a:lnTo>
                  <a:pt x="8224" y="2616"/>
                </a:lnTo>
                <a:lnTo>
                  <a:pt x="8234" y="2616"/>
                </a:lnTo>
                <a:lnTo>
                  <a:pt x="8242" y="2620"/>
                </a:lnTo>
                <a:lnTo>
                  <a:pt x="8246" y="2628"/>
                </a:lnTo>
                <a:lnTo>
                  <a:pt x="8248" y="2634"/>
                </a:lnTo>
                <a:lnTo>
                  <a:pt x="8246" y="2638"/>
                </a:lnTo>
                <a:lnTo>
                  <a:pt x="8244" y="2644"/>
                </a:lnTo>
                <a:lnTo>
                  <a:pt x="8248" y="2652"/>
                </a:lnTo>
                <a:lnTo>
                  <a:pt x="8250" y="2656"/>
                </a:lnTo>
                <a:lnTo>
                  <a:pt x="8248" y="2662"/>
                </a:lnTo>
                <a:lnTo>
                  <a:pt x="8242" y="2676"/>
                </a:lnTo>
                <a:lnTo>
                  <a:pt x="8238" y="2684"/>
                </a:lnTo>
                <a:lnTo>
                  <a:pt x="8236" y="2690"/>
                </a:lnTo>
                <a:lnTo>
                  <a:pt x="8236" y="2696"/>
                </a:lnTo>
                <a:lnTo>
                  <a:pt x="8242" y="2702"/>
                </a:lnTo>
                <a:lnTo>
                  <a:pt x="8248" y="2708"/>
                </a:lnTo>
                <a:lnTo>
                  <a:pt x="8250" y="2710"/>
                </a:lnTo>
                <a:lnTo>
                  <a:pt x="8248" y="2712"/>
                </a:lnTo>
                <a:lnTo>
                  <a:pt x="8242" y="2712"/>
                </a:lnTo>
                <a:lnTo>
                  <a:pt x="8226" y="2708"/>
                </a:lnTo>
                <a:lnTo>
                  <a:pt x="8216" y="2708"/>
                </a:lnTo>
                <a:lnTo>
                  <a:pt x="8208" y="2708"/>
                </a:lnTo>
                <a:lnTo>
                  <a:pt x="8202" y="2710"/>
                </a:lnTo>
                <a:lnTo>
                  <a:pt x="8198" y="2710"/>
                </a:lnTo>
                <a:lnTo>
                  <a:pt x="8192" y="2706"/>
                </a:lnTo>
                <a:lnTo>
                  <a:pt x="8188" y="2706"/>
                </a:lnTo>
                <a:lnTo>
                  <a:pt x="8178" y="2710"/>
                </a:lnTo>
                <a:lnTo>
                  <a:pt x="8174" y="2714"/>
                </a:lnTo>
                <a:lnTo>
                  <a:pt x="8172" y="2716"/>
                </a:lnTo>
                <a:lnTo>
                  <a:pt x="8172" y="2718"/>
                </a:lnTo>
                <a:lnTo>
                  <a:pt x="8174" y="2720"/>
                </a:lnTo>
                <a:lnTo>
                  <a:pt x="8174" y="2722"/>
                </a:lnTo>
                <a:lnTo>
                  <a:pt x="8174" y="2724"/>
                </a:lnTo>
                <a:lnTo>
                  <a:pt x="8172" y="2726"/>
                </a:lnTo>
                <a:lnTo>
                  <a:pt x="8166" y="2728"/>
                </a:lnTo>
                <a:lnTo>
                  <a:pt x="8162" y="2730"/>
                </a:lnTo>
                <a:lnTo>
                  <a:pt x="8160" y="2732"/>
                </a:lnTo>
                <a:lnTo>
                  <a:pt x="8160" y="2734"/>
                </a:lnTo>
                <a:lnTo>
                  <a:pt x="8162" y="2736"/>
                </a:lnTo>
                <a:lnTo>
                  <a:pt x="8166" y="2742"/>
                </a:lnTo>
                <a:lnTo>
                  <a:pt x="8172" y="2746"/>
                </a:lnTo>
                <a:lnTo>
                  <a:pt x="8184" y="2754"/>
                </a:lnTo>
                <a:lnTo>
                  <a:pt x="8184" y="2756"/>
                </a:lnTo>
                <a:lnTo>
                  <a:pt x="8184" y="2758"/>
                </a:lnTo>
                <a:lnTo>
                  <a:pt x="8178" y="2758"/>
                </a:lnTo>
                <a:lnTo>
                  <a:pt x="8170" y="2758"/>
                </a:lnTo>
                <a:lnTo>
                  <a:pt x="8164" y="2758"/>
                </a:lnTo>
                <a:lnTo>
                  <a:pt x="8162" y="2756"/>
                </a:lnTo>
                <a:lnTo>
                  <a:pt x="8160" y="2754"/>
                </a:lnTo>
                <a:lnTo>
                  <a:pt x="8158" y="2752"/>
                </a:lnTo>
                <a:lnTo>
                  <a:pt x="8156" y="2750"/>
                </a:lnTo>
                <a:lnTo>
                  <a:pt x="8152" y="2750"/>
                </a:lnTo>
                <a:lnTo>
                  <a:pt x="8144" y="2750"/>
                </a:lnTo>
                <a:lnTo>
                  <a:pt x="8136" y="2752"/>
                </a:lnTo>
                <a:lnTo>
                  <a:pt x="8132" y="2754"/>
                </a:lnTo>
                <a:lnTo>
                  <a:pt x="8128" y="2758"/>
                </a:lnTo>
                <a:lnTo>
                  <a:pt x="8128" y="2762"/>
                </a:lnTo>
                <a:lnTo>
                  <a:pt x="8130" y="2764"/>
                </a:lnTo>
                <a:lnTo>
                  <a:pt x="8134" y="2768"/>
                </a:lnTo>
                <a:lnTo>
                  <a:pt x="8140" y="2770"/>
                </a:lnTo>
                <a:lnTo>
                  <a:pt x="8146" y="2772"/>
                </a:lnTo>
                <a:lnTo>
                  <a:pt x="8152" y="2774"/>
                </a:lnTo>
                <a:lnTo>
                  <a:pt x="8158" y="2780"/>
                </a:lnTo>
                <a:lnTo>
                  <a:pt x="8162" y="2790"/>
                </a:lnTo>
                <a:lnTo>
                  <a:pt x="8166" y="2800"/>
                </a:lnTo>
                <a:lnTo>
                  <a:pt x="8172" y="2818"/>
                </a:lnTo>
                <a:lnTo>
                  <a:pt x="8172" y="2828"/>
                </a:lnTo>
                <a:lnTo>
                  <a:pt x="8174" y="2832"/>
                </a:lnTo>
                <a:lnTo>
                  <a:pt x="8174" y="2834"/>
                </a:lnTo>
                <a:lnTo>
                  <a:pt x="8180" y="2834"/>
                </a:lnTo>
                <a:lnTo>
                  <a:pt x="8184" y="2832"/>
                </a:lnTo>
                <a:lnTo>
                  <a:pt x="8188" y="2834"/>
                </a:lnTo>
                <a:lnTo>
                  <a:pt x="8192" y="2836"/>
                </a:lnTo>
                <a:lnTo>
                  <a:pt x="8196" y="2842"/>
                </a:lnTo>
                <a:lnTo>
                  <a:pt x="8198" y="2846"/>
                </a:lnTo>
                <a:lnTo>
                  <a:pt x="8202" y="2850"/>
                </a:lnTo>
                <a:lnTo>
                  <a:pt x="8204" y="2850"/>
                </a:lnTo>
                <a:lnTo>
                  <a:pt x="8208" y="2848"/>
                </a:lnTo>
                <a:lnTo>
                  <a:pt x="8210" y="2848"/>
                </a:lnTo>
                <a:lnTo>
                  <a:pt x="8216" y="2848"/>
                </a:lnTo>
                <a:lnTo>
                  <a:pt x="8220" y="2850"/>
                </a:lnTo>
                <a:lnTo>
                  <a:pt x="8228" y="2854"/>
                </a:lnTo>
                <a:lnTo>
                  <a:pt x="8232" y="2860"/>
                </a:lnTo>
                <a:lnTo>
                  <a:pt x="8234" y="2866"/>
                </a:lnTo>
                <a:lnTo>
                  <a:pt x="8232" y="2872"/>
                </a:lnTo>
                <a:lnTo>
                  <a:pt x="8228" y="2876"/>
                </a:lnTo>
                <a:lnTo>
                  <a:pt x="8224" y="2882"/>
                </a:lnTo>
                <a:lnTo>
                  <a:pt x="8220" y="2890"/>
                </a:lnTo>
                <a:lnTo>
                  <a:pt x="8218" y="2900"/>
                </a:lnTo>
                <a:lnTo>
                  <a:pt x="8220" y="2912"/>
                </a:lnTo>
                <a:lnTo>
                  <a:pt x="8238" y="2894"/>
                </a:lnTo>
                <a:lnTo>
                  <a:pt x="8220" y="2912"/>
                </a:lnTo>
                <a:lnTo>
                  <a:pt x="8226" y="2918"/>
                </a:lnTo>
                <a:lnTo>
                  <a:pt x="8228" y="2922"/>
                </a:lnTo>
                <a:lnTo>
                  <a:pt x="8226" y="2924"/>
                </a:lnTo>
                <a:lnTo>
                  <a:pt x="8228" y="2930"/>
                </a:lnTo>
                <a:lnTo>
                  <a:pt x="8234" y="2940"/>
                </a:lnTo>
                <a:lnTo>
                  <a:pt x="8236" y="2942"/>
                </a:lnTo>
                <a:lnTo>
                  <a:pt x="8236" y="2938"/>
                </a:lnTo>
                <a:lnTo>
                  <a:pt x="8238" y="2932"/>
                </a:lnTo>
                <a:lnTo>
                  <a:pt x="8240" y="2924"/>
                </a:lnTo>
                <a:lnTo>
                  <a:pt x="8240" y="2920"/>
                </a:lnTo>
                <a:lnTo>
                  <a:pt x="8238" y="2918"/>
                </a:lnTo>
                <a:lnTo>
                  <a:pt x="8236" y="2914"/>
                </a:lnTo>
                <a:lnTo>
                  <a:pt x="8236" y="2908"/>
                </a:lnTo>
                <a:lnTo>
                  <a:pt x="8238" y="2904"/>
                </a:lnTo>
                <a:lnTo>
                  <a:pt x="8242" y="2900"/>
                </a:lnTo>
                <a:lnTo>
                  <a:pt x="8246" y="2896"/>
                </a:lnTo>
                <a:lnTo>
                  <a:pt x="8254" y="2894"/>
                </a:lnTo>
                <a:lnTo>
                  <a:pt x="8266" y="2892"/>
                </a:lnTo>
                <a:lnTo>
                  <a:pt x="8274" y="2890"/>
                </a:lnTo>
                <a:lnTo>
                  <a:pt x="8276" y="2892"/>
                </a:lnTo>
                <a:lnTo>
                  <a:pt x="8278" y="2892"/>
                </a:lnTo>
                <a:lnTo>
                  <a:pt x="8280" y="2900"/>
                </a:lnTo>
                <a:lnTo>
                  <a:pt x="8282" y="2912"/>
                </a:lnTo>
                <a:lnTo>
                  <a:pt x="8284" y="2922"/>
                </a:lnTo>
                <a:lnTo>
                  <a:pt x="8286" y="2928"/>
                </a:lnTo>
                <a:lnTo>
                  <a:pt x="8290" y="2932"/>
                </a:lnTo>
                <a:lnTo>
                  <a:pt x="8296" y="2936"/>
                </a:lnTo>
                <a:lnTo>
                  <a:pt x="8304" y="2942"/>
                </a:lnTo>
                <a:lnTo>
                  <a:pt x="8310" y="2946"/>
                </a:lnTo>
                <a:lnTo>
                  <a:pt x="8312" y="2950"/>
                </a:lnTo>
                <a:lnTo>
                  <a:pt x="8314" y="2956"/>
                </a:lnTo>
                <a:lnTo>
                  <a:pt x="8312" y="2960"/>
                </a:lnTo>
                <a:lnTo>
                  <a:pt x="8310" y="2962"/>
                </a:lnTo>
                <a:lnTo>
                  <a:pt x="8308" y="2964"/>
                </a:lnTo>
                <a:lnTo>
                  <a:pt x="8304" y="2964"/>
                </a:lnTo>
                <a:lnTo>
                  <a:pt x="8302" y="2962"/>
                </a:lnTo>
                <a:close/>
                <a:moveTo>
                  <a:pt x="8570" y="2768"/>
                </a:moveTo>
                <a:lnTo>
                  <a:pt x="8570" y="2768"/>
                </a:lnTo>
                <a:lnTo>
                  <a:pt x="8558" y="2782"/>
                </a:lnTo>
                <a:lnTo>
                  <a:pt x="8556" y="2788"/>
                </a:lnTo>
                <a:lnTo>
                  <a:pt x="8560" y="2790"/>
                </a:lnTo>
                <a:lnTo>
                  <a:pt x="8564" y="2796"/>
                </a:lnTo>
                <a:lnTo>
                  <a:pt x="8566" y="2800"/>
                </a:lnTo>
                <a:lnTo>
                  <a:pt x="8566" y="2802"/>
                </a:lnTo>
                <a:lnTo>
                  <a:pt x="8564" y="2804"/>
                </a:lnTo>
                <a:lnTo>
                  <a:pt x="8560" y="2806"/>
                </a:lnTo>
                <a:lnTo>
                  <a:pt x="8552" y="2808"/>
                </a:lnTo>
                <a:lnTo>
                  <a:pt x="8540" y="2808"/>
                </a:lnTo>
                <a:lnTo>
                  <a:pt x="8534" y="2808"/>
                </a:lnTo>
                <a:lnTo>
                  <a:pt x="8532" y="2810"/>
                </a:lnTo>
                <a:lnTo>
                  <a:pt x="8528" y="2814"/>
                </a:lnTo>
                <a:lnTo>
                  <a:pt x="8526" y="2816"/>
                </a:lnTo>
                <a:lnTo>
                  <a:pt x="8520" y="2818"/>
                </a:lnTo>
                <a:lnTo>
                  <a:pt x="8516" y="2818"/>
                </a:lnTo>
                <a:lnTo>
                  <a:pt x="8514" y="2816"/>
                </a:lnTo>
                <a:lnTo>
                  <a:pt x="8514" y="2810"/>
                </a:lnTo>
                <a:lnTo>
                  <a:pt x="8514" y="2808"/>
                </a:lnTo>
                <a:lnTo>
                  <a:pt x="8512" y="2804"/>
                </a:lnTo>
                <a:lnTo>
                  <a:pt x="8510" y="2802"/>
                </a:lnTo>
                <a:lnTo>
                  <a:pt x="8502" y="2798"/>
                </a:lnTo>
                <a:lnTo>
                  <a:pt x="8492" y="2798"/>
                </a:lnTo>
                <a:lnTo>
                  <a:pt x="8484" y="2798"/>
                </a:lnTo>
                <a:lnTo>
                  <a:pt x="8470" y="2804"/>
                </a:lnTo>
                <a:lnTo>
                  <a:pt x="8464" y="2806"/>
                </a:lnTo>
                <a:lnTo>
                  <a:pt x="8460" y="2808"/>
                </a:lnTo>
                <a:lnTo>
                  <a:pt x="8458" y="2806"/>
                </a:lnTo>
                <a:lnTo>
                  <a:pt x="8458" y="2802"/>
                </a:lnTo>
                <a:lnTo>
                  <a:pt x="8456" y="2788"/>
                </a:lnTo>
                <a:lnTo>
                  <a:pt x="8454" y="2774"/>
                </a:lnTo>
                <a:lnTo>
                  <a:pt x="8454" y="2764"/>
                </a:lnTo>
                <a:lnTo>
                  <a:pt x="8454" y="2758"/>
                </a:lnTo>
                <a:lnTo>
                  <a:pt x="8456" y="2756"/>
                </a:lnTo>
                <a:lnTo>
                  <a:pt x="8456" y="2752"/>
                </a:lnTo>
                <a:lnTo>
                  <a:pt x="8456" y="2750"/>
                </a:lnTo>
                <a:lnTo>
                  <a:pt x="8452" y="2742"/>
                </a:lnTo>
                <a:lnTo>
                  <a:pt x="8452" y="2736"/>
                </a:lnTo>
                <a:lnTo>
                  <a:pt x="8454" y="2726"/>
                </a:lnTo>
                <a:lnTo>
                  <a:pt x="8460" y="2714"/>
                </a:lnTo>
                <a:lnTo>
                  <a:pt x="8468" y="2696"/>
                </a:lnTo>
                <a:lnTo>
                  <a:pt x="8474" y="2686"/>
                </a:lnTo>
                <a:lnTo>
                  <a:pt x="8478" y="2678"/>
                </a:lnTo>
                <a:lnTo>
                  <a:pt x="8482" y="2674"/>
                </a:lnTo>
                <a:lnTo>
                  <a:pt x="8488" y="2672"/>
                </a:lnTo>
                <a:lnTo>
                  <a:pt x="8494" y="2674"/>
                </a:lnTo>
                <a:lnTo>
                  <a:pt x="8498" y="2672"/>
                </a:lnTo>
                <a:lnTo>
                  <a:pt x="8502" y="2670"/>
                </a:lnTo>
                <a:lnTo>
                  <a:pt x="8506" y="2668"/>
                </a:lnTo>
                <a:lnTo>
                  <a:pt x="8506" y="2664"/>
                </a:lnTo>
                <a:lnTo>
                  <a:pt x="8504" y="2660"/>
                </a:lnTo>
                <a:lnTo>
                  <a:pt x="8502" y="2656"/>
                </a:lnTo>
                <a:lnTo>
                  <a:pt x="8506" y="2654"/>
                </a:lnTo>
                <a:lnTo>
                  <a:pt x="8508" y="2652"/>
                </a:lnTo>
                <a:lnTo>
                  <a:pt x="8512" y="2654"/>
                </a:lnTo>
                <a:lnTo>
                  <a:pt x="8518" y="2660"/>
                </a:lnTo>
                <a:lnTo>
                  <a:pt x="8520" y="2664"/>
                </a:lnTo>
                <a:lnTo>
                  <a:pt x="8522" y="2664"/>
                </a:lnTo>
                <a:lnTo>
                  <a:pt x="8526" y="2664"/>
                </a:lnTo>
                <a:lnTo>
                  <a:pt x="8528" y="2660"/>
                </a:lnTo>
                <a:lnTo>
                  <a:pt x="8528" y="2654"/>
                </a:lnTo>
                <a:lnTo>
                  <a:pt x="8528" y="2650"/>
                </a:lnTo>
                <a:lnTo>
                  <a:pt x="8522" y="2646"/>
                </a:lnTo>
                <a:lnTo>
                  <a:pt x="8518" y="2644"/>
                </a:lnTo>
                <a:lnTo>
                  <a:pt x="8518" y="2642"/>
                </a:lnTo>
                <a:lnTo>
                  <a:pt x="8520" y="2640"/>
                </a:lnTo>
                <a:lnTo>
                  <a:pt x="8526" y="2636"/>
                </a:lnTo>
                <a:lnTo>
                  <a:pt x="8542" y="2628"/>
                </a:lnTo>
                <a:lnTo>
                  <a:pt x="8554" y="2626"/>
                </a:lnTo>
                <a:lnTo>
                  <a:pt x="8558" y="2626"/>
                </a:lnTo>
                <a:lnTo>
                  <a:pt x="8560" y="2628"/>
                </a:lnTo>
                <a:lnTo>
                  <a:pt x="8562" y="2632"/>
                </a:lnTo>
                <a:lnTo>
                  <a:pt x="8560" y="2636"/>
                </a:lnTo>
                <a:lnTo>
                  <a:pt x="8558" y="2642"/>
                </a:lnTo>
                <a:lnTo>
                  <a:pt x="8558" y="2644"/>
                </a:lnTo>
                <a:lnTo>
                  <a:pt x="8560" y="2646"/>
                </a:lnTo>
                <a:lnTo>
                  <a:pt x="8562" y="2646"/>
                </a:lnTo>
                <a:lnTo>
                  <a:pt x="8568" y="2642"/>
                </a:lnTo>
                <a:lnTo>
                  <a:pt x="8570" y="2640"/>
                </a:lnTo>
                <a:lnTo>
                  <a:pt x="8572" y="2636"/>
                </a:lnTo>
                <a:lnTo>
                  <a:pt x="8576" y="2628"/>
                </a:lnTo>
                <a:lnTo>
                  <a:pt x="8582" y="2622"/>
                </a:lnTo>
                <a:lnTo>
                  <a:pt x="8584" y="2622"/>
                </a:lnTo>
                <a:lnTo>
                  <a:pt x="8588" y="2622"/>
                </a:lnTo>
                <a:lnTo>
                  <a:pt x="8590" y="2624"/>
                </a:lnTo>
                <a:lnTo>
                  <a:pt x="8590" y="2628"/>
                </a:lnTo>
                <a:lnTo>
                  <a:pt x="8590" y="2636"/>
                </a:lnTo>
                <a:lnTo>
                  <a:pt x="8590" y="2642"/>
                </a:lnTo>
                <a:lnTo>
                  <a:pt x="8588" y="2644"/>
                </a:lnTo>
                <a:lnTo>
                  <a:pt x="8586" y="2646"/>
                </a:lnTo>
                <a:lnTo>
                  <a:pt x="8580" y="2650"/>
                </a:lnTo>
                <a:lnTo>
                  <a:pt x="8580" y="2652"/>
                </a:lnTo>
                <a:lnTo>
                  <a:pt x="8578" y="2658"/>
                </a:lnTo>
                <a:lnTo>
                  <a:pt x="8578" y="2662"/>
                </a:lnTo>
                <a:lnTo>
                  <a:pt x="8576" y="2664"/>
                </a:lnTo>
                <a:lnTo>
                  <a:pt x="8570" y="2664"/>
                </a:lnTo>
                <a:lnTo>
                  <a:pt x="8566" y="2662"/>
                </a:lnTo>
                <a:lnTo>
                  <a:pt x="8566" y="2664"/>
                </a:lnTo>
                <a:lnTo>
                  <a:pt x="8564" y="2666"/>
                </a:lnTo>
                <a:lnTo>
                  <a:pt x="8566" y="2674"/>
                </a:lnTo>
                <a:lnTo>
                  <a:pt x="8572" y="2686"/>
                </a:lnTo>
                <a:lnTo>
                  <a:pt x="8576" y="2692"/>
                </a:lnTo>
                <a:lnTo>
                  <a:pt x="8580" y="2698"/>
                </a:lnTo>
                <a:lnTo>
                  <a:pt x="8584" y="2710"/>
                </a:lnTo>
                <a:lnTo>
                  <a:pt x="8584" y="2716"/>
                </a:lnTo>
                <a:lnTo>
                  <a:pt x="8586" y="2718"/>
                </a:lnTo>
                <a:lnTo>
                  <a:pt x="8590" y="2718"/>
                </a:lnTo>
                <a:lnTo>
                  <a:pt x="8594" y="2718"/>
                </a:lnTo>
                <a:lnTo>
                  <a:pt x="8596" y="2718"/>
                </a:lnTo>
                <a:lnTo>
                  <a:pt x="8600" y="2720"/>
                </a:lnTo>
                <a:lnTo>
                  <a:pt x="8602" y="2722"/>
                </a:lnTo>
                <a:lnTo>
                  <a:pt x="8604" y="2730"/>
                </a:lnTo>
                <a:lnTo>
                  <a:pt x="8594" y="2740"/>
                </a:lnTo>
                <a:lnTo>
                  <a:pt x="8586" y="2744"/>
                </a:lnTo>
                <a:lnTo>
                  <a:pt x="8576" y="2750"/>
                </a:lnTo>
                <a:lnTo>
                  <a:pt x="8572" y="2752"/>
                </a:lnTo>
                <a:lnTo>
                  <a:pt x="8570" y="2754"/>
                </a:lnTo>
                <a:lnTo>
                  <a:pt x="8570" y="2758"/>
                </a:lnTo>
                <a:lnTo>
                  <a:pt x="8570" y="2768"/>
                </a:lnTo>
                <a:close/>
                <a:moveTo>
                  <a:pt x="11370" y="2874"/>
                </a:moveTo>
                <a:lnTo>
                  <a:pt x="11370" y="2874"/>
                </a:lnTo>
                <a:lnTo>
                  <a:pt x="11370" y="2870"/>
                </a:lnTo>
                <a:lnTo>
                  <a:pt x="11376" y="2882"/>
                </a:lnTo>
                <a:lnTo>
                  <a:pt x="11370" y="2874"/>
                </a:lnTo>
                <a:close/>
                <a:moveTo>
                  <a:pt x="8546" y="1146"/>
                </a:moveTo>
                <a:lnTo>
                  <a:pt x="8546" y="1146"/>
                </a:lnTo>
                <a:lnTo>
                  <a:pt x="8546" y="1144"/>
                </a:lnTo>
                <a:lnTo>
                  <a:pt x="8544" y="1140"/>
                </a:lnTo>
                <a:lnTo>
                  <a:pt x="8532" y="1134"/>
                </a:lnTo>
                <a:lnTo>
                  <a:pt x="8518" y="1126"/>
                </a:lnTo>
                <a:lnTo>
                  <a:pt x="8508" y="1120"/>
                </a:lnTo>
                <a:lnTo>
                  <a:pt x="8500" y="1112"/>
                </a:lnTo>
                <a:lnTo>
                  <a:pt x="8490" y="1104"/>
                </a:lnTo>
                <a:lnTo>
                  <a:pt x="8482" y="1102"/>
                </a:lnTo>
                <a:lnTo>
                  <a:pt x="8478" y="1104"/>
                </a:lnTo>
                <a:lnTo>
                  <a:pt x="8470" y="1108"/>
                </a:lnTo>
                <a:lnTo>
                  <a:pt x="8468" y="1108"/>
                </a:lnTo>
                <a:lnTo>
                  <a:pt x="8468" y="1110"/>
                </a:lnTo>
                <a:lnTo>
                  <a:pt x="8470" y="1116"/>
                </a:lnTo>
                <a:lnTo>
                  <a:pt x="8472" y="1120"/>
                </a:lnTo>
                <a:lnTo>
                  <a:pt x="8470" y="1118"/>
                </a:lnTo>
                <a:lnTo>
                  <a:pt x="8466" y="1118"/>
                </a:lnTo>
                <a:lnTo>
                  <a:pt x="8464" y="1118"/>
                </a:lnTo>
                <a:lnTo>
                  <a:pt x="8464" y="1120"/>
                </a:lnTo>
                <a:lnTo>
                  <a:pt x="8464" y="1122"/>
                </a:lnTo>
                <a:lnTo>
                  <a:pt x="8468" y="1130"/>
                </a:lnTo>
                <a:lnTo>
                  <a:pt x="8476" y="1140"/>
                </a:lnTo>
                <a:lnTo>
                  <a:pt x="8482" y="1144"/>
                </a:lnTo>
                <a:lnTo>
                  <a:pt x="8486" y="1144"/>
                </a:lnTo>
                <a:lnTo>
                  <a:pt x="8488" y="1144"/>
                </a:lnTo>
                <a:lnTo>
                  <a:pt x="8488" y="1142"/>
                </a:lnTo>
                <a:lnTo>
                  <a:pt x="8492" y="1140"/>
                </a:lnTo>
                <a:lnTo>
                  <a:pt x="8500" y="1142"/>
                </a:lnTo>
                <a:lnTo>
                  <a:pt x="8506" y="1146"/>
                </a:lnTo>
                <a:lnTo>
                  <a:pt x="8508" y="1148"/>
                </a:lnTo>
                <a:lnTo>
                  <a:pt x="8508" y="1152"/>
                </a:lnTo>
                <a:lnTo>
                  <a:pt x="8510" y="1154"/>
                </a:lnTo>
                <a:lnTo>
                  <a:pt x="8514" y="1156"/>
                </a:lnTo>
                <a:lnTo>
                  <a:pt x="8526" y="1156"/>
                </a:lnTo>
                <a:lnTo>
                  <a:pt x="8540" y="1152"/>
                </a:lnTo>
                <a:lnTo>
                  <a:pt x="8544" y="1150"/>
                </a:lnTo>
                <a:lnTo>
                  <a:pt x="8546" y="1146"/>
                </a:lnTo>
                <a:close/>
                <a:moveTo>
                  <a:pt x="8966" y="906"/>
                </a:moveTo>
                <a:lnTo>
                  <a:pt x="8966" y="906"/>
                </a:lnTo>
                <a:lnTo>
                  <a:pt x="8984" y="902"/>
                </a:lnTo>
                <a:lnTo>
                  <a:pt x="8988" y="900"/>
                </a:lnTo>
                <a:lnTo>
                  <a:pt x="8992" y="896"/>
                </a:lnTo>
                <a:lnTo>
                  <a:pt x="8994" y="894"/>
                </a:lnTo>
                <a:lnTo>
                  <a:pt x="8994" y="890"/>
                </a:lnTo>
                <a:lnTo>
                  <a:pt x="8990" y="884"/>
                </a:lnTo>
                <a:lnTo>
                  <a:pt x="8982" y="878"/>
                </a:lnTo>
                <a:lnTo>
                  <a:pt x="8972" y="874"/>
                </a:lnTo>
                <a:lnTo>
                  <a:pt x="8960" y="874"/>
                </a:lnTo>
                <a:lnTo>
                  <a:pt x="8948" y="876"/>
                </a:lnTo>
                <a:lnTo>
                  <a:pt x="8936" y="880"/>
                </a:lnTo>
                <a:lnTo>
                  <a:pt x="8928" y="886"/>
                </a:lnTo>
                <a:lnTo>
                  <a:pt x="8924" y="892"/>
                </a:lnTo>
                <a:lnTo>
                  <a:pt x="8924" y="898"/>
                </a:lnTo>
                <a:lnTo>
                  <a:pt x="8928" y="904"/>
                </a:lnTo>
                <a:lnTo>
                  <a:pt x="8936" y="906"/>
                </a:lnTo>
                <a:lnTo>
                  <a:pt x="8948" y="908"/>
                </a:lnTo>
                <a:lnTo>
                  <a:pt x="8966" y="906"/>
                </a:lnTo>
                <a:close/>
                <a:moveTo>
                  <a:pt x="8184" y="986"/>
                </a:moveTo>
                <a:lnTo>
                  <a:pt x="8184" y="986"/>
                </a:lnTo>
                <a:lnTo>
                  <a:pt x="8178" y="1004"/>
                </a:lnTo>
                <a:lnTo>
                  <a:pt x="8176" y="1012"/>
                </a:lnTo>
                <a:lnTo>
                  <a:pt x="8178" y="1018"/>
                </a:lnTo>
                <a:lnTo>
                  <a:pt x="8182" y="1022"/>
                </a:lnTo>
                <a:lnTo>
                  <a:pt x="8188" y="1024"/>
                </a:lnTo>
                <a:lnTo>
                  <a:pt x="8198" y="1026"/>
                </a:lnTo>
                <a:lnTo>
                  <a:pt x="8212" y="1028"/>
                </a:lnTo>
                <a:lnTo>
                  <a:pt x="8228" y="1028"/>
                </a:lnTo>
                <a:lnTo>
                  <a:pt x="8228" y="1030"/>
                </a:lnTo>
                <a:lnTo>
                  <a:pt x="8224" y="1032"/>
                </a:lnTo>
                <a:lnTo>
                  <a:pt x="8220" y="1036"/>
                </a:lnTo>
                <a:lnTo>
                  <a:pt x="8218" y="1040"/>
                </a:lnTo>
                <a:lnTo>
                  <a:pt x="8218" y="1044"/>
                </a:lnTo>
                <a:lnTo>
                  <a:pt x="8222" y="1046"/>
                </a:lnTo>
                <a:lnTo>
                  <a:pt x="8232" y="1054"/>
                </a:lnTo>
                <a:lnTo>
                  <a:pt x="8238" y="1058"/>
                </a:lnTo>
                <a:lnTo>
                  <a:pt x="8244" y="1060"/>
                </a:lnTo>
                <a:lnTo>
                  <a:pt x="8248" y="1058"/>
                </a:lnTo>
                <a:lnTo>
                  <a:pt x="8250" y="1058"/>
                </a:lnTo>
                <a:lnTo>
                  <a:pt x="8254" y="1052"/>
                </a:lnTo>
                <a:lnTo>
                  <a:pt x="8254" y="1044"/>
                </a:lnTo>
                <a:lnTo>
                  <a:pt x="8254" y="1038"/>
                </a:lnTo>
                <a:lnTo>
                  <a:pt x="8254" y="1032"/>
                </a:lnTo>
                <a:lnTo>
                  <a:pt x="8256" y="1032"/>
                </a:lnTo>
                <a:lnTo>
                  <a:pt x="8258" y="1034"/>
                </a:lnTo>
                <a:lnTo>
                  <a:pt x="8264" y="1040"/>
                </a:lnTo>
                <a:lnTo>
                  <a:pt x="8268" y="1046"/>
                </a:lnTo>
                <a:lnTo>
                  <a:pt x="8270" y="1052"/>
                </a:lnTo>
                <a:lnTo>
                  <a:pt x="8272" y="1056"/>
                </a:lnTo>
                <a:lnTo>
                  <a:pt x="8270" y="1060"/>
                </a:lnTo>
                <a:lnTo>
                  <a:pt x="8266" y="1066"/>
                </a:lnTo>
                <a:lnTo>
                  <a:pt x="8262" y="1070"/>
                </a:lnTo>
                <a:lnTo>
                  <a:pt x="8258" y="1072"/>
                </a:lnTo>
                <a:lnTo>
                  <a:pt x="8256" y="1074"/>
                </a:lnTo>
                <a:lnTo>
                  <a:pt x="8258" y="1076"/>
                </a:lnTo>
                <a:lnTo>
                  <a:pt x="8262" y="1076"/>
                </a:lnTo>
                <a:lnTo>
                  <a:pt x="8276" y="1078"/>
                </a:lnTo>
                <a:lnTo>
                  <a:pt x="8292" y="1080"/>
                </a:lnTo>
                <a:lnTo>
                  <a:pt x="8302" y="1082"/>
                </a:lnTo>
                <a:lnTo>
                  <a:pt x="8308" y="1084"/>
                </a:lnTo>
                <a:lnTo>
                  <a:pt x="8312" y="1086"/>
                </a:lnTo>
                <a:lnTo>
                  <a:pt x="8314" y="1088"/>
                </a:lnTo>
                <a:lnTo>
                  <a:pt x="8320" y="1090"/>
                </a:lnTo>
                <a:lnTo>
                  <a:pt x="8338" y="1092"/>
                </a:lnTo>
                <a:lnTo>
                  <a:pt x="8352" y="1092"/>
                </a:lnTo>
                <a:lnTo>
                  <a:pt x="8364" y="1094"/>
                </a:lnTo>
                <a:lnTo>
                  <a:pt x="8384" y="1098"/>
                </a:lnTo>
                <a:lnTo>
                  <a:pt x="8392" y="1098"/>
                </a:lnTo>
                <a:lnTo>
                  <a:pt x="8402" y="1096"/>
                </a:lnTo>
                <a:lnTo>
                  <a:pt x="8412" y="1094"/>
                </a:lnTo>
                <a:lnTo>
                  <a:pt x="8426" y="1086"/>
                </a:lnTo>
                <a:lnTo>
                  <a:pt x="8428" y="1084"/>
                </a:lnTo>
                <a:lnTo>
                  <a:pt x="8430" y="1082"/>
                </a:lnTo>
                <a:lnTo>
                  <a:pt x="8428" y="1080"/>
                </a:lnTo>
                <a:lnTo>
                  <a:pt x="8426" y="1078"/>
                </a:lnTo>
                <a:lnTo>
                  <a:pt x="8418" y="1074"/>
                </a:lnTo>
                <a:lnTo>
                  <a:pt x="8408" y="1068"/>
                </a:lnTo>
                <a:lnTo>
                  <a:pt x="8394" y="1062"/>
                </a:lnTo>
                <a:lnTo>
                  <a:pt x="8382" y="1054"/>
                </a:lnTo>
                <a:lnTo>
                  <a:pt x="8372" y="1046"/>
                </a:lnTo>
                <a:lnTo>
                  <a:pt x="8364" y="1036"/>
                </a:lnTo>
                <a:lnTo>
                  <a:pt x="8360" y="1026"/>
                </a:lnTo>
                <a:lnTo>
                  <a:pt x="8354" y="1018"/>
                </a:lnTo>
                <a:lnTo>
                  <a:pt x="8344" y="1006"/>
                </a:lnTo>
                <a:lnTo>
                  <a:pt x="8340" y="1000"/>
                </a:lnTo>
                <a:lnTo>
                  <a:pt x="8338" y="992"/>
                </a:lnTo>
                <a:lnTo>
                  <a:pt x="8336" y="980"/>
                </a:lnTo>
                <a:lnTo>
                  <a:pt x="8338" y="964"/>
                </a:lnTo>
                <a:lnTo>
                  <a:pt x="8340" y="956"/>
                </a:lnTo>
                <a:lnTo>
                  <a:pt x="8344" y="948"/>
                </a:lnTo>
                <a:lnTo>
                  <a:pt x="8352" y="936"/>
                </a:lnTo>
                <a:lnTo>
                  <a:pt x="8362" y="926"/>
                </a:lnTo>
                <a:lnTo>
                  <a:pt x="8372" y="918"/>
                </a:lnTo>
                <a:lnTo>
                  <a:pt x="8378" y="912"/>
                </a:lnTo>
                <a:lnTo>
                  <a:pt x="8380" y="906"/>
                </a:lnTo>
                <a:lnTo>
                  <a:pt x="8380" y="904"/>
                </a:lnTo>
                <a:lnTo>
                  <a:pt x="8376" y="900"/>
                </a:lnTo>
                <a:lnTo>
                  <a:pt x="8366" y="894"/>
                </a:lnTo>
                <a:lnTo>
                  <a:pt x="8346" y="886"/>
                </a:lnTo>
                <a:lnTo>
                  <a:pt x="8342" y="886"/>
                </a:lnTo>
                <a:lnTo>
                  <a:pt x="8338" y="886"/>
                </a:lnTo>
                <a:lnTo>
                  <a:pt x="8324" y="888"/>
                </a:lnTo>
                <a:lnTo>
                  <a:pt x="8288" y="894"/>
                </a:lnTo>
                <a:lnTo>
                  <a:pt x="8266" y="896"/>
                </a:lnTo>
                <a:lnTo>
                  <a:pt x="8256" y="900"/>
                </a:lnTo>
                <a:lnTo>
                  <a:pt x="8250" y="902"/>
                </a:lnTo>
                <a:lnTo>
                  <a:pt x="8250" y="904"/>
                </a:lnTo>
                <a:lnTo>
                  <a:pt x="8250" y="908"/>
                </a:lnTo>
                <a:lnTo>
                  <a:pt x="8250" y="910"/>
                </a:lnTo>
                <a:lnTo>
                  <a:pt x="8246" y="916"/>
                </a:lnTo>
                <a:lnTo>
                  <a:pt x="8236" y="920"/>
                </a:lnTo>
                <a:lnTo>
                  <a:pt x="8226" y="926"/>
                </a:lnTo>
                <a:lnTo>
                  <a:pt x="8222" y="930"/>
                </a:lnTo>
                <a:lnTo>
                  <a:pt x="8220" y="932"/>
                </a:lnTo>
                <a:lnTo>
                  <a:pt x="8222" y="936"/>
                </a:lnTo>
                <a:lnTo>
                  <a:pt x="8226" y="940"/>
                </a:lnTo>
                <a:lnTo>
                  <a:pt x="8228" y="946"/>
                </a:lnTo>
                <a:lnTo>
                  <a:pt x="8228" y="954"/>
                </a:lnTo>
                <a:lnTo>
                  <a:pt x="8224" y="964"/>
                </a:lnTo>
                <a:lnTo>
                  <a:pt x="8218" y="974"/>
                </a:lnTo>
                <a:lnTo>
                  <a:pt x="8212" y="976"/>
                </a:lnTo>
                <a:lnTo>
                  <a:pt x="8208" y="976"/>
                </a:lnTo>
                <a:lnTo>
                  <a:pt x="8204" y="976"/>
                </a:lnTo>
                <a:lnTo>
                  <a:pt x="8198" y="974"/>
                </a:lnTo>
                <a:lnTo>
                  <a:pt x="8194" y="974"/>
                </a:lnTo>
                <a:lnTo>
                  <a:pt x="8190" y="978"/>
                </a:lnTo>
                <a:lnTo>
                  <a:pt x="8184" y="986"/>
                </a:lnTo>
                <a:close/>
                <a:moveTo>
                  <a:pt x="8658" y="660"/>
                </a:moveTo>
                <a:lnTo>
                  <a:pt x="8658" y="660"/>
                </a:lnTo>
                <a:lnTo>
                  <a:pt x="8640" y="666"/>
                </a:lnTo>
                <a:lnTo>
                  <a:pt x="8630" y="668"/>
                </a:lnTo>
                <a:lnTo>
                  <a:pt x="8624" y="668"/>
                </a:lnTo>
                <a:lnTo>
                  <a:pt x="8620" y="664"/>
                </a:lnTo>
                <a:lnTo>
                  <a:pt x="8616" y="662"/>
                </a:lnTo>
                <a:lnTo>
                  <a:pt x="8610" y="660"/>
                </a:lnTo>
                <a:lnTo>
                  <a:pt x="8602" y="658"/>
                </a:lnTo>
                <a:lnTo>
                  <a:pt x="8586" y="658"/>
                </a:lnTo>
                <a:lnTo>
                  <a:pt x="8570" y="660"/>
                </a:lnTo>
                <a:lnTo>
                  <a:pt x="8564" y="664"/>
                </a:lnTo>
                <a:lnTo>
                  <a:pt x="8560" y="666"/>
                </a:lnTo>
                <a:lnTo>
                  <a:pt x="8560" y="670"/>
                </a:lnTo>
                <a:lnTo>
                  <a:pt x="8562" y="674"/>
                </a:lnTo>
                <a:lnTo>
                  <a:pt x="8562" y="676"/>
                </a:lnTo>
                <a:lnTo>
                  <a:pt x="8560" y="676"/>
                </a:lnTo>
                <a:lnTo>
                  <a:pt x="8552" y="676"/>
                </a:lnTo>
                <a:lnTo>
                  <a:pt x="8540" y="676"/>
                </a:lnTo>
                <a:lnTo>
                  <a:pt x="8524" y="680"/>
                </a:lnTo>
                <a:lnTo>
                  <a:pt x="8508" y="684"/>
                </a:lnTo>
                <a:lnTo>
                  <a:pt x="8490" y="690"/>
                </a:lnTo>
                <a:lnTo>
                  <a:pt x="8472" y="698"/>
                </a:lnTo>
                <a:lnTo>
                  <a:pt x="8456" y="708"/>
                </a:lnTo>
                <a:lnTo>
                  <a:pt x="8442" y="718"/>
                </a:lnTo>
                <a:lnTo>
                  <a:pt x="8432" y="728"/>
                </a:lnTo>
                <a:lnTo>
                  <a:pt x="8426" y="734"/>
                </a:lnTo>
                <a:lnTo>
                  <a:pt x="8420" y="738"/>
                </a:lnTo>
                <a:lnTo>
                  <a:pt x="8418" y="738"/>
                </a:lnTo>
                <a:lnTo>
                  <a:pt x="8414" y="736"/>
                </a:lnTo>
                <a:lnTo>
                  <a:pt x="8412" y="734"/>
                </a:lnTo>
                <a:lnTo>
                  <a:pt x="8408" y="734"/>
                </a:lnTo>
                <a:lnTo>
                  <a:pt x="8402" y="736"/>
                </a:lnTo>
                <a:lnTo>
                  <a:pt x="8394" y="740"/>
                </a:lnTo>
                <a:lnTo>
                  <a:pt x="8388" y="746"/>
                </a:lnTo>
                <a:lnTo>
                  <a:pt x="8382" y="748"/>
                </a:lnTo>
                <a:lnTo>
                  <a:pt x="8380" y="748"/>
                </a:lnTo>
                <a:lnTo>
                  <a:pt x="8378" y="746"/>
                </a:lnTo>
                <a:lnTo>
                  <a:pt x="8376" y="744"/>
                </a:lnTo>
                <a:lnTo>
                  <a:pt x="8374" y="742"/>
                </a:lnTo>
                <a:lnTo>
                  <a:pt x="8370" y="742"/>
                </a:lnTo>
                <a:lnTo>
                  <a:pt x="8362" y="744"/>
                </a:lnTo>
                <a:lnTo>
                  <a:pt x="8358" y="750"/>
                </a:lnTo>
                <a:lnTo>
                  <a:pt x="8356" y="754"/>
                </a:lnTo>
                <a:lnTo>
                  <a:pt x="8360" y="756"/>
                </a:lnTo>
                <a:lnTo>
                  <a:pt x="8362" y="760"/>
                </a:lnTo>
                <a:lnTo>
                  <a:pt x="8370" y="764"/>
                </a:lnTo>
                <a:lnTo>
                  <a:pt x="8368" y="766"/>
                </a:lnTo>
                <a:lnTo>
                  <a:pt x="8364" y="770"/>
                </a:lnTo>
                <a:lnTo>
                  <a:pt x="8360" y="772"/>
                </a:lnTo>
                <a:lnTo>
                  <a:pt x="8358" y="774"/>
                </a:lnTo>
                <a:lnTo>
                  <a:pt x="8360" y="778"/>
                </a:lnTo>
                <a:lnTo>
                  <a:pt x="8364" y="780"/>
                </a:lnTo>
                <a:lnTo>
                  <a:pt x="8366" y="782"/>
                </a:lnTo>
                <a:lnTo>
                  <a:pt x="8368" y="784"/>
                </a:lnTo>
                <a:lnTo>
                  <a:pt x="8364" y="786"/>
                </a:lnTo>
                <a:lnTo>
                  <a:pt x="8356" y="786"/>
                </a:lnTo>
                <a:lnTo>
                  <a:pt x="8348" y="788"/>
                </a:lnTo>
                <a:lnTo>
                  <a:pt x="8342" y="792"/>
                </a:lnTo>
                <a:lnTo>
                  <a:pt x="8338" y="798"/>
                </a:lnTo>
                <a:lnTo>
                  <a:pt x="8334" y="806"/>
                </a:lnTo>
                <a:lnTo>
                  <a:pt x="8330" y="814"/>
                </a:lnTo>
                <a:lnTo>
                  <a:pt x="8324" y="822"/>
                </a:lnTo>
                <a:lnTo>
                  <a:pt x="8316" y="830"/>
                </a:lnTo>
                <a:lnTo>
                  <a:pt x="8302" y="836"/>
                </a:lnTo>
                <a:lnTo>
                  <a:pt x="8280" y="848"/>
                </a:lnTo>
                <a:lnTo>
                  <a:pt x="8272" y="854"/>
                </a:lnTo>
                <a:lnTo>
                  <a:pt x="8268" y="858"/>
                </a:lnTo>
                <a:lnTo>
                  <a:pt x="8268" y="862"/>
                </a:lnTo>
                <a:lnTo>
                  <a:pt x="8270" y="864"/>
                </a:lnTo>
                <a:lnTo>
                  <a:pt x="8278" y="866"/>
                </a:lnTo>
                <a:lnTo>
                  <a:pt x="8288" y="866"/>
                </a:lnTo>
                <a:lnTo>
                  <a:pt x="8296" y="866"/>
                </a:lnTo>
                <a:lnTo>
                  <a:pt x="8298" y="870"/>
                </a:lnTo>
                <a:lnTo>
                  <a:pt x="8296" y="872"/>
                </a:lnTo>
                <a:lnTo>
                  <a:pt x="8294" y="876"/>
                </a:lnTo>
                <a:lnTo>
                  <a:pt x="8290" y="880"/>
                </a:lnTo>
                <a:lnTo>
                  <a:pt x="8290" y="882"/>
                </a:lnTo>
                <a:lnTo>
                  <a:pt x="8294" y="882"/>
                </a:lnTo>
                <a:lnTo>
                  <a:pt x="8304" y="882"/>
                </a:lnTo>
                <a:lnTo>
                  <a:pt x="8326" y="876"/>
                </a:lnTo>
                <a:lnTo>
                  <a:pt x="8334" y="876"/>
                </a:lnTo>
                <a:lnTo>
                  <a:pt x="8342" y="876"/>
                </a:lnTo>
                <a:lnTo>
                  <a:pt x="8348" y="878"/>
                </a:lnTo>
                <a:lnTo>
                  <a:pt x="8356" y="880"/>
                </a:lnTo>
                <a:lnTo>
                  <a:pt x="8374" y="892"/>
                </a:lnTo>
                <a:lnTo>
                  <a:pt x="8384" y="894"/>
                </a:lnTo>
                <a:lnTo>
                  <a:pt x="8396" y="894"/>
                </a:lnTo>
                <a:lnTo>
                  <a:pt x="8402" y="892"/>
                </a:lnTo>
                <a:lnTo>
                  <a:pt x="8406" y="888"/>
                </a:lnTo>
                <a:lnTo>
                  <a:pt x="8410" y="884"/>
                </a:lnTo>
                <a:lnTo>
                  <a:pt x="8412" y="878"/>
                </a:lnTo>
                <a:lnTo>
                  <a:pt x="8414" y="874"/>
                </a:lnTo>
                <a:lnTo>
                  <a:pt x="8418" y="870"/>
                </a:lnTo>
                <a:lnTo>
                  <a:pt x="8426" y="868"/>
                </a:lnTo>
                <a:lnTo>
                  <a:pt x="8430" y="868"/>
                </a:lnTo>
                <a:lnTo>
                  <a:pt x="8434" y="864"/>
                </a:lnTo>
                <a:lnTo>
                  <a:pt x="8440" y="858"/>
                </a:lnTo>
                <a:lnTo>
                  <a:pt x="8442" y="850"/>
                </a:lnTo>
                <a:lnTo>
                  <a:pt x="8446" y="840"/>
                </a:lnTo>
                <a:lnTo>
                  <a:pt x="8450" y="834"/>
                </a:lnTo>
                <a:lnTo>
                  <a:pt x="8456" y="830"/>
                </a:lnTo>
                <a:lnTo>
                  <a:pt x="8460" y="828"/>
                </a:lnTo>
                <a:lnTo>
                  <a:pt x="8470" y="824"/>
                </a:lnTo>
                <a:lnTo>
                  <a:pt x="8472" y="820"/>
                </a:lnTo>
                <a:lnTo>
                  <a:pt x="8474" y="816"/>
                </a:lnTo>
                <a:lnTo>
                  <a:pt x="8476" y="804"/>
                </a:lnTo>
                <a:lnTo>
                  <a:pt x="8480" y="802"/>
                </a:lnTo>
                <a:lnTo>
                  <a:pt x="8484" y="800"/>
                </a:lnTo>
                <a:lnTo>
                  <a:pt x="8498" y="794"/>
                </a:lnTo>
                <a:lnTo>
                  <a:pt x="8526" y="784"/>
                </a:lnTo>
                <a:lnTo>
                  <a:pt x="8540" y="778"/>
                </a:lnTo>
                <a:lnTo>
                  <a:pt x="8546" y="772"/>
                </a:lnTo>
                <a:lnTo>
                  <a:pt x="8550" y="768"/>
                </a:lnTo>
                <a:lnTo>
                  <a:pt x="8552" y="764"/>
                </a:lnTo>
                <a:lnTo>
                  <a:pt x="8556" y="758"/>
                </a:lnTo>
                <a:lnTo>
                  <a:pt x="8564" y="752"/>
                </a:lnTo>
                <a:lnTo>
                  <a:pt x="8578" y="744"/>
                </a:lnTo>
                <a:lnTo>
                  <a:pt x="8600" y="734"/>
                </a:lnTo>
                <a:lnTo>
                  <a:pt x="8632" y="722"/>
                </a:lnTo>
                <a:lnTo>
                  <a:pt x="8666" y="712"/>
                </a:lnTo>
                <a:lnTo>
                  <a:pt x="8742" y="692"/>
                </a:lnTo>
                <a:lnTo>
                  <a:pt x="8814" y="674"/>
                </a:lnTo>
                <a:lnTo>
                  <a:pt x="8844" y="664"/>
                </a:lnTo>
                <a:lnTo>
                  <a:pt x="8870" y="654"/>
                </a:lnTo>
                <a:lnTo>
                  <a:pt x="8878" y="648"/>
                </a:lnTo>
                <a:lnTo>
                  <a:pt x="8886" y="642"/>
                </a:lnTo>
                <a:lnTo>
                  <a:pt x="8890" y="638"/>
                </a:lnTo>
                <a:lnTo>
                  <a:pt x="8892" y="632"/>
                </a:lnTo>
                <a:lnTo>
                  <a:pt x="8890" y="628"/>
                </a:lnTo>
                <a:lnTo>
                  <a:pt x="8888" y="622"/>
                </a:lnTo>
                <a:lnTo>
                  <a:pt x="8884" y="618"/>
                </a:lnTo>
                <a:lnTo>
                  <a:pt x="8878" y="614"/>
                </a:lnTo>
                <a:lnTo>
                  <a:pt x="8862" y="608"/>
                </a:lnTo>
                <a:lnTo>
                  <a:pt x="8842" y="606"/>
                </a:lnTo>
                <a:lnTo>
                  <a:pt x="8820" y="606"/>
                </a:lnTo>
                <a:lnTo>
                  <a:pt x="8798" y="610"/>
                </a:lnTo>
                <a:lnTo>
                  <a:pt x="8768" y="622"/>
                </a:lnTo>
                <a:lnTo>
                  <a:pt x="8762" y="624"/>
                </a:lnTo>
                <a:lnTo>
                  <a:pt x="8758" y="628"/>
                </a:lnTo>
                <a:lnTo>
                  <a:pt x="8756" y="630"/>
                </a:lnTo>
                <a:lnTo>
                  <a:pt x="8754" y="634"/>
                </a:lnTo>
                <a:lnTo>
                  <a:pt x="8746" y="638"/>
                </a:lnTo>
                <a:lnTo>
                  <a:pt x="8732" y="642"/>
                </a:lnTo>
                <a:lnTo>
                  <a:pt x="8708" y="650"/>
                </a:lnTo>
                <a:lnTo>
                  <a:pt x="8698" y="650"/>
                </a:lnTo>
                <a:lnTo>
                  <a:pt x="8686" y="652"/>
                </a:lnTo>
                <a:lnTo>
                  <a:pt x="8658" y="660"/>
                </a:lnTo>
                <a:close/>
                <a:moveTo>
                  <a:pt x="7934" y="316"/>
                </a:moveTo>
                <a:lnTo>
                  <a:pt x="7934" y="316"/>
                </a:lnTo>
                <a:lnTo>
                  <a:pt x="7942" y="318"/>
                </a:lnTo>
                <a:lnTo>
                  <a:pt x="7950" y="314"/>
                </a:lnTo>
                <a:lnTo>
                  <a:pt x="7954" y="314"/>
                </a:lnTo>
                <a:lnTo>
                  <a:pt x="7958" y="316"/>
                </a:lnTo>
                <a:lnTo>
                  <a:pt x="7964" y="320"/>
                </a:lnTo>
                <a:lnTo>
                  <a:pt x="7968" y="322"/>
                </a:lnTo>
                <a:lnTo>
                  <a:pt x="7974" y="322"/>
                </a:lnTo>
                <a:lnTo>
                  <a:pt x="7980" y="322"/>
                </a:lnTo>
                <a:lnTo>
                  <a:pt x="7990" y="318"/>
                </a:lnTo>
                <a:lnTo>
                  <a:pt x="8006" y="310"/>
                </a:lnTo>
                <a:lnTo>
                  <a:pt x="8018" y="304"/>
                </a:lnTo>
                <a:lnTo>
                  <a:pt x="8022" y="302"/>
                </a:lnTo>
                <a:lnTo>
                  <a:pt x="8028" y="300"/>
                </a:lnTo>
                <a:lnTo>
                  <a:pt x="8036" y="302"/>
                </a:lnTo>
                <a:lnTo>
                  <a:pt x="8046" y="304"/>
                </a:lnTo>
                <a:lnTo>
                  <a:pt x="8056" y="308"/>
                </a:lnTo>
                <a:lnTo>
                  <a:pt x="8064" y="308"/>
                </a:lnTo>
                <a:lnTo>
                  <a:pt x="8070" y="308"/>
                </a:lnTo>
                <a:lnTo>
                  <a:pt x="8072" y="306"/>
                </a:lnTo>
                <a:lnTo>
                  <a:pt x="8070" y="302"/>
                </a:lnTo>
                <a:lnTo>
                  <a:pt x="8064" y="298"/>
                </a:lnTo>
                <a:lnTo>
                  <a:pt x="8054" y="294"/>
                </a:lnTo>
                <a:lnTo>
                  <a:pt x="8038" y="290"/>
                </a:lnTo>
                <a:lnTo>
                  <a:pt x="8014" y="286"/>
                </a:lnTo>
                <a:lnTo>
                  <a:pt x="8010" y="286"/>
                </a:lnTo>
                <a:lnTo>
                  <a:pt x="8008" y="288"/>
                </a:lnTo>
                <a:lnTo>
                  <a:pt x="8006" y="290"/>
                </a:lnTo>
                <a:lnTo>
                  <a:pt x="8002" y="294"/>
                </a:lnTo>
                <a:lnTo>
                  <a:pt x="7996" y="296"/>
                </a:lnTo>
                <a:lnTo>
                  <a:pt x="7984" y="300"/>
                </a:lnTo>
                <a:lnTo>
                  <a:pt x="7954" y="304"/>
                </a:lnTo>
                <a:lnTo>
                  <a:pt x="7930" y="308"/>
                </a:lnTo>
                <a:lnTo>
                  <a:pt x="7924" y="310"/>
                </a:lnTo>
                <a:lnTo>
                  <a:pt x="7920" y="312"/>
                </a:lnTo>
                <a:lnTo>
                  <a:pt x="7924" y="314"/>
                </a:lnTo>
                <a:lnTo>
                  <a:pt x="7934" y="316"/>
                </a:lnTo>
                <a:close/>
                <a:moveTo>
                  <a:pt x="8090" y="300"/>
                </a:moveTo>
                <a:lnTo>
                  <a:pt x="8090" y="300"/>
                </a:lnTo>
                <a:lnTo>
                  <a:pt x="8098" y="306"/>
                </a:lnTo>
                <a:lnTo>
                  <a:pt x="8100" y="308"/>
                </a:lnTo>
                <a:lnTo>
                  <a:pt x="8098" y="310"/>
                </a:lnTo>
                <a:lnTo>
                  <a:pt x="8096" y="312"/>
                </a:lnTo>
                <a:lnTo>
                  <a:pt x="8090" y="314"/>
                </a:lnTo>
                <a:lnTo>
                  <a:pt x="8068" y="316"/>
                </a:lnTo>
                <a:lnTo>
                  <a:pt x="8042" y="316"/>
                </a:lnTo>
                <a:lnTo>
                  <a:pt x="8024" y="318"/>
                </a:lnTo>
                <a:lnTo>
                  <a:pt x="8020" y="318"/>
                </a:lnTo>
                <a:lnTo>
                  <a:pt x="8020" y="320"/>
                </a:lnTo>
                <a:lnTo>
                  <a:pt x="8022" y="322"/>
                </a:lnTo>
                <a:lnTo>
                  <a:pt x="8028" y="326"/>
                </a:lnTo>
                <a:lnTo>
                  <a:pt x="8036" y="332"/>
                </a:lnTo>
                <a:lnTo>
                  <a:pt x="8034" y="332"/>
                </a:lnTo>
                <a:lnTo>
                  <a:pt x="8032" y="334"/>
                </a:lnTo>
                <a:lnTo>
                  <a:pt x="8012" y="332"/>
                </a:lnTo>
                <a:lnTo>
                  <a:pt x="8000" y="330"/>
                </a:lnTo>
                <a:lnTo>
                  <a:pt x="7988" y="332"/>
                </a:lnTo>
                <a:lnTo>
                  <a:pt x="7986" y="332"/>
                </a:lnTo>
                <a:lnTo>
                  <a:pt x="7986" y="334"/>
                </a:lnTo>
                <a:lnTo>
                  <a:pt x="7988" y="338"/>
                </a:lnTo>
                <a:lnTo>
                  <a:pt x="7998" y="344"/>
                </a:lnTo>
                <a:lnTo>
                  <a:pt x="8006" y="346"/>
                </a:lnTo>
                <a:lnTo>
                  <a:pt x="8010" y="346"/>
                </a:lnTo>
                <a:lnTo>
                  <a:pt x="8016" y="344"/>
                </a:lnTo>
                <a:lnTo>
                  <a:pt x="8028" y="340"/>
                </a:lnTo>
                <a:lnTo>
                  <a:pt x="8034" y="338"/>
                </a:lnTo>
                <a:lnTo>
                  <a:pt x="8036" y="340"/>
                </a:lnTo>
                <a:lnTo>
                  <a:pt x="8034" y="346"/>
                </a:lnTo>
                <a:lnTo>
                  <a:pt x="8034" y="350"/>
                </a:lnTo>
                <a:lnTo>
                  <a:pt x="8034" y="352"/>
                </a:lnTo>
                <a:lnTo>
                  <a:pt x="8038" y="352"/>
                </a:lnTo>
                <a:lnTo>
                  <a:pt x="8048" y="350"/>
                </a:lnTo>
                <a:lnTo>
                  <a:pt x="8058" y="346"/>
                </a:lnTo>
                <a:lnTo>
                  <a:pt x="8064" y="346"/>
                </a:lnTo>
                <a:lnTo>
                  <a:pt x="8074" y="348"/>
                </a:lnTo>
                <a:lnTo>
                  <a:pt x="8078" y="350"/>
                </a:lnTo>
                <a:lnTo>
                  <a:pt x="8082" y="348"/>
                </a:lnTo>
                <a:lnTo>
                  <a:pt x="8086" y="346"/>
                </a:lnTo>
                <a:lnTo>
                  <a:pt x="8088" y="344"/>
                </a:lnTo>
                <a:lnTo>
                  <a:pt x="8088" y="342"/>
                </a:lnTo>
                <a:lnTo>
                  <a:pt x="8080" y="340"/>
                </a:lnTo>
                <a:lnTo>
                  <a:pt x="8072" y="336"/>
                </a:lnTo>
                <a:lnTo>
                  <a:pt x="8074" y="332"/>
                </a:lnTo>
                <a:lnTo>
                  <a:pt x="8084" y="330"/>
                </a:lnTo>
                <a:lnTo>
                  <a:pt x="8094" y="328"/>
                </a:lnTo>
                <a:lnTo>
                  <a:pt x="8104" y="328"/>
                </a:lnTo>
                <a:lnTo>
                  <a:pt x="8108" y="326"/>
                </a:lnTo>
                <a:lnTo>
                  <a:pt x="8114" y="322"/>
                </a:lnTo>
                <a:lnTo>
                  <a:pt x="8118" y="320"/>
                </a:lnTo>
                <a:lnTo>
                  <a:pt x="8124" y="318"/>
                </a:lnTo>
                <a:lnTo>
                  <a:pt x="8134" y="318"/>
                </a:lnTo>
                <a:lnTo>
                  <a:pt x="8150" y="316"/>
                </a:lnTo>
                <a:lnTo>
                  <a:pt x="8174" y="314"/>
                </a:lnTo>
                <a:lnTo>
                  <a:pt x="8186" y="310"/>
                </a:lnTo>
                <a:lnTo>
                  <a:pt x="8192" y="308"/>
                </a:lnTo>
                <a:lnTo>
                  <a:pt x="8194" y="304"/>
                </a:lnTo>
                <a:lnTo>
                  <a:pt x="8192" y="300"/>
                </a:lnTo>
                <a:lnTo>
                  <a:pt x="8188" y="298"/>
                </a:lnTo>
                <a:lnTo>
                  <a:pt x="8180" y="296"/>
                </a:lnTo>
                <a:lnTo>
                  <a:pt x="8170" y="296"/>
                </a:lnTo>
                <a:lnTo>
                  <a:pt x="8158" y="296"/>
                </a:lnTo>
                <a:lnTo>
                  <a:pt x="8146" y="298"/>
                </a:lnTo>
                <a:lnTo>
                  <a:pt x="8146" y="296"/>
                </a:lnTo>
                <a:lnTo>
                  <a:pt x="8148" y="294"/>
                </a:lnTo>
                <a:lnTo>
                  <a:pt x="8150" y="292"/>
                </a:lnTo>
                <a:lnTo>
                  <a:pt x="8150" y="290"/>
                </a:lnTo>
                <a:lnTo>
                  <a:pt x="8148" y="288"/>
                </a:lnTo>
                <a:lnTo>
                  <a:pt x="8138" y="288"/>
                </a:lnTo>
                <a:lnTo>
                  <a:pt x="8116" y="286"/>
                </a:lnTo>
                <a:lnTo>
                  <a:pt x="8098" y="290"/>
                </a:lnTo>
                <a:lnTo>
                  <a:pt x="8092" y="292"/>
                </a:lnTo>
                <a:lnTo>
                  <a:pt x="8088" y="294"/>
                </a:lnTo>
                <a:lnTo>
                  <a:pt x="8086" y="298"/>
                </a:lnTo>
                <a:lnTo>
                  <a:pt x="8090" y="300"/>
                </a:lnTo>
                <a:close/>
                <a:moveTo>
                  <a:pt x="8270" y="334"/>
                </a:moveTo>
                <a:lnTo>
                  <a:pt x="8270" y="334"/>
                </a:lnTo>
                <a:lnTo>
                  <a:pt x="8260" y="326"/>
                </a:lnTo>
                <a:lnTo>
                  <a:pt x="8256" y="324"/>
                </a:lnTo>
                <a:lnTo>
                  <a:pt x="8252" y="324"/>
                </a:lnTo>
                <a:lnTo>
                  <a:pt x="8240" y="326"/>
                </a:lnTo>
                <a:lnTo>
                  <a:pt x="8220" y="336"/>
                </a:lnTo>
                <a:lnTo>
                  <a:pt x="8216" y="338"/>
                </a:lnTo>
                <a:lnTo>
                  <a:pt x="8216" y="340"/>
                </a:lnTo>
                <a:lnTo>
                  <a:pt x="8220" y="342"/>
                </a:lnTo>
                <a:lnTo>
                  <a:pt x="8230" y="346"/>
                </a:lnTo>
                <a:lnTo>
                  <a:pt x="8244" y="346"/>
                </a:lnTo>
                <a:lnTo>
                  <a:pt x="8258" y="348"/>
                </a:lnTo>
                <a:lnTo>
                  <a:pt x="8270" y="346"/>
                </a:lnTo>
                <a:lnTo>
                  <a:pt x="8272" y="344"/>
                </a:lnTo>
                <a:lnTo>
                  <a:pt x="8274" y="342"/>
                </a:lnTo>
                <a:lnTo>
                  <a:pt x="8274" y="338"/>
                </a:lnTo>
                <a:lnTo>
                  <a:pt x="8270" y="334"/>
                </a:lnTo>
                <a:close/>
                <a:moveTo>
                  <a:pt x="8160" y="268"/>
                </a:moveTo>
                <a:lnTo>
                  <a:pt x="8160" y="268"/>
                </a:lnTo>
                <a:lnTo>
                  <a:pt x="8164" y="266"/>
                </a:lnTo>
                <a:lnTo>
                  <a:pt x="8166" y="264"/>
                </a:lnTo>
                <a:lnTo>
                  <a:pt x="8164" y="260"/>
                </a:lnTo>
                <a:lnTo>
                  <a:pt x="8162" y="260"/>
                </a:lnTo>
                <a:lnTo>
                  <a:pt x="8156" y="258"/>
                </a:lnTo>
                <a:lnTo>
                  <a:pt x="8152" y="260"/>
                </a:lnTo>
                <a:lnTo>
                  <a:pt x="8146" y="262"/>
                </a:lnTo>
                <a:lnTo>
                  <a:pt x="8140" y="266"/>
                </a:lnTo>
                <a:lnTo>
                  <a:pt x="8134" y="272"/>
                </a:lnTo>
                <a:lnTo>
                  <a:pt x="8132" y="276"/>
                </a:lnTo>
                <a:lnTo>
                  <a:pt x="8136" y="278"/>
                </a:lnTo>
                <a:lnTo>
                  <a:pt x="8146" y="274"/>
                </a:lnTo>
                <a:lnTo>
                  <a:pt x="8160" y="268"/>
                </a:lnTo>
                <a:close/>
                <a:moveTo>
                  <a:pt x="8684" y="298"/>
                </a:moveTo>
                <a:lnTo>
                  <a:pt x="8684" y="298"/>
                </a:lnTo>
                <a:lnTo>
                  <a:pt x="8710" y="294"/>
                </a:lnTo>
                <a:lnTo>
                  <a:pt x="8730" y="292"/>
                </a:lnTo>
                <a:lnTo>
                  <a:pt x="8738" y="290"/>
                </a:lnTo>
                <a:lnTo>
                  <a:pt x="8742" y="288"/>
                </a:lnTo>
                <a:lnTo>
                  <a:pt x="8746" y="282"/>
                </a:lnTo>
                <a:lnTo>
                  <a:pt x="8746" y="276"/>
                </a:lnTo>
                <a:lnTo>
                  <a:pt x="8744" y="270"/>
                </a:lnTo>
                <a:lnTo>
                  <a:pt x="8740" y="264"/>
                </a:lnTo>
                <a:lnTo>
                  <a:pt x="8734" y="262"/>
                </a:lnTo>
                <a:lnTo>
                  <a:pt x="8726" y="258"/>
                </a:lnTo>
                <a:lnTo>
                  <a:pt x="8716" y="258"/>
                </a:lnTo>
                <a:lnTo>
                  <a:pt x="8708" y="260"/>
                </a:lnTo>
                <a:lnTo>
                  <a:pt x="8700" y="262"/>
                </a:lnTo>
                <a:lnTo>
                  <a:pt x="8694" y="266"/>
                </a:lnTo>
                <a:lnTo>
                  <a:pt x="8688" y="270"/>
                </a:lnTo>
                <a:lnTo>
                  <a:pt x="8684" y="272"/>
                </a:lnTo>
                <a:lnTo>
                  <a:pt x="8672" y="272"/>
                </a:lnTo>
                <a:lnTo>
                  <a:pt x="8656" y="276"/>
                </a:lnTo>
                <a:lnTo>
                  <a:pt x="8648" y="278"/>
                </a:lnTo>
                <a:lnTo>
                  <a:pt x="8636" y="286"/>
                </a:lnTo>
                <a:lnTo>
                  <a:pt x="8630" y="290"/>
                </a:lnTo>
                <a:lnTo>
                  <a:pt x="8628" y="294"/>
                </a:lnTo>
                <a:lnTo>
                  <a:pt x="8630" y="298"/>
                </a:lnTo>
                <a:lnTo>
                  <a:pt x="8636" y="300"/>
                </a:lnTo>
                <a:lnTo>
                  <a:pt x="8646" y="302"/>
                </a:lnTo>
                <a:lnTo>
                  <a:pt x="8656" y="302"/>
                </a:lnTo>
                <a:lnTo>
                  <a:pt x="8684" y="298"/>
                </a:lnTo>
                <a:close/>
                <a:moveTo>
                  <a:pt x="8680" y="222"/>
                </a:moveTo>
                <a:lnTo>
                  <a:pt x="8680" y="222"/>
                </a:lnTo>
                <a:lnTo>
                  <a:pt x="8680" y="220"/>
                </a:lnTo>
                <a:lnTo>
                  <a:pt x="8680" y="218"/>
                </a:lnTo>
                <a:lnTo>
                  <a:pt x="8676" y="214"/>
                </a:lnTo>
                <a:lnTo>
                  <a:pt x="8670" y="212"/>
                </a:lnTo>
                <a:lnTo>
                  <a:pt x="8660" y="212"/>
                </a:lnTo>
                <a:lnTo>
                  <a:pt x="8636" y="212"/>
                </a:lnTo>
                <a:lnTo>
                  <a:pt x="8626" y="214"/>
                </a:lnTo>
                <a:lnTo>
                  <a:pt x="8616" y="216"/>
                </a:lnTo>
                <a:lnTo>
                  <a:pt x="8614" y="218"/>
                </a:lnTo>
                <a:lnTo>
                  <a:pt x="8616" y="220"/>
                </a:lnTo>
                <a:lnTo>
                  <a:pt x="8620" y="222"/>
                </a:lnTo>
                <a:lnTo>
                  <a:pt x="8638" y="226"/>
                </a:lnTo>
                <a:lnTo>
                  <a:pt x="8662" y="226"/>
                </a:lnTo>
                <a:lnTo>
                  <a:pt x="8672" y="224"/>
                </a:lnTo>
                <a:lnTo>
                  <a:pt x="8680" y="222"/>
                </a:lnTo>
                <a:close/>
                <a:moveTo>
                  <a:pt x="8502" y="208"/>
                </a:moveTo>
                <a:lnTo>
                  <a:pt x="8502" y="208"/>
                </a:lnTo>
                <a:lnTo>
                  <a:pt x="8502" y="206"/>
                </a:lnTo>
                <a:lnTo>
                  <a:pt x="8500" y="206"/>
                </a:lnTo>
                <a:lnTo>
                  <a:pt x="8496" y="202"/>
                </a:lnTo>
                <a:lnTo>
                  <a:pt x="8476" y="200"/>
                </a:lnTo>
                <a:lnTo>
                  <a:pt x="8464" y="200"/>
                </a:lnTo>
                <a:lnTo>
                  <a:pt x="8454" y="202"/>
                </a:lnTo>
                <a:lnTo>
                  <a:pt x="8446" y="204"/>
                </a:lnTo>
                <a:lnTo>
                  <a:pt x="8442" y="208"/>
                </a:lnTo>
                <a:lnTo>
                  <a:pt x="8442" y="212"/>
                </a:lnTo>
                <a:lnTo>
                  <a:pt x="8442" y="214"/>
                </a:lnTo>
                <a:lnTo>
                  <a:pt x="8448" y="216"/>
                </a:lnTo>
                <a:lnTo>
                  <a:pt x="8456" y="218"/>
                </a:lnTo>
                <a:lnTo>
                  <a:pt x="8468" y="218"/>
                </a:lnTo>
                <a:lnTo>
                  <a:pt x="8490" y="214"/>
                </a:lnTo>
                <a:lnTo>
                  <a:pt x="8498" y="212"/>
                </a:lnTo>
                <a:lnTo>
                  <a:pt x="8502" y="208"/>
                </a:lnTo>
                <a:close/>
                <a:moveTo>
                  <a:pt x="8566" y="284"/>
                </a:moveTo>
                <a:lnTo>
                  <a:pt x="8566" y="284"/>
                </a:lnTo>
                <a:lnTo>
                  <a:pt x="8576" y="282"/>
                </a:lnTo>
                <a:lnTo>
                  <a:pt x="8586" y="278"/>
                </a:lnTo>
                <a:lnTo>
                  <a:pt x="8592" y="274"/>
                </a:lnTo>
                <a:lnTo>
                  <a:pt x="8598" y="268"/>
                </a:lnTo>
                <a:lnTo>
                  <a:pt x="8598" y="266"/>
                </a:lnTo>
                <a:lnTo>
                  <a:pt x="8592" y="264"/>
                </a:lnTo>
                <a:lnTo>
                  <a:pt x="8580" y="264"/>
                </a:lnTo>
                <a:lnTo>
                  <a:pt x="8558" y="268"/>
                </a:lnTo>
                <a:lnTo>
                  <a:pt x="8544" y="272"/>
                </a:lnTo>
                <a:lnTo>
                  <a:pt x="8534" y="276"/>
                </a:lnTo>
                <a:lnTo>
                  <a:pt x="8532" y="278"/>
                </a:lnTo>
                <a:lnTo>
                  <a:pt x="8534" y="280"/>
                </a:lnTo>
                <a:lnTo>
                  <a:pt x="8548" y="284"/>
                </a:lnTo>
                <a:lnTo>
                  <a:pt x="8566" y="284"/>
                </a:lnTo>
                <a:close/>
                <a:moveTo>
                  <a:pt x="8560" y="322"/>
                </a:moveTo>
                <a:lnTo>
                  <a:pt x="8560" y="322"/>
                </a:lnTo>
                <a:lnTo>
                  <a:pt x="8570" y="324"/>
                </a:lnTo>
                <a:lnTo>
                  <a:pt x="8578" y="324"/>
                </a:lnTo>
                <a:lnTo>
                  <a:pt x="8582" y="322"/>
                </a:lnTo>
                <a:lnTo>
                  <a:pt x="8586" y="320"/>
                </a:lnTo>
                <a:lnTo>
                  <a:pt x="8594" y="314"/>
                </a:lnTo>
                <a:lnTo>
                  <a:pt x="8600" y="312"/>
                </a:lnTo>
                <a:lnTo>
                  <a:pt x="8606" y="312"/>
                </a:lnTo>
                <a:lnTo>
                  <a:pt x="8614" y="310"/>
                </a:lnTo>
                <a:lnTo>
                  <a:pt x="8618" y="306"/>
                </a:lnTo>
                <a:lnTo>
                  <a:pt x="8618" y="300"/>
                </a:lnTo>
                <a:lnTo>
                  <a:pt x="8618" y="292"/>
                </a:lnTo>
                <a:lnTo>
                  <a:pt x="8612" y="288"/>
                </a:lnTo>
                <a:lnTo>
                  <a:pt x="8604" y="284"/>
                </a:lnTo>
                <a:lnTo>
                  <a:pt x="8592" y="284"/>
                </a:lnTo>
                <a:lnTo>
                  <a:pt x="8576" y="288"/>
                </a:lnTo>
                <a:lnTo>
                  <a:pt x="8558" y="292"/>
                </a:lnTo>
                <a:lnTo>
                  <a:pt x="8544" y="294"/>
                </a:lnTo>
                <a:lnTo>
                  <a:pt x="8532" y="292"/>
                </a:lnTo>
                <a:lnTo>
                  <a:pt x="8522" y="290"/>
                </a:lnTo>
                <a:lnTo>
                  <a:pt x="8514" y="288"/>
                </a:lnTo>
                <a:lnTo>
                  <a:pt x="8508" y="290"/>
                </a:lnTo>
                <a:lnTo>
                  <a:pt x="8502" y="294"/>
                </a:lnTo>
                <a:lnTo>
                  <a:pt x="8496" y="304"/>
                </a:lnTo>
                <a:lnTo>
                  <a:pt x="8494" y="314"/>
                </a:lnTo>
                <a:lnTo>
                  <a:pt x="8494" y="318"/>
                </a:lnTo>
                <a:lnTo>
                  <a:pt x="8496" y="320"/>
                </a:lnTo>
                <a:lnTo>
                  <a:pt x="8502" y="324"/>
                </a:lnTo>
                <a:lnTo>
                  <a:pt x="8512" y="324"/>
                </a:lnTo>
                <a:lnTo>
                  <a:pt x="8534" y="320"/>
                </a:lnTo>
                <a:lnTo>
                  <a:pt x="8548" y="320"/>
                </a:lnTo>
                <a:lnTo>
                  <a:pt x="8560" y="322"/>
                </a:lnTo>
                <a:close/>
                <a:moveTo>
                  <a:pt x="8116" y="340"/>
                </a:moveTo>
                <a:lnTo>
                  <a:pt x="8116" y="340"/>
                </a:lnTo>
                <a:lnTo>
                  <a:pt x="8110" y="342"/>
                </a:lnTo>
                <a:lnTo>
                  <a:pt x="8108" y="346"/>
                </a:lnTo>
                <a:lnTo>
                  <a:pt x="8108" y="350"/>
                </a:lnTo>
                <a:lnTo>
                  <a:pt x="8108" y="352"/>
                </a:lnTo>
                <a:lnTo>
                  <a:pt x="8112" y="354"/>
                </a:lnTo>
                <a:lnTo>
                  <a:pt x="8116" y="356"/>
                </a:lnTo>
                <a:lnTo>
                  <a:pt x="8120" y="356"/>
                </a:lnTo>
                <a:lnTo>
                  <a:pt x="8126" y="354"/>
                </a:lnTo>
                <a:lnTo>
                  <a:pt x="8134" y="346"/>
                </a:lnTo>
                <a:lnTo>
                  <a:pt x="8136" y="344"/>
                </a:lnTo>
                <a:lnTo>
                  <a:pt x="8136" y="340"/>
                </a:lnTo>
                <a:lnTo>
                  <a:pt x="8134" y="338"/>
                </a:lnTo>
                <a:lnTo>
                  <a:pt x="8130" y="338"/>
                </a:lnTo>
                <a:lnTo>
                  <a:pt x="8116" y="340"/>
                </a:lnTo>
                <a:close/>
                <a:moveTo>
                  <a:pt x="8170" y="368"/>
                </a:moveTo>
                <a:lnTo>
                  <a:pt x="8170" y="368"/>
                </a:lnTo>
                <a:lnTo>
                  <a:pt x="8178" y="366"/>
                </a:lnTo>
                <a:lnTo>
                  <a:pt x="8182" y="364"/>
                </a:lnTo>
                <a:lnTo>
                  <a:pt x="8180" y="360"/>
                </a:lnTo>
                <a:lnTo>
                  <a:pt x="8176" y="356"/>
                </a:lnTo>
                <a:lnTo>
                  <a:pt x="8168" y="354"/>
                </a:lnTo>
                <a:lnTo>
                  <a:pt x="8158" y="352"/>
                </a:lnTo>
                <a:lnTo>
                  <a:pt x="8148" y="352"/>
                </a:lnTo>
                <a:lnTo>
                  <a:pt x="8138" y="356"/>
                </a:lnTo>
                <a:lnTo>
                  <a:pt x="8132" y="360"/>
                </a:lnTo>
                <a:lnTo>
                  <a:pt x="8128" y="362"/>
                </a:lnTo>
                <a:lnTo>
                  <a:pt x="8130" y="364"/>
                </a:lnTo>
                <a:lnTo>
                  <a:pt x="8134" y="366"/>
                </a:lnTo>
                <a:lnTo>
                  <a:pt x="8148" y="366"/>
                </a:lnTo>
                <a:lnTo>
                  <a:pt x="8170" y="368"/>
                </a:lnTo>
                <a:close/>
                <a:moveTo>
                  <a:pt x="8394" y="332"/>
                </a:moveTo>
                <a:lnTo>
                  <a:pt x="8394" y="332"/>
                </a:lnTo>
                <a:lnTo>
                  <a:pt x="8382" y="332"/>
                </a:lnTo>
                <a:lnTo>
                  <a:pt x="8370" y="332"/>
                </a:lnTo>
                <a:lnTo>
                  <a:pt x="8366" y="332"/>
                </a:lnTo>
                <a:lnTo>
                  <a:pt x="8360" y="336"/>
                </a:lnTo>
                <a:lnTo>
                  <a:pt x="8358" y="340"/>
                </a:lnTo>
                <a:lnTo>
                  <a:pt x="8354" y="346"/>
                </a:lnTo>
                <a:lnTo>
                  <a:pt x="8354" y="352"/>
                </a:lnTo>
                <a:lnTo>
                  <a:pt x="8356" y="356"/>
                </a:lnTo>
                <a:lnTo>
                  <a:pt x="8360" y="358"/>
                </a:lnTo>
                <a:lnTo>
                  <a:pt x="8366" y="358"/>
                </a:lnTo>
                <a:lnTo>
                  <a:pt x="8382" y="356"/>
                </a:lnTo>
                <a:lnTo>
                  <a:pt x="8400" y="356"/>
                </a:lnTo>
                <a:lnTo>
                  <a:pt x="8408" y="356"/>
                </a:lnTo>
                <a:lnTo>
                  <a:pt x="8412" y="354"/>
                </a:lnTo>
                <a:lnTo>
                  <a:pt x="8414" y="348"/>
                </a:lnTo>
                <a:lnTo>
                  <a:pt x="8412" y="344"/>
                </a:lnTo>
                <a:lnTo>
                  <a:pt x="8410" y="338"/>
                </a:lnTo>
                <a:lnTo>
                  <a:pt x="8406" y="334"/>
                </a:lnTo>
                <a:lnTo>
                  <a:pt x="8400" y="332"/>
                </a:lnTo>
                <a:lnTo>
                  <a:pt x="8394" y="332"/>
                </a:lnTo>
                <a:close/>
                <a:moveTo>
                  <a:pt x="8414" y="336"/>
                </a:moveTo>
                <a:lnTo>
                  <a:pt x="8414" y="336"/>
                </a:lnTo>
                <a:lnTo>
                  <a:pt x="8420" y="344"/>
                </a:lnTo>
                <a:lnTo>
                  <a:pt x="8428" y="348"/>
                </a:lnTo>
                <a:lnTo>
                  <a:pt x="8440" y="352"/>
                </a:lnTo>
                <a:lnTo>
                  <a:pt x="8446" y="354"/>
                </a:lnTo>
                <a:lnTo>
                  <a:pt x="8450" y="352"/>
                </a:lnTo>
                <a:lnTo>
                  <a:pt x="8452" y="350"/>
                </a:lnTo>
                <a:lnTo>
                  <a:pt x="8452" y="346"/>
                </a:lnTo>
                <a:lnTo>
                  <a:pt x="8454" y="342"/>
                </a:lnTo>
                <a:lnTo>
                  <a:pt x="8456" y="338"/>
                </a:lnTo>
                <a:lnTo>
                  <a:pt x="8462" y="336"/>
                </a:lnTo>
                <a:lnTo>
                  <a:pt x="8470" y="336"/>
                </a:lnTo>
                <a:lnTo>
                  <a:pt x="8488" y="334"/>
                </a:lnTo>
                <a:lnTo>
                  <a:pt x="8492" y="332"/>
                </a:lnTo>
                <a:lnTo>
                  <a:pt x="8494" y="330"/>
                </a:lnTo>
                <a:lnTo>
                  <a:pt x="8492" y="328"/>
                </a:lnTo>
                <a:lnTo>
                  <a:pt x="8488" y="326"/>
                </a:lnTo>
                <a:lnTo>
                  <a:pt x="8468" y="322"/>
                </a:lnTo>
                <a:lnTo>
                  <a:pt x="8444" y="320"/>
                </a:lnTo>
                <a:lnTo>
                  <a:pt x="8422" y="320"/>
                </a:lnTo>
                <a:lnTo>
                  <a:pt x="8414" y="322"/>
                </a:lnTo>
                <a:lnTo>
                  <a:pt x="8410" y="326"/>
                </a:lnTo>
                <a:lnTo>
                  <a:pt x="8410" y="330"/>
                </a:lnTo>
                <a:lnTo>
                  <a:pt x="8414" y="336"/>
                </a:lnTo>
                <a:close/>
                <a:moveTo>
                  <a:pt x="8486" y="354"/>
                </a:moveTo>
                <a:lnTo>
                  <a:pt x="8486" y="354"/>
                </a:lnTo>
                <a:lnTo>
                  <a:pt x="8476" y="356"/>
                </a:lnTo>
                <a:lnTo>
                  <a:pt x="8474" y="360"/>
                </a:lnTo>
                <a:lnTo>
                  <a:pt x="8476" y="362"/>
                </a:lnTo>
                <a:lnTo>
                  <a:pt x="8480" y="362"/>
                </a:lnTo>
                <a:lnTo>
                  <a:pt x="8498" y="364"/>
                </a:lnTo>
                <a:lnTo>
                  <a:pt x="8516" y="362"/>
                </a:lnTo>
                <a:lnTo>
                  <a:pt x="8524" y="362"/>
                </a:lnTo>
                <a:lnTo>
                  <a:pt x="8526" y="360"/>
                </a:lnTo>
                <a:lnTo>
                  <a:pt x="8524" y="356"/>
                </a:lnTo>
                <a:lnTo>
                  <a:pt x="8522" y="354"/>
                </a:lnTo>
                <a:lnTo>
                  <a:pt x="8506" y="352"/>
                </a:lnTo>
                <a:lnTo>
                  <a:pt x="8498" y="352"/>
                </a:lnTo>
                <a:lnTo>
                  <a:pt x="8488" y="352"/>
                </a:lnTo>
                <a:lnTo>
                  <a:pt x="8486" y="354"/>
                </a:lnTo>
                <a:close/>
                <a:moveTo>
                  <a:pt x="8458" y="244"/>
                </a:moveTo>
                <a:lnTo>
                  <a:pt x="8458" y="244"/>
                </a:lnTo>
                <a:lnTo>
                  <a:pt x="8468" y="244"/>
                </a:lnTo>
                <a:lnTo>
                  <a:pt x="8470" y="242"/>
                </a:lnTo>
                <a:lnTo>
                  <a:pt x="8468" y="242"/>
                </a:lnTo>
                <a:lnTo>
                  <a:pt x="8460" y="238"/>
                </a:lnTo>
                <a:lnTo>
                  <a:pt x="8444" y="232"/>
                </a:lnTo>
                <a:lnTo>
                  <a:pt x="8432" y="228"/>
                </a:lnTo>
                <a:lnTo>
                  <a:pt x="8424" y="228"/>
                </a:lnTo>
                <a:lnTo>
                  <a:pt x="8416" y="230"/>
                </a:lnTo>
                <a:lnTo>
                  <a:pt x="8406" y="234"/>
                </a:lnTo>
                <a:lnTo>
                  <a:pt x="8398" y="238"/>
                </a:lnTo>
                <a:lnTo>
                  <a:pt x="8396" y="240"/>
                </a:lnTo>
                <a:lnTo>
                  <a:pt x="8400" y="240"/>
                </a:lnTo>
                <a:lnTo>
                  <a:pt x="8408" y="240"/>
                </a:lnTo>
                <a:lnTo>
                  <a:pt x="8430" y="242"/>
                </a:lnTo>
                <a:lnTo>
                  <a:pt x="8458" y="244"/>
                </a:lnTo>
                <a:close/>
                <a:moveTo>
                  <a:pt x="8344" y="256"/>
                </a:moveTo>
                <a:lnTo>
                  <a:pt x="8344" y="256"/>
                </a:lnTo>
                <a:lnTo>
                  <a:pt x="8348" y="258"/>
                </a:lnTo>
                <a:lnTo>
                  <a:pt x="8352" y="258"/>
                </a:lnTo>
                <a:lnTo>
                  <a:pt x="8360" y="256"/>
                </a:lnTo>
                <a:lnTo>
                  <a:pt x="8368" y="256"/>
                </a:lnTo>
                <a:lnTo>
                  <a:pt x="8374" y="258"/>
                </a:lnTo>
                <a:lnTo>
                  <a:pt x="8380" y="260"/>
                </a:lnTo>
                <a:lnTo>
                  <a:pt x="8384" y="262"/>
                </a:lnTo>
                <a:lnTo>
                  <a:pt x="8388" y="262"/>
                </a:lnTo>
                <a:lnTo>
                  <a:pt x="8398" y="260"/>
                </a:lnTo>
                <a:lnTo>
                  <a:pt x="8412" y="256"/>
                </a:lnTo>
                <a:lnTo>
                  <a:pt x="8436" y="252"/>
                </a:lnTo>
                <a:lnTo>
                  <a:pt x="8440" y="252"/>
                </a:lnTo>
                <a:lnTo>
                  <a:pt x="8440" y="250"/>
                </a:lnTo>
                <a:lnTo>
                  <a:pt x="8428" y="248"/>
                </a:lnTo>
                <a:lnTo>
                  <a:pt x="8386" y="242"/>
                </a:lnTo>
                <a:lnTo>
                  <a:pt x="8380" y="242"/>
                </a:lnTo>
                <a:lnTo>
                  <a:pt x="8376" y="244"/>
                </a:lnTo>
                <a:lnTo>
                  <a:pt x="8376" y="246"/>
                </a:lnTo>
                <a:lnTo>
                  <a:pt x="8378" y="248"/>
                </a:lnTo>
                <a:lnTo>
                  <a:pt x="8382" y="252"/>
                </a:lnTo>
                <a:lnTo>
                  <a:pt x="8380" y="252"/>
                </a:lnTo>
                <a:lnTo>
                  <a:pt x="8376" y="252"/>
                </a:lnTo>
                <a:lnTo>
                  <a:pt x="8350" y="252"/>
                </a:lnTo>
                <a:lnTo>
                  <a:pt x="8342" y="254"/>
                </a:lnTo>
                <a:lnTo>
                  <a:pt x="8344" y="256"/>
                </a:lnTo>
                <a:close/>
                <a:moveTo>
                  <a:pt x="8442" y="270"/>
                </a:moveTo>
                <a:lnTo>
                  <a:pt x="8442" y="270"/>
                </a:lnTo>
                <a:lnTo>
                  <a:pt x="8442" y="272"/>
                </a:lnTo>
                <a:lnTo>
                  <a:pt x="8450" y="276"/>
                </a:lnTo>
                <a:lnTo>
                  <a:pt x="8462" y="278"/>
                </a:lnTo>
                <a:lnTo>
                  <a:pt x="8472" y="278"/>
                </a:lnTo>
                <a:lnTo>
                  <a:pt x="8474" y="278"/>
                </a:lnTo>
                <a:lnTo>
                  <a:pt x="8472" y="276"/>
                </a:lnTo>
                <a:lnTo>
                  <a:pt x="8464" y="270"/>
                </a:lnTo>
                <a:lnTo>
                  <a:pt x="8452" y="268"/>
                </a:lnTo>
                <a:lnTo>
                  <a:pt x="8446" y="268"/>
                </a:lnTo>
                <a:lnTo>
                  <a:pt x="8442" y="270"/>
                </a:lnTo>
                <a:close/>
                <a:moveTo>
                  <a:pt x="8478" y="296"/>
                </a:moveTo>
                <a:lnTo>
                  <a:pt x="8478" y="296"/>
                </a:lnTo>
                <a:lnTo>
                  <a:pt x="8484" y="294"/>
                </a:lnTo>
                <a:lnTo>
                  <a:pt x="8486" y="290"/>
                </a:lnTo>
                <a:lnTo>
                  <a:pt x="8486" y="288"/>
                </a:lnTo>
                <a:lnTo>
                  <a:pt x="8484" y="286"/>
                </a:lnTo>
                <a:lnTo>
                  <a:pt x="8480" y="286"/>
                </a:lnTo>
                <a:lnTo>
                  <a:pt x="8472" y="286"/>
                </a:lnTo>
                <a:lnTo>
                  <a:pt x="8462" y="286"/>
                </a:lnTo>
                <a:lnTo>
                  <a:pt x="8450" y="290"/>
                </a:lnTo>
                <a:lnTo>
                  <a:pt x="8444" y="292"/>
                </a:lnTo>
                <a:lnTo>
                  <a:pt x="8444" y="294"/>
                </a:lnTo>
                <a:lnTo>
                  <a:pt x="8450" y="294"/>
                </a:lnTo>
                <a:lnTo>
                  <a:pt x="8464" y="296"/>
                </a:lnTo>
                <a:lnTo>
                  <a:pt x="8478" y="296"/>
                </a:lnTo>
                <a:close/>
                <a:moveTo>
                  <a:pt x="8372" y="268"/>
                </a:moveTo>
                <a:lnTo>
                  <a:pt x="8372" y="268"/>
                </a:lnTo>
                <a:lnTo>
                  <a:pt x="8370" y="268"/>
                </a:lnTo>
                <a:lnTo>
                  <a:pt x="8372" y="270"/>
                </a:lnTo>
                <a:lnTo>
                  <a:pt x="8378" y="272"/>
                </a:lnTo>
                <a:lnTo>
                  <a:pt x="8388" y="274"/>
                </a:lnTo>
                <a:lnTo>
                  <a:pt x="8400" y="278"/>
                </a:lnTo>
                <a:lnTo>
                  <a:pt x="8416" y="284"/>
                </a:lnTo>
                <a:lnTo>
                  <a:pt x="8426" y="286"/>
                </a:lnTo>
                <a:lnTo>
                  <a:pt x="8444" y="286"/>
                </a:lnTo>
                <a:lnTo>
                  <a:pt x="8456" y="284"/>
                </a:lnTo>
                <a:lnTo>
                  <a:pt x="8458" y="284"/>
                </a:lnTo>
                <a:lnTo>
                  <a:pt x="8456" y="282"/>
                </a:lnTo>
                <a:lnTo>
                  <a:pt x="8432" y="276"/>
                </a:lnTo>
                <a:lnTo>
                  <a:pt x="8418" y="272"/>
                </a:lnTo>
                <a:lnTo>
                  <a:pt x="8400" y="268"/>
                </a:lnTo>
                <a:lnTo>
                  <a:pt x="8384" y="268"/>
                </a:lnTo>
                <a:lnTo>
                  <a:pt x="8372" y="268"/>
                </a:lnTo>
                <a:close/>
                <a:moveTo>
                  <a:pt x="8332" y="280"/>
                </a:moveTo>
                <a:lnTo>
                  <a:pt x="8332" y="280"/>
                </a:lnTo>
                <a:lnTo>
                  <a:pt x="8338" y="282"/>
                </a:lnTo>
                <a:lnTo>
                  <a:pt x="8344" y="284"/>
                </a:lnTo>
                <a:lnTo>
                  <a:pt x="8364" y="288"/>
                </a:lnTo>
                <a:lnTo>
                  <a:pt x="8390" y="294"/>
                </a:lnTo>
                <a:lnTo>
                  <a:pt x="8404" y="298"/>
                </a:lnTo>
                <a:lnTo>
                  <a:pt x="8412" y="302"/>
                </a:lnTo>
                <a:lnTo>
                  <a:pt x="8424" y="300"/>
                </a:lnTo>
                <a:lnTo>
                  <a:pt x="8432" y="296"/>
                </a:lnTo>
                <a:lnTo>
                  <a:pt x="8434" y="294"/>
                </a:lnTo>
                <a:lnTo>
                  <a:pt x="8432" y="294"/>
                </a:lnTo>
                <a:lnTo>
                  <a:pt x="8410" y="286"/>
                </a:lnTo>
                <a:lnTo>
                  <a:pt x="8380" y="276"/>
                </a:lnTo>
                <a:lnTo>
                  <a:pt x="8366" y="274"/>
                </a:lnTo>
                <a:lnTo>
                  <a:pt x="8354" y="274"/>
                </a:lnTo>
                <a:lnTo>
                  <a:pt x="8348" y="274"/>
                </a:lnTo>
                <a:lnTo>
                  <a:pt x="8340" y="274"/>
                </a:lnTo>
                <a:lnTo>
                  <a:pt x="8326" y="268"/>
                </a:lnTo>
                <a:lnTo>
                  <a:pt x="8320" y="266"/>
                </a:lnTo>
                <a:lnTo>
                  <a:pt x="8314" y="266"/>
                </a:lnTo>
                <a:lnTo>
                  <a:pt x="8308" y="268"/>
                </a:lnTo>
                <a:lnTo>
                  <a:pt x="8302" y="272"/>
                </a:lnTo>
                <a:lnTo>
                  <a:pt x="8300" y="274"/>
                </a:lnTo>
                <a:lnTo>
                  <a:pt x="8302" y="276"/>
                </a:lnTo>
                <a:lnTo>
                  <a:pt x="8308" y="278"/>
                </a:lnTo>
                <a:lnTo>
                  <a:pt x="8320" y="278"/>
                </a:lnTo>
                <a:lnTo>
                  <a:pt x="8332" y="280"/>
                </a:lnTo>
                <a:close/>
                <a:moveTo>
                  <a:pt x="8304" y="294"/>
                </a:moveTo>
                <a:lnTo>
                  <a:pt x="8304" y="294"/>
                </a:lnTo>
                <a:lnTo>
                  <a:pt x="8312" y="296"/>
                </a:lnTo>
                <a:lnTo>
                  <a:pt x="8316" y="298"/>
                </a:lnTo>
                <a:lnTo>
                  <a:pt x="8320" y="300"/>
                </a:lnTo>
                <a:lnTo>
                  <a:pt x="8328" y="298"/>
                </a:lnTo>
                <a:lnTo>
                  <a:pt x="8340" y="296"/>
                </a:lnTo>
                <a:lnTo>
                  <a:pt x="8352" y="296"/>
                </a:lnTo>
                <a:lnTo>
                  <a:pt x="8360" y="294"/>
                </a:lnTo>
                <a:lnTo>
                  <a:pt x="8358" y="294"/>
                </a:lnTo>
                <a:lnTo>
                  <a:pt x="8340" y="288"/>
                </a:lnTo>
                <a:lnTo>
                  <a:pt x="8330" y="286"/>
                </a:lnTo>
                <a:lnTo>
                  <a:pt x="8324" y="286"/>
                </a:lnTo>
                <a:lnTo>
                  <a:pt x="8320" y="288"/>
                </a:lnTo>
                <a:lnTo>
                  <a:pt x="8318" y="290"/>
                </a:lnTo>
                <a:lnTo>
                  <a:pt x="8312" y="290"/>
                </a:lnTo>
                <a:lnTo>
                  <a:pt x="8302" y="286"/>
                </a:lnTo>
                <a:lnTo>
                  <a:pt x="8292" y="286"/>
                </a:lnTo>
                <a:lnTo>
                  <a:pt x="8288" y="288"/>
                </a:lnTo>
                <a:lnTo>
                  <a:pt x="8284" y="292"/>
                </a:lnTo>
                <a:lnTo>
                  <a:pt x="8282" y="294"/>
                </a:lnTo>
                <a:lnTo>
                  <a:pt x="8286" y="294"/>
                </a:lnTo>
                <a:lnTo>
                  <a:pt x="8304" y="294"/>
                </a:lnTo>
                <a:close/>
                <a:moveTo>
                  <a:pt x="8370" y="298"/>
                </a:moveTo>
                <a:lnTo>
                  <a:pt x="8370" y="298"/>
                </a:lnTo>
                <a:lnTo>
                  <a:pt x="8350" y="300"/>
                </a:lnTo>
                <a:lnTo>
                  <a:pt x="8346" y="302"/>
                </a:lnTo>
                <a:lnTo>
                  <a:pt x="8350" y="306"/>
                </a:lnTo>
                <a:lnTo>
                  <a:pt x="8358" y="308"/>
                </a:lnTo>
                <a:lnTo>
                  <a:pt x="8372" y="308"/>
                </a:lnTo>
                <a:lnTo>
                  <a:pt x="8398" y="306"/>
                </a:lnTo>
                <a:lnTo>
                  <a:pt x="8402" y="304"/>
                </a:lnTo>
                <a:lnTo>
                  <a:pt x="8404" y="304"/>
                </a:lnTo>
                <a:lnTo>
                  <a:pt x="8398" y="300"/>
                </a:lnTo>
                <a:lnTo>
                  <a:pt x="8384" y="298"/>
                </a:lnTo>
                <a:lnTo>
                  <a:pt x="8370" y="298"/>
                </a:lnTo>
                <a:close/>
                <a:moveTo>
                  <a:pt x="8432" y="314"/>
                </a:moveTo>
                <a:lnTo>
                  <a:pt x="8432" y="314"/>
                </a:lnTo>
                <a:lnTo>
                  <a:pt x="8442" y="314"/>
                </a:lnTo>
                <a:lnTo>
                  <a:pt x="8446" y="314"/>
                </a:lnTo>
                <a:lnTo>
                  <a:pt x="8448" y="312"/>
                </a:lnTo>
                <a:lnTo>
                  <a:pt x="8448" y="310"/>
                </a:lnTo>
                <a:lnTo>
                  <a:pt x="8448" y="308"/>
                </a:lnTo>
                <a:lnTo>
                  <a:pt x="8442" y="306"/>
                </a:lnTo>
                <a:lnTo>
                  <a:pt x="8430" y="306"/>
                </a:lnTo>
                <a:lnTo>
                  <a:pt x="8420" y="308"/>
                </a:lnTo>
                <a:lnTo>
                  <a:pt x="8418" y="308"/>
                </a:lnTo>
                <a:lnTo>
                  <a:pt x="8420" y="310"/>
                </a:lnTo>
                <a:lnTo>
                  <a:pt x="8424" y="312"/>
                </a:lnTo>
                <a:lnTo>
                  <a:pt x="8432" y="314"/>
                </a:lnTo>
                <a:close/>
                <a:moveTo>
                  <a:pt x="8294" y="324"/>
                </a:moveTo>
                <a:lnTo>
                  <a:pt x="8294" y="324"/>
                </a:lnTo>
                <a:lnTo>
                  <a:pt x="8304" y="322"/>
                </a:lnTo>
                <a:lnTo>
                  <a:pt x="8304" y="320"/>
                </a:lnTo>
                <a:lnTo>
                  <a:pt x="8302" y="316"/>
                </a:lnTo>
                <a:lnTo>
                  <a:pt x="8296" y="312"/>
                </a:lnTo>
                <a:lnTo>
                  <a:pt x="8290" y="310"/>
                </a:lnTo>
                <a:lnTo>
                  <a:pt x="8284" y="308"/>
                </a:lnTo>
                <a:lnTo>
                  <a:pt x="8280" y="310"/>
                </a:lnTo>
                <a:lnTo>
                  <a:pt x="8278" y="312"/>
                </a:lnTo>
                <a:lnTo>
                  <a:pt x="8280" y="314"/>
                </a:lnTo>
                <a:lnTo>
                  <a:pt x="8282" y="314"/>
                </a:lnTo>
                <a:lnTo>
                  <a:pt x="8280" y="316"/>
                </a:lnTo>
                <a:lnTo>
                  <a:pt x="8278" y="320"/>
                </a:lnTo>
                <a:lnTo>
                  <a:pt x="8278" y="322"/>
                </a:lnTo>
                <a:lnTo>
                  <a:pt x="8280" y="322"/>
                </a:lnTo>
                <a:lnTo>
                  <a:pt x="8294" y="324"/>
                </a:lnTo>
                <a:close/>
                <a:moveTo>
                  <a:pt x="11820" y="2336"/>
                </a:moveTo>
                <a:lnTo>
                  <a:pt x="11820" y="2336"/>
                </a:lnTo>
                <a:lnTo>
                  <a:pt x="11820" y="2338"/>
                </a:lnTo>
                <a:lnTo>
                  <a:pt x="11824" y="2342"/>
                </a:lnTo>
                <a:lnTo>
                  <a:pt x="11830" y="2348"/>
                </a:lnTo>
                <a:lnTo>
                  <a:pt x="11838" y="2360"/>
                </a:lnTo>
                <a:lnTo>
                  <a:pt x="11840" y="2368"/>
                </a:lnTo>
                <a:lnTo>
                  <a:pt x="11840" y="2374"/>
                </a:lnTo>
                <a:lnTo>
                  <a:pt x="11838" y="2386"/>
                </a:lnTo>
                <a:lnTo>
                  <a:pt x="11832" y="2398"/>
                </a:lnTo>
                <a:lnTo>
                  <a:pt x="11832" y="2404"/>
                </a:lnTo>
                <a:lnTo>
                  <a:pt x="11834" y="2412"/>
                </a:lnTo>
                <a:lnTo>
                  <a:pt x="11836" y="2422"/>
                </a:lnTo>
                <a:lnTo>
                  <a:pt x="11836" y="2436"/>
                </a:lnTo>
                <a:lnTo>
                  <a:pt x="11836" y="2466"/>
                </a:lnTo>
                <a:lnTo>
                  <a:pt x="11832" y="2492"/>
                </a:lnTo>
                <a:lnTo>
                  <a:pt x="11828" y="2504"/>
                </a:lnTo>
                <a:lnTo>
                  <a:pt x="11826" y="2510"/>
                </a:lnTo>
                <a:lnTo>
                  <a:pt x="11824" y="2514"/>
                </a:lnTo>
                <a:lnTo>
                  <a:pt x="11826" y="2520"/>
                </a:lnTo>
                <a:lnTo>
                  <a:pt x="11832" y="2530"/>
                </a:lnTo>
                <a:lnTo>
                  <a:pt x="11834" y="2536"/>
                </a:lnTo>
                <a:lnTo>
                  <a:pt x="11836" y="2544"/>
                </a:lnTo>
                <a:lnTo>
                  <a:pt x="11836" y="2554"/>
                </a:lnTo>
                <a:lnTo>
                  <a:pt x="11830" y="2568"/>
                </a:lnTo>
                <a:lnTo>
                  <a:pt x="11828" y="2578"/>
                </a:lnTo>
                <a:lnTo>
                  <a:pt x="11828" y="2586"/>
                </a:lnTo>
                <a:lnTo>
                  <a:pt x="11830" y="2600"/>
                </a:lnTo>
                <a:lnTo>
                  <a:pt x="11832" y="2612"/>
                </a:lnTo>
                <a:lnTo>
                  <a:pt x="11832" y="2618"/>
                </a:lnTo>
                <a:lnTo>
                  <a:pt x="11830" y="2624"/>
                </a:lnTo>
                <a:lnTo>
                  <a:pt x="11824" y="2634"/>
                </a:lnTo>
                <a:lnTo>
                  <a:pt x="11822" y="2644"/>
                </a:lnTo>
                <a:lnTo>
                  <a:pt x="11824" y="2654"/>
                </a:lnTo>
                <a:lnTo>
                  <a:pt x="11828" y="2666"/>
                </a:lnTo>
                <a:lnTo>
                  <a:pt x="11830" y="2678"/>
                </a:lnTo>
                <a:lnTo>
                  <a:pt x="11832" y="2678"/>
                </a:lnTo>
                <a:lnTo>
                  <a:pt x="11834" y="2676"/>
                </a:lnTo>
                <a:lnTo>
                  <a:pt x="11838" y="2668"/>
                </a:lnTo>
                <a:lnTo>
                  <a:pt x="11842" y="2654"/>
                </a:lnTo>
                <a:lnTo>
                  <a:pt x="11846" y="2642"/>
                </a:lnTo>
                <a:lnTo>
                  <a:pt x="11852" y="2632"/>
                </a:lnTo>
                <a:lnTo>
                  <a:pt x="11854" y="2630"/>
                </a:lnTo>
                <a:lnTo>
                  <a:pt x="11856" y="2630"/>
                </a:lnTo>
                <a:lnTo>
                  <a:pt x="11860" y="2634"/>
                </a:lnTo>
                <a:lnTo>
                  <a:pt x="11864" y="2638"/>
                </a:lnTo>
                <a:lnTo>
                  <a:pt x="11868" y="2638"/>
                </a:lnTo>
                <a:lnTo>
                  <a:pt x="11874" y="2638"/>
                </a:lnTo>
                <a:lnTo>
                  <a:pt x="11880" y="2638"/>
                </a:lnTo>
                <a:lnTo>
                  <a:pt x="11882" y="2642"/>
                </a:lnTo>
                <a:lnTo>
                  <a:pt x="11884" y="2646"/>
                </a:lnTo>
                <a:lnTo>
                  <a:pt x="11886" y="2656"/>
                </a:lnTo>
                <a:lnTo>
                  <a:pt x="11888" y="2664"/>
                </a:lnTo>
                <a:lnTo>
                  <a:pt x="11888" y="2666"/>
                </a:lnTo>
                <a:lnTo>
                  <a:pt x="11890" y="2664"/>
                </a:lnTo>
                <a:lnTo>
                  <a:pt x="11894" y="2652"/>
                </a:lnTo>
                <a:lnTo>
                  <a:pt x="11894" y="2648"/>
                </a:lnTo>
                <a:lnTo>
                  <a:pt x="11892" y="2642"/>
                </a:lnTo>
                <a:lnTo>
                  <a:pt x="11892" y="2634"/>
                </a:lnTo>
                <a:lnTo>
                  <a:pt x="11892" y="2626"/>
                </a:lnTo>
                <a:lnTo>
                  <a:pt x="11890" y="2624"/>
                </a:lnTo>
                <a:lnTo>
                  <a:pt x="11888" y="2626"/>
                </a:lnTo>
                <a:lnTo>
                  <a:pt x="11882" y="2624"/>
                </a:lnTo>
                <a:lnTo>
                  <a:pt x="11878" y="2622"/>
                </a:lnTo>
                <a:lnTo>
                  <a:pt x="11876" y="2618"/>
                </a:lnTo>
                <a:lnTo>
                  <a:pt x="11872" y="2610"/>
                </a:lnTo>
                <a:lnTo>
                  <a:pt x="11868" y="2598"/>
                </a:lnTo>
                <a:lnTo>
                  <a:pt x="11864" y="2594"/>
                </a:lnTo>
                <a:lnTo>
                  <a:pt x="11860" y="2588"/>
                </a:lnTo>
                <a:lnTo>
                  <a:pt x="11856" y="2582"/>
                </a:lnTo>
                <a:lnTo>
                  <a:pt x="11852" y="2572"/>
                </a:lnTo>
                <a:lnTo>
                  <a:pt x="11852" y="2562"/>
                </a:lnTo>
                <a:lnTo>
                  <a:pt x="11854" y="2550"/>
                </a:lnTo>
                <a:lnTo>
                  <a:pt x="11860" y="2528"/>
                </a:lnTo>
                <a:lnTo>
                  <a:pt x="11866" y="2512"/>
                </a:lnTo>
                <a:lnTo>
                  <a:pt x="11870" y="2508"/>
                </a:lnTo>
                <a:lnTo>
                  <a:pt x="11870" y="2502"/>
                </a:lnTo>
                <a:lnTo>
                  <a:pt x="11870" y="2494"/>
                </a:lnTo>
                <a:lnTo>
                  <a:pt x="11872" y="2490"/>
                </a:lnTo>
                <a:lnTo>
                  <a:pt x="11874" y="2486"/>
                </a:lnTo>
                <a:lnTo>
                  <a:pt x="11876" y="2484"/>
                </a:lnTo>
                <a:lnTo>
                  <a:pt x="11882" y="2482"/>
                </a:lnTo>
                <a:lnTo>
                  <a:pt x="11892" y="2480"/>
                </a:lnTo>
                <a:lnTo>
                  <a:pt x="11902" y="2480"/>
                </a:lnTo>
                <a:lnTo>
                  <a:pt x="11914" y="2484"/>
                </a:lnTo>
                <a:lnTo>
                  <a:pt x="11924" y="2494"/>
                </a:lnTo>
                <a:lnTo>
                  <a:pt x="11938" y="2512"/>
                </a:lnTo>
                <a:lnTo>
                  <a:pt x="11940" y="2516"/>
                </a:lnTo>
                <a:lnTo>
                  <a:pt x="11940" y="2510"/>
                </a:lnTo>
                <a:lnTo>
                  <a:pt x="11936" y="2502"/>
                </a:lnTo>
                <a:lnTo>
                  <a:pt x="11930" y="2492"/>
                </a:lnTo>
                <a:lnTo>
                  <a:pt x="11922" y="2482"/>
                </a:lnTo>
                <a:lnTo>
                  <a:pt x="11920" y="2476"/>
                </a:lnTo>
                <a:lnTo>
                  <a:pt x="11920" y="2468"/>
                </a:lnTo>
                <a:lnTo>
                  <a:pt x="11914" y="2450"/>
                </a:lnTo>
                <a:lnTo>
                  <a:pt x="11908" y="2432"/>
                </a:lnTo>
                <a:lnTo>
                  <a:pt x="11902" y="2414"/>
                </a:lnTo>
                <a:lnTo>
                  <a:pt x="11898" y="2404"/>
                </a:lnTo>
                <a:lnTo>
                  <a:pt x="11898" y="2396"/>
                </a:lnTo>
                <a:lnTo>
                  <a:pt x="11896" y="2380"/>
                </a:lnTo>
                <a:lnTo>
                  <a:pt x="11892" y="2368"/>
                </a:lnTo>
                <a:lnTo>
                  <a:pt x="11890" y="2356"/>
                </a:lnTo>
                <a:lnTo>
                  <a:pt x="11888" y="2346"/>
                </a:lnTo>
                <a:lnTo>
                  <a:pt x="11886" y="2344"/>
                </a:lnTo>
                <a:lnTo>
                  <a:pt x="11886" y="2342"/>
                </a:lnTo>
                <a:lnTo>
                  <a:pt x="11882" y="2344"/>
                </a:lnTo>
                <a:lnTo>
                  <a:pt x="11882" y="2346"/>
                </a:lnTo>
                <a:lnTo>
                  <a:pt x="11882" y="2344"/>
                </a:lnTo>
                <a:lnTo>
                  <a:pt x="11882" y="2336"/>
                </a:lnTo>
                <a:lnTo>
                  <a:pt x="11882" y="2328"/>
                </a:lnTo>
                <a:lnTo>
                  <a:pt x="11882" y="2326"/>
                </a:lnTo>
                <a:lnTo>
                  <a:pt x="11882" y="2328"/>
                </a:lnTo>
                <a:lnTo>
                  <a:pt x="11880" y="2328"/>
                </a:lnTo>
                <a:lnTo>
                  <a:pt x="11876" y="2322"/>
                </a:lnTo>
                <a:lnTo>
                  <a:pt x="11876" y="2314"/>
                </a:lnTo>
                <a:lnTo>
                  <a:pt x="11876" y="2308"/>
                </a:lnTo>
                <a:lnTo>
                  <a:pt x="11880" y="2296"/>
                </a:lnTo>
                <a:lnTo>
                  <a:pt x="11884" y="2290"/>
                </a:lnTo>
                <a:lnTo>
                  <a:pt x="11884" y="2282"/>
                </a:lnTo>
                <a:lnTo>
                  <a:pt x="11884" y="2270"/>
                </a:lnTo>
                <a:lnTo>
                  <a:pt x="11882" y="2256"/>
                </a:lnTo>
                <a:lnTo>
                  <a:pt x="11878" y="2240"/>
                </a:lnTo>
                <a:lnTo>
                  <a:pt x="11876" y="2234"/>
                </a:lnTo>
                <a:lnTo>
                  <a:pt x="11876" y="2230"/>
                </a:lnTo>
                <a:lnTo>
                  <a:pt x="11876" y="2228"/>
                </a:lnTo>
                <a:lnTo>
                  <a:pt x="11874" y="2226"/>
                </a:lnTo>
                <a:lnTo>
                  <a:pt x="11872" y="2226"/>
                </a:lnTo>
                <a:lnTo>
                  <a:pt x="11872" y="2222"/>
                </a:lnTo>
                <a:lnTo>
                  <a:pt x="11870" y="2214"/>
                </a:lnTo>
                <a:lnTo>
                  <a:pt x="11868" y="2208"/>
                </a:lnTo>
                <a:lnTo>
                  <a:pt x="11866" y="2204"/>
                </a:lnTo>
                <a:lnTo>
                  <a:pt x="11868" y="2200"/>
                </a:lnTo>
                <a:lnTo>
                  <a:pt x="11872" y="2192"/>
                </a:lnTo>
                <a:lnTo>
                  <a:pt x="11870" y="2188"/>
                </a:lnTo>
                <a:lnTo>
                  <a:pt x="11866" y="2182"/>
                </a:lnTo>
                <a:lnTo>
                  <a:pt x="11862" y="2176"/>
                </a:lnTo>
                <a:lnTo>
                  <a:pt x="11860" y="2172"/>
                </a:lnTo>
                <a:lnTo>
                  <a:pt x="11858" y="2174"/>
                </a:lnTo>
                <a:lnTo>
                  <a:pt x="11854" y="2178"/>
                </a:lnTo>
                <a:lnTo>
                  <a:pt x="11852" y="2180"/>
                </a:lnTo>
                <a:lnTo>
                  <a:pt x="11846" y="2180"/>
                </a:lnTo>
                <a:lnTo>
                  <a:pt x="11844" y="2182"/>
                </a:lnTo>
                <a:lnTo>
                  <a:pt x="11842" y="2182"/>
                </a:lnTo>
                <a:lnTo>
                  <a:pt x="11848" y="2188"/>
                </a:lnTo>
                <a:lnTo>
                  <a:pt x="11854" y="2198"/>
                </a:lnTo>
                <a:lnTo>
                  <a:pt x="11858" y="2202"/>
                </a:lnTo>
                <a:lnTo>
                  <a:pt x="11858" y="2208"/>
                </a:lnTo>
                <a:lnTo>
                  <a:pt x="11856" y="2214"/>
                </a:lnTo>
                <a:lnTo>
                  <a:pt x="11854" y="2216"/>
                </a:lnTo>
                <a:lnTo>
                  <a:pt x="11850" y="2216"/>
                </a:lnTo>
                <a:lnTo>
                  <a:pt x="11850" y="2220"/>
                </a:lnTo>
                <a:lnTo>
                  <a:pt x="11848" y="2222"/>
                </a:lnTo>
                <a:lnTo>
                  <a:pt x="11850" y="2224"/>
                </a:lnTo>
                <a:lnTo>
                  <a:pt x="11854" y="2226"/>
                </a:lnTo>
                <a:lnTo>
                  <a:pt x="11854" y="2228"/>
                </a:lnTo>
                <a:lnTo>
                  <a:pt x="11850" y="2234"/>
                </a:lnTo>
                <a:lnTo>
                  <a:pt x="11846" y="2236"/>
                </a:lnTo>
                <a:lnTo>
                  <a:pt x="11844" y="2236"/>
                </a:lnTo>
                <a:lnTo>
                  <a:pt x="11842" y="2236"/>
                </a:lnTo>
                <a:lnTo>
                  <a:pt x="11840" y="2232"/>
                </a:lnTo>
                <a:lnTo>
                  <a:pt x="11840" y="2228"/>
                </a:lnTo>
                <a:lnTo>
                  <a:pt x="11838" y="2228"/>
                </a:lnTo>
                <a:lnTo>
                  <a:pt x="11834" y="2228"/>
                </a:lnTo>
                <a:lnTo>
                  <a:pt x="11828" y="2232"/>
                </a:lnTo>
                <a:lnTo>
                  <a:pt x="11824" y="2232"/>
                </a:lnTo>
                <a:lnTo>
                  <a:pt x="11822" y="2236"/>
                </a:lnTo>
                <a:lnTo>
                  <a:pt x="11822" y="2244"/>
                </a:lnTo>
                <a:lnTo>
                  <a:pt x="11826" y="2254"/>
                </a:lnTo>
                <a:lnTo>
                  <a:pt x="11826" y="2266"/>
                </a:lnTo>
                <a:lnTo>
                  <a:pt x="11824" y="2278"/>
                </a:lnTo>
                <a:lnTo>
                  <a:pt x="11820" y="2288"/>
                </a:lnTo>
                <a:lnTo>
                  <a:pt x="11816" y="2298"/>
                </a:lnTo>
                <a:lnTo>
                  <a:pt x="11816" y="2302"/>
                </a:lnTo>
                <a:lnTo>
                  <a:pt x="11818" y="2308"/>
                </a:lnTo>
                <a:lnTo>
                  <a:pt x="11816" y="2318"/>
                </a:lnTo>
                <a:lnTo>
                  <a:pt x="11816" y="2322"/>
                </a:lnTo>
                <a:lnTo>
                  <a:pt x="11816" y="2326"/>
                </a:lnTo>
                <a:lnTo>
                  <a:pt x="11818" y="2332"/>
                </a:lnTo>
                <a:lnTo>
                  <a:pt x="11822" y="2334"/>
                </a:lnTo>
                <a:lnTo>
                  <a:pt x="11820" y="2336"/>
                </a:lnTo>
                <a:close/>
                <a:moveTo>
                  <a:pt x="12398" y="2392"/>
                </a:moveTo>
                <a:lnTo>
                  <a:pt x="12398" y="2392"/>
                </a:lnTo>
                <a:lnTo>
                  <a:pt x="12396" y="2392"/>
                </a:lnTo>
                <a:lnTo>
                  <a:pt x="12394" y="2394"/>
                </a:lnTo>
                <a:lnTo>
                  <a:pt x="12392" y="2402"/>
                </a:lnTo>
                <a:lnTo>
                  <a:pt x="12388" y="2410"/>
                </a:lnTo>
                <a:lnTo>
                  <a:pt x="12384" y="2412"/>
                </a:lnTo>
                <a:lnTo>
                  <a:pt x="12380" y="2416"/>
                </a:lnTo>
                <a:lnTo>
                  <a:pt x="12372" y="2418"/>
                </a:lnTo>
                <a:lnTo>
                  <a:pt x="12366" y="2422"/>
                </a:lnTo>
                <a:lnTo>
                  <a:pt x="12364" y="2426"/>
                </a:lnTo>
                <a:lnTo>
                  <a:pt x="12364" y="2428"/>
                </a:lnTo>
                <a:lnTo>
                  <a:pt x="12366" y="2434"/>
                </a:lnTo>
                <a:lnTo>
                  <a:pt x="12368" y="2438"/>
                </a:lnTo>
                <a:lnTo>
                  <a:pt x="12370" y="2438"/>
                </a:lnTo>
                <a:lnTo>
                  <a:pt x="12374" y="2434"/>
                </a:lnTo>
                <a:lnTo>
                  <a:pt x="12378" y="2430"/>
                </a:lnTo>
                <a:lnTo>
                  <a:pt x="12382" y="2428"/>
                </a:lnTo>
                <a:lnTo>
                  <a:pt x="12388" y="2426"/>
                </a:lnTo>
                <a:lnTo>
                  <a:pt x="12392" y="2422"/>
                </a:lnTo>
                <a:lnTo>
                  <a:pt x="12396" y="2418"/>
                </a:lnTo>
                <a:lnTo>
                  <a:pt x="12400" y="2414"/>
                </a:lnTo>
                <a:lnTo>
                  <a:pt x="12402" y="2408"/>
                </a:lnTo>
                <a:lnTo>
                  <a:pt x="12402" y="2396"/>
                </a:lnTo>
                <a:lnTo>
                  <a:pt x="12400" y="2394"/>
                </a:lnTo>
                <a:lnTo>
                  <a:pt x="12398" y="2392"/>
                </a:lnTo>
                <a:close/>
                <a:moveTo>
                  <a:pt x="12802" y="2114"/>
                </a:moveTo>
                <a:lnTo>
                  <a:pt x="12802" y="2114"/>
                </a:lnTo>
                <a:lnTo>
                  <a:pt x="12798" y="2118"/>
                </a:lnTo>
                <a:lnTo>
                  <a:pt x="12798" y="2122"/>
                </a:lnTo>
                <a:lnTo>
                  <a:pt x="12800" y="2128"/>
                </a:lnTo>
                <a:lnTo>
                  <a:pt x="12804" y="2132"/>
                </a:lnTo>
                <a:lnTo>
                  <a:pt x="12814" y="2142"/>
                </a:lnTo>
                <a:lnTo>
                  <a:pt x="12826" y="2154"/>
                </a:lnTo>
                <a:lnTo>
                  <a:pt x="12830" y="2156"/>
                </a:lnTo>
                <a:lnTo>
                  <a:pt x="12830" y="2152"/>
                </a:lnTo>
                <a:lnTo>
                  <a:pt x="12828" y="2146"/>
                </a:lnTo>
                <a:lnTo>
                  <a:pt x="12824" y="2136"/>
                </a:lnTo>
                <a:lnTo>
                  <a:pt x="12820" y="2126"/>
                </a:lnTo>
                <a:lnTo>
                  <a:pt x="12814" y="2118"/>
                </a:lnTo>
                <a:lnTo>
                  <a:pt x="12808" y="2114"/>
                </a:lnTo>
                <a:lnTo>
                  <a:pt x="12804" y="2114"/>
                </a:lnTo>
                <a:lnTo>
                  <a:pt x="12802" y="2114"/>
                </a:lnTo>
                <a:close/>
                <a:moveTo>
                  <a:pt x="12746" y="1878"/>
                </a:moveTo>
                <a:lnTo>
                  <a:pt x="12746" y="1878"/>
                </a:lnTo>
                <a:lnTo>
                  <a:pt x="12744" y="1872"/>
                </a:lnTo>
                <a:lnTo>
                  <a:pt x="12740" y="1870"/>
                </a:lnTo>
                <a:lnTo>
                  <a:pt x="12736" y="1872"/>
                </a:lnTo>
                <a:lnTo>
                  <a:pt x="12730" y="1874"/>
                </a:lnTo>
                <a:lnTo>
                  <a:pt x="12716" y="1884"/>
                </a:lnTo>
                <a:lnTo>
                  <a:pt x="12702" y="1902"/>
                </a:lnTo>
                <a:lnTo>
                  <a:pt x="12700" y="1904"/>
                </a:lnTo>
                <a:lnTo>
                  <a:pt x="12702" y="1904"/>
                </a:lnTo>
                <a:lnTo>
                  <a:pt x="12706" y="1906"/>
                </a:lnTo>
                <a:lnTo>
                  <a:pt x="12722" y="1900"/>
                </a:lnTo>
                <a:lnTo>
                  <a:pt x="12730" y="1896"/>
                </a:lnTo>
                <a:lnTo>
                  <a:pt x="12738" y="1890"/>
                </a:lnTo>
                <a:lnTo>
                  <a:pt x="12744" y="1884"/>
                </a:lnTo>
                <a:lnTo>
                  <a:pt x="12746" y="1878"/>
                </a:lnTo>
                <a:close/>
                <a:moveTo>
                  <a:pt x="13366" y="1070"/>
                </a:moveTo>
                <a:lnTo>
                  <a:pt x="13366" y="1066"/>
                </a:lnTo>
                <a:lnTo>
                  <a:pt x="13438" y="1054"/>
                </a:lnTo>
                <a:lnTo>
                  <a:pt x="13446" y="1054"/>
                </a:lnTo>
                <a:lnTo>
                  <a:pt x="13454" y="1050"/>
                </a:lnTo>
                <a:lnTo>
                  <a:pt x="13458" y="1048"/>
                </a:lnTo>
                <a:lnTo>
                  <a:pt x="13460" y="1044"/>
                </a:lnTo>
                <a:lnTo>
                  <a:pt x="13460" y="1042"/>
                </a:lnTo>
                <a:lnTo>
                  <a:pt x="13458" y="1038"/>
                </a:lnTo>
                <a:lnTo>
                  <a:pt x="13448" y="1030"/>
                </a:lnTo>
                <a:lnTo>
                  <a:pt x="13434" y="1024"/>
                </a:lnTo>
                <a:lnTo>
                  <a:pt x="13418" y="1020"/>
                </a:lnTo>
                <a:lnTo>
                  <a:pt x="13400" y="1016"/>
                </a:lnTo>
                <a:lnTo>
                  <a:pt x="13382" y="1016"/>
                </a:lnTo>
                <a:lnTo>
                  <a:pt x="13366" y="1020"/>
                </a:lnTo>
                <a:lnTo>
                  <a:pt x="13366" y="1018"/>
                </a:lnTo>
                <a:lnTo>
                  <a:pt x="13342" y="1026"/>
                </a:lnTo>
                <a:lnTo>
                  <a:pt x="13332" y="1030"/>
                </a:lnTo>
                <a:lnTo>
                  <a:pt x="13324" y="1036"/>
                </a:lnTo>
                <a:lnTo>
                  <a:pt x="13316" y="1042"/>
                </a:lnTo>
                <a:lnTo>
                  <a:pt x="13310" y="1050"/>
                </a:lnTo>
                <a:lnTo>
                  <a:pt x="13308" y="1056"/>
                </a:lnTo>
                <a:lnTo>
                  <a:pt x="13306" y="1064"/>
                </a:lnTo>
                <a:lnTo>
                  <a:pt x="13306" y="1068"/>
                </a:lnTo>
                <a:lnTo>
                  <a:pt x="13310" y="1072"/>
                </a:lnTo>
                <a:lnTo>
                  <a:pt x="13314" y="1074"/>
                </a:lnTo>
                <a:lnTo>
                  <a:pt x="13322" y="1074"/>
                </a:lnTo>
                <a:lnTo>
                  <a:pt x="13342" y="1074"/>
                </a:lnTo>
                <a:lnTo>
                  <a:pt x="13366" y="1070"/>
                </a:lnTo>
                <a:close/>
                <a:moveTo>
                  <a:pt x="12932" y="1154"/>
                </a:moveTo>
                <a:lnTo>
                  <a:pt x="12932" y="1154"/>
                </a:lnTo>
                <a:lnTo>
                  <a:pt x="12934" y="1152"/>
                </a:lnTo>
                <a:lnTo>
                  <a:pt x="12934" y="1150"/>
                </a:lnTo>
                <a:lnTo>
                  <a:pt x="12934" y="1148"/>
                </a:lnTo>
                <a:lnTo>
                  <a:pt x="12932" y="1146"/>
                </a:lnTo>
                <a:lnTo>
                  <a:pt x="12924" y="1142"/>
                </a:lnTo>
                <a:lnTo>
                  <a:pt x="12912" y="1138"/>
                </a:lnTo>
                <a:lnTo>
                  <a:pt x="12900" y="1136"/>
                </a:lnTo>
                <a:lnTo>
                  <a:pt x="12888" y="1136"/>
                </a:lnTo>
                <a:lnTo>
                  <a:pt x="12878" y="1138"/>
                </a:lnTo>
                <a:lnTo>
                  <a:pt x="12872" y="1140"/>
                </a:lnTo>
                <a:lnTo>
                  <a:pt x="12870" y="1142"/>
                </a:lnTo>
                <a:lnTo>
                  <a:pt x="12870" y="1146"/>
                </a:lnTo>
                <a:lnTo>
                  <a:pt x="12874" y="1150"/>
                </a:lnTo>
                <a:lnTo>
                  <a:pt x="12882" y="1154"/>
                </a:lnTo>
                <a:lnTo>
                  <a:pt x="12890" y="1158"/>
                </a:lnTo>
                <a:lnTo>
                  <a:pt x="12902" y="1160"/>
                </a:lnTo>
                <a:lnTo>
                  <a:pt x="12912" y="1160"/>
                </a:lnTo>
                <a:lnTo>
                  <a:pt x="12924" y="1160"/>
                </a:lnTo>
                <a:lnTo>
                  <a:pt x="12932" y="1154"/>
                </a:lnTo>
                <a:close/>
                <a:moveTo>
                  <a:pt x="11756" y="878"/>
                </a:moveTo>
                <a:lnTo>
                  <a:pt x="11756" y="878"/>
                </a:lnTo>
                <a:lnTo>
                  <a:pt x="11746" y="884"/>
                </a:lnTo>
                <a:lnTo>
                  <a:pt x="11744" y="888"/>
                </a:lnTo>
                <a:lnTo>
                  <a:pt x="11746" y="890"/>
                </a:lnTo>
                <a:lnTo>
                  <a:pt x="11754" y="888"/>
                </a:lnTo>
                <a:lnTo>
                  <a:pt x="11784" y="888"/>
                </a:lnTo>
                <a:lnTo>
                  <a:pt x="11804" y="888"/>
                </a:lnTo>
                <a:lnTo>
                  <a:pt x="11828" y="890"/>
                </a:lnTo>
                <a:lnTo>
                  <a:pt x="11858" y="896"/>
                </a:lnTo>
                <a:lnTo>
                  <a:pt x="11880" y="896"/>
                </a:lnTo>
                <a:lnTo>
                  <a:pt x="11892" y="894"/>
                </a:lnTo>
                <a:lnTo>
                  <a:pt x="11894" y="892"/>
                </a:lnTo>
                <a:lnTo>
                  <a:pt x="11896" y="888"/>
                </a:lnTo>
                <a:lnTo>
                  <a:pt x="11896" y="886"/>
                </a:lnTo>
                <a:lnTo>
                  <a:pt x="11896" y="882"/>
                </a:lnTo>
                <a:lnTo>
                  <a:pt x="11888" y="872"/>
                </a:lnTo>
                <a:lnTo>
                  <a:pt x="11876" y="864"/>
                </a:lnTo>
                <a:lnTo>
                  <a:pt x="11860" y="854"/>
                </a:lnTo>
                <a:lnTo>
                  <a:pt x="11844" y="846"/>
                </a:lnTo>
                <a:lnTo>
                  <a:pt x="11830" y="844"/>
                </a:lnTo>
                <a:lnTo>
                  <a:pt x="11816" y="844"/>
                </a:lnTo>
                <a:lnTo>
                  <a:pt x="11804" y="848"/>
                </a:lnTo>
                <a:lnTo>
                  <a:pt x="11792" y="854"/>
                </a:lnTo>
                <a:lnTo>
                  <a:pt x="11782" y="862"/>
                </a:lnTo>
                <a:lnTo>
                  <a:pt x="11756" y="878"/>
                </a:lnTo>
                <a:close/>
                <a:moveTo>
                  <a:pt x="12060" y="772"/>
                </a:moveTo>
                <a:lnTo>
                  <a:pt x="12060" y="772"/>
                </a:lnTo>
                <a:lnTo>
                  <a:pt x="12086" y="776"/>
                </a:lnTo>
                <a:lnTo>
                  <a:pt x="12106" y="778"/>
                </a:lnTo>
                <a:lnTo>
                  <a:pt x="12152" y="776"/>
                </a:lnTo>
                <a:lnTo>
                  <a:pt x="12164" y="774"/>
                </a:lnTo>
                <a:lnTo>
                  <a:pt x="12176" y="770"/>
                </a:lnTo>
                <a:lnTo>
                  <a:pt x="12182" y="766"/>
                </a:lnTo>
                <a:lnTo>
                  <a:pt x="12188" y="760"/>
                </a:lnTo>
                <a:lnTo>
                  <a:pt x="12190" y="756"/>
                </a:lnTo>
                <a:lnTo>
                  <a:pt x="12188" y="752"/>
                </a:lnTo>
                <a:lnTo>
                  <a:pt x="12184" y="750"/>
                </a:lnTo>
                <a:lnTo>
                  <a:pt x="12176" y="750"/>
                </a:lnTo>
                <a:lnTo>
                  <a:pt x="12168" y="748"/>
                </a:lnTo>
                <a:lnTo>
                  <a:pt x="12164" y="746"/>
                </a:lnTo>
                <a:lnTo>
                  <a:pt x="12154" y="740"/>
                </a:lnTo>
                <a:lnTo>
                  <a:pt x="12148" y="736"/>
                </a:lnTo>
                <a:lnTo>
                  <a:pt x="12142" y="734"/>
                </a:lnTo>
                <a:lnTo>
                  <a:pt x="12132" y="734"/>
                </a:lnTo>
                <a:lnTo>
                  <a:pt x="12120" y="738"/>
                </a:lnTo>
                <a:lnTo>
                  <a:pt x="12108" y="742"/>
                </a:lnTo>
                <a:lnTo>
                  <a:pt x="12102" y="742"/>
                </a:lnTo>
                <a:lnTo>
                  <a:pt x="12100" y="740"/>
                </a:lnTo>
                <a:lnTo>
                  <a:pt x="12100" y="736"/>
                </a:lnTo>
                <a:lnTo>
                  <a:pt x="12098" y="730"/>
                </a:lnTo>
                <a:lnTo>
                  <a:pt x="12092" y="728"/>
                </a:lnTo>
                <a:lnTo>
                  <a:pt x="12082" y="726"/>
                </a:lnTo>
                <a:lnTo>
                  <a:pt x="12062" y="726"/>
                </a:lnTo>
                <a:lnTo>
                  <a:pt x="12044" y="728"/>
                </a:lnTo>
                <a:lnTo>
                  <a:pt x="12030" y="726"/>
                </a:lnTo>
                <a:lnTo>
                  <a:pt x="12020" y="724"/>
                </a:lnTo>
                <a:lnTo>
                  <a:pt x="12016" y="720"/>
                </a:lnTo>
                <a:lnTo>
                  <a:pt x="12012" y="714"/>
                </a:lnTo>
                <a:lnTo>
                  <a:pt x="12010" y="714"/>
                </a:lnTo>
                <a:lnTo>
                  <a:pt x="12008" y="718"/>
                </a:lnTo>
                <a:lnTo>
                  <a:pt x="12000" y="730"/>
                </a:lnTo>
                <a:lnTo>
                  <a:pt x="11998" y="736"/>
                </a:lnTo>
                <a:lnTo>
                  <a:pt x="11998" y="742"/>
                </a:lnTo>
                <a:lnTo>
                  <a:pt x="12002" y="748"/>
                </a:lnTo>
                <a:lnTo>
                  <a:pt x="12014" y="756"/>
                </a:lnTo>
                <a:lnTo>
                  <a:pt x="12032" y="764"/>
                </a:lnTo>
                <a:lnTo>
                  <a:pt x="12060" y="772"/>
                </a:lnTo>
                <a:close/>
                <a:moveTo>
                  <a:pt x="11698" y="782"/>
                </a:moveTo>
                <a:lnTo>
                  <a:pt x="11698" y="782"/>
                </a:lnTo>
                <a:lnTo>
                  <a:pt x="11714" y="788"/>
                </a:lnTo>
                <a:lnTo>
                  <a:pt x="11724" y="788"/>
                </a:lnTo>
                <a:lnTo>
                  <a:pt x="11728" y="784"/>
                </a:lnTo>
                <a:lnTo>
                  <a:pt x="11730" y="780"/>
                </a:lnTo>
                <a:lnTo>
                  <a:pt x="11732" y="774"/>
                </a:lnTo>
                <a:lnTo>
                  <a:pt x="11734" y="770"/>
                </a:lnTo>
                <a:lnTo>
                  <a:pt x="11740" y="768"/>
                </a:lnTo>
                <a:lnTo>
                  <a:pt x="11752" y="770"/>
                </a:lnTo>
                <a:lnTo>
                  <a:pt x="11766" y="772"/>
                </a:lnTo>
                <a:lnTo>
                  <a:pt x="11778" y="772"/>
                </a:lnTo>
                <a:lnTo>
                  <a:pt x="11788" y="770"/>
                </a:lnTo>
                <a:lnTo>
                  <a:pt x="11798" y="766"/>
                </a:lnTo>
                <a:lnTo>
                  <a:pt x="11808" y="762"/>
                </a:lnTo>
                <a:lnTo>
                  <a:pt x="11816" y="760"/>
                </a:lnTo>
                <a:lnTo>
                  <a:pt x="11824" y="760"/>
                </a:lnTo>
                <a:lnTo>
                  <a:pt x="11832" y="764"/>
                </a:lnTo>
                <a:lnTo>
                  <a:pt x="11840" y="770"/>
                </a:lnTo>
                <a:lnTo>
                  <a:pt x="11850" y="772"/>
                </a:lnTo>
                <a:lnTo>
                  <a:pt x="11862" y="772"/>
                </a:lnTo>
                <a:lnTo>
                  <a:pt x="11874" y="768"/>
                </a:lnTo>
                <a:lnTo>
                  <a:pt x="11902" y="760"/>
                </a:lnTo>
                <a:lnTo>
                  <a:pt x="11936" y="750"/>
                </a:lnTo>
                <a:lnTo>
                  <a:pt x="11944" y="746"/>
                </a:lnTo>
                <a:lnTo>
                  <a:pt x="11948" y="742"/>
                </a:lnTo>
                <a:lnTo>
                  <a:pt x="11948" y="738"/>
                </a:lnTo>
                <a:lnTo>
                  <a:pt x="11944" y="734"/>
                </a:lnTo>
                <a:lnTo>
                  <a:pt x="11942" y="730"/>
                </a:lnTo>
                <a:lnTo>
                  <a:pt x="11942" y="726"/>
                </a:lnTo>
                <a:lnTo>
                  <a:pt x="11944" y="724"/>
                </a:lnTo>
                <a:lnTo>
                  <a:pt x="11954" y="722"/>
                </a:lnTo>
                <a:lnTo>
                  <a:pt x="11960" y="722"/>
                </a:lnTo>
                <a:lnTo>
                  <a:pt x="11962" y="720"/>
                </a:lnTo>
                <a:lnTo>
                  <a:pt x="11964" y="718"/>
                </a:lnTo>
                <a:lnTo>
                  <a:pt x="11962" y="716"/>
                </a:lnTo>
                <a:lnTo>
                  <a:pt x="11956" y="710"/>
                </a:lnTo>
                <a:lnTo>
                  <a:pt x="11946" y="706"/>
                </a:lnTo>
                <a:lnTo>
                  <a:pt x="11930" y="700"/>
                </a:lnTo>
                <a:lnTo>
                  <a:pt x="11914" y="696"/>
                </a:lnTo>
                <a:lnTo>
                  <a:pt x="11898" y="696"/>
                </a:lnTo>
                <a:lnTo>
                  <a:pt x="11882" y="696"/>
                </a:lnTo>
                <a:lnTo>
                  <a:pt x="11868" y="698"/>
                </a:lnTo>
                <a:lnTo>
                  <a:pt x="11858" y="694"/>
                </a:lnTo>
                <a:lnTo>
                  <a:pt x="11846" y="690"/>
                </a:lnTo>
                <a:lnTo>
                  <a:pt x="11836" y="682"/>
                </a:lnTo>
                <a:lnTo>
                  <a:pt x="11826" y="676"/>
                </a:lnTo>
                <a:lnTo>
                  <a:pt x="11816" y="672"/>
                </a:lnTo>
                <a:lnTo>
                  <a:pt x="11806" y="670"/>
                </a:lnTo>
                <a:lnTo>
                  <a:pt x="11800" y="672"/>
                </a:lnTo>
                <a:lnTo>
                  <a:pt x="11794" y="674"/>
                </a:lnTo>
                <a:lnTo>
                  <a:pt x="11786" y="678"/>
                </a:lnTo>
                <a:lnTo>
                  <a:pt x="11782" y="686"/>
                </a:lnTo>
                <a:lnTo>
                  <a:pt x="11782" y="692"/>
                </a:lnTo>
                <a:lnTo>
                  <a:pt x="11784" y="696"/>
                </a:lnTo>
                <a:lnTo>
                  <a:pt x="11788" y="706"/>
                </a:lnTo>
                <a:lnTo>
                  <a:pt x="11788" y="710"/>
                </a:lnTo>
                <a:lnTo>
                  <a:pt x="11786" y="712"/>
                </a:lnTo>
                <a:lnTo>
                  <a:pt x="11780" y="712"/>
                </a:lnTo>
                <a:lnTo>
                  <a:pt x="11770" y="708"/>
                </a:lnTo>
                <a:lnTo>
                  <a:pt x="11752" y="698"/>
                </a:lnTo>
                <a:lnTo>
                  <a:pt x="11730" y="684"/>
                </a:lnTo>
                <a:lnTo>
                  <a:pt x="11710" y="672"/>
                </a:lnTo>
                <a:lnTo>
                  <a:pt x="11702" y="668"/>
                </a:lnTo>
                <a:lnTo>
                  <a:pt x="11696" y="666"/>
                </a:lnTo>
                <a:lnTo>
                  <a:pt x="11688" y="666"/>
                </a:lnTo>
                <a:lnTo>
                  <a:pt x="11682" y="668"/>
                </a:lnTo>
                <a:lnTo>
                  <a:pt x="11666" y="674"/>
                </a:lnTo>
                <a:lnTo>
                  <a:pt x="11646" y="688"/>
                </a:lnTo>
                <a:lnTo>
                  <a:pt x="11638" y="694"/>
                </a:lnTo>
                <a:lnTo>
                  <a:pt x="11634" y="702"/>
                </a:lnTo>
                <a:lnTo>
                  <a:pt x="11634" y="708"/>
                </a:lnTo>
                <a:lnTo>
                  <a:pt x="11636" y="714"/>
                </a:lnTo>
                <a:lnTo>
                  <a:pt x="11640" y="724"/>
                </a:lnTo>
                <a:lnTo>
                  <a:pt x="11640" y="728"/>
                </a:lnTo>
                <a:lnTo>
                  <a:pt x="11634" y="732"/>
                </a:lnTo>
                <a:lnTo>
                  <a:pt x="11630" y="736"/>
                </a:lnTo>
                <a:lnTo>
                  <a:pt x="11630" y="740"/>
                </a:lnTo>
                <a:lnTo>
                  <a:pt x="11634" y="746"/>
                </a:lnTo>
                <a:lnTo>
                  <a:pt x="11640" y="754"/>
                </a:lnTo>
                <a:lnTo>
                  <a:pt x="11650" y="760"/>
                </a:lnTo>
                <a:lnTo>
                  <a:pt x="11664" y="768"/>
                </a:lnTo>
                <a:lnTo>
                  <a:pt x="11698" y="782"/>
                </a:lnTo>
                <a:close/>
                <a:moveTo>
                  <a:pt x="11586" y="730"/>
                </a:moveTo>
                <a:lnTo>
                  <a:pt x="11586" y="730"/>
                </a:lnTo>
                <a:lnTo>
                  <a:pt x="11592" y="724"/>
                </a:lnTo>
                <a:lnTo>
                  <a:pt x="11594" y="716"/>
                </a:lnTo>
                <a:lnTo>
                  <a:pt x="11592" y="708"/>
                </a:lnTo>
                <a:lnTo>
                  <a:pt x="11584" y="698"/>
                </a:lnTo>
                <a:lnTo>
                  <a:pt x="11582" y="696"/>
                </a:lnTo>
                <a:lnTo>
                  <a:pt x="11580" y="696"/>
                </a:lnTo>
                <a:lnTo>
                  <a:pt x="11576" y="698"/>
                </a:lnTo>
                <a:lnTo>
                  <a:pt x="11572" y="706"/>
                </a:lnTo>
                <a:lnTo>
                  <a:pt x="11570" y="714"/>
                </a:lnTo>
                <a:lnTo>
                  <a:pt x="11570" y="722"/>
                </a:lnTo>
                <a:lnTo>
                  <a:pt x="11572" y="730"/>
                </a:lnTo>
                <a:lnTo>
                  <a:pt x="11574" y="732"/>
                </a:lnTo>
                <a:lnTo>
                  <a:pt x="11578" y="732"/>
                </a:lnTo>
                <a:lnTo>
                  <a:pt x="11582" y="732"/>
                </a:lnTo>
                <a:lnTo>
                  <a:pt x="11586" y="730"/>
                </a:lnTo>
                <a:close/>
                <a:moveTo>
                  <a:pt x="11080" y="922"/>
                </a:moveTo>
                <a:lnTo>
                  <a:pt x="11080" y="922"/>
                </a:lnTo>
                <a:lnTo>
                  <a:pt x="11108" y="928"/>
                </a:lnTo>
                <a:lnTo>
                  <a:pt x="11130" y="934"/>
                </a:lnTo>
                <a:lnTo>
                  <a:pt x="11156" y="942"/>
                </a:lnTo>
                <a:lnTo>
                  <a:pt x="11188" y="958"/>
                </a:lnTo>
                <a:lnTo>
                  <a:pt x="11198" y="962"/>
                </a:lnTo>
                <a:lnTo>
                  <a:pt x="11202" y="962"/>
                </a:lnTo>
                <a:lnTo>
                  <a:pt x="11204" y="962"/>
                </a:lnTo>
                <a:lnTo>
                  <a:pt x="11204" y="958"/>
                </a:lnTo>
                <a:lnTo>
                  <a:pt x="11202" y="952"/>
                </a:lnTo>
                <a:lnTo>
                  <a:pt x="11204" y="948"/>
                </a:lnTo>
                <a:lnTo>
                  <a:pt x="11210" y="946"/>
                </a:lnTo>
                <a:lnTo>
                  <a:pt x="11220" y="944"/>
                </a:lnTo>
                <a:lnTo>
                  <a:pt x="11226" y="946"/>
                </a:lnTo>
                <a:lnTo>
                  <a:pt x="11256" y="958"/>
                </a:lnTo>
                <a:lnTo>
                  <a:pt x="11280" y="968"/>
                </a:lnTo>
                <a:lnTo>
                  <a:pt x="11300" y="978"/>
                </a:lnTo>
                <a:lnTo>
                  <a:pt x="11308" y="980"/>
                </a:lnTo>
                <a:lnTo>
                  <a:pt x="11316" y="982"/>
                </a:lnTo>
                <a:lnTo>
                  <a:pt x="11322" y="978"/>
                </a:lnTo>
                <a:lnTo>
                  <a:pt x="11328" y="970"/>
                </a:lnTo>
                <a:lnTo>
                  <a:pt x="11328" y="966"/>
                </a:lnTo>
                <a:lnTo>
                  <a:pt x="11328" y="962"/>
                </a:lnTo>
                <a:lnTo>
                  <a:pt x="11324" y="956"/>
                </a:lnTo>
                <a:lnTo>
                  <a:pt x="11318" y="952"/>
                </a:lnTo>
                <a:lnTo>
                  <a:pt x="11310" y="948"/>
                </a:lnTo>
                <a:lnTo>
                  <a:pt x="11304" y="946"/>
                </a:lnTo>
                <a:lnTo>
                  <a:pt x="11300" y="944"/>
                </a:lnTo>
                <a:lnTo>
                  <a:pt x="11300" y="942"/>
                </a:lnTo>
                <a:lnTo>
                  <a:pt x="11302" y="940"/>
                </a:lnTo>
                <a:lnTo>
                  <a:pt x="11312" y="938"/>
                </a:lnTo>
                <a:lnTo>
                  <a:pt x="11320" y="934"/>
                </a:lnTo>
                <a:lnTo>
                  <a:pt x="11320" y="932"/>
                </a:lnTo>
                <a:lnTo>
                  <a:pt x="11314" y="928"/>
                </a:lnTo>
                <a:lnTo>
                  <a:pt x="11306" y="926"/>
                </a:lnTo>
                <a:lnTo>
                  <a:pt x="11298" y="922"/>
                </a:lnTo>
                <a:lnTo>
                  <a:pt x="11294" y="920"/>
                </a:lnTo>
                <a:lnTo>
                  <a:pt x="11294" y="918"/>
                </a:lnTo>
                <a:lnTo>
                  <a:pt x="11296" y="916"/>
                </a:lnTo>
                <a:lnTo>
                  <a:pt x="11306" y="914"/>
                </a:lnTo>
                <a:lnTo>
                  <a:pt x="11316" y="910"/>
                </a:lnTo>
                <a:lnTo>
                  <a:pt x="11318" y="908"/>
                </a:lnTo>
                <a:lnTo>
                  <a:pt x="11318" y="906"/>
                </a:lnTo>
                <a:lnTo>
                  <a:pt x="11316" y="900"/>
                </a:lnTo>
                <a:lnTo>
                  <a:pt x="11306" y="896"/>
                </a:lnTo>
                <a:lnTo>
                  <a:pt x="11280" y="884"/>
                </a:lnTo>
                <a:lnTo>
                  <a:pt x="11252" y="876"/>
                </a:lnTo>
                <a:lnTo>
                  <a:pt x="11240" y="872"/>
                </a:lnTo>
                <a:lnTo>
                  <a:pt x="11232" y="874"/>
                </a:lnTo>
                <a:lnTo>
                  <a:pt x="11224" y="878"/>
                </a:lnTo>
                <a:lnTo>
                  <a:pt x="11218" y="882"/>
                </a:lnTo>
                <a:lnTo>
                  <a:pt x="11214" y="888"/>
                </a:lnTo>
                <a:lnTo>
                  <a:pt x="11210" y="890"/>
                </a:lnTo>
                <a:lnTo>
                  <a:pt x="11208" y="888"/>
                </a:lnTo>
                <a:lnTo>
                  <a:pt x="11204" y="882"/>
                </a:lnTo>
                <a:lnTo>
                  <a:pt x="11200" y="874"/>
                </a:lnTo>
                <a:lnTo>
                  <a:pt x="11196" y="870"/>
                </a:lnTo>
                <a:lnTo>
                  <a:pt x="11190" y="868"/>
                </a:lnTo>
                <a:lnTo>
                  <a:pt x="11184" y="868"/>
                </a:lnTo>
                <a:lnTo>
                  <a:pt x="11168" y="866"/>
                </a:lnTo>
                <a:lnTo>
                  <a:pt x="11158" y="862"/>
                </a:lnTo>
                <a:lnTo>
                  <a:pt x="11146" y="858"/>
                </a:lnTo>
                <a:lnTo>
                  <a:pt x="11134" y="854"/>
                </a:lnTo>
                <a:lnTo>
                  <a:pt x="11120" y="854"/>
                </a:lnTo>
                <a:lnTo>
                  <a:pt x="11104" y="856"/>
                </a:lnTo>
                <a:lnTo>
                  <a:pt x="11092" y="860"/>
                </a:lnTo>
                <a:lnTo>
                  <a:pt x="11082" y="866"/>
                </a:lnTo>
                <a:lnTo>
                  <a:pt x="11076" y="872"/>
                </a:lnTo>
                <a:lnTo>
                  <a:pt x="11074" y="876"/>
                </a:lnTo>
                <a:lnTo>
                  <a:pt x="11074" y="880"/>
                </a:lnTo>
                <a:lnTo>
                  <a:pt x="11076" y="884"/>
                </a:lnTo>
                <a:lnTo>
                  <a:pt x="11080" y="888"/>
                </a:lnTo>
                <a:lnTo>
                  <a:pt x="11082" y="892"/>
                </a:lnTo>
                <a:lnTo>
                  <a:pt x="11084" y="896"/>
                </a:lnTo>
                <a:lnTo>
                  <a:pt x="11084" y="898"/>
                </a:lnTo>
                <a:lnTo>
                  <a:pt x="11084" y="902"/>
                </a:lnTo>
                <a:lnTo>
                  <a:pt x="11078" y="906"/>
                </a:lnTo>
                <a:lnTo>
                  <a:pt x="11072" y="910"/>
                </a:lnTo>
                <a:lnTo>
                  <a:pt x="11068" y="914"/>
                </a:lnTo>
                <a:lnTo>
                  <a:pt x="11066" y="916"/>
                </a:lnTo>
                <a:lnTo>
                  <a:pt x="11068" y="920"/>
                </a:lnTo>
                <a:lnTo>
                  <a:pt x="11080" y="922"/>
                </a:lnTo>
                <a:close/>
                <a:moveTo>
                  <a:pt x="10628" y="824"/>
                </a:moveTo>
                <a:lnTo>
                  <a:pt x="10628" y="824"/>
                </a:lnTo>
                <a:lnTo>
                  <a:pt x="10644" y="828"/>
                </a:lnTo>
                <a:lnTo>
                  <a:pt x="10656" y="828"/>
                </a:lnTo>
                <a:lnTo>
                  <a:pt x="10666" y="824"/>
                </a:lnTo>
                <a:lnTo>
                  <a:pt x="10672" y="818"/>
                </a:lnTo>
                <a:lnTo>
                  <a:pt x="10674" y="810"/>
                </a:lnTo>
                <a:lnTo>
                  <a:pt x="10674" y="808"/>
                </a:lnTo>
                <a:lnTo>
                  <a:pt x="10672" y="804"/>
                </a:lnTo>
                <a:lnTo>
                  <a:pt x="10670" y="802"/>
                </a:lnTo>
                <a:lnTo>
                  <a:pt x="10666" y="800"/>
                </a:lnTo>
                <a:lnTo>
                  <a:pt x="10652" y="796"/>
                </a:lnTo>
                <a:lnTo>
                  <a:pt x="10636" y="796"/>
                </a:lnTo>
                <a:lnTo>
                  <a:pt x="10624" y="798"/>
                </a:lnTo>
                <a:lnTo>
                  <a:pt x="10614" y="800"/>
                </a:lnTo>
                <a:lnTo>
                  <a:pt x="10608" y="804"/>
                </a:lnTo>
                <a:lnTo>
                  <a:pt x="10606" y="808"/>
                </a:lnTo>
                <a:lnTo>
                  <a:pt x="10608" y="812"/>
                </a:lnTo>
                <a:lnTo>
                  <a:pt x="10616" y="818"/>
                </a:lnTo>
                <a:lnTo>
                  <a:pt x="10628" y="824"/>
                </a:lnTo>
                <a:close/>
                <a:moveTo>
                  <a:pt x="10148" y="522"/>
                </a:moveTo>
                <a:lnTo>
                  <a:pt x="10148" y="522"/>
                </a:lnTo>
                <a:lnTo>
                  <a:pt x="10174" y="514"/>
                </a:lnTo>
                <a:lnTo>
                  <a:pt x="10202" y="510"/>
                </a:lnTo>
                <a:lnTo>
                  <a:pt x="10238" y="506"/>
                </a:lnTo>
                <a:lnTo>
                  <a:pt x="10286" y="502"/>
                </a:lnTo>
                <a:lnTo>
                  <a:pt x="10312" y="500"/>
                </a:lnTo>
                <a:lnTo>
                  <a:pt x="10330" y="498"/>
                </a:lnTo>
                <a:lnTo>
                  <a:pt x="10344" y="492"/>
                </a:lnTo>
                <a:lnTo>
                  <a:pt x="10352" y="486"/>
                </a:lnTo>
                <a:lnTo>
                  <a:pt x="10354" y="484"/>
                </a:lnTo>
                <a:lnTo>
                  <a:pt x="10354" y="480"/>
                </a:lnTo>
                <a:lnTo>
                  <a:pt x="10352" y="472"/>
                </a:lnTo>
                <a:lnTo>
                  <a:pt x="10344" y="464"/>
                </a:lnTo>
                <a:lnTo>
                  <a:pt x="10332" y="456"/>
                </a:lnTo>
                <a:lnTo>
                  <a:pt x="10308" y="440"/>
                </a:lnTo>
                <a:lnTo>
                  <a:pt x="10300" y="434"/>
                </a:lnTo>
                <a:lnTo>
                  <a:pt x="10294" y="432"/>
                </a:lnTo>
                <a:lnTo>
                  <a:pt x="10286" y="432"/>
                </a:lnTo>
                <a:lnTo>
                  <a:pt x="10276" y="436"/>
                </a:lnTo>
                <a:lnTo>
                  <a:pt x="10264" y="442"/>
                </a:lnTo>
                <a:lnTo>
                  <a:pt x="10248" y="454"/>
                </a:lnTo>
                <a:lnTo>
                  <a:pt x="10236" y="462"/>
                </a:lnTo>
                <a:lnTo>
                  <a:pt x="10232" y="462"/>
                </a:lnTo>
                <a:lnTo>
                  <a:pt x="10244" y="448"/>
                </a:lnTo>
                <a:lnTo>
                  <a:pt x="10254" y="436"/>
                </a:lnTo>
                <a:lnTo>
                  <a:pt x="10260" y="426"/>
                </a:lnTo>
                <a:lnTo>
                  <a:pt x="10264" y="416"/>
                </a:lnTo>
                <a:lnTo>
                  <a:pt x="10264" y="414"/>
                </a:lnTo>
                <a:lnTo>
                  <a:pt x="10260" y="412"/>
                </a:lnTo>
                <a:lnTo>
                  <a:pt x="10242" y="406"/>
                </a:lnTo>
                <a:lnTo>
                  <a:pt x="10234" y="406"/>
                </a:lnTo>
                <a:lnTo>
                  <a:pt x="10224" y="404"/>
                </a:lnTo>
                <a:lnTo>
                  <a:pt x="10214" y="406"/>
                </a:lnTo>
                <a:lnTo>
                  <a:pt x="10204" y="412"/>
                </a:lnTo>
                <a:lnTo>
                  <a:pt x="10194" y="422"/>
                </a:lnTo>
                <a:lnTo>
                  <a:pt x="10184" y="436"/>
                </a:lnTo>
                <a:lnTo>
                  <a:pt x="10174" y="448"/>
                </a:lnTo>
                <a:lnTo>
                  <a:pt x="10166" y="456"/>
                </a:lnTo>
                <a:lnTo>
                  <a:pt x="10154" y="464"/>
                </a:lnTo>
                <a:lnTo>
                  <a:pt x="10148" y="468"/>
                </a:lnTo>
                <a:lnTo>
                  <a:pt x="10140" y="478"/>
                </a:lnTo>
                <a:lnTo>
                  <a:pt x="10130" y="492"/>
                </a:lnTo>
                <a:lnTo>
                  <a:pt x="10118" y="514"/>
                </a:lnTo>
                <a:lnTo>
                  <a:pt x="10114" y="524"/>
                </a:lnTo>
                <a:lnTo>
                  <a:pt x="10114" y="526"/>
                </a:lnTo>
                <a:lnTo>
                  <a:pt x="10116" y="528"/>
                </a:lnTo>
                <a:lnTo>
                  <a:pt x="10128" y="528"/>
                </a:lnTo>
                <a:lnTo>
                  <a:pt x="10148" y="522"/>
                </a:lnTo>
                <a:close/>
                <a:moveTo>
                  <a:pt x="10046" y="348"/>
                </a:moveTo>
                <a:lnTo>
                  <a:pt x="10046" y="348"/>
                </a:lnTo>
                <a:lnTo>
                  <a:pt x="10020" y="348"/>
                </a:lnTo>
                <a:lnTo>
                  <a:pt x="9990" y="348"/>
                </a:lnTo>
                <a:lnTo>
                  <a:pt x="9972" y="350"/>
                </a:lnTo>
                <a:lnTo>
                  <a:pt x="9956" y="352"/>
                </a:lnTo>
                <a:lnTo>
                  <a:pt x="9942" y="356"/>
                </a:lnTo>
                <a:lnTo>
                  <a:pt x="9930" y="362"/>
                </a:lnTo>
                <a:lnTo>
                  <a:pt x="9904" y="376"/>
                </a:lnTo>
                <a:lnTo>
                  <a:pt x="9878" y="390"/>
                </a:lnTo>
                <a:lnTo>
                  <a:pt x="9870" y="396"/>
                </a:lnTo>
                <a:lnTo>
                  <a:pt x="9866" y="400"/>
                </a:lnTo>
                <a:lnTo>
                  <a:pt x="9866" y="402"/>
                </a:lnTo>
                <a:lnTo>
                  <a:pt x="9868" y="404"/>
                </a:lnTo>
                <a:lnTo>
                  <a:pt x="9872" y="404"/>
                </a:lnTo>
                <a:lnTo>
                  <a:pt x="9884" y="404"/>
                </a:lnTo>
                <a:lnTo>
                  <a:pt x="9900" y="406"/>
                </a:lnTo>
                <a:lnTo>
                  <a:pt x="9908" y="406"/>
                </a:lnTo>
                <a:lnTo>
                  <a:pt x="9912" y="410"/>
                </a:lnTo>
                <a:lnTo>
                  <a:pt x="9914" y="414"/>
                </a:lnTo>
                <a:lnTo>
                  <a:pt x="9914" y="418"/>
                </a:lnTo>
                <a:lnTo>
                  <a:pt x="9914" y="424"/>
                </a:lnTo>
                <a:lnTo>
                  <a:pt x="9918" y="428"/>
                </a:lnTo>
                <a:lnTo>
                  <a:pt x="9926" y="434"/>
                </a:lnTo>
                <a:lnTo>
                  <a:pt x="9934" y="436"/>
                </a:lnTo>
                <a:lnTo>
                  <a:pt x="9944" y="438"/>
                </a:lnTo>
                <a:lnTo>
                  <a:pt x="9962" y="440"/>
                </a:lnTo>
                <a:lnTo>
                  <a:pt x="9988" y="442"/>
                </a:lnTo>
                <a:lnTo>
                  <a:pt x="10006" y="446"/>
                </a:lnTo>
                <a:lnTo>
                  <a:pt x="10026" y="452"/>
                </a:lnTo>
                <a:lnTo>
                  <a:pt x="10048" y="458"/>
                </a:lnTo>
                <a:lnTo>
                  <a:pt x="10068" y="460"/>
                </a:lnTo>
                <a:lnTo>
                  <a:pt x="10088" y="460"/>
                </a:lnTo>
                <a:lnTo>
                  <a:pt x="10106" y="456"/>
                </a:lnTo>
                <a:lnTo>
                  <a:pt x="10120" y="452"/>
                </a:lnTo>
                <a:lnTo>
                  <a:pt x="10130" y="446"/>
                </a:lnTo>
                <a:lnTo>
                  <a:pt x="10132" y="444"/>
                </a:lnTo>
                <a:lnTo>
                  <a:pt x="10132" y="440"/>
                </a:lnTo>
                <a:lnTo>
                  <a:pt x="10132" y="438"/>
                </a:lnTo>
                <a:lnTo>
                  <a:pt x="10128" y="434"/>
                </a:lnTo>
                <a:lnTo>
                  <a:pt x="10126" y="430"/>
                </a:lnTo>
                <a:lnTo>
                  <a:pt x="10124" y="426"/>
                </a:lnTo>
                <a:lnTo>
                  <a:pt x="10124" y="418"/>
                </a:lnTo>
                <a:lnTo>
                  <a:pt x="10128" y="410"/>
                </a:lnTo>
                <a:lnTo>
                  <a:pt x="10132" y="400"/>
                </a:lnTo>
                <a:lnTo>
                  <a:pt x="10138" y="392"/>
                </a:lnTo>
                <a:lnTo>
                  <a:pt x="10140" y="384"/>
                </a:lnTo>
                <a:lnTo>
                  <a:pt x="10140" y="380"/>
                </a:lnTo>
                <a:lnTo>
                  <a:pt x="10140" y="376"/>
                </a:lnTo>
                <a:lnTo>
                  <a:pt x="10138" y="372"/>
                </a:lnTo>
                <a:lnTo>
                  <a:pt x="10134" y="370"/>
                </a:lnTo>
                <a:lnTo>
                  <a:pt x="10126" y="366"/>
                </a:lnTo>
                <a:lnTo>
                  <a:pt x="10122" y="362"/>
                </a:lnTo>
                <a:lnTo>
                  <a:pt x="10118" y="358"/>
                </a:lnTo>
                <a:lnTo>
                  <a:pt x="10114" y="356"/>
                </a:lnTo>
                <a:lnTo>
                  <a:pt x="10108" y="356"/>
                </a:lnTo>
                <a:lnTo>
                  <a:pt x="10102" y="356"/>
                </a:lnTo>
                <a:lnTo>
                  <a:pt x="10074" y="364"/>
                </a:lnTo>
                <a:lnTo>
                  <a:pt x="10058" y="368"/>
                </a:lnTo>
                <a:lnTo>
                  <a:pt x="10050" y="370"/>
                </a:lnTo>
                <a:lnTo>
                  <a:pt x="10050" y="368"/>
                </a:lnTo>
                <a:lnTo>
                  <a:pt x="10048" y="366"/>
                </a:lnTo>
                <a:lnTo>
                  <a:pt x="10050" y="362"/>
                </a:lnTo>
                <a:lnTo>
                  <a:pt x="10052" y="358"/>
                </a:lnTo>
                <a:lnTo>
                  <a:pt x="10054" y="352"/>
                </a:lnTo>
                <a:lnTo>
                  <a:pt x="10052" y="350"/>
                </a:lnTo>
                <a:lnTo>
                  <a:pt x="10046" y="348"/>
                </a:lnTo>
                <a:close/>
                <a:moveTo>
                  <a:pt x="9818" y="352"/>
                </a:moveTo>
                <a:lnTo>
                  <a:pt x="9818" y="352"/>
                </a:lnTo>
                <a:lnTo>
                  <a:pt x="9802" y="352"/>
                </a:lnTo>
                <a:lnTo>
                  <a:pt x="9790" y="354"/>
                </a:lnTo>
                <a:lnTo>
                  <a:pt x="9784" y="356"/>
                </a:lnTo>
                <a:lnTo>
                  <a:pt x="9780" y="360"/>
                </a:lnTo>
                <a:lnTo>
                  <a:pt x="9778" y="364"/>
                </a:lnTo>
                <a:lnTo>
                  <a:pt x="9782" y="368"/>
                </a:lnTo>
                <a:lnTo>
                  <a:pt x="9788" y="372"/>
                </a:lnTo>
                <a:lnTo>
                  <a:pt x="9798" y="374"/>
                </a:lnTo>
                <a:lnTo>
                  <a:pt x="9808" y="376"/>
                </a:lnTo>
                <a:lnTo>
                  <a:pt x="9814" y="380"/>
                </a:lnTo>
                <a:lnTo>
                  <a:pt x="9820" y="386"/>
                </a:lnTo>
                <a:lnTo>
                  <a:pt x="9822" y="388"/>
                </a:lnTo>
                <a:lnTo>
                  <a:pt x="9826" y="388"/>
                </a:lnTo>
                <a:lnTo>
                  <a:pt x="9844" y="386"/>
                </a:lnTo>
                <a:lnTo>
                  <a:pt x="9872" y="380"/>
                </a:lnTo>
                <a:lnTo>
                  <a:pt x="9884" y="374"/>
                </a:lnTo>
                <a:lnTo>
                  <a:pt x="9888" y="372"/>
                </a:lnTo>
                <a:lnTo>
                  <a:pt x="9888" y="370"/>
                </a:lnTo>
                <a:lnTo>
                  <a:pt x="9886" y="366"/>
                </a:lnTo>
                <a:lnTo>
                  <a:pt x="9882" y="364"/>
                </a:lnTo>
                <a:lnTo>
                  <a:pt x="9870" y="362"/>
                </a:lnTo>
                <a:lnTo>
                  <a:pt x="9854" y="358"/>
                </a:lnTo>
                <a:lnTo>
                  <a:pt x="9818" y="352"/>
                </a:lnTo>
                <a:close/>
                <a:moveTo>
                  <a:pt x="9850" y="306"/>
                </a:moveTo>
                <a:lnTo>
                  <a:pt x="9850" y="306"/>
                </a:lnTo>
                <a:lnTo>
                  <a:pt x="9838" y="314"/>
                </a:lnTo>
                <a:lnTo>
                  <a:pt x="9826" y="318"/>
                </a:lnTo>
                <a:lnTo>
                  <a:pt x="9804" y="328"/>
                </a:lnTo>
                <a:lnTo>
                  <a:pt x="9798" y="330"/>
                </a:lnTo>
                <a:lnTo>
                  <a:pt x="9794" y="334"/>
                </a:lnTo>
                <a:lnTo>
                  <a:pt x="9798" y="336"/>
                </a:lnTo>
                <a:lnTo>
                  <a:pt x="9806" y="336"/>
                </a:lnTo>
                <a:lnTo>
                  <a:pt x="9818" y="338"/>
                </a:lnTo>
                <a:lnTo>
                  <a:pt x="9826" y="340"/>
                </a:lnTo>
                <a:lnTo>
                  <a:pt x="9840" y="346"/>
                </a:lnTo>
                <a:lnTo>
                  <a:pt x="9858" y="352"/>
                </a:lnTo>
                <a:lnTo>
                  <a:pt x="9868" y="354"/>
                </a:lnTo>
                <a:lnTo>
                  <a:pt x="9884" y="356"/>
                </a:lnTo>
                <a:lnTo>
                  <a:pt x="9898" y="358"/>
                </a:lnTo>
                <a:lnTo>
                  <a:pt x="9906" y="358"/>
                </a:lnTo>
                <a:lnTo>
                  <a:pt x="9908" y="354"/>
                </a:lnTo>
                <a:lnTo>
                  <a:pt x="9910" y="352"/>
                </a:lnTo>
                <a:lnTo>
                  <a:pt x="9912" y="348"/>
                </a:lnTo>
                <a:lnTo>
                  <a:pt x="9916" y="346"/>
                </a:lnTo>
                <a:lnTo>
                  <a:pt x="9928" y="342"/>
                </a:lnTo>
                <a:lnTo>
                  <a:pt x="9946" y="340"/>
                </a:lnTo>
                <a:lnTo>
                  <a:pt x="9990" y="340"/>
                </a:lnTo>
                <a:lnTo>
                  <a:pt x="10018" y="340"/>
                </a:lnTo>
                <a:lnTo>
                  <a:pt x="10026" y="338"/>
                </a:lnTo>
                <a:lnTo>
                  <a:pt x="10030" y="336"/>
                </a:lnTo>
                <a:lnTo>
                  <a:pt x="10030" y="330"/>
                </a:lnTo>
                <a:lnTo>
                  <a:pt x="10026" y="322"/>
                </a:lnTo>
                <a:lnTo>
                  <a:pt x="10022" y="314"/>
                </a:lnTo>
                <a:lnTo>
                  <a:pt x="10022" y="312"/>
                </a:lnTo>
                <a:lnTo>
                  <a:pt x="10022" y="308"/>
                </a:lnTo>
                <a:lnTo>
                  <a:pt x="10028" y="306"/>
                </a:lnTo>
                <a:lnTo>
                  <a:pt x="10036" y="306"/>
                </a:lnTo>
                <a:lnTo>
                  <a:pt x="10050" y="304"/>
                </a:lnTo>
                <a:lnTo>
                  <a:pt x="10054" y="300"/>
                </a:lnTo>
                <a:lnTo>
                  <a:pt x="10054" y="298"/>
                </a:lnTo>
                <a:lnTo>
                  <a:pt x="10052" y="296"/>
                </a:lnTo>
                <a:lnTo>
                  <a:pt x="10048" y="292"/>
                </a:lnTo>
                <a:lnTo>
                  <a:pt x="10044" y="288"/>
                </a:lnTo>
                <a:lnTo>
                  <a:pt x="10032" y="288"/>
                </a:lnTo>
                <a:lnTo>
                  <a:pt x="10024" y="286"/>
                </a:lnTo>
                <a:lnTo>
                  <a:pt x="10016" y="284"/>
                </a:lnTo>
                <a:lnTo>
                  <a:pt x="10008" y="280"/>
                </a:lnTo>
                <a:lnTo>
                  <a:pt x="9998" y="274"/>
                </a:lnTo>
                <a:lnTo>
                  <a:pt x="9980" y="260"/>
                </a:lnTo>
                <a:lnTo>
                  <a:pt x="9972" y="254"/>
                </a:lnTo>
                <a:lnTo>
                  <a:pt x="9964" y="252"/>
                </a:lnTo>
                <a:lnTo>
                  <a:pt x="9956" y="250"/>
                </a:lnTo>
                <a:lnTo>
                  <a:pt x="9948" y="250"/>
                </a:lnTo>
                <a:lnTo>
                  <a:pt x="9940" y="252"/>
                </a:lnTo>
                <a:lnTo>
                  <a:pt x="9932" y="258"/>
                </a:lnTo>
                <a:lnTo>
                  <a:pt x="9922" y="262"/>
                </a:lnTo>
                <a:lnTo>
                  <a:pt x="9914" y="264"/>
                </a:lnTo>
                <a:lnTo>
                  <a:pt x="9898" y="268"/>
                </a:lnTo>
                <a:lnTo>
                  <a:pt x="9878" y="272"/>
                </a:lnTo>
                <a:lnTo>
                  <a:pt x="9866" y="276"/>
                </a:lnTo>
                <a:lnTo>
                  <a:pt x="9852" y="284"/>
                </a:lnTo>
                <a:lnTo>
                  <a:pt x="9842" y="290"/>
                </a:lnTo>
                <a:lnTo>
                  <a:pt x="9840" y="294"/>
                </a:lnTo>
                <a:lnTo>
                  <a:pt x="9842" y="296"/>
                </a:lnTo>
                <a:lnTo>
                  <a:pt x="9848" y="296"/>
                </a:lnTo>
                <a:lnTo>
                  <a:pt x="9854" y="296"/>
                </a:lnTo>
                <a:lnTo>
                  <a:pt x="9856" y="298"/>
                </a:lnTo>
                <a:lnTo>
                  <a:pt x="9858" y="298"/>
                </a:lnTo>
                <a:lnTo>
                  <a:pt x="9856" y="300"/>
                </a:lnTo>
                <a:lnTo>
                  <a:pt x="9850" y="306"/>
                </a:lnTo>
                <a:close/>
                <a:moveTo>
                  <a:pt x="9800" y="264"/>
                </a:moveTo>
                <a:lnTo>
                  <a:pt x="9800" y="264"/>
                </a:lnTo>
                <a:lnTo>
                  <a:pt x="9798" y="260"/>
                </a:lnTo>
                <a:lnTo>
                  <a:pt x="9792" y="258"/>
                </a:lnTo>
                <a:lnTo>
                  <a:pt x="9772" y="254"/>
                </a:lnTo>
                <a:lnTo>
                  <a:pt x="9750" y="254"/>
                </a:lnTo>
                <a:lnTo>
                  <a:pt x="9744" y="256"/>
                </a:lnTo>
                <a:lnTo>
                  <a:pt x="9740" y="258"/>
                </a:lnTo>
                <a:lnTo>
                  <a:pt x="9740" y="260"/>
                </a:lnTo>
                <a:lnTo>
                  <a:pt x="9740" y="264"/>
                </a:lnTo>
                <a:lnTo>
                  <a:pt x="9746" y="266"/>
                </a:lnTo>
                <a:lnTo>
                  <a:pt x="9756" y="268"/>
                </a:lnTo>
                <a:lnTo>
                  <a:pt x="9768" y="270"/>
                </a:lnTo>
                <a:lnTo>
                  <a:pt x="9790" y="268"/>
                </a:lnTo>
                <a:lnTo>
                  <a:pt x="9798" y="266"/>
                </a:lnTo>
                <a:lnTo>
                  <a:pt x="9800" y="264"/>
                </a:lnTo>
                <a:close/>
                <a:moveTo>
                  <a:pt x="9948" y="604"/>
                </a:moveTo>
                <a:lnTo>
                  <a:pt x="9948" y="604"/>
                </a:lnTo>
                <a:lnTo>
                  <a:pt x="9956" y="608"/>
                </a:lnTo>
                <a:lnTo>
                  <a:pt x="9966" y="608"/>
                </a:lnTo>
                <a:lnTo>
                  <a:pt x="9976" y="606"/>
                </a:lnTo>
                <a:lnTo>
                  <a:pt x="9984" y="602"/>
                </a:lnTo>
                <a:lnTo>
                  <a:pt x="9992" y="598"/>
                </a:lnTo>
                <a:lnTo>
                  <a:pt x="9998" y="594"/>
                </a:lnTo>
                <a:lnTo>
                  <a:pt x="10000" y="590"/>
                </a:lnTo>
                <a:lnTo>
                  <a:pt x="10000" y="586"/>
                </a:lnTo>
                <a:lnTo>
                  <a:pt x="9996" y="586"/>
                </a:lnTo>
                <a:lnTo>
                  <a:pt x="9988" y="586"/>
                </a:lnTo>
                <a:lnTo>
                  <a:pt x="9968" y="590"/>
                </a:lnTo>
                <a:lnTo>
                  <a:pt x="9952" y="598"/>
                </a:lnTo>
                <a:lnTo>
                  <a:pt x="9948" y="602"/>
                </a:lnTo>
                <a:lnTo>
                  <a:pt x="9948" y="604"/>
                </a:lnTo>
                <a:close/>
                <a:moveTo>
                  <a:pt x="12072" y="7092"/>
                </a:moveTo>
                <a:lnTo>
                  <a:pt x="12072" y="7092"/>
                </a:lnTo>
                <a:lnTo>
                  <a:pt x="12074" y="7094"/>
                </a:lnTo>
                <a:lnTo>
                  <a:pt x="12080" y="7094"/>
                </a:lnTo>
                <a:lnTo>
                  <a:pt x="12086" y="7096"/>
                </a:lnTo>
                <a:lnTo>
                  <a:pt x="12090" y="7094"/>
                </a:lnTo>
                <a:lnTo>
                  <a:pt x="12090" y="7090"/>
                </a:lnTo>
                <a:lnTo>
                  <a:pt x="12088" y="7088"/>
                </a:lnTo>
                <a:lnTo>
                  <a:pt x="12082" y="7086"/>
                </a:lnTo>
                <a:lnTo>
                  <a:pt x="12076" y="7088"/>
                </a:lnTo>
                <a:lnTo>
                  <a:pt x="12072" y="7090"/>
                </a:lnTo>
                <a:lnTo>
                  <a:pt x="12072" y="7092"/>
                </a:lnTo>
                <a:close/>
                <a:moveTo>
                  <a:pt x="11908" y="7044"/>
                </a:moveTo>
                <a:lnTo>
                  <a:pt x="11908" y="7044"/>
                </a:lnTo>
                <a:lnTo>
                  <a:pt x="11906" y="7052"/>
                </a:lnTo>
                <a:lnTo>
                  <a:pt x="11906" y="7062"/>
                </a:lnTo>
                <a:lnTo>
                  <a:pt x="11908" y="7070"/>
                </a:lnTo>
                <a:lnTo>
                  <a:pt x="11910" y="7072"/>
                </a:lnTo>
                <a:lnTo>
                  <a:pt x="11912" y="7072"/>
                </a:lnTo>
                <a:lnTo>
                  <a:pt x="11916" y="7068"/>
                </a:lnTo>
                <a:lnTo>
                  <a:pt x="11916" y="7064"/>
                </a:lnTo>
                <a:lnTo>
                  <a:pt x="11916" y="7054"/>
                </a:lnTo>
                <a:lnTo>
                  <a:pt x="11912" y="7046"/>
                </a:lnTo>
                <a:lnTo>
                  <a:pt x="11910" y="7044"/>
                </a:lnTo>
                <a:lnTo>
                  <a:pt x="11908" y="7044"/>
                </a:lnTo>
                <a:close/>
                <a:moveTo>
                  <a:pt x="12082" y="7064"/>
                </a:moveTo>
                <a:lnTo>
                  <a:pt x="12082" y="7064"/>
                </a:lnTo>
                <a:lnTo>
                  <a:pt x="12080" y="7062"/>
                </a:lnTo>
                <a:lnTo>
                  <a:pt x="12076" y="7060"/>
                </a:lnTo>
                <a:lnTo>
                  <a:pt x="12074" y="7054"/>
                </a:lnTo>
                <a:lnTo>
                  <a:pt x="12072" y="7054"/>
                </a:lnTo>
                <a:lnTo>
                  <a:pt x="12070" y="7052"/>
                </a:lnTo>
                <a:lnTo>
                  <a:pt x="12066" y="7056"/>
                </a:lnTo>
                <a:lnTo>
                  <a:pt x="12062" y="7062"/>
                </a:lnTo>
                <a:lnTo>
                  <a:pt x="12064" y="7064"/>
                </a:lnTo>
                <a:lnTo>
                  <a:pt x="12068" y="7066"/>
                </a:lnTo>
                <a:lnTo>
                  <a:pt x="12068" y="7068"/>
                </a:lnTo>
                <a:lnTo>
                  <a:pt x="12072" y="7076"/>
                </a:lnTo>
                <a:lnTo>
                  <a:pt x="12072" y="7080"/>
                </a:lnTo>
                <a:lnTo>
                  <a:pt x="12076" y="7082"/>
                </a:lnTo>
                <a:lnTo>
                  <a:pt x="12080" y="7082"/>
                </a:lnTo>
                <a:lnTo>
                  <a:pt x="12084" y="7080"/>
                </a:lnTo>
                <a:lnTo>
                  <a:pt x="12086" y="7078"/>
                </a:lnTo>
                <a:lnTo>
                  <a:pt x="12084" y="7076"/>
                </a:lnTo>
                <a:lnTo>
                  <a:pt x="12082" y="7074"/>
                </a:lnTo>
                <a:lnTo>
                  <a:pt x="12082" y="7072"/>
                </a:lnTo>
                <a:lnTo>
                  <a:pt x="12084" y="7068"/>
                </a:lnTo>
                <a:lnTo>
                  <a:pt x="12086" y="7066"/>
                </a:lnTo>
                <a:lnTo>
                  <a:pt x="12082" y="7064"/>
                </a:lnTo>
                <a:close/>
                <a:moveTo>
                  <a:pt x="11654" y="6830"/>
                </a:moveTo>
                <a:lnTo>
                  <a:pt x="11654" y="6830"/>
                </a:lnTo>
                <a:lnTo>
                  <a:pt x="11650" y="6828"/>
                </a:lnTo>
                <a:lnTo>
                  <a:pt x="11644" y="6828"/>
                </a:lnTo>
                <a:lnTo>
                  <a:pt x="11636" y="6828"/>
                </a:lnTo>
                <a:lnTo>
                  <a:pt x="11628" y="6830"/>
                </a:lnTo>
                <a:lnTo>
                  <a:pt x="11622" y="6834"/>
                </a:lnTo>
                <a:lnTo>
                  <a:pt x="11616" y="6838"/>
                </a:lnTo>
                <a:lnTo>
                  <a:pt x="11612" y="6842"/>
                </a:lnTo>
                <a:lnTo>
                  <a:pt x="11610" y="6848"/>
                </a:lnTo>
                <a:lnTo>
                  <a:pt x="11614" y="6850"/>
                </a:lnTo>
                <a:lnTo>
                  <a:pt x="11618" y="6852"/>
                </a:lnTo>
                <a:lnTo>
                  <a:pt x="11630" y="6852"/>
                </a:lnTo>
                <a:lnTo>
                  <a:pt x="11644" y="6852"/>
                </a:lnTo>
                <a:lnTo>
                  <a:pt x="11652" y="6850"/>
                </a:lnTo>
                <a:lnTo>
                  <a:pt x="11660" y="6848"/>
                </a:lnTo>
                <a:lnTo>
                  <a:pt x="11668" y="6846"/>
                </a:lnTo>
                <a:lnTo>
                  <a:pt x="11674" y="6846"/>
                </a:lnTo>
                <a:lnTo>
                  <a:pt x="11674" y="6844"/>
                </a:lnTo>
                <a:lnTo>
                  <a:pt x="11674" y="6840"/>
                </a:lnTo>
                <a:lnTo>
                  <a:pt x="11670" y="6838"/>
                </a:lnTo>
                <a:lnTo>
                  <a:pt x="11666" y="6838"/>
                </a:lnTo>
                <a:lnTo>
                  <a:pt x="11660" y="6836"/>
                </a:lnTo>
                <a:lnTo>
                  <a:pt x="11654" y="6830"/>
                </a:lnTo>
                <a:close/>
                <a:moveTo>
                  <a:pt x="12084" y="7156"/>
                </a:moveTo>
                <a:lnTo>
                  <a:pt x="12084" y="7156"/>
                </a:lnTo>
                <a:lnTo>
                  <a:pt x="12086" y="7146"/>
                </a:lnTo>
                <a:lnTo>
                  <a:pt x="12086" y="7136"/>
                </a:lnTo>
                <a:lnTo>
                  <a:pt x="12084" y="7128"/>
                </a:lnTo>
                <a:lnTo>
                  <a:pt x="12082" y="7120"/>
                </a:lnTo>
                <a:lnTo>
                  <a:pt x="12078" y="7114"/>
                </a:lnTo>
                <a:lnTo>
                  <a:pt x="12076" y="7112"/>
                </a:lnTo>
                <a:lnTo>
                  <a:pt x="12074" y="7112"/>
                </a:lnTo>
                <a:lnTo>
                  <a:pt x="12072" y="7114"/>
                </a:lnTo>
                <a:lnTo>
                  <a:pt x="12070" y="7116"/>
                </a:lnTo>
                <a:lnTo>
                  <a:pt x="12068" y="7118"/>
                </a:lnTo>
                <a:lnTo>
                  <a:pt x="12064" y="7116"/>
                </a:lnTo>
                <a:lnTo>
                  <a:pt x="12058" y="7116"/>
                </a:lnTo>
                <a:lnTo>
                  <a:pt x="12056" y="7116"/>
                </a:lnTo>
                <a:lnTo>
                  <a:pt x="12054" y="7120"/>
                </a:lnTo>
                <a:lnTo>
                  <a:pt x="12050" y="7122"/>
                </a:lnTo>
                <a:lnTo>
                  <a:pt x="12048" y="7122"/>
                </a:lnTo>
                <a:lnTo>
                  <a:pt x="12040" y="7122"/>
                </a:lnTo>
                <a:lnTo>
                  <a:pt x="12022" y="7128"/>
                </a:lnTo>
                <a:lnTo>
                  <a:pt x="12010" y="7132"/>
                </a:lnTo>
                <a:lnTo>
                  <a:pt x="12002" y="7132"/>
                </a:lnTo>
                <a:lnTo>
                  <a:pt x="11996" y="7130"/>
                </a:lnTo>
                <a:lnTo>
                  <a:pt x="11990" y="7128"/>
                </a:lnTo>
                <a:lnTo>
                  <a:pt x="11980" y="7120"/>
                </a:lnTo>
                <a:lnTo>
                  <a:pt x="11974" y="7116"/>
                </a:lnTo>
                <a:lnTo>
                  <a:pt x="11966" y="7114"/>
                </a:lnTo>
                <a:lnTo>
                  <a:pt x="11958" y="7114"/>
                </a:lnTo>
                <a:lnTo>
                  <a:pt x="11952" y="7110"/>
                </a:lnTo>
                <a:lnTo>
                  <a:pt x="11944" y="7104"/>
                </a:lnTo>
                <a:lnTo>
                  <a:pt x="11942" y="7104"/>
                </a:lnTo>
                <a:lnTo>
                  <a:pt x="11940" y="7104"/>
                </a:lnTo>
                <a:lnTo>
                  <a:pt x="11936" y="7118"/>
                </a:lnTo>
                <a:lnTo>
                  <a:pt x="11936" y="7126"/>
                </a:lnTo>
                <a:lnTo>
                  <a:pt x="11938" y="7134"/>
                </a:lnTo>
                <a:lnTo>
                  <a:pt x="11946" y="7158"/>
                </a:lnTo>
                <a:lnTo>
                  <a:pt x="11950" y="7168"/>
                </a:lnTo>
                <a:lnTo>
                  <a:pt x="11954" y="7172"/>
                </a:lnTo>
                <a:lnTo>
                  <a:pt x="11958" y="7176"/>
                </a:lnTo>
                <a:lnTo>
                  <a:pt x="11958" y="7184"/>
                </a:lnTo>
                <a:lnTo>
                  <a:pt x="11960" y="7198"/>
                </a:lnTo>
                <a:lnTo>
                  <a:pt x="11962" y="7212"/>
                </a:lnTo>
                <a:lnTo>
                  <a:pt x="11966" y="7226"/>
                </a:lnTo>
                <a:lnTo>
                  <a:pt x="11970" y="7232"/>
                </a:lnTo>
                <a:lnTo>
                  <a:pt x="11976" y="7236"/>
                </a:lnTo>
                <a:lnTo>
                  <a:pt x="11980" y="7240"/>
                </a:lnTo>
                <a:lnTo>
                  <a:pt x="11984" y="7246"/>
                </a:lnTo>
                <a:lnTo>
                  <a:pt x="11988" y="7256"/>
                </a:lnTo>
                <a:lnTo>
                  <a:pt x="11992" y="7264"/>
                </a:lnTo>
                <a:lnTo>
                  <a:pt x="11996" y="7266"/>
                </a:lnTo>
                <a:lnTo>
                  <a:pt x="11998" y="7266"/>
                </a:lnTo>
                <a:lnTo>
                  <a:pt x="12004" y="7264"/>
                </a:lnTo>
                <a:lnTo>
                  <a:pt x="12008" y="7266"/>
                </a:lnTo>
                <a:lnTo>
                  <a:pt x="12022" y="7270"/>
                </a:lnTo>
                <a:lnTo>
                  <a:pt x="12026" y="7270"/>
                </a:lnTo>
                <a:lnTo>
                  <a:pt x="12028" y="7270"/>
                </a:lnTo>
                <a:lnTo>
                  <a:pt x="12030" y="7264"/>
                </a:lnTo>
                <a:lnTo>
                  <a:pt x="12032" y="7258"/>
                </a:lnTo>
                <a:lnTo>
                  <a:pt x="12038" y="7254"/>
                </a:lnTo>
                <a:lnTo>
                  <a:pt x="12040" y="7250"/>
                </a:lnTo>
                <a:lnTo>
                  <a:pt x="12042" y="7246"/>
                </a:lnTo>
                <a:lnTo>
                  <a:pt x="12046" y="7238"/>
                </a:lnTo>
                <a:lnTo>
                  <a:pt x="12046" y="7234"/>
                </a:lnTo>
                <a:lnTo>
                  <a:pt x="12048" y="7232"/>
                </a:lnTo>
                <a:lnTo>
                  <a:pt x="12050" y="7234"/>
                </a:lnTo>
                <a:lnTo>
                  <a:pt x="12050" y="7236"/>
                </a:lnTo>
                <a:lnTo>
                  <a:pt x="12052" y="7238"/>
                </a:lnTo>
                <a:lnTo>
                  <a:pt x="12054" y="7234"/>
                </a:lnTo>
                <a:lnTo>
                  <a:pt x="12056" y="7228"/>
                </a:lnTo>
                <a:lnTo>
                  <a:pt x="12060" y="7228"/>
                </a:lnTo>
                <a:lnTo>
                  <a:pt x="12062" y="7230"/>
                </a:lnTo>
                <a:lnTo>
                  <a:pt x="12064" y="7234"/>
                </a:lnTo>
                <a:lnTo>
                  <a:pt x="12064" y="7236"/>
                </a:lnTo>
                <a:lnTo>
                  <a:pt x="12062" y="7236"/>
                </a:lnTo>
                <a:lnTo>
                  <a:pt x="12058" y="7238"/>
                </a:lnTo>
                <a:lnTo>
                  <a:pt x="12058" y="7240"/>
                </a:lnTo>
                <a:lnTo>
                  <a:pt x="12060" y="7246"/>
                </a:lnTo>
                <a:lnTo>
                  <a:pt x="12068" y="7248"/>
                </a:lnTo>
                <a:lnTo>
                  <a:pt x="12072" y="7248"/>
                </a:lnTo>
                <a:lnTo>
                  <a:pt x="12074" y="7244"/>
                </a:lnTo>
                <a:lnTo>
                  <a:pt x="12072" y="7232"/>
                </a:lnTo>
                <a:lnTo>
                  <a:pt x="12070" y="7218"/>
                </a:lnTo>
                <a:lnTo>
                  <a:pt x="12070" y="7214"/>
                </a:lnTo>
                <a:lnTo>
                  <a:pt x="12072" y="7210"/>
                </a:lnTo>
                <a:lnTo>
                  <a:pt x="12074" y="7208"/>
                </a:lnTo>
                <a:lnTo>
                  <a:pt x="12074" y="7204"/>
                </a:lnTo>
                <a:lnTo>
                  <a:pt x="12074" y="7198"/>
                </a:lnTo>
                <a:lnTo>
                  <a:pt x="12072" y="7192"/>
                </a:lnTo>
                <a:lnTo>
                  <a:pt x="12072" y="7188"/>
                </a:lnTo>
                <a:lnTo>
                  <a:pt x="12076" y="7186"/>
                </a:lnTo>
                <a:lnTo>
                  <a:pt x="12078" y="7184"/>
                </a:lnTo>
                <a:lnTo>
                  <a:pt x="12080" y="7184"/>
                </a:lnTo>
                <a:lnTo>
                  <a:pt x="12082" y="7190"/>
                </a:lnTo>
                <a:lnTo>
                  <a:pt x="12082" y="7194"/>
                </a:lnTo>
                <a:lnTo>
                  <a:pt x="12084" y="7194"/>
                </a:lnTo>
                <a:lnTo>
                  <a:pt x="12086" y="7192"/>
                </a:lnTo>
                <a:lnTo>
                  <a:pt x="12086" y="7188"/>
                </a:lnTo>
                <a:lnTo>
                  <a:pt x="12086" y="7186"/>
                </a:lnTo>
                <a:lnTo>
                  <a:pt x="12084" y="7180"/>
                </a:lnTo>
                <a:lnTo>
                  <a:pt x="12082" y="7170"/>
                </a:lnTo>
                <a:lnTo>
                  <a:pt x="12082" y="7164"/>
                </a:lnTo>
                <a:lnTo>
                  <a:pt x="12084" y="7156"/>
                </a:lnTo>
                <a:close/>
                <a:moveTo>
                  <a:pt x="12280" y="6382"/>
                </a:moveTo>
                <a:lnTo>
                  <a:pt x="12280" y="6382"/>
                </a:lnTo>
                <a:lnTo>
                  <a:pt x="12284" y="6378"/>
                </a:lnTo>
                <a:lnTo>
                  <a:pt x="12284" y="6372"/>
                </a:lnTo>
                <a:lnTo>
                  <a:pt x="12282" y="6364"/>
                </a:lnTo>
                <a:lnTo>
                  <a:pt x="12280" y="6352"/>
                </a:lnTo>
                <a:lnTo>
                  <a:pt x="12280" y="6344"/>
                </a:lnTo>
                <a:lnTo>
                  <a:pt x="12280" y="6334"/>
                </a:lnTo>
                <a:lnTo>
                  <a:pt x="12280" y="6318"/>
                </a:lnTo>
                <a:lnTo>
                  <a:pt x="12278" y="6316"/>
                </a:lnTo>
                <a:lnTo>
                  <a:pt x="12276" y="6314"/>
                </a:lnTo>
                <a:lnTo>
                  <a:pt x="12274" y="6312"/>
                </a:lnTo>
                <a:lnTo>
                  <a:pt x="12272" y="6310"/>
                </a:lnTo>
                <a:lnTo>
                  <a:pt x="12268" y="6304"/>
                </a:lnTo>
                <a:lnTo>
                  <a:pt x="12266" y="6296"/>
                </a:lnTo>
                <a:lnTo>
                  <a:pt x="12264" y="6284"/>
                </a:lnTo>
                <a:lnTo>
                  <a:pt x="12260" y="6276"/>
                </a:lnTo>
                <a:lnTo>
                  <a:pt x="12252" y="6264"/>
                </a:lnTo>
                <a:lnTo>
                  <a:pt x="12242" y="6252"/>
                </a:lnTo>
                <a:lnTo>
                  <a:pt x="12230" y="6236"/>
                </a:lnTo>
                <a:lnTo>
                  <a:pt x="12222" y="6224"/>
                </a:lnTo>
                <a:lnTo>
                  <a:pt x="12218" y="6222"/>
                </a:lnTo>
                <a:lnTo>
                  <a:pt x="12216" y="6222"/>
                </a:lnTo>
                <a:lnTo>
                  <a:pt x="12214" y="6220"/>
                </a:lnTo>
                <a:lnTo>
                  <a:pt x="12210" y="6218"/>
                </a:lnTo>
                <a:lnTo>
                  <a:pt x="12204" y="6214"/>
                </a:lnTo>
                <a:lnTo>
                  <a:pt x="12196" y="6206"/>
                </a:lnTo>
                <a:lnTo>
                  <a:pt x="12190" y="6194"/>
                </a:lnTo>
                <a:lnTo>
                  <a:pt x="12186" y="6184"/>
                </a:lnTo>
                <a:lnTo>
                  <a:pt x="12184" y="6174"/>
                </a:lnTo>
                <a:lnTo>
                  <a:pt x="12184" y="6166"/>
                </a:lnTo>
                <a:lnTo>
                  <a:pt x="12184" y="6150"/>
                </a:lnTo>
                <a:lnTo>
                  <a:pt x="12184" y="6144"/>
                </a:lnTo>
                <a:lnTo>
                  <a:pt x="12182" y="6138"/>
                </a:lnTo>
                <a:lnTo>
                  <a:pt x="12178" y="6136"/>
                </a:lnTo>
                <a:lnTo>
                  <a:pt x="12176" y="6136"/>
                </a:lnTo>
                <a:lnTo>
                  <a:pt x="12172" y="6140"/>
                </a:lnTo>
                <a:lnTo>
                  <a:pt x="12172" y="6142"/>
                </a:lnTo>
                <a:lnTo>
                  <a:pt x="12170" y="6144"/>
                </a:lnTo>
                <a:lnTo>
                  <a:pt x="12166" y="6140"/>
                </a:lnTo>
                <a:lnTo>
                  <a:pt x="12160" y="6134"/>
                </a:lnTo>
                <a:lnTo>
                  <a:pt x="12154" y="6130"/>
                </a:lnTo>
                <a:lnTo>
                  <a:pt x="12152" y="6128"/>
                </a:lnTo>
                <a:lnTo>
                  <a:pt x="12150" y="6132"/>
                </a:lnTo>
                <a:lnTo>
                  <a:pt x="12150" y="6136"/>
                </a:lnTo>
                <a:lnTo>
                  <a:pt x="12150" y="6142"/>
                </a:lnTo>
                <a:lnTo>
                  <a:pt x="12148" y="6144"/>
                </a:lnTo>
                <a:lnTo>
                  <a:pt x="12146" y="6144"/>
                </a:lnTo>
                <a:lnTo>
                  <a:pt x="12140" y="6140"/>
                </a:lnTo>
                <a:lnTo>
                  <a:pt x="12134" y="6132"/>
                </a:lnTo>
                <a:lnTo>
                  <a:pt x="12132" y="6126"/>
                </a:lnTo>
                <a:lnTo>
                  <a:pt x="12132" y="6120"/>
                </a:lnTo>
                <a:lnTo>
                  <a:pt x="12132" y="6114"/>
                </a:lnTo>
                <a:lnTo>
                  <a:pt x="12134" y="6104"/>
                </a:lnTo>
                <a:lnTo>
                  <a:pt x="12134" y="6100"/>
                </a:lnTo>
                <a:lnTo>
                  <a:pt x="12132" y="6092"/>
                </a:lnTo>
                <a:lnTo>
                  <a:pt x="12128" y="6086"/>
                </a:lnTo>
                <a:lnTo>
                  <a:pt x="12122" y="6078"/>
                </a:lnTo>
                <a:lnTo>
                  <a:pt x="12110" y="6062"/>
                </a:lnTo>
                <a:lnTo>
                  <a:pt x="12100" y="6050"/>
                </a:lnTo>
                <a:lnTo>
                  <a:pt x="12100" y="6048"/>
                </a:lnTo>
                <a:lnTo>
                  <a:pt x="12102" y="6046"/>
                </a:lnTo>
                <a:lnTo>
                  <a:pt x="12106" y="6046"/>
                </a:lnTo>
                <a:lnTo>
                  <a:pt x="12110" y="6044"/>
                </a:lnTo>
                <a:lnTo>
                  <a:pt x="12110" y="6042"/>
                </a:lnTo>
                <a:lnTo>
                  <a:pt x="12110" y="6038"/>
                </a:lnTo>
                <a:lnTo>
                  <a:pt x="12106" y="6034"/>
                </a:lnTo>
                <a:lnTo>
                  <a:pt x="12100" y="6028"/>
                </a:lnTo>
                <a:lnTo>
                  <a:pt x="12092" y="6022"/>
                </a:lnTo>
                <a:lnTo>
                  <a:pt x="12080" y="6018"/>
                </a:lnTo>
                <a:lnTo>
                  <a:pt x="12070" y="6012"/>
                </a:lnTo>
                <a:lnTo>
                  <a:pt x="12062" y="6008"/>
                </a:lnTo>
                <a:lnTo>
                  <a:pt x="12058" y="6004"/>
                </a:lnTo>
                <a:lnTo>
                  <a:pt x="12056" y="6000"/>
                </a:lnTo>
                <a:lnTo>
                  <a:pt x="12054" y="5996"/>
                </a:lnTo>
                <a:lnTo>
                  <a:pt x="12050" y="5992"/>
                </a:lnTo>
                <a:lnTo>
                  <a:pt x="12044" y="5988"/>
                </a:lnTo>
                <a:lnTo>
                  <a:pt x="12034" y="5986"/>
                </a:lnTo>
                <a:lnTo>
                  <a:pt x="12024" y="5982"/>
                </a:lnTo>
                <a:lnTo>
                  <a:pt x="12016" y="5978"/>
                </a:lnTo>
                <a:lnTo>
                  <a:pt x="12012" y="5972"/>
                </a:lnTo>
                <a:lnTo>
                  <a:pt x="12008" y="5968"/>
                </a:lnTo>
                <a:lnTo>
                  <a:pt x="12004" y="5954"/>
                </a:lnTo>
                <a:lnTo>
                  <a:pt x="12002" y="5948"/>
                </a:lnTo>
                <a:lnTo>
                  <a:pt x="11998" y="5942"/>
                </a:lnTo>
                <a:lnTo>
                  <a:pt x="11996" y="5934"/>
                </a:lnTo>
                <a:lnTo>
                  <a:pt x="11994" y="5926"/>
                </a:lnTo>
                <a:lnTo>
                  <a:pt x="11994" y="5904"/>
                </a:lnTo>
                <a:lnTo>
                  <a:pt x="11992" y="5892"/>
                </a:lnTo>
                <a:lnTo>
                  <a:pt x="11990" y="5880"/>
                </a:lnTo>
                <a:lnTo>
                  <a:pt x="11986" y="5868"/>
                </a:lnTo>
                <a:lnTo>
                  <a:pt x="11978" y="5856"/>
                </a:lnTo>
                <a:lnTo>
                  <a:pt x="11974" y="5852"/>
                </a:lnTo>
                <a:lnTo>
                  <a:pt x="11972" y="5846"/>
                </a:lnTo>
                <a:lnTo>
                  <a:pt x="11968" y="5832"/>
                </a:lnTo>
                <a:lnTo>
                  <a:pt x="11968" y="5818"/>
                </a:lnTo>
                <a:lnTo>
                  <a:pt x="11968" y="5804"/>
                </a:lnTo>
                <a:lnTo>
                  <a:pt x="11966" y="5790"/>
                </a:lnTo>
                <a:lnTo>
                  <a:pt x="11964" y="5776"/>
                </a:lnTo>
                <a:lnTo>
                  <a:pt x="11960" y="5766"/>
                </a:lnTo>
                <a:lnTo>
                  <a:pt x="11958" y="5760"/>
                </a:lnTo>
                <a:lnTo>
                  <a:pt x="11952" y="5758"/>
                </a:lnTo>
                <a:lnTo>
                  <a:pt x="11944" y="5750"/>
                </a:lnTo>
                <a:lnTo>
                  <a:pt x="11938" y="5744"/>
                </a:lnTo>
                <a:lnTo>
                  <a:pt x="11932" y="5732"/>
                </a:lnTo>
                <a:lnTo>
                  <a:pt x="11930" y="5728"/>
                </a:lnTo>
                <a:lnTo>
                  <a:pt x="11928" y="5728"/>
                </a:lnTo>
                <a:lnTo>
                  <a:pt x="11924" y="5730"/>
                </a:lnTo>
                <a:lnTo>
                  <a:pt x="11920" y="5736"/>
                </a:lnTo>
                <a:lnTo>
                  <a:pt x="11914" y="5742"/>
                </a:lnTo>
                <a:lnTo>
                  <a:pt x="11910" y="5744"/>
                </a:lnTo>
                <a:lnTo>
                  <a:pt x="11906" y="5740"/>
                </a:lnTo>
                <a:lnTo>
                  <a:pt x="11902" y="5736"/>
                </a:lnTo>
                <a:lnTo>
                  <a:pt x="11898" y="5728"/>
                </a:lnTo>
                <a:lnTo>
                  <a:pt x="11896" y="5720"/>
                </a:lnTo>
                <a:lnTo>
                  <a:pt x="11894" y="5704"/>
                </a:lnTo>
                <a:lnTo>
                  <a:pt x="11894" y="5690"/>
                </a:lnTo>
                <a:lnTo>
                  <a:pt x="11894" y="5674"/>
                </a:lnTo>
                <a:lnTo>
                  <a:pt x="11890" y="5660"/>
                </a:lnTo>
                <a:lnTo>
                  <a:pt x="11886" y="5652"/>
                </a:lnTo>
                <a:lnTo>
                  <a:pt x="11882" y="5646"/>
                </a:lnTo>
                <a:lnTo>
                  <a:pt x="11878" y="5640"/>
                </a:lnTo>
                <a:lnTo>
                  <a:pt x="11876" y="5636"/>
                </a:lnTo>
                <a:lnTo>
                  <a:pt x="11878" y="5628"/>
                </a:lnTo>
                <a:lnTo>
                  <a:pt x="11878" y="5622"/>
                </a:lnTo>
                <a:lnTo>
                  <a:pt x="11878" y="5620"/>
                </a:lnTo>
                <a:lnTo>
                  <a:pt x="11874" y="5618"/>
                </a:lnTo>
                <a:lnTo>
                  <a:pt x="11870" y="5616"/>
                </a:lnTo>
                <a:lnTo>
                  <a:pt x="11868" y="5612"/>
                </a:lnTo>
                <a:lnTo>
                  <a:pt x="11864" y="5602"/>
                </a:lnTo>
                <a:lnTo>
                  <a:pt x="11862" y="5588"/>
                </a:lnTo>
                <a:lnTo>
                  <a:pt x="11860" y="5572"/>
                </a:lnTo>
                <a:lnTo>
                  <a:pt x="11858" y="5566"/>
                </a:lnTo>
                <a:lnTo>
                  <a:pt x="11854" y="5562"/>
                </a:lnTo>
                <a:lnTo>
                  <a:pt x="11850" y="5560"/>
                </a:lnTo>
                <a:lnTo>
                  <a:pt x="11846" y="5560"/>
                </a:lnTo>
                <a:lnTo>
                  <a:pt x="11842" y="5562"/>
                </a:lnTo>
                <a:lnTo>
                  <a:pt x="11840" y="5566"/>
                </a:lnTo>
                <a:lnTo>
                  <a:pt x="11838" y="5570"/>
                </a:lnTo>
                <a:lnTo>
                  <a:pt x="11836" y="5578"/>
                </a:lnTo>
                <a:lnTo>
                  <a:pt x="11834" y="5592"/>
                </a:lnTo>
                <a:lnTo>
                  <a:pt x="11832" y="5602"/>
                </a:lnTo>
                <a:lnTo>
                  <a:pt x="11820" y="5632"/>
                </a:lnTo>
                <a:lnTo>
                  <a:pt x="11816" y="5642"/>
                </a:lnTo>
                <a:lnTo>
                  <a:pt x="11816" y="5648"/>
                </a:lnTo>
                <a:lnTo>
                  <a:pt x="11818" y="5650"/>
                </a:lnTo>
                <a:lnTo>
                  <a:pt x="11820" y="5652"/>
                </a:lnTo>
                <a:lnTo>
                  <a:pt x="11824" y="5654"/>
                </a:lnTo>
                <a:lnTo>
                  <a:pt x="11822" y="5656"/>
                </a:lnTo>
                <a:lnTo>
                  <a:pt x="11820" y="5660"/>
                </a:lnTo>
                <a:lnTo>
                  <a:pt x="11814" y="5668"/>
                </a:lnTo>
                <a:lnTo>
                  <a:pt x="11814" y="5676"/>
                </a:lnTo>
                <a:lnTo>
                  <a:pt x="11814" y="5684"/>
                </a:lnTo>
                <a:lnTo>
                  <a:pt x="11810" y="5698"/>
                </a:lnTo>
                <a:lnTo>
                  <a:pt x="11808" y="5706"/>
                </a:lnTo>
                <a:lnTo>
                  <a:pt x="11808" y="5716"/>
                </a:lnTo>
                <a:lnTo>
                  <a:pt x="11810" y="5738"/>
                </a:lnTo>
                <a:lnTo>
                  <a:pt x="11814" y="5762"/>
                </a:lnTo>
                <a:lnTo>
                  <a:pt x="11814" y="5776"/>
                </a:lnTo>
                <a:lnTo>
                  <a:pt x="11812" y="5788"/>
                </a:lnTo>
                <a:lnTo>
                  <a:pt x="11808" y="5808"/>
                </a:lnTo>
                <a:lnTo>
                  <a:pt x="11806" y="5820"/>
                </a:lnTo>
                <a:lnTo>
                  <a:pt x="11806" y="5830"/>
                </a:lnTo>
                <a:lnTo>
                  <a:pt x="11800" y="5844"/>
                </a:lnTo>
                <a:lnTo>
                  <a:pt x="11794" y="5856"/>
                </a:lnTo>
                <a:lnTo>
                  <a:pt x="11790" y="5864"/>
                </a:lnTo>
                <a:lnTo>
                  <a:pt x="11788" y="5878"/>
                </a:lnTo>
                <a:lnTo>
                  <a:pt x="11784" y="5890"/>
                </a:lnTo>
                <a:lnTo>
                  <a:pt x="11780" y="5896"/>
                </a:lnTo>
                <a:lnTo>
                  <a:pt x="11774" y="5902"/>
                </a:lnTo>
                <a:lnTo>
                  <a:pt x="11766" y="5906"/>
                </a:lnTo>
                <a:lnTo>
                  <a:pt x="11758" y="5906"/>
                </a:lnTo>
                <a:lnTo>
                  <a:pt x="11748" y="5904"/>
                </a:lnTo>
                <a:lnTo>
                  <a:pt x="11738" y="5900"/>
                </a:lnTo>
                <a:lnTo>
                  <a:pt x="11730" y="5894"/>
                </a:lnTo>
                <a:lnTo>
                  <a:pt x="11722" y="5888"/>
                </a:lnTo>
                <a:lnTo>
                  <a:pt x="11716" y="5880"/>
                </a:lnTo>
                <a:lnTo>
                  <a:pt x="11714" y="5876"/>
                </a:lnTo>
                <a:lnTo>
                  <a:pt x="11710" y="5870"/>
                </a:lnTo>
                <a:lnTo>
                  <a:pt x="11708" y="5866"/>
                </a:lnTo>
                <a:lnTo>
                  <a:pt x="11698" y="5862"/>
                </a:lnTo>
                <a:lnTo>
                  <a:pt x="11692" y="5862"/>
                </a:lnTo>
                <a:lnTo>
                  <a:pt x="11684" y="5858"/>
                </a:lnTo>
                <a:lnTo>
                  <a:pt x="11674" y="5850"/>
                </a:lnTo>
                <a:lnTo>
                  <a:pt x="11662" y="5840"/>
                </a:lnTo>
                <a:lnTo>
                  <a:pt x="11648" y="5828"/>
                </a:lnTo>
                <a:lnTo>
                  <a:pt x="11640" y="5822"/>
                </a:lnTo>
                <a:lnTo>
                  <a:pt x="11632" y="5818"/>
                </a:lnTo>
                <a:lnTo>
                  <a:pt x="11626" y="5816"/>
                </a:lnTo>
                <a:lnTo>
                  <a:pt x="11618" y="5814"/>
                </a:lnTo>
                <a:lnTo>
                  <a:pt x="11612" y="5812"/>
                </a:lnTo>
                <a:lnTo>
                  <a:pt x="11604" y="5804"/>
                </a:lnTo>
                <a:lnTo>
                  <a:pt x="11592" y="5792"/>
                </a:lnTo>
                <a:lnTo>
                  <a:pt x="11582" y="5784"/>
                </a:lnTo>
                <a:lnTo>
                  <a:pt x="11570" y="5772"/>
                </a:lnTo>
                <a:lnTo>
                  <a:pt x="11566" y="5766"/>
                </a:lnTo>
                <a:lnTo>
                  <a:pt x="11568" y="5760"/>
                </a:lnTo>
                <a:lnTo>
                  <a:pt x="11572" y="5752"/>
                </a:lnTo>
                <a:lnTo>
                  <a:pt x="11578" y="5738"/>
                </a:lnTo>
                <a:lnTo>
                  <a:pt x="11586" y="5724"/>
                </a:lnTo>
                <a:lnTo>
                  <a:pt x="11590" y="5714"/>
                </a:lnTo>
                <a:lnTo>
                  <a:pt x="11590" y="5710"/>
                </a:lnTo>
                <a:lnTo>
                  <a:pt x="11588" y="5708"/>
                </a:lnTo>
                <a:lnTo>
                  <a:pt x="11586" y="5708"/>
                </a:lnTo>
                <a:lnTo>
                  <a:pt x="11584" y="5706"/>
                </a:lnTo>
                <a:lnTo>
                  <a:pt x="11584" y="5702"/>
                </a:lnTo>
                <a:lnTo>
                  <a:pt x="11588" y="5692"/>
                </a:lnTo>
                <a:lnTo>
                  <a:pt x="11594" y="5682"/>
                </a:lnTo>
                <a:lnTo>
                  <a:pt x="11598" y="5680"/>
                </a:lnTo>
                <a:lnTo>
                  <a:pt x="11602" y="5682"/>
                </a:lnTo>
                <a:lnTo>
                  <a:pt x="11604" y="5684"/>
                </a:lnTo>
                <a:lnTo>
                  <a:pt x="11606" y="5688"/>
                </a:lnTo>
                <a:lnTo>
                  <a:pt x="11608" y="5690"/>
                </a:lnTo>
                <a:lnTo>
                  <a:pt x="11608" y="5686"/>
                </a:lnTo>
                <a:lnTo>
                  <a:pt x="11610" y="5676"/>
                </a:lnTo>
                <a:lnTo>
                  <a:pt x="11612" y="5664"/>
                </a:lnTo>
                <a:lnTo>
                  <a:pt x="11616" y="5656"/>
                </a:lnTo>
                <a:lnTo>
                  <a:pt x="11620" y="5650"/>
                </a:lnTo>
                <a:lnTo>
                  <a:pt x="11626" y="5646"/>
                </a:lnTo>
                <a:lnTo>
                  <a:pt x="11630" y="5644"/>
                </a:lnTo>
                <a:lnTo>
                  <a:pt x="11630" y="5640"/>
                </a:lnTo>
                <a:lnTo>
                  <a:pt x="11630" y="5638"/>
                </a:lnTo>
                <a:lnTo>
                  <a:pt x="11626" y="5634"/>
                </a:lnTo>
                <a:lnTo>
                  <a:pt x="11620" y="5630"/>
                </a:lnTo>
                <a:lnTo>
                  <a:pt x="11616" y="5626"/>
                </a:lnTo>
                <a:lnTo>
                  <a:pt x="11614" y="5620"/>
                </a:lnTo>
                <a:lnTo>
                  <a:pt x="11612" y="5618"/>
                </a:lnTo>
                <a:lnTo>
                  <a:pt x="11610" y="5616"/>
                </a:lnTo>
                <a:lnTo>
                  <a:pt x="11604" y="5620"/>
                </a:lnTo>
                <a:lnTo>
                  <a:pt x="11600" y="5624"/>
                </a:lnTo>
                <a:lnTo>
                  <a:pt x="11598" y="5628"/>
                </a:lnTo>
                <a:lnTo>
                  <a:pt x="11598" y="5632"/>
                </a:lnTo>
                <a:lnTo>
                  <a:pt x="11600" y="5636"/>
                </a:lnTo>
                <a:lnTo>
                  <a:pt x="11598" y="5640"/>
                </a:lnTo>
                <a:lnTo>
                  <a:pt x="11596" y="5642"/>
                </a:lnTo>
                <a:lnTo>
                  <a:pt x="11592" y="5644"/>
                </a:lnTo>
                <a:lnTo>
                  <a:pt x="11590" y="5642"/>
                </a:lnTo>
                <a:lnTo>
                  <a:pt x="11588" y="5638"/>
                </a:lnTo>
                <a:lnTo>
                  <a:pt x="11588" y="5632"/>
                </a:lnTo>
                <a:lnTo>
                  <a:pt x="11588" y="5630"/>
                </a:lnTo>
                <a:lnTo>
                  <a:pt x="11586" y="5628"/>
                </a:lnTo>
                <a:lnTo>
                  <a:pt x="11584" y="5628"/>
                </a:lnTo>
                <a:lnTo>
                  <a:pt x="11584" y="5624"/>
                </a:lnTo>
                <a:lnTo>
                  <a:pt x="11584" y="5616"/>
                </a:lnTo>
                <a:lnTo>
                  <a:pt x="11584" y="5614"/>
                </a:lnTo>
                <a:lnTo>
                  <a:pt x="11582" y="5614"/>
                </a:lnTo>
                <a:lnTo>
                  <a:pt x="11576" y="5616"/>
                </a:lnTo>
                <a:lnTo>
                  <a:pt x="11568" y="5622"/>
                </a:lnTo>
                <a:lnTo>
                  <a:pt x="11558" y="5630"/>
                </a:lnTo>
                <a:lnTo>
                  <a:pt x="11552" y="5632"/>
                </a:lnTo>
                <a:lnTo>
                  <a:pt x="11548" y="5632"/>
                </a:lnTo>
                <a:lnTo>
                  <a:pt x="11544" y="5630"/>
                </a:lnTo>
                <a:lnTo>
                  <a:pt x="11540" y="5624"/>
                </a:lnTo>
                <a:lnTo>
                  <a:pt x="11536" y="5622"/>
                </a:lnTo>
                <a:lnTo>
                  <a:pt x="11530" y="5624"/>
                </a:lnTo>
                <a:lnTo>
                  <a:pt x="11524" y="5626"/>
                </a:lnTo>
                <a:lnTo>
                  <a:pt x="11518" y="5624"/>
                </a:lnTo>
                <a:lnTo>
                  <a:pt x="11514" y="5622"/>
                </a:lnTo>
                <a:lnTo>
                  <a:pt x="11512" y="5618"/>
                </a:lnTo>
                <a:lnTo>
                  <a:pt x="11506" y="5612"/>
                </a:lnTo>
                <a:lnTo>
                  <a:pt x="11500" y="5610"/>
                </a:lnTo>
                <a:lnTo>
                  <a:pt x="11494" y="5608"/>
                </a:lnTo>
                <a:lnTo>
                  <a:pt x="11484" y="5608"/>
                </a:lnTo>
                <a:lnTo>
                  <a:pt x="11478" y="5606"/>
                </a:lnTo>
                <a:lnTo>
                  <a:pt x="11474" y="5604"/>
                </a:lnTo>
                <a:lnTo>
                  <a:pt x="11472" y="5600"/>
                </a:lnTo>
                <a:lnTo>
                  <a:pt x="11468" y="5594"/>
                </a:lnTo>
                <a:lnTo>
                  <a:pt x="11466" y="5592"/>
                </a:lnTo>
                <a:lnTo>
                  <a:pt x="11462" y="5592"/>
                </a:lnTo>
                <a:lnTo>
                  <a:pt x="11458" y="5594"/>
                </a:lnTo>
                <a:lnTo>
                  <a:pt x="11456" y="5594"/>
                </a:lnTo>
                <a:lnTo>
                  <a:pt x="11452" y="5590"/>
                </a:lnTo>
                <a:lnTo>
                  <a:pt x="11448" y="5586"/>
                </a:lnTo>
                <a:lnTo>
                  <a:pt x="11444" y="5584"/>
                </a:lnTo>
                <a:lnTo>
                  <a:pt x="11438" y="5582"/>
                </a:lnTo>
                <a:lnTo>
                  <a:pt x="11428" y="5582"/>
                </a:lnTo>
                <a:lnTo>
                  <a:pt x="11422" y="5584"/>
                </a:lnTo>
                <a:lnTo>
                  <a:pt x="11420" y="5586"/>
                </a:lnTo>
                <a:lnTo>
                  <a:pt x="11420" y="5588"/>
                </a:lnTo>
                <a:lnTo>
                  <a:pt x="11424" y="5596"/>
                </a:lnTo>
                <a:lnTo>
                  <a:pt x="11428" y="5598"/>
                </a:lnTo>
                <a:lnTo>
                  <a:pt x="11432" y="5600"/>
                </a:lnTo>
                <a:lnTo>
                  <a:pt x="11444" y="5600"/>
                </a:lnTo>
                <a:lnTo>
                  <a:pt x="11448" y="5600"/>
                </a:lnTo>
                <a:lnTo>
                  <a:pt x="11452" y="5604"/>
                </a:lnTo>
                <a:lnTo>
                  <a:pt x="11454" y="5608"/>
                </a:lnTo>
                <a:lnTo>
                  <a:pt x="11452" y="5618"/>
                </a:lnTo>
                <a:lnTo>
                  <a:pt x="11448" y="5634"/>
                </a:lnTo>
                <a:lnTo>
                  <a:pt x="11448" y="5636"/>
                </a:lnTo>
                <a:lnTo>
                  <a:pt x="11446" y="5636"/>
                </a:lnTo>
                <a:lnTo>
                  <a:pt x="11438" y="5634"/>
                </a:lnTo>
                <a:lnTo>
                  <a:pt x="11432" y="5634"/>
                </a:lnTo>
                <a:lnTo>
                  <a:pt x="11422" y="5634"/>
                </a:lnTo>
                <a:lnTo>
                  <a:pt x="11412" y="5636"/>
                </a:lnTo>
                <a:lnTo>
                  <a:pt x="11406" y="5636"/>
                </a:lnTo>
                <a:lnTo>
                  <a:pt x="11400" y="5632"/>
                </a:lnTo>
                <a:lnTo>
                  <a:pt x="11396" y="5632"/>
                </a:lnTo>
                <a:lnTo>
                  <a:pt x="11390" y="5634"/>
                </a:lnTo>
                <a:lnTo>
                  <a:pt x="11370" y="5648"/>
                </a:lnTo>
                <a:lnTo>
                  <a:pt x="11358" y="5658"/>
                </a:lnTo>
                <a:lnTo>
                  <a:pt x="11350" y="5666"/>
                </a:lnTo>
                <a:lnTo>
                  <a:pt x="11348" y="5672"/>
                </a:lnTo>
                <a:lnTo>
                  <a:pt x="11346" y="5678"/>
                </a:lnTo>
                <a:lnTo>
                  <a:pt x="11346" y="5684"/>
                </a:lnTo>
                <a:lnTo>
                  <a:pt x="11344" y="5690"/>
                </a:lnTo>
                <a:lnTo>
                  <a:pt x="11340" y="5700"/>
                </a:lnTo>
                <a:lnTo>
                  <a:pt x="11332" y="5714"/>
                </a:lnTo>
                <a:lnTo>
                  <a:pt x="11324" y="5728"/>
                </a:lnTo>
                <a:lnTo>
                  <a:pt x="11320" y="5738"/>
                </a:lnTo>
                <a:lnTo>
                  <a:pt x="11322" y="5744"/>
                </a:lnTo>
                <a:lnTo>
                  <a:pt x="11324" y="5750"/>
                </a:lnTo>
                <a:lnTo>
                  <a:pt x="11332" y="5756"/>
                </a:lnTo>
                <a:lnTo>
                  <a:pt x="11332" y="5760"/>
                </a:lnTo>
                <a:lnTo>
                  <a:pt x="11328" y="5764"/>
                </a:lnTo>
                <a:lnTo>
                  <a:pt x="11322" y="5768"/>
                </a:lnTo>
                <a:lnTo>
                  <a:pt x="11318" y="5770"/>
                </a:lnTo>
                <a:lnTo>
                  <a:pt x="11314" y="5768"/>
                </a:lnTo>
                <a:lnTo>
                  <a:pt x="11310" y="5766"/>
                </a:lnTo>
                <a:lnTo>
                  <a:pt x="11302" y="5762"/>
                </a:lnTo>
                <a:lnTo>
                  <a:pt x="11296" y="5760"/>
                </a:lnTo>
                <a:lnTo>
                  <a:pt x="11288" y="5760"/>
                </a:lnTo>
                <a:lnTo>
                  <a:pt x="11284" y="5760"/>
                </a:lnTo>
                <a:lnTo>
                  <a:pt x="11278" y="5758"/>
                </a:lnTo>
                <a:lnTo>
                  <a:pt x="11268" y="5750"/>
                </a:lnTo>
                <a:lnTo>
                  <a:pt x="11244" y="5726"/>
                </a:lnTo>
                <a:lnTo>
                  <a:pt x="11232" y="5716"/>
                </a:lnTo>
                <a:lnTo>
                  <a:pt x="11224" y="5708"/>
                </a:lnTo>
                <a:lnTo>
                  <a:pt x="11220" y="5706"/>
                </a:lnTo>
                <a:lnTo>
                  <a:pt x="11218" y="5706"/>
                </a:lnTo>
                <a:lnTo>
                  <a:pt x="11216" y="5710"/>
                </a:lnTo>
                <a:lnTo>
                  <a:pt x="11214" y="5714"/>
                </a:lnTo>
                <a:lnTo>
                  <a:pt x="11214" y="5722"/>
                </a:lnTo>
                <a:lnTo>
                  <a:pt x="11210" y="5724"/>
                </a:lnTo>
                <a:lnTo>
                  <a:pt x="11206" y="5724"/>
                </a:lnTo>
                <a:lnTo>
                  <a:pt x="11202" y="5720"/>
                </a:lnTo>
                <a:lnTo>
                  <a:pt x="11196" y="5718"/>
                </a:lnTo>
                <a:lnTo>
                  <a:pt x="11192" y="5718"/>
                </a:lnTo>
                <a:lnTo>
                  <a:pt x="11188" y="5720"/>
                </a:lnTo>
                <a:lnTo>
                  <a:pt x="11186" y="5730"/>
                </a:lnTo>
                <a:lnTo>
                  <a:pt x="11186" y="5738"/>
                </a:lnTo>
                <a:lnTo>
                  <a:pt x="11184" y="5740"/>
                </a:lnTo>
                <a:lnTo>
                  <a:pt x="11180" y="5740"/>
                </a:lnTo>
                <a:lnTo>
                  <a:pt x="11178" y="5738"/>
                </a:lnTo>
                <a:lnTo>
                  <a:pt x="11174" y="5736"/>
                </a:lnTo>
                <a:lnTo>
                  <a:pt x="11168" y="5738"/>
                </a:lnTo>
                <a:lnTo>
                  <a:pt x="11162" y="5744"/>
                </a:lnTo>
                <a:lnTo>
                  <a:pt x="11154" y="5756"/>
                </a:lnTo>
                <a:lnTo>
                  <a:pt x="11146" y="5772"/>
                </a:lnTo>
                <a:lnTo>
                  <a:pt x="11138" y="5780"/>
                </a:lnTo>
                <a:lnTo>
                  <a:pt x="11128" y="5792"/>
                </a:lnTo>
                <a:lnTo>
                  <a:pt x="11124" y="5796"/>
                </a:lnTo>
                <a:lnTo>
                  <a:pt x="11122" y="5800"/>
                </a:lnTo>
                <a:lnTo>
                  <a:pt x="11120" y="5808"/>
                </a:lnTo>
                <a:lnTo>
                  <a:pt x="11120" y="5820"/>
                </a:lnTo>
                <a:lnTo>
                  <a:pt x="11118" y="5834"/>
                </a:lnTo>
                <a:lnTo>
                  <a:pt x="11116" y="5838"/>
                </a:lnTo>
                <a:lnTo>
                  <a:pt x="11114" y="5838"/>
                </a:lnTo>
                <a:lnTo>
                  <a:pt x="11110" y="5838"/>
                </a:lnTo>
                <a:lnTo>
                  <a:pt x="11104" y="5834"/>
                </a:lnTo>
                <a:lnTo>
                  <a:pt x="11098" y="5832"/>
                </a:lnTo>
                <a:lnTo>
                  <a:pt x="11096" y="5832"/>
                </a:lnTo>
                <a:lnTo>
                  <a:pt x="11094" y="5834"/>
                </a:lnTo>
                <a:lnTo>
                  <a:pt x="11090" y="5838"/>
                </a:lnTo>
                <a:lnTo>
                  <a:pt x="11088" y="5842"/>
                </a:lnTo>
                <a:lnTo>
                  <a:pt x="11086" y="5864"/>
                </a:lnTo>
                <a:lnTo>
                  <a:pt x="11084" y="5878"/>
                </a:lnTo>
                <a:lnTo>
                  <a:pt x="11084" y="5882"/>
                </a:lnTo>
                <a:lnTo>
                  <a:pt x="11078" y="5866"/>
                </a:lnTo>
                <a:lnTo>
                  <a:pt x="11074" y="5856"/>
                </a:lnTo>
                <a:lnTo>
                  <a:pt x="11070" y="5852"/>
                </a:lnTo>
                <a:lnTo>
                  <a:pt x="11066" y="5850"/>
                </a:lnTo>
                <a:lnTo>
                  <a:pt x="11062" y="5848"/>
                </a:lnTo>
                <a:lnTo>
                  <a:pt x="11058" y="5850"/>
                </a:lnTo>
                <a:lnTo>
                  <a:pt x="11052" y="5854"/>
                </a:lnTo>
                <a:lnTo>
                  <a:pt x="11046" y="5862"/>
                </a:lnTo>
                <a:lnTo>
                  <a:pt x="11036" y="5878"/>
                </a:lnTo>
                <a:lnTo>
                  <a:pt x="11032" y="5892"/>
                </a:lnTo>
                <a:lnTo>
                  <a:pt x="11030" y="5902"/>
                </a:lnTo>
                <a:lnTo>
                  <a:pt x="11032" y="5912"/>
                </a:lnTo>
                <a:lnTo>
                  <a:pt x="11034" y="5918"/>
                </a:lnTo>
                <a:lnTo>
                  <a:pt x="11032" y="5926"/>
                </a:lnTo>
                <a:lnTo>
                  <a:pt x="11030" y="5932"/>
                </a:lnTo>
                <a:lnTo>
                  <a:pt x="11020" y="5942"/>
                </a:lnTo>
                <a:lnTo>
                  <a:pt x="11014" y="5948"/>
                </a:lnTo>
                <a:lnTo>
                  <a:pt x="11010" y="5954"/>
                </a:lnTo>
                <a:lnTo>
                  <a:pt x="11004" y="5970"/>
                </a:lnTo>
                <a:lnTo>
                  <a:pt x="11000" y="5978"/>
                </a:lnTo>
                <a:lnTo>
                  <a:pt x="10994" y="5988"/>
                </a:lnTo>
                <a:lnTo>
                  <a:pt x="10986" y="5998"/>
                </a:lnTo>
                <a:lnTo>
                  <a:pt x="10974" y="6006"/>
                </a:lnTo>
                <a:lnTo>
                  <a:pt x="10960" y="6014"/>
                </a:lnTo>
                <a:lnTo>
                  <a:pt x="10948" y="6020"/>
                </a:lnTo>
                <a:lnTo>
                  <a:pt x="10936" y="6020"/>
                </a:lnTo>
                <a:lnTo>
                  <a:pt x="10926" y="6020"/>
                </a:lnTo>
                <a:lnTo>
                  <a:pt x="10910" y="6020"/>
                </a:lnTo>
                <a:lnTo>
                  <a:pt x="10906" y="6020"/>
                </a:lnTo>
                <a:lnTo>
                  <a:pt x="10902" y="6024"/>
                </a:lnTo>
                <a:lnTo>
                  <a:pt x="10898" y="6030"/>
                </a:lnTo>
                <a:lnTo>
                  <a:pt x="10894" y="6032"/>
                </a:lnTo>
                <a:lnTo>
                  <a:pt x="10884" y="6038"/>
                </a:lnTo>
                <a:lnTo>
                  <a:pt x="10868" y="6042"/>
                </a:lnTo>
                <a:lnTo>
                  <a:pt x="10850" y="6052"/>
                </a:lnTo>
                <a:lnTo>
                  <a:pt x="10840" y="6056"/>
                </a:lnTo>
                <a:lnTo>
                  <a:pt x="10832" y="6056"/>
                </a:lnTo>
                <a:lnTo>
                  <a:pt x="10820" y="6052"/>
                </a:lnTo>
                <a:lnTo>
                  <a:pt x="10812" y="6050"/>
                </a:lnTo>
                <a:lnTo>
                  <a:pt x="10804" y="6052"/>
                </a:lnTo>
                <a:lnTo>
                  <a:pt x="10794" y="6060"/>
                </a:lnTo>
                <a:lnTo>
                  <a:pt x="10782" y="6074"/>
                </a:lnTo>
                <a:lnTo>
                  <a:pt x="10768" y="6088"/>
                </a:lnTo>
                <a:lnTo>
                  <a:pt x="10758" y="6096"/>
                </a:lnTo>
                <a:lnTo>
                  <a:pt x="10748" y="6102"/>
                </a:lnTo>
                <a:lnTo>
                  <a:pt x="10742" y="6106"/>
                </a:lnTo>
                <a:lnTo>
                  <a:pt x="10736" y="6108"/>
                </a:lnTo>
                <a:lnTo>
                  <a:pt x="10730" y="6112"/>
                </a:lnTo>
                <a:lnTo>
                  <a:pt x="10726" y="6120"/>
                </a:lnTo>
                <a:lnTo>
                  <a:pt x="10720" y="6134"/>
                </a:lnTo>
                <a:lnTo>
                  <a:pt x="10714" y="6144"/>
                </a:lnTo>
                <a:lnTo>
                  <a:pt x="10712" y="6144"/>
                </a:lnTo>
                <a:lnTo>
                  <a:pt x="10710" y="6140"/>
                </a:lnTo>
                <a:lnTo>
                  <a:pt x="10710" y="6132"/>
                </a:lnTo>
                <a:lnTo>
                  <a:pt x="10708" y="6124"/>
                </a:lnTo>
                <a:lnTo>
                  <a:pt x="10706" y="6118"/>
                </a:lnTo>
                <a:lnTo>
                  <a:pt x="10704" y="6116"/>
                </a:lnTo>
                <a:lnTo>
                  <a:pt x="10702" y="6118"/>
                </a:lnTo>
                <a:lnTo>
                  <a:pt x="10694" y="6128"/>
                </a:lnTo>
                <a:lnTo>
                  <a:pt x="10688" y="6140"/>
                </a:lnTo>
                <a:lnTo>
                  <a:pt x="10686" y="6150"/>
                </a:lnTo>
                <a:lnTo>
                  <a:pt x="10688" y="6158"/>
                </a:lnTo>
                <a:lnTo>
                  <a:pt x="10690" y="6166"/>
                </a:lnTo>
                <a:lnTo>
                  <a:pt x="10692" y="6174"/>
                </a:lnTo>
                <a:lnTo>
                  <a:pt x="10692" y="6182"/>
                </a:lnTo>
                <a:lnTo>
                  <a:pt x="10690" y="6194"/>
                </a:lnTo>
                <a:lnTo>
                  <a:pt x="10682" y="6210"/>
                </a:lnTo>
                <a:lnTo>
                  <a:pt x="10678" y="6218"/>
                </a:lnTo>
                <a:lnTo>
                  <a:pt x="10676" y="6226"/>
                </a:lnTo>
                <a:lnTo>
                  <a:pt x="10674" y="6236"/>
                </a:lnTo>
                <a:lnTo>
                  <a:pt x="10674" y="6244"/>
                </a:lnTo>
                <a:lnTo>
                  <a:pt x="10680" y="6260"/>
                </a:lnTo>
                <a:lnTo>
                  <a:pt x="10686" y="6276"/>
                </a:lnTo>
                <a:lnTo>
                  <a:pt x="10704" y="6306"/>
                </a:lnTo>
                <a:lnTo>
                  <a:pt x="10710" y="6320"/>
                </a:lnTo>
                <a:lnTo>
                  <a:pt x="10712" y="6326"/>
                </a:lnTo>
                <a:lnTo>
                  <a:pt x="10712" y="6334"/>
                </a:lnTo>
                <a:lnTo>
                  <a:pt x="10710" y="6342"/>
                </a:lnTo>
                <a:lnTo>
                  <a:pt x="10708" y="6344"/>
                </a:lnTo>
                <a:lnTo>
                  <a:pt x="10706" y="6342"/>
                </a:lnTo>
                <a:lnTo>
                  <a:pt x="10702" y="6338"/>
                </a:lnTo>
                <a:lnTo>
                  <a:pt x="10696" y="6328"/>
                </a:lnTo>
                <a:lnTo>
                  <a:pt x="10686" y="6308"/>
                </a:lnTo>
                <a:lnTo>
                  <a:pt x="10680" y="6302"/>
                </a:lnTo>
                <a:lnTo>
                  <a:pt x="10678" y="6304"/>
                </a:lnTo>
                <a:lnTo>
                  <a:pt x="10676" y="6310"/>
                </a:lnTo>
                <a:lnTo>
                  <a:pt x="10678" y="6316"/>
                </a:lnTo>
                <a:lnTo>
                  <a:pt x="10684" y="6330"/>
                </a:lnTo>
                <a:lnTo>
                  <a:pt x="10692" y="6344"/>
                </a:lnTo>
                <a:lnTo>
                  <a:pt x="10692" y="6350"/>
                </a:lnTo>
                <a:lnTo>
                  <a:pt x="10692" y="6354"/>
                </a:lnTo>
                <a:lnTo>
                  <a:pt x="10692" y="6356"/>
                </a:lnTo>
                <a:lnTo>
                  <a:pt x="10690" y="6356"/>
                </a:lnTo>
                <a:lnTo>
                  <a:pt x="10686" y="6352"/>
                </a:lnTo>
                <a:lnTo>
                  <a:pt x="10680" y="6338"/>
                </a:lnTo>
                <a:lnTo>
                  <a:pt x="10676" y="6332"/>
                </a:lnTo>
                <a:lnTo>
                  <a:pt x="10674" y="6328"/>
                </a:lnTo>
                <a:lnTo>
                  <a:pt x="10672" y="6328"/>
                </a:lnTo>
                <a:lnTo>
                  <a:pt x="10670" y="6336"/>
                </a:lnTo>
                <a:lnTo>
                  <a:pt x="10672" y="6346"/>
                </a:lnTo>
                <a:lnTo>
                  <a:pt x="10676" y="6354"/>
                </a:lnTo>
                <a:lnTo>
                  <a:pt x="10688" y="6374"/>
                </a:lnTo>
                <a:lnTo>
                  <a:pt x="10700" y="6394"/>
                </a:lnTo>
                <a:lnTo>
                  <a:pt x="10704" y="6404"/>
                </a:lnTo>
                <a:lnTo>
                  <a:pt x="10706" y="6414"/>
                </a:lnTo>
                <a:lnTo>
                  <a:pt x="10706" y="6430"/>
                </a:lnTo>
                <a:lnTo>
                  <a:pt x="10710" y="6440"/>
                </a:lnTo>
                <a:lnTo>
                  <a:pt x="10718" y="6454"/>
                </a:lnTo>
                <a:lnTo>
                  <a:pt x="10732" y="6478"/>
                </a:lnTo>
                <a:lnTo>
                  <a:pt x="10736" y="6490"/>
                </a:lnTo>
                <a:lnTo>
                  <a:pt x="10738" y="6502"/>
                </a:lnTo>
                <a:lnTo>
                  <a:pt x="10740" y="6522"/>
                </a:lnTo>
                <a:lnTo>
                  <a:pt x="10740" y="6534"/>
                </a:lnTo>
                <a:lnTo>
                  <a:pt x="10742" y="6550"/>
                </a:lnTo>
                <a:lnTo>
                  <a:pt x="10746" y="6570"/>
                </a:lnTo>
                <a:lnTo>
                  <a:pt x="10756" y="6594"/>
                </a:lnTo>
                <a:lnTo>
                  <a:pt x="10766" y="6620"/>
                </a:lnTo>
                <a:lnTo>
                  <a:pt x="10770" y="6638"/>
                </a:lnTo>
                <a:lnTo>
                  <a:pt x="10772" y="6650"/>
                </a:lnTo>
                <a:lnTo>
                  <a:pt x="10772" y="6658"/>
                </a:lnTo>
                <a:lnTo>
                  <a:pt x="10766" y="6670"/>
                </a:lnTo>
                <a:lnTo>
                  <a:pt x="10764" y="6676"/>
                </a:lnTo>
                <a:lnTo>
                  <a:pt x="10766" y="6686"/>
                </a:lnTo>
                <a:lnTo>
                  <a:pt x="10766" y="6696"/>
                </a:lnTo>
                <a:lnTo>
                  <a:pt x="10766" y="6704"/>
                </a:lnTo>
                <a:lnTo>
                  <a:pt x="10764" y="6712"/>
                </a:lnTo>
                <a:lnTo>
                  <a:pt x="10762" y="6716"/>
                </a:lnTo>
                <a:lnTo>
                  <a:pt x="10758" y="6720"/>
                </a:lnTo>
                <a:lnTo>
                  <a:pt x="10754" y="6724"/>
                </a:lnTo>
                <a:lnTo>
                  <a:pt x="10750" y="6724"/>
                </a:lnTo>
                <a:lnTo>
                  <a:pt x="10744" y="6722"/>
                </a:lnTo>
                <a:lnTo>
                  <a:pt x="10740" y="6722"/>
                </a:lnTo>
                <a:lnTo>
                  <a:pt x="10738" y="6726"/>
                </a:lnTo>
                <a:lnTo>
                  <a:pt x="10736" y="6734"/>
                </a:lnTo>
                <a:lnTo>
                  <a:pt x="10736" y="6742"/>
                </a:lnTo>
                <a:lnTo>
                  <a:pt x="10738" y="6750"/>
                </a:lnTo>
                <a:lnTo>
                  <a:pt x="10742" y="6756"/>
                </a:lnTo>
                <a:lnTo>
                  <a:pt x="10746" y="6760"/>
                </a:lnTo>
                <a:lnTo>
                  <a:pt x="10752" y="6762"/>
                </a:lnTo>
                <a:lnTo>
                  <a:pt x="10758" y="6762"/>
                </a:lnTo>
                <a:lnTo>
                  <a:pt x="10764" y="6766"/>
                </a:lnTo>
                <a:lnTo>
                  <a:pt x="10776" y="6778"/>
                </a:lnTo>
                <a:lnTo>
                  <a:pt x="10784" y="6786"/>
                </a:lnTo>
                <a:lnTo>
                  <a:pt x="10794" y="6792"/>
                </a:lnTo>
                <a:lnTo>
                  <a:pt x="10808" y="6798"/>
                </a:lnTo>
                <a:lnTo>
                  <a:pt x="10826" y="6802"/>
                </a:lnTo>
                <a:lnTo>
                  <a:pt x="10844" y="6802"/>
                </a:lnTo>
                <a:lnTo>
                  <a:pt x="10858" y="6800"/>
                </a:lnTo>
                <a:lnTo>
                  <a:pt x="10870" y="6794"/>
                </a:lnTo>
                <a:lnTo>
                  <a:pt x="10878" y="6788"/>
                </a:lnTo>
                <a:lnTo>
                  <a:pt x="10894" y="6776"/>
                </a:lnTo>
                <a:lnTo>
                  <a:pt x="10900" y="6772"/>
                </a:lnTo>
                <a:lnTo>
                  <a:pt x="10908" y="6770"/>
                </a:lnTo>
                <a:lnTo>
                  <a:pt x="10916" y="6768"/>
                </a:lnTo>
                <a:lnTo>
                  <a:pt x="10922" y="6764"/>
                </a:lnTo>
                <a:lnTo>
                  <a:pt x="10926" y="6760"/>
                </a:lnTo>
                <a:lnTo>
                  <a:pt x="10928" y="6754"/>
                </a:lnTo>
                <a:lnTo>
                  <a:pt x="10930" y="6748"/>
                </a:lnTo>
                <a:lnTo>
                  <a:pt x="10934" y="6744"/>
                </a:lnTo>
                <a:lnTo>
                  <a:pt x="10940" y="6740"/>
                </a:lnTo>
                <a:lnTo>
                  <a:pt x="10948" y="6740"/>
                </a:lnTo>
                <a:lnTo>
                  <a:pt x="10960" y="6740"/>
                </a:lnTo>
                <a:lnTo>
                  <a:pt x="10972" y="6738"/>
                </a:lnTo>
                <a:lnTo>
                  <a:pt x="10986" y="6734"/>
                </a:lnTo>
                <a:lnTo>
                  <a:pt x="10994" y="6734"/>
                </a:lnTo>
                <a:lnTo>
                  <a:pt x="11000" y="6732"/>
                </a:lnTo>
                <a:lnTo>
                  <a:pt x="11006" y="6734"/>
                </a:lnTo>
                <a:lnTo>
                  <a:pt x="11014" y="6738"/>
                </a:lnTo>
                <a:lnTo>
                  <a:pt x="11024" y="6742"/>
                </a:lnTo>
                <a:lnTo>
                  <a:pt x="11030" y="6744"/>
                </a:lnTo>
                <a:lnTo>
                  <a:pt x="11036" y="6742"/>
                </a:lnTo>
                <a:lnTo>
                  <a:pt x="11038" y="6740"/>
                </a:lnTo>
                <a:lnTo>
                  <a:pt x="11042" y="6738"/>
                </a:lnTo>
                <a:lnTo>
                  <a:pt x="11048" y="6736"/>
                </a:lnTo>
                <a:lnTo>
                  <a:pt x="11056" y="6738"/>
                </a:lnTo>
                <a:lnTo>
                  <a:pt x="11068" y="6740"/>
                </a:lnTo>
                <a:lnTo>
                  <a:pt x="11076" y="6742"/>
                </a:lnTo>
                <a:lnTo>
                  <a:pt x="11082" y="6742"/>
                </a:lnTo>
                <a:lnTo>
                  <a:pt x="11086" y="6740"/>
                </a:lnTo>
                <a:lnTo>
                  <a:pt x="11090" y="6738"/>
                </a:lnTo>
                <a:lnTo>
                  <a:pt x="11096" y="6730"/>
                </a:lnTo>
                <a:lnTo>
                  <a:pt x="11100" y="6718"/>
                </a:lnTo>
                <a:lnTo>
                  <a:pt x="11104" y="6706"/>
                </a:lnTo>
                <a:lnTo>
                  <a:pt x="11110" y="6696"/>
                </a:lnTo>
                <a:lnTo>
                  <a:pt x="11116" y="6688"/>
                </a:lnTo>
                <a:lnTo>
                  <a:pt x="11120" y="6686"/>
                </a:lnTo>
                <a:lnTo>
                  <a:pt x="11126" y="6686"/>
                </a:lnTo>
                <a:lnTo>
                  <a:pt x="11136" y="6684"/>
                </a:lnTo>
                <a:lnTo>
                  <a:pt x="11142" y="6680"/>
                </a:lnTo>
                <a:lnTo>
                  <a:pt x="11156" y="6666"/>
                </a:lnTo>
                <a:lnTo>
                  <a:pt x="11162" y="6660"/>
                </a:lnTo>
                <a:lnTo>
                  <a:pt x="11172" y="6656"/>
                </a:lnTo>
                <a:lnTo>
                  <a:pt x="11184" y="6652"/>
                </a:lnTo>
                <a:lnTo>
                  <a:pt x="11200" y="6654"/>
                </a:lnTo>
                <a:lnTo>
                  <a:pt x="11214" y="6654"/>
                </a:lnTo>
                <a:lnTo>
                  <a:pt x="11226" y="6654"/>
                </a:lnTo>
                <a:lnTo>
                  <a:pt x="11248" y="6650"/>
                </a:lnTo>
                <a:lnTo>
                  <a:pt x="11268" y="6642"/>
                </a:lnTo>
                <a:lnTo>
                  <a:pt x="11284" y="6634"/>
                </a:lnTo>
                <a:lnTo>
                  <a:pt x="11300" y="6626"/>
                </a:lnTo>
                <a:lnTo>
                  <a:pt x="11316" y="6618"/>
                </a:lnTo>
                <a:lnTo>
                  <a:pt x="11330" y="6614"/>
                </a:lnTo>
                <a:lnTo>
                  <a:pt x="11338" y="6614"/>
                </a:lnTo>
                <a:lnTo>
                  <a:pt x="11346" y="6614"/>
                </a:lnTo>
                <a:lnTo>
                  <a:pt x="11366" y="6616"/>
                </a:lnTo>
                <a:lnTo>
                  <a:pt x="11378" y="6616"/>
                </a:lnTo>
                <a:lnTo>
                  <a:pt x="11384" y="6614"/>
                </a:lnTo>
                <a:lnTo>
                  <a:pt x="11386" y="6612"/>
                </a:lnTo>
                <a:lnTo>
                  <a:pt x="11390" y="6610"/>
                </a:lnTo>
                <a:lnTo>
                  <a:pt x="11394" y="6612"/>
                </a:lnTo>
                <a:lnTo>
                  <a:pt x="11422" y="6626"/>
                </a:lnTo>
                <a:lnTo>
                  <a:pt x="11442" y="6636"/>
                </a:lnTo>
                <a:lnTo>
                  <a:pt x="11456" y="6642"/>
                </a:lnTo>
                <a:lnTo>
                  <a:pt x="11468" y="6644"/>
                </a:lnTo>
                <a:lnTo>
                  <a:pt x="11478" y="6646"/>
                </a:lnTo>
                <a:lnTo>
                  <a:pt x="11492" y="6648"/>
                </a:lnTo>
                <a:lnTo>
                  <a:pt x="11500" y="6652"/>
                </a:lnTo>
                <a:lnTo>
                  <a:pt x="11508" y="6658"/>
                </a:lnTo>
                <a:lnTo>
                  <a:pt x="11516" y="6664"/>
                </a:lnTo>
                <a:lnTo>
                  <a:pt x="11518" y="6670"/>
                </a:lnTo>
                <a:lnTo>
                  <a:pt x="11518" y="6676"/>
                </a:lnTo>
                <a:lnTo>
                  <a:pt x="11516" y="6680"/>
                </a:lnTo>
                <a:lnTo>
                  <a:pt x="11514" y="6684"/>
                </a:lnTo>
                <a:lnTo>
                  <a:pt x="11514" y="6690"/>
                </a:lnTo>
                <a:lnTo>
                  <a:pt x="11520" y="6696"/>
                </a:lnTo>
                <a:lnTo>
                  <a:pt x="11530" y="6702"/>
                </a:lnTo>
                <a:lnTo>
                  <a:pt x="11536" y="6706"/>
                </a:lnTo>
                <a:lnTo>
                  <a:pt x="11540" y="6710"/>
                </a:lnTo>
                <a:lnTo>
                  <a:pt x="11546" y="6722"/>
                </a:lnTo>
                <a:lnTo>
                  <a:pt x="11550" y="6734"/>
                </a:lnTo>
                <a:lnTo>
                  <a:pt x="11552" y="6748"/>
                </a:lnTo>
                <a:lnTo>
                  <a:pt x="11554" y="6760"/>
                </a:lnTo>
                <a:lnTo>
                  <a:pt x="11558" y="6772"/>
                </a:lnTo>
                <a:lnTo>
                  <a:pt x="11562" y="6782"/>
                </a:lnTo>
                <a:lnTo>
                  <a:pt x="11566" y="6786"/>
                </a:lnTo>
                <a:lnTo>
                  <a:pt x="11570" y="6788"/>
                </a:lnTo>
                <a:lnTo>
                  <a:pt x="11584" y="6796"/>
                </a:lnTo>
                <a:lnTo>
                  <a:pt x="11586" y="6796"/>
                </a:lnTo>
                <a:lnTo>
                  <a:pt x="11584" y="6794"/>
                </a:lnTo>
                <a:lnTo>
                  <a:pt x="11584" y="6790"/>
                </a:lnTo>
                <a:lnTo>
                  <a:pt x="11586" y="6782"/>
                </a:lnTo>
                <a:lnTo>
                  <a:pt x="11592" y="6770"/>
                </a:lnTo>
                <a:lnTo>
                  <a:pt x="11602" y="6754"/>
                </a:lnTo>
                <a:lnTo>
                  <a:pt x="11614" y="6740"/>
                </a:lnTo>
                <a:lnTo>
                  <a:pt x="11622" y="6732"/>
                </a:lnTo>
                <a:lnTo>
                  <a:pt x="11628" y="6730"/>
                </a:lnTo>
                <a:lnTo>
                  <a:pt x="11632" y="6730"/>
                </a:lnTo>
                <a:lnTo>
                  <a:pt x="11634" y="6730"/>
                </a:lnTo>
                <a:lnTo>
                  <a:pt x="11636" y="6720"/>
                </a:lnTo>
                <a:lnTo>
                  <a:pt x="11640" y="6712"/>
                </a:lnTo>
                <a:lnTo>
                  <a:pt x="11642" y="6706"/>
                </a:lnTo>
                <a:lnTo>
                  <a:pt x="11650" y="6698"/>
                </a:lnTo>
                <a:lnTo>
                  <a:pt x="11656" y="6690"/>
                </a:lnTo>
                <a:lnTo>
                  <a:pt x="11658" y="6686"/>
                </a:lnTo>
                <a:lnTo>
                  <a:pt x="11660" y="6680"/>
                </a:lnTo>
                <a:lnTo>
                  <a:pt x="11660" y="6670"/>
                </a:lnTo>
                <a:lnTo>
                  <a:pt x="11668" y="6686"/>
                </a:lnTo>
                <a:lnTo>
                  <a:pt x="11668" y="6694"/>
                </a:lnTo>
                <a:lnTo>
                  <a:pt x="11666" y="6702"/>
                </a:lnTo>
                <a:lnTo>
                  <a:pt x="11658" y="6726"/>
                </a:lnTo>
                <a:lnTo>
                  <a:pt x="11650" y="6748"/>
                </a:lnTo>
                <a:lnTo>
                  <a:pt x="11648" y="6758"/>
                </a:lnTo>
                <a:lnTo>
                  <a:pt x="11648" y="6766"/>
                </a:lnTo>
                <a:lnTo>
                  <a:pt x="11652" y="6776"/>
                </a:lnTo>
                <a:lnTo>
                  <a:pt x="11650" y="6784"/>
                </a:lnTo>
                <a:lnTo>
                  <a:pt x="11646" y="6790"/>
                </a:lnTo>
                <a:lnTo>
                  <a:pt x="11642" y="6792"/>
                </a:lnTo>
                <a:lnTo>
                  <a:pt x="11638" y="6792"/>
                </a:lnTo>
                <a:lnTo>
                  <a:pt x="11634" y="6792"/>
                </a:lnTo>
                <a:lnTo>
                  <a:pt x="11630" y="6794"/>
                </a:lnTo>
                <a:lnTo>
                  <a:pt x="11626" y="6798"/>
                </a:lnTo>
                <a:lnTo>
                  <a:pt x="11624" y="6802"/>
                </a:lnTo>
                <a:lnTo>
                  <a:pt x="11624" y="6806"/>
                </a:lnTo>
                <a:lnTo>
                  <a:pt x="11628" y="6808"/>
                </a:lnTo>
                <a:lnTo>
                  <a:pt x="11634" y="6810"/>
                </a:lnTo>
                <a:lnTo>
                  <a:pt x="11642" y="6810"/>
                </a:lnTo>
                <a:lnTo>
                  <a:pt x="11648" y="6808"/>
                </a:lnTo>
                <a:lnTo>
                  <a:pt x="11652" y="6806"/>
                </a:lnTo>
                <a:lnTo>
                  <a:pt x="11660" y="6798"/>
                </a:lnTo>
                <a:lnTo>
                  <a:pt x="11664" y="6788"/>
                </a:lnTo>
                <a:lnTo>
                  <a:pt x="11668" y="6778"/>
                </a:lnTo>
                <a:lnTo>
                  <a:pt x="11670" y="6770"/>
                </a:lnTo>
                <a:lnTo>
                  <a:pt x="11672" y="6764"/>
                </a:lnTo>
                <a:lnTo>
                  <a:pt x="11674" y="6764"/>
                </a:lnTo>
                <a:lnTo>
                  <a:pt x="11676" y="6766"/>
                </a:lnTo>
                <a:lnTo>
                  <a:pt x="11682" y="6772"/>
                </a:lnTo>
                <a:lnTo>
                  <a:pt x="11688" y="6784"/>
                </a:lnTo>
                <a:lnTo>
                  <a:pt x="11688" y="6794"/>
                </a:lnTo>
                <a:lnTo>
                  <a:pt x="11688" y="6802"/>
                </a:lnTo>
                <a:lnTo>
                  <a:pt x="11684" y="6810"/>
                </a:lnTo>
                <a:lnTo>
                  <a:pt x="11676" y="6822"/>
                </a:lnTo>
                <a:lnTo>
                  <a:pt x="11676" y="6828"/>
                </a:lnTo>
                <a:lnTo>
                  <a:pt x="11676" y="6832"/>
                </a:lnTo>
                <a:lnTo>
                  <a:pt x="11678" y="6834"/>
                </a:lnTo>
                <a:lnTo>
                  <a:pt x="11682" y="6834"/>
                </a:lnTo>
                <a:lnTo>
                  <a:pt x="11690" y="6832"/>
                </a:lnTo>
                <a:lnTo>
                  <a:pt x="11700" y="6830"/>
                </a:lnTo>
                <a:lnTo>
                  <a:pt x="11706" y="6832"/>
                </a:lnTo>
                <a:lnTo>
                  <a:pt x="11712" y="6834"/>
                </a:lnTo>
                <a:lnTo>
                  <a:pt x="11718" y="6838"/>
                </a:lnTo>
                <a:lnTo>
                  <a:pt x="11726" y="6846"/>
                </a:lnTo>
                <a:lnTo>
                  <a:pt x="11732" y="6854"/>
                </a:lnTo>
                <a:lnTo>
                  <a:pt x="11736" y="6862"/>
                </a:lnTo>
                <a:lnTo>
                  <a:pt x="11740" y="6872"/>
                </a:lnTo>
                <a:lnTo>
                  <a:pt x="11742" y="6882"/>
                </a:lnTo>
                <a:lnTo>
                  <a:pt x="11742" y="6890"/>
                </a:lnTo>
                <a:lnTo>
                  <a:pt x="11740" y="6898"/>
                </a:lnTo>
                <a:lnTo>
                  <a:pt x="11738" y="6904"/>
                </a:lnTo>
                <a:lnTo>
                  <a:pt x="11740" y="6914"/>
                </a:lnTo>
                <a:lnTo>
                  <a:pt x="11744" y="6924"/>
                </a:lnTo>
                <a:lnTo>
                  <a:pt x="11750" y="6934"/>
                </a:lnTo>
                <a:lnTo>
                  <a:pt x="11758" y="6944"/>
                </a:lnTo>
                <a:lnTo>
                  <a:pt x="11768" y="6952"/>
                </a:lnTo>
                <a:lnTo>
                  <a:pt x="11776" y="6958"/>
                </a:lnTo>
                <a:lnTo>
                  <a:pt x="11784" y="6962"/>
                </a:lnTo>
                <a:lnTo>
                  <a:pt x="11792" y="6966"/>
                </a:lnTo>
                <a:lnTo>
                  <a:pt x="11796" y="6968"/>
                </a:lnTo>
                <a:lnTo>
                  <a:pt x="11804" y="6978"/>
                </a:lnTo>
                <a:lnTo>
                  <a:pt x="11810" y="6982"/>
                </a:lnTo>
                <a:lnTo>
                  <a:pt x="11812" y="6982"/>
                </a:lnTo>
                <a:lnTo>
                  <a:pt x="11816" y="6980"/>
                </a:lnTo>
                <a:lnTo>
                  <a:pt x="11822" y="6976"/>
                </a:lnTo>
                <a:lnTo>
                  <a:pt x="11826" y="6976"/>
                </a:lnTo>
                <a:lnTo>
                  <a:pt x="11832" y="6976"/>
                </a:lnTo>
                <a:lnTo>
                  <a:pt x="11846" y="6982"/>
                </a:lnTo>
                <a:lnTo>
                  <a:pt x="11868" y="6994"/>
                </a:lnTo>
                <a:lnTo>
                  <a:pt x="11880" y="7000"/>
                </a:lnTo>
                <a:lnTo>
                  <a:pt x="11890" y="7004"/>
                </a:lnTo>
                <a:lnTo>
                  <a:pt x="11896" y="7002"/>
                </a:lnTo>
                <a:lnTo>
                  <a:pt x="11900" y="7000"/>
                </a:lnTo>
                <a:lnTo>
                  <a:pt x="11908" y="6990"/>
                </a:lnTo>
                <a:lnTo>
                  <a:pt x="11914" y="6986"/>
                </a:lnTo>
                <a:lnTo>
                  <a:pt x="11922" y="6980"/>
                </a:lnTo>
                <a:lnTo>
                  <a:pt x="11930" y="6976"/>
                </a:lnTo>
                <a:lnTo>
                  <a:pt x="11936" y="6970"/>
                </a:lnTo>
                <a:lnTo>
                  <a:pt x="11940" y="6960"/>
                </a:lnTo>
                <a:lnTo>
                  <a:pt x="11942" y="6956"/>
                </a:lnTo>
                <a:lnTo>
                  <a:pt x="11944" y="6954"/>
                </a:lnTo>
                <a:lnTo>
                  <a:pt x="11946" y="6956"/>
                </a:lnTo>
                <a:lnTo>
                  <a:pt x="11952" y="6958"/>
                </a:lnTo>
                <a:lnTo>
                  <a:pt x="11958" y="6962"/>
                </a:lnTo>
                <a:lnTo>
                  <a:pt x="11958" y="6966"/>
                </a:lnTo>
                <a:lnTo>
                  <a:pt x="11956" y="6970"/>
                </a:lnTo>
                <a:lnTo>
                  <a:pt x="11952" y="6974"/>
                </a:lnTo>
                <a:lnTo>
                  <a:pt x="11944" y="6980"/>
                </a:lnTo>
                <a:lnTo>
                  <a:pt x="11944" y="6982"/>
                </a:lnTo>
                <a:lnTo>
                  <a:pt x="11948" y="6986"/>
                </a:lnTo>
                <a:lnTo>
                  <a:pt x="11954" y="6988"/>
                </a:lnTo>
                <a:lnTo>
                  <a:pt x="11958" y="6986"/>
                </a:lnTo>
                <a:lnTo>
                  <a:pt x="11960" y="6984"/>
                </a:lnTo>
                <a:lnTo>
                  <a:pt x="11964" y="6980"/>
                </a:lnTo>
                <a:lnTo>
                  <a:pt x="11966" y="6976"/>
                </a:lnTo>
                <a:lnTo>
                  <a:pt x="11966" y="6982"/>
                </a:lnTo>
                <a:lnTo>
                  <a:pt x="11968" y="6986"/>
                </a:lnTo>
                <a:lnTo>
                  <a:pt x="11970" y="6990"/>
                </a:lnTo>
                <a:lnTo>
                  <a:pt x="11976" y="6996"/>
                </a:lnTo>
                <a:lnTo>
                  <a:pt x="11988" y="7004"/>
                </a:lnTo>
                <a:lnTo>
                  <a:pt x="11994" y="7010"/>
                </a:lnTo>
                <a:lnTo>
                  <a:pt x="12004" y="7020"/>
                </a:lnTo>
                <a:lnTo>
                  <a:pt x="12008" y="7026"/>
                </a:lnTo>
                <a:lnTo>
                  <a:pt x="12010" y="7028"/>
                </a:lnTo>
                <a:lnTo>
                  <a:pt x="12010" y="7020"/>
                </a:lnTo>
                <a:lnTo>
                  <a:pt x="12010" y="7014"/>
                </a:lnTo>
                <a:lnTo>
                  <a:pt x="12010" y="7008"/>
                </a:lnTo>
                <a:lnTo>
                  <a:pt x="12012" y="7002"/>
                </a:lnTo>
                <a:lnTo>
                  <a:pt x="12016" y="6998"/>
                </a:lnTo>
                <a:lnTo>
                  <a:pt x="12024" y="6996"/>
                </a:lnTo>
                <a:lnTo>
                  <a:pt x="12034" y="6988"/>
                </a:lnTo>
                <a:lnTo>
                  <a:pt x="12056" y="6970"/>
                </a:lnTo>
                <a:lnTo>
                  <a:pt x="12070" y="6960"/>
                </a:lnTo>
                <a:lnTo>
                  <a:pt x="12084" y="6952"/>
                </a:lnTo>
                <a:lnTo>
                  <a:pt x="12098" y="6948"/>
                </a:lnTo>
                <a:lnTo>
                  <a:pt x="12104" y="6948"/>
                </a:lnTo>
                <a:lnTo>
                  <a:pt x="12112" y="6948"/>
                </a:lnTo>
                <a:lnTo>
                  <a:pt x="12126" y="6948"/>
                </a:lnTo>
                <a:lnTo>
                  <a:pt x="12136" y="6946"/>
                </a:lnTo>
                <a:lnTo>
                  <a:pt x="12144" y="6942"/>
                </a:lnTo>
                <a:lnTo>
                  <a:pt x="12150" y="6936"/>
                </a:lnTo>
                <a:lnTo>
                  <a:pt x="12152" y="6930"/>
                </a:lnTo>
                <a:lnTo>
                  <a:pt x="12154" y="6922"/>
                </a:lnTo>
                <a:lnTo>
                  <a:pt x="12152" y="6918"/>
                </a:lnTo>
                <a:lnTo>
                  <a:pt x="12150" y="6914"/>
                </a:lnTo>
                <a:lnTo>
                  <a:pt x="12146" y="6910"/>
                </a:lnTo>
                <a:lnTo>
                  <a:pt x="12146" y="6906"/>
                </a:lnTo>
                <a:lnTo>
                  <a:pt x="12150" y="6894"/>
                </a:lnTo>
                <a:lnTo>
                  <a:pt x="12156" y="6882"/>
                </a:lnTo>
                <a:lnTo>
                  <a:pt x="12158" y="6876"/>
                </a:lnTo>
                <a:lnTo>
                  <a:pt x="12158" y="6868"/>
                </a:lnTo>
                <a:lnTo>
                  <a:pt x="12160" y="6852"/>
                </a:lnTo>
                <a:lnTo>
                  <a:pt x="12164" y="6832"/>
                </a:lnTo>
                <a:lnTo>
                  <a:pt x="12172" y="6816"/>
                </a:lnTo>
                <a:lnTo>
                  <a:pt x="12176" y="6810"/>
                </a:lnTo>
                <a:lnTo>
                  <a:pt x="12180" y="6806"/>
                </a:lnTo>
                <a:lnTo>
                  <a:pt x="12186" y="6800"/>
                </a:lnTo>
                <a:lnTo>
                  <a:pt x="12188" y="6790"/>
                </a:lnTo>
                <a:lnTo>
                  <a:pt x="12196" y="6758"/>
                </a:lnTo>
                <a:lnTo>
                  <a:pt x="12200" y="6738"/>
                </a:lnTo>
                <a:lnTo>
                  <a:pt x="12208" y="6720"/>
                </a:lnTo>
                <a:lnTo>
                  <a:pt x="12218" y="6702"/>
                </a:lnTo>
                <a:lnTo>
                  <a:pt x="12224" y="6694"/>
                </a:lnTo>
                <a:lnTo>
                  <a:pt x="12232" y="6686"/>
                </a:lnTo>
                <a:lnTo>
                  <a:pt x="12244" y="6674"/>
                </a:lnTo>
                <a:lnTo>
                  <a:pt x="12252" y="6664"/>
                </a:lnTo>
                <a:lnTo>
                  <a:pt x="12256" y="6658"/>
                </a:lnTo>
                <a:lnTo>
                  <a:pt x="12258" y="6652"/>
                </a:lnTo>
                <a:lnTo>
                  <a:pt x="12260" y="6642"/>
                </a:lnTo>
                <a:lnTo>
                  <a:pt x="12260" y="6636"/>
                </a:lnTo>
                <a:lnTo>
                  <a:pt x="12264" y="6628"/>
                </a:lnTo>
                <a:lnTo>
                  <a:pt x="12270" y="6616"/>
                </a:lnTo>
                <a:lnTo>
                  <a:pt x="12272" y="6604"/>
                </a:lnTo>
                <a:lnTo>
                  <a:pt x="12274" y="6596"/>
                </a:lnTo>
                <a:lnTo>
                  <a:pt x="12272" y="6586"/>
                </a:lnTo>
                <a:lnTo>
                  <a:pt x="12272" y="6570"/>
                </a:lnTo>
                <a:lnTo>
                  <a:pt x="12274" y="6562"/>
                </a:lnTo>
                <a:lnTo>
                  <a:pt x="12276" y="6554"/>
                </a:lnTo>
                <a:lnTo>
                  <a:pt x="12282" y="6544"/>
                </a:lnTo>
                <a:lnTo>
                  <a:pt x="12284" y="6532"/>
                </a:lnTo>
                <a:lnTo>
                  <a:pt x="12286" y="6514"/>
                </a:lnTo>
                <a:lnTo>
                  <a:pt x="12288" y="6496"/>
                </a:lnTo>
                <a:lnTo>
                  <a:pt x="12292" y="6488"/>
                </a:lnTo>
                <a:lnTo>
                  <a:pt x="12296" y="6476"/>
                </a:lnTo>
                <a:lnTo>
                  <a:pt x="12298" y="6472"/>
                </a:lnTo>
                <a:lnTo>
                  <a:pt x="12300" y="6464"/>
                </a:lnTo>
                <a:lnTo>
                  <a:pt x="12300" y="6452"/>
                </a:lnTo>
                <a:lnTo>
                  <a:pt x="12296" y="6438"/>
                </a:lnTo>
                <a:lnTo>
                  <a:pt x="12292" y="6422"/>
                </a:lnTo>
                <a:lnTo>
                  <a:pt x="12282" y="6398"/>
                </a:lnTo>
                <a:lnTo>
                  <a:pt x="12280" y="6388"/>
                </a:lnTo>
                <a:lnTo>
                  <a:pt x="12280" y="6382"/>
                </a:lnTo>
                <a:close/>
                <a:moveTo>
                  <a:pt x="11380" y="5618"/>
                </a:moveTo>
                <a:lnTo>
                  <a:pt x="11380" y="5618"/>
                </a:lnTo>
                <a:lnTo>
                  <a:pt x="11384" y="5618"/>
                </a:lnTo>
                <a:lnTo>
                  <a:pt x="11388" y="5618"/>
                </a:lnTo>
                <a:lnTo>
                  <a:pt x="11394" y="5616"/>
                </a:lnTo>
                <a:lnTo>
                  <a:pt x="11400" y="5612"/>
                </a:lnTo>
                <a:lnTo>
                  <a:pt x="11404" y="5608"/>
                </a:lnTo>
                <a:lnTo>
                  <a:pt x="11406" y="5602"/>
                </a:lnTo>
                <a:lnTo>
                  <a:pt x="11408" y="5596"/>
                </a:lnTo>
                <a:lnTo>
                  <a:pt x="11406" y="5592"/>
                </a:lnTo>
                <a:lnTo>
                  <a:pt x="11402" y="5586"/>
                </a:lnTo>
                <a:lnTo>
                  <a:pt x="11398" y="5584"/>
                </a:lnTo>
                <a:lnTo>
                  <a:pt x="11396" y="5586"/>
                </a:lnTo>
                <a:lnTo>
                  <a:pt x="11392" y="5588"/>
                </a:lnTo>
                <a:lnTo>
                  <a:pt x="11388" y="5592"/>
                </a:lnTo>
                <a:lnTo>
                  <a:pt x="11382" y="5594"/>
                </a:lnTo>
                <a:lnTo>
                  <a:pt x="11376" y="5592"/>
                </a:lnTo>
                <a:lnTo>
                  <a:pt x="11366" y="5588"/>
                </a:lnTo>
                <a:lnTo>
                  <a:pt x="11362" y="5588"/>
                </a:lnTo>
                <a:lnTo>
                  <a:pt x="11360" y="5588"/>
                </a:lnTo>
                <a:lnTo>
                  <a:pt x="11360" y="5590"/>
                </a:lnTo>
                <a:lnTo>
                  <a:pt x="11362" y="5596"/>
                </a:lnTo>
                <a:lnTo>
                  <a:pt x="11370" y="5606"/>
                </a:lnTo>
                <a:lnTo>
                  <a:pt x="11380" y="5618"/>
                </a:lnTo>
                <a:close/>
                <a:moveTo>
                  <a:pt x="11350" y="5602"/>
                </a:moveTo>
                <a:lnTo>
                  <a:pt x="11350" y="5602"/>
                </a:lnTo>
                <a:lnTo>
                  <a:pt x="11350" y="5608"/>
                </a:lnTo>
                <a:lnTo>
                  <a:pt x="11350" y="5612"/>
                </a:lnTo>
                <a:lnTo>
                  <a:pt x="11354" y="5614"/>
                </a:lnTo>
                <a:lnTo>
                  <a:pt x="11360" y="5616"/>
                </a:lnTo>
                <a:lnTo>
                  <a:pt x="11364" y="5618"/>
                </a:lnTo>
                <a:lnTo>
                  <a:pt x="11366" y="5616"/>
                </a:lnTo>
                <a:lnTo>
                  <a:pt x="11366" y="5610"/>
                </a:lnTo>
                <a:lnTo>
                  <a:pt x="11362" y="5604"/>
                </a:lnTo>
                <a:lnTo>
                  <a:pt x="11356" y="5596"/>
                </a:lnTo>
                <a:lnTo>
                  <a:pt x="11352" y="5594"/>
                </a:lnTo>
                <a:lnTo>
                  <a:pt x="11350" y="5596"/>
                </a:lnTo>
                <a:lnTo>
                  <a:pt x="11350" y="5602"/>
                </a:lnTo>
                <a:close/>
                <a:moveTo>
                  <a:pt x="11606" y="5728"/>
                </a:moveTo>
                <a:lnTo>
                  <a:pt x="11606" y="5728"/>
                </a:lnTo>
                <a:lnTo>
                  <a:pt x="11608" y="5734"/>
                </a:lnTo>
                <a:lnTo>
                  <a:pt x="11610" y="5736"/>
                </a:lnTo>
                <a:lnTo>
                  <a:pt x="11612" y="5736"/>
                </a:lnTo>
                <a:lnTo>
                  <a:pt x="11616" y="5732"/>
                </a:lnTo>
                <a:lnTo>
                  <a:pt x="11620" y="5724"/>
                </a:lnTo>
                <a:lnTo>
                  <a:pt x="11622" y="5720"/>
                </a:lnTo>
                <a:lnTo>
                  <a:pt x="11620" y="5716"/>
                </a:lnTo>
                <a:lnTo>
                  <a:pt x="11616" y="5716"/>
                </a:lnTo>
                <a:lnTo>
                  <a:pt x="11614" y="5714"/>
                </a:lnTo>
                <a:lnTo>
                  <a:pt x="11610" y="5716"/>
                </a:lnTo>
                <a:lnTo>
                  <a:pt x="11606" y="5718"/>
                </a:lnTo>
                <a:lnTo>
                  <a:pt x="11606" y="5722"/>
                </a:lnTo>
                <a:lnTo>
                  <a:pt x="11606" y="5728"/>
                </a:lnTo>
                <a:close/>
                <a:moveTo>
                  <a:pt x="12276" y="6286"/>
                </a:moveTo>
                <a:lnTo>
                  <a:pt x="12276" y="6286"/>
                </a:lnTo>
                <a:lnTo>
                  <a:pt x="12276" y="6292"/>
                </a:lnTo>
                <a:lnTo>
                  <a:pt x="12274" y="6300"/>
                </a:lnTo>
                <a:lnTo>
                  <a:pt x="12274" y="6308"/>
                </a:lnTo>
                <a:lnTo>
                  <a:pt x="12274" y="6310"/>
                </a:lnTo>
                <a:lnTo>
                  <a:pt x="12276" y="6312"/>
                </a:lnTo>
                <a:lnTo>
                  <a:pt x="12280" y="6314"/>
                </a:lnTo>
                <a:lnTo>
                  <a:pt x="12280" y="6310"/>
                </a:lnTo>
                <a:lnTo>
                  <a:pt x="12282" y="6300"/>
                </a:lnTo>
                <a:lnTo>
                  <a:pt x="12284" y="6290"/>
                </a:lnTo>
                <a:lnTo>
                  <a:pt x="12290" y="6280"/>
                </a:lnTo>
                <a:lnTo>
                  <a:pt x="12290" y="6276"/>
                </a:lnTo>
                <a:lnTo>
                  <a:pt x="12290" y="6272"/>
                </a:lnTo>
                <a:lnTo>
                  <a:pt x="12288" y="6268"/>
                </a:lnTo>
                <a:lnTo>
                  <a:pt x="12288" y="6262"/>
                </a:lnTo>
                <a:lnTo>
                  <a:pt x="12286" y="6258"/>
                </a:lnTo>
                <a:lnTo>
                  <a:pt x="12284" y="6260"/>
                </a:lnTo>
                <a:lnTo>
                  <a:pt x="12282" y="6264"/>
                </a:lnTo>
                <a:lnTo>
                  <a:pt x="12282" y="6270"/>
                </a:lnTo>
                <a:lnTo>
                  <a:pt x="12284" y="6272"/>
                </a:lnTo>
                <a:lnTo>
                  <a:pt x="12282" y="6276"/>
                </a:lnTo>
                <a:lnTo>
                  <a:pt x="12280" y="6280"/>
                </a:lnTo>
                <a:lnTo>
                  <a:pt x="12276" y="6284"/>
                </a:lnTo>
                <a:lnTo>
                  <a:pt x="12276" y="6286"/>
                </a:lnTo>
                <a:close/>
                <a:moveTo>
                  <a:pt x="11714" y="5858"/>
                </a:moveTo>
                <a:lnTo>
                  <a:pt x="11714" y="5858"/>
                </a:lnTo>
                <a:lnTo>
                  <a:pt x="11716" y="5860"/>
                </a:lnTo>
                <a:lnTo>
                  <a:pt x="11720" y="5858"/>
                </a:lnTo>
                <a:lnTo>
                  <a:pt x="11724" y="5856"/>
                </a:lnTo>
                <a:lnTo>
                  <a:pt x="11728" y="5852"/>
                </a:lnTo>
                <a:lnTo>
                  <a:pt x="11730" y="5850"/>
                </a:lnTo>
                <a:lnTo>
                  <a:pt x="11736" y="5850"/>
                </a:lnTo>
                <a:lnTo>
                  <a:pt x="11738" y="5848"/>
                </a:lnTo>
                <a:lnTo>
                  <a:pt x="11738" y="5846"/>
                </a:lnTo>
                <a:lnTo>
                  <a:pt x="11738" y="5844"/>
                </a:lnTo>
                <a:lnTo>
                  <a:pt x="11734" y="5842"/>
                </a:lnTo>
                <a:lnTo>
                  <a:pt x="11730" y="5842"/>
                </a:lnTo>
                <a:lnTo>
                  <a:pt x="11722" y="5846"/>
                </a:lnTo>
                <a:lnTo>
                  <a:pt x="11716" y="5854"/>
                </a:lnTo>
                <a:lnTo>
                  <a:pt x="11714" y="5856"/>
                </a:lnTo>
                <a:lnTo>
                  <a:pt x="11714" y="5858"/>
                </a:lnTo>
                <a:close/>
                <a:moveTo>
                  <a:pt x="7856" y="5622"/>
                </a:moveTo>
                <a:lnTo>
                  <a:pt x="7856" y="5622"/>
                </a:lnTo>
                <a:lnTo>
                  <a:pt x="7858" y="5620"/>
                </a:lnTo>
                <a:lnTo>
                  <a:pt x="7860" y="5616"/>
                </a:lnTo>
                <a:lnTo>
                  <a:pt x="7860" y="5606"/>
                </a:lnTo>
                <a:lnTo>
                  <a:pt x="7856" y="5596"/>
                </a:lnTo>
                <a:lnTo>
                  <a:pt x="7854" y="5594"/>
                </a:lnTo>
                <a:lnTo>
                  <a:pt x="7852" y="5594"/>
                </a:lnTo>
                <a:lnTo>
                  <a:pt x="7848" y="5600"/>
                </a:lnTo>
                <a:lnTo>
                  <a:pt x="7848" y="5608"/>
                </a:lnTo>
                <a:lnTo>
                  <a:pt x="7850" y="5618"/>
                </a:lnTo>
                <a:lnTo>
                  <a:pt x="7854" y="5620"/>
                </a:lnTo>
                <a:lnTo>
                  <a:pt x="7856" y="5622"/>
                </a:lnTo>
                <a:close/>
                <a:moveTo>
                  <a:pt x="7924" y="5658"/>
                </a:moveTo>
                <a:lnTo>
                  <a:pt x="7924" y="5658"/>
                </a:lnTo>
                <a:lnTo>
                  <a:pt x="7920" y="5658"/>
                </a:lnTo>
                <a:lnTo>
                  <a:pt x="7920" y="5660"/>
                </a:lnTo>
                <a:lnTo>
                  <a:pt x="7920" y="5664"/>
                </a:lnTo>
                <a:lnTo>
                  <a:pt x="7924" y="5670"/>
                </a:lnTo>
                <a:lnTo>
                  <a:pt x="7926" y="5672"/>
                </a:lnTo>
                <a:lnTo>
                  <a:pt x="7928" y="5670"/>
                </a:lnTo>
                <a:lnTo>
                  <a:pt x="7928" y="5666"/>
                </a:lnTo>
                <a:lnTo>
                  <a:pt x="7928" y="5662"/>
                </a:lnTo>
                <a:lnTo>
                  <a:pt x="7924" y="5658"/>
                </a:lnTo>
                <a:close/>
                <a:moveTo>
                  <a:pt x="7902" y="5642"/>
                </a:moveTo>
                <a:lnTo>
                  <a:pt x="7902" y="5642"/>
                </a:lnTo>
                <a:lnTo>
                  <a:pt x="7902" y="5638"/>
                </a:lnTo>
                <a:lnTo>
                  <a:pt x="7902" y="5634"/>
                </a:lnTo>
                <a:lnTo>
                  <a:pt x="7900" y="5630"/>
                </a:lnTo>
                <a:lnTo>
                  <a:pt x="7898" y="5630"/>
                </a:lnTo>
                <a:lnTo>
                  <a:pt x="7896" y="5630"/>
                </a:lnTo>
                <a:lnTo>
                  <a:pt x="7894" y="5632"/>
                </a:lnTo>
                <a:lnTo>
                  <a:pt x="7894" y="5634"/>
                </a:lnTo>
                <a:lnTo>
                  <a:pt x="7896" y="5640"/>
                </a:lnTo>
                <a:lnTo>
                  <a:pt x="7898" y="5642"/>
                </a:lnTo>
                <a:lnTo>
                  <a:pt x="7902" y="5642"/>
                </a:lnTo>
                <a:close/>
                <a:moveTo>
                  <a:pt x="7690" y="5324"/>
                </a:moveTo>
                <a:lnTo>
                  <a:pt x="7690" y="5324"/>
                </a:lnTo>
                <a:lnTo>
                  <a:pt x="7688" y="5328"/>
                </a:lnTo>
                <a:lnTo>
                  <a:pt x="7688" y="5334"/>
                </a:lnTo>
                <a:lnTo>
                  <a:pt x="7692" y="5342"/>
                </a:lnTo>
                <a:lnTo>
                  <a:pt x="7696" y="5348"/>
                </a:lnTo>
                <a:lnTo>
                  <a:pt x="7702" y="5352"/>
                </a:lnTo>
                <a:lnTo>
                  <a:pt x="7704" y="5352"/>
                </a:lnTo>
                <a:lnTo>
                  <a:pt x="7704" y="5348"/>
                </a:lnTo>
                <a:lnTo>
                  <a:pt x="7704" y="5342"/>
                </a:lnTo>
                <a:lnTo>
                  <a:pt x="7702" y="5338"/>
                </a:lnTo>
                <a:lnTo>
                  <a:pt x="7700" y="5336"/>
                </a:lnTo>
                <a:lnTo>
                  <a:pt x="7698" y="5332"/>
                </a:lnTo>
                <a:lnTo>
                  <a:pt x="7696" y="5326"/>
                </a:lnTo>
                <a:lnTo>
                  <a:pt x="7694" y="5318"/>
                </a:lnTo>
                <a:lnTo>
                  <a:pt x="7694" y="5316"/>
                </a:lnTo>
                <a:lnTo>
                  <a:pt x="7690" y="5324"/>
                </a:lnTo>
                <a:close/>
                <a:moveTo>
                  <a:pt x="7710" y="5302"/>
                </a:moveTo>
                <a:lnTo>
                  <a:pt x="7710" y="5302"/>
                </a:lnTo>
                <a:lnTo>
                  <a:pt x="7712" y="5304"/>
                </a:lnTo>
                <a:lnTo>
                  <a:pt x="7712" y="5302"/>
                </a:lnTo>
                <a:lnTo>
                  <a:pt x="7716" y="5292"/>
                </a:lnTo>
                <a:lnTo>
                  <a:pt x="7716" y="5282"/>
                </a:lnTo>
                <a:lnTo>
                  <a:pt x="7716" y="5280"/>
                </a:lnTo>
                <a:lnTo>
                  <a:pt x="7712" y="5276"/>
                </a:lnTo>
                <a:lnTo>
                  <a:pt x="7710" y="5276"/>
                </a:lnTo>
                <a:lnTo>
                  <a:pt x="7708" y="5278"/>
                </a:lnTo>
                <a:lnTo>
                  <a:pt x="7710" y="5288"/>
                </a:lnTo>
                <a:lnTo>
                  <a:pt x="7710" y="5292"/>
                </a:lnTo>
                <a:lnTo>
                  <a:pt x="7708" y="5296"/>
                </a:lnTo>
                <a:lnTo>
                  <a:pt x="7708" y="5300"/>
                </a:lnTo>
                <a:lnTo>
                  <a:pt x="7710" y="5302"/>
                </a:lnTo>
                <a:close/>
                <a:moveTo>
                  <a:pt x="7710" y="5426"/>
                </a:moveTo>
                <a:lnTo>
                  <a:pt x="7710" y="5426"/>
                </a:lnTo>
                <a:lnTo>
                  <a:pt x="7714" y="5424"/>
                </a:lnTo>
                <a:lnTo>
                  <a:pt x="7716" y="5422"/>
                </a:lnTo>
                <a:lnTo>
                  <a:pt x="7718" y="5412"/>
                </a:lnTo>
                <a:lnTo>
                  <a:pt x="7718" y="5410"/>
                </a:lnTo>
                <a:lnTo>
                  <a:pt x="7716" y="5410"/>
                </a:lnTo>
                <a:lnTo>
                  <a:pt x="7710" y="5416"/>
                </a:lnTo>
                <a:lnTo>
                  <a:pt x="7706" y="5424"/>
                </a:lnTo>
                <a:lnTo>
                  <a:pt x="7708" y="5426"/>
                </a:lnTo>
                <a:lnTo>
                  <a:pt x="7710" y="5426"/>
                </a:lnTo>
                <a:close/>
                <a:moveTo>
                  <a:pt x="8334" y="6072"/>
                </a:moveTo>
                <a:lnTo>
                  <a:pt x="8334" y="6072"/>
                </a:lnTo>
                <a:lnTo>
                  <a:pt x="8332" y="6076"/>
                </a:lnTo>
                <a:lnTo>
                  <a:pt x="8334" y="6080"/>
                </a:lnTo>
                <a:lnTo>
                  <a:pt x="8340" y="6088"/>
                </a:lnTo>
                <a:lnTo>
                  <a:pt x="8344" y="6090"/>
                </a:lnTo>
                <a:lnTo>
                  <a:pt x="8348" y="6090"/>
                </a:lnTo>
                <a:lnTo>
                  <a:pt x="8354" y="6090"/>
                </a:lnTo>
                <a:lnTo>
                  <a:pt x="8358" y="6088"/>
                </a:lnTo>
                <a:lnTo>
                  <a:pt x="8358" y="6084"/>
                </a:lnTo>
                <a:lnTo>
                  <a:pt x="8358" y="6080"/>
                </a:lnTo>
                <a:lnTo>
                  <a:pt x="8356" y="6074"/>
                </a:lnTo>
                <a:lnTo>
                  <a:pt x="8350" y="6072"/>
                </a:lnTo>
                <a:lnTo>
                  <a:pt x="8346" y="6068"/>
                </a:lnTo>
                <a:lnTo>
                  <a:pt x="8340" y="6068"/>
                </a:lnTo>
                <a:lnTo>
                  <a:pt x="8336" y="6068"/>
                </a:lnTo>
                <a:lnTo>
                  <a:pt x="8334" y="6072"/>
                </a:lnTo>
                <a:close/>
                <a:moveTo>
                  <a:pt x="8428" y="6048"/>
                </a:moveTo>
                <a:lnTo>
                  <a:pt x="8428" y="6048"/>
                </a:lnTo>
                <a:lnTo>
                  <a:pt x="8432" y="6046"/>
                </a:lnTo>
                <a:lnTo>
                  <a:pt x="8436" y="6044"/>
                </a:lnTo>
                <a:lnTo>
                  <a:pt x="8436" y="6042"/>
                </a:lnTo>
                <a:lnTo>
                  <a:pt x="8436" y="6038"/>
                </a:lnTo>
                <a:lnTo>
                  <a:pt x="8434" y="6032"/>
                </a:lnTo>
                <a:lnTo>
                  <a:pt x="8432" y="6022"/>
                </a:lnTo>
                <a:lnTo>
                  <a:pt x="8430" y="6018"/>
                </a:lnTo>
                <a:lnTo>
                  <a:pt x="8428" y="6020"/>
                </a:lnTo>
                <a:lnTo>
                  <a:pt x="8420" y="6030"/>
                </a:lnTo>
                <a:lnTo>
                  <a:pt x="8418" y="6038"/>
                </a:lnTo>
                <a:lnTo>
                  <a:pt x="8418" y="6042"/>
                </a:lnTo>
                <a:lnTo>
                  <a:pt x="8422" y="6046"/>
                </a:lnTo>
                <a:lnTo>
                  <a:pt x="8428" y="6048"/>
                </a:lnTo>
                <a:close/>
                <a:moveTo>
                  <a:pt x="6776" y="2836"/>
                </a:moveTo>
                <a:lnTo>
                  <a:pt x="6776" y="2836"/>
                </a:lnTo>
                <a:lnTo>
                  <a:pt x="6792" y="2836"/>
                </a:lnTo>
                <a:lnTo>
                  <a:pt x="6794" y="2836"/>
                </a:lnTo>
                <a:lnTo>
                  <a:pt x="6794" y="2834"/>
                </a:lnTo>
                <a:lnTo>
                  <a:pt x="6784" y="2832"/>
                </a:lnTo>
                <a:lnTo>
                  <a:pt x="6772" y="2830"/>
                </a:lnTo>
                <a:lnTo>
                  <a:pt x="6768" y="2832"/>
                </a:lnTo>
                <a:lnTo>
                  <a:pt x="6776" y="2836"/>
                </a:lnTo>
                <a:close/>
                <a:moveTo>
                  <a:pt x="6786" y="2826"/>
                </a:moveTo>
                <a:lnTo>
                  <a:pt x="6786" y="2826"/>
                </a:lnTo>
                <a:lnTo>
                  <a:pt x="6786" y="2824"/>
                </a:lnTo>
                <a:lnTo>
                  <a:pt x="6784" y="2824"/>
                </a:lnTo>
                <a:lnTo>
                  <a:pt x="6778" y="2822"/>
                </a:lnTo>
                <a:lnTo>
                  <a:pt x="6770" y="2822"/>
                </a:lnTo>
                <a:lnTo>
                  <a:pt x="6768" y="2822"/>
                </a:lnTo>
                <a:lnTo>
                  <a:pt x="6768" y="2824"/>
                </a:lnTo>
                <a:lnTo>
                  <a:pt x="6772" y="2826"/>
                </a:lnTo>
                <a:lnTo>
                  <a:pt x="6776" y="2826"/>
                </a:lnTo>
                <a:lnTo>
                  <a:pt x="6780" y="2826"/>
                </a:lnTo>
                <a:lnTo>
                  <a:pt x="6786" y="2826"/>
                </a:lnTo>
                <a:close/>
                <a:moveTo>
                  <a:pt x="6786" y="2850"/>
                </a:moveTo>
                <a:lnTo>
                  <a:pt x="6786" y="2850"/>
                </a:lnTo>
                <a:lnTo>
                  <a:pt x="6794" y="2848"/>
                </a:lnTo>
                <a:lnTo>
                  <a:pt x="6796" y="2848"/>
                </a:lnTo>
                <a:lnTo>
                  <a:pt x="6796" y="2846"/>
                </a:lnTo>
                <a:lnTo>
                  <a:pt x="6782" y="2844"/>
                </a:lnTo>
                <a:lnTo>
                  <a:pt x="6778" y="2844"/>
                </a:lnTo>
                <a:lnTo>
                  <a:pt x="6776" y="2846"/>
                </a:lnTo>
                <a:lnTo>
                  <a:pt x="6778" y="2848"/>
                </a:lnTo>
                <a:lnTo>
                  <a:pt x="6780" y="2850"/>
                </a:lnTo>
                <a:lnTo>
                  <a:pt x="6786" y="2850"/>
                </a:lnTo>
                <a:close/>
                <a:moveTo>
                  <a:pt x="6698" y="2726"/>
                </a:moveTo>
                <a:lnTo>
                  <a:pt x="6698" y="2726"/>
                </a:lnTo>
                <a:lnTo>
                  <a:pt x="6696" y="2720"/>
                </a:lnTo>
                <a:lnTo>
                  <a:pt x="6694" y="2718"/>
                </a:lnTo>
                <a:lnTo>
                  <a:pt x="6692" y="2718"/>
                </a:lnTo>
                <a:lnTo>
                  <a:pt x="6690" y="2718"/>
                </a:lnTo>
                <a:lnTo>
                  <a:pt x="6690" y="2720"/>
                </a:lnTo>
                <a:lnTo>
                  <a:pt x="6690" y="2724"/>
                </a:lnTo>
                <a:lnTo>
                  <a:pt x="6690" y="2726"/>
                </a:lnTo>
                <a:lnTo>
                  <a:pt x="6692" y="2728"/>
                </a:lnTo>
                <a:lnTo>
                  <a:pt x="6698" y="2730"/>
                </a:lnTo>
                <a:lnTo>
                  <a:pt x="6702" y="2730"/>
                </a:lnTo>
                <a:lnTo>
                  <a:pt x="6698" y="2726"/>
                </a:lnTo>
                <a:close/>
                <a:moveTo>
                  <a:pt x="6682" y="2734"/>
                </a:moveTo>
                <a:lnTo>
                  <a:pt x="6682" y="2734"/>
                </a:lnTo>
                <a:lnTo>
                  <a:pt x="6682" y="2738"/>
                </a:lnTo>
                <a:lnTo>
                  <a:pt x="6684" y="2740"/>
                </a:lnTo>
                <a:lnTo>
                  <a:pt x="6692" y="2750"/>
                </a:lnTo>
                <a:lnTo>
                  <a:pt x="6692" y="2748"/>
                </a:lnTo>
                <a:lnTo>
                  <a:pt x="6690" y="2738"/>
                </a:lnTo>
                <a:lnTo>
                  <a:pt x="6686" y="2720"/>
                </a:lnTo>
                <a:lnTo>
                  <a:pt x="6684" y="2718"/>
                </a:lnTo>
                <a:lnTo>
                  <a:pt x="6682" y="2720"/>
                </a:lnTo>
                <a:lnTo>
                  <a:pt x="6682" y="2724"/>
                </a:lnTo>
                <a:lnTo>
                  <a:pt x="6684" y="2730"/>
                </a:lnTo>
                <a:lnTo>
                  <a:pt x="6686" y="2734"/>
                </a:lnTo>
                <a:lnTo>
                  <a:pt x="6684" y="2734"/>
                </a:lnTo>
                <a:lnTo>
                  <a:pt x="6682" y="2734"/>
                </a:lnTo>
                <a:close/>
                <a:moveTo>
                  <a:pt x="6714" y="2766"/>
                </a:moveTo>
                <a:lnTo>
                  <a:pt x="6714" y="2766"/>
                </a:lnTo>
                <a:lnTo>
                  <a:pt x="6716" y="2768"/>
                </a:lnTo>
                <a:lnTo>
                  <a:pt x="6714" y="2764"/>
                </a:lnTo>
                <a:lnTo>
                  <a:pt x="6706" y="2754"/>
                </a:lnTo>
                <a:lnTo>
                  <a:pt x="6698" y="2748"/>
                </a:lnTo>
                <a:lnTo>
                  <a:pt x="6698" y="2746"/>
                </a:lnTo>
                <a:lnTo>
                  <a:pt x="6698" y="2750"/>
                </a:lnTo>
                <a:lnTo>
                  <a:pt x="6704" y="2758"/>
                </a:lnTo>
                <a:lnTo>
                  <a:pt x="6714" y="2766"/>
                </a:lnTo>
                <a:close/>
                <a:moveTo>
                  <a:pt x="5870" y="2188"/>
                </a:moveTo>
                <a:lnTo>
                  <a:pt x="5870" y="2188"/>
                </a:lnTo>
                <a:lnTo>
                  <a:pt x="5874" y="2184"/>
                </a:lnTo>
                <a:lnTo>
                  <a:pt x="5878" y="2182"/>
                </a:lnTo>
                <a:lnTo>
                  <a:pt x="5880" y="2182"/>
                </a:lnTo>
                <a:lnTo>
                  <a:pt x="5882" y="2180"/>
                </a:lnTo>
                <a:lnTo>
                  <a:pt x="5880" y="2176"/>
                </a:lnTo>
                <a:lnTo>
                  <a:pt x="5878" y="2176"/>
                </a:lnTo>
                <a:lnTo>
                  <a:pt x="5876" y="2176"/>
                </a:lnTo>
                <a:lnTo>
                  <a:pt x="5876" y="2174"/>
                </a:lnTo>
                <a:lnTo>
                  <a:pt x="5878" y="2172"/>
                </a:lnTo>
                <a:lnTo>
                  <a:pt x="5880" y="2168"/>
                </a:lnTo>
                <a:lnTo>
                  <a:pt x="5880" y="2166"/>
                </a:lnTo>
                <a:lnTo>
                  <a:pt x="5882" y="2168"/>
                </a:lnTo>
                <a:lnTo>
                  <a:pt x="5884" y="2174"/>
                </a:lnTo>
                <a:lnTo>
                  <a:pt x="5886" y="2176"/>
                </a:lnTo>
                <a:lnTo>
                  <a:pt x="5888" y="2172"/>
                </a:lnTo>
                <a:lnTo>
                  <a:pt x="5888" y="2168"/>
                </a:lnTo>
                <a:lnTo>
                  <a:pt x="5886" y="2162"/>
                </a:lnTo>
                <a:lnTo>
                  <a:pt x="5884" y="2156"/>
                </a:lnTo>
                <a:lnTo>
                  <a:pt x="5882" y="2156"/>
                </a:lnTo>
                <a:lnTo>
                  <a:pt x="5880" y="2156"/>
                </a:lnTo>
                <a:lnTo>
                  <a:pt x="5870" y="2158"/>
                </a:lnTo>
                <a:lnTo>
                  <a:pt x="5868" y="2158"/>
                </a:lnTo>
                <a:lnTo>
                  <a:pt x="5870" y="2154"/>
                </a:lnTo>
                <a:lnTo>
                  <a:pt x="5876" y="2152"/>
                </a:lnTo>
                <a:lnTo>
                  <a:pt x="5878" y="2148"/>
                </a:lnTo>
                <a:lnTo>
                  <a:pt x="5878" y="2146"/>
                </a:lnTo>
                <a:lnTo>
                  <a:pt x="5874" y="2146"/>
                </a:lnTo>
                <a:lnTo>
                  <a:pt x="5870" y="2144"/>
                </a:lnTo>
                <a:lnTo>
                  <a:pt x="5868" y="2138"/>
                </a:lnTo>
                <a:lnTo>
                  <a:pt x="5860" y="2124"/>
                </a:lnTo>
                <a:lnTo>
                  <a:pt x="5858" y="2122"/>
                </a:lnTo>
                <a:lnTo>
                  <a:pt x="5856" y="2122"/>
                </a:lnTo>
                <a:lnTo>
                  <a:pt x="5848" y="2122"/>
                </a:lnTo>
                <a:lnTo>
                  <a:pt x="5840" y="2124"/>
                </a:lnTo>
                <a:lnTo>
                  <a:pt x="5832" y="2126"/>
                </a:lnTo>
                <a:lnTo>
                  <a:pt x="5826" y="2126"/>
                </a:lnTo>
                <a:lnTo>
                  <a:pt x="5826" y="2130"/>
                </a:lnTo>
                <a:lnTo>
                  <a:pt x="5822" y="2132"/>
                </a:lnTo>
                <a:lnTo>
                  <a:pt x="5816" y="2134"/>
                </a:lnTo>
                <a:lnTo>
                  <a:pt x="5810" y="2136"/>
                </a:lnTo>
                <a:lnTo>
                  <a:pt x="5808" y="2138"/>
                </a:lnTo>
                <a:lnTo>
                  <a:pt x="5806" y="2146"/>
                </a:lnTo>
                <a:lnTo>
                  <a:pt x="5804" y="2150"/>
                </a:lnTo>
                <a:lnTo>
                  <a:pt x="5802" y="2152"/>
                </a:lnTo>
                <a:lnTo>
                  <a:pt x="5796" y="2154"/>
                </a:lnTo>
                <a:lnTo>
                  <a:pt x="5802" y="2152"/>
                </a:lnTo>
                <a:lnTo>
                  <a:pt x="5804" y="2150"/>
                </a:lnTo>
                <a:lnTo>
                  <a:pt x="5806" y="2144"/>
                </a:lnTo>
                <a:lnTo>
                  <a:pt x="5808" y="2136"/>
                </a:lnTo>
                <a:lnTo>
                  <a:pt x="5812" y="2134"/>
                </a:lnTo>
                <a:lnTo>
                  <a:pt x="5816" y="2130"/>
                </a:lnTo>
                <a:lnTo>
                  <a:pt x="5816" y="2128"/>
                </a:lnTo>
                <a:lnTo>
                  <a:pt x="5818" y="2126"/>
                </a:lnTo>
                <a:lnTo>
                  <a:pt x="5822" y="2124"/>
                </a:lnTo>
                <a:lnTo>
                  <a:pt x="5824" y="2122"/>
                </a:lnTo>
                <a:lnTo>
                  <a:pt x="5824" y="2120"/>
                </a:lnTo>
                <a:lnTo>
                  <a:pt x="5818" y="2116"/>
                </a:lnTo>
                <a:lnTo>
                  <a:pt x="5814" y="2114"/>
                </a:lnTo>
                <a:lnTo>
                  <a:pt x="5810" y="2114"/>
                </a:lnTo>
                <a:lnTo>
                  <a:pt x="5808" y="2114"/>
                </a:lnTo>
                <a:lnTo>
                  <a:pt x="5806" y="2116"/>
                </a:lnTo>
                <a:lnTo>
                  <a:pt x="5804" y="2120"/>
                </a:lnTo>
                <a:lnTo>
                  <a:pt x="5800" y="2122"/>
                </a:lnTo>
                <a:lnTo>
                  <a:pt x="5796" y="2122"/>
                </a:lnTo>
                <a:lnTo>
                  <a:pt x="5788" y="2122"/>
                </a:lnTo>
                <a:lnTo>
                  <a:pt x="5778" y="2128"/>
                </a:lnTo>
                <a:lnTo>
                  <a:pt x="5770" y="2134"/>
                </a:lnTo>
                <a:lnTo>
                  <a:pt x="5768" y="2138"/>
                </a:lnTo>
                <a:lnTo>
                  <a:pt x="5768" y="2142"/>
                </a:lnTo>
                <a:lnTo>
                  <a:pt x="5768" y="2144"/>
                </a:lnTo>
                <a:lnTo>
                  <a:pt x="5766" y="2146"/>
                </a:lnTo>
                <a:lnTo>
                  <a:pt x="5760" y="2150"/>
                </a:lnTo>
                <a:lnTo>
                  <a:pt x="5754" y="2154"/>
                </a:lnTo>
                <a:lnTo>
                  <a:pt x="5752" y="2156"/>
                </a:lnTo>
                <a:lnTo>
                  <a:pt x="5752" y="2158"/>
                </a:lnTo>
                <a:lnTo>
                  <a:pt x="5754" y="2160"/>
                </a:lnTo>
                <a:lnTo>
                  <a:pt x="5760" y="2160"/>
                </a:lnTo>
                <a:lnTo>
                  <a:pt x="5770" y="2160"/>
                </a:lnTo>
                <a:lnTo>
                  <a:pt x="5778" y="2160"/>
                </a:lnTo>
                <a:lnTo>
                  <a:pt x="5778" y="2162"/>
                </a:lnTo>
                <a:lnTo>
                  <a:pt x="5774" y="2166"/>
                </a:lnTo>
                <a:lnTo>
                  <a:pt x="5766" y="2174"/>
                </a:lnTo>
                <a:lnTo>
                  <a:pt x="5762" y="2180"/>
                </a:lnTo>
                <a:lnTo>
                  <a:pt x="5758" y="2182"/>
                </a:lnTo>
                <a:lnTo>
                  <a:pt x="5754" y="2182"/>
                </a:lnTo>
                <a:lnTo>
                  <a:pt x="5748" y="2182"/>
                </a:lnTo>
                <a:lnTo>
                  <a:pt x="5742" y="2184"/>
                </a:lnTo>
                <a:lnTo>
                  <a:pt x="5738" y="2184"/>
                </a:lnTo>
                <a:lnTo>
                  <a:pt x="5732" y="2180"/>
                </a:lnTo>
                <a:lnTo>
                  <a:pt x="5724" y="2178"/>
                </a:lnTo>
                <a:lnTo>
                  <a:pt x="5714" y="2178"/>
                </a:lnTo>
                <a:lnTo>
                  <a:pt x="5706" y="2180"/>
                </a:lnTo>
                <a:lnTo>
                  <a:pt x="5700" y="2186"/>
                </a:lnTo>
                <a:lnTo>
                  <a:pt x="5698" y="2188"/>
                </a:lnTo>
                <a:lnTo>
                  <a:pt x="5702" y="2188"/>
                </a:lnTo>
                <a:lnTo>
                  <a:pt x="5704" y="2188"/>
                </a:lnTo>
                <a:lnTo>
                  <a:pt x="5706" y="2188"/>
                </a:lnTo>
                <a:lnTo>
                  <a:pt x="5704" y="2192"/>
                </a:lnTo>
                <a:lnTo>
                  <a:pt x="5702" y="2196"/>
                </a:lnTo>
                <a:lnTo>
                  <a:pt x="5700" y="2200"/>
                </a:lnTo>
                <a:lnTo>
                  <a:pt x="5702" y="2204"/>
                </a:lnTo>
                <a:lnTo>
                  <a:pt x="5708" y="2204"/>
                </a:lnTo>
                <a:lnTo>
                  <a:pt x="5714" y="2206"/>
                </a:lnTo>
                <a:lnTo>
                  <a:pt x="5722" y="2206"/>
                </a:lnTo>
                <a:lnTo>
                  <a:pt x="5722" y="2208"/>
                </a:lnTo>
                <a:lnTo>
                  <a:pt x="5718" y="2210"/>
                </a:lnTo>
                <a:lnTo>
                  <a:pt x="5710" y="2214"/>
                </a:lnTo>
                <a:lnTo>
                  <a:pt x="5706" y="2218"/>
                </a:lnTo>
                <a:lnTo>
                  <a:pt x="5704" y="2222"/>
                </a:lnTo>
                <a:lnTo>
                  <a:pt x="5700" y="2226"/>
                </a:lnTo>
                <a:lnTo>
                  <a:pt x="5698" y="2228"/>
                </a:lnTo>
                <a:lnTo>
                  <a:pt x="5700" y="2232"/>
                </a:lnTo>
                <a:lnTo>
                  <a:pt x="5708" y="2240"/>
                </a:lnTo>
                <a:lnTo>
                  <a:pt x="5720" y="2244"/>
                </a:lnTo>
                <a:lnTo>
                  <a:pt x="5726" y="2246"/>
                </a:lnTo>
                <a:lnTo>
                  <a:pt x="5730" y="2246"/>
                </a:lnTo>
                <a:lnTo>
                  <a:pt x="5736" y="2244"/>
                </a:lnTo>
                <a:lnTo>
                  <a:pt x="5742" y="2244"/>
                </a:lnTo>
                <a:lnTo>
                  <a:pt x="5744" y="2246"/>
                </a:lnTo>
                <a:lnTo>
                  <a:pt x="5744" y="2248"/>
                </a:lnTo>
                <a:lnTo>
                  <a:pt x="5734" y="2250"/>
                </a:lnTo>
                <a:lnTo>
                  <a:pt x="5730" y="2252"/>
                </a:lnTo>
                <a:lnTo>
                  <a:pt x="5726" y="2256"/>
                </a:lnTo>
                <a:lnTo>
                  <a:pt x="5726" y="2258"/>
                </a:lnTo>
                <a:lnTo>
                  <a:pt x="5726" y="2262"/>
                </a:lnTo>
                <a:lnTo>
                  <a:pt x="5726" y="2264"/>
                </a:lnTo>
                <a:lnTo>
                  <a:pt x="5724" y="2268"/>
                </a:lnTo>
                <a:lnTo>
                  <a:pt x="5720" y="2274"/>
                </a:lnTo>
                <a:lnTo>
                  <a:pt x="5714" y="2278"/>
                </a:lnTo>
                <a:lnTo>
                  <a:pt x="5708" y="2284"/>
                </a:lnTo>
                <a:lnTo>
                  <a:pt x="5706" y="2286"/>
                </a:lnTo>
                <a:lnTo>
                  <a:pt x="5710" y="2286"/>
                </a:lnTo>
                <a:lnTo>
                  <a:pt x="5716" y="2286"/>
                </a:lnTo>
                <a:lnTo>
                  <a:pt x="5742" y="2278"/>
                </a:lnTo>
                <a:lnTo>
                  <a:pt x="5748" y="2276"/>
                </a:lnTo>
                <a:lnTo>
                  <a:pt x="5750" y="2278"/>
                </a:lnTo>
                <a:lnTo>
                  <a:pt x="5750" y="2280"/>
                </a:lnTo>
                <a:lnTo>
                  <a:pt x="5750" y="2282"/>
                </a:lnTo>
                <a:lnTo>
                  <a:pt x="5748" y="2284"/>
                </a:lnTo>
                <a:lnTo>
                  <a:pt x="5736" y="2286"/>
                </a:lnTo>
                <a:lnTo>
                  <a:pt x="5720" y="2288"/>
                </a:lnTo>
                <a:lnTo>
                  <a:pt x="5712" y="2292"/>
                </a:lnTo>
                <a:lnTo>
                  <a:pt x="5708" y="2296"/>
                </a:lnTo>
                <a:lnTo>
                  <a:pt x="5710" y="2300"/>
                </a:lnTo>
                <a:lnTo>
                  <a:pt x="5712" y="2302"/>
                </a:lnTo>
                <a:lnTo>
                  <a:pt x="5706" y="2302"/>
                </a:lnTo>
                <a:lnTo>
                  <a:pt x="5698" y="2302"/>
                </a:lnTo>
                <a:lnTo>
                  <a:pt x="5694" y="2302"/>
                </a:lnTo>
                <a:lnTo>
                  <a:pt x="5690" y="2306"/>
                </a:lnTo>
                <a:lnTo>
                  <a:pt x="5684" y="2310"/>
                </a:lnTo>
                <a:lnTo>
                  <a:pt x="5684" y="2314"/>
                </a:lnTo>
                <a:lnTo>
                  <a:pt x="5686" y="2314"/>
                </a:lnTo>
                <a:lnTo>
                  <a:pt x="5690" y="2314"/>
                </a:lnTo>
                <a:lnTo>
                  <a:pt x="5694" y="2314"/>
                </a:lnTo>
                <a:lnTo>
                  <a:pt x="5698" y="2314"/>
                </a:lnTo>
                <a:lnTo>
                  <a:pt x="5698" y="2316"/>
                </a:lnTo>
                <a:lnTo>
                  <a:pt x="5694" y="2322"/>
                </a:lnTo>
                <a:lnTo>
                  <a:pt x="5690" y="2326"/>
                </a:lnTo>
                <a:lnTo>
                  <a:pt x="5690" y="2330"/>
                </a:lnTo>
                <a:lnTo>
                  <a:pt x="5692" y="2332"/>
                </a:lnTo>
                <a:lnTo>
                  <a:pt x="5696" y="2332"/>
                </a:lnTo>
                <a:lnTo>
                  <a:pt x="5702" y="2334"/>
                </a:lnTo>
                <a:lnTo>
                  <a:pt x="5704" y="2336"/>
                </a:lnTo>
                <a:lnTo>
                  <a:pt x="5702" y="2340"/>
                </a:lnTo>
                <a:lnTo>
                  <a:pt x="5700" y="2344"/>
                </a:lnTo>
                <a:lnTo>
                  <a:pt x="5702" y="2344"/>
                </a:lnTo>
                <a:lnTo>
                  <a:pt x="5712" y="2340"/>
                </a:lnTo>
                <a:lnTo>
                  <a:pt x="5720" y="2338"/>
                </a:lnTo>
                <a:lnTo>
                  <a:pt x="5714" y="2344"/>
                </a:lnTo>
                <a:lnTo>
                  <a:pt x="5712" y="2346"/>
                </a:lnTo>
                <a:lnTo>
                  <a:pt x="5712" y="2348"/>
                </a:lnTo>
                <a:lnTo>
                  <a:pt x="5716" y="2350"/>
                </a:lnTo>
                <a:lnTo>
                  <a:pt x="5724" y="2352"/>
                </a:lnTo>
                <a:lnTo>
                  <a:pt x="5734" y="2350"/>
                </a:lnTo>
                <a:lnTo>
                  <a:pt x="5756" y="2344"/>
                </a:lnTo>
                <a:lnTo>
                  <a:pt x="5764" y="2342"/>
                </a:lnTo>
                <a:lnTo>
                  <a:pt x="5768" y="2338"/>
                </a:lnTo>
                <a:lnTo>
                  <a:pt x="5772" y="2326"/>
                </a:lnTo>
                <a:lnTo>
                  <a:pt x="5774" y="2324"/>
                </a:lnTo>
                <a:lnTo>
                  <a:pt x="5776" y="2328"/>
                </a:lnTo>
                <a:lnTo>
                  <a:pt x="5778" y="2330"/>
                </a:lnTo>
                <a:lnTo>
                  <a:pt x="5780" y="2330"/>
                </a:lnTo>
                <a:lnTo>
                  <a:pt x="5792" y="2324"/>
                </a:lnTo>
                <a:lnTo>
                  <a:pt x="5804" y="2316"/>
                </a:lnTo>
                <a:lnTo>
                  <a:pt x="5810" y="2314"/>
                </a:lnTo>
                <a:lnTo>
                  <a:pt x="5818" y="2312"/>
                </a:lnTo>
                <a:lnTo>
                  <a:pt x="5828" y="2310"/>
                </a:lnTo>
                <a:lnTo>
                  <a:pt x="5832" y="2308"/>
                </a:lnTo>
                <a:lnTo>
                  <a:pt x="5838" y="2306"/>
                </a:lnTo>
                <a:lnTo>
                  <a:pt x="5846" y="2308"/>
                </a:lnTo>
                <a:lnTo>
                  <a:pt x="5852" y="2310"/>
                </a:lnTo>
                <a:lnTo>
                  <a:pt x="5852" y="2306"/>
                </a:lnTo>
                <a:lnTo>
                  <a:pt x="5852" y="2298"/>
                </a:lnTo>
                <a:lnTo>
                  <a:pt x="5854" y="2292"/>
                </a:lnTo>
                <a:lnTo>
                  <a:pt x="5856" y="2284"/>
                </a:lnTo>
                <a:lnTo>
                  <a:pt x="5860" y="2276"/>
                </a:lnTo>
                <a:lnTo>
                  <a:pt x="5864" y="2268"/>
                </a:lnTo>
                <a:lnTo>
                  <a:pt x="5866" y="2252"/>
                </a:lnTo>
                <a:lnTo>
                  <a:pt x="5864" y="2236"/>
                </a:lnTo>
                <a:lnTo>
                  <a:pt x="5860" y="2222"/>
                </a:lnTo>
                <a:lnTo>
                  <a:pt x="5852" y="2206"/>
                </a:lnTo>
                <a:lnTo>
                  <a:pt x="5852" y="2202"/>
                </a:lnTo>
                <a:lnTo>
                  <a:pt x="5854" y="2200"/>
                </a:lnTo>
                <a:lnTo>
                  <a:pt x="5858" y="2200"/>
                </a:lnTo>
                <a:lnTo>
                  <a:pt x="5858" y="2196"/>
                </a:lnTo>
                <a:lnTo>
                  <a:pt x="5854" y="2192"/>
                </a:lnTo>
                <a:lnTo>
                  <a:pt x="5856" y="2192"/>
                </a:lnTo>
                <a:lnTo>
                  <a:pt x="5860" y="2192"/>
                </a:lnTo>
                <a:lnTo>
                  <a:pt x="5862" y="2196"/>
                </a:lnTo>
                <a:lnTo>
                  <a:pt x="5864" y="2196"/>
                </a:lnTo>
                <a:lnTo>
                  <a:pt x="5870" y="2188"/>
                </a:lnTo>
                <a:close/>
                <a:moveTo>
                  <a:pt x="6178" y="2288"/>
                </a:moveTo>
                <a:lnTo>
                  <a:pt x="6178" y="2288"/>
                </a:lnTo>
                <a:lnTo>
                  <a:pt x="6176" y="2278"/>
                </a:lnTo>
                <a:lnTo>
                  <a:pt x="6170" y="2270"/>
                </a:lnTo>
                <a:lnTo>
                  <a:pt x="6162" y="2266"/>
                </a:lnTo>
                <a:lnTo>
                  <a:pt x="6154" y="2262"/>
                </a:lnTo>
                <a:lnTo>
                  <a:pt x="6146" y="2260"/>
                </a:lnTo>
                <a:lnTo>
                  <a:pt x="6136" y="2260"/>
                </a:lnTo>
                <a:lnTo>
                  <a:pt x="6130" y="2262"/>
                </a:lnTo>
                <a:lnTo>
                  <a:pt x="6126" y="2266"/>
                </a:lnTo>
                <a:lnTo>
                  <a:pt x="6122" y="2272"/>
                </a:lnTo>
                <a:lnTo>
                  <a:pt x="6118" y="2272"/>
                </a:lnTo>
                <a:lnTo>
                  <a:pt x="6116" y="2268"/>
                </a:lnTo>
                <a:lnTo>
                  <a:pt x="6112" y="2268"/>
                </a:lnTo>
                <a:lnTo>
                  <a:pt x="6108" y="2266"/>
                </a:lnTo>
                <a:lnTo>
                  <a:pt x="6110" y="2262"/>
                </a:lnTo>
                <a:lnTo>
                  <a:pt x="6114" y="2258"/>
                </a:lnTo>
                <a:lnTo>
                  <a:pt x="6120" y="2256"/>
                </a:lnTo>
                <a:lnTo>
                  <a:pt x="6122" y="2254"/>
                </a:lnTo>
                <a:lnTo>
                  <a:pt x="6122" y="2250"/>
                </a:lnTo>
                <a:lnTo>
                  <a:pt x="6120" y="2242"/>
                </a:lnTo>
                <a:lnTo>
                  <a:pt x="6112" y="2232"/>
                </a:lnTo>
                <a:lnTo>
                  <a:pt x="6102" y="2224"/>
                </a:lnTo>
                <a:lnTo>
                  <a:pt x="6094" y="2218"/>
                </a:lnTo>
                <a:lnTo>
                  <a:pt x="6092" y="2216"/>
                </a:lnTo>
                <a:lnTo>
                  <a:pt x="6096" y="2216"/>
                </a:lnTo>
                <a:lnTo>
                  <a:pt x="6102" y="2218"/>
                </a:lnTo>
                <a:lnTo>
                  <a:pt x="6108" y="2222"/>
                </a:lnTo>
                <a:lnTo>
                  <a:pt x="6114" y="2224"/>
                </a:lnTo>
                <a:lnTo>
                  <a:pt x="6114" y="2222"/>
                </a:lnTo>
                <a:lnTo>
                  <a:pt x="6112" y="2220"/>
                </a:lnTo>
                <a:lnTo>
                  <a:pt x="6106" y="2210"/>
                </a:lnTo>
                <a:lnTo>
                  <a:pt x="6102" y="2206"/>
                </a:lnTo>
                <a:lnTo>
                  <a:pt x="6102" y="2200"/>
                </a:lnTo>
                <a:lnTo>
                  <a:pt x="6102" y="2194"/>
                </a:lnTo>
                <a:lnTo>
                  <a:pt x="6102" y="2190"/>
                </a:lnTo>
                <a:lnTo>
                  <a:pt x="6100" y="2188"/>
                </a:lnTo>
                <a:lnTo>
                  <a:pt x="6096" y="2186"/>
                </a:lnTo>
                <a:lnTo>
                  <a:pt x="6092" y="2184"/>
                </a:lnTo>
                <a:lnTo>
                  <a:pt x="6090" y="2182"/>
                </a:lnTo>
                <a:lnTo>
                  <a:pt x="6088" y="2176"/>
                </a:lnTo>
                <a:lnTo>
                  <a:pt x="6084" y="2170"/>
                </a:lnTo>
                <a:lnTo>
                  <a:pt x="6080" y="2166"/>
                </a:lnTo>
                <a:lnTo>
                  <a:pt x="6074" y="2164"/>
                </a:lnTo>
                <a:lnTo>
                  <a:pt x="6066" y="2162"/>
                </a:lnTo>
                <a:lnTo>
                  <a:pt x="6060" y="2160"/>
                </a:lnTo>
                <a:lnTo>
                  <a:pt x="6058" y="2154"/>
                </a:lnTo>
                <a:lnTo>
                  <a:pt x="6050" y="2140"/>
                </a:lnTo>
                <a:lnTo>
                  <a:pt x="6044" y="2124"/>
                </a:lnTo>
                <a:lnTo>
                  <a:pt x="6042" y="2112"/>
                </a:lnTo>
                <a:lnTo>
                  <a:pt x="6042" y="2104"/>
                </a:lnTo>
                <a:lnTo>
                  <a:pt x="6040" y="2100"/>
                </a:lnTo>
                <a:lnTo>
                  <a:pt x="6036" y="2098"/>
                </a:lnTo>
                <a:lnTo>
                  <a:pt x="6030" y="2092"/>
                </a:lnTo>
                <a:lnTo>
                  <a:pt x="6026" y="2086"/>
                </a:lnTo>
                <a:lnTo>
                  <a:pt x="6020" y="2080"/>
                </a:lnTo>
                <a:lnTo>
                  <a:pt x="6006" y="2074"/>
                </a:lnTo>
                <a:lnTo>
                  <a:pt x="6000" y="2072"/>
                </a:lnTo>
                <a:lnTo>
                  <a:pt x="5994" y="2070"/>
                </a:lnTo>
                <a:lnTo>
                  <a:pt x="5992" y="2072"/>
                </a:lnTo>
                <a:lnTo>
                  <a:pt x="5990" y="2074"/>
                </a:lnTo>
                <a:lnTo>
                  <a:pt x="5986" y="2076"/>
                </a:lnTo>
                <a:lnTo>
                  <a:pt x="5982" y="2076"/>
                </a:lnTo>
                <a:lnTo>
                  <a:pt x="5976" y="2076"/>
                </a:lnTo>
                <a:lnTo>
                  <a:pt x="5970" y="2074"/>
                </a:lnTo>
                <a:lnTo>
                  <a:pt x="5974" y="2072"/>
                </a:lnTo>
                <a:lnTo>
                  <a:pt x="5980" y="2070"/>
                </a:lnTo>
                <a:lnTo>
                  <a:pt x="5984" y="2066"/>
                </a:lnTo>
                <a:lnTo>
                  <a:pt x="5986" y="2062"/>
                </a:lnTo>
                <a:lnTo>
                  <a:pt x="5988" y="2062"/>
                </a:lnTo>
                <a:lnTo>
                  <a:pt x="5992" y="2062"/>
                </a:lnTo>
                <a:lnTo>
                  <a:pt x="6000" y="2060"/>
                </a:lnTo>
                <a:lnTo>
                  <a:pt x="6002" y="2058"/>
                </a:lnTo>
                <a:lnTo>
                  <a:pt x="6004" y="2058"/>
                </a:lnTo>
                <a:lnTo>
                  <a:pt x="6000" y="2056"/>
                </a:lnTo>
                <a:lnTo>
                  <a:pt x="5996" y="2054"/>
                </a:lnTo>
                <a:lnTo>
                  <a:pt x="5994" y="2052"/>
                </a:lnTo>
                <a:lnTo>
                  <a:pt x="5992" y="2050"/>
                </a:lnTo>
                <a:lnTo>
                  <a:pt x="5992" y="2048"/>
                </a:lnTo>
                <a:lnTo>
                  <a:pt x="5990" y="2046"/>
                </a:lnTo>
                <a:lnTo>
                  <a:pt x="5988" y="2044"/>
                </a:lnTo>
                <a:lnTo>
                  <a:pt x="5990" y="2044"/>
                </a:lnTo>
                <a:lnTo>
                  <a:pt x="5996" y="2046"/>
                </a:lnTo>
                <a:lnTo>
                  <a:pt x="6000" y="2044"/>
                </a:lnTo>
                <a:lnTo>
                  <a:pt x="6002" y="2042"/>
                </a:lnTo>
                <a:lnTo>
                  <a:pt x="6010" y="2034"/>
                </a:lnTo>
                <a:lnTo>
                  <a:pt x="6018" y="2014"/>
                </a:lnTo>
                <a:lnTo>
                  <a:pt x="6026" y="1996"/>
                </a:lnTo>
                <a:lnTo>
                  <a:pt x="6032" y="1986"/>
                </a:lnTo>
                <a:lnTo>
                  <a:pt x="6034" y="1980"/>
                </a:lnTo>
                <a:lnTo>
                  <a:pt x="6032" y="1974"/>
                </a:lnTo>
                <a:lnTo>
                  <a:pt x="6030" y="1970"/>
                </a:lnTo>
                <a:lnTo>
                  <a:pt x="6026" y="1968"/>
                </a:lnTo>
                <a:lnTo>
                  <a:pt x="6016" y="1966"/>
                </a:lnTo>
                <a:lnTo>
                  <a:pt x="6004" y="1968"/>
                </a:lnTo>
                <a:lnTo>
                  <a:pt x="5986" y="1968"/>
                </a:lnTo>
                <a:lnTo>
                  <a:pt x="5970" y="1966"/>
                </a:lnTo>
                <a:lnTo>
                  <a:pt x="5960" y="1968"/>
                </a:lnTo>
                <a:lnTo>
                  <a:pt x="5952" y="1972"/>
                </a:lnTo>
                <a:lnTo>
                  <a:pt x="5946" y="1976"/>
                </a:lnTo>
                <a:lnTo>
                  <a:pt x="5942" y="1974"/>
                </a:lnTo>
                <a:lnTo>
                  <a:pt x="5944" y="1972"/>
                </a:lnTo>
                <a:lnTo>
                  <a:pt x="5952" y="1962"/>
                </a:lnTo>
                <a:lnTo>
                  <a:pt x="5954" y="1960"/>
                </a:lnTo>
                <a:lnTo>
                  <a:pt x="5954" y="1958"/>
                </a:lnTo>
                <a:lnTo>
                  <a:pt x="5948" y="1958"/>
                </a:lnTo>
                <a:lnTo>
                  <a:pt x="5942" y="1960"/>
                </a:lnTo>
                <a:lnTo>
                  <a:pt x="5942" y="1958"/>
                </a:lnTo>
                <a:lnTo>
                  <a:pt x="5944" y="1958"/>
                </a:lnTo>
                <a:lnTo>
                  <a:pt x="5954" y="1950"/>
                </a:lnTo>
                <a:lnTo>
                  <a:pt x="5968" y="1938"/>
                </a:lnTo>
                <a:lnTo>
                  <a:pt x="5980" y="1926"/>
                </a:lnTo>
                <a:lnTo>
                  <a:pt x="5984" y="1920"/>
                </a:lnTo>
                <a:lnTo>
                  <a:pt x="5984" y="1918"/>
                </a:lnTo>
                <a:lnTo>
                  <a:pt x="5984" y="1916"/>
                </a:lnTo>
                <a:lnTo>
                  <a:pt x="5984" y="1914"/>
                </a:lnTo>
                <a:lnTo>
                  <a:pt x="5984" y="1910"/>
                </a:lnTo>
                <a:lnTo>
                  <a:pt x="5986" y="1908"/>
                </a:lnTo>
                <a:lnTo>
                  <a:pt x="5984" y="1906"/>
                </a:lnTo>
                <a:lnTo>
                  <a:pt x="5978" y="1904"/>
                </a:lnTo>
                <a:lnTo>
                  <a:pt x="5970" y="1906"/>
                </a:lnTo>
                <a:lnTo>
                  <a:pt x="5968" y="1908"/>
                </a:lnTo>
                <a:lnTo>
                  <a:pt x="5964" y="1908"/>
                </a:lnTo>
                <a:lnTo>
                  <a:pt x="5956" y="1908"/>
                </a:lnTo>
                <a:lnTo>
                  <a:pt x="5948" y="1912"/>
                </a:lnTo>
                <a:lnTo>
                  <a:pt x="5938" y="1914"/>
                </a:lnTo>
                <a:lnTo>
                  <a:pt x="5932" y="1912"/>
                </a:lnTo>
                <a:lnTo>
                  <a:pt x="5926" y="1912"/>
                </a:lnTo>
                <a:lnTo>
                  <a:pt x="5924" y="1912"/>
                </a:lnTo>
                <a:lnTo>
                  <a:pt x="5920" y="1914"/>
                </a:lnTo>
                <a:lnTo>
                  <a:pt x="5916" y="1912"/>
                </a:lnTo>
                <a:lnTo>
                  <a:pt x="5910" y="1910"/>
                </a:lnTo>
                <a:lnTo>
                  <a:pt x="5906" y="1908"/>
                </a:lnTo>
                <a:lnTo>
                  <a:pt x="5902" y="1910"/>
                </a:lnTo>
                <a:lnTo>
                  <a:pt x="5904" y="1916"/>
                </a:lnTo>
                <a:lnTo>
                  <a:pt x="5904" y="1920"/>
                </a:lnTo>
                <a:lnTo>
                  <a:pt x="5902" y="1922"/>
                </a:lnTo>
                <a:lnTo>
                  <a:pt x="5900" y="1924"/>
                </a:lnTo>
                <a:lnTo>
                  <a:pt x="5898" y="1924"/>
                </a:lnTo>
                <a:lnTo>
                  <a:pt x="5900" y="1930"/>
                </a:lnTo>
                <a:lnTo>
                  <a:pt x="5904" y="1932"/>
                </a:lnTo>
                <a:lnTo>
                  <a:pt x="5902" y="1934"/>
                </a:lnTo>
                <a:lnTo>
                  <a:pt x="5896" y="1932"/>
                </a:lnTo>
                <a:lnTo>
                  <a:pt x="5890" y="1932"/>
                </a:lnTo>
                <a:lnTo>
                  <a:pt x="5892" y="1934"/>
                </a:lnTo>
                <a:lnTo>
                  <a:pt x="5894" y="1938"/>
                </a:lnTo>
                <a:lnTo>
                  <a:pt x="5894" y="1942"/>
                </a:lnTo>
                <a:lnTo>
                  <a:pt x="5892" y="1942"/>
                </a:lnTo>
                <a:lnTo>
                  <a:pt x="5888" y="1942"/>
                </a:lnTo>
                <a:lnTo>
                  <a:pt x="5888" y="1944"/>
                </a:lnTo>
                <a:lnTo>
                  <a:pt x="5890" y="1948"/>
                </a:lnTo>
                <a:lnTo>
                  <a:pt x="5892" y="1952"/>
                </a:lnTo>
                <a:lnTo>
                  <a:pt x="5890" y="1956"/>
                </a:lnTo>
                <a:lnTo>
                  <a:pt x="5886" y="1956"/>
                </a:lnTo>
                <a:lnTo>
                  <a:pt x="5876" y="1956"/>
                </a:lnTo>
                <a:lnTo>
                  <a:pt x="5872" y="1958"/>
                </a:lnTo>
                <a:lnTo>
                  <a:pt x="5874" y="1962"/>
                </a:lnTo>
                <a:lnTo>
                  <a:pt x="5876" y="1968"/>
                </a:lnTo>
                <a:lnTo>
                  <a:pt x="5874" y="1972"/>
                </a:lnTo>
                <a:lnTo>
                  <a:pt x="5872" y="1976"/>
                </a:lnTo>
                <a:lnTo>
                  <a:pt x="5872" y="1986"/>
                </a:lnTo>
                <a:lnTo>
                  <a:pt x="5872" y="1988"/>
                </a:lnTo>
                <a:lnTo>
                  <a:pt x="5874" y="1990"/>
                </a:lnTo>
                <a:lnTo>
                  <a:pt x="5878" y="1992"/>
                </a:lnTo>
                <a:lnTo>
                  <a:pt x="5880" y="1994"/>
                </a:lnTo>
                <a:lnTo>
                  <a:pt x="5880" y="1998"/>
                </a:lnTo>
                <a:lnTo>
                  <a:pt x="5876" y="2004"/>
                </a:lnTo>
                <a:lnTo>
                  <a:pt x="5874" y="2006"/>
                </a:lnTo>
                <a:lnTo>
                  <a:pt x="5872" y="2008"/>
                </a:lnTo>
                <a:lnTo>
                  <a:pt x="5874" y="2010"/>
                </a:lnTo>
                <a:lnTo>
                  <a:pt x="5876" y="2012"/>
                </a:lnTo>
                <a:lnTo>
                  <a:pt x="5874" y="2014"/>
                </a:lnTo>
                <a:lnTo>
                  <a:pt x="5870" y="2016"/>
                </a:lnTo>
                <a:lnTo>
                  <a:pt x="5868" y="2018"/>
                </a:lnTo>
                <a:lnTo>
                  <a:pt x="5872" y="2020"/>
                </a:lnTo>
                <a:lnTo>
                  <a:pt x="5872" y="2024"/>
                </a:lnTo>
                <a:lnTo>
                  <a:pt x="5868" y="2026"/>
                </a:lnTo>
                <a:lnTo>
                  <a:pt x="5862" y="2026"/>
                </a:lnTo>
                <a:lnTo>
                  <a:pt x="5858" y="2026"/>
                </a:lnTo>
                <a:lnTo>
                  <a:pt x="5856" y="2028"/>
                </a:lnTo>
                <a:lnTo>
                  <a:pt x="5856" y="2030"/>
                </a:lnTo>
                <a:lnTo>
                  <a:pt x="5858" y="2030"/>
                </a:lnTo>
                <a:lnTo>
                  <a:pt x="5866" y="2030"/>
                </a:lnTo>
                <a:lnTo>
                  <a:pt x="5874" y="2030"/>
                </a:lnTo>
                <a:lnTo>
                  <a:pt x="5876" y="2032"/>
                </a:lnTo>
                <a:lnTo>
                  <a:pt x="5868" y="2034"/>
                </a:lnTo>
                <a:lnTo>
                  <a:pt x="5864" y="2036"/>
                </a:lnTo>
                <a:lnTo>
                  <a:pt x="5864" y="2038"/>
                </a:lnTo>
                <a:lnTo>
                  <a:pt x="5868" y="2038"/>
                </a:lnTo>
                <a:lnTo>
                  <a:pt x="5872" y="2040"/>
                </a:lnTo>
                <a:lnTo>
                  <a:pt x="5876" y="2040"/>
                </a:lnTo>
                <a:lnTo>
                  <a:pt x="5878" y="2040"/>
                </a:lnTo>
                <a:lnTo>
                  <a:pt x="5880" y="2040"/>
                </a:lnTo>
                <a:lnTo>
                  <a:pt x="5884" y="2038"/>
                </a:lnTo>
                <a:lnTo>
                  <a:pt x="5892" y="2030"/>
                </a:lnTo>
                <a:lnTo>
                  <a:pt x="5890" y="2036"/>
                </a:lnTo>
                <a:lnTo>
                  <a:pt x="5888" y="2042"/>
                </a:lnTo>
                <a:lnTo>
                  <a:pt x="5886" y="2048"/>
                </a:lnTo>
                <a:lnTo>
                  <a:pt x="5886" y="2052"/>
                </a:lnTo>
                <a:lnTo>
                  <a:pt x="5882" y="2054"/>
                </a:lnTo>
                <a:lnTo>
                  <a:pt x="5880" y="2058"/>
                </a:lnTo>
                <a:lnTo>
                  <a:pt x="5882" y="2062"/>
                </a:lnTo>
                <a:lnTo>
                  <a:pt x="5882" y="2066"/>
                </a:lnTo>
                <a:lnTo>
                  <a:pt x="5880" y="2070"/>
                </a:lnTo>
                <a:lnTo>
                  <a:pt x="5876" y="2076"/>
                </a:lnTo>
                <a:lnTo>
                  <a:pt x="5878" y="2078"/>
                </a:lnTo>
                <a:lnTo>
                  <a:pt x="5878" y="2082"/>
                </a:lnTo>
                <a:lnTo>
                  <a:pt x="5878" y="2086"/>
                </a:lnTo>
                <a:lnTo>
                  <a:pt x="5878" y="2088"/>
                </a:lnTo>
                <a:lnTo>
                  <a:pt x="5880" y="2090"/>
                </a:lnTo>
                <a:lnTo>
                  <a:pt x="5884" y="2088"/>
                </a:lnTo>
                <a:lnTo>
                  <a:pt x="5882" y="2090"/>
                </a:lnTo>
                <a:lnTo>
                  <a:pt x="5878" y="2100"/>
                </a:lnTo>
                <a:lnTo>
                  <a:pt x="5874" y="2112"/>
                </a:lnTo>
                <a:lnTo>
                  <a:pt x="5874" y="2116"/>
                </a:lnTo>
                <a:lnTo>
                  <a:pt x="5876" y="2118"/>
                </a:lnTo>
                <a:lnTo>
                  <a:pt x="5878" y="2120"/>
                </a:lnTo>
                <a:lnTo>
                  <a:pt x="5880" y="2118"/>
                </a:lnTo>
                <a:lnTo>
                  <a:pt x="5884" y="2108"/>
                </a:lnTo>
                <a:lnTo>
                  <a:pt x="5886" y="2098"/>
                </a:lnTo>
                <a:lnTo>
                  <a:pt x="5888" y="2094"/>
                </a:lnTo>
                <a:lnTo>
                  <a:pt x="5892" y="2090"/>
                </a:lnTo>
                <a:lnTo>
                  <a:pt x="5892" y="2088"/>
                </a:lnTo>
                <a:lnTo>
                  <a:pt x="5892" y="2086"/>
                </a:lnTo>
                <a:lnTo>
                  <a:pt x="5890" y="2082"/>
                </a:lnTo>
                <a:lnTo>
                  <a:pt x="5888" y="2078"/>
                </a:lnTo>
                <a:lnTo>
                  <a:pt x="5888" y="2076"/>
                </a:lnTo>
                <a:lnTo>
                  <a:pt x="5890" y="2072"/>
                </a:lnTo>
                <a:lnTo>
                  <a:pt x="5894" y="2070"/>
                </a:lnTo>
                <a:lnTo>
                  <a:pt x="5892" y="2074"/>
                </a:lnTo>
                <a:lnTo>
                  <a:pt x="5892" y="2078"/>
                </a:lnTo>
                <a:lnTo>
                  <a:pt x="5894" y="2080"/>
                </a:lnTo>
                <a:lnTo>
                  <a:pt x="5896" y="2082"/>
                </a:lnTo>
                <a:lnTo>
                  <a:pt x="5898" y="2084"/>
                </a:lnTo>
                <a:lnTo>
                  <a:pt x="5900" y="2080"/>
                </a:lnTo>
                <a:lnTo>
                  <a:pt x="5900" y="2078"/>
                </a:lnTo>
                <a:lnTo>
                  <a:pt x="5904" y="2080"/>
                </a:lnTo>
                <a:lnTo>
                  <a:pt x="5906" y="2082"/>
                </a:lnTo>
                <a:lnTo>
                  <a:pt x="5906" y="2080"/>
                </a:lnTo>
                <a:lnTo>
                  <a:pt x="5908" y="2076"/>
                </a:lnTo>
                <a:lnTo>
                  <a:pt x="5910" y="2074"/>
                </a:lnTo>
                <a:lnTo>
                  <a:pt x="5912" y="2072"/>
                </a:lnTo>
                <a:lnTo>
                  <a:pt x="5916" y="2074"/>
                </a:lnTo>
                <a:lnTo>
                  <a:pt x="5922" y="2080"/>
                </a:lnTo>
                <a:lnTo>
                  <a:pt x="5914" y="2080"/>
                </a:lnTo>
                <a:lnTo>
                  <a:pt x="5908" y="2084"/>
                </a:lnTo>
                <a:lnTo>
                  <a:pt x="5908" y="2086"/>
                </a:lnTo>
                <a:lnTo>
                  <a:pt x="5908" y="2090"/>
                </a:lnTo>
                <a:lnTo>
                  <a:pt x="5916" y="2098"/>
                </a:lnTo>
                <a:lnTo>
                  <a:pt x="5918" y="2102"/>
                </a:lnTo>
                <a:lnTo>
                  <a:pt x="5920" y="2108"/>
                </a:lnTo>
                <a:lnTo>
                  <a:pt x="5918" y="2112"/>
                </a:lnTo>
                <a:lnTo>
                  <a:pt x="5914" y="2116"/>
                </a:lnTo>
                <a:lnTo>
                  <a:pt x="5908" y="2124"/>
                </a:lnTo>
                <a:lnTo>
                  <a:pt x="5906" y="2128"/>
                </a:lnTo>
                <a:lnTo>
                  <a:pt x="5906" y="2134"/>
                </a:lnTo>
                <a:lnTo>
                  <a:pt x="5906" y="2140"/>
                </a:lnTo>
                <a:lnTo>
                  <a:pt x="5904" y="2138"/>
                </a:lnTo>
                <a:lnTo>
                  <a:pt x="5902" y="2136"/>
                </a:lnTo>
                <a:lnTo>
                  <a:pt x="5900" y="2136"/>
                </a:lnTo>
                <a:lnTo>
                  <a:pt x="5898" y="2138"/>
                </a:lnTo>
                <a:lnTo>
                  <a:pt x="5898" y="2140"/>
                </a:lnTo>
                <a:lnTo>
                  <a:pt x="5898" y="2144"/>
                </a:lnTo>
                <a:lnTo>
                  <a:pt x="5904" y="2152"/>
                </a:lnTo>
                <a:lnTo>
                  <a:pt x="5908" y="2156"/>
                </a:lnTo>
                <a:lnTo>
                  <a:pt x="5910" y="2156"/>
                </a:lnTo>
                <a:lnTo>
                  <a:pt x="5908" y="2152"/>
                </a:lnTo>
                <a:lnTo>
                  <a:pt x="5908" y="2148"/>
                </a:lnTo>
                <a:lnTo>
                  <a:pt x="5908" y="2146"/>
                </a:lnTo>
                <a:lnTo>
                  <a:pt x="5910" y="2144"/>
                </a:lnTo>
                <a:lnTo>
                  <a:pt x="5912" y="2146"/>
                </a:lnTo>
                <a:lnTo>
                  <a:pt x="5918" y="2148"/>
                </a:lnTo>
                <a:lnTo>
                  <a:pt x="5924" y="2154"/>
                </a:lnTo>
                <a:lnTo>
                  <a:pt x="5928" y="2156"/>
                </a:lnTo>
                <a:lnTo>
                  <a:pt x="5930" y="2156"/>
                </a:lnTo>
                <a:lnTo>
                  <a:pt x="5932" y="2152"/>
                </a:lnTo>
                <a:lnTo>
                  <a:pt x="5930" y="2146"/>
                </a:lnTo>
                <a:lnTo>
                  <a:pt x="5930" y="2144"/>
                </a:lnTo>
                <a:lnTo>
                  <a:pt x="5936" y="2148"/>
                </a:lnTo>
                <a:lnTo>
                  <a:pt x="5944" y="2152"/>
                </a:lnTo>
                <a:lnTo>
                  <a:pt x="5948" y="2150"/>
                </a:lnTo>
                <a:lnTo>
                  <a:pt x="5950" y="2148"/>
                </a:lnTo>
                <a:lnTo>
                  <a:pt x="5956" y="2144"/>
                </a:lnTo>
                <a:lnTo>
                  <a:pt x="5958" y="2144"/>
                </a:lnTo>
                <a:lnTo>
                  <a:pt x="5962" y="2144"/>
                </a:lnTo>
                <a:lnTo>
                  <a:pt x="5964" y="2140"/>
                </a:lnTo>
                <a:lnTo>
                  <a:pt x="5966" y="2138"/>
                </a:lnTo>
                <a:lnTo>
                  <a:pt x="5972" y="2138"/>
                </a:lnTo>
                <a:lnTo>
                  <a:pt x="5976" y="2138"/>
                </a:lnTo>
                <a:lnTo>
                  <a:pt x="5976" y="2140"/>
                </a:lnTo>
                <a:lnTo>
                  <a:pt x="5972" y="2144"/>
                </a:lnTo>
                <a:lnTo>
                  <a:pt x="5964" y="2154"/>
                </a:lnTo>
                <a:lnTo>
                  <a:pt x="5962" y="2162"/>
                </a:lnTo>
                <a:lnTo>
                  <a:pt x="5960" y="2166"/>
                </a:lnTo>
                <a:lnTo>
                  <a:pt x="5960" y="2172"/>
                </a:lnTo>
                <a:lnTo>
                  <a:pt x="5962" y="2176"/>
                </a:lnTo>
                <a:lnTo>
                  <a:pt x="5970" y="2182"/>
                </a:lnTo>
                <a:lnTo>
                  <a:pt x="5976" y="2190"/>
                </a:lnTo>
                <a:lnTo>
                  <a:pt x="5980" y="2194"/>
                </a:lnTo>
                <a:lnTo>
                  <a:pt x="5982" y="2192"/>
                </a:lnTo>
                <a:lnTo>
                  <a:pt x="5984" y="2188"/>
                </a:lnTo>
                <a:lnTo>
                  <a:pt x="5986" y="2188"/>
                </a:lnTo>
                <a:lnTo>
                  <a:pt x="5990" y="2186"/>
                </a:lnTo>
                <a:lnTo>
                  <a:pt x="5992" y="2188"/>
                </a:lnTo>
                <a:lnTo>
                  <a:pt x="5992" y="2192"/>
                </a:lnTo>
                <a:lnTo>
                  <a:pt x="5990" y="2196"/>
                </a:lnTo>
                <a:lnTo>
                  <a:pt x="5990" y="2198"/>
                </a:lnTo>
                <a:lnTo>
                  <a:pt x="5992" y="2200"/>
                </a:lnTo>
                <a:lnTo>
                  <a:pt x="5990" y="2202"/>
                </a:lnTo>
                <a:lnTo>
                  <a:pt x="5986" y="2204"/>
                </a:lnTo>
                <a:lnTo>
                  <a:pt x="5984" y="2206"/>
                </a:lnTo>
                <a:lnTo>
                  <a:pt x="5982" y="2208"/>
                </a:lnTo>
                <a:lnTo>
                  <a:pt x="5984" y="2212"/>
                </a:lnTo>
                <a:lnTo>
                  <a:pt x="5988" y="2214"/>
                </a:lnTo>
                <a:lnTo>
                  <a:pt x="5988" y="2216"/>
                </a:lnTo>
                <a:lnTo>
                  <a:pt x="5986" y="2218"/>
                </a:lnTo>
                <a:lnTo>
                  <a:pt x="5984" y="2220"/>
                </a:lnTo>
                <a:lnTo>
                  <a:pt x="5984" y="2222"/>
                </a:lnTo>
                <a:lnTo>
                  <a:pt x="5984" y="2226"/>
                </a:lnTo>
                <a:lnTo>
                  <a:pt x="5988" y="2232"/>
                </a:lnTo>
                <a:lnTo>
                  <a:pt x="5992" y="2242"/>
                </a:lnTo>
                <a:lnTo>
                  <a:pt x="5988" y="2238"/>
                </a:lnTo>
                <a:lnTo>
                  <a:pt x="5984" y="2234"/>
                </a:lnTo>
                <a:lnTo>
                  <a:pt x="5980" y="2234"/>
                </a:lnTo>
                <a:lnTo>
                  <a:pt x="5978" y="2236"/>
                </a:lnTo>
                <a:lnTo>
                  <a:pt x="5980" y="2240"/>
                </a:lnTo>
                <a:lnTo>
                  <a:pt x="5982" y="2244"/>
                </a:lnTo>
                <a:lnTo>
                  <a:pt x="5980" y="2242"/>
                </a:lnTo>
                <a:lnTo>
                  <a:pt x="5974" y="2238"/>
                </a:lnTo>
                <a:lnTo>
                  <a:pt x="5970" y="2238"/>
                </a:lnTo>
                <a:lnTo>
                  <a:pt x="5966" y="2240"/>
                </a:lnTo>
                <a:lnTo>
                  <a:pt x="5960" y="2242"/>
                </a:lnTo>
                <a:lnTo>
                  <a:pt x="5956" y="2240"/>
                </a:lnTo>
                <a:lnTo>
                  <a:pt x="5954" y="2240"/>
                </a:lnTo>
                <a:lnTo>
                  <a:pt x="5950" y="2240"/>
                </a:lnTo>
                <a:lnTo>
                  <a:pt x="5948" y="2242"/>
                </a:lnTo>
                <a:lnTo>
                  <a:pt x="5944" y="2244"/>
                </a:lnTo>
                <a:lnTo>
                  <a:pt x="5940" y="2246"/>
                </a:lnTo>
                <a:lnTo>
                  <a:pt x="5936" y="2250"/>
                </a:lnTo>
                <a:lnTo>
                  <a:pt x="5930" y="2258"/>
                </a:lnTo>
                <a:lnTo>
                  <a:pt x="5924" y="2260"/>
                </a:lnTo>
                <a:lnTo>
                  <a:pt x="5920" y="2264"/>
                </a:lnTo>
                <a:lnTo>
                  <a:pt x="5916" y="2268"/>
                </a:lnTo>
                <a:lnTo>
                  <a:pt x="5914" y="2274"/>
                </a:lnTo>
                <a:lnTo>
                  <a:pt x="5916" y="2274"/>
                </a:lnTo>
                <a:lnTo>
                  <a:pt x="5918" y="2272"/>
                </a:lnTo>
                <a:lnTo>
                  <a:pt x="5922" y="2272"/>
                </a:lnTo>
                <a:lnTo>
                  <a:pt x="5924" y="2272"/>
                </a:lnTo>
                <a:lnTo>
                  <a:pt x="5928" y="2270"/>
                </a:lnTo>
                <a:lnTo>
                  <a:pt x="5936" y="2266"/>
                </a:lnTo>
                <a:lnTo>
                  <a:pt x="5942" y="2264"/>
                </a:lnTo>
                <a:lnTo>
                  <a:pt x="5942" y="2266"/>
                </a:lnTo>
                <a:lnTo>
                  <a:pt x="5940" y="2270"/>
                </a:lnTo>
                <a:lnTo>
                  <a:pt x="5942" y="2272"/>
                </a:lnTo>
                <a:lnTo>
                  <a:pt x="5944" y="2274"/>
                </a:lnTo>
                <a:lnTo>
                  <a:pt x="5942" y="2278"/>
                </a:lnTo>
                <a:lnTo>
                  <a:pt x="5942" y="2282"/>
                </a:lnTo>
                <a:lnTo>
                  <a:pt x="5942" y="2284"/>
                </a:lnTo>
                <a:lnTo>
                  <a:pt x="5942" y="2290"/>
                </a:lnTo>
                <a:lnTo>
                  <a:pt x="5942" y="2294"/>
                </a:lnTo>
                <a:lnTo>
                  <a:pt x="5940" y="2298"/>
                </a:lnTo>
                <a:lnTo>
                  <a:pt x="5936" y="2304"/>
                </a:lnTo>
                <a:lnTo>
                  <a:pt x="5930" y="2308"/>
                </a:lnTo>
                <a:lnTo>
                  <a:pt x="5916" y="2314"/>
                </a:lnTo>
                <a:lnTo>
                  <a:pt x="5908" y="2316"/>
                </a:lnTo>
                <a:lnTo>
                  <a:pt x="5902" y="2318"/>
                </a:lnTo>
                <a:lnTo>
                  <a:pt x="5896" y="2322"/>
                </a:lnTo>
                <a:lnTo>
                  <a:pt x="5894" y="2326"/>
                </a:lnTo>
                <a:lnTo>
                  <a:pt x="5894" y="2328"/>
                </a:lnTo>
                <a:lnTo>
                  <a:pt x="5896" y="2328"/>
                </a:lnTo>
                <a:lnTo>
                  <a:pt x="5900" y="2330"/>
                </a:lnTo>
                <a:lnTo>
                  <a:pt x="5900" y="2332"/>
                </a:lnTo>
                <a:lnTo>
                  <a:pt x="5898" y="2334"/>
                </a:lnTo>
                <a:lnTo>
                  <a:pt x="5898" y="2338"/>
                </a:lnTo>
                <a:lnTo>
                  <a:pt x="5902" y="2342"/>
                </a:lnTo>
                <a:lnTo>
                  <a:pt x="5908" y="2342"/>
                </a:lnTo>
                <a:lnTo>
                  <a:pt x="5916" y="2338"/>
                </a:lnTo>
                <a:lnTo>
                  <a:pt x="5924" y="2336"/>
                </a:lnTo>
                <a:lnTo>
                  <a:pt x="5930" y="2336"/>
                </a:lnTo>
                <a:lnTo>
                  <a:pt x="5934" y="2338"/>
                </a:lnTo>
                <a:lnTo>
                  <a:pt x="5934" y="2344"/>
                </a:lnTo>
                <a:lnTo>
                  <a:pt x="5934" y="2346"/>
                </a:lnTo>
                <a:lnTo>
                  <a:pt x="5934" y="2348"/>
                </a:lnTo>
                <a:lnTo>
                  <a:pt x="5940" y="2346"/>
                </a:lnTo>
                <a:lnTo>
                  <a:pt x="5944" y="2346"/>
                </a:lnTo>
                <a:lnTo>
                  <a:pt x="5948" y="2346"/>
                </a:lnTo>
                <a:lnTo>
                  <a:pt x="5954" y="2348"/>
                </a:lnTo>
                <a:lnTo>
                  <a:pt x="5960" y="2352"/>
                </a:lnTo>
                <a:lnTo>
                  <a:pt x="5964" y="2356"/>
                </a:lnTo>
                <a:lnTo>
                  <a:pt x="5968" y="2358"/>
                </a:lnTo>
                <a:lnTo>
                  <a:pt x="5972" y="2356"/>
                </a:lnTo>
                <a:lnTo>
                  <a:pt x="5976" y="2354"/>
                </a:lnTo>
                <a:lnTo>
                  <a:pt x="5982" y="2348"/>
                </a:lnTo>
                <a:lnTo>
                  <a:pt x="5986" y="2346"/>
                </a:lnTo>
                <a:lnTo>
                  <a:pt x="5990" y="2346"/>
                </a:lnTo>
                <a:lnTo>
                  <a:pt x="5994" y="2344"/>
                </a:lnTo>
                <a:lnTo>
                  <a:pt x="5998" y="2342"/>
                </a:lnTo>
                <a:lnTo>
                  <a:pt x="6004" y="2338"/>
                </a:lnTo>
                <a:lnTo>
                  <a:pt x="6012" y="2334"/>
                </a:lnTo>
                <a:lnTo>
                  <a:pt x="6006" y="2338"/>
                </a:lnTo>
                <a:lnTo>
                  <a:pt x="6004" y="2344"/>
                </a:lnTo>
                <a:lnTo>
                  <a:pt x="5996" y="2350"/>
                </a:lnTo>
                <a:lnTo>
                  <a:pt x="5990" y="2354"/>
                </a:lnTo>
                <a:lnTo>
                  <a:pt x="5988" y="2362"/>
                </a:lnTo>
                <a:lnTo>
                  <a:pt x="5986" y="2366"/>
                </a:lnTo>
                <a:lnTo>
                  <a:pt x="5978" y="2368"/>
                </a:lnTo>
                <a:lnTo>
                  <a:pt x="5970" y="2368"/>
                </a:lnTo>
                <a:lnTo>
                  <a:pt x="5964" y="2366"/>
                </a:lnTo>
                <a:lnTo>
                  <a:pt x="5958" y="2366"/>
                </a:lnTo>
                <a:lnTo>
                  <a:pt x="5946" y="2364"/>
                </a:lnTo>
                <a:lnTo>
                  <a:pt x="5940" y="2366"/>
                </a:lnTo>
                <a:lnTo>
                  <a:pt x="5936" y="2366"/>
                </a:lnTo>
                <a:lnTo>
                  <a:pt x="5936" y="2368"/>
                </a:lnTo>
                <a:lnTo>
                  <a:pt x="5936" y="2370"/>
                </a:lnTo>
                <a:lnTo>
                  <a:pt x="5936" y="2374"/>
                </a:lnTo>
                <a:lnTo>
                  <a:pt x="5934" y="2376"/>
                </a:lnTo>
                <a:lnTo>
                  <a:pt x="5930" y="2378"/>
                </a:lnTo>
                <a:lnTo>
                  <a:pt x="5926" y="2378"/>
                </a:lnTo>
                <a:lnTo>
                  <a:pt x="5924" y="2380"/>
                </a:lnTo>
                <a:lnTo>
                  <a:pt x="5922" y="2384"/>
                </a:lnTo>
                <a:lnTo>
                  <a:pt x="5922" y="2388"/>
                </a:lnTo>
                <a:lnTo>
                  <a:pt x="5922" y="2390"/>
                </a:lnTo>
                <a:lnTo>
                  <a:pt x="5920" y="2392"/>
                </a:lnTo>
                <a:lnTo>
                  <a:pt x="5916" y="2396"/>
                </a:lnTo>
                <a:lnTo>
                  <a:pt x="5916" y="2398"/>
                </a:lnTo>
                <a:lnTo>
                  <a:pt x="5914" y="2402"/>
                </a:lnTo>
                <a:lnTo>
                  <a:pt x="5910" y="2404"/>
                </a:lnTo>
                <a:lnTo>
                  <a:pt x="5904" y="2410"/>
                </a:lnTo>
                <a:lnTo>
                  <a:pt x="5900" y="2416"/>
                </a:lnTo>
                <a:lnTo>
                  <a:pt x="5894" y="2422"/>
                </a:lnTo>
                <a:lnTo>
                  <a:pt x="5890" y="2424"/>
                </a:lnTo>
                <a:lnTo>
                  <a:pt x="5886" y="2424"/>
                </a:lnTo>
                <a:lnTo>
                  <a:pt x="5882" y="2424"/>
                </a:lnTo>
                <a:lnTo>
                  <a:pt x="5878" y="2426"/>
                </a:lnTo>
                <a:lnTo>
                  <a:pt x="5876" y="2428"/>
                </a:lnTo>
                <a:lnTo>
                  <a:pt x="5876" y="2432"/>
                </a:lnTo>
                <a:lnTo>
                  <a:pt x="5876" y="2436"/>
                </a:lnTo>
                <a:lnTo>
                  <a:pt x="5878" y="2436"/>
                </a:lnTo>
                <a:lnTo>
                  <a:pt x="5882" y="2434"/>
                </a:lnTo>
                <a:lnTo>
                  <a:pt x="5884" y="2434"/>
                </a:lnTo>
                <a:lnTo>
                  <a:pt x="5886" y="2434"/>
                </a:lnTo>
                <a:lnTo>
                  <a:pt x="5890" y="2436"/>
                </a:lnTo>
                <a:lnTo>
                  <a:pt x="5894" y="2440"/>
                </a:lnTo>
                <a:lnTo>
                  <a:pt x="5896" y="2440"/>
                </a:lnTo>
                <a:lnTo>
                  <a:pt x="5898" y="2440"/>
                </a:lnTo>
                <a:lnTo>
                  <a:pt x="5900" y="2438"/>
                </a:lnTo>
                <a:lnTo>
                  <a:pt x="5902" y="2434"/>
                </a:lnTo>
                <a:lnTo>
                  <a:pt x="5902" y="2432"/>
                </a:lnTo>
                <a:lnTo>
                  <a:pt x="5906" y="2430"/>
                </a:lnTo>
                <a:lnTo>
                  <a:pt x="5912" y="2426"/>
                </a:lnTo>
                <a:lnTo>
                  <a:pt x="5914" y="2424"/>
                </a:lnTo>
                <a:lnTo>
                  <a:pt x="5918" y="2420"/>
                </a:lnTo>
                <a:lnTo>
                  <a:pt x="5928" y="2418"/>
                </a:lnTo>
                <a:lnTo>
                  <a:pt x="5936" y="2416"/>
                </a:lnTo>
                <a:lnTo>
                  <a:pt x="5942" y="2418"/>
                </a:lnTo>
                <a:lnTo>
                  <a:pt x="5954" y="2426"/>
                </a:lnTo>
                <a:lnTo>
                  <a:pt x="5958" y="2426"/>
                </a:lnTo>
                <a:lnTo>
                  <a:pt x="5962" y="2424"/>
                </a:lnTo>
                <a:lnTo>
                  <a:pt x="5964" y="2416"/>
                </a:lnTo>
                <a:lnTo>
                  <a:pt x="5966" y="2406"/>
                </a:lnTo>
                <a:lnTo>
                  <a:pt x="5968" y="2402"/>
                </a:lnTo>
                <a:lnTo>
                  <a:pt x="5970" y="2402"/>
                </a:lnTo>
                <a:lnTo>
                  <a:pt x="5972" y="2402"/>
                </a:lnTo>
                <a:lnTo>
                  <a:pt x="5976" y="2402"/>
                </a:lnTo>
                <a:lnTo>
                  <a:pt x="5982" y="2398"/>
                </a:lnTo>
                <a:lnTo>
                  <a:pt x="5986" y="2396"/>
                </a:lnTo>
                <a:lnTo>
                  <a:pt x="5992" y="2396"/>
                </a:lnTo>
                <a:lnTo>
                  <a:pt x="5996" y="2396"/>
                </a:lnTo>
                <a:lnTo>
                  <a:pt x="6000" y="2400"/>
                </a:lnTo>
                <a:lnTo>
                  <a:pt x="6006" y="2406"/>
                </a:lnTo>
                <a:lnTo>
                  <a:pt x="6008" y="2406"/>
                </a:lnTo>
                <a:lnTo>
                  <a:pt x="6010" y="2406"/>
                </a:lnTo>
                <a:lnTo>
                  <a:pt x="6012" y="2404"/>
                </a:lnTo>
                <a:lnTo>
                  <a:pt x="6014" y="2402"/>
                </a:lnTo>
                <a:lnTo>
                  <a:pt x="6020" y="2404"/>
                </a:lnTo>
                <a:lnTo>
                  <a:pt x="6026" y="2404"/>
                </a:lnTo>
                <a:lnTo>
                  <a:pt x="6028" y="2402"/>
                </a:lnTo>
                <a:lnTo>
                  <a:pt x="6030" y="2398"/>
                </a:lnTo>
                <a:lnTo>
                  <a:pt x="6040" y="2396"/>
                </a:lnTo>
                <a:lnTo>
                  <a:pt x="6050" y="2394"/>
                </a:lnTo>
                <a:lnTo>
                  <a:pt x="6052" y="2390"/>
                </a:lnTo>
                <a:lnTo>
                  <a:pt x="6054" y="2388"/>
                </a:lnTo>
                <a:lnTo>
                  <a:pt x="6058" y="2390"/>
                </a:lnTo>
                <a:lnTo>
                  <a:pt x="6064" y="2394"/>
                </a:lnTo>
                <a:lnTo>
                  <a:pt x="6066" y="2392"/>
                </a:lnTo>
                <a:lnTo>
                  <a:pt x="6068" y="2392"/>
                </a:lnTo>
                <a:lnTo>
                  <a:pt x="6070" y="2394"/>
                </a:lnTo>
                <a:lnTo>
                  <a:pt x="6072" y="2394"/>
                </a:lnTo>
                <a:lnTo>
                  <a:pt x="6076" y="2394"/>
                </a:lnTo>
                <a:lnTo>
                  <a:pt x="6084" y="2392"/>
                </a:lnTo>
                <a:lnTo>
                  <a:pt x="6094" y="2390"/>
                </a:lnTo>
                <a:lnTo>
                  <a:pt x="6100" y="2390"/>
                </a:lnTo>
                <a:lnTo>
                  <a:pt x="6106" y="2392"/>
                </a:lnTo>
                <a:lnTo>
                  <a:pt x="6112" y="2394"/>
                </a:lnTo>
                <a:lnTo>
                  <a:pt x="6116" y="2394"/>
                </a:lnTo>
                <a:lnTo>
                  <a:pt x="6124" y="2392"/>
                </a:lnTo>
                <a:lnTo>
                  <a:pt x="6132" y="2388"/>
                </a:lnTo>
                <a:lnTo>
                  <a:pt x="6140" y="2386"/>
                </a:lnTo>
                <a:lnTo>
                  <a:pt x="6144" y="2384"/>
                </a:lnTo>
                <a:lnTo>
                  <a:pt x="6146" y="2382"/>
                </a:lnTo>
                <a:lnTo>
                  <a:pt x="6148" y="2378"/>
                </a:lnTo>
                <a:lnTo>
                  <a:pt x="6154" y="2374"/>
                </a:lnTo>
                <a:lnTo>
                  <a:pt x="6162" y="2370"/>
                </a:lnTo>
                <a:lnTo>
                  <a:pt x="6164" y="2366"/>
                </a:lnTo>
                <a:lnTo>
                  <a:pt x="6164" y="2362"/>
                </a:lnTo>
                <a:lnTo>
                  <a:pt x="6164" y="2358"/>
                </a:lnTo>
                <a:lnTo>
                  <a:pt x="6164" y="2356"/>
                </a:lnTo>
                <a:lnTo>
                  <a:pt x="6164" y="2354"/>
                </a:lnTo>
                <a:lnTo>
                  <a:pt x="6156" y="2356"/>
                </a:lnTo>
                <a:lnTo>
                  <a:pt x="6148" y="2358"/>
                </a:lnTo>
                <a:lnTo>
                  <a:pt x="6140" y="2358"/>
                </a:lnTo>
                <a:lnTo>
                  <a:pt x="6134" y="2356"/>
                </a:lnTo>
                <a:lnTo>
                  <a:pt x="6134" y="2354"/>
                </a:lnTo>
                <a:lnTo>
                  <a:pt x="6130" y="2350"/>
                </a:lnTo>
                <a:lnTo>
                  <a:pt x="6128" y="2350"/>
                </a:lnTo>
                <a:lnTo>
                  <a:pt x="6128" y="2348"/>
                </a:lnTo>
                <a:lnTo>
                  <a:pt x="6132" y="2348"/>
                </a:lnTo>
                <a:lnTo>
                  <a:pt x="6140" y="2346"/>
                </a:lnTo>
                <a:lnTo>
                  <a:pt x="6142" y="2346"/>
                </a:lnTo>
                <a:lnTo>
                  <a:pt x="6144" y="2344"/>
                </a:lnTo>
                <a:lnTo>
                  <a:pt x="6146" y="2338"/>
                </a:lnTo>
                <a:lnTo>
                  <a:pt x="6144" y="2336"/>
                </a:lnTo>
                <a:lnTo>
                  <a:pt x="6142" y="2336"/>
                </a:lnTo>
                <a:lnTo>
                  <a:pt x="6142" y="2334"/>
                </a:lnTo>
                <a:lnTo>
                  <a:pt x="6146" y="2332"/>
                </a:lnTo>
                <a:lnTo>
                  <a:pt x="6148" y="2332"/>
                </a:lnTo>
                <a:lnTo>
                  <a:pt x="6156" y="2332"/>
                </a:lnTo>
                <a:lnTo>
                  <a:pt x="6160" y="2330"/>
                </a:lnTo>
                <a:lnTo>
                  <a:pt x="6162" y="2330"/>
                </a:lnTo>
                <a:lnTo>
                  <a:pt x="6160" y="2328"/>
                </a:lnTo>
                <a:lnTo>
                  <a:pt x="6158" y="2326"/>
                </a:lnTo>
                <a:lnTo>
                  <a:pt x="6160" y="2324"/>
                </a:lnTo>
                <a:lnTo>
                  <a:pt x="6166" y="2318"/>
                </a:lnTo>
                <a:lnTo>
                  <a:pt x="6170" y="2314"/>
                </a:lnTo>
                <a:lnTo>
                  <a:pt x="6174" y="2308"/>
                </a:lnTo>
                <a:lnTo>
                  <a:pt x="6178" y="2300"/>
                </a:lnTo>
                <a:lnTo>
                  <a:pt x="6178" y="2288"/>
                </a:lnTo>
                <a:close/>
                <a:moveTo>
                  <a:pt x="5916" y="2196"/>
                </a:moveTo>
                <a:lnTo>
                  <a:pt x="5916" y="2196"/>
                </a:lnTo>
                <a:lnTo>
                  <a:pt x="5920" y="2196"/>
                </a:lnTo>
                <a:lnTo>
                  <a:pt x="5924" y="2194"/>
                </a:lnTo>
                <a:lnTo>
                  <a:pt x="5930" y="2188"/>
                </a:lnTo>
                <a:lnTo>
                  <a:pt x="5932" y="2180"/>
                </a:lnTo>
                <a:lnTo>
                  <a:pt x="5932" y="2176"/>
                </a:lnTo>
                <a:lnTo>
                  <a:pt x="5928" y="2172"/>
                </a:lnTo>
                <a:lnTo>
                  <a:pt x="5924" y="2176"/>
                </a:lnTo>
                <a:lnTo>
                  <a:pt x="5918" y="2182"/>
                </a:lnTo>
                <a:lnTo>
                  <a:pt x="5914" y="2190"/>
                </a:lnTo>
                <a:lnTo>
                  <a:pt x="5914" y="2194"/>
                </a:lnTo>
                <a:lnTo>
                  <a:pt x="5916" y="2196"/>
                </a:lnTo>
                <a:close/>
                <a:moveTo>
                  <a:pt x="5922" y="2238"/>
                </a:moveTo>
                <a:lnTo>
                  <a:pt x="5922" y="2238"/>
                </a:lnTo>
                <a:lnTo>
                  <a:pt x="5922" y="2240"/>
                </a:lnTo>
                <a:lnTo>
                  <a:pt x="5922" y="2242"/>
                </a:lnTo>
                <a:lnTo>
                  <a:pt x="5924" y="2246"/>
                </a:lnTo>
                <a:lnTo>
                  <a:pt x="5930" y="2248"/>
                </a:lnTo>
                <a:lnTo>
                  <a:pt x="5934" y="2246"/>
                </a:lnTo>
                <a:lnTo>
                  <a:pt x="5936" y="2244"/>
                </a:lnTo>
                <a:lnTo>
                  <a:pt x="5938" y="2240"/>
                </a:lnTo>
                <a:lnTo>
                  <a:pt x="5938" y="2238"/>
                </a:lnTo>
                <a:lnTo>
                  <a:pt x="5936" y="2234"/>
                </a:lnTo>
                <a:lnTo>
                  <a:pt x="5934" y="2234"/>
                </a:lnTo>
                <a:lnTo>
                  <a:pt x="5932" y="2232"/>
                </a:lnTo>
                <a:lnTo>
                  <a:pt x="5928" y="2232"/>
                </a:lnTo>
                <a:lnTo>
                  <a:pt x="5926" y="2234"/>
                </a:lnTo>
                <a:lnTo>
                  <a:pt x="5922" y="2238"/>
                </a:lnTo>
                <a:close/>
                <a:moveTo>
                  <a:pt x="5892" y="2096"/>
                </a:moveTo>
                <a:lnTo>
                  <a:pt x="5892" y="2096"/>
                </a:lnTo>
                <a:lnTo>
                  <a:pt x="5890" y="2100"/>
                </a:lnTo>
                <a:lnTo>
                  <a:pt x="5890" y="2106"/>
                </a:lnTo>
                <a:lnTo>
                  <a:pt x="5894" y="2108"/>
                </a:lnTo>
                <a:lnTo>
                  <a:pt x="5900" y="2110"/>
                </a:lnTo>
                <a:lnTo>
                  <a:pt x="5902" y="2108"/>
                </a:lnTo>
                <a:lnTo>
                  <a:pt x="5902" y="2106"/>
                </a:lnTo>
                <a:lnTo>
                  <a:pt x="5900" y="2100"/>
                </a:lnTo>
                <a:lnTo>
                  <a:pt x="5896" y="2094"/>
                </a:lnTo>
                <a:lnTo>
                  <a:pt x="5894" y="2094"/>
                </a:lnTo>
                <a:lnTo>
                  <a:pt x="5892" y="2096"/>
                </a:lnTo>
                <a:close/>
                <a:moveTo>
                  <a:pt x="5832" y="1938"/>
                </a:moveTo>
                <a:lnTo>
                  <a:pt x="5832" y="1938"/>
                </a:lnTo>
                <a:lnTo>
                  <a:pt x="5830" y="1938"/>
                </a:lnTo>
                <a:lnTo>
                  <a:pt x="5828" y="1936"/>
                </a:lnTo>
                <a:lnTo>
                  <a:pt x="5826" y="1934"/>
                </a:lnTo>
                <a:lnTo>
                  <a:pt x="5824" y="1934"/>
                </a:lnTo>
                <a:lnTo>
                  <a:pt x="5820" y="1940"/>
                </a:lnTo>
                <a:lnTo>
                  <a:pt x="5820" y="1942"/>
                </a:lnTo>
                <a:lnTo>
                  <a:pt x="5822" y="1946"/>
                </a:lnTo>
                <a:lnTo>
                  <a:pt x="5824" y="1946"/>
                </a:lnTo>
                <a:lnTo>
                  <a:pt x="5824" y="1948"/>
                </a:lnTo>
                <a:lnTo>
                  <a:pt x="5822" y="1950"/>
                </a:lnTo>
                <a:lnTo>
                  <a:pt x="5828" y="1952"/>
                </a:lnTo>
                <a:lnTo>
                  <a:pt x="5830" y="1954"/>
                </a:lnTo>
                <a:lnTo>
                  <a:pt x="5826" y="1956"/>
                </a:lnTo>
                <a:lnTo>
                  <a:pt x="5822" y="1958"/>
                </a:lnTo>
                <a:lnTo>
                  <a:pt x="5820" y="1960"/>
                </a:lnTo>
                <a:lnTo>
                  <a:pt x="5822" y="1964"/>
                </a:lnTo>
                <a:lnTo>
                  <a:pt x="5824" y="1966"/>
                </a:lnTo>
                <a:lnTo>
                  <a:pt x="5826" y="1964"/>
                </a:lnTo>
                <a:lnTo>
                  <a:pt x="5828" y="1962"/>
                </a:lnTo>
                <a:lnTo>
                  <a:pt x="5832" y="1960"/>
                </a:lnTo>
                <a:lnTo>
                  <a:pt x="5834" y="1960"/>
                </a:lnTo>
                <a:lnTo>
                  <a:pt x="5834" y="1958"/>
                </a:lnTo>
                <a:lnTo>
                  <a:pt x="5836" y="1956"/>
                </a:lnTo>
                <a:lnTo>
                  <a:pt x="5838" y="1954"/>
                </a:lnTo>
                <a:lnTo>
                  <a:pt x="5840" y="1952"/>
                </a:lnTo>
                <a:lnTo>
                  <a:pt x="5844" y="1952"/>
                </a:lnTo>
                <a:lnTo>
                  <a:pt x="5846" y="1952"/>
                </a:lnTo>
                <a:lnTo>
                  <a:pt x="5846" y="1950"/>
                </a:lnTo>
                <a:lnTo>
                  <a:pt x="5848" y="1948"/>
                </a:lnTo>
                <a:lnTo>
                  <a:pt x="5850" y="1946"/>
                </a:lnTo>
                <a:lnTo>
                  <a:pt x="5850" y="1944"/>
                </a:lnTo>
                <a:lnTo>
                  <a:pt x="5848" y="1942"/>
                </a:lnTo>
                <a:lnTo>
                  <a:pt x="5848" y="1940"/>
                </a:lnTo>
                <a:lnTo>
                  <a:pt x="5850" y="1940"/>
                </a:lnTo>
                <a:lnTo>
                  <a:pt x="5850" y="1936"/>
                </a:lnTo>
                <a:lnTo>
                  <a:pt x="5852" y="1936"/>
                </a:lnTo>
                <a:lnTo>
                  <a:pt x="5854" y="1936"/>
                </a:lnTo>
                <a:lnTo>
                  <a:pt x="5860" y="1934"/>
                </a:lnTo>
                <a:lnTo>
                  <a:pt x="5860" y="1932"/>
                </a:lnTo>
                <a:lnTo>
                  <a:pt x="5856" y="1932"/>
                </a:lnTo>
                <a:lnTo>
                  <a:pt x="5854" y="1932"/>
                </a:lnTo>
                <a:lnTo>
                  <a:pt x="5852" y="1932"/>
                </a:lnTo>
                <a:lnTo>
                  <a:pt x="5854" y="1930"/>
                </a:lnTo>
                <a:lnTo>
                  <a:pt x="5856" y="1928"/>
                </a:lnTo>
                <a:lnTo>
                  <a:pt x="5858" y="1922"/>
                </a:lnTo>
                <a:lnTo>
                  <a:pt x="5858" y="1918"/>
                </a:lnTo>
                <a:lnTo>
                  <a:pt x="5858" y="1916"/>
                </a:lnTo>
                <a:lnTo>
                  <a:pt x="5854" y="1916"/>
                </a:lnTo>
                <a:lnTo>
                  <a:pt x="5850" y="1918"/>
                </a:lnTo>
                <a:lnTo>
                  <a:pt x="5842" y="1922"/>
                </a:lnTo>
                <a:lnTo>
                  <a:pt x="5834" y="1926"/>
                </a:lnTo>
                <a:lnTo>
                  <a:pt x="5832" y="1928"/>
                </a:lnTo>
                <a:lnTo>
                  <a:pt x="5834" y="1932"/>
                </a:lnTo>
                <a:lnTo>
                  <a:pt x="5834" y="1934"/>
                </a:lnTo>
                <a:lnTo>
                  <a:pt x="5832" y="1938"/>
                </a:lnTo>
                <a:close/>
                <a:moveTo>
                  <a:pt x="5822" y="1974"/>
                </a:moveTo>
                <a:lnTo>
                  <a:pt x="5822" y="1974"/>
                </a:lnTo>
                <a:lnTo>
                  <a:pt x="5824" y="1970"/>
                </a:lnTo>
                <a:lnTo>
                  <a:pt x="5822" y="1968"/>
                </a:lnTo>
                <a:lnTo>
                  <a:pt x="5820" y="1968"/>
                </a:lnTo>
                <a:lnTo>
                  <a:pt x="5818" y="1968"/>
                </a:lnTo>
                <a:lnTo>
                  <a:pt x="5812" y="1968"/>
                </a:lnTo>
                <a:lnTo>
                  <a:pt x="5810" y="1970"/>
                </a:lnTo>
                <a:lnTo>
                  <a:pt x="5806" y="1972"/>
                </a:lnTo>
                <a:lnTo>
                  <a:pt x="5804" y="1972"/>
                </a:lnTo>
                <a:lnTo>
                  <a:pt x="5806" y="1974"/>
                </a:lnTo>
                <a:lnTo>
                  <a:pt x="5812" y="1976"/>
                </a:lnTo>
                <a:lnTo>
                  <a:pt x="5818" y="1978"/>
                </a:lnTo>
                <a:lnTo>
                  <a:pt x="5820" y="1976"/>
                </a:lnTo>
                <a:lnTo>
                  <a:pt x="5822" y="1974"/>
                </a:lnTo>
                <a:close/>
                <a:moveTo>
                  <a:pt x="5864" y="2010"/>
                </a:moveTo>
                <a:lnTo>
                  <a:pt x="5864" y="2010"/>
                </a:lnTo>
                <a:lnTo>
                  <a:pt x="5868" y="2010"/>
                </a:lnTo>
                <a:lnTo>
                  <a:pt x="5872" y="2006"/>
                </a:lnTo>
                <a:lnTo>
                  <a:pt x="5878" y="1996"/>
                </a:lnTo>
                <a:lnTo>
                  <a:pt x="5876" y="1994"/>
                </a:lnTo>
                <a:lnTo>
                  <a:pt x="5874" y="1994"/>
                </a:lnTo>
                <a:lnTo>
                  <a:pt x="5868" y="1994"/>
                </a:lnTo>
                <a:lnTo>
                  <a:pt x="5864" y="1994"/>
                </a:lnTo>
                <a:lnTo>
                  <a:pt x="5862" y="1992"/>
                </a:lnTo>
                <a:lnTo>
                  <a:pt x="5860" y="1988"/>
                </a:lnTo>
                <a:lnTo>
                  <a:pt x="5858" y="1980"/>
                </a:lnTo>
                <a:lnTo>
                  <a:pt x="5856" y="1972"/>
                </a:lnTo>
                <a:lnTo>
                  <a:pt x="5856" y="1968"/>
                </a:lnTo>
                <a:lnTo>
                  <a:pt x="5854" y="1968"/>
                </a:lnTo>
                <a:lnTo>
                  <a:pt x="5852" y="1968"/>
                </a:lnTo>
                <a:lnTo>
                  <a:pt x="5850" y="1968"/>
                </a:lnTo>
                <a:lnTo>
                  <a:pt x="5850" y="1974"/>
                </a:lnTo>
                <a:lnTo>
                  <a:pt x="5850" y="1978"/>
                </a:lnTo>
                <a:lnTo>
                  <a:pt x="5850" y="1982"/>
                </a:lnTo>
                <a:lnTo>
                  <a:pt x="5848" y="1982"/>
                </a:lnTo>
                <a:lnTo>
                  <a:pt x="5844" y="1978"/>
                </a:lnTo>
                <a:lnTo>
                  <a:pt x="5842" y="1974"/>
                </a:lnTo>
                <a:lnTo>
                  <a:pt x="5840" y="1974"/>
                </a:lnTo>
                <a:lnTo>
                  <a:pt x="5838" y="1976"/>
                </a:lnTo>
                <a:lnTo>
                  <a:pt x="5840" y="1978"/>
                </a:lnTo>
                <a:lnTo>
                  <a:pt x="5840" y="1982"/>
                </a:lnTo>
                <a:lnTo>
                  <a:pt x="5838" y="1984"/>
                </a:lnTo>
                <a:lnTo>
                  <a:pt x="5836" y="1984"/>
                </a:lnTo>
                <a:lnTo>
                  <a:pt x="5834" y="1986"/>
                </a:lnTo>
                <a:lnTo>
                  <a:pt x="5838" y="1990"/>
                </a:lnTo>
                <a:lnTo>
                  <a:pt x="5840" y="1990"/>
                </a:lnTo>
                <a:lnTo>
                  <a:pt x="5842" y="1988"/>
                </a:lnTo>
                <a:lnTo>
                  <a:pt x="5846" y="1990"/>
                </a:lnTo>
                <a:lnTo>
                  <a:pt x="5848" y="1992"/>
                </a:lnTo>
                <a:lnTo>
                  <a:pt x="5846" y="1992"/>
                </a:lnTo>
                <a:lnTo>
                  <a:pt x="5846" y="1994"/>
                </a:lnTo>
                <a:lnTo>
                  <a:pt x="5850" y="1998"/>
                </a:lnTo>
                <a:lnTo>
                  <a:pt x="5852" y="2002"/>
                </a:lnTo>
                <a:lnTo>
                  <a:pt x="5856" y="2002"/>
                </a:lnTo>
                <a:lnTo>
                  <a:pt x="5858" y="2000"/>
                </a:lnTo>
                <a:lnTo>
                  <a:pt x="5864" y="2000"/>
                </a:lnTo>
                <a:lnTo>
                  <a:pt x="5866" y="2000"/>
                </a:lnTo>
                <a:lnTo>
                  <a:pt x="5866" y="2002"/>
                </a:lnTo>
                <a:lnTo>
                  <a:pt x="5866" y="2004"/>
                </a:lnTo>
                <a:lnTo>
                  <a:pt x="5864" y="2008"/>
                </a:lnTo>
                <a:lnTo>
                  <a:pt x="5864" y="2010"/>
                </a:lnTo>
                <a:close/>
                <a:moveTo>
                  <a:pt x="5868" y="2042"/>
                </a:moveTo>
                <a:lnTo>
                  <a:pt x="5868" y="2042"/>
                </a:lnTo>
                <a:lnTo>
                  <a:pt x="5862" y="2040"/>
                </a:lnTo>
                <a:lnTo>
                  <a:pt x="5860" y="2036"/>
                </a:lnTo>
                <a:lnTo>
                  <a:pt x="5858" y="2034"/>
                </a:lnTo>
                <a:lnTo>
                  <a:pt x="5854" y="2036"/>
                </a:lnTo>
                <a:lnTo>
                  <a:pt x="5852" y="2040"/>
                </a:lnTo>
                <a:lnTo>
                  <a:pt x="5852" y="2042"/>
                </a:lnTo>
                <a:lnTo>
                  <a:pt x="5858" y="2046"/>
                </a:lnTo>
                <a:lnTo>
                  <a:pt x="5860" y="2046"/>
                </a:lnTo>
                <a:lnTo>
                  <a:pt x="5860" y="2048"/>
                </a:lnTo>
                <a:lnTo>
                  <a:pt x="5858" y="2050"/>
                </a:lnTo>
                <a:lnTo>
                  <a:pt x="5858" y="2052"/>
                </a:lnTo>
                <a:lnTo>
                  <a:pt x="5856" y="2054"/>
                </a:lnTo>
                <a:lnTo>
                  <a:pt x="5854" y="2054"/>
                </a:lnTo>
                <a:lnTo>
                  <a:pt x="5852" y="2054"/>
                </a:lnTo>
                <a:lnTo>
                  <a:pt x="5850" y="2058"/>
                </a:lnTo>
                <a:lnTo>
                  <a:pt x="5852" y="2058"/>
                </a:lnTo>
                <a:lnTo>
                  <a:pt x="5852" y="2060"/>
                </a:lnTo>
                <a:lnTo>
                  <a:pt x="5858" y="2058"/>
                </a:lnTo>
                <a:lnTo>
                  <a:pt x="5874" y="2054"/>
                </a:lnTo>
                <a:lnTo>
                  <a:pt x="5878" y="2052"/>
                </a:lnTo>
                <a:lnTo>
                  <a:pt x="5878" y="2048"/>
                </a:lnTo>
                <a:lnTo>
                  <a:pt x="5874" y="2044"/>
                </a:lnTo>
                <a:lnTo>
                  <a:pt x="5868" y="2042"/>
                </a:lnTo>
                <a:close/>
                <a:moveTo>
                  <a:pt x="5852" y="2100"/>
                </a:moveTo>
                <a:lnTo>
                  <a:pt x="5852" y="2100"/>
                </a:lnTo>
                <a:lnTo>
                  <a:pt x="5854" y="2102"/>
                </a:lnTo>
                <a:lnTo>
                  <a:pt x="5860" y="2096"/>
                </a:lnTo>
                <a:lnTo>
                  <a:pt x="5864" y="2094"/>
                </a:lnTo>
                <a:lnTo>
                  <a:pt x="5862" y="2090"/>
                </a:lnTo>
                <a:lnTo>
                  <a:pt x="5862" y="2086"/>
                </a:lnTo>
                <a:lnTo>
                  <a:pt x="5860" y="2080"/>
                </a:lnTo>
                <a:lnTo>
                  <a:pt x="5858" y="2078"/>
                </a:lnTo>
                <a:lnTo>
                  <a:pt x="5856" y="2080"/>
                </a:lnTo>
                <a:lnTo>
                  <a:pt x="5854" y="2084"/>
                </a:lnTo>
                <a:lnTo>
                  <a:pt x="5852" y="2084"/>
                </a:lnTo>
                <a:lnTo>
                  <a:pt x="5852" y="2082"/>
                </a:lnTo>
                <a:lnTo>
                  <a:pt x="5850" y="2082"/>
                </a:lnTo>
                <a:lnTo>
                  <a:pt x="5846" y="2086"/>
                </a:lnTo>
                <a:lnTo>
                  <a:pt x="5842" y="2090"/>
                </a:lnTo>
                <a:lnTo>
                  <a:pt x="5842" y="2092"/>
                </a:lnTo>
                <a:lnTo>
                  <a:pt x="5844" y="2094"/>
                </a:lnTo>
                <a:lnTo>
                  <a:pt x="5848" y="2094"/>
                </a:lnTo>
                <a:lnTo>
                  <a:pt x="5850" y="2092"/>
                </a:lnTo>
                <a:lnTo>
                  <a:pt x="5852" y="2090"/>
                </a:lnTo>
                <a:lnTo>
                  <a:pt x="5854" y="2092"/>
                </a:lnTo>
                <a:lnTo>
                  <a:pt x="5854" y="2096"/>
                </a:lnTo>
                <a:lnTo>
                  <a:pt x="5852" y="2098"/>
                </a:lnTo>
                <a:lnTo>
                  <a:pt x="5852" y="2100"/>
                </a:lnTo>
                <a:close/>
                <a:moveTo>
                  <a:pt x="5974" y="1886"/>
                </a:moveTo>
                <a:lnTo>
                  <a:pt x="5974" y="1886"/>
                </a:lnTo>
                <a:lnTo>
                  <a:pt x="5978" y="1888"/>
                </a:lnTo>
                <a:lnTo>
                  <a:pt x="5982" y="1888"/>
                </a:lnTo>
                <a:lnTo>
                  <a:pt x="5986" y="1888"/>
                </a:lnTo>
                <a:lnTo>
                  <a:pt x="5988" y="1890"/>
                </a:lnTo>
                <a:lnTo>
                  <a:pt x="5992" y="1892"/>
                </a:lnTo>
                <a:lnTo>
                  <a:pt x="5994" y="1890"/>
                </a:lnTo>
                <a:lnTo>
                  <a:pt x="5996" y="1888"/>
                </a:lnTo>
                <a:lnTo>
                  <a:pt x="5996" y="1886"/>
                </a:lnTo>
                <a:lnTo>
                  <a:pt x="5994" y="1886"/>
                </a:lnTo>
                <a:lnTo>
                  <a:pt x="5994" y="1888"/>
                </a:lnTo>
                <a:lnTo>
                  <a:pt x="5992" y="1886"/>
                </a:lnTo>
                <a:lnTo>
                  <a:pt x="5990" y="1884"/>
                </a:lnTo>
                <a:lnTo>
                  <a:pt x="5986" y="1884"/>
                </a:lnTo>
                <a:lnTo>
                  <a:pt x="5984" y="1884"/>
                </a:lnTo>
                <a:lnTo>
                  <a:pt x="5984" y="1882"/>
                </a:lnTo>
                <a:lnTo>
                  <a:pt x="5986" y="1878"/>
                </a:lnTo>
                <a:lnTo>
                  <a:pt x="5986" y="1876"/>
                </a:lnTo>
                <a:lnTo>
                  <a:pt x="5980" y="1874"/>
                </a:lnTo>
                <a:lnTo>
                  <a:pt x="5976" y="1874"/>
                </a:lnTo>
                <a:lnTo>
                  <a:pt x="5974" y="1878"/>
                </a:lnTo>
                <a:lnTo>
                  <a:pt x="5974" y="1882"/>
                </a:lnTo>
                <a:lnTo>
                  <a:pt x="5974" y="1886"/>
                </a:lnTo>
                <a:close/>
                <a:moveTo>
                  <a:pt x="11016" y="3794"/>
                </a:moveTo>
                <a:lnTo>
                  <a:pt x="11016" y="3794"/>
                </a:lnTo>
                <a:lnTo>
                  <a:pt x="11010" y="3790"/>
                </a:lnTo>
                <a:lnTo>
                  <a:pt x="11006" y="3788"/>
                </a:lnTo>
                <a:lnTo>
                  <a:pt x="11004" y="3788"/>
                </a:lnTo>
                <a:lnTo>
                  <a:pt x="11002" y="3790"/>
                </a:lnTo>
                <a:lnTo>
                  <a:pt x="10998" y="3794"/>
                </a:lnTo>
                <a:lnTo>
                  <a:pt x="10994" y="3798"/>
                </a:lnTo>
                <a:lnTo>
                  <a:pt x="10988" y="3800"/>
                </a:lnTo>
                <a:lnTo>
                  <a:pt x="10980" y="3808"/>
                </a:lnTo>
                <a:lnTo>
                  <a:pt x="10960" y="3844"/>
                </a:lnTo>
                <a:lnTo>
                  <a:pt x="10952" y="3862"/>
                </a:lnTo>
                <a:lnTo>
                  <a:pt x="10948" y="3876"/>
                </a:lnTo>
                <a:lnTo>
                  <a:pt x="10948" y="3892"/>
                </a:lnTo>
                <a:lnTo>
                  <a:pt x="10950" y="3910"/>
                </a:lnTo>
                <a:lnTo>
                  <a:pt x="10954" y="3924"/>
                </a:lnTo>
                <a:lnTo>
                  <a:pt x="10958" y="3930"/>
                </a:lnTo>
                <a:lnTo>
                  <a:pt x="10962" y="3934"/>
                </a:lnTo>
                <a:lnTo>
                  <a:pt x="10966" y="3940"/>
                </a:lnTo>
                <a:lnTo>
                  <a:pt x="10970" y="3952"/>
                </a:lnTo>
                <a:lnTo>
                  <a:pt x="10974" y="3960"/>
                </a:lnTo>
                <a:lnTo>
                  <a:pt x="10976" y="3962"/>
                </a:lnTo>
                <a:lnTo>
                  <a:pt x="10978" y="3960"/>
                </a:lnTo>
                <a:lnTo>
                  <a:pt x="10978" y="3956"/>
                </a:lnTo>
                <a:lnTo>
                  <a:pt x="10980" y="3946"/>
                </a:lnTo>
                <a:lnTo>
                  <a:pt x="10980" y="3936"/>
                </a:lnTo>
                <a:lnTo>
                  <a:pt x="10982" y="3930"/>
                </a:lnTo>
                <a:lnTo>
                  <a:pt x="10984" y="3926"/>
                </a:lnTo>
                <a:lnTo>
                  <a:pt x="10988" y="3922"/>
                </a:lnTo>
                <a:lnTo>
                  <a:pt x="10990" y="3918"/>
                </a:lnTo>
                <a:lnTo>
                  <a:pt x="10994" y="3912"/>
                </a:lnTo>
                <a:lnTo>
                  <a:pt x="10998" y="3902"/>
                </a:lnTo>
                <a:lnTo>
                  <a:pt x="11002" y="3888"/>
                </a:lnTo>
                <a:lnTo>
                  <a:pt x="11008" y="3862"/>
                </a:lnTo>
                <a:lnTo>
                  <a:pt x="11014" y="3844"/>
                </a:lnTo>
                <a:lnTo>
                  <a:pt x="11018" y="3832"/>
                </a:lnTo>
                <a:lnTo>
                  <a:pt x="11018" y="3826"/>
                </a:lnTo>
                <a:lnTo>
                  <a:pt x="11018" y="3822"/>
                </a:lnTo>
                <a:lnTo>
                  <a:pt x="11016" y="3818"/>
                </a:lnTo>
                <a:lnTo>
                  <a:pt x="11016" y="3814"/>
                </a:lnTo>
                <a:lnTo>
                  <a:pt x="11020" y="3808"/>
                </a:lnTo>
                <a:lnTo>
                  <a:pt x="11020" y="3806"/>
                </a:lnTo>
                <a:lnTo>
                  <a:pt x="11020" y="3804"/>
                </a:lnTo>
                <a:lnTo>
                  <a:pt x="11020" y="3800"/>
                </a:lnTo>
                <a:lnTo>
                  <a:pt x="11016" y="3794"/>
                </a:lnTo>
                <a:close/>
                <a:moveTo>
                  <a:pt x="10494" y="4138"/>
                </a:moveTo>
                <a:lnTo>
                  <a:pt x="10494" y="4138"/>
                </a:lnTo>
                <a:lnTo>
                  <a:pt x="10504" y="4142"/>
                </a:lnTo>
                <a:lnTo>
                  <a:pt x="10510" y="4142"/>
                </a:lnTo>
                <a:lnTo>
                  <a:pt x="10512" y="4142"/>
                </a:lnTo>
                <a:lnTo>
                  <a:pt x="10514" y="4144"/>
                </a:lnTo>
                <a:lnTo>
                  <a:pt x="10518" y="4148"/>
                </a:lnTo>
                <a:lnTo>
                  <a:pt x="10522" y="4148"/>
                </a:lnTo>
                <a:lnTo>
                  <a:pt x="10526" y="4148"/>
                </a:lnTo>
                <a:lnTo>
                  <a:pt x="10528" y="4142"/>
                </a:lnTo>
                <a:lnTo>
                  <a:pt x="10528" y="4140"/>
                </a:lnTo>
                <a:lnTo>
                  <a:pt x="10530" y="4138"/>
                </a:lnTo>
                <a:lnTo>
                  <a:pt x="10534" y="4138"/>
                </a:lnTo>
                <a:lnTo>
                  <a:pt x="10540" y="4138"/>
                </a:lnTo>
                <a:lnTo>
                  <a:pt x="10542" y="4136"/>
                </a:lnTo>
                <a:lnTo>
                  <a:pt x="10542" y="4132"/>
                </a:lnTo>
                <a:lnTo>
                  <a:pt x="10544" y="4130"/>
                </a:lnTo>
                <a:lnTo>
                  <a:pt x="10546" y="4128"/>
                </a:lnTo>
                <a:lnTo>
                  <a:pt x="10552" y="4124"/>
                </a:lnTo>
                <a:lnTo>
                  <a:pt x="10556" y="4124"/>
                </a:lnTo>
                <a:lnTo>
                  <a:pt x="10558" y="4120"/>
                </a:lnTo>
                <a:lnTo>
                  <a:pt x="10560" y="4116"/>
                </a:lnTo>
                <a:lnTo>
                  <a:pt x="10560" y="4110"/>
                </a:lnTo>
                <a:lnTo>
                  <a:pt x="10562" y="4100"/>
                </a:lnTo>
                <a:lnTo>
                  <a:pt x="10568" y="4090"/>
                </a:lnTo>
                <a:lnTo>
                  <a:pt x="10574" y="4082"/>
                </a:lnTo>
                <a:lnTo>
                  <a:pt x="10578" y="4078"/>
                </a:lnTo>
                <a:lnTo>
                  <a:pt x="10580" y="4074"/>
                </a:lnTo>
                <a:lnTo>
                  <a:pt x="10580" y="4068"/>
                </a:lnTo>
                <a:lnTo>
                  <a:pt x="10578" y="4060"/>
                </a:lnTo>
                <a:lnTo>
                  <a:pt x="10574" y="4058"/>
                </a:lnTo>
                <a:lnTo>
                  <a:pt x="10570" y="4056"/>
                </a:lnTo>
                <a:lnTo>
                  <a:pt x="10568" y="4052"/>
                </a:lnTo>
                <a:lnTo>
                  <a:pt x="10566" y="4052"/>
                </a:lnTo>
                <a:lnTo>
                  <a:pt x="10562" y="4054"/>
                </a:lnTo>
                <a:lnTo>
                  <a:pt x="10558" y="4056"/>
                </a:lnTo>
                <a:lnTo>
                  <a:pt x="10554" y="4056"/>
                </a:lnTo>
                <a:lnTo>
                  <a:pt x="10548" y="4056"/>
                </a:lnTo>
                <a:lnTo>
                  <a:pt x="10542" y="4058"/>
                </a:lnTo>
                <a:lnTo>
                  <a:pt x="10540" y="4060"/>
                </a:lnTo>
                <a:lnTo>
                  <a:pt x="10536" y="4060"/>
                </a:lnTo>
                <a:lnTo>
                  <a:pt x="10530" y="4058"/>
                </a:lnTo>
                <a:lnTo>
                  <a:pt x="10526" y="4058"/>
                </a:lnTo>
                <a:lnTo>
                  <a:pt x="10522" y="4058"/>
                </a:lnTo>
                <a:lnTo>
                  <a:pt x="10520" y="4060"/>
                </a:lnTo>
                <a:lnTo>
                  <a:pt x="10518" y="4064"/>
                </a:lnTo>
                <a:lnTo>
                  <a:pt x="10514" y="4062"/>
                </a:lnTo>
                <a:lnTo>
                  <a:pt x="10512" y="4062"/>
                </a:lnTo>
                <a:lnTo>
                  <a:pt x="10510" y="4062"/>
                </a:lnTo>
                <a:lnTo>
                  <a:pt x="10508" y="4064"/>
                </a:lnTo>
                <a:lnTo>
                  <a:pt x="10504" y="4068"/>
                </a:lnTo>
                <a:lnTo>
                  <a:pt x="10504" y="4070"/>
                </a:lnTo>
                <a:lnTo>
                  <a:pt x="10502" y="4074"/>
                </a:lnTo>
                <a:lnTo>
                  <a:pt x="10496" y="4082"/>
                </a:lnTo>
                <a:lnTo>
                  <a:pt x="10492" y="4084"/>
                </a:lnTo>
                <a:lnTo>
                  <a:pt x="10488" y="4088"/>
                </a:lnTo>
                <a:lnTo>
                  <a:pt x="10484" y="4096"/>
                </a:lnTo>
                <a:lnTo>
                  <a:pt x="10484" y="4108"/>
                </a:lnTo>
                <a:lnTo>
                  <a:pt x="10484" y="4118"/>
                </a:lnTo>
                <a:lnTo>
                  <a:pt x="10486" y="4126"/>
                </a:lnTo>
                <a:lnTo>
                  <a:pt x="10488" y="4132"/>
                </a:lnTo>
                <a:lnTo>
                  <a:pt x="10494" y="4138"/>
                </a:lnTo>
                <a:close/>
                <a:moveTo>
                  <a:pt x="10696" y="3976"/>
                </a:moveTo>
                <a:lnTo>
                  <a:pt x="10696" y="3976"/>
                </a:lnTo>
                <a:lnTo>
                  <a:pt x="10698" y="3978"/>
                </a:lnTo>
                <a:lnTo>
                  <a:pt x="10702" y="3978"/>
                </a:lnTo>
                <a:lnTo>
                  <a:pt x="10706" y="3976"/>
                </a:lnTo>
                <a:lnTo>
                  <a:pt x="10708" y="3974"/>
                </a:lnTo>
                <a:lnTo>
                  <a:pt x="10708" y="3968"/>
                </a:lnTo>
                <a:lnTo>
                  <a:pt x="10706" y="3962"/>
                </a:lnTo>
                <a:lnTo>
                  <a:pt x="10708" y="3958"/>
                </a:lnTo>
                <a:lnTo>
                  <a:pt x="10708" y="3954"/>
                </a:lnTo>
                <a:lnTo>
                  <a:pt x="10708" y="3952"/>
                </a:lnTo>
                <a:lnTo>
                  <a:pt x="10706" y="3950"/>
                </a:lnTo>
                <a:lnTo>
                  <a:pt x="10702" y="3952"/>
                </a:lnTo>
                <a:lnTo>
                  <a:pt x="10702" y="3950"/>
                </a:lnTo>
                <a:lnTo>
                  <a:pt x="10702" y="3948"/>
                </a:lnTo>
                <a:lnTo>
                  <a:pt x="10700" y="3948"/>
                </a:lnTo>
                <a:lnTo>
                  <a:pt x="10698" y="3948"/>
                </a:lnTo>
                <a:lnTo>
                  <a:pt x="10698" y="3952"/>
                </a:lnTo>
                <a:lnTo>
                  <a:pt x="10696" y="3954"/>
                </a:lnTo>
                <a:lnTo>
                  <a:pt x="10694" y="3958"/>
                </a:lnTo>
                <a:lnTo>
                  <a:pt x="10690" y="3960"/>
                </a:lnTo>
                <a:lnTo>
                  <a:pt x="10690" y="3966"/>
                </a:lnTo>
                <a:lnTo>
                  <a:pt x="10690" y="3974"/>
                </a:lnTo>
                <a:lnTo>
                  <a:pt x="10692" y="3974"/>
                </a:lnTo>
                <a:lnTo>
                  <a:pt x="10696" y="39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nb-NO"/>
          </a:p>
        </p:txBody>
      </p:sp>
      <p:grpSp>
        <p:nvGrpSpPr>
          <p:cNvPr id="8195" name="Group 24"/>
          <p:cNvGrpSpPr>
            <a:grpSpLocks/>
          </p:cNvGrpSpPr>
          <p:nvPr/>
        </p:nvGrpSpPr>
        <p:grpSpPr bwMode="auto">
          <a:xfrm>
            <a:off x="3789363" y="2057400"/>
            <a:ext cx="4019550" cy="4368800"/>
            <a:chOff x="5475288" y="3217862"/>
            <a:chExt cx="3349625" cy="3640138"/>
          </a:xfrm>
        </p:grpSpPr>
        <p:sp>
          <p:nvSpPr>
            <p:cNvPr id="15" name="Ellipse 98"/>
            <p:cNvSpPr/>
            <p:nvPr/>
          </p:nvSpPr>
          <p:spPr bwMode="auto">
            <a:xfrm>
              <a:off x="5708334" y="6339588"/>
              <a:ext cx="2963669" cy="518412"/>
            </a:xfrm>
            <a:prstGeom prst="ellipse">
              <a:avLst/>
            </a:prstGeom>
            <a:gradFill flip="none" rotWithShape="1">
              <a:gsLst>
                <a:gs pos="100000">
                  <a:srgbClr val="FFFFFF">
                    <a:alpha val="0"/>
                  </a:srgbClr>
                </a:gs>
                <a:gs pos="0">
                  <a:srgbClr val="E6E6E6">
                    <a:lumMod val="10000"/>
                    <a:alpha val="76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457200"/>
              <a:endParaRPr lang="en-US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9" name="Oval 18"/>
            <p:cNvSpPr>
              <a:spLocks noChangeArrowheads="1"/>
            </p:cNvSpPr>
            <p:nvPr/>
          </p:nvSpPr>
          <p:spPr bwMode="auto">
            <a:xfrm>
              <a:off x="5475288" y="3217862"/>
              <a:ext cx="3349625" cy="335147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56000">
                  <a:srgbClr val="1F88C8"/>
                </a:gs>
                <a:gs pos="14000">
                  <a:schemeClr val="accent1">
                    <a:lumMod val="60000"/>
                    <a:lumOff val="4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solidFill>
                <a:srgbClr val="1F88C8"/>
              </a:solidFill>
              <a:round/>
              <a:headEnd/>
              <a:tailEnd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defTabSz="457200"/>
              <a:endParaRPr lang="en-US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20" name="Freeform 10"/>
            <p:cNvSpPr>
              <a:spLocks noEditPoints="1"/>
            </p:cNvSpPr>
            <p:nvPr/>
          </p:nvSpPr>
          <p:spPr bwMode="auto">
            <a:xfrm>
              <a:off x="5475288" y="3217862"/>
              <a:ext cx="3349625" cy="3306383"/>
            </a:xfrm>
            <a:custGeom>
              <a:avLst/>
              <a:gdLst>
                <a:gd name="T0" fmla="*/ 2147483647 w 446"/>
                <a:gd name="T1" fmla="*/ 2147483647 h 440"/>
                <a:gd name="T2" fmla="*/ 2147483647 w 446"/>
                <a:gd name="T3" fmla="*/ 2147483647 h 440"/>
                <a:gd name="T4" fmla="*/ 2147483647 w 446"/>
                <a:gd name="T5" fmla="*/ 2147483647 h 440"/>
                <a:gd name="T6" fmla="*/ 2147483647 w 446"/>
                <a:gd name="T7" fmla="*/ 2147483647 h 440"/>
                <a:gd name="T8" fmla="*/ 2147483647 w 446"/>
                <a:gd name="T9" fmla="*/ 2147483647 h 440"/>
                <a:gd name="T10" fmla="*/ 2147483647 w 446"/>
                <a:gd name="T11" fmla="*/ 2147483647 h 440"/>
                <a:gd name="T12" fmla="*/ 2147483647 w 446"/>
                <a:gd name="T13" fmla="*/ 2147483647 h 440"/>
                <a:gd name="T14" fmla="*/ 2147483647 w 446"/>
                <a:gd name="T15" fmla="*/ 2147483647 h 440"/>
                <a:gd name="T16" fmla="*/ 2147483647 w 446"/>
                <a:gd name="T17" fmla="*/ 2147483647 h 440"/>
                <a:gd name="T18" fmla="*/ 2147483647 w 446"/>
                <a:gd name="T19" fmla="*/ 2147483647 h 440"/>
                <a:gd name="T20" fmla="*/ 2147483647 w 446"/>
                <a:gd name="T21" fmla="*/ 2147483647 h 440"/>
                <a:gd name="T22" fmla="*/ 2147483647 w 446"/>
                <a:gd name="T23" fmla="*/ 2147483647 h 440"/>
                <a:gd name="T24" fmla="*/ 2147483647 w 446"/>
                <a:gd name="T25" fmla="*/ 2147483647 h 440"/>
                <a:gd name="T26" fmla="*/ 2147483647 w 446"/>
                <a:gd name="T27" fmla="*/ 2147483647 h 440"/>
                <a:gd name="T28" fmla="*/ 2147483647 w 446"/>
                <a:gd name="T29" fmla="*/ 2147483647 h 440"/>
                <a:gd name="T30" fmla="*/ 2147483647 w 446"/>
                <a:gd name="T31" fmla="*/ 2147483647 h 440"/>
                <a:gd name="T32" fmla="*/ 2147483647 w 446"/>
                <a:gd name="T33" fmla="*/ 2147483647 h 440"/>
                <a:gd name="T34" fmla="*/ 2147483647 w 446"/>
                <a:gd name="T35" fmla="*/ 2147483647 h 440"/>
                <a:gd name="T36" fmla="*/ 2147483647 w 446"/>
                <a:gd name="T37" fmla="*/ 2147483647 h 440"/>
                <a:gd name="T38" fmla="*/ 2147483647 w 446"/>
                <a:gd name="T39" fmla="*/ 2147483647 h 440"/>
                <a:gd name="T40" fmla="*/ 2147483647 w 446"/>
                <a:gd name="T41" fmla="*/ 2147483647 h 440"/>
                <a:gd name="T42" fmla="*/ 2147483647 w 446"/>
                <a:gd name="T43" fmla="*/ 2147483647 h 440"/>
                <a:gd name="T44" fmla="*/ 2147483647 w 446"/>
                <a:gd name="T45" fmla="*/ 2147483647 h 440"/>
                <a:gd name="T46" fmla="*/ 2147483647 w 446"/>
                <a:gd name="T47" fmla="*/ 2147483647 h 440"/>
                <a:gd name="T48" fmla="*/ 2147483647 w 446"/>
                <a:gd name="T49" fmla="*/ 2147483647 h 440"/>
                <a:gd name="T50" fmla="*/ 2147483647 w 446"/>
                <a:gd name="T51" fmla="*/ 2147483647 h 440"/>
                <a:gd name="T52" fmla="*/ 2147483647 w 446"/>
                <a:gd name="T53" fmla="*/ 2147483647 h 440"/>
                <a:gd name="T54" fmla="*/ 2147483647 w 446"/>
                <a:gd name="T55" fmla="*/ 2147483647 h 440"/>
                <a:gd name="T56" fmla="*/ 2147483647 w 446"/>
                <a:gd name="T57" fmla="*/ 2147483647 h 440"/>
                <a:gd name="T58" fmla="*/ 2147483647 w 446"/>
                <a:gd name="T59" fmla="*/ 2147483647 h 440"/>
                <a:gd name="T60" fmla="*/ 2147483647 w 446"/>
                <a:gd name="T61" fmla="*/ 2147483647 h 440"/>
                <a:gd name="T62" fmla="*/ 2147483647 w 446"/>
                <a:gd name="T63" fmla="*/ 2147483647 h 440"/>
                <a:gd name="T64" fmla="*/ 2147483647 w 446"/>
                <a:gd name="T65" fmla="*/ 2147483647 h 440"/>
                <a:gd name="T66" fmla="*/ 2147483647 w 446"/>
                <a:gd name="T67" fmla="*/ 2147483647 h 440"/>
                <a:gd name="T68" fmla="*/ 2147483647 w 446"/>
                <a:gd name="T69" fmla="*/ 0 h 440"/>
                <a:gd name="T70" fmla="*/ 2147483647 w 446"/>
                <a:gd name="T71" fmla="*/ 2147483647 h 440"/>
                <a:gd name="T72" fmla="*/ 2147483647 w 446"/>
                <a:gd name="T73" fmla="*/ 2147483647 h 440"/>
                <a:gd name="T74" fmla="*/ 2147483647 w 446"/>
                <a:gd name="T75" fmla="*/ 2147483647 h 440"/>
                <a:gd name="T76" fmla="*/ 2147483647 w 446"/>
                <a:gd name="T77" fmla="*/ 2147483647 h 440"/>
                <a:gd name="T78" fmla="*/ 2147483647 w 446"/>
                <a:gd name="T79" fmla="*/ 2147483647 h 440"/>
                <a:gd name="T80" fmla="*/ 2147483647 w 446"/>
                <a:gd name="T81" fmla="*/ 2147483647 h 440"/>
                <a:gd name="T82" fmla="*/ 2147483647 w 446"/>
                <a:gd name="T83" fmla="*/ 2147483647 h 440"/>
                <a:gd name="T84" fmla="*/ 2147483647 w 446"/>
                <a:gd name="T85" fmla="*/ 2147483647 h 440"/>
                <a:gd name="T86" fmla="*/ 2147483647 w 446"/>
                <a:gd name="T87" fmla="*/ 2147483647 h 440"/>
                <a:gd name="T88" fmla="*/ 2147483647 w 446"/>
                <a:gd name="T89" fmla="*/ 2147483647 h 440"/>
                <a:gd name="T90" fmla="*/ 2147483647 w 446"/>
                <a:gd name="T91" fmla="*/ 2147483647 h 440"/>
                <a:gd name="T92" fmla="*/ 2147483647 w 446"/>
                <a:gd name="T93" fmla="*/ 2147483647 h 440"/>
                <a:gd name="T94" fmla="*/ 2147483647 w 446"/>
                <a:gd name="T95" fmla="*/ 2147483647 h 440"/>
                <a:gd name="T96" fmla="*/ 2147483647 w 446"/>
                <a:gd name="T97" fmla="*/ 2147483647 h 440"/>
                <a:gd name="T98" fmla="*/ 2147483647 w 446"/>
                <a:gd name="T99" fmla="*/ 2147483647 h 440"/>
                <a:gd name="T100" fmla="*/ 2147483647 w 446"/>
                <a:gd name="T101" fmla="*/ 2147483647 h 440"/>
                <a:gd name="T102" fmla="*/ 2147483647 w 446"/>
                <a:gd name="T103" fmla="*/ 2147483647 h 440"/>
                <a:gd name="T104" fmla="*/ 2147483647 w 446"/>
                <a:gd name="T105" fmla="*/ 2147483647 h 440"/>
                <a:gd name="T106" fmla="*/ 2147483647 w 446"/>
                <a:gd name="T107" fmla="*/ 2147483647 h 440"/>
                <a:gd name="T108" fmla="*/ 2147483647 w 446"/>
                <a:gd name="T109" fmla="*/ 2147483647 h 440"/>
                <a:gd name="T110" fmla="*/ 2147483647 w 446"/>
                <a:gd name="T111" fmla="*/ 2147483647 h 440"/>
                <a:gd name="T112" fmla="*/ 2147483647 w 446"/>
                <a:gd name="T113" fmla="*/ 2147483647 h 440"/>
                <a:gd name="T114" fmla="*/ 2147483647 w 446"/>
                <a:gd name="T115" fmla="*/ 2147483647 h 440"/>
                <a:gd name="T116" fmla="*/ 2147483647 w 446"/>
                <a:gd name="T117" fmla="*/ 2147483647 h 440"/>
                <a:gd name="T118" fmla="*/ 2147483647 w 446"/>
                <a:gd name="T119" fmla="*/ 2147483647 h 440"/>
                <a:gd name="T120" fmla="*/ 2147483647 w 446"/>
                <a:gd name="T121" fmla="*/ 2147483647 h 440"/>
                <a:gd name="T122" fmla="*/ 2147483647 w 446"/>
                <a:gd name="T123" fmla="*/ 2147483647 h 440"/>
                <a:gd name="T124" fmla="*/ 2147483647 w 446"/>
                <a:gd name="T125" fmla="*/ 2147483647 h 4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46"/>
                <a:gd name="T190" fmla="*/ 0 h 440"/>
                <a:gd name="T191" fmla="*/ 446 w 446"/>
                <a:gd name="T192" fmla="*/ 440 h 4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46" h="440">
                  <a:moveTo>
                    <a:pt x="222" y="258"/>
                  </a:moveTo>
                  <a:lnTo>
                    <a:pt x="222" y="258"/>
                  </a:lnTo>
                  <a:lnTo>
                    <a:pt x="220" y="258"/>
                  </a:lnTo>
                  <a:lnTo>
                    <a:pt x="220" y="256"/>
                  </a:lnTo>
                  <a:lnTo>
                    <a:pt x="218" y="256"/>
                  </a:lnTo>
                  <a:lnTo>
                    <a:pt x="218" y="258"/>
                  </a:lnTo>
                  <a:lnTo>
                    <a:pt x="220" y="258"/>
                  </a:lnTo>
                  <a:lnTo>
                    <a:pt x="222" y="258"/>
                  </a:lnTo>
                  <a:close/>
                  <a:moveTo>
                    <a:pt x="260" y="60"/>
                  </a:moveTo>
                  <a:lnTo>
                    <a:pt x="262" y="60"/>
                  </a:lnTo>
                  <a:lnTo>
                    <a:pt x="262" y="58"/>
                  </a:lnTo>
                  <a:lnTo>
                    <a:pt x="258" y="58"/>
                  </a:lnTo>
                  <a:lnTo>
                    <a:pt x="260" y="60"/>
                  </a:lnTo>
                  <a:close/>
                  <a:moveTo>
                    <a:pt x="218" y="252"/>
                  </a:moveTo>
                  <a:lnTo>
                    <a:pt x="218" y="250"/>
                  </a:lnTo>
                  <a:lnTo>
                    <a:pt x="216" y="250"/>
                  </a:lnTo>
                  <a:lnTo>
                    <a:pt x="216" y="252"/>
                  </a:lnTo>
                  <a:lnTo>
                    <a:pt x="214" y="250"/>
                  </a:lnTo>
                  <a:lnTo>
                    <a:pt x="212" y="250"/>
                  </a:lnTo>
                  <a:lnTo>
                    <a:pt x="212" y="252"/>
                  </a:lnTo>
                  <a:lnTo>
                    <a:pt x="214" y="252"/>
                  </a:lnTo>
                  <a:lnTo>
                    <a:pt x="216" y="252"/>
                  </a:lnTo>
                  <a:lnTo>
                    <a:pt x="218" y="252"/>
                  </a:lnTo>
                  <a:close/>
                  <a:moveTo>
                    <a:pt x="146" y="162"/>
                  </a:moveTo>
                  <a:lnTo>
                    <a:pt x="144" y="162"/>
                  </a:lnTo>
                  <a:lnTo>
                    <a:pt x="146" y="164"/>
                  </a:lnTo>
                  <a:lnTo>
                    <a:pt x="146" y="166"/>
                  </a:lnTo>
                  <a:lnTo>
                    <a:pt x="146" y="168"/>
                  </a:lnTo>
                  <a:lnTo>
                    <a:pt x="146" y="170"/>
                  </a:lnTo>
                  <a:lnTo>
                    <a:pt x="146" y="172"/>
                  </a:lnTo>
                  <a:lnTo>
                    <a:pt x="150" y="172"/>
                  </a:lnTo>
                  <a:lnTo>
                    <a:pt x="148" y="170"/>
                  </a:lnTo>
                  <a:lnTo>
                    <a:pt x="148" y="168"/>
                  </a:lnTo>
                  <a:lnTo>
                    <a:pt x="148" y="166"/>
                  </a:lnTo>
                  <a:lnTo>
                    <a:pt x="150" y="164"/>
                  </a:lnTo>
                  <a:lnTo>
                    <a:pt x="150" y="162"/>
                  </a:lnTo>
                  <a:lnTo>
                    <a:pt x="152" y="160"/>
                  </a:lnTo>
                  <a:lnTo>
                    <a:pt x="154" y="158"/>
                  </a:lnTo>
                  <a:lnTo>
                    <a:pt x="156" y="160"/>
                  </a:lnTo>
                  <a:lnTo>
                    <a:pt x="156" y="162"/>
                  </a:lnTo>
                  <a:lnTo>
                    <a:pt x="156" y="164"/>
                  </a:lnTo>
                  <a:lnTo>
                    <a:pt x="156" y="160"/>
                  </a:lnTo>
                  <a:lnTo>
                    <a:pt x="156" y="156"/>
                  </a:lnTo>
                  <a:lnTo>
                    <a:pt x="154" y="150"/>
                  </a:lnTo>
                  <a:lnTo>
                    <a:pt x="154" y="146"/>
                  </a:lnTo>
                  <a:lnTo>
                    <a:pt x="156" y="148"/>
                  </a:lnTo>
                  <a:lnTo>
                    <a:pt x="156" y="144"/>
                  </a:lnTo>
                  <a:lnTo>
                    <a:pt x="152" y="142"/>
                  </a:lnTo>
                  <a:lnTo>
                    <a:pt x="150" y="140"/>
                  </a:lnTo>
                  <a:lnTo>
                    <a:pt x="146" y="140"/>
                  </a:lnTo>
                  <a:lnTo>
                    <a:pt x="148" y="144"/>
                  </a:lnTo>
                  <a:lnTo>
                    <a:pt x="148" y="148"/>
                  </a:lnTo>
                  <a:lnTo>
                    <a:pt x="150" y="150"/>
                  </a:lnTo>
                  <a:lnTo>
                    <a:pt x="148" y="156"/>
                  </a:lnTo>
                  <a:lnTo>
                    <a:pt x="146" y="162"/>
                  </a:lnTo>
                  <a:close/>
                  <a:moveTo>
                    <a:pt x="158" y="166"/>
                  </a:moveTo>
                  <a:lnTo>
                    <a:pt x="156" y="170"/>
                  </a:lnTo>
                  <a:lnTo>
                    <a:pt x="154" y="172"/>
                  </a:lnTo>
                  <a:lnTo>
                    <a:pt x="152" y="174"/>
                  </a:lnTo>
                  <a:lnTo>
                    <a:pt x="148" y="174"/>
                  </a:lnTo>
                  <a:lnTo>
                    <a:pt x="150" y="178"/>
                  </a:lnTo>
                  <a:lnTo>
                    <a:pt x="152" y="178"/>
                  </a:lnTo>
                  <a:lnTo>
                    <a:pt x="154" y="178"/>
                  </a:lnTo>
                  <a:lnTo>
                    <a:pt x="156" y="178"/>
                  </a:lnTo>
                  <a:lnTo>
                    <a:pt x="156" y="180"/>
                  </a:lnTo>
                  <a:lnTo>
                    <a:pt x="160" y="178"/>
                  </a:lnTo>
                  <a:lnTo>
                    <a:pt x="164" y="178"/>
                  </a:lnTo>
                  <a:lnTo>
                    <a:pt x="164" y="176"/>
                  </a:lnTo>
                  <a:lnTo>
                    <a:pt x="166" y="174"/>
                  </a:lnTo>
                  <a:lnTo>
                    <a:pt x="164" y="170"/>
                  </a:lnTo>
                  <a:lnTo>
                    <a:pt x="162" y="174"/>
                  </a:lnTo>
                  <a:lnTo>
                    <a:pt x="160" y="170"/>
                  </a:lnTo>
                  <a:lnTo>
                    <a:pt x="160" y="168"/>
                  </a:lnTo>
                  <a:lnTo>
                    <a:pt x="158" y="166"/>
                  </a:lnTo>
                  <a:close/>
                  <a:moveTo>
                    <a:pt x="124" y="198"/>
                  </a:moveTo>
                  <a:lnTo>
                    <a:pt x="122" y="198"/>
                  </a:lnTo>
                  <a:lnTo>
                    <a:pt x="120" y="196"/>
                  </a:lnTo>
                  <a:lnTo>
                    <a:pt x="114" y="200"/>
                  </a:lnTo>
                  <a:lnTo>
                    <a:pt x="108" y="202"/>
                  </a:lnTo>
                  <a:lnTo>
                    <a:pt x="106" y="200"/>
                  </a:lnTo>
                  <a:lnTo>
                    <a:pt x="104" y="202"/>
                  </a:lnTo>
                  <a:lnTo>
                    <a:pt x="100" y="202"/>
                  </a:lnTo>
                  <a:lnTo>
                    <a:pt x="106" y="204"/>
                  </a:lnTo>
                  <a:lnTo>
                    <a:pt x="108" y="208"/>
                  </a:lnTo>
                  <a:lnTo>
                    <a:pt x="104" y="214"/>
                  </a:lnTo>
                  <a:lnTo>
                    <a:pt x="106" y="218"/>
                  </a:lnTo>
                  <a:lnTo>
                    <a:pt x="112" y="212"/>
                  </a:lnTo>
                  <a:lnTo>
                    <a:pt x="116" y="208"/>
                  </a:lnTo>
                  <a:lnTo>
                    <a:pt x="124" y="208"/>
                  </a:lnTo>
                  <a:lnTo>
                    <a:pt x="126" y="204"/>
                  </a:lnTo>
                  <a:lnTo>
                    <a:pt x="130" y="208"/>
                  </a:lnTo>
                  <a:lnTo>
                    <a:pt x="136" y="208"/>
                  </a:lnTo>
                  <a:lnTo>
                    <a:pt x="138" y="204"/>
                  </a:lnTo>
                  <a:lnTo>
                    <a:pt x="142" y="202"/>
                  </a:lnTo>
                  <a:lnTo>
                    <a:pt x="140" y="200"/>
                  </a:lnTo>
                  <a:lnTo>
                    <a:pt x="144" y="200"/>
                  </a:lnTo>
                  <a:lnTo>
                    <a:pt x="144" y="198"/>
                  </a:lnTo>
                  <a:lnTo>
                    <a:pt x="146" y="196"/>
                  </a:lnTo>
                  <a:lnTo>
                    <a:pt x="148" y="192"/>
                  </a:lnTo>
                  <a:lnTo>
                    <a:pt x="150" y="188"/>
                  </a:lnTo>
                  <a:lnTo>
                    <a:pt x="150" y="184"/>
                  </a:lnTo>
                  <a:lnTo>
                    <a:pt x="148" y="184"/>
                  </a:lnTo>
                  <a:lnTo>
                    <a:pt x="150" y="182"/>
                  </a:lnTo>
                  <a:lnTo>
                    <a:pt x="148" y="180"/>
                  </a:lnTo>
                  <a:lnTo>
                    <a:pt x="146" y="176"/>
                  </a:lnTo>
                  <a:lnTo>
                    <a:pt x="144" y="176"/>
                  </a:lnTo>
                  <a:lnTo>
                    <a:pt x="144" y="178"/>
                  </a:lnTo>
                  <a:lnTo>
                    <a:pt x="144" y="182"/>
                  </a:lnTo>
                  <a:lnTo>
                    <a:pt x="142" y="186"/>
                  </a:lnTo>
                  <a:lnTo>
                    <a:pt x="138" y="188"/>
                  </a:lnTo>
                  <a:lnTo>
                    <a:pt x="138" y="192"/>
                  </a:lnTo>
                  <a:lnTo>
                    <a:pt x="136" y="192"/>
                  </a:lnTo>
                  <a:lnTo>
                    <a:pt x="132" y="196"/>
                  </a:lnTo>
                  <a:lnTo>
                    <a:pt x="130" y="194"/>
                  </a:lnTo>
                  <a:lnTo>
                    <a:pt x="130" y="198"/>
                  </a:lnTo>
                  <a:lnTo>
                    <a:pt x="130" y="200"/>
                  </a:lnTo>
                  <a:lnTo>
                    <a:pt x="126" y="198"/>
                  </a:lnTo>
                  <a:lnTo>
                    <a:pt x="124" y="198"/>
                  </a:lnTo>
                  <a:close/>
                  <a:moveTo>
                    <a:pt x="262" y="10"/>
                  </a:moveTo>
                  <a:lnTo>
                    <a:pt x="264" y="10"/>
                  </a:lnTo>
                  <a:lnTo>
                    <a:pt x="264" y="8"/>
                  </a:lnTo>
                  <a:lnTo>
                    <a:pt x="262" y="8"/>
                  </a:lnTo>
                  <a:lnTo>
                    <a:pt x="260" y="8"/>
                  </a:lnTo>
                  <a:lnTo>
                    <a:pt x="260" y="10"/>
                  </a:lnTo>
                  <a:lnTo>
                    <a:pt x="262" y="10"/>
                  </a:lnTo>
                  <a:close/>
                  <a:moveTo>
                    <a:pt x="234" y="262"/>
                  </a:moveTo>
                  <a:lnTo>
                    <a:pt x="234" y="262"/>
                  </a:lnTo>
                  <a:lnTo>
                    <a:pt x="234" y="260"/>
                  </a:lnTo>
                  <a:lnTo>
                    <a:pt x="232" y="260"/>
                  </a:lnTo>
                  <a:lnTo>
                    <a:pt x="230" y="260"/>
                  </a:lnTo>
                  <a:lnTo>
                    <a:pt x="228" y="260"/>
                  </a:lnTo>
                  <a:lnTo>
                    <a:pt x="226" y="260"/>
                  </a:lnTo>
                  <a:lnTo>
                    <a:pt x="226" y="262"/>
                  </a:lnTo>
                  <a:lnTo>
                    <a:pt x="228" y="262"/>
                  </a:lnTo>
                  <a:lnTo>
                    <a:pt x="230" y="262"/>
                  </a:lnTo>
                  <a:lnTo>
                    <a:pt x="232" y="264"/>
                  </a:lnTo>
                  <a:lnTo>
                    <a:pt x="234" y="264"/>
                  </a:lnTo>
                  <a:lnTo>
                    <a:pt x="234" y="262"/>
                  </a:lnTo>
                  <a:close/>
                  <a:moveTo>
                    <a:pt x="244" y="274"/>
                  </a:moveTo>
                  <a:lnTo>
                    <a:pt x="244" y="272"/>
                  </a:lnTo>
                  <a:lnTo>
                    <a:pt x="242" y="272"/>
                  </a:lnTo>
                  <a:lnTo>
                    <a:pt x="242" y="270"/>
                  </a:lnTo>
                  <a:lnTo>
                    <a:pt x="240" y="268"/>
                  </a:lnTo>
                  <a:lnTo>
                    <a:pt x="240" y="266"/>
                  </a:lnTo>
                  <a:lnTo>
                    <a:pt x="238" y="266"/>
                  </a:lnTo>
                  <a:lnTo>
                    <a:pt x="236" y="266"/>
                  </a:lnTo>
                  <a:lnTo>
                    <a:pt x="236" y="264"/>
                  </a:lnTo>
                  <a:lnTo>
                    <a:pt x="234" y="264"/>
                  </a:lnTo>
                  <a:lnTo>
                    <a:pt x="234" y="266"/>
                  </a:lnTo>
                  <a:lnTo>
                    <a:pt x="234" y="268"/>
                  </a:lnTo>
                  <a:lnTo>
                    <a:pt x="236" y="272"/>
                  </a:lnTo>
                  <a:lnTo>
                    <a:pt x="236" y="278"/>
                  </a:lnTo>
                  <a:lnTo>
                    <a:pt x="238" y="278"/>
                  </a:lnTo>
                  <a:lnTo>
                    <a:pt x="240" y="278"/>
                  </a:lnTo>
                  <a:lnTo>
                    <a:pt x="240" y="276"/>
                  </a:lnTo>
                  <a:lnTo>
                    <a:pt x="242" y="276"/>
                  </a:lnTo>
                  <a:lnTo>
                    <a:pt x="244" y="276"/>
                  </a:lnTo>
                  <a:lnTo>
                    <a:pt x="246" y="276"/>
                  </a:lnTo>
                  <a:lnTo>
                    <a:pt x="246" y="274"/>
                  </a:lnTo>
                  <a:lnTo>
                    <a:pt x="244" y="274"/>
                  </a:lnTo>
                  <a:close/>
                  <a:moveTo>
                    <a:pt x="342" y="70"/>
                  </a:moveTo>
                  <a:lnTo>
                    <a:pt x="344" y="70"/>
                  </a:lnTo>
                  <a:lnTo>
                    <a:pt x="344" y="66"/>
                  </a:lnTo>
                  <a:lnTo>
                    <a:pt x="342" y="66"/>
                  </a:lnTo>
                  <a:lnTo>
                    <a:pt x="338" y="66"/>
                  </a:lnTo>
                  <a:lnTo>
                    <a:pt x="340" y="68"/>
                  </a:lnTo>
                  <a:lnTo>
                    <a:pt x="342" y="70"/>
                  </a:lnTo>
                  <a:close/>
                  <a:moveTo>
                    <a:pt x="222" y="262"/>
                  </a:moveTo>
                  <a:lnTo>
                    <a:pt x="222" y="262"/>
                  </a:lnTo>
                  <a:lnTo>
                    <a:pt x="222" y="264"/>
                  </a:lnTo>
                  <a:lnTo>
                    <a:pt x="224" y="264"/>
                  </a:lnTo>
                  <a:lnTo>
                    <a:pt x="224" y="262"/>
                  </a:lnTo>
                  <a:lnTo>
                    <a:pt x="222" y="262"/>
                  </a:lnTo>
                  <a:close/>
                  <a:moveTo>
                    <a:pt x="434" y="172"/>
                  </a:moveTo>
                  <a:lnTo>
                    <a:pt x="434" y="172"/>
                  </a:lnTo>
                  <a:lnTo>
                    <a:pt x="432" y="174"/>
                  </a:lnTo>
                  <a:lnTo>
                    <a:pt x="430" y="176"/>
                  </a:lnTo>
                  <a:lnTo>
                    <a:pt x="430" y="178"/>
                  </a:lnTo>
                  <a:lnTo>
                    <a:pt x="428" y="180"/>
                  </a:lnTo>
                  <a:lnTo>
                    <a:pt x="430" y="182"/>
                  </a:lnTo>
                  <a:lnTo>
                    <a:pt x="432" y="184"/>
                  </a:lnTo>
                  <a:lnTo>
                    <a:pt x="434" y="182"/>
                  </a:lnTo>
                  <a:lnTo>
                    <a:pt x="434" y="180"/>
                  </a:lnTo>
                  <a:lnTo>
                    <a:pt x="434" y="178"/>
                  </a:lnTo>
                  <a:lnTo>
                    <a:pt x="434" y="176"/>
                  </a:lnTo>
                  <a:lnTo>
                    <a:pt x="436" y="176"/>
                  </a:lnTo>
                  <a:lnTo>
                    <a:pt x="438" y="176"/>
                  </a:lnTo>
                  <a:lnTo>
                    <a:pt x="440" y="176"/>
                  </a:lnTo>
                  <a:lnTo>
                    <a:pt x="438" y="174"/>
                  </a:lnTo>
                  <a:lnTo>
                    <a:pt x="438" y="172"/>
                  </a:lnTo>
                  <a:lnTo>
                    <a:pt x="436" y="172"/>
                  </a:lnTo>
                  <a:lnTo>
                    <a:pt x="434" y="172"/>
                  </a:lnTo>
                  <a:close/>
                  <a:moveTo>
                    <a:pt x="228" y="16"/>
                  </a:moveTo>
                  <a:lnTo>
                    <a:pt x="230" y="16"/>
                  </a:lnTo>
                  <a:lnTo>
                    <a:pt x="230" y="14"/>
                  </a:lnTo>
                  <a:lnTo>
                    <a:pt x="232" y="14"/>
                  </a:lnTo>
                  <a:lnTo>
                    <a:pt x="232" y="16"/>
                  </a:lnTo>
                  <a:lnTo>
                    <a:pt x="234" y="16"/>
                  </a:lnTo>
                  <a:lnTo>
                    <a:pt x="236" y="16"/>
                  </a:lnTo>
                  <a:lnTo>
                    <a:pt x="236" y="14"/>
                  </a:lnTo>
                  <a:lnTo>
                    <a:pt x="236" y="12"/>
                  </a:lnTo>
                  <a:lnTo>
                    <a:pt x="234" y="10"/>
                  </a:lnTo>
                  <a:lnTo>
                    <a:pt x="232" y="8"/>
                  </a:lnTo>
                  <a:lnTo>
                    <a:pt x="230" y="8"/>
                  </a:lnTo>
                  <a:lnTo>
                    <a:pt x="228" y="10"/>
                  </a:lnTo>
                  <a:lnTo>
                    <a:pt x="226" y="8"/>
                  </a:lnTo>
                  <a:lnTo>
                    <a:pt x="226" y="10"/>
                  </a:lnTo>
                  <a:lnTo>
                    <a:pt x="224" y="8"/>
                  </a:lnTo>
                  <a:lnTo>
                    <a:pt x="224" y="12"/>
                  </a:lnTo>
                  <a:lnTo>
                    <a:pt x="222" y="10"/>
                  </a:lnTo>
                  <a:lnTo>
                    <a:pt x="222" y="12"/>
                  </a:lnTo>
                  <a:lnTo>
                    <a:pt x="218" y="12"/>
                  </a:lnTo>
                  <a:lnTo>
                    <a:pt x="218" y="14"/>
                  </a:lnTo>
                  <a:lnTo>
                    <a:pt x="220" y="14"/>
                  </a:lnTo>
                  <a:lnTo>
                    <a:pt x="220" y="16"/>
                  </a:lnTo>
                  <a:lnTo>
                    <a:pt x="222" y="16"/>
                  </a:lnTo>
                  <a:lnTo>
                    <a:pt x="222" y="12"/>
                  </a:lnTo>
                  <a:lnTo>
                    <a:pt x="222" y="16"/>
                  </a:lnTo>
                  <a:lnTo>
                    <a:pt x="224" y="16"/>
                  </a:lnTo>
                  <a:lnTo>
                    <a:pt x="226" y="14"/>
                  </a:lnTo>
                  <a:lnTo>
                    <a:pt x="228" y="14"/>
                  </a:lnTo>
                  <a:lnTo>
                    <a:pt x="228" y="16"/>
                  </a:lnTo>
                  <a:close/>
                  <a:moveTo>
                    <a:pt x="204" y="18"/>
                  </a:moveTo>
                  <a:lnTo>
                    <a:pt x="206" y="18"/>
                  </a:lnTo>
                  <a:lnTo>
                    <a:pt x="208" y="22"/>
                  </a:lnTo>
                  <a:lnTo>
                    <a:pt x="208" y="20"/>
                  </a:lnTo>
                  <a:lnTo>
                    <a:pt x="208" y="16"/>
                  </a:lnTo>
                  <a:lnTo>
                    <a:pt x="212" y="16"/>
                  </a:lnTo>
                  <a:lnTo>
                    <a:pt x="210" y="14"/>
                  </a:lnTo>
                  <a:lnTo>
                    <a:pt x="212" y="14"/>
                  </a:lnTo>
                  <a:lnTo>
                    <a:pt x="210" y="12"/>
                  </a:lnTo>
                  <a:lnTo>
                    <a:pt x="208" y="14"/>
                  </a:lnTo>
                  <a:lnTo>
                    <a:pt x="206" y="14"/>
                  </a:lnTo>
                  <a:lnTo>
                    <a:pt x="206" y="16"/>
                  </a:lnTo>
                  <a:lnTo>
                    <a:pt x="204" y="16"/>
                  </a:lnTo>
                  <a:lnTo>
                    <a:pt x="202" y="16"/>
                  </a:lnTo>
                  <a:lnTo>
                    <a:pt x="200" y="18"/>
                  </a:lnTo>
                  <a:lnTo>
                    <a:pt x="200" y="20"/>
                  </a:lnTo>
                  <a:lnTo>
                    <a:pt x="202" y="20"/>
                  </a:lnTo>
                  <a:lnTo>
                    <a:pt x="204" y="22"/>
                  </a:lnTo>
                  <a:lnTo>
                    <a:pt x="202" y="18"/>
                  </a:lnTo>
                  <a:lnTo>
                    <a:pt x="204" y="18"/>
                  </a:lnTo>
                  <a:close/>
                  <a:moveTo>
                    <a:pt x="444" y="230"/>
                  </a:moveTo>
                  <a:lnTo>
                    <a:pt x="444" y="230"/>
                  </a:lnTo>
                  <a:lnTo>
                    <a:pt x="442" y="230"/>
                  </a:lnTo>
                  <a:lnTo>
                    <a:pt x="442" y="232"/>
                  </a:lnTo>
                  <a:lnTo>
                    <a:pt x="440" y="232"/>
                  </a:lnTo>
                  <a:lnTo>
                    <a:pt x="446" y="220"/>
                  </a:lnTo>
                  <a:lnTo>
                    <a:pt x="444" y="206"/>
                  </a:lnTo>
                  <a:lnTo>
                    <a:pt x="442" y="202"/>
                  </a:lnTo>
                  <a:lnTo>
                    <a:pt x="442" y="206"/>
                  </a:lnTo>
                  <a:lnTo>
                    <a:pt x="440" y="212"/>
                  </a:lnTo>
                  <a:lnTo>
                    <a:pt x="440" y="210"/>
                  </a:lnTo>
                  <a:lnTo>
                    <a:pt x="438" y="210"/>
                  </a:lnTo>
                  <a:lnTo>
                    <a:pt x="438" y="208"/>
                  </a:lnTo>
                  <a:lnTo>
                    <a:pt x="436" y="200"/>
                  </a:lnTo>
                  <a:lnTo>
                    <a:pt x="438" y="196"/>
                  </a:lnTo>
                  <a:lnTo>
                    <a:pt x="436" y="194"/>
                  </a:lnTo>
                  <a:lnTo>
                    <a:pt x="434" y="188"/>
                  </a:lnTo>
                  <a:lnTo>
                    <a:pt x="432" y="188"/>
                  </a:lnTo>
                  <a:lnTo>
                    <a:pt x="430" y="192"/>
                  </a:lnTo>
                  <a:lnTo>
                    <a:pt x="430" y="194"/>
                  </a:lnTo>
                  <a:lnTo>
                    <a:pt x="430" y="196"/>
                  </a:lnTo>
                  <a:lnTo>
                    <a:pt x="430" y="198"/>
                  </a:lnTo>
                  <a:lnTo>
                    <a:pt x="430" y="200"/>
                  </a:lnTo>
                  <a:lnTo>
                    <a:pt x="432" y="204"/>
                  </a:lnTo>
                  <a:lnTo>
                    <a:pt x="432" y="206"/>
                  </a:lnTo>
                  <a:lnTo>
                    <a:pt x="432" y="208"/>
                  </a:lnTo>
                  <a:lnTo>
                    <a:pt x="430" y="210"/>
                  </a:lnTo>
                  <a:lnTo>
                    <a:pt x="430" y="212"/>
                  </a:lnTo>
                  <a:lnTo>
                    <a:pt x="428" y="214"/>
                  </a:lnTo>
                  <a:lnTo>
                    <a:pt x="426" y="214"/>
                  </a:lnTo>
                  <a:lnTo>
                    <a:pt x="426" y="212"/>
                  </a:lnTo>
                  <a:lnTo>
                    <a:pt x="424" y="212"/>
                  </a:lnTo>
                  <a:lnTo>
                    <a:pt x="422" y="212"/>
                  </a:lnTo>
                  <a:lnTo>
                    <a:pt x="422" y="210"/>
                  </a:lnTo>
                  <a:lnTo>
                    <a:pt x="420" y="210"/>
                  </a:lnTo>
                  <a:lnTo>
                    <a:pt x="420" y="208"/>
                  </a:lnTo>
                  <a:lnTo>
                    <a:pt x="418" y="206"/>
                  </a:lnTo>
                  <a:lnTo>
                    <a:pt x="418" y="204"/>
                  </a:lnTo>
                  <a:lnTo>
                    <a:pt x="416" y="204"/>
                  </a:lnTo>
                  <a:lnTo>
                    <a:pt x="416" y="202"/>
                  </a:lnTo>
                  <a:lnTo>
                    <a:pt x="416" y="200"/>
                  </a:lnTo>
                  <a:lnTo>
                    <a:pt x="416" y="198"/>
                  </a:lnTo>
                  <a:lnTo>
                    <a:pt x="416" y="196"/>
                  </a:lnTo>
                  <a:lnTo>
                    <a:pt x="416" y="194"/>
                  </a:lnTo>
                  <a:lnTo>
                    <a:pt x="414" y="194"/>
                  </a:lnTo>
                  <a:lnTo>
                    <a:pt x="414" y="192"/>
                  </a:lnTo>
                  <a:lnTo>
                    <a:pt x="414" y="190"/>
                  </a:lnTo>
                  <a:lnTo>
                    <a:pt x="416" y="190"/>
                  </a:lnTo>
                  <a:lnTo>
                    <a:pt x="414" y="190"/>
                  </a:lnTo>
                  <a:lnTo>
                    <a:pt x="412" y="188"/>
                  </a:lnTo>
                  <a:lnTo>
                    <a:pt x="410" y="188"/>
                  </a:lnTo>
                  <a:lnTo>
                    <a:pt x="412" y="184"/>
                  </a:lnTo>
                  <a:lnTo>
                    <a:pt x="410" y="180"/>
                  </a:lnTo>
                  <a:lnTo>
                    <a:pt x="410" y="178"/>
                  </a:lnTo>
                  <a:lnTo>
                    <a:pt x="412" y="178"/>
                  </a:lnTo>
                  <a:lnTo>
                    <a:pt x="412" y="176"/>
                  </a:lnTo>
                  <a:lnTo>
                    <a:pt x="412" y="174"/>
                  </a:lnTo>
                  <a:lnTo>
                    <a:pt x="414" y="172"/>
                  </a:lnTo>
                  <a:lnTo>
                    <a:pt x="414" y="170"/>
                  </a:lnTo>
                  <a:lnTo>
                    <a:pt x="416" y="170"/>
                  </a:lnTo>
                  <a:lnTo>
                    <a:pt x="416" y="168"/>
                  </a:lnTo>
                  <a:lnTo>
                    <a:pt x="418" y="168"/>
                  </a:lnTo>
                  <a:lnTo>
                    <a:pt x="420" y="168"/>
                  </a:lnTo>
                  <a:lnTo>
                    <a:pt x="420" y="166"/>
                  </a:lnTo>
                  <a:lnTo>
                    <a:pt x="416" y="164"/>
                  </a:lnTo>
                  <a:lnTo>
                    <a:pt x="414" y="162"/>
                  </a:lnTo>
                  <a:lnTo>
                    <a:pt x="414" y="160"/>
                  </a:lnTo>
                  <a:lnTo>
                    <a:pt x="416" y="158"/>
                  </a:lnTo>
                  <a:lnTo>
                    <a:pt x="418" y="158"/>
                  </a:lnTo>
                  <a:lnTo>
                    <a:pt x="420" y="158"/>
                  </a:lnTo>
                  <a:lnTo>
                    <a:pt x="422" y="158"/>
                  </a:lnTo>
                  <a:lnTo>
                    <a:pt x="424" y="158"/>
                  </a:lnTo>
                  <a:lnTo>
                    <a:pt x="426" y="158"/>
                  </a:lnTo>
                  <a:lnTo>
                    <a:pt x="426" y="160"/>
                  </a:lnTo>
                  <a:lnTo>
                    <a:pt x="428" y="160"/>
                  </a:lnTo>
                  <a:lnTo>
                    <a:pt x="430" y="164"/>
                  </a:lnTo>
                  <a:lnTo>
                    <a:pt x="434" y="166"/>
                  </a:lnTo>
                  <a:lnTo>
                    <a:pt x="434" y="162"/>
                  </a:lnTo>
                  <a:lnTo>
                    <a:pt x="436" y="162"/>
                  </a:lnTo>
                  <a:lnTo>
                    <a:pt x="436" y="160"/>
                  </a:lnTo>
                  <a:lnTo>
                    <a:pt x="432" y="158"/>
                  </a:lnTo>
                  <a:lnTo>
                    <a:pt x="430" y="156"/>
                  </a:lnTo>
                  <a:lnTo>
                    <a:pt x="428" y="156"/>
                  </a:lnTo>
                  <a:lnTo>
                    <a:pt x="426" y="156"/>
                  </a:lnTo>
                  <a:lnTo>
                    <a:pt x="424" y="156"/>
                  </a:lnTo>
                  <a:lnTo>
                    <a:pt x="424" y="154"/>
                  </a:lnTo>
                  <a:lnTo>
                    <a:pt x="424" y="152"/>
                  </a:lnTo>
                  <a:lnTo>
                    <a:pt x="422" y="150"/>
                  </a:lnTo>
                  <a:lnTo>
                    <a:pt x="422" y="148"/>
                  </a:lnTo>
                  <a:lnTo>
                    <a:pt x="422" y="144"/>
                  </a:lnTo>
                  <a:lnTo>
                    <a:pt x="420" y="142"/>
                  </a:lnTo>
                  <a:lnTo>
                    <a:pt x="420" y="140"/>
                  </a:lnTo>
                  <a:lnTo>
                    <a:pt x="418" y="138"/>
                  </a:lnTo>
                  <a:lnTo>
                    <a:pt x="416" y="136"/>
                  </a:lnTo>
                  <a:lnTo>
                    <a:pt x="416" y="134"/>
                  </a:lnTo>
                  <a:lnTo>
                    <a:pt x="418" y="134"/>
                  </a:lnTo>
                  <a:lnTo>
                    <a:pt x="418" y="132"/>
                  </a:lnTo>
                  <a:lnTo>
                    <a:pt x="418" y="130"/>
                  </a:lnTo>
                  <a:lnTo>
                    <a:pt x="416" y="130"/>
                  </a:lnTo>
                  <a:lnTo>
                    <a:pt x="416" y="128"/>
                  </a:lnTo>
                  <a:lnTo>
                    <a:pt x="414" y="126"/>
                  </a:lnTo>
                  <a:lnTo>
                    <a:pt x="412" y="124"/>
                  </a:lnTo>
                  <a:lnTo>
                    <a:pt x="410" y="122"/>
                  </a:lnTo>
                  <a:lnTo>
                    <a:pt x="410" y="120"/>
                  </a:lnTo>
                  <a:lnTo>
                    <a:pt x="410" y="118"/>
                  </a:lnTo>
                  <a:lnTo>
                    <a:pt x="408" y="116"/>
                  </a:lnTo>
                  <a:lnTo>
                    <a:pt x="406" y="110"/>
                  </a:lnTo>
                  <a:lnTo>
                    <a:pt x="402" y="108"/>
                  </a:lnTo>
                  <a:lnTo>
                    <a:pt x="402" y="104"/>
                  </a:lnTo>
                  <a:lnTo>
                    <a:pt x="400" y="102"/>
                  </a:lnTo>
                  <a:lnTo>
                    <a:pt x="402" y="100"/>
                  </a:lnTo>
                  <a:lnTo>
                    <a:pt x="396" y="98"/>
                  </a:lnTo>
                  <a:lnTo>
                    <a:pt x="394" y="94"/>
                  </a:lnTo>
                  <a:lnTo>
                    <a:pt x="392" y="90"/>
                  </a:lnTo>
                  <a:lnTo>
                    <a:pt x="390" y="88"/>
                  </a:lnTo>
                  <a:lnTo>
                    <a:pt x="392" y="84"/>
                  </a:lnTo>
                  <a:lnTo>
                    <a:pt x="390" y="80"/>
                  </a:lnTo>
                  <a:lnTo>
                    <a:pt x="388" y="78"/>
                  </a:lnTo>
                  <a:lnTo>
                    <a:pt x="388" y="76"/>
                  </a:lnTo>
                  <a:lnTo>
                    <a:pt x="386" y="76"/>
                  </a:lnTo>
                  <a:lnTo>
                    <a:pt x="386" y="74"/>
                  </a:lnTo>
                  <a:lnTo>
                    <a:pt x="384" y="74"/>
                  </a:lnTo>
                  <a:lnTo>
                    <a:pt x="382" y="72"/>
                  </a:lnTo>
                  <a:lnTo>
                    <a:pt x="380" y="72"/>
                  </a:lnTo>
                  <a:lnTo>
                    <a:pt x="378" y="72"/>
                  </a:lnTo>
                  <a:lnTo>
                    <a:pt x="376" y="74"/>
                  </a:lnTo>
                  <a:lnTo>
                    <a:pt x="374" y="72"/>
                  </a:lnTo>
                  <a:lnTo>
                    <a:pt x="376" y="70"/>
                  </a:lnTo>
                  <a:lnTo>
                    <a:pt x="378" y="70"/>
                  </a:lnTo>
                  <a:lnTo>
                    <a:pt x="382" y="70"/>
                  </a:lnTo>
                  <a:lnTo>
                    <a:pt x="380" y="68"/>
                  </a:lnTo>
                  <a:lnTo>
                    <a:pt x="380" y="66"/>
                  </a:lnTo>
                  <a:lnTo>
                    <a:pt x="374" y="60"/>
                  </a:lnTo>
                  <a:lnTo>
                    <a:pt x="372" y="60"/>
                  </a:lnTo>
                  <a:lnTo>
                    <a:pt x="372" y="58"/>
                  </a:lnTo>
                  <a:lnTo>
                    <a:pt x="370" y="58"/>
                  </a:lnTo>
                  <a:lnTo>
                    <a:pt x="368" y="58"/>
                  </a:lnTo>
                  <a:lnTo>
                    <a:pt x="366" y="58"/>
                  </a:lnTo>
                  <a:lnTo>
                    <a:pt x="366" y="56"/>
                  </a:lnTo>
                  <a:lnTo>
                    <a:pt x="364" y="56"/>
                  </a:lnTo>
                  <a:lnTo>
                    <a:pt x="362" y="54"/>
                  </a:lnTo>
                  <a:lnTo>
                    <a:pt x="360" y="54"/>
                  </a:lnTo>
                  <a:lnTo>
                    <a:pt x="358" y="54"/>
                  </a:lnTo>
                  <a:lnTo>
                    <a:pt x="356" y="54"/>
                  </a:lnTo>
                  <a:lnTo>
                    <a:pt x="354" y="54"/>
                  </a:lnTo>
                  <a:lnTo>
                    <a:pt x="352" y="54"/>
                  </a:lnTo>
                  <a:lnTo>
                    <a:pt x="350" y="54"/>
                  </a:lnTo>
                  <a:lnTo>
                    <a:pt x="348" y="52"/>
                  </a:lnTo>
                  <a:lnTo>
                    <a:pt x="344" y="50"/>
                  </a:lnTo>
                  <a:lnTo>
                    <a:pt x="342" y="50"/>
                  </a:lnTo>
                  <a:lnTo>
                    <a:pt x="342" y="54"/>
                  </a:lnTo>
                  <a:lnTo>
                    <a:pt x="340" y="52"/>
                  </a:lnTo>
                  <a:lnTo>
                    <a:pt x="338" y="56"/>
                  </a:lnTo>
                  <a:lnTo>
                    <a:pt x="336" y="56"/>
                  </a:lnTo>
                  <a:lnTo>
                    <a:pt x="330" y="56"/>
                  </a:lnTo>
                  <a:lnTo>
                    <a:pt x="336" y="58"/>
                  </a:lnTo>
                  <a:lnTo>
                    <a:pt x="336" y="60"/>
                  </a:lnTo>
                  <a:lnTo>
                    <a:pt x="338" y="64"/>
                  </a:lnTo>
                  <a:lnTo>
                    <a:pt x="340" y="62"/>
                  </a:lnTo>
                  <a:lnTo>
                    <a:pt x="344" y="64"/>
                  </a:lnTo>
                  <a:lnTo>
                    <a:pt x="346" y="66"/>
                  </a:lnTo>
                  <a:lnTo>
                    <a:pt x="352" y="66"/>
                  </a:lnTo>
                  <a:lnTo>
                    <a:pt x="352" y="70"/>
                  </a:lnTo>
                  <a:lnTo>
                    <a:pt x="356" y="68"/>
                  </a:lnTo>
                  <a:lnTo>
                    <a:pt x="360" y="72"/>
                  </a:lnTo>
                  <a:lnTo>
                    <a:pt x="356" y="72"/>
                  </a:lnTo>
                  <a:lnTo>
                    <a:pt x="356" y="74"/>
                  </a:lnTo>
                  <a:lnTo>
                    <a:pt x="354" y="76"/>
                  </a:lnTo>
                  <a:lnTo>
                    <a:pt x="360" y="76"/>
                  </a:lnTo>
                  <a:lnTo>
                    <a:pt x="360" y="78"/>
                  </a:lnTo>
                  <a:lnTo>
                    <a:pt x="364" y="78"/>
                  </a:lnTo>
                  <a:lnTo>
                    <a:pt x="366" y="80"/>
                  </a:lnTo>
                  <a:lnTo>
                    <a:pt x="370" y="82"/>
                  </a:lnTo>
                  <a:lnTo>
                    <a:pt x="370" y="84"/>
                  </a:lnTo>
                  <a:lnTo>
                    <a:pt x="372" y="86"/>
                  </a:lnTo>
                  <a:lnTo>
                    <a:pt x="370" y="88"/>
                  </a:lnTo>
                  <a:lnTo>
                    <a:pt x="368" y="86"/>
                  </a:lnTo>
                  <a:lnTo>
                    <a:pt x="364" y="82"/>
                  </a:lnTo>
                  <a:lnTo>
                    <a:pt x="356" y="80"/>
                  </a:lnTo>
                  <a:lnTo>
                    <a:pt x="356" y="82"/>
                  </a:lnTo>
                  <a:lnTo>
                    <a:pt x="354" y="82"/>
                  </a:lnTo>
                  <a:lnTo>
                    <a:pt x="352" y="80"/>
                  </a:lnTo>
                  <a:lnTo>
                    <a:pt x="350" y="80"/>
                  </a:lnTo>
                  <a:lnTo>
                    <a:pt x="350" y="82"/>
                  </a:lnTo>
                  <a:lnTo>
                    <a:pt x="346" y="82"/>
                  </a:lnTo>
                  <a:lnTo>
                    <a:pt x="346" y="84"/>
                  </a:lnTo>
                  <a:lnTo>
                    <a:pt x="344" y="86"/>
                  </a:lnTo>
                  <a:lnTo>
                    <a:pt x="344" y="84"/>
                  </a:lnTo>
                  <a:lnTo>
                    <a:pt x="342" y="82"/>
                  </a:lnTo>
                  <a:lnTo>
                    <a:pt x="340" y="82"/>
                  </a:lnTo>
                  <a:lnTo>
                    <a:pt x="338" y="82"/>
                  </a:lnTo>
                  <a:lnTo>
                    <a:pt x="338" y="84"/>
                  </a:lnTo>
                  <a:lnTo>
                    <a:pt x="336" y="84"/>
                  </a:lnTo>
                  <a:lnTo>
                    <a:pt x="336" y="82"/>
                  </a:lnTo>
                  <a:lnTo>
                    <a:pt x="334" y="80"/>
                  </a:lnTo>
                  <a:lnTo>
                    <a:pt x="332" y="78"/>
                  </a:lnTo>
                  <a:lnTo>
                    <a:pt x="328" y="76"/>
                  </a:lnTo>
                  <a:lnTo>
                    <a:pt x="328" y="72"/>
                  </a:lnTo>
                  <a:lnTo>
                    <a:pt x="326" y="72"/>
                  </a:lnTo>
                  <a:lnTo>
                    <a:pt x="324" y="68"/>
                  </a:lnTo>
                  <a:lnTo>
                    <a:pt x="322" y="68"/>
                  </a:lnTo>
                  <a:lnTo>
                    <a:pt x="324" y="68"/>
                  </a:lnTo>
                  <a:lnTo>
                    <a:pt x="324" y="66"/>
                  </a:lnTo>
                  <a:lnTo>
                    <a:pt x="322" y="66"/>
                  </a:lnTo>
                  <a:lnTo>
                    <a:pt x="322" y="64"/>
                  </a:lnTo>
                  <a:lnTo>
                    <a:pt x="322" y="62"/>
                  </a:lnTo>
                  <a:lnTo>
                    <a:pt x="320" y="62"/>
                  </a:lnTo>
                  <a:lnTo>
                    <a:pt x="318" y="64"/>
                  </a:lnTo>
                  <a:lnTo>
                    <a:pt x="318" y="60"/>
                  </a:lnTo>
                  <a:lnTo>
                    <a:pt x="318" y="58"/>
                  </a:lnTo>
                  <a:lnTo>
                    <a:pt x="312" y="56"/>
                  </a:lnTo>
                  <a:lnTo>
                    <a:pt x="308" y="56"/>
                  </a:lnTo>
                  <a:lnTo>
                    <a:pt x="308" y="60"/>
                  </a:lnTo>
                  <a:lnTo>
                    <a:pt x="304" y="60"/>
                  </a:lnTo>
                  <a:lnTo>
                    <a:pt x="302" y="62"/>
                  </a:lnTo>
                  <a:lnTo>
                    <a:pt x="304" y="62"/>
                  </a:lnTo>
                  <a:lnTo>
                    <a:pt x="304" y="66"/>
                  </a:lnTo>
                  <a:lnTo>
                    <a:pt x="300" y="66"/>
                  </a:lnTo>
                  <a:lnTo>
                    <a:pt x="296" y="64"/>
                  </a:lnTo>
                  <a:lnTo>
                    <a:pt x="296" y="68"/>
                  </a:lnTo>
                  <a:lnTo>
                    <a:pt x="300" y="72"/>
                  </a:lnTo>
                  <a:lnTo>
                    <a:pt x="296" y="70"/>
                  </a:lnTo>
                  <a:lnTo>
                    <a:pt x="294" y="70"/>
                  </a:lnTo>
                  <a:lnTo>
                    <a:pt x="292" y="74"/>
                  </a:lnTo>
                  <a:lnTo>
                    <a:pt x="288" y="74"/>
                  </a:lnTo>
                  <a:lnTo>
                    <a:pt x="284" y="74"/>
                  </a:lnTo>
                  <a:lnTo>
                    <a:pt x="280" y="72"/>
                  </a:lnTo>
                  <a:lnTo>
                    <a:pt x="278" y="74"/>
                  </a:lnTo>
                  <a:lnTo>
                    <a:pt x="276" y="72"/>
                  </a:lnTo>
                  <a:lnTo>
                    <a:pt x="268" y="72"/>
                  </a:lnTo>
                  <a:lnTo>
                    <a:pt x="266" y="72"/>
                  </a:lnTo>
                  <a:lnTo>
                    <a:pt x="264" y="74"/>
                  </a:lnTo>
                  <a:lnTo>
                    <a:pt x="264" y="76"/>
                  </a:lnTo>
                  <a:lnTo>
                    <a:pt x="264" y="74"/>
                  </a:lnTo>
                  <a:lnTo>
                    <a:pt x="262" y="74"/>
                  </a:lnTo>
                  <a:lnTo>
                    <a:pt x="260" y="74"/>
                  </a:lnTo>
                  <a:lnTo>
                    <a:pt x="258" y="74"/>
                  </a:lnTo>
                  <a:lnTo>
                    <a:pt x="256" y="74"/>
                  </a:lnTo>
                  <a:lnTo>
                    <a:pt x="254" y="74"/>
                  </a:lnTo>
                  <a:lnTo>
                    <a:pt x="252" y="74"/>
                  </a:lnTo>
                  <a:lnTo>
                    <a:pt x="252" y="76"/>
                  </a:lnTo>
                  <a:lnTo>
                    <a:pt x="246" y="76"/>
                  </a:lnTo>
                  <a:lnTo>
                    <a:pt x="244" y="74"/>
                  </a:lnTo>
                  <a:lnTo>
                    <a:pt x="242" y="74"/>
                  </a:lnTo>
                  <a:lnTo>
                    <a:pt x="240" y="74"/>
                  </a:lnTo>
                  <a:lnTo>
                    <a:pt x="240" y="72"/>
                  </a:lnTo>
                  <a:lnTo>
                    <a:pt x="238" y="72"/>
                  </a:lnTo>
                  <a:lnTo>
                    <a:pt x="238" y="74"/>
                  </a:lnTo>
                  <a:lnTo>
                    <a:pt x="238" y="76"/>
                  </a:lnTo>
                  <a:lnTo>
                    <a:pt x="238" y="78"/>
                  </a:lnTo>
                  <a:lnTo>
                    <a:pt x="236" y="80"/>
                  </a:lnTo>
                  <a:lnTo>
                    <a:pt x="234" y="80"/>
                  </a:lnTo>
                  <a:lnTo>
                    <a:pt x="232" y="80"/>
                  </a:lnTo>
                  <a:lnTo>
                    <a:pt x="230" y="80"/>
                  </a:lnTo>
                  <a:lnTo>
                    <a:pt x="228" y="82"/>
                  </a:lnTo>
                  <a:lnTo>
                    <a:pt x="230" y="84"/>
                  </a:lnTo>
                  <a:lnTo>
                    <a:pt x="234" y="88"/>
                  </a:lnTo>
                  <a:lnTo>
                    <a:pt x="236" y="88"/>
                  </a:lnTo>
                  <a:lnTo>
                    <a:pt x="232" y="88"/>
                  </a:lnTo>
                  <a:lnTo>
                    <a:pt x="230" y="92"/>
                  </a:lnTo>
                  <a:lnTo>
                    <a:pt x="226" y="92"/>
                  </a:lnTo>
                  <a:lnTo>
                    <a:pt x="222" y="90"/>
                  </a:lnTo>
                  <a:lnTo>
                    <a:pt x="220" y="94"/>
                  </a:lnTo>
                  <a:lnTo>
                    <a:pt x="220" y="96"/>
                  </a:lnTo>
                  <a:lnTo>
                    <a:pt x="224" y="96"/>
                  </a:lnTo>
                  <a:lnTo>
                    <a:pt x="228" y="94"/>
                  </a:lnTo>
                  <a:lnTo>
                    <a:pt x="230" y="96"/>
                  </a:lnTo>
                  <a:lnTo>
                    <a:pt x="234" y="96"/>
                  </a:lnTo>
                  <a:lnTo>
                    <a:pt x="236" y="96"/>
                  </a:lnTo>
                  <a:lnTo>
                    <a:pt x="234" y="98"/>
                  </a:lnTo>
                  <a:lnTo>
                    <a:pt x="232" y="98"/>
                  </a:lnTo>
                  <a:lnTo>
                    <a:pt x="230" y="98"/>
                  </a:lnTo>
                  <a:lnTo>
                    <a:pt x="228" y="98"/>
                  </a:lnTo>
                  <a:lnTo>
                    <a:pt x="228" y="100"/>
                  </a:lnTo>
                  <a:lnTo>
                    <a:pt x="228" y="102"/>
                  </a:lnTo>
                  <a:lnTo>
                    <a:pt x="228" y="104"/>
                  </a:lnTo>
                  <a:lnTo>
                    <a:pt x="228" y="106"/>
                  </a:lnTo>
                  <a:lnTo>
                    <a:pt x="230" y="108"/>
                  </a:lnTo>
                  <a:lnTo>
                    <a:pt x="230" y="110"/>
                  </a:lnTo>
                  <a:lnTo>
                    <a:pt x="232" y="110"/>
                  </a:lnTo>
                  <a:lnTo>
                    <a:pt x="236" y="112"/>
                  </a:lnTo>
                  <a:lnTo>
                    <a:pt x="238" y="114"/>
                  </a:lnTo>
                  <a:lnTo>
                    <a:pt x="242" y="116"/>
                  </a:lnTo>
                  <a:lnTo>
                    <a:pt x="242" y="118"/>
                  </a:lnTo>
                  <a:lnTo>
                    <a:pt x="242" y="120"/>
                  </a:lnTo>
                  <a:lnTo>
                    <a:pt x="240" y="120"/>
                  </a:lnTo>
                  <a:lnTo>
                    <a:pt x="238" y="122"/>
                  </a:lnTo>
                  <a:lnTo>
                    <a:pt x="236" y="122"/>
                  </a:lnTo>
                  <a:lnTo>
                    <a:pt x="236" y="124"/>
                  </a:lnTo>
                  <a:lnTo>
                    <a:pt x="234" y="124"/>
                  </a:lnTo>
                  <a:lnTo>
                    <a:pt x="232" y="124"/>
                  </a:lnTo>
                  <a:lnTo>
                    <a:pt x="230" y="126"/>
                  </a:lnTo>
                  <a:lnTo>
                    <a:pt x="228" y="126"/>
                  </a:lnTo>
                  <a:lnTo>
                    <a:pt x="228" y="128"/>
                  </a:lnTo>
                  <a:lnTo>
                    <a:pt x="228" y="130"/>
                  </a:lnTo>
                  <a:lnTo>
                    <a:pt x="226" y="130"/>
                  </a:lnTo>
                  <a:lnTo>
                    <a:pt x="226" y="132"/>
                  </a:lnTo>
                  <a:lnTo>
                    <a:pt x="224" y="132"/>
                  </a:lnTo>
                  <a:lnTo>
                    <a:pt x="226" y="132"/>
                  </a:lnTo>
                  <a:lnTo>
                    <a:pt x="228" y="132"/>
                  </a:lnTo>
                  <a:lnTo>
                    <a:pt x="228" y="130"/>
                  </a:lnTo>
                  <a:lnTo>
                    <a:pt x="230" y="130"/>
                  </a:lnTo>
                  <a:lnTo>
                    <a:pt x="232" y="128"/>
                  </a:lnTo>
                  <a:lnTo>
                    <a:pt x="234" y="128"/>
                  </a:lnTo>
                  <a:lnTo>
                    <a:pt x="236" y="128"/>
                  </a:lnTo>
                  <a:lnTo>
                    <a:pt x="236" y="130"/>
                  </a:lnTo>
                  <a:lnTo>
                    <a:pt x="238" y="130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40" y="124"/>
                  </a:lnTo>
                  <a:lnTo>
                    <a:pt x="242" y="124"/>
                  </a:lnTo>
                  <a:lnTo>
                    <a:pt x="242" y="122"/>
                  </a:lnTo>
                  <a:lnTo>
                    <a:pt x="244" y="120"/>
                  </a:lnTo>
                  <a:lnTo>
                    <a:pt x="246" y="120"/>
                  </a:lnTo>
                  <a:lnTo>
                    <a:pt x="248" y="120"/>
                  </a:lnTo>
                  <a:lnTo>
                    <a:pt x="250" y="120"/>
                  </a:lnTo>
                  <a:lnTo>
                    <a:pt x="250" y="118"/>
                  </a:lnTo>
                  <a:lnTo>
                    <a:pt x="250" y="116"/>
                  </a:lnTo>
                  <a:lnTo>
                    <a:pt x="250" y="112"/>
                  </a:lnTo>
                  <a:lnTo>
                    <a:pt x="250" y="110"/>
                  </a:lnTo>
                  <a:lnTo>
                    <a:pt x="252" y="110"/>
                  </a:lnTo>
                  <a:lnTo>
                    <a:pt x="254" y="110"/>
                  </a:lnTo>
                  <a:lnTo>
                    <a:pt x="256" y="108"/>
                  </a:lnTo>
                  <a:lnTo>
                    <a:pt x="262" y="108"/>
                  </a:lnTo>
                  <a:lnTo>
                    <a:pt x="264" y="110"/>
                  </a:lnTo>
                  <a:lnTo>
                    <a:pt x="266" y="110"/>
                  </a:lnTo>
                  <a:lnTo>
                    <a:pt x="268" y="112"/>
                  </a:lnTo>
                  <a:lnTo>
                    <a:pt x="270" y="112"/>
                  </a:lnTo>
                  <a:lnTo>
                    <a:pt x="272" y="112"/>
                  </a:lnTo>
                  <a:lnTo>
                    <a:pt x="274" y="112"/>
                  </a:lnTo>
                  <a:lnTo>
                    <a:pt x="276" y="114"/>
                  </a:lnTo>
                  <a:lnTo>
                    <a:pt x="278" y="114"/>
                  </a:lnTo>
                  <a:lnTo>
                    <a:pt x="280" y="114"/>
                  </a:lnTo>
                  <a:lnTo>
                    <a:pt x="282" y="116"/>
                  </a:lnTo>
                  <a:lnTo>
                    <a:pt x="284" y="116"/>
                  </a:lnTo>
                  <a:lnTo>
                    <a:pt x="282" y="118"/>
                  </a:lnTo>
                  <a:lnTo>
                    <a:pt x="284" y="120"/>
                  </a:lnTo>
                  <a:lnTo>
                    <a:pt x="286" y="122"/>
                  </a:lnTo>
                  <a:lnTo>
                    <a:pt x="288" y="128"/>
                  </a:lnTo>
                  <a:lnTo>
                    <a:pt x="288" y="124"/>
                  </a:lnTo>
                  <a:lnTo>
                    <a:pt x="292" y="124"/>
                  </a:lnTo>
                  <a:lnTo>
                    <a:pt x="292" y="126"/>
                  </a:lnTo>
                  <a:lnTo>
                    <a:pt x="292" y="130"/>
                  </a:lnTo>
                  <a:lnTo>
                    <a:pt x="294" y="132"/>
                  </a:lnTo>
                  <a:lnTo>
                    <a:pt x="296" y="132"/>
                  </a:lnTo>
                  <a:lnTo>
                    <a:pt x="296" y="130"/>
                  </a:lnTo>
                  <a:lnTo>
                    <a:pt x="296" y="128"/>
                  </a:lnTo>
                  <a:lnTo>
                    <a:pt x="300" y="130"/>
                  </a:lnTo>
                  <a:lnTo>
                    <a:pt x="302" y="132"/>
                  </a:lnTo>
                  <a:lnTo>
                    <a:pt x="306" y="134"/>
                  </a:lnTo>
                  <a:lnTo>
                    <a:pt x="308" y="132"/>
                  </a:lnTo>
                  <a:lnTo>
                    <a:pt x="310" y="132"/>
                  </a:lnTo>
                  <a:lnTo>
                    <a:pt x="310" y="134"/>
                  </a:lnTo>
                  <a:lnTo>
                    <a:pt x="308" y="134"/>
                  </a:lnTo>
                  <a:lnTo>
                    <a:pt x="308" y="138"/>
                  </a:lnTo>
                  <a:lnTo>
                    <a:pt x="310" y="140"/>
                  </a:lnTo>
                  <a:lnTo>
                    <a:pt x="312" y="138"/>
                  </a:lnTo>
                  <a:lnTo>
                    <a:pt x="314" y="138"/>
                  </a:lnTo>
                  <a:lnTo>
                    <a:pt x="318" y="140"/>
                  </a:lnTo>
                  <a:lnTo>
                    <a:pt x="322" y="140"/>
                  </a:lnTo>
                  <a:lnTo>
                    <a:pt x="324" y="142"/>
                  </a:lnTo>
                  <a:lnTo>
                    <a:pt x="322" y="142"/>
                  </a:lnTo>
                  <a:lnTo>
                    <a:pt x="320" y="142"/>
                  </a:lnTo>
                  <a:lnTo>
                    <a:pt x="318" y="142"/>
                  </a:lnTo>
                  <a:lnTo>
                    <a:pt x="316" y="142"/>
                  </a:lnTo>
                  <a:lnTo>
                    <a:pt x="314" y="142"/>
                  </a:lnTo>
                  <a:lnTo>
                    <a:pt x="314" y="144"/>
                  </a:lnTo>
                  <a:lnTo>
                    <a:pt x="316" y="144"/>
                  </a:lnTo>
                  <a:lnTo>
                    <a:pt x="316" y="146"/>
                  </a:lnTo>
                  <a:lnTo>
                    <a:pt x="318" y="146"/>
                  </a:lnTo>
                  <a:lnTo>
                    <a:pt x="320" y="148"/>
                  </a:lnTo>
                  <a:lnTo>
                    <a:pt x="322" y="148"/>
                  </a:lnTo>
                  <a:lnTo>
                    <a:pt x="322" y="150"/>
                  </a:lnTo>
                  <a:lnTo>
                    <a:pt x="326" y="156"/>
                  </a:lnTo>
                  <a:lnTo>
                    <a:pt x="324" y="162"/>
                  </a:lnTo>
                  <a:lnTo>
                    <a:pt x="328" y="162"/>
                  </a:lnTo>
                  <a:lnTo>
                    <a:pt x="328" y="168"/>
                  </a:lnTo>
                  <a:lnTo>
                    <a:pt x="328" y="166"/>
                  </a:lnTo>
                  <a:lnTo>
                    <a:pt x="330" y="166"/>
                  </a:lnTo>
                  <a:lnTo>
                    <a:pt x="332" y="168"/>
                  </a:lnTo>
                  <a:lnTo>
                    <a:pt x="332" y="170"/>
                  </a:lnTo>
                  <a:lnTo>
                    <a:pt x="332" y="172"/>
                  </a:lnTo>
                  <a:lnTo>
                    <a:pt x="332" y="174"/>
                  </a:lnTo>
                  <a:lnTo>
                    <a:pt x="334" y="176"/>
                  </a:lnTo>
                  <a:lnTo>
                    <a:pt x="336" y="178"/>
                  </a:lnTo>
                  <a:lnTo>
                    <a:pt x="338" y="180"/>
                  </a:lnTo>
                  <a:lnTo>
                    <a:pt x="340" y="180"/>
                  </a:lnTo>
                  <a:lnTo>
                    <a:pt x="342" y="182"/>
                  </a:lnTo>
                  <a:lnTo>
                    <a:pt x="342" y="184"/>
                  </a:lnTo>
                  <a:lnTo>
                    <a:pt x="342" y="186"/>
                  </a:lnTo>
                  <a:lnTo>
                    <a:pt x="344" y="186"/>
                  </a:lnTo>
                  <a:lnTo>
                    <a:pt x="346" y="188"/>
                  </a:lnTo>
                  <a:lnTo>
                    <a:pt x="348" y="188"/>
                  </a:lnTo>
                  <a:lnTo>
                    <a:pt x="348" y="190"/>
                  </a:lnTo>
                  <a:lnTo>
                    <a:pt x="350" y="190"/>
                  </a:lnTo>
                  <a:lnTo>
                    <a:pt x="350" y="192"/>
                  </a:lnTo>
                  <a:lnTo>
                    <a:pt x="352" y="192"/>
                  </a:lnTo>
                  <a:lnTo>
                    <a:pt x="354" y="192"/>
                  </a:lnTo>
                  <a:lnTo>
                    <a:pt x="354" y="194"/>
                  </a:lnTo>
                  <a:lnTo>
                    <a:pt x="356" y="194"/>
                  </a:lnTo>
                  <a:lnTo>
                    <a:pt x="358" y="194"/>
                  </a:lnTo>
                  <a:lnTo>
                    <a:pt x="360" y="196"/>
                  </a:lnTo>
                  <a:lnTo>
                    <a:pt x="364" y="196"/>
                  </a:lnTo>
                  <a:lnTo>
                    <a:pt x="366" y="200"/>
                  </a:lnTo>
                  <a:lnTo>
                    <a:pt x="368" y="202"/>
                  </a:lnTo>
                  <a:lnTo>
                    <a:pt x="370" y="206"/>
                  </a:lnTo>
                  <a:lnTo>
                    <a:pt x="374" y="206"/>
                  </a:lnTo>
                  <a:lnTo>
                    <a:pt x="374" y="210"/>
                  </a:lnTo>
                  <a:lnTo>
                    <a:pt x="376" y="210"/>
                  </a:lnTo>
                  <a:lnTo>
                    <a:pt x="376" y="214"/>
                  </a:lnTo>
                  <a:lnTo>
                    <a:pt x="378" y="214"/>
                  </a:lnTo>
                  <a:lnTo>
                    <a:pt x="380" y="214"/>
                  </a:lnTo>
                  <a:lnTo>
                    <a:pt x="382" y="214"/>
                  </a:lnTo>
                  <a:lnTo>
                    <a:pt x="384" y="216"/>
                  </a:lnTo>
                  <a:lnTo>
                    <a:pt x="384" y="218"/>
                  </a:lnTo>
                  <a:lnTo>
                    <a:pt x="386" y="218"/>
                  </a:lnTo>
                  <a:lnTo>
                    <a:pt x="386" y="220"/>
                  </a:lnTo>
                  <a:lnTo>
                    <a:pt x="392" y="222"/>
                  </a:lnTo>
                  <a:lnTo>
                    <a:pt x="394" y="222"/>
                  </a:lnTo>
                  <a:lnTo>
                    <a:pt x="392" y="218"/>
                  </a:lnTo>
                  <a:lnTo>
                    <a:pt x="390" y="218"/>
                  </a:lnTo>
                  <a:lnTo>
                    <a:pt x="388" y="218"/>
                  </a:lnTo>
                  <a:lnTo>
                    <a:pt x="386" y="216"/>
                  </a:lnTo>
                  <a:lnTo>
                    <a:pt x="386" y="214"/>
                  </a:lnTo>
                  <a:lnTo>
                    <a:pt x="386" y="212"/>
                  </a:lnTo>
                  <a:lnTo>
                    <a:pt x="384" y="210"/>
                  </a:lnTo>
                  <a:lnTo>
                    <a:pt x="382" y="210"/>
                  </a:lnTo>
                  <a:lnTo>
                    <a:pt x="382" y="208"/>
                  </a:lnTo>
                  <a:lnTo>
                    <a:pt x="380" y="208"/>
                  </a:lnTo>
                  <a:lnTo>
                    <a:pt x="380" y="206"/>
                  </a:lnTo>
                  <a:lnTo>
                    <a:pt x="378" y="206"/>
                  </a:lnTo>
                  <a:lnTo>
                    <a:pt x="376" y="204"/>
                  </a:lnTo>
                  <a:lnTo>
                    <a:pt x="374" y="202"/>
                  </a:lnTo>
                  <a:lnTo>
                    <a:pt x="370" y="198"/>
                  </a:lnTo>
                  <a:lnTo>
                    <a:pt x="368" y="196"/>
                  </a:lnTo>
                  <a:lnTo>
                    <a:pt x="370" y="196"/>
                  </a:lnTo>
                  <a:lnTo>
                    <a:pt x="370" y="194"/>
                  </a:lnTo>
                  <a:lnTo>
                    <a:pt x="372" y="194"/>
                  </a:lnTo>
                  <a:lnTo>
                    <a:pt x="372" y="196"/>
                  </a:lnTo>
                  <a:lnTo>
                    <a:pt x="374" y="196"/>
                  </a:lnTo>
                  <a:lnTo>
                    <a:pt x="376" y="198"/>
                  </a:lnTo>
                  <a:lnTo>
                    <a:pt x="376" y="200"/>
                  </a:lnTo>
                  <a:lnTo>
                    <a:pt x="376" y="202"/>
                  </a:lnTo>
                  <a:lnTo>
                    <a:pt x="378" y="202"/>
                  </a:lnTo>
                  <a:lnTo>
                    <a:pt x="380" y="202"/>
                  </a:lnTo>
                  <a:lnTo>
                    <a:pt x="382" y="202"/>
                  </a:lnTo>
                  <a:lnTo>
                    <a:pt x="384" y="204"/>
                  </a:lnTo>
                  <a:lnTo>
                    <a:pt x="384" y="206"/>
                  </a:lnTo>
                  <a:lnTo>
                    <a:pt x="386" y="208"/>
                  </a:lnTo>
                  <a:lnTo>
                    <a:pt x="388" y="208"/>
                  </a:lnTo>
                  <a:lnTo>
                    <a:pt x="388" y="210"/>
                  </a:lnTo>
                  <a:lnTo>
                    <a:pt x="390" y="210"/>
                  </a:lnTo>
                  <a:lnTo>
                    <a:pt x="392" y="212"/>
                  </a:lnTo>
                  <a:lnTo>
                    <a:pt x="396" y="212"/>
                  </a:lnTo>
                  <a:lnTo>
                    <a:pt x="398" y="214"/>
                  </a:lnTo>
                  <a:lnTo>
                    <a:pt x="404" y="216"/>
                  </a:lnTo>
                  <a:lnTo>
                    <a:pt x="408" y="222"/>
                  </a:lnTo>
                  <a:lnTo>
                    <a:pt x="406" y="222"/>
                  </a:lnTo>
                  <a:lnTo>
                    <a:pt x="404" y="222"/>
                  </a:lnTo>
                  <a:lnTo>
                    <a:pt x="404" y="224"/>
                  </a:lnTo>
                  <a:lnTo>
                    <a:pt x="402" y="224"/>
                  </a:lnTo>
                  <a:lnTo>
                    <a:pt x="404" y="224"/>
                  </a:lnTo>
                  <a:lnTo>
                    <a:pt x="404" y="226"/>
                  </a:lnTo>
                  <a:lnTo>
                    <a:pt x="406" y="226"/>
                  </a:lnTo>
                  <a:lnTo>
                    <a:pt x="406" y="228"/>
                  </a:lnTo>
                  <a:lnTo>
                    <a:pt x="408" y="228"/>
                  </a:lnTo>
                  <a:lnTo>
                    <a:pt x="408" y="230"/>
                  </a:lnTo>
                  <a:lnTo>
                    <a:pt x="410" y="230"/>
                  </a:lnTo>
                  <a:lnTo>
                    <a:pt x="412" y="230"/>
                  </a:lnTo>
                  <a:lnTo>
                    <a:pt x="414" y="230"/>
                  </a:lnTo>
                  <a:lnTo>
                    <a:pt x="416" y="228"/>
                  </a:lnTo>
                  <a:lnTo>
                    <a:pt x="422" y="228"/>
                  </a:lnTo>
                  <a:lnTo>
                    <a:pt x="426" y="228"/>
                  </a:lnTo>
                  <a:lnTo>
                    <a:pt x="428" y="224"/>
                  </a:lnTo>
                  <a:lnTo>
                    <a:pt x="430" y="220"/>
                  </a:lnTo>
                  <a:lnTo>
                    <a:pt x="432" y="220"/>
                  </a:lnTo>
                  <a:lnTo>
                    <a:pt x="432" y="222"/>
                  </a:lnTo>
                  <a:lnTo>
                    <a:pt x="434" y="222"/>
                  </a:lnTo>
                  <a:lnTo>
                    <a:pt x="434" y="224"/>
                  </a:lnTo>
                  <a:lnTo>
                    <a:pt x="442" y="220"/>
                  </a:lnTo>
                  <a:lnTo>
                    <a:pt x="442" y="222"/>
                  </a:lnTo>
                  <a:lnTo>
                    <a:pt x="442" y="224"/>
                  </a:lnTo>
                  <a:lnTo>
                    <a:pt x="440" y="226"/>
                  </a:lnTo>
                  <a:lnTo>
                    <a:pt x="438" y="234"/>
                  </a:lnTo>
                  <a:lnTo>
                    <a:pt x="442" y="242"/>
                  </a:lnTo>
                  <a:lnTo>
                    <a:pt x="442" y="240"/>
                  </a:lnTo>
                  <a:lnTo>
                    <a:pt x="442" y="238"/>
                  </a:lnTo>
                  <a:lnTo>
                    <a:pt x="442" y="234"/>
                  </a:lnTo>
                  <a:lnTo>
                    <a:pt x="444" y="232"/>
                  </a:lnTo>
                  <a:lnTo>
                    <a:pt x="444" y="230"/>
                  </a:lnTo>
                  <a:close/>
                  <a:moveTo>
                    <a:pt x="270" y="62"/>
                  </a:moveTo>
                  <a:lnTo>
                    <a:pt x="272" y="64"/>
                  </a:lnTo>
                  <a:lnTo>
                    <a:pt x="276" y="64"/>
                  </a:lnTo>
                  <a:lnTo>
                    <a:pt x="278" y="68"/>
                  </a:lnTo>
                  <a:lnTo>
                    <a:pt x="280" y="62"/>
                  </a:lnTo>
                  <a:lnTo>
                    <a:pt x="282" y="68"/>
                  </a:lnTo>
                  <a:lnTo>
                    <a:pt x="284" y="66"/>
                  </a:lnTo>
                  <a:lnTo>
                    <a:pt x="288" y="68"/>
                  </a:lnTo>
                  <a:lnTo>
                    <a:pt x="292" y="68"/>
                  </a:lnTo>
                  <a:lnTo>
                    <a:pt x="294" y="66"/>
                  </a:lnTo>
                  <a:lnTo>
                    <a:pt x="298" y="64"/>
                  </a:lnTo>
                  <a:lnTo>
                    <a:pt x="294" y="62"/>
                  </a:lnTo>
                  <a:lnTo>
                    <a:pt x="292" y="58"/>
                  </a:lnTo>
                  <a:lnTo>
                    <a:pt x="286" y="58"/>
                  </a:lnTo>
                  <a:lnTo>
                    <a:pt x="286" y="56"/>
                  </a:lnTo>
                  <a:lnTo>
                    <a:pt x="282" y="54"/>
                  </a:lnTo>
                  <a:lnTo>
                    <a:pt x="280" y="54"/>
                  </a:lnTo>
                  <a:lnTo>
                    <a:pt x="278" y="56"/>
                  </a:lnTo>
                  <a:lnTo>
                    <a:pt x="278" y="60"/>
                  </a:lnTo>
                  <a:lnTo>
                    <a:pt x="276" y="60"/>
                  </a:lnTo>
                  <a:lnTo>
                    <a:pt x="272" y="60"/>
                  </a:lnTo>
                  <a:lnTo>
                    <a:pt x="270" y="62"/>
                  </a:lnTo>
                  <a:close/>
                  <a:moveTo>
                    <a:pt x="264" y="54"/>
                  </a:moveTo>
                  <a:lnTo>
                    <a:pt x="264" y="56"/>
                  </a:lnTo>
                  <a:lnTo>
                    <a:pt x="262" y="56"/>
                  </a:lnTo>
                  <a:lnTo>
                    <a:pt x="262" y="58"/>
                  </a:lnTo>
                  <a:lnTo>
                    <a:pt x="264" y="58"/>
                  </a:lnTo>
                  <a:lnTo>
                    <a:pt x="264" y="60"/>
                  </a:lnTo>
                  <a:lnTo>
                    <a:pt x="262" y="62"/>
                  </a:lnTo>
                  <a:lnTo>
                    <a:pt x="264" y="62"/>
                  </a:lnTo>
                  <a:lnTo>
                    <a:pt x="264" y="66"/>
                  </a:lnTo>
                  <a:lnTo>
                    <a:pt x="268" y="68"/>
                  </a:lnTo>
                  <a:lnTo>
                    <a:pt x="268" y="64"/>
                  </a:lnTo>
                  <a:lnTo>
                    <a:pt x="270" y="64"/>
                  </a:lnTo>
                  <a:lnTo>
                    <a:pt x="268" y="60"/>
                  </a:lnTo>
                  <a:lnTo>
                    <a:pt x="268" y="58"/>
                  </a:lnTo>
                  <a:lnTo>
                    <a:pt x="268" y="56"/>
                  </a:lnTo>
                  <a:lnTo>
                    <a:pt x="266" y="54"/>
                  </a:lnTo>
                  <a:lnTo>
                    <a:pt x="264" y="54"/>
                  </a:lnTo>
                  <a:close/>
                  <a:moveTo>
                    <a:pt x="288" y="52"/>
                  </a:moveTo>
                  <a:lnTo>
                    <a:pt x="294" y="50"/>
                  </a:lnTo>
                  <a:lnTo>
                    <a:pt x="294" y="54"/>
                  </a:lnTo>
                  <a:lnTo>
                    <a:pt x="298" y="50"/>
                  </a:lnTo>
                  <a:lnTo>
                    <a:pt x="302" y="56"/>
                  </a:lnTo>
                  <a:lnTo>
                    <a:pt x="306" y="54"/>
                  </a:lnTo>
                  <a:lnTo>
                    <a:pt x="306" y="48"/>
                  </a:lnTo>
                  <a:lnTo>
                    <a:pt x="308" y="46"/>
                  </a:lnTo>
                  <a:lnTo>
                    <a:pt x="314" y="46"/>
                  </a:lnTo>
                  <a:lnTo>
                    <a:pt x="318" y="48"/>
                  </a:lnTo>
                  <a:lnTo>
                    <a:pt x="320" y="42"/>
                  </a:lnTo>
                  <a:lnTo>
                    <a:pt x="324" y="44"/>
                  </a:lnTo>
                  <a:lnTo>
                    <a:pt x="322" y="40"/>
                  </a:lnTo>
                  <a:lnTo>
                    <a:pt x="320" y="40"/>
                  </a:lnTo>
                  <a:lnTo>
                    <a:pt x="314" y="40"/>
                  </a:lnTo>
                  <a:lnTo>
                    <a:pt x="308" y="38"/>
                  </a:lnTo>
                  <a:lnTo>
                    <a:pt x="304" y="40"/>
                  </a:lnTo>
                  <a:lnTo>
                    <a:pt x="300" y="42"/>
                  </a:lnTo>
                  <a:lnTo>
                    <a:pt x="294" y="42"/>
                  </a:lnTo>
                  <a:lnTo>
                    <a:pt x="290" y="46"/>
                  </a:lnTo>
                  <a:lnTo>
                    <a:pt x="288" y="46"/>
                  </a:lnTo>
                  <a:lnTo>
                    <a:pt x="288" y="50"/>
                  </a:lnTo>
                  <a:lnTo>
                    <a:pt x="288" y="52"/>
                  </a:lnTo>
                  <a:close/>
                  <a:moveTo>
                    <a:pt x="324" y="48"/>
                  </a:moveTo>
                  <a:lnTo>
                    <a:pt x="322" y="48"/>
                  </a:lnTo>
                  <a:lnTo>
                    <a:pt x="322" y="50"/>
                  </a:lnTo>
                  <a:lnTo>
                    <a:pt x="324" y="52"/>
                  </a:lnTo>
                  <a:lnTo>
                    <a:pt x="326" y="52"/>
                  </a:lnTo>
                  <a:lnTo>
                    <a:pt x="328" y="52"/>
                  </a:lnTo>
                  <a:lnTo>
                    <a:pt x="332" y="54"/>
                  </a:lnTo>
                  <a:lnTo>
                    <a:pt x="332" y="50"/>
                  </a:lnTo>
                  <a:lnTo>
                    <a:pt x="334" y="50"/>
                  </a:lnTo>
                  <a:lnTo>
                    <a:pt x="336" y="50"/>
                  </a:lnTo>
                  <a:lnTo>
                    <a:pt x="338" y="50"/>
                  </a:lnTo>
                  <a:lnTo>
                    <a:pt x="338" y="48"/>
                  </a:lnTo>
                  <a:lnTo>
                    <a:pt x="336" y="48"/>
                  </a:lnTo>
                  <a:lnTo>
                    <a:pt x="334" y="48"/>
                  </a:lnTo>
                  <a:lnTo>
                    <a:pt x="332" y="48"/>
                  </a:lnTo>
                  <a:lnTo>
                    <a:pt x="332" y="46"/>
                  </a:lnTo>
                  <a:lnTo>
                    <a:pt x="328" y="44"/>
                  </a:lnTo>
                  <a:lnTo>
                    <a:pt x="324" y="48"/>
                  </a:lnTo>
                  <a:close/>
                  <a:moveTo>
                    <a:pt x="264" y="50"/>
                  </a:moveTo>
                  <a:lnTo>
                    <a:pt x="264" y="50"/>
                  </a:lnTo>
                  <a:lnTo>
                    <a:pt x="264" y="48"/>
                  </a:lnTo>
                  <a:lnTo>
                    <a:pt x="262" y="48"/>
                  </a:lnTo>
                  <a:lnTo>
                    <a:pt x="262" y="46"/>
                  </a:lnTo>
                  <a:lnTo>
                    <a:pt x="260" y="48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2" y="52"/>
                  </a:lnTo>
                  <a:lnTo>
                    <a:pt x="262" y="54"/>
                  </a:lnTo>
                  <a:lnTo>
                    <a:pt x="264" y="54"/>
                  </a:lnTo>
                  <a:lnTo>
                    <a:pt x="264" y="52"/>
                  </a:lnTo>
                  <a:lnTo>
                    <a:pt x="266" y="52"/>
                  </a:lnTo>
                  <a:lnTo>
                    <a:pt x="264" y="50"/>
                  </a:lnTo>
                  <a:close/>
                  <a:moveTo>
                    <a:pt x="254" y="32"/>
                  </a:moveTo>
                  <a:lnTo>
                    <a:pt x="254" y="32"/>
                  </a:lnTo>
                  <a:lnTo>
                    <a:pt x="256" y="36"/>
                  </a:lnTo>
                  <a:lnTo>
                    <a:pt x="256" y="38"/>
                  </a:lnTo>
                  <a:lnTo>
                    <a:pt x="260" y="38"/>
                  </a:lnTo>
                  <a:lnTo>
                    <a:pt x="262" y="38"/>
                  </a:lnTo>
                  <a:lnTo>
                    <a:pt x="262" y="36"/>
                  </a:lnTo>
                  <a:lnTo>
                    <a:pt x="260" y="36"/>
                  </a:lnTo>
                  <a:lnTo>
                    <a:pt x="258" y="34"/>
                  </a:lnTo>
                  <a:lnTo>
                    <a:pt x="260" y="34"/>
                  </a:lnTo>
                  <a:lnTo>
                    <a:pt x="256" y="32"/>
                  </a:lnTo>
                  <a:lnTo>
                    <a:pt x="256" y="30"/>
                  </a:lnTo>
                  <a:lnTo>
                    <a:pt x="254" y="28"/>
                  </a:lnTo>
                  <a:lnTo>
                    <a:pt x="254" y="30"/>
                  </a:lnTo>
                  <a:lnTo>
                    <a:pt x="254" y="32"/>
                  </a:lnTo>
                  <a:close/>
                  <a:moveTo>
                    <a:pt x="272" y="54"/>
                  </a:moveTo>
                  <a:lnTo>
                    <a:pt x="274" y="56"/>
                  </a:lnTo>
                  <a:lnTo>
                    <a:pt x="268" y="50"/>
                  </a:lnTo>
                  <a:lnTo>
                    <a:pt x="268" y="52"/>
                  </a:lnTo>
                  <a:lnTo>
                    <a:pt x="268" y="54"/>
                  </a:lnTo>
                  <a:lnTo>
                    <a:pt x="272" y="54"/>
                  </a:lnTo>
                  <a:close/>
                  <a:moveTo>
                    <a:pt x="284" y="38"/>
                  </a:moveTo>
                  <a:lnTo>
                    <a:pt x="284" y="38"/>
                  </a:lnTo>
                  <a:lnTo>
                    <a:pt x="284" y="36"/>
                  </a:lnTo>
                  <a:lnTo>
                    <a:pt x="280" y="36"/>
                  </a:lnTo>
                  <a:lnTo>
                    <a:pt x="280" y="38"/>
                  </a:lnTo>
                  <a:lnTo>
                    <a:pt x="282" y="38"/>
                  </a:lnTo>
                  <a:lnTo>
                    <a:pt x="284" y="38"/>
                  </a:lnTo>
                  <a:close/>
                  <a:moveTo>
                    <a:pt x="260" y="30"/>
                  </a:moveTo>
                  <a:lnTo>
                    <a:pt x="258" y="30"/>
                  </a:lnTo>
                  <a:lnTo>
                    <a:pt x="258" y="32"/>
                  </a:lnTo>
                  <a:lnTo>
                    <a:pt x="260" y="32"/>
                  </a:lnTo>
                  <a:lnTo>
                    <a:pt x="260" y="30"/>
                  </a:lnTo>
                  <a:close/>
                  <a:moveTo>
                    <a:pt x="254" y="32"/>
                  </a:moveTo>
                  <a:lnTo>
                    <a:pt x="254" y="32"/>
                  </a:lnTo>
                  <a:lnTo>
                    <a:pt x="252" y="32"/>
                  </a:lnTo>
                  <a:lnTo>
                    <a:pt x="254" y="32"/>
                  </a:lnTo>
                  <a:close/>
                  <a:moveTo>
                    <a:pt x="298" y="32"/>
                  </a:moveTo>
                  <a:lnTo>
                    <a:pt x="300" y="32"/>
                  </a:lnTo>
                  <a:lnTo>
                    <a:pt x="296" y="32"/>
                  </a:lnTo>
                  <a:lnTo>
                    <a:pt x="298" y="32"/>
                  </a:lnTo>
                  <a:close/>
                  <a:moveTo>
                    <a:pt x="104" y="178"/>
                  </a:moveTo>
                  <a:lnTo>
                    <a:pt x="104" y="178"/>
                  </a:lnTo>
                  <a:close/>
                  <a:moveTo>
                    <a:pt x="200" y="96"/>
                  </a:moveTo>
                  <a:lnTo>
                    <a:pt x="202" y="92"/>
                  </a:lnTo>
                  <a:lnTo>
                    <a:pt x="202" y="90"/>
                  </a:lnTo>
                  <a:lnTo>
                    <a:pt x="206" y="88"/>
                  </a:lnTo>
                  <a:lnTo>
                    <a:pt x="204" y="94"/>
                  </a:lnTo>
                  <a:lnTo>
                    <a:pt x="210" y="94"/>
                  </a:lnTo>
                  <a:lnTo>
                    <a:pt x="214" y="98"/>
                  </a:lnTo>
                  <a:lnTo>
                    <a:pt x="214" y="94"/>
                  </a:lnTo>
                  <a:lnTo>
                    <a:pt x="216" y="94"/>
                  </a:lnTo>
                  <a:lnTo>
                    <a:pt x="214" y="92"/>
                  </a:lnTo>
                  <a:lnTo>
                    <a:pt x="210" y="92"/>
                  </a:lnTo>
                  <a:lnTo>
                    <a:pt x="212" y="90"/>
                  </a:lnTo>
                  <a:lnTo>
                    <a:pt x="210" y="88"/>
                  </a:lnTo>
                  <a:lnTo>
                    <a:pt x="206" y="88"/>
                  </a:lnTo>
                  <a:lnTo>
                    <a:pt x="210" y="86"/>
                  </a:lnTo>
                  <a:lnTo>
                    <a:pt x="208" y="82"/>
                  </a:lnTo>
                  <a:lnTo>
                    <a:pt x="204" y="82"/>
                  </a:lnTo>
                  <a:lnTo>
                    <a:pt x="204" y="80"/>
                  </a:lnTo>
                  <a:lnTo>
                    <a:pt x="198" y="80"/>
                  </a:lnTo>
                  <a:lnTo>
                    <a:pt x="196" y="78"/>
                  </a:lnTo>
                  <a:lnTo>
                    <a:pt x="196" y="80"/>
                  </a:lnTo>
                  <a:lnTo>
                    <a:pt x="194" y="80"/>
                  </a:lnTo>
                  <a:lnTo>
                    <a:pt x="192" y="80"/>
                  </a:lnTo>
                  <a:lnTo>
                    <a:pt x="188" y="80"/>
                  </a:lnTo>
                  <a:lnTo>
                    <a:pt x="188" y="76"/>
                  </a:lnTo>
                  <a:lnTo>
                    <a:pt x="184" y="76"/>
                  </a:lnTo>
                  <a:lnTo>
                    <a:pt x="182" y="76"/>
                  </a:lnTo>
                  <a:lnTo>
                    <a:pt x="182" y="74"/>
                  </a:lnTo>
                  <a:lnTo>
                    <a:pt x="184" y="72"/>
                  </a:lnTo>
                  <a:lnTo>
                    <a:pt x="186" y="72"/>
                  </a:lnTo>
                  <a:lnTo>
                    <a:pt x="188" y="70"/>
                  </a:lnTo>
                  <a:lnTo>
                    <a:pt x="186" y="68"/>
                  </a:lnTo>
                  <a:lnTo>
                    <a:pt x="184" y="68"/>
                  </a:lnTo>
                  <a:lnTo>
                    <a:pt x="182" y="68"/>
                  </a:lnTo>
                  <a:lnTo>
                    <a:pt x="180" y="68"/>
                  </a:lnTo>
                  <a:lnTo>
                    <a:pt x="180" y="66"/>
                  </a:lnTo>
                  <a:lnTo>
                    <a:pt x="178" y="64"/>
                  </a:lnTo>
                  <a:lnTo>
                    <a:pt x="180" y="64"/>
                  </a:lnTo>
                  <a:lnTo>
                    <a:pt x="180" y="62"/>
                  </a:lnTo>
                  <a:lnTo>
                    <a:pt x="176" y="62"/>
                  </a:lnTo>
                  <a:lnTo>
                    <a:pt x="180" y="58"/>
                  </a:lnTo>
                  <a:lnTo>
                    <a:pt x="180" y="56"/>
                  </a:lnTo>
                  <a:lnTo>
                    <a:pt x="178" y="56"/>
                  </a:lnTo>
                  <a:lnTo>
                    <a:pt x="178" y="52"/>
                  </a:lnTo>
                  <a:lnTo>
                    <a:pt x="180" y="52"/>
                  </a:lnTo>
                  <a:lnTo>
                    <a:pt x="176" y="50"/>
                  </a:lnTo>
                  <a:lnTo>
                    <a:pt x="176" y="54"/>
                  </a:lnTo>
                  <a:lnTo>
                    <a:pt x="176" y="56"/>
                  </a:lnTo>
                  <a:lnTo>
                    <a:pt x="174" y="60"/>
                  </a:lnTo>
                  <a:lnTo>
                    <a:pt x="172" y="60"/>
                  </a:lnTo>
                  <a:lnTo>
                    <a:pt x="170" y="60"/>
                  </a:lnTo>
                  <a:lnTo>
                    <a:pt x="168" y="60"/>
                  </a:lnTo>
                  <a:lnTo>
                    <a:pt x="170" y="58"/>
                  </a:lnTo>
                  <a:lnTo>
                    <a:pt x="168" y="56"/>
                  </a:lnTo>
                  <a:lnTo>
                    <a:pt x="164" y="56"/>
                  </a:lnTo>
                  <a:lnTo>
                    <a:pt x="166" y="54"/>
                  </a:lnTo>
                  <a:lnTo>
                    <a:pt x="170" y="50"/>
                  </a:lnTo>
                  <a:lnTo>
                    <a:pt x="170" y="48"/>
                  </a:lnTo>
                  <a:lnTo>
                    <a:pt x="174" y="48"/>
                  </a:lnTo>
                  <a:lnTo>
                    <a:pt x="168" y="48"/>
                  </a:lnTo>
                  <a:lnTo>
                    <a:pt x="170" y="46"/>
                  </a:lnTo>
                  <a:lnTo>
                    <a:pt x="170" y="44"/>
                  </a:lnTo>
                  <a:lnTo>
                    <a:pt x="172" y="40"/>
                  </a:lnTo>
                  <a:lnTo>
                    <a:pt x="170" y="40"/>
                  </a:lnTo>
                  <a:lnTo>
                    <a:pt x="168" y="40"/>
                  </a:lnTo>
                  <a:lnTo>
                    <a:pt x="166" y="40"/>
                  </a:lnTo>
                  <a:lnTo>
                    <a:pt x="166" y="38"/>
                  </a:lnTo>
                  <a:lnTo>
                    <a:pt x="168" y="38"/>
                  </a:lnTo>
                  <a:lnTo>
                    <a:pt x="170" y="38"/>
                  </a:lnTo>
                  <a:lnTo>
                    <a:pt x="172" y="38"/>
                  </a:lnTo>
                  <a:lnTo>
                    <a:pt x="174" y="38"/>
                  </a:lnTo>
                  <a:lnTo>
                    <a:pt x="178" y="40"/>
                  </a:lnTo>
                  <a:lnTo>
                    <a:pt x="180" y="42"/>
                  </a:lnTo>
                  <a:lnTo>
                    <a:pt x="180" y="38"/>
                  </a:lnTo>
                  <a:lnTo>
                    <a:pt x="182" y="36"/>
                  </a:lnTo>
                  <a:lnTo>
                    <a:pt x="186" y="36"/>
                  </a:lnTo>
                  <a:lnTo>
                    <a:pt x="188" y="34"/>
                  </a:lnTo>
                  <a:lnTo>
                    <a:pt x="190" y="32"/>
                  </a:lnTo>
                  <a:lnTo>
                    <a:pt x="194" y="34"/>
                  </a:lnTo>
                  <a:lnTo>
                    <a:pt x="194" y="32"/>
                  </a:lnTo>
                  <a:lnTo>
                    <a:pt x="196" y="32"/>
                  </a:lnTo>
                  <a:lnTo>
                    <a:pt x="198" y="32"/>
                  </a:lnTo>
                  <a:lnTo>
                    <a:pt x="200" y="30"/>
                  </a:lnTo>
                  <a:lnTo>
                    <a:pt x="202" y="30"/>
                  </a:lnTo>
                  <a:lnTo>
                    <a:pt x="200" y="26"/>
                  </a:lnTo>
                  <a:lnTo>
                    <a:pt x="198" y="28"/>
                  </a:lnTo>
                  <a:lnTo>
                    <a:pt x="192" y="30"/>
                  </a:lnTo>
                  <a:lnTo>
                    <a:pt x="192" y="32"/>
                  </a:lnTo>
                  <a:lnTo>
                    <a:pt x="188" y="32"/>
                  </a:lnTo>
                  <a:lnTo>
                    <a:pt x="186" y="32"/>
                  </a:lnTo>
                  <a:lnTo>
                    <a:pt x="184" y="32"/>
                  </a:lnTo>
                  <a:lnTo>
                    <a:pt x="182" y="32"/>
                  </a:lnTo>
                  <a:lnTo>
                    <a:pt x="182" y="30"/>
                  </a:lnTo>
                  <a:lnTo>
                    <a:pt x="182" y="28"/>
                  </a:lnTo>
                  <a:lnTo>
                    <a:pt x="180" y="26"/>
                  </a:lnTo>
                  <a:lnTo>
                    <a:pt x="178" y="26"/>
                  </a:lnTo>
                  <a:lnTo>
                    <a:pt x="174" y="26"/>
                  </a:lnTo>
                  <a:lnTo>
                    <a:pt x="170" y="24"/>
                  </a:lnTo>
                  <a:lnTo>
                    <a:pt x="168" y="26"/>
                  </a:lnTo>
                  <a:lnTo>
                    <a:pt x="166" y="28"/>
                  </a:lnTo>
                  <a:lnTo>
                    <a:pt x="164" y="30"/>
                  </a:lnTo>
                  <a:lnTo>
                    <a:pt x="162" y="28"/>
                  </a:lnTo>
                  <a:lnTo>
                    <a:pt x="162" y="26"/>
                  </a:lnTo>
                  <a:lnTo>
                    <a:pt x="160" y="24"/>
                  </a:lnTo>
                  <a:lnTo>
                    <a:pt x="162" y="22"/>
                  </a:lnTo>
                  <a:lnTo>
                    <a:pt x="164" y="20"/>
                  </a:lnTo>
                  <a:lnTo>
                    <a:pt x="166" y="18"/>
                  </a:lnTo>
                  <a:lnTo>
                    <a:pt x="168" y="18"/>
                  </a:lnTo>
                  <a:lnTo>
                    <a:pt x="168" y="20"/>
                  </a:lnTo>
                  <a:lnTo>
                    <a:pt x="170" y="22"/>
                  </a:lnTo>
                  <a:lnTo>
                    <a:pt x="172" y="24"/>
                  </a:lnTo>
                  <a:lnTo>
                    <a:pt x="172" y="20"/>
                  </a:lnTo>
                  <a:lnTo>
                    <a:pt x="174" y="22"/>
                  </a:lnTo>
                  <a:lnTo>
                    <a:pt x="172" y="18"/>
                  </a:lnTo>
                  <a:lnTo>
                    <a:pt x="174" y="18"/>
                  </a:lnTo>
                  <a:lnTo>
                    <a:pt x="178" y="18"/>
                  </a:lnTo>
                  <a:lnTo>
                    <a:pt x="178" y="16"/>
                  </a:lnTo>
                  <a:lnTo>
                    <a:pt x="180" y="16"/>
                  </a:lnTo>
                  <a:lnTo>
                    <a:pt x="184" y="18"/>
                  </a:lnTo>
                  <a:lnTo>
                    <a:pt x="184" y="16"/>
                  </a:lnTo>
                  <a:lnTo>
                    <a:pt x="184" y="14"/>
                  </a:lnTo>
                  <a:lnTo>
                    <a:pt x="188" y="12"/>
                  </a:lnTo>
                  <a:lnTo>
                    <a:pt x="190" y="14"/>
                  </a:lnTo>
                  <a:lnTo>
                    <a:pt x="192" y="14"/>
                  </a:lnTo>
                  <a:lnTo>
                    <a:pt x="196" y="14"/>
                  </a:lnTo>
                  <a:lnTo>
                    <a:pt x="194" y="18"/>
                  </a:lnTo>
                  <a:lnTo>
                    <a:pt x="196" y="20"/>
                  </a:lnTo>
                  <a:lnTo>
                    <a:pt x="198" y="22"/>
                  </a:lnTo>
                  <a:lnTo>
                    <a:pt x="200" y="22"/>
                  </a:lnTo>
                  <a:lnTo>
                    <a:pt x="198" y="18"/>
                  </a:lnTo>
                  <a:lnTo>
                    <a:pt x="200" y="16"/>
                  </a:lnTo>
                  <a:lnTo>
                    <a:pt x="202" y="14"/>
                  </a:lnTo>
                  <a:lnTo>
                    <a:pt x="200" y="14"/>
                  </a:lnTo>
                  <a:lnTo>
                    <a:pt x="202" y="12"/>
                  </a:lnTo>
                  <a:lnTo>
                    <a:pt x="200" y="12"/>
                  </a:lnTo>
                  <a:lnTo>
                    <a:pt x="198" y="10"/>
                  </a:lnTo>
                  <a:lnTo>
                    <a:pt x="200" y="8"/>
                  </a:lnTo>
                  <a:lnTo>
                    <a:pt x="202" y="6"/>
                  </a:lnTo>
                  <a:lnTo>
                    <a:pt x="206" y="8"/>
                  </a:lnTo>
                  <a:lnTo>
                    <a:pt x="208" y="8"/>
                  </a:lnTo>
                  <a:lnTo>
                    <a:pt x="210" y="6"/>
                  </a:lnTo>
                  <a:lnTo>
                    <a:pt x="212" y="8"/>
                  </a:lnTo>
                  <a:lnTo>
                    <a:pt x="216" y="8"/>
                  </a:lnTo>
                  <a:lnTo>
                    <a:pt x="218" y="6"/>
                  </a:lnTo>
                  <a:lnTo>
                    <a:pt x="220" y="8"/>
                  </a:lnTo>
                  <a:lnTo>
                    <a:pt x="224" y="8"/>
                  </a:lnTo>
                  <a:lnTo>
                    <a:pt x="226" y="6"/>
                  </a:lnTo>
                  <a:lnTo>
                    <a:pt x="230" y="8"/>
                  </a:lnTo>
                  <a:lnTo>
                    <a:pt x="228" y="4"/>
                  </a:lnTo>
                  <a:lnTo>
                    <a:pt x="230" y="6"/>
                  </a:lnTo>
                  <a:lnTo>
                    <a:pt x="234" y="4"/>
                  </a:lnTo>
                  <a:lnTo>
                    <a:pt x="234" y="2"/>
                  </a:lnTo>
                  <a:lnTo>
                    <a:pt x="236" y="2"/>
                  </a:lnTo>
                  <a:lnTo>
                    <a:pt x="222" y="0"/>
                  </a:lnTo>
                  <a:lnTo>
                    <a:pt x="200" y="2"/>
                  </a:lnTo>
                  <a:lnTo>
                    <a:pt x="180" y="6"/>
                  </a:lnTo>
                  <a:lnTo>
                    <a:pt x="158" y="10"/>
                  </a:lnTo>
                  <a:lnTo>
                    <a:pt x="138" y="18"/>
                  </a:lnTo>
                  <a:lnTo>
                    <a:pt x="120" y="26"/>
                  </a:lnTo>
                  <a:lnTo>
                    <a:pt x="102" y="36"/>
                  </a:lnTo>
                  <a:lnTo>
                    <a:pt x="86" y="48"/>
                  </a:lnTo>
                  <a:lnTo>
                    <a:pt x="70" y="62"/>
                  </a:lnTo>
                  <a:lnTo>
                    <a:pt x="72" y="62"/>
                  </a:lnTo>
                  <a:lnTo>
                    <a:pt x="70" y="68"/>
                  </a:lnTo>
                  <a:lnTo>
                    <a:pt x="68" y="66"/>
                  </a:lnTo>
                  <a:lnTo>
                    <a:pt x="68" y="68"/>
                  </a:lnTo>
                  <a:lnTo>
                    <a:pt x="66" y="68"/>
                  </a:lnTo>
                  <a:lnTo>
                    <a:pt x="64" y="70"/>
                  </a:lnTo>
                  <a:lnTo>
                    <a:pt x="60" y="74"/>
                  </a:lnTo>
                  <a:lnTo>
                    <a:pt x="56" y="78"/>
                  </a:lnTo>
                  <a:lnTo>
                    <a:pt x="56" y="76"/>
                  </a:lnTo>
                  <a:lnTo>
                    <a:pt x="44" y="90"/>
                  </a:lnTo>
                  <a:lnTo>
                    <a:pt x="34" y="106"/>
                  </a:lnTo>
                  <a:lnTo>
                    <a:pt x="24" y="122"/>
                  </a:lnTo>
                  <a:lnTo>
                    <a:pt x="18" y="138"/>
                  </a:lnTo>
                  <a:lnTo>
                    <a:pt x="10" y="156"/>
                  </a:lnTo>
                  <a:lnTo>
                    <a:pt x="6" y="174"/>
                  </a:lnTo>
                  <a:lnTo>
                    <a:pt x="2" y="192"/>
                  </a:lnTo>
                  <a:lnTo>
                    <a:pt x="0" y="212"/>
                  </a:lnTo>
                  <a:lnTo>
                    <a:pt x="2" y="210"/>
                  </a:lnTo>
                  <a:lnTo>
                    <a:pt x="4" y="206"/>
                  </a:lnTo>
                  <a:lnTo>
                    <a:pt x="2" y="200"/>
                  </a:lnTo>
                  <a:lnTo>
                    <a:pt x="4" y="198"/>
                  </a:lnTo>
                  <a:lnTo>
                    <a:pt x="6" y="200"/>
                  </a:lnTo>
                  <a:lnTo>
                    <a:pt x="6" y="198"/>
                  </a:lnTo>
                  <a:lnTo>
                    <a:pt x="6" y="196"/>
                  </a:lnTo>
                  <a:lnTo>
                    <a:pt x="6" y="194"/>
                  </a:lnTo>
                  <a:lnTo>
                    <a:pt x="4" y="188"/>
                  </a:lnTo>
                  <a:lnTo>
                    <a:pt x="4" y="186"/>
                  </a:lnTo>
                  <a:lnTo>
                    <a:pt x="6" y="184"/>
                  </a:lnTo>
                  <a:lnTo>
                    <a:pt x="6" y="186"/>
                  </a:lnTo>
                  <a:lnTo>
                    <a:pt x="12" y="186"/>
                  </a:lnTo>
                  <a:lnTo>
                    <a:pt x="14" y="182"/>
                  </a:lnTo>
                  <a:lnTo>
                    <a:pt x="14" y="180"/>
                  </a:lnTo>
                  <a:lnTo>
                    <a:pt x="12" y="178"/>
                  </a:lnTo>
                  <a:lnTo>
                    <a:pt x="16" y="176"/>
                  </a:lnTo>
                  <a:lnTo>
                    <a:pt x="14" y="178"/>
                  </a:lnTo>
                  <a:lnTo>
                    <a:pt x="16" y="180"/>
                  </a:lnTo>
                  <a:lnTo>
                    <a:pt x="18" y="178"/>
                  </a:lnTo>
                  <a:lnTo>
                    <a:pt x="20" y="176"/>
                  </a:lnTo>
                  <a:lnTo>
                    <a:pt x="22" y="174"/>
                  </a:lnTo>
                  <a:lnTo>
                    <a:pt x="22" y="168"/>
                  </a:lnTo>
                  <a:lnTo>
                    <a:pt x="24" y="168"/>
                  </a:lnTo>
                  <a:lnTo>
                    <a:pt x="22" y="170"/>
                  </a:lnTo>
                  <a:lnTo>
                    <a:pt x="22" y="172"/>
                  </a:lnTo>
                  <a:lnTo>
                    <a:pt x="22" y="174"/>
                  </a:lnTo>
                  <a:lnTo>
                    <a:pt x="22" y="178"/>
                  </a:lnTo>
                  <a:lnTo>
                    <a:pt x="20" y="182"/>
                  </a:lnTo>
                  <a:lnTo>
                    <a:pt x="22" y="184"/>
                  </a:lnTo>
                  <a:lnTo>
                    <a:pt x="20" y="184"/>
                  </a:lnTo>
                  <a:lnTo>
                    <a:pt x="22" y="188"/>
                  </a:lnTo>
                  <a:lnTo>
                    <a:pt x="20" y="194"/>
                  </a:lnTo>
                  <a:lnTo>
                    <a:pt x="18" y="200"/>
                  </a:lnTo>
                  <a:lnTo>
                    <a:pt x="18" y="202"/>
                  </a:lnTo>
                  <a:lnTo>
                    <a:pt x="18" y="204"/>
                  </a:lnTo>
                  <a:lnTo>
                    <a:pt x="18" y="206"/>
                  </a:lnTo>
                  <a:lnTo>
                    <a:pt x="16" y="208"/>
                  </a:lnTo>
                  <a:lnTo>
                    <a:pt x="14" y="210"/>
                  </a:lnTo>
                  <a:lnTo>
                    <a:pt x="12" y="212"/>
                  </a:lnTo>
                  <a:lnTo>
                    <a:pt x="12" y="214"/>
                  </a:lnTo>
                  <a:lnTo>
                    <a:pt x="10" y="216"/>
                  </a:lnTo>
                  <a:lnTo>
                    <a:pt x="12" y="216"/>
                  </a:lnTo>
                  <a:lnTo>
                    <a:pt x="12" y="218"/>
                  </a:lnTo>
                  <a:lnTo>
                    <a:pt x="12" y="222"/>
                  </a:lnTo>
                  <a:lnTo>
                    <a:pt x="10" y="224"/>
                  </a:lnTo>
                  <a:lnTo>
                    <a:pt x="8" y="226"/>
                  </a:lnTo>
                  <a:lnTo>
                    <a:pt x="10" y="230"/>
                  </a:lnTo>
                  <a:lnTo>
                    <a:pt x="10" y="234"/>
                  </a:lnTo>
                  <a:lnTo>
                    <a:pt x="8" y="240"/>
                  </a:lnTo>
                  <a:lnTo>
                    <a:pt x="12" y="248"/>
                  </a:lnTo>
                  <a:lnTo>
                    <a:pt x="10" y="252"/>
                  </a:lnTo>
                  <a:lnTo>
                    <a:pt x="10" y="260"/>
                  </a:lnTo>
                  <a:lnTo>
                    <a:pt x="12" y="264"/>
                  </a:lnTo>
                  <a:lnTo>
                    <a:pt x="14" y="270"/>
                  </a:lnTo>
                  <a:lnTo>
                    <a:pt x="14" y="278"/>
                  </a:lnTo>
                  <a:lnTo>
                    <a:pt x="16" y="282"/>
                  </a:lnTo>
                  <a:lnTo>
                    <a:pt x="18" y="282"/>
                  </a:lnTo>
                  <a:lnTo>
                    <a:pt x="16" y="286"/>
                  </a:lnTo>
                  <a:lnTo>
                    <a:pt x="20" y="288"/>
                  </a:lnTo>
                  <a:lnTo>
                    <a:pt x="18" y="292"/>
                  </a:lnTo>
                  <a:lnTo>
                    <a:pt x="22" y="294"/>
                  </a:lnTo>
                  <a:lnTo>
                    <a:pt x="22" y="298"/>
                  </a:lnTo>
                  <a:lnTo>
                    <a:pt x="24" y="302"/>
                  </a:lnTo>
                  <a:lnTo>
                    <a:pt x="26" y="306"/>
                  </a:lnTo>
                  <a:lnTo>
                    <a:pt x="26" y="308"/>
                  </a:lnTo>
                  <a:lnTo>
                    <a:pt x="26" y="310"/>
                  </a:lnTo>
                  <a:lnTo>
                    <a:pt x="28" y="312"/>
                  </a:lnTo>
                  <a:lnTo>
                    <a:pt x="30" y="316"/>
                  </a:lnTo>
                  <a:lnTo>
                    <a:pt x="34" y="318"/>
                  </a:lnTo>
                  <a:lnTo>
                    <a:pt x="34" y="320"/>
                  </a:lnTo>
                  <a:lnTo>
                    <a:pt x="38" y="322"/>
                  </a:lnTo>
                  <a:lnTo>
                    <a:pt x="40" y="326"/>
                  </a:lnTo>
                  <a:lnTo>
                    <a:pt x="42" y="326"/>
                  </a:lnTo>
                  <a:lnTo>
                    <a:pt x="44" y="330"/>
                  </a:lnTo>
                  <a:lnTo>
                    <a:pt x="46" y="330"/>
                  </a:lnTo>
                  <a:lnTo>
                    <a:pt x="48" y="332"/>
                  </a:lnTo>
                  <a:lnTo>
                    <a:pt x="50" y="334"/>
                  </a:lnTo>
                  <a:lnTo>
                    <a:pt x="54" y="336"/>
                  </a:lnTo>
                  <a:lnTo>
                    <a:pt x="56" y="340"/>
                  </a:lnTo>
                  <a:lnTo>
                    <a:pt x="60" y="340"/>
                  </a:lnTo>
                  <a:lnTo>
                    <a:pt x="62" y="344"/>
                  </a:lnTo>
                  <a:lnTo>
                    <a:pt x="62" y="346"/>
                  </a:lnTo>
                  <a:lnTo>
                    <a:pt x="64" y="346"/>
                  </a:lnTo>
                  <a:lnTo>
                    <a:pt x="64" y="344"/>
                  </a:lnTo>
                  <a:lnTo>
                    <a:pt x="66" y="344"/>
                  </a:lnTo>
                  <a:lnTo>
                    <a:pt x="68" y="344"/>
                  </a:lnTo>
                  <a:lnTo>
                    <a:pt x="70" y="344"/>
                  </a:lnTo>
                  <a:lnTo>
                    <a:pt x="72" y="344"/>
                  </a:lnTo>
                  <a:lnTo>
                    <a:pt x="68" y="342"/>
                  </a:lnTo>
                  <a:lnTo>
                    <a:pt x="66" y="342"/>
                  </a:lnTo>
                  <a:lnTo>
                    <a:pt x="62" y="340"/>
                  </a:lnTo>
                  <a:lnTo>
                    <a:pt x="60" y="338"/>
                  </a:lnTo>
                  <a:lnTo>
                    <a:pt x="56" y="338"/>
                  </a:lnTo>
                  <a:lnTo>
                    <a:pt x="54" y="334"/>
                  </a:lnTo>
                  <a:lnTo>
                    <a:pt x="48" y="330"/>
                  </a:lnTo>
                  <a:lnTo>
                    <a:pt x="46" y="330"/>
                  </a:lnTo>
                  <a:lnTo>
                    <a:pt x="46" y="326"/>
                  </a:lnTo>
                  <a:lnTo>
                    <a:pt x="44" y="326"/>
                  </a:lnTo>
                  <a:lnTo>
                    <a:pt x="42" y="326"/>
                  </a:lnTo>
                  <a:lnTo>
                    <a:pt x="40" y="324"/>
                  </a:lnTo>
                  <a:lnTo>
                    <a:pt x="40" y="322"/>
                  </a:lnTo>
                  <a:lnTo>
                    <a:pt x="40" y="320"/>
                  </a:lnTo>
                  <a:lnTo>
                    <a:pt x="38" y="320"/>
                  </a:lnTo>
                  <a:lnTo>
                    <a:pt x="36" y="320"/>
                  </a:lnTo>
                  <a:lnTo>
                    <a:pt x="36" y="318"/>
                  </a:lnTo>
                  <a:lnTo>
                    <a:pt x="34" y="318"/>
                  </a:lnTo>
                  <a:lnTo>
                    <a:pt x="34" y="316"/>
                  </a:lnTo>
                  <a:lnTo>
                    <a:pt x="34" y="314"/>
                  </a:lnTo>
                  <a:lnTo>
                    <a:pt x="32" y="312"/>
                  </a:lnTo>
                  <a:lnTo>
                    <a:pt x="30" y="310"/>
                  </a:lnTo>
                  <a:lnTo>
                    <a:pt x="28" y="306"/>
                  </a:lnTo>
                  <a:lnTo>
                    <a:pt x="28" y="304"/>
                  </a:lnTo>
                  <a:lnTo>
                    <a:pt x="30" y="302"/>
                  </a:lnTo>
                  <a:lnTo>
                    <a:pt x="30" y="300"/>
                  </a:lnTo>
                  <a:lnTo>
                    <a:pt x="30" y="298"/>
                  </a:lnTo>
                  <a:lnTo>
                    <a:pt x="28" y="298"/>
                  </a:lnTo>
                  <a:lnTo>
                    <a:pt x="26" y="294"/>
                  </a:lnTo>
                  <a:lnTo>
                    <a:pt x="24" y="292"/>
                  </a:lnTo>
                  <a:lnTo>
                    <a:pt x="24" y="288"/>
                  </a:lnTo>
                  <a:lnTo>
                    <a:pt x="24" y="286"/>
                  </a:lnTo>
                  <a:lnTo>
                    <a:pt x="22" y="280"/>
                  </a:lnTo>
                  <a:lnTo>
                    <a:pt x="24" y="276"/>
                  </a:lnTo>
                  <a:lnTo>
                    <a:pt x="22" y="274"/>
                  </a:lnTo>
                  <a:lnTo>
                    <a:pt x="22" y="270"/>
                  </a:lnTo>
                  <a:lnTo>
                    <a:pt x="22" y="264"/>
                  </a:lnTo>
                  <a:lnTo>
                    <a:pt x="20" y="260"/>
                  </a:lnTo>
                  <a:lnTo>
                    <a:pt x="22" y="256"/>
                  </a:lnTo>
                  <a:lnTo>
                    <a:pt x="20" y="252"/>
                  </a:lnTo>
                  <a:lnTo>
                    <a:pt x="20" y="248"/>
                  </a:lnTo>
                  <a:lnTo>
                    <a:pt x="18" y="244"/>
                  </a:lnTo>
                  <a:lnTo>
                    <a:pt x="18" y="242"/>
                  </a:lnTo>
                  <a:lnTo>
                    <a:pt x="18" y="240"/>
                  </a:lnTo>
                  <a:lnTo>
                    <a:pt x="18" y="238"/>
                  </a:lnTo>
                  <a:lnTo>
                    <a:pt x="18" y="234"/>
                  </a:lnTo>
                  <a:lnTo>
                    <a:pt x="18" y="232"/>
                  </a:lnTo>
                  <a:lnTo>
                    <a:pt x="22" y="232"/>
                  </a:lnTo>
                  <a:lnTo>
                    <a:pt x="24" y="234"/>
                  </a:lnTo>
                  <a:lnTo>
                    <a:pt x="24" y="238"/>
                  </a:lnTo>
                  <a:lnTo>
                    <a:pt x="22" y="240"/>
                  </a:lnTo>
                  <a:lnTo>
                    <a:pt x="24" y="242"/>
                  </a:lnTo>
                  <a:lnTo>
                    <a:pt x="26" y="244"/>
                  </a:lnTo>
                  <a:lnTo>
                    <a:pt x="24" y="246"/>
                  </a:lnTo>
                  <a:lnTo>
                    <a:pt x="24" y="248"/>
                  </a:lnTo>
                  <a:lnTo>
                    <a:pt x="24" y="252"/>
                  </a:lnTo>
                  <a:lnTo>
                    <a:pt x="24" y="254"/>
                  </a:lnTo>
                  <a:lnTo>
                    <a:pt x="26" y="256"/>
                  </a:lnTo>
                  <a:lnTo>
                    <a:pt x="28" y="256"/>
                  </a:lnTo>
                  <a:lnTo>
                    <a:pt x="30" y="252"/>
                  </a:lnTo>
                  <a:lnTo>
                    <a:pt x="36" y="252"/>
                  </a:lnTo>
                  <a:lnTo>
                    <a:pt x="34" y="246"/>
                  </a:lnTo>
                  <a:lnTo>
                    <a:pt x="36" y="246"/>
                  </a:lnTo>
                  <a:lnTo>
                    <a:pt x="38" y="240"/>
                  </a:lnTo>
                  <a:lnTo>
                    <a:pt x="34" y="238"/>
                  </a:lnTo>
                  <a:lnTo>
                    <a:pt x="36" y="232"/>
                  </a:lnTo>
                  <a:lnTo>
                    <a:pt x="34" y="230"/>
                  </a:lnTo>
                  <a:lnTo>
                    <a:pt x="34" y="224"/>
                  </a:lnTo>
                  <a:lnTo>
                    <a:pt x="34" y="218"/>
                  </a:lnTo>
                  <a:lnTo>
                    <a:pt x="36" y="218"/>
                  </a:lnTo>
                  <a:lnTo>
                    <a:pt x="36" y="214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8"/>
                  </a:lnTo>
                  <a:lnTo>
                    <a:pt x="42" y="224"/>
                  </a:lnTo>
                  <a:lnTo>
                    <a:pt x="40" y="226"/>
                  </a:lnTo>
                  <a:lnTo>
                    <a:pt x="38" y="226"/>
                  </a:lnTo>
                  <a:lnTo>
                    <a:pt x="40" y="226"/>
                  </a:lnTo>
                  <a:lnTo>
                    <a:pt x="40" y="230"/>
                  </a:lnTo>
                  <a:lnTo>
                    <a:pt x="42" y="230"/>
                  </a:lnTo>
                  <a:lnTo>
                    <a:pt x="44" y="226"/>
                  </a:lnTo>
                  <a:lnTo>
                    <a:pt x="46" y="226"/>
                  </a:lnTo>
                  <a:lnTo>
                    <a:pt x="46" y="220"/>
                  </a:lnTo>
                  <a:lnTo>
                    <a:pt x="50" y="220"/>
                  </a:lnTo>
                  <a:lnTo>
                    <a:pt x="52" y="218"/>
                  </a:lnTo>
                  <a:lnTo>
                    <a:pt x="54" y="220"/>
                  </a:lnTo>
                  <a:lnTo>
                    <a:pt x="58" y="222"/>
                  </a:lnTo>
                  <a:lnTo>
                    <a:pt x="64" y="222"/>
                  </a:lnTo>
                  <a:lnTo>
                    <a:pt x="72" y="218"/>
                  </a:lnTo>
                  <a:lnTo>
                    <a:pt x="74" y="216"/>
                  </a:lnTo>
                  <a:lnTo>
                    <a:pt x="76" y="212"/>
                  </a:lnTo>
                  <a:lnTo>
                    <a:pt x="82" y="212"/>
                  </a:lnTo>
                  <a:lnTo>
                    <a:pt x="84" y="206"/>
                  </a:lnTo>
                  <a:lnTo>
                    <a:pt x="84" y="204"/>
                  </a:lnTo>
                  <a:lnTo>
                    <a:pt x="82" y="202"/>
                  </a:lnTo>
                  <a:lnTo>
                    <a:pt x="84" y="202"/>
                  </a:lnTo>
                  <a:lnTo>
                    <a:pt x="84" y="200"/>
                  </a:lnTo>
                  <a:lnTo>
                    <a:pt x="82" y="196"/>
                  </a:lnTo>
                  <a:lnTo>
                    <a:pt x="84" y="196"/>
                  </a:lnTo>
                  <a:lnTo>
                    <a:pt x="86" y="196"/>
                  </a:lnTo>
                  <a:lnTo>
                    <a:pt x="88" y="196"/>
                  </a:lnTo>
                  <a:lnTo>
                    <a:pt x="88" y="194"/>
                  </a:lnTo>
                  <a:lnTo>
                    <a:pt x="86" y="194"/>
                  </a:lnTo>
                  <a:lnTo>
                    <a:pt x="86" y="190"/>
                  </a:lnTo>
                  <a:lnTo>
                    <a:pt x="84" y="190"/>
                  </a:lnTo>
                  <a:lnTo>
                    <a:pt x="86" y="188"/>
                  </a:lnTo>
                  <a:lnTo>
                    <a:pt x="88" y="186"/>
                  </a:lnTo>
                  <a:lnTo>
                    <a:pt x="86" y="186"/>
                  </a:lnTo>
                  <a:lnTo>
                    <a:pt x="86" y="184"/>
                  </a:lnTo>
                  <a:lnTo>
                    <a:pt x="84" y="184"/>
                  </a:lnTo>
                  <a:lnTo>
                    <a:pt x="84" y="182"/>
                  </a:lnTo>
                  <a:lnTo>
                    <a:pt x="88" y="182"/>
                  </a:lnTo>
                  <a:lnTo>
                    <a:pt x="88" y="180"/>
                  </a:lnTo>
                  <a:lnTo>
                    <a:pt x="90" y="178"/>
                  </a:lnTo>
                  <a:lnTo>
                    <a:pt x="92" y="178"/>
                  </a:lnTo>
                  <a:lnTo>
                    <a:pt x="94" y="178"/>
                  </a:lnTo>
                  <a:lnTo>
                    <a:pt x="96" y="178"/>
                  </a:lnTo>
                  <a:lnTo>
                    <a:pt x="96" y="176"/>
                  </a:lnTo>
                  <a:lnTo>
                    <a:pt x="92" y="174"/>
                  </a:lnTo>
                  <a:lnTo>
                    <a:pt x="90" y="174"/>
                  </a:lnTo>
                  <a:lnTo>
                    <a:pt x="88" y="172"/>
                  </a:lnTo>
                  <a:lnTo>
                    <a:pt x="88" y="168"/>
                  </a:lnTo>
                  <a:lnTo>
                    <a:pt x="88" y="166"/>
                  </a:lnTo>
                  <a:lnTo>
                    <a:pt x="88" y="164"/>
                  </a:lnTo>
                  <a:lnTo>
                    <a:pt x="90" y="164"/>
                  </a:lnTo>
                  <a:lnTo>
                    <a:pt x="94" y="166"/>
                  </a:lnTo>
                  <a:lnTo>
                    <a:pt x="96" y="164"/>
                  </a:lnTo>
                  <a:lnTo>
                    <a:pt x="98" y="162"/>
                  </a:lnTo>
                  <a:lnTo>
                    <a:pt x="100" y="160"/>
                  </a:lnTo>
                  <a:lnTo>
                    <a:pt x="102" y="160"/>
                  </a:lnTo>
                  <a:lnTo>
                    <a:pt x="104" y="160"/>
                  </a:lnTo>
                  <a:lnTo>
                    <a:pt x="104" y="162"/>
                  </a:lnTo>
                  <a:lnTo>
                    <a:pt x="102" y="164"/>
                  </a:lnTo>
                  <a:lnTo>
                    <a:pt x="98" y="166"/>
                  </a:lnTo>
                  <a:lnTo>
                    <a:pt x="96" y="172"/>
                  </a:lnTo>
                  <a:lnTo>
                    <a:pt x="98" y="170"/>
                  </a:lnTo>
                  <a:lnTo>
                    <a:pt x="102" y="168"/>
                  </a:lnTo>
                  <a:lnTo>
                    <a:pt x="108" y="170"/>
                  </a:lnTo>
                  <a:lnTo>
                    <a:pt x="110" y="172"/>
                  </a:lnTo>
                  <a:lnTo>
                    <a:pt x="108" y="172"/>
                  </a:lnTo>
                  <a:lnTo>
                    <a:pt x="108" y="174"/>
                  </a:lnTo>
                  <a:lnTo>
                    <a:pt x="106" y="176"/>
                  </a:lnTo>
                  <a:lnTo>
                    <a:pt x="104" y="178"/>
                  </a:lnTo>
                  <a:lnTo>
                    <a:pt x="106" y="178"/>
                  </a:lnTo>
                  <a:lnTo>
                    <a:pt x="108" y="178"/>
                  </a:lnTo>
                  <a:lnTo>
                    <a:pt x="108" y="182"/>
                  </a:lnTo>
                  <a:lnTo>
                    <a:pt x="106" y="186"/>
                  </a:lnTo>
                  <a:lnTo>
                    <a:pt x="104" y="188"/>
                  </a:lnTo>
                  <a:lnTo>
                    <a:pt x="102" y="190"/>
                  </a:lnTo>
                  <a:lnTo>
                    <a:pt x="102" y="192"/>
                  </a:lnTo>
                  <a:lnTo>
                    <a:pt x="104" y="192"/>
                  </a:lnTo>
                  <a:lnTo>
                    <a:pt x="106" y="192"/>
                  </a:lnTo>
                  <a:lnTo>
                    <a:pt x="108" y="192"/>
                  </a:lnTo>
                  <a:lnTo>
                    <a:pt x="108" y="194"/>
                  </a:lnTo>
                  <a:lnTo>
                    <a:pt x="110" y="194"/>
                  </a:lnTo>
                  <a:lnTo>
                    <a:pt x="110" y="196"/>
                  </a:lnTo>
                  <a:lnTo>
                    <a:pt x="112" y="194"/>
                  </a:lnTo>
                  <a:lnTo>
                    <a:pt x="112" y="192"/>
                  </a:lnTo>
                  <a:lnTo>
                    <a:pt x="112" y="190"/>
                  </a:lnTo>
                  <a:lnTo>
                    <a:pt x="112" y="188"/>
                  </a:lnTo>
                  <a:lnTo>
                    <a:pt x="114" y="188"/>
                  </a:lnTo>
                  <a:lnTo>
                    <a:pt x="114" y="186"/>
                  </a:lnTo>
                  <a:lnTo>
                    <a:pt x="112" y="184"/>
                  </a:lnTo>
                  <a:lnTo>
                    <a:pt x="112" y="182"/>
                  </a:lnTo>
                  <a:lnTo>
                    <a:pt x="116" y="180"/>
                  </a:lnTo>
                  <a:lnTo>
                    <a:pt x="114" y="176"/>
                  </a:lnTo>
                  <a:lnTo>
                    <a:pt x="112" y="176"/>
                  </a:lnTo>
                  <a:lnTo>
                    <a:pt x="114" y="172"/>
                  </a:lnTo>
                  <a:lnTo>
                    <a:pt x="114" y="166"/>
                  </a:lnTo>
                  <a:lnTo>
                    <a:pt x="118" y="166"/>
                  </a:lnTo>
                  <a:lnTo>
                    <a:pt x="120" y="164"/>
                  </a:lnTo>
                  <a:lnTo>
                    <a:pt x="122" y="168"/>
                  </a:lnTo>
                  <a:lnTo>
                    <a:pt x="126" y="168"/>
                  </a:lnTo>
                  <a:lnTo>
                    <a:pt x="130" y="166"/>
                  </a:lnTo>
                  <a:lnTo>
                    <a:pt x="134" y="164"/>
                  </a:lnTo>
                  <a:lnTo>
                    <a:pt x="140" y="160"/>
                  </a:lnTo>
                  <a:lnTo>
                    <a:pt x="142" y="156"/>
                  </a:lnTo>
                  <a:lnTo>
                    <a:pt x="142" y="154"/>
                  </a:lnTo>
                  <a:lnTo>
                    <a:pt x="144" y="154"/>
                  </a:lnTo>
                  <a:lnTo>
                    <a:pt x="144" y="152"/>
                  </a:lnTo>
                  <a:lnTo>
                    <a:pt x="146" y="152"/>
                  </a:lnTo>
                  <a:lnTo>
                    <a:pt x="146" y="150"/>
                  </a:lnTo>
                  <a:lnTo>
                    <a:pt x="146" y="148"/>
                  </a:lnTo>
                  <a:lnTo>
                    <a:pt x="144" y="148"/>
                  </a:lnTo>
                  <a:lnTo>
                    <a:pt x="146" y="144"/>
                  </a:lnTo>
                  <a:lnTo>
                    <a:pt x="144" y="146"/>
                  </a:lnTo>
                  <a:lnTo>
                    <a:pt x="144" y="144"/>
                  </a:lnTo>
                  <a:lnTo>
                    <a:pt x="144" y="142"/>
                  </a:lnTo>
                  <a:lnTo>
                    <a:pt x="142" y="142"/>
                  </a:lnTo>
                  <a:lnTo>
                    <a:pt x="138" y="142"/>
                  </a:lnTo>
                  <a:lnTo>
                    <a:pt x="136" y="142"/>
                  </a:lnTo>
                  <a:lnTo>
                    <a:pt x="134" y="144"/>
                  </a:lnTo>
                  <a:lnTo>
                    <a:pt x="132" y="148"/>
                  </a:lnTo>
                  <a:lnTo>
                    <a:pt x="126" y="146"/>
                  </a:lnTo>
                  <a:lnTo>
                    <a:pt x="124" y="144"/>
                  </a:lnTo>
                  <a:lnTo>
                    <a:pt x="130" y="146"/>
                  </a:lnTo>
                  <a:lnTo>
                    <a:pt x="134" y="142"/>
                  </a:lnTo>
                  <a:lnTo>
                    <a:pt x="136" y="140"/>
                  </a:lnTo>
                  <a:lnTo>
                    <a:pt x="142" y="140"/>
                  </a:lnTo>
                  <a:lnTo>
                    <a:pt x="144" y="136"/>
                  </a:lnTo>
                  <a:lnTo>
                    <a:pt x="144" y="134"/>
                  </a:lnTo>
                  <a:lnTo>
                    <a:pt x="146" y="132"/>
                  </a:lnTo>
                  <a:lnTo>
                    <a:pt x="144" y="130"/>
                  </a:lnTo>
                  <a:lnTo>
                    <a:pt x="144" y="128"/>
                  </a:lnTo>
                  <a:lnTo>
                    <a:pt x="144" y="126"/>
                  </a:lnTo>
                  <a:lnTo>
                    <a:pt x="142" y="126"/>
                  </a:lnTo>
                  <a:lnTo>
                    <a:pt x="144" y="124"/>
                  </a:lnTo>
                  <a:lnTo>
                    <a:pt x="146" y="124"/>
                  </a:lnTo>
                  <a:lnTo>
                    <a:pt x="148" y="124"/>
                  </a:lnTo>
                  <a:lnTo>
                    <a:pt x="150" y="124"/>
                  </a:lnTo>
                  <a:lnTo>
                    <a:pt x="152" y="122"/>
                  </a:lnTo>
                  <a:lnTo>
                    <a:pt x="152" y="120"/>
                  </a:lnTo>
                  <a:lnTo>
                    <a:pt x="154" y="120"/>
                  </a:lnTo>
                  <a:lnTo>
                    <a:pt x="156" y="118"/>
                  </a:lnTo>
                  <a:lnTo>
                    <a:pt x="160" y="116"/>
                  </a:lnTo>
                  <a:lnTo>
                    <a:pt x="162" y="116"/>
                  </a:lnTo>
                  <a:lnTo>
                    <a:pt x="164" y="116"/>
                  </a:lnTo>
                  <a:lnTo>
                    <a:pt x="166" y="116"/>
                  </a:lnTo>
                  <a:lnTo>
                    <a:pt x="170" y="120"/>
                  </a:lnTo>
                  <a:lnTo>
                    <a:pt x="172" y="116"/>
                  </a:lnTo>
                  <a:lnTo>
                    <a:pt x="174" y="112"/>
                  </a:lnTo>
                  <a:lnTo>
                    <a:pt x="176" y="112"/>
                  </a:lnTo>
                  <a:lnTo>
                    <a:pt x="180" y="114"/>
                  </a:lnTo>
                  <a:lnTo>
                    <a:pt x="184" y="112"/>
                  </a:lnTo>
                  <a:lnTo>
                    <a:pt x="184" y="116"/>
                  </a:lnTo>
                  <a:lnTo>
                    <a:pt x="176" y="120"/>
                  </a:lnTo>
                  <a:lnTo>
                    <a:pt x="172" y="124"/>
                  </a:lnTo>
                  <a:lnTo>
                    <a:pt x="172" y="126"/>
                  </a:lnTo>
                  <a:lnTo>
                    <a:pt x="172" y="128"/>
                  </a:lnTo>
                  <a:lnTo>
                    <a:pt x="172" y="130"/>
                  </a:lnTo>
                  <a:lnTo>
                    <a:pt x="170" y="130"/>
                  </a:lnTo>
                  <a:lnTo>
                    <a:pt x="170" y="132"/>
                  </a:lnTo>
                  <a:lnTo>
                    <a:pt x="170" y="134"/>
                  </a:lnTo>
                  <a:lnTo>
                    <a:pt x="172" y="134"/>
                  </a:lnTo>
                  <a:lnTo>
                    <a:pt x="172" y="136"/>
                  </a:lnTo>
                  <a:lnTo>
                    <a:pt x="172" y="140"/>
                  </a:lnTo>
                  <a:lnTo>
                    <a:pt x="172" y="142"/>
                  </a:lnTo>
                  <a:lnTo>
                    <a:pt x="168" y="146"/>
                  </a:lnTo>
                  <a:lnTo>
                    <a:pt x="168" y="148"/>
                  </a:lnTo>
                  <a:lnTo>
                    <a:pt x="168" y="152"/>
                  </a:lnTo>
                  <a:lnTo>
                    <a:pt x="168" y="150"/>
                  </a:lnTo>
                  <a:lnTo>
                    <a:pt x="170" y="150"/>
                  </a:lnTo>
                  <a:lnTo>
                    <a:pt x="170" y="148"/>
                  </a:lnTo>
                  <a:lnTo>
                    <a:pt x="170" y="146"/>
                  </a:lnTo>
                  <a:lnTo>
                    <a:pt x="172" y="146"/>
                  </a:lnTo>
                  <a:lnTo>
                    <a:pt x="172" y="144"/>
                  </a:lnTo>
                  <a:lnTo>
                    <a:pt x="174" y="144"/>
                  </a:lnTo>
                  <a:lnTo>
                    <a:pt x="174" y="142"/>
                  </a:lnTo>
                  <a:lnTo>
                    <a:pt x="176" y="142"/>
                  </a:lnTo>
                  <a:lnTo>
                    <a:pt x="178" y="142"/>
                  </a:lnTo>
                  <a:lnTo>
                    <a:pt x="178" y="136"/>
                  </a:lnTo>
                  <a:lnTo>
                    <a:pt x="182" y="134"/>
                  </a:lnTo>
                  <a:lnTo>
                    <a:pt x="184" y="132"/>
                  </a:lnTo>
                  <a:lnTo>
                    <a:pt x="184" y="134"/>
                  </a:lnTo>
                  <a:lnTo>
                    <a:pt x="186" y="134"/>
                  </a:lnTo>
                  <a:lnTo>
                    <a:pt x="188" y="134"/>
                  </a:lnTo>
                  <a:lnTo>
                    <a:pt x="188" y="132"/>
                  </a:lnTo>
                  <a:lnTo>
                    <a:pt x="188" y="130"/>
                  </a:lnTo>
                  <a:lnTo>
                    <a:pt x="188" y="128"/>
                  </a:lnTo>
                  <a:lnTo>
                    <a:pt x="188" y="126"/>
                  </a:lnTo>
                  <a:lnTo>
                    <a:pt x="192" y="126"/>
                  </a:lnTo>
                  <a:lnTo>
                    <a:pt x="188" y="122"/>
                  </a:lnTo>
                  <a:lnTo>
                    <a:pt x="192" y="118"/>
                  </a:lnTo>
                  <a:lnTo>
                    <a:pt x="192" y="114"/>
                  </a:lnTo>
                  <a:lnTo>
                    <a:pt x="194" y="112"/>
                  </a:lnTo>
                  <a:lnTo>
                    <a:pt x="194" y="110"/>
                  </a:lnTo>
                  <a:lnTo>
                    <a:pt x="190" y="106"/>
                  </a:lnTo>
                  <a:lnTo>
                    <a:pt x="188" y="102"/>
                  </a:lnTo>
                  <a:lnTo>
                    <a:pt x="192" y="100"/>
                  </a:lnTo>
                  <a:lnTo>
                    <a:pt x="194" y="100"/>
                  </a:lnTo>
                  <a:lnTo>
                    <a:pt x="196" y="100"/>
                  </a:lnTo>
                  <a:lnTo>
                    <a:pt x="196" y="104"/>
                  </a:lnTo>
                  <a:lnTo>
                    <a:pt x="198" y="104"/>
                  </a:lnTo>
                  <a:lnTo>
                    <a:pt x="200" y="102"/>
                  </a:lnTo>
                  <a:lnTo>
                    <a:pt x="198" y="98"/>
                  </a:lnTo>
                  <a:lnTo>
                    <a:pt x="194" y="96"/>
                  </a:lnTo>
                  <a:lnTo>
                    <a:pt x="196" y="92"/>
                  </a:lnTo>
                  <a:lnTo>
                    <a:pt x="200" y="96"/>
                  </a:lnTo>
                  <a:close/>
                  <a:moveTo>
                    <a:pt x="78" y="222"/>
                  </a:moveTo>
                  <a:lnTo>
                    <a:pt x="76" y="222"/>
                  </a:lnTo>
                  <a:lnTo>
                    <a:pt x="74" y="222"/>
                  </a:lnTo>
                  <a:lnTo>
                    <a:pt x="72" y="224"/>
                  </a:lnTo>
                  <a:lnTo>
                    <a:pt x="72" y="226"/>
                  </a:lnTo>
                  <a:lnTo>
                    <a:pt x="70" y="228"/>
                  </a:lnTo>
                  <a:lnTo>
                    <a:pt x="70" y="230"/>
                  </a:lnTo>
                  <a:lnTo>
                    <a:pt x="70" y="232"/>
                  </a:lnTo>
                  <a:lnTo>
                    <a:pt x="72" y="232"/>
                  </a:lnTo>
                  <a:lnTo>
                    <a:pt x="74" y="230"/>
                  </a:lnTo>
                  <a:lnTo>
                    <a:pt x="74" y="228"/>
                  </a:lnTo>
                  <a:lnTo>
                    <a:pt x="76" y="228"/>
                  </a:lnTo>
                  <a:lnTo>
                    <a:pt x="78" y="228"/>
                  </a:lnTo>
                  <a:lnTo>
                    <a:pt x="80" y="228"/>
                  </a:lnTo>
                  <a:lnTo>
                    <a:pt x="80" y="226"/>
                  </a:lnTo>
                  <a:lnTo>
                    <a:pt x="78" y="224"/>
                  </a:lnTo>
                  <a:lnTo>
                    <a:pt x="78" y="222"/>
                  </a:lnTo>
                  <a:close/>
                  <a:moveTo>
                    <a:pt x="68" y="246"/>
                  </a:moveTo>
                  <a:lnTo>
                    <a:pt x="68" y="246"/>
                  </a:lnTo>
                  <a:lnTo>
                    <a:pt x="66" y="248"/>
                  </a:lnTo>
                  <a:lnTo>
                    <a:pt x="66" y="250"/>
                  </a:lnTo>
                  <a:lnTo>
                    <a:pt x="66" y="252"/>
                  </a:lnTo>
                  <a:lnTo>
                    <a:pt x="64" y="252"/>
                  </a:lnTo>
                  <a:lnTo>
                    <a:pt x="64" y="254"/>
                  </a:lnTo>
                  <a:lnTo>
                    <a:pt x="64" y="256"/>
                  </a:lnTo>
                  <a:lnTo>
                    <a:pt x="64" y="258"/>
                  </a:lnTo>
                  <a:lnTo>
                    <a:pt x="66" y="258"/>
                  </a:lnTo>
                  <a:lnTo>
                    <a:pt x="68" y="258"/>
                  </a:lnTo>
                  <a:lnTo>
                    <a:pt x="70" y="258"/>
                  </a:lnTo>
                  <a:lnTo>
                    <a:pt x="70" y="256"/>
                  </a:lnTo>
                  <a:lnTo>
                    <a:pt x="70" y="254"/>
                  </a:lnTo>
                  <a:lnTo>
                    <a:pt x="68" y="252"/>
                  </a:lnTo>
                  <a:lnTo>
                    <a:pt x="72" y="252"/>
                  </a:lnTo>
                  <a:lnTo>
                    <a:pt x="76" y="248"/>
                  </a:lnTo>
                  <a:lnTo>
                    <a:pt x="74" y="246"/>
                  </a:lnTo>
                  <a:lnTo>
                    <a:pt x="72" y="244"/>
                  </a:lnTo>
                  <a:lnTo>
                    <a:pt x="70" y="242"/>
                  </a:lnTo>
                  <a:lnTo>
                    <a:pt x="68" y="246"/>
                  </a:lnTo>
                  <a:close/>
                  <a:moveTo>
                    <a:pt x="52" y="280"/>
                  </a:moveTo>
                  <a:lnTo>
                    <a:pt x="54" y="278"/>
                  </a:lnTo>
                  <a:lnTo>
                    <a:pt x="56" y="278"/>
                  </a:lnTo>
                  <a:lnTo>
                    <a:pt x="58" y="274"/>
                  </a:lnTo>
                  <a:lnTo>
                    <a:pt x="62" y="274"/>
                  </a:lnTo>
                  <a:lnTo>
                    <a:pt x="60" y="268"/>
                  </a:lnTo>
                  <a:lnTo>
                    <a:pt x="58" y="270"/>
                  </a:lnTo>
                  <a:lnTo>
                    <a:pt x="54" y="272"/>
                  </a:lnTo>
                  <a:lnTo>
                    <a:pt x="52" y="274"/>
                  </a:lnTo>
                  <a:lnTo>
                    <a:pt x="52" y="276"/>
                  </a:lnTo>
                  <a:lnTo>
                    <a:pt x="52" y="278"/>
                  </a:lnTo>
                  <a:lnTo>
                    <a:pt x="52" y="280"/>
                  </a:lnTo>
                  <a:close/>
                  <a:moveTo>
                    <a:pt x="56" y="306"/>
                  </a:moveTo>
                  <a:lnTo>
                    <a:pt x="56" y="304"/>
                  </a:lnTo>
                  <a:lnTo>
                    <a:pt x="56" y="300"/>
                  </a:lnTo>
                  <a:lnTo>
                    <a:pt x="52" y="298"/>
                  </a:lnTo>
                  <a:lnTo>
                    <a:pt x="56" y="296"/>
                  </a:lnTo>
                  <a:lnTo>
                    <a:pt x="54" y="292"/>
                  </a:lnTo>
                  <a:lnTo>
                    <a:pt x="58" y="292"/>
                  </a:lnTo>
                  <a:lnTo>
                    <a:pt x="58" y="288"/>
                  </a:lnTo>
                  <a:lnTo>
                    <a:pt x="54" y="288"/>
                  </a:lnTo>
                  <a:lnTo>
                    <a:pt x="52" y="282"/>
                  </a:lnTo>
                  <a:lnTo>
                    <a:pt x="48" y="282"/>
                  </a:lnTo>
                  <a:lnTo>
                    <a:pt x="46" y="286"/>
                  </a:lnTo>
                  <a:lnTo>
                    <a:pt x="44" y="286"/>
                  </a:lnTo>
                  <a:lnTo>
                    <a:pt x="42" y="288"/>
                  </a:lnTo>
                  <a:lnTo>
                    <a:pt x="40" y="288"/>
                  </a:lnTo>
                  <a:lnTo>
                    <a:pt x="38" y="286"/>
                  </a:lnTo>
                  <a:lnTo>
                    <a:pt x="36" y="286"/>
                  </a:lnTo>
                  <a:lnTo>
                    <a:pt x="34" y="288"/>
                  </a:lnTo>
                  <a:lnTo>
                    <a:pt x="32" y="288"/>
                  </a:lnTo>
                  <a:lnTo>
                    <a:pt x="32" y="290"/>
                  </a:lnTo>
                  <a:lnTo>
                    <a:pt x="34" y="290"/>
                  </a:lnTo>
                  <a:lnTo>
                    <a:pt x="34" y="292"/>
                  </a:lnTo>
                  <a:lnTo>
                    <a:pt x="32" y="294"/>
                  </a:lnTo>
                  <a:lnTo>
                    <a:pt x="32" y="296"/>
                  </a:lnTo>
                  <a:lnTo>
                    <a:pt x="34" y="302"/>
                  </a:lnTo>
                  <a:lnTo>
                    <a:pt x="38" y="306"/>
                  </a:lnTo>
                  <a:lnTo>
                    <a:pt x="38" y="308"/>
                  </a:lnTo>
                  <a:lnTo>
                    <a:pt x="36" y="308"/>
                  </a:lnTo>
                  <a:lnTo>
                    <a:pt x="38" y="310"/>
                  </a:lnTo>
                  <a:lnTo>
                    <a:pt x="40" y="312"/>
                  </a:lnTo>
                  <a:lnTo>
                    <a:pt x="44" y="312"/>
                  </a:lnTo>
                  <a:lnTo>
                    <a:pt x="46" y="312"/>
                  </a:lnTo>
                  <a:lnTo>
                    <a:pt x="46" y="314"/>
                  </a:lnTo>
                  <a:lnTo>
                    <a:pt x="48" y="314"/>
                  </a:lnTo>
                  <a:lnTo>
                    <a:pt x="48" y="316"/>
                  </a:lnTo>
                  <a:lnTo>
                    <a:pt x="48" y="318"/>
                  </a:lnTo>
                  <a:lnTo>
                    <a:pt x="50" y="318"/>
                  </a:lnTo>
                  <a:lnTo>
                    <a:pt x="50" y="316"/>
                  </a:lnTo>
                  <a:lnTo>
                    <a:pt x="52" y="316"/>
                  </a:lnTo>
                  <a:lnTo>
                    <a:pt x="52" y="314"/>
                  </a:lnTo>
                  <a:lnTo>
                    <a:pt x="52" y="312"/>
                  </a:lnTo>
                  <a:lnTo>
                    <a:pt x="52" y="310"/>
                  </a:lnTo>
                  <a:lnTo>
                    <a:pt x="52" y="308"/>
                  </a:lnTo>
                  <a:lnTo>
                    <a:pt x="56" y="306"/>
                  </a:lnTo>
                  <a:close/>
                  <a:moveTo>
                    <a:pt x="68" y="334"/>
                  </a:moveTo>
                  <a:lnTo>
                    <a:pt x="68" y="334"/>
                  </a:lnTo>
                  <a:lnTo>
                    <a:pt x="70" y="334"/>
                  </a:lnTo>
                  <a:lnTo>
                    <a:pt x="72" y="334"/>
                  </a:lnTo>
                  <a:lnTo>
                    <a:pt x="70" y="330"/>
                  </a:lnTo>
                  <a:lnTo>
                    <a:pt x="72" y="328"/>
                  </a:lnTo>
                  <a:lnTo>
                    <a:pt x="72" y="326"/>
                  </a:lnTo>
                  <a:lnTo>
                    <a:pt x="70" y="326"/>
                  </a:lnTo>
                  <a:lnTo>
                    <a:pt x="68" y="326"/>
                  </a:lnTo>
                  <a:lnTo>
                    <a:pt x="68" y="324"/>
                  </a:lnTo>
                  <a:lnTo>
                    <a:pt x="66" y="324"/>
                  </a:lnTo>
                  <a:lnTo>
                    <a:pt x="64" y="324"/>
                  </a:lnTo>
                  <a:lnTo>
                    <a:pt x="64" y="326"/>
                  </a:lnTo>
                  <a:lnTo>
                    <a:pt x="64" y="324"/>
                  </a:lnTo>
                  <a:lnTo>
                    <a:pt x="64" y="322"/>
                  </a:lnTo>
                  <a:lnTo>
                    <a:pt x="60" y="320"/>
                  </a:lnTo>
                  <a:lnTo>
                    <a:pt x="68" y="320"/>
                  </a:lnTo>
                  <a:lnTo>
                    <a:pt x="70" y="316"/>
                  </a:lnTo>
                  <a:lnTo>
                    <a:pt x="68" y="316"/>
                  </a:lnTo>
                  <a:lnTo>
                    <a:pt x="66" y="316"/>
                  </a:lnTo>
                  <a:lnTo>
                    <a:pt x="68" y="316"/>
                  </a:lnTo>
                  <a:lnTo>
                    <a:pt x="68" y="314"/>
                  </a:lnTo>
                  <a:lnTo>
                    <a:pt x="74" y="314"/>
                  </a:lnTo>
                  <a:lnTo>
                    <a:pt x="72" y="312"/>
                  </a:lnTo>
                  <a:lnTo>
                    <a:pt x="68" y="310"/>
                  </a:lnTo>
                  <a:lnTo>
                    <a:pt x="62" y="306"/>
                  </a:lnTo>
                  <a:lnTo>
                    <a:pt x="60" y="308"/>
                  </a:lnTo>
                  <a:lnTo>
                    <a:pt x="58" y="310"/>
                  </a:lnTo>
                  <a:lnTo>
                    <a:pt x="58" y="316"/>
                  </a:lnTo>
                  <a:lnTo>
                    <a:pt x="56" y="324"/>
                  </a:lnTo>
                  <a:lnTo>
                    <a:pt x="60" y="326"/>
                  </a:lnTo>
                  <a:lnTo>
                    <a:pt x="60" y="330"/>
                  </a:lnTo>
                  <a:lnTo>
                    <a:pt x="62" y="332"/>
                  </a:lnTo>
                  <a:lnTo>
                    <a:pt x="62" y="328"/>
                  </a:lnTo>
                  <a:lnTo>
                    <a:pt x="68" y="330"/>
                  </a:lnTo>
                  <a:lnTo>
                    <a:pt x="68" y="332"/>
                  </a:lnTo>
                  <a:lnTo>
                    <a:pt x="68" y="334"/>
                  </a:lnTo>
                  <a:close/>
                  <a:moveTo>
                    <a:pt x="72" y="352"/>
                  </a:moveTo>
                  <a:lnTo>
                    <a:pt x="74" y="352"/>
                  </a:lnTo>
                  <a:lnTo>
                    <a:pt x="74" y="354"/>
                  </a:lnTo>
                  <a:lnTo>
                    <a:pt x="76" y="354"/>
                  </a:lnTo>
                  <a:lnTo>
                    <a:pt x="78" y="354"/>
                  </a:lnTo>
                  <a:lnTo>
                    <a:pt x="80" y="354"/>
                  </a:lnTo>
                  <a:lnTo>
                    <a:pt x="80" y="352"/>
                  </a:lnTo>
                  <a:lnTo>
                    <a:pt x="82" y="352"/>
                  </a:lnTo>
                  <a:lnTo>
                    <a:pt x="86" y="350"/>
                  </a:lnTo>
                  <a:lnTo>
                    <a:pt x="80" y="346"/>
                  </a:lnTo>
                  <a:lnTo>
                    <a:pt x="76" y="344"/>
                  </a:lnTo>
                  <a:lnTo>
                    <a:pt x="72" y="344"/>
                  </a:lnTo>
                  <a:lnTo>
                    <a:pt x="74" y="348"/>
                  </a:lnTo>
                  <a:lnTo>
                    <a:pt x="72" y="352"/>
                  </a:lnTo>
                  <a:close/>
                  <a:moveTo>
                    <a:pt x="82" y="320"/>
                  </a:moveTo>
                  <a:lnTo>
                    <a:pt x="82" y="316"/>
                  </a:lnTo>
                  <a:lnTo>
                    <a:pt x="80" y="320"/>
                  </a:lnTo>
                  <a:lnTo>
                    <a:pt x="80" y="326"/>
                  </a:lnTo>
                  <a:lnTo>
                    <a:pt x="78" y="324"/>
                  </a:lnTo>
                  <a:lnTo>
                    <a:pt x="76" y="324"/>
                  </a:lnTo>
                  <a:lnTo>
                    <a:pt x="74" y="324"/>
                  </a:lnTo>
                  <a:lnTo>
                    <a:pt x="72" y="324"/>
                  </a:lnTo>
                  <a:lnTo>
                    <a:pt x="72" y="326"/>
                  </a:lnTo>
                  <a:lnTo>
                    <a:pt x="74" y="326"/>
                  </a:lnTo>
                  <a:lnTo>
                    <a:pt x="74" y="328"/>
                  </a:lnTo>
                  <a:lnTo>
                    <a:pt x="78" y="328"/>
                  </a:lnTo>
                  <a:lnTo>
                    <a:pt x="82" y="328"/>
                  </a:lnTo>
                  <a:lnTo>
                    <a:pt x="86" y="330"/>
                  </a:lnTo>
                  <a:lnTo>
                    <a:pt x="86" y="326"/>
                  </a:lnTo>
                  <a:lnTo>
                    <a:pt x="86" y="322"/>
                  </a:lnTo>
                  <a:lnTo>
                    <a:pt x="82" y="320"/>
                  </a:lnTo>
                  <a:close/>
                  <a:moveTo>
                    <a:pt x="174" y="362"/>
                  </a:moveTo>
                  <a:lnTo>
                    <a:pt x="176" y="362"/>
                  </a:lnTo>
                  <a:lnTo>
                    <a:pt x="178" y="362"/>
                  </a:lnTo>
                  <a:lnTo>
                    <a:pt x="176" y="362"/>
                  </a:lnTo>
                  <a:lnTo>
                    <a:pt x="176" y="360"/>
                  </a:lnTo>
                  <a:lnTo>
                    <a:pt x="174" y="360"/>
                  </a:lnTo>
                  <a:lnTo>
                    <a:pt x="172" y="358"/>
                  </a:lnTo>
                  <a:lnTo>
                    <a:pt x="170" y="356"/>
                  </a:lnTo>
                  <a:lnTo>
                    <a:pt x="168" y="354"/>
                  </a:lnTo>
                  <a:lnTo>
                    <a:pt x="166" y="356"/>
                  </a:lnTo>
                  <a:lnTo>
                    <a:pt x="170" y="358"/>
                  </a:lnTo>
                  <a:lnTo>
                    <a:pt x="172" y="360"/>
                  </a:lnTo>
                  <a:lnTo>
                    <a:pt x="170" y="360"/>
                  </a:lnTo>
                  <a:lnTo>
                    <a:pt x="168" y="364"/>
                  </a:lnTo>
                  <a:lnTo>
                    <a:pt x="164" y="364"/>
                  </a:lnTo>
                  <a:lnTo>
                    <a:pt x="160" y="364"/>
                  </a:lnTo>
                  <a:lnTo>
                    <a:pt x="156" y="364"/>
                  </a:lnTo>
                  <a:lnTo>
                    <a:pt x="156" y="366"/>
                  </a:lnTo>
                  <a:lnTo>
                    <a:pt x="154" y="366"/>
                  </a:lnTo>
                  <a:lnTo>
                    <a:pt x="152" y="366"/>
                  </a:lnTo>
                  <a:lnTo>
                    <a:pt x="152" y="364"/>
                  </a:lnTo>
                  <a:lnTo>
                    <a:pt x="150" y="364"/>
                  </a:lnTo>
                  <a:lnTo>
                    <a:pt x="150" y="362"/>
                  </a:lnTo>
                  <a:lnTo>
                    <a:pt x="150" y="360"/>
                  </a:lnTo>
                  <a:lnTo>
                    <a:pt x="148" y="360"/>
                  </a:lnTo>
                  <a:lnTo>
                    <a:pt x="146" y="360"/>
                  </a:lnTo>
                  <a:lnTo>
                    <a:pt x="146" y="358"/>
                  </a:lnTo>
                  <a:lnTo>
                    <a:pt x="146" y="356"/>
                  </a:lnTo>
                  <a:lnTo>
                    <a:pt x="146" y="354"/>
                  </a:lnTo>
                  <a:lnTo>
                    <a:pt x="144" y="354"/>
                  </a:lnTo>
                  <a:lnTo>
                    <a:pt x="142" y="354"/>
                  </a:lnTo>
                  <a:lnTo>
                    <a:pt x="140" y="354"/>
                  </a:lnTo>
                  <a:lnTo>
                    <a:pt x="138" y="352"/>
                  </a:lnTo>
                  <a:lnTo>
                    <a:pt x="136" y="350"/>
                  </a:lnTo>
                  <a:lnTo>
                    <a:pt x="130" y="348"/>
                  </a:lnTo>
                  <a:lnTo>
                    <a:pt x="124" y="344"/>
                  </a:lnTo>
                  <a:lnTo>
                    <a:pt x="120" y="342"/>
                  </a:lnTo>
                  <a:lnTo>
                    <a:pt x="120" y="340"/>
                  </a:lnTo>
                  <a:lnTo>
                    <a:pt x="112" y="338"/>
                  </a:lnTo>
                  <a:lnTo>
                    <a:pt x="110" y="338"/>
                  </a:lnTo>
                  <a:lnTo>
                    <a:pt x="110" y="336"/>
                  </a:lnTo>
                  <a:lnTo>
                    <a:pt x="110" y="334"/>
                  </a:lnTo>
                  <a:lnTo>
                    <a:pt x="108" y="334"/>
                  </a:lnTo>
                  <a:lnTo>
                    <a:pt x="108" y="336"/>
                  </a:lnTo>
                  <a:lnTo>
                    <a:pt x="108" y="340"/>
                  </a:lnTo>
                  <a:lnTo>
                    <a:pt x="110" y="342"/>
                  </a:lnTo>
                  <a:lnTo>
                    <a:pt x="108" y="344"/>
                  </a:lnTo>
                  <a:lnTo>
                    <a:pt x="108" y="346"/>
                  </a:lnTo>
                  <a:lnTo>
                    <a:pt x="110" y="350"/>
                  </a:lnTo>
                  <a:lnTo>
                    <a:pt x="112" y="350"/>
                  </a:lnTo>
                  <a:lnTo>
                    <a:pt x="114" y="350"/>
                  </a:lnTo>
                  <a:lnTo>
                    <a:pt x="116" y="350"/>
                  </a:lnTo>
                  <a:lnTo>
                    <a:pt x="118" y="350"/>
                  </a:lnTo>
                  <a:lnTo>
                    <a:pt x="118" y="352"/>
                  </a:lnTo>
                  <a:lnTo>
                    <a:pt x="118" y="354"/>
                  </a:lnTo>
                  <a:lnTo>
                    <a:pt x="118" y="356"/>
                  </a:lnTo>
                  <a:lnTo>
                    <a:pt x="120" y="358"/>
                  </a:lnTo>
                  <a:lnTo>
                    <a:pt x="122" y="358"/>
                  </a:lnTo>
                  <a:lnTo>
                    <a:pt x="122" y="360"/>
                  </a:lnTo>
                  <a:lnTo>
                    <a:pt x="122" y="362"/>
                  </a:lnTo>
                  <a:lnTo>
                    <a:pt x="120" y="362"/>
                  </a:lnTo>
                  <a:lnTo>
                    <a:pt x="120" y="364"/>
                  </a:lnTo>
                  <a:lnTo>
                    <a:pt x="122" y="364"/>
                  </a:lnTo>
                  <a:lnTo>
                    <a:pt x="124" y="364"/>
                  </a:lnTo>
                  <a:lnTo>
                    <a:pt x="130" y="370"/>
                  </a:lnTo>
                  <a:lnTo>
                    <a:pt x="136" y="370"/>
                  </a:lnTo>
                  <a:lnTo>
                    <a:pt x="138" y="370"/>
                  </a:lnTo>
                  <a:lnTo>
                    <a:pt x="138" y="368"/>
                  </a:lnTo>
                  <a:lnTo>
                    <a:pt x="136" y="368"/>
                  </a:lnTo>
                  <a:lnTo>
                    <a:pt x="134" y="366"/>
                  </a:lnTo>
                  <a:lnTo>
                    <a:pt x="132" y="366"/>
                  </a:lnTo>
                  <a:lnTo>
                    <a:pt x="132" y="364"/>
                  </a:lnTo>
                  <a:lnTo>
                    <a:pt x="138" y="364"/>
                  </a:lnTo>
                  <a:lnTo>
                    <a:pt x="146" y="368"/>
                  </a:lnTo>
                  <a:lnTo>
                    <a:pt x="148" y="372"/>
                  </a:lnTo>
                  <a:lnTo>
                    <a:pt x="154" y="376"/>
                  </a:lnTo>
                  <a:lnTo>
                    <a:pt x="160" y="378"/>
                  </a:lnTo>
                  <a:lnTo>
                    <a:pt x="168" y="382"/>
                  </a:lnTo>
                  <a:lnTo>
                    <a:pt x="166" y="380"/>
                  </a:lnTo>
                  <a:lnTo>
                    <a:pt x="170" y="380"/>
                  </a:lnTo>
                  <a:lnTo>
                    <a:pt x="170" y="378"/>
                  </a:lnTo>
                  <a:lnTo>
                    <a:pt x="170" y="376"/>
                  </a:lnTo>
                  <a:lnTo>
                    <a:pt x="168" y="376"/>
                  </a:lnTo>
                  <a:lnTo>
                    <a:pt x="166" y="376"/>
                  </a:lnTo>
                  <a:lnTo>
                    <a:pt x="164" y="374"/>
                  </a:lnTo>
                  <a:lnTo>
                    <a:pt x="162" y="374"/>
                  </a:lnTo>
                  <a:lnTo>
                    <a:pt x="160" y="374"/>
                  </a:lnTo>
                  <a:lnTo>
                    <a:pt x="158" y="374"/>
                  </a:lnTo>
                  <a:lnTo>
                    <a:pt x="158" y="372"/>
                  </a:lnTo>
                  <a:lnTo>
                    <a:pt x="156" y="370"/>
                  </a:lnTo>
                  <a:lnTo>
                    <a:pt x="154" y="368"/>
                  </a:lnTo>
                  <a:lnTo>
                    <a:pt x="156" y="364"/>
                  </a:lnTo>
                  <a:lnTo>
                    <a:pt x="162" y="364"/>
                  </a:lnTo>
                  <a:lnTo>
                    <a:pt x="166" y="366"/>
                  </a:lnTo>
                  <a:lnTo>
                    <a:pt x="168" y="366"/>
                  </a:lnTo>
                  <a:lnTo>
                    <a:pt x="168" y="364"/>
                  </a:lnTo>
                  <a:lnTo>
                    <a:pt x="170" y="364"/>
                  </a:lnTo>
                  <a:lnTo>
                    <a:pt x="172" y="362"/>
                  </a:lnTo>
                  <a:lnTo>
                    <a:pt x="174" y="362"/>
                  </a:lnTo>
                  <a:close/>
                  <a:moveTo>
                    <a:pt x="182" y="426"/>
                  </a:moveTo>
                  <a:lnTo>
                    <a:pt x="182" y="424"/>
                  </a:lnTo>
                  <a:lnTo>
                    <a:pt x="180" y="424"/>
                  </a:lnTo>
                  <a:lnTo>
                    <a:pt x="180" y="422"/>
                  </a:lnTo>
                  <a:lnTo>
                    <a:pt x="182" y="420"/>
                  </a:lnTo>
                  <a:lnTo>
                    <a:pt x="176" y="416"/>
                  </a:lnTo>
                  <a:lnTo>
                    <a:pt x="170" y="410"/>
                  </a:lnTo>
                  <a:lnTo>
                    <a:pt x="162" y="404"/>
                  </a:lnTo>
                  <a:lnTo>
                    <a:pt x="156" y="404"/>
                  </a:lnTo>
                  <a:lnTo>
                    <a:pt x="154" y="400"/>
                  </a:lnTo>
                  <a:lnTo>
                    <a:pt x="152" y="394"/>
                  </a:lnTo>
                  <a:lnTo>
                    <a:pt x="148" y="390"/>
                  </a:lnTo>
                  <a:lnTo>
                    <a:pt x="142" y="382"/>
                  </a:lnTo>
                  <a:lnTo>
                    <a:pt x="138" y="380"/>
                  </a:lnTo>
                  <a:lnTo>
                    <a:pt x="138" y="378"/>
                  </a:lnTo>
                  <a:lnTo>
                    <a:pt x="138" y="376"/>
                  </a:lnTo>
                  <a:lnTo>
                    <a:pt x="136" y="376"/>
                  </a:lnTo>
                  <a:lnTo>
                    <a:pt x="134" y="376"/>
                  </a:lnTo>
                  <a:lnTo>
                    <a:pt x="134" y="378"/>
                  </a:lnTo>
                  <a:lnTo>
                    <a:pt x="134" y="384"/>
                  </a:lnTo>
                  <a:lnTo>
                    <a:pt x="136" y="388"/>
                  </a:lnTo>
                  <a:lnTo>
                    <a:pt x="134" y="390"/>
                  </a:lnTo>
                  <a:lnTo>
                    <a:pt x="134" y="392"/>
                  </a:lnTo>
                  <a:lnTo>
                    <a:pt x="132" y="392"/>
                  </a:lnTo>
                  <a:lnTo>
                    <a:pt x="130" y="392"/>
                  </a:lnTo>
                  <a:lnTo>
                    <a:pt x="128" y="392"/>
                  </a:lnTo>
                  <a:lnTo>
                    <a:pt x="126" y="392"/>
                  </a:lnTo>
                  <a:lnTo>
                    <a:pt x="126" y="390"/>
                  </a:lnTo>
                  <a:lnTo>
                    <a:pt x="124" y="388"/>
                  </a:lnTo>
                  <a:lnTo>
                    <a:pt x="122" y="386"/>
                  </a:lnTo>
                  <a:lnTo>
                    <a:pt x="120" y="388"/>
                  </a:lnTo>
                  <a:lnTo>
                    <a:pt x="114" y="380"/>
                  </a:lnTo>
                  <a:lnTo>
                    <a:pt x="112" y="378"/>
                  </a:lnTo>
                  <a:lnTo>
                    <a:pt x="114" y="376"/>
                  </a:lnTo>
                  <a:lnTo>
                    <a:pt x="118" y="376"/>
                  </a:lnTo>
                  <a:lnTo>
                    <a:pt x="118" y="374"/>
                  </a:lnTo>
                  <a:lnTo>
                    <a:pt x="118" y="372"/>
                  </a:lnTo>
                  <a:lnTo>
                    <a:pt x="116" y="372"/>
                  </a:lnTo>
                  <a:lnTo>
                    <a:pt x="114" y="372"/>
                  </a:lnTo>
                  <a:lnTo>
                    <a:pt x="112" y="372"/>
                  </a:lnTo>
                  <a:lnTo>
                    <a:pt x="110" y="372"/>
                  </a:lnTo>
                  <a:lnTo>
                    <a:pt x="110" y="374"/>
                  </a:lnTo>
                  <a:lnTo>
                    <a:pt x="106" y="370"/>
                  </a:lnTo>
                  <a:lnTo>
                    <a:pt x="104" y="364"/>
                  </a:lnTo>
                  <a:lnTo>
                    <a:pt x="98" y="362"/>
                  </a:lnTo>
                  <a:lnTo>
                    <a:pt x="94" y="364"/>
                  </a:lnTo>
                  <a:lnTo>
                    <a:pt x="98" y="366"/>
                  </a:lnTo>
                  <a:lnTo>
                    <a:pt x="100" y="368"/>
                  </a:lnTo>
                  <a:lnTo>
                    <a:pt x="98" y="370"/>
                  </a:lnTo>
                  <a:lnTo>
                    <a:pt x="94" y="368"/>
                  </a:lnTo>
                  <a:lnTo>
                    <a:pt x="94" y="370"/>
                  </a:lnTo>
                  <a:lnTo>
                    <a:pt x="96" y="374"/>
                  </a:lnTo>
                  <a:lnTo>
                    <a:pt x="94" y="376"/>
                  </a:lnTo>
                  <a:lnTo>
                    <a:pt x="92" y="372"/>
                  </a:lnTo>
                  <a:lnTo>
                    <a:pt x="88" y="368"/>
                  </a:lnTo>
                  <a:lnTo>
                    <a:pt x="86" y="368"/>
                  </a:lnTo>
                  <a:lnTo>
                    <a:pt x="86" y="366"/>
                  </a:lnTo>
                  <a:lnTo>
                    <a:pt x="84" y="366"/>
                  </a:lnTo>
                  <a:lnTo>
                    <a:pt x="82" y="366"/>
                  </a:lnTo>
                  <a:lnTo>
                    <a:pt x="82" y="368"/>
                  </a:lnTo>
                  <a:lnTo>
                    <a:pt x="80" y="370"/>
                  </a:lnTo>
                  <a:lnTo>
                    <a:pt x="78" y="370"/>
                  </a:lnTo>
                  <a:lnTo>
                    <a:pt x="76" y="370"/>
                  </a:lnTo>
                  <a:lnTo>
                    <a:pt x="72" y="374"/>
                  </a:lnTo>
                  <a:lnTo>
                    <a:pt x="68" y="370"/>
                  </a:lnTo>
                  <a:lnTo>
                    <a:pt x="64" y="372"/>
                  </a:lnTo>
                  <a:lnTo>
                    <a:pt x="62" y="370"/>
                  </a:lnTo>
                  <a:lnTo>
                    <a:pt x="58" y="368"/>
                  </a:lnTo>
                  <a:lnTo>
                    <a:pt x="58" y="370"/>
                  </a:lnTo>
                  <a:lnTo>
                    <a:pt x="60" y="370"/>
                  </a:lnTo>
                  <a:lnTo>
                    <a:pt x="60" y="372"/>
                  </a:lnTo>
                  <a:lnTo>
                    <a:pt x="62" y="374"/>
                  </a:lnTo>
                  <a:lnTo>
                    <a:pt x="62" y="376"/>
                  </a:lnTo>
                  <a:lnTo>
                    <a:pt x="66" y="382"/>
                  </a:lnTo>
                  <a:lnTo>
                    <a:pt x="84" y="398"/>
                  </a:lnTo>
                  <a:lnTo>
                    <a:pt x="104" y="412"/>
                  </a:lnTo>
                  <a:lnTo>
                    <a:pt x="106" y="412"/>
                  </a:lnTo>
                  <a:lnTo>
                    <a:pt x="106" y="410"/>
                  </a:lnTo>
                  <a:lnTo>
                    <a:pt x="112" y="414"/>
                  </a:lnTo>
                  <a:lnTo>
                    <a:pt x="120" y="414"/>
                  </a:lnTo>
                  <a:lnTo>
                    <a:pt x="124" y="420"/>
                  </a:lnTo>
                  <a:lnTo>
                    <a:pt x="132" y="424"/>
                  </a:lnTo>
                  <a:lnTo>
                    <a:pt x="138" y="426"/>
                  </a:lnTo>
                  <a:lnTo>
                    <a:pt x="142" y="430"/>
                  </a:lnTo>
                  <a:lnTo>
                    <a:pt x="148" y="432"/>
                  </a:lnTo>
                  <a:lnTo>
                    <a:pt x="148" y="434"/>
                  </a:lnTo>
                  <a:lnTo>
                    <a:pt x="154" y="434"/>
                  </a:lnTo>
                  <a:lnTo>
                    <a:pt x="156" y="434"/>
                  </a:lnTo>
                  <a:lnTo>
                    <a:pt x="160" y="436"/>
                  </a:lnTo>
                  <a:lnTo>
                    <a:pt x="176" y="440"/>
                  </a:lnTo>
                  <a:lnTo>
                    <a:pt x="176" y="438"/>
                  </a:lnTo>
                  <a:lnTo>
                    <a:pt x="174" y="438"/>
                  </a:lnTo>
                  <a:lnTo>
                    <a:pt x="172" y="436"/>
                  </a:lnTo>
                  <a:lnTo>
                    <a:pt x="174" y="436"/>
                  </a:lnTo>
                  <a:lnTo>
                    <a:pt x="174" y="438"/>
                  </a:lnTo>
                  <a:lnTo>
                    <a:pt x="176" y="438"/>
                  </a:lnTo>
                  <a:lnTo>
                    <a:pt x="178" y="436"/>
                  </a:lnTo>
                  <a:lnTo>
                    <a:pt x="180" y="434"/>
                  </a:lnTo>
                  <a:lnTo>
                    <a:pt x="182" y="432"/>
                  </a:lnTo>
                  <a:lnTo>
                    <a:pt x="184" y="430"/>
                  </a:lnTo>
                  <a:lnTo>
                    <a:pt x="186" y="428"/>
                  </a:lnTo>
                  <a:lnTo>
                    <a:pt x="184" y="426"/>
                  </a:lnTo>
                  <a:lnTo>
                    <a:pt x="182" y="426"/>
                  </a:lnTo>
                  <a:close/>
                  <a:moveTo>
                    <a:pt x="202" y="138"/>
                  </a:moveTo>
                  <a:lnTo>
                    <a:pt x="202" y="138"/>
                  </a:lnTo>
                  <a:lnTo>
                    <a:pt x="202" y="140"/>
                  </a:lnTo>
                  <a:lnTo>
                    <a:pt x="204" y="140"/>
                  </a:lnTo>
                  <a:lnTo>
                    <a:pt x="206" y="140"/>
                  </a:lnTo>
                  <a:lnTo>
                    <a:pt x="206" y="138"/>
                  </a:lnTo>
                  <a:lnTo>
                    <a:pt x="204" y="138"/>
                  </a:lnTo>
                  <a:lnTo>
                    <a:pt x="202" y="138"/>
                  </a:lnTo>
                  <a:close/>
                  <a:moveTo>
                    <a:pt x="208" y="140"/>
                  </a:moveTo>
                  <a:lnTo>
                    <a:pt x="208" y="140"/>
                  </a:lnTo>
                  <a:lnTo>
                    <a:pt x="210" y="140"/>
                  </a:lnTo>
                  <a:lnTo>
                    <a:pt x="208" y="140"/>
                  </a:lnTo>
                  <a:close/>
                  <a:moveTo>
                    <a:pt x="192" y="128"/>
                  </a:moveTo>
                  <a:lnTo>
                    <a:pt x="192" y="128"/>
                  </a:lnTo>
                  <a:lnTo>
                    <a:pt x="192" y="130"/>
                  </a:lnTo>
                  <a:lnTo>
                    <a:pt x="194" y="130"/>
                  </a:lnTo>
                  <a:lnTo>
                    <a:pt x="194" y="128"/>
                  </a:lnTo>
                  <a:lnTo>
                    <a:pt x="192" y="128"/>
                  </a:lnTo>
                  <a:close/>
                  <a:moveTo>
                    <a:pt x="214" y="140"/>
                  </a:moveTo>
                  <a:lnTo>
                    <a:pt x="214" y="140"/>
                  </a:lnTo>
                  <a:close/>
                  <a:moveTo>
                    <a:pt x="218" y="136"/>
                  </a:moveTo>
                  <a:lnTo>
                    <a:pt x="216" y="136"/>
                  </a:lnTo>
                  <a:lnTo>
                    <a:pt x="216" y="138"/>
                  </a:lnTo>
                  <a:lnTo>
                    <a:pt x="218" y="138"/>
                  </a:lnTo>
                  <a:lnTo>
                    <a:pt x="220" y="138"/>
                  </a:lnTo>
                  <a:lnTo>
                    <a:pt x="220" y="136"/>
                  </a:lnTo>
                  <a:lnTo>
                    <a:pt x="218" y="136"/>
                  </a:lnTo>
                  <a:close/>
                  <a:moveTo>
                    <a:pt x="98" y="326"/>
                  </a:moveTo>
                  <a:lnTo>
                    <a:pt x="96" y="324"/>
                  </a:lnTo>
                  <a:lnTo>
                    <a:pt x="94" y="326"/>
                  </a:lnTo>
                  <a:lnTo>
                    <a:pt x="96" y="328"/>
                  </a:lnTo>
                  <a:lnTo>
                    <a:pt x="94" y="330"/>
                  </a:lnTo>
                  <a:lnTo>
                    <a:pt x="96" y="332"/>
                  </a:lnTo>
                  <a:lnTo>
                    <a:pt x="98" y="334"/>
                  </a:lnTo>
                  <a:lnTo>
                    <a:pt x="96" y="338"/>
                  </a:lnTo>
                  <a:lnTo>
                    <a:pt x="98" y="338"/>
                  </a:lnTo>
                  <a:lnTo>
                    <a:pt x="98" y="336"/>
                  </a:lnTo>
                  <a:lnTo>
                    <a:pt x="98" y="334"/>
                  </a:lnTo>
                  <a:lnTo>
                    <a:pt x="100" y="334"/>
                  </a:lnTo>
                  <a:lnTo>
                    <a:pt x="100" y="336"/>
                  </a:lnTo>
                  <a:lnTo>
                    <a:pt x="100" y="338"/>
                  </a:lnTo>
                  <a:lnTo>
                    <a:pt x="102" y="336"/>
                  </a:lnTo>
                  <a:lnTo>
                    <a:pt x="102" y="338"/>
                  </a:lnTo>
                  <a:lnTo>
                    <a:pt x="104" y="338"/>
                  </a:lnTo>
                  <a:lnTo>
                    <a:pt x="106" y="338"/>
                  </a:lnTo>
                  <a:lnTo>
                    <a:pt x="104" y="336"/>
                  </a:lnTo>
                  <a:lnTo>
                    <a:pt x="104" y="334"/>
                  </a:lnTo>
                  <a:lnTo>
                    <a:pt x="104" y="332"/>
                  </a:lnTo>
                  <a:lnTo>
                    <a:pt x="104" y="330"/>
                  </a:lnTo>
                  <a:lnTo>
                    <a:pt x="102" y="328"/>
                  </a:lnTo>
                  <a:lnTo>
                    <a:pt x="98" y="330"/>
                  </a:lnTo>
                  <a:lnTo>
                    <a:pt x="98" y="328"/>
                  </a:lnTo>
                  <a:lnTo>
                    <a:pt x="98" y="326"/>
                  </a:lnTo>
                  <a:close/>
                  <a:moveTo>
                    <a:pt x="96" y="338"/>
                  </a:moveTo>
                  <a:lnTo>
                    <a:pt x="96" y="338"/>
                  </a:lnTo>
                  <a:close/>
                  <a:moveTo>
                    <a:pt x="80" y="286"/>
                  </a:moveTo>
                  <a:lnTo>
                    <a:pt x="80" y="284"/>
                  </a:lnTo>
                  <a:lnTo>
                    <a:pt x="78" y="284"/>
                  </a:lnTo>
                  <a:lnTo>
                    <a:pt x="76" y="284"/>
                  </a:lnTo>
                  <a:lnTo>
                    <a:pt x="76" y="286"/>
                  </a:lnTo>
                  <a:lnTo>
                    <a:pt x="74" y="286"/>
                  </a:lnTo>
                  <a:lnTo>
                    <a:pt x="72" y="286"/>
                  </a:lnTo>
                  <a:lnTo>
                    <a:pt x="70" y="288"/>
                  </a:lnTo>
                  <a:lnTo>
                    <a:pt x="68" y="288"/>
                  </a:lnTo>
                  <a:lnTo>
                    <a:pt x="66" y="290"/>
                  </a:lnTo>
                  <a:lnTo>
                    <a:pt x="66" y="292"/>
                  </a:lnTo>
                  <a:lnTo>
                    <a:pt x="68" y="294"/>
                  </a:lnTo>
                  <a:lnTo>
                    <a:pt x="70" y="292"/>
                  </a:lnTo>
                  <a:lnTo>
                    <a:pt x="72" y="292"/>
                  </a:lnTo>
                  <a:lnTo>
                    <a:pt x="70" y="296"/>
                  </a:lnTo>
                  <a:lnTo>
                    <a:pt x="72" y="296"/>
                  </a:lnTo>
                  <a:lnTo>
                    <a:pt x="74" y="296"/>
                  </a:lnTo>
                  <a:lnTo>
                    <a:pt x="74" y="298"/>
                  </a:lnTo>
                  <a:lnTo>
                    <a:pt x="72" y="300"/>
                  </a:lnTo>
                  <a:lnTo>
                    <a:pt x="72" y="302"/>
                  </a:lnTo>
                  <a:lnTo>
                    <a:pt x="74" y="300"/>
                  </a:lnTo>
                  <a:lnTo>
                    <a:pt x="76" y="300"/>
                  </a:lnTo>
                  <a:lnTo>
                    <a:pt x="82" y="298"/>
                  </a:lnTo>
                  <a:lnTo>
                    <a:pt x="82" y="296"/>
                  </a:lnTo>
                  <a:lnTo>
                    <a:pt x="82" y="294"/>
                  </a:lnTo>
                  <a:lnTo>
                    <a:pt x="84" y="292"/>
                  </a:lnTo>
                  <a:lnTo>
                    <a:pt x="84" y="290"/>
                  </a:lnTo>
                  <a:lnTo>
                    <a:pt x="82" y="290"/>
                  </a:lnTo>
                  <a:lnTo>
                    <a:pt x="80" y="288"/>
                  </a:lnTo>
                  <a:lnTo>
                    <a:pt x="80" y="286"/>
                  </a:lnTo>
                  <a:close/>
                  <a:moveTo>
                    <a:pt x="166" y="170"/>
                  </a:moveTo>
                  <a:lnTo>
                    <a:pt x="166" y="170"/>
                  </a:lnTo>
                  <a:lnTo>
                    <a:pt x="166" y="164"/>
                  </a:lnTo>
                  <a:lnTo>
                    <a:pt x="164" y="164"/>
                  </a:lnTo>
                  <a:lnTo>
                    <a:pt x="164" y="168"/>
                  </a:lnTo>
                  <a:lnTo>
                    <a:pt x="164" y="170"/>
                  </a:lnTo>
                  <a:lnTo>
                    <a:pt x="166" y="170"/>
                  </a:lnTo>
                  <a:close/>
                  <a:moveTo>
                    <a:pt x="222" y="98"/>
                  </a:moveTo>
                  <a:lnTo>
                    <a:pt x="222" y="98"/>
                  </a:lnTo>
                  <a:lnTo>
                    <a:pt x="220" y="98"/>
                  </a:lnTo>
                  <a:lnTo>
                    <a:pt x="222" y="98"/>
                  </a:lnTo>
                  <a:close/>
                  <a:moveTo>
                    <a:pt x="226" y="86"/>
                  </a:moveTo>
                  <a:lnTo>
                    <a:pt x="226" y="88"/>
                  </a:lnTo>
                  <a:lnTo>
                    <a:pt x="228" y="88"/>
                  </a:lnTo>
                  <a:lnTo>
                    <a:pt x="228" y="86"/>
                  </a:lnTo>
                  <a:lnTo>
                    <a:pt x="226" y="86"/>
                  </a:lnTo>
                  <a:close/>
                  <a:moveTo>
                    <a:pt x="212" y="82"/>
                  </a:moveTo>
                  <a:lnTo>
                    <a:pt x="212" y="82"/>
                  </a:lnTo>
                  <a:lnTo>
                    <a:pt x="214" y="82"/>
                  </a:lnTo>
                  <a:lnTo>
                    <a:pt x="214" y="80"/>
                  </a:lnTo>
                  <a:lnTo>
                    <a:pt x="208" y="80"/>
                  </a:lnTo>
                  <a:lnTo>
                    <a:pt x="208" y="82"/>
                  </a:lnTo>
                  <a:lnTo>
                    <a:pt x="212" y="82"/>
                  </a:lnTo>
                  <a:close/>
                  <a:moveTo>
                    <a:pt x="230" y="264"/>
                  </a:moveTo>
                  <a:lnTo>
                    <a:pt x="228" y="264"/>
                  </a:lnTo>
                  <a:lnTo>
                    <a:pt x="228" y="266"/>
                  </a:lnTo>
                  <a:lnTo>
                    <a:pt x="230" y="266"/>
                  </a:lnTo>
                  <a:lnTo>
                    <a:pt x="230" y="264"/>
                  </a:lnTo>
                  <a:close/>
                </a:path>
              </a:pathLst>
            </a:custGeom>
            <a:gradFill flip="none" rotWithShape="1">
              <a:gsLst>
                <a:gs pos="50000">
                  <a:schemeClr val="bg1">
                    <a:lumMod val="95000"/>
                  </a:schemeClr>
                </a:gs>
                <a:gs pos="68000">
                  <a:schemeClr val="tx1">
                    <a:lumMod val="50000"/>
                    <a:lumOff val="50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  <a:gs pos="38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defTabSz="457200"/>
              <a:endParaRPr lang="en-US" u="sng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2304" name="Ellipse 45"/>
            <p:cNvSpPr>
              <a:spLocks noChangeArrowheads="1"/>
            </p:cNvSpPr>
            <p:nvPr/>
          </p:nvSpPr>
          <p:spPr bwMode="auto">
            <a:xfrm rot="21374326" flipH="1">
              <a:off x="5769184" y="3238311"/>
              <a:ext cx="2742413" cy="2244215"/>
            </a:xfrm>
            <a:prstGeom prst="ellipse">
              <a:avLst/>
            </a:prstGeom>
            <a:gradFill rotWithShape="1">
              <a:gsLst>
                <a:gs pos="0">
                  <a:srgbClr val="FFFCF9">
                    <a:alpha val="76999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5400000"/>
            </a:gradFill>
            <a:ln w="9525">
              <a:noFill/>
              <a:round/>
              <a:headEnd/>
              <a:tailEnd/>
            </a:ln>
            <a:effectLst>
              <a:softEdge rad="50800"/>
            </a:effectLst>
          </p:spPr>
          <p:txBody>
            <a:bodyPr anchor="ctr"/>
            <a:lstStyle/>
            <a:p>
              <a:pPr algn="ctr" defTabSz="457200"/>
              <a:endParaRPr lang="en-US" u="sng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sp>
        <p:nvSpPr>
          <p:cNvPr id="29" name="Freeform 28"/>
          <p:cNvSpPr/>
          <p:nvPr/>
        </p:nvSpPr>
        <p:spPr>
          <a:xfrm rot="19772096">
            <a:off x="2811463" y="5006975"/>
            <a:ext cx="7045325" cy="879475"/>
          </a:xfrm>
          <a:custGeom>
            <a:avLst/>
            <a:gdLst>
              <a:gd name="connsiteX0" fmla="*/ 0 w 3657600"/>
              <a:gd name="connsiteY0" fmla="*/ 0 h 838200"/>
              <a:gd name="connsiteX1" fmla="*/ 3657600 w 3657600"/>
              <a:gd name="connsiteY1" fmla="*/ 0 h 838200"/>
              <a:gd name="connsiteX2" fmla="*/ 3657600 w 3657600"/>
              <a:gd name="connsiteY2" fmla="*/ 838200 h 838200"/>
              <a:gd name="connsiteX3" fmla="*/ 0 w 3657600"/>
              <a:gd name="connsiteY3" fmla="*/ 838200 h 838200"/>
              <a:gd name="connsiteX4" fmla="*/ 0 w 3657600"/>
              <a:gd name="connsiteY4" fmla="*/ 0 h 838200"/>
              <a:gd name="connsiteX0" fmla="*/ 0 w 4555925"/>
              <a:gd name="connsiteY0" fmla="*/ 5252 h 843452"/>
              <a:gd name="connsiteX1" fmla="*/ 3657600 w 4555925"/>
              <a:gd name="connsiteY1" fmla="*/ 5252 h 843452"/>
              <a:gd name="connsiteX2" fmla="*/ 4555925 w 4555925"/>
              <a:gd name="connsiteY2" fmla="*/ 0 h 843452"/>
              <a:gd name="connsiteX3" fmla="*/ 3657600 w 4555925"/>
              <a:gd name="connsiteY3" fmla="*/ 843452 h 843452"/>
              <a:gd name="connsiteX4" fmla="*/ 0 w 4555925"/>
              <a:gd name="connsiteY4" fmla="*/ 843452 h 843452"/>
              <a:gd name="connsiteX5" fmla="*/ 0 w 4555925"/>
              <a:gd name="connsiteY5" fmla="*/ 5252 h 843452"/>
              <a:gd name="connsiteX0" fmla="*/ 0 w 5355596"/>
              <a:gd name="connsiteY0" fmla="*/ 0 h 844682"/>
              <a:gd name="connsiteX1" fmla="*/ 4457271 w 5355596"/>
              <a:gd name="connsiteY1" fmla="*/ 6482 h 844682"/>
              <a:gd name="connsiteX2" fmla="*/ 5355596 w 5355596"/>
              <a:gd name="connsiteY2" fmla="*/ 1230 h 844682"/>
              <a:gd name="connsiteX3" fmla="*/ 4457271 w 5355596"/>
              <a:gd name="connsiteY3" fmla="*/ 844682 h 844682"/>
              <a:gd name="connsiteX4" fmla="*/ 799671 w 5355596"/>
              <a:gd name="connsiteY4" fmla="*/ 844682 h 844682"/>
              <a:gd name="connsiteX5" fmla="*/ 0 w 5355596"/>
              <a:gd name="connsiteY5" fmla="*/ 0 h 844682"/>
              <a:gd name="connsiteX0" fmla="*/ 0 w 5645357"/>
              <a:gd name="connsiteY0" fmla="*/ 0 h 844682"/>
              <a:gd name="connsiteX1" fmla="*/ 4457271 w 5645357"/>
              <a:gd name="connsiteY1" fmla="*/ 6482 h 844682"/>
              <a:gd name="connsiteX2" fmla="*/ 5645357 w 5645357"/>
              <a:gd name="connsiteY2" fmla="*/ 9599 h 844682"/>
              <a:gd name="connsiteX3" fmla="*/ 4457271 w 5645357"/>
              <a:gd name="connsiteY3" fmla="*/ 844682 h 844682"/>
              <a:gd name="connsiteX4" fmla="*/ 799671 w 5645357"/>
              <a:gd name="connsiteY4" fmla="*/ 844682 h 844682"/>
              <a:gd name="connsiteX5" fmla="*/ 0 w 5645357"/>
              <a:gd name="connsiteY5" fmla="*/ 0 h 844682"/>
              <a:gd name="connsiteX0" fmla="*/ 0 w 5645357"/>
              <a:gd name="connsiteY0" fmla="*/ 0 h 880092"/>
              <a:gd name="connsiteX1" fmla="*/ 4457271 w 5645357"/>
              <a:gd name="connsiteY1" fmla="*/ 6482 h 880092"/>
              <a:gd name="connsiteX2" fmla="*/ 5645357 w 5645357"/>
              <a:gd name="connsiteY2" fmla="*/ 9599 h 880092"/>
              <a:gd name="connsiteX3" fmla="*/ 5143685 w 5645357"/>
              <a:gd name="connsiteY3" fmla="*/ 880092 h 880092"/>
              <a:gd name="connsiteX4" fmla="*/ 799671 w 5645357"/>
              <a:gd name="connsiteY4" fmla="*/ 844682 h 880092"/>
              <a:gd name="connsiteX5" fmla="*/ 0 w 5645357"/>
              <a:gd name="connsiteY5" fmla="*/ 0 h 880092"/>
              <a:gd name="connsiteX0" fmla="*/ 0 w 5645357"/>
              <a:gd name="connsiteY0" fmla="*/ 0 h 880092"/>
              <a:gd name="connsiteX1" fmla="*/ 4457271 w 5645357"/>
              <a:gd name="connsiteY1" fmla="*/ 6482 h 880092"/>
              <a:gd name="connsiteX2" fmla="*/ 5645357 w 5645357"/>
              <a:gd name="connsiteY2" fmla="*/ 9599 h 880092"/>
              <a:gd name="connsiteX3" fmla="*/ 5143685 w 5645357"/>
              <a:gd name="connsiteY3" fmla="*/ 880092 h 880092"/>
              <a:gd name="connsiteX4" fmla="*/ 799671 w 5645357"/>
              <a:gd name="connsiteY4" fmla="*/ 844682 h 880092"/>
              <a:gd name="connsiteX5" fmla="*/ 19645 w 5645357"/>
              <a:gd name="connsiteY5" fmla="*/ 841504 h 880092"/>
              <a:gd name="connsiteX6" fmla="*/ 0 w 5645357"/>
              <a:gd name="connsiteY6" fmla="*/ 0 h 880092"/>
              <a:gd name="connsiteX0" fmla="*/ 0 w 7045873"/>
              <a:gd name="connsiteY0" fmla="*/ 0 h 878792"/>
              <a:gd name="connsiteX1" fmla="*/ 5857787 w 7045873"/>
              <a:gd name="connsiteY1" fmla="*/ 5182 h 878792"/>
              <a:gd name="connsiteX2" fmla="*/ 7045873 w 7045873"/>
              <a:gd name="connsiteY2" fmla="*/ 8299 h 878792"/>
              <a:gd name="connsiteX3" fmla="*/ 6544201 w 7045873"/>
              <a:gd name="connsiteY3" fmla="*/ 878792 h 878792"/>
              <a:gd name="connsiteX4" fmla="*/ 2200187 w 7045873"/>
              <a:gd name="connsiteY4" fmla="*/ 843382 h 878792"/>
              <a:gd name="connsiteX5" fmla="*/ 1420161 w 7045873"/>
              <a:gd name="connsiteY5" fmla="*/ 840204 h 878792"/>
              <a:gd name="connsiteX6" fmla="*/ 0 w 7045873"/>
              <a:gd name="connsiteY6" fmla="*/ 0 h 878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45873" h="878792">
                <a:moveTo>
                  <a:pt x="0" y="0"/>
                </a:moveTo>
                <a:lnTo>
                  <a:pt x="5857787" y="5182"/>
                </a:lnTo>
                <a:lnTo>
                  <a:pt x="7045873" y="8299"/>
                </a:lnTo>
                <a:lnTo>
                  <a:pt x="6544201" y="878792"/>
                </a:lnTo>
                <a:lnTo>
                  <a:pt x="2200187" y="843382"/>
                </a:lnTo>
                <a:lnTo>
                  <a:pt x="1420161" y="840204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nb-NO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8197" name="TextBox 2"/>
          <p:cNvSpPr txBox="1">
            <a:spLocks noChangeArrowheads="1"/>
          </p:cNvSpPr>
          <p:nvPr/>
        </p:nvSpPr>
        <p:spPr bwMode="auto">
          <a:xfrm rot="1093535">
            <a:off x="1508125" y="511175"/>
            <a:ext cx="2760663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000" b="1">
                <a:solidFill>
                  <a:srgbClr val="1F88C8"/>
                </a:solidFill>
                <a:latin typeface="Handwriting - Dakota" pitchFamily="-109" charset="0"/>
              </a:rPr>
              <a:t>PowerPoint</a:t>
            </a:r>
          </a:p>
        </p:txBody>
      </p:sp>
      <p:sp>
        <p:nvSpPr>
          <p:cNvPr id="8198" name="TextBox 54"/>
          <p:cNvSpPr txBox="1">
            <a:spLocks noChangeArrowheads="1"/>
          </p:cNvSpPr>
          <p:nvPr/>
        </p:nvSpPr>
        <p:spPr bwMode="auto">
          <a:xfrm>
            <a:off x="314325" y="822325"/>
            <a:ext cx="728027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nb-NO" sz="2400" b="1" dirty="0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A WHOLE NEW WORLD </a:t>
            </a:r>
            <a:r>
              <a:rPr lang="nb-NO" sz="1500" b="1" dirty="0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 </a:t>
            </a:r>
          </a:p>
        </p:txBody>
      </p:sp>
      <p:sp>
        <p:nvSpPr>
          <p:cNvPr id="23" name="Freeform 22"/>
          <p:cNvSpPr/>
          <p:nvPr/>
        </p:nvSpPr>
        <p:spPr>
          <a:xfrm flipV="1">
            <a:off x="2273300" y="725488"/>
            <a:ext cx="114300" cy="201612"/>
          </a:xfrm>
          <a:custGeom>
            <a:avLst/>
            <a:gdLst>
              <a:gd name="connsiteX0" fmla="*/ 0 w 495300"/>
              <a:gd name="connsiteY0" fmla="*/ 569383 h 569383"/>
              <a:gd name="connsiteX1" fmla="*/ 304800 w 495300"/>
              <a:gd name="connsiteY1" fmla="*/ 10583 h 569383"/>
              <a:gd name="connsiteX2" fmla="*/ 495300 w 495300"/>
              <a:gd name="connsiteY2" fmla="*/ 505883 h 569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5300" h="569383">
                <a:moveTo>
                  <a:pt x="0" y="569383"/>
                </a:moveTo>
                <a:cubicBezTo>
                  <a:pt x="111125" y="295274"/>
                  <a:pt x="222250" y="21166"/>
                  <a:pt x="304800" y="10583"/>
                </a:cubicBezTo>
                <a:cubicBezTo>
                  <a:pt x="387350" y="0"/>
                  <a:pt x="336550" y="533400"/>
                  <a:pt x="495300" y="505883"/>
                </a:cubicBezTo>
              </a:path>
            </a:pathLst>
          </a:custGeom>
          <a:ln>
            <a:solidFill>
              <a:srgbClr val="1F88C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/>
            <a:endParaRPr lang="nb-NO">
              <a:ea typeface="MS PGothic" pitchFamily="34" charset="-128"/>
            </a:endParaRPr>
          </a:p>
        </p:txBody>
      </p:sp>
      <p:sp>
        <p:nvSpPr>
          <p:cNvPr id="27" name="Freeform 26"/>
          <p:cNvSpPr/>
          <p:nvPr/>
        </p:nvSpPr>
        <p:spPr>
          <a:xfrm rot="19772096">
            <a:off x="2755443" y="4982217"/>
            <a:ext cx="7141343" cy="887163"/>
          </a:xfrm>
          <a:custGeom>
            <a:avLst/>
            <a:gdLst>
              <a:gd name="connsiteX0" fmla="*/ 0 w 3657600"/>
              <a:gd name="connsiteY0" fmla="*/ 0 h 838200"/>
              <a:gd name="connsiteX1" fmla="*/ 3657600 w 3657600"/>
              <a:gd name="connsiteY1" fmla="*/ 0 h 838200"/>
              <a:gd name="connsiteX2" fmla="*/ 3657600 w 3657600"/>
              <a:gd name="connsiteY2" fmla="*/ 838200 h 838200"/>
              <a:gd name="connsiteX3" fmla="*/ 0 w 3657600"/>
              <a:gd name="connsiteY3" fmla="*/ 838200 h 838200"/>
              <a:gd name="connsiteX4" fmla="*/ 0 w 3657600"/>
              <a:gd name="connsiteY4" fmla="*/ 0 h 838200"/>
              <a:gd name="connsiteX0" fmla="*/ 0 w 4555925"/>
              <a:gd name="connsiteY0" fmla="*/ 5252 h 843452"/>
              <a:gd name="connsiteX1" fmla="*/ 3657600 w 4555925"/>
              <a:gd name="connsiteY1" fmla="*/ 5252 h 843452"/>
              <a:gd name="connsiteX2" fmla="*/ 4555925 w 4555925"/>
              <a:gd name="connsiteY2" fmla="*/ 0 h 843452"/>
              <a:gd name="connsiteX3" fmla="*/ 3657600 w 4555925"/>
              <a:gd name="connsiteY3" fmla="*/ 843452 h 843452"/>
              <a:gd name="connsiteX4" fmla="*/ 0 w 4555925"/>
              <a:gd name="connsiteY4" fmla="*/ 843452 h 843452"/>
              <a:gd name="connsiteX5" fmla="*/ 0 w 4555925"/>
              <a:gd name="connsiteY5" fmla="*/ 5252 h 843452"/>
              <a:gd name="connsiteX0" fmla="*/ 0 w 5355596"/>
              <a:gd name="connsiteY0" fmla="*/ 0 h 844682"/>
              <a:gd name="connsiteX1" fmla="*/ 4457271 w 5355596"/>
              <a:gd name="connsiteY1" fmla="*/ 6482 h 844682"/>
              <a:gd name="connsiteX2" fmla="*/ 5355596 w 5355596"/>
              <a:gd name="connsiteY2" fmla="*/ 1230 h 844682"/>
              <a:gd name="connsiteX3" fmla="*/ 4457271 w 5355596"/>
              <a:gd name="connsiteY3" fmla="*/ 844682 h 844682"/>
              <a:gd name="connsiteX4" fmla="*/ 799671 w 5355596"/>
              <a:gd name="connsiteY4" fmla="*/ 844682 h 844682"/>
              <a:gd name="connsiteX5" fmla="*/ 0 w 5355596"/>
              <a:gd name="connsiteY5" fmla="*/ 0 h 844682"/>
              <a:gd name="connsiteX0" fmla="*/ 0 w 5679655"/>
              <a:gd name="connsiteY0" fmla="*/ 13663 h 858345"/>
              <a:gd name="connsiteX1" fmla="*/ 4457271 w 5679655"/>
              <a:gd name="connsiteY1" fmla="*/ 20145 h 858345"/>
              <a:gd name="connsiteX2" fmla="*/ 5355596 w 5679655"/>
              <a:gd name="connsiteY2" fmla="*/ 14893 h 858345"/>
              <a:gd name="connsiteX3" fmla="*/ 5679655 w 5679655"/>
              <a:gd name="connsiteY3" fmla="*/ 0 h 858345"/>
              <a:gd name="connsiteX4" fmla="*/ 4457271 w 5679655"/>
              <a:gd name="connsiteY4" fmla="*/ 858345 h 858345"/>
              <a:gd name="connsiteX5" fmla="*/ 799671 w 5679655"/>
              <a:gd name="connsiteY5" fmla="*/ 858345 h 858345"/>
              <a:gd name="connsiteX6" fmla="*/ 0 w 5679655"/>
              <a:gd name="connsiteY6" fmla="*/ 13663 h 858345"/>
              <a:gd name="connsiteX0" fmla="*/ 0 w 5679655"/>
              <a:gd name="connsiteY0" fmla="*/ 13663 h 880877"/>
              <a:gd name="connsiteX1" fmla="*/ 4457271 w 5679655"/>
              <a:gd name="connsiteY1" fmla="*/ 20145 h 880877"/>
              <a:gd name="connsiteX2" fmla="*/ 5355596 w 5679655"/>
              <a:gd name="connsiteY2" fmla="*/ 14893 h 880877"/>
              <a:gd name="connsiteX3" fmla="*/ 5679655 w 5679655"/>
              <a:gd name="connsiteY3" fmla="*/ 0 h 880877"/>
              <a:gd name="connsiteX4" fmla="*/ 5121793 w 5679655"/>
              <a:gd name="connsiteY4" fmla="*/ 880877 h 880877"/>
              <a:gd name="connsiteX5" fmla="*/ 799671 w 5679655"/>
              <a:gd name="connsiteY5" fmla="*/ 858345 h 880877"/>
              <a:gd name="connsiteX6" fmla="*/ 0 w 5679655"/>
              <a:gd name="connsiteY6" fmla="*/ 13663 h 880877"/>
              <a:gd name="connsiteX0" fmla="*/ 0 w 7141343"/>
              <a:gd name="connsiteY0" fmla="*/ 0 h 887163"/>
              <a:gd name="connsiteX1" fmla="*/ 5918959 w 7141343"/>
              <a:gd name="connsiteY1" fmla="*/ 26431 h 887163"/>
              <a:gd name="connsiteX2" fmla="*/ 6817284 w 7141343"/>
              <a:gd name="connsiteY2" fmla="*/ 21179 h 887163"/>
              <a:gd name="connsiteX3" fmla="*/ 7141343 w 7141343"/>
              <a:gd name="connsiteY3" fmla="*/ 6286 h 887163"/>
              <a:gd name="connsiteX4" fmla="*/ 6583481 w 7141343"/>
              <a:gd name="connsiteY4" fmla="*/ 887163 h 887163"/>
              <a:gd name="connsiteX5" fmla="*/ 2261359 w 7141343"/>
              <a:gd name="connsiteY5" fmla="*/ 864631 h 887163"/>
              <a:gd name="connsiteX6" fmla="*/ 0 w 7141343"/>
              <a:gd name="connsiteY6" fmla="*/ 0 h 887163"/>
              <a:gd name="connsiteX0" fmla="*/ 0 w 7141343"/>
              <a:gd name="connsiteY0" fmla="*/ 0 h 887163"/>
              <a:gd name="connsiteX1" fmla="*/ 5918959 w 7141343"/>
              <a:gd name="connsiteY1" fmla="*/ 26431 h 887163"/>
              <a:gd name="connsiteX2" fmla="*/ 6817284 w 7141343"/>
              <a:gd name="connsiteY2" fmla="*/ 21179 h 887163"/>
              <a:gd name="connsiteX3" fmla="*/ 7141343 w 7141343"/>
              <a:gd name="connsiteY3" fmla="*/ 6286 h 887163"/>
              <a:gd name="connsiteX4" fmla="*/ 6583481 w 7141343"/>
              <a:gd name="connsiteY4" fmla="*/ 887163 h 887163"/>
              <a:gd name="connsiteX5" fmla="*/ 1457752 w 7141343"/>
              <a:gd name="connsiteY5" fmla="*/ 878160 h 887163"/>
              <a:gd name="connsiteX6" fmla="*/ 0 w 7141343"/>
              <a:gd name="connsiteY6" fmla="*/ 0 h 887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41343" h="887163">
                <a:moveTo>
                  <a:pt x="0" y="0"/>
                </a:moveTo>
                <a:lnTo>
                  <a:pt x="5918959" y="26431"/>
                </a:lnTo>
                <a:lnTo>
                  <a:pt x="6817284" y="21179"/>
                </a:lnTo>
                <a:lnTo>
                  <a:pt x="7141343" y="6286"/>
                </a:lnTo>
                <a:lnTo>
                  <a:pt x="6583481" y="887163"/>
                </a:lnTo>
                <a:lnTo>
                  <a:pt x="1457752" y="87816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50000"/>
                </a:schemeClr>
              </a:gs>
              <a:gs pos="57000">
                <a:srgbClr val="FFFFFF"/>
              </a:gs>
              <a:gs pos="100000">
                <a:schemeClr val="bg1">
                  <a:lumMod val="50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  <a:softEdge rad="508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nb-NO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0" name="TextBox 29"/>
          <p:cNvSpPr txBox="1"/>
          <p:nvPr/>
        </p:nvSpPr>
        <p:spPr>
          <a:xfrm rot="19777324">
            <a:off x="4822825" y="4835525"/>
            <a:ext cx="4079875" cy="4921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r>
              <a:rPr lang="en-GB" sz="1500" b="1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UNCOPYRIGHT</a:t>
            </a:r>
            <a:r>
              <a:rPr lang="en-GB" sz="1500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 – </a:t>
            </a:r>
            <a:r>
              <a:rPr lang="en-GB" sz="1100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Feel free to copy + paste the graphics into your own PowerPoint presentation</a:t>
            </a:r>
          </a:p>
        </p:txBody>
      </p:sp>
      <p:grpSp>
        <p:nvGrpSpPr>
          <p:cNvPr id="8204" name="Group 30"/>
          <p:cNvGrpSpPr>
            <a:grpSpLocks/>
          </p:cNvGrpSpPr>
          <p:nvPr/>
        </p:nvGrpSpPr>
        <p:grpSpPr bwMode="auto">
          <a:xfrm>
            <a:off x="1676400" y="3187700"/>
            <a:ext cx="1733550" cy="1884363"/>
            <a:chOff x="5475288" y="3217862"/>
            <a:chExt cx="3349625" cy="3640138"/>
          </a:xfrm>
        </p:grpSpPr>
        <p:sp>
          <p:nvSpPr>
            <p:cNvPr id="32" name="Ellipse 98"/>
            <p:cNvSpPr/>
            <p:nvPr/>
          </p:nvSpPr>
          <p:spPr bwMode="auto">
            <a:xfrm>
              <a:off x="5708334" y="6339588"/>
              <a:ext cx="2963669" cy="518412"/>
            </a:xfrm>
            <a:prstGeom prst="ellipse">
              <a:avLst/>
            </a:prstGeom>
            <a:gradFill flip="none" rotWithShape="1">
              <a:gsLst>
                <a:gs pos="100000">
                  <a:srgbClr val="FFFFFF">
                    <a:alpha val="0"/>
                  </a:srgbClr>
                </a:gs>
                <a:gs pos="0">
                  <a:srgbClr val="E6E6E6">
                    <a:lumMod val="10000"/>
                    <a:alpha val="76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457200"/>
              <a:endParaRPr lang="en-US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33" name="Oval 32"/>
            <p:cNvSpPr>
              <a:spLocks noChangeArrowheads="1"/>
            </p:cNvSpPr>
            <p:nvPr/>
          </p:nvSpPr>
          <p:spPr bwMode="auto">
            <a:xfrm>
              <a:off x="5475288" y="3217862"/>
              <a:ext cx="3349625" cy="335147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56000">
                  <a:srgbClr val="1F88C8"/>
                </a:gs>
                <a:gs pos="14000">
                  <a:schemeClr val="accent1">
                    <a:lumMod val="60000"/>
                    <a:lumOff val="4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solidFill>
                <a:srgbClr val="1F88C8"/>
              </a:solidFill>
              <a:round/>
              <a:headEnd/>
              <a:tailEnd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defTabSz="457200"/>
              <a:endParaRPr lang="en-US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34" name="Freeform 10"/>
            <p:cNvSpPr>
              <a:spLocks noEditPoints="1"/>
            </p:cNvSpPr>
            <p:nvPr/>
          </p:nvSpPr>
          <p:spPr bwMode="auto">
            <a:xfrm>
              <a:off x="5475288" y="3217862"/>
              <a:ext cx="3349625" cy="3306383"/>
            </a:xfrm>
            <a:custGeom>
              <a:avLst/>
              <a:gdLst>
                <a:gd name="T0" fmla="*/ 2147483647 w 446"/>
                <a:gd name="T1" fmla="*/ 2147483647 h 440"/>
                <a:gd name="T2" fmla="*/ 2147483647 w 446"/>
                <a:gd name="T3" fmla="*/ 2147483647 h 440"/>
                <a:gd name="T4" fmla="*/ 2147483647 w 446"/>
                <a:gd name="T5" fmla="*/ 2147483647 h 440"/>
                <a:gd name="T6" fmla="*/ 2147483647 w 446"/>
                <a:gd name="T7" fmla="*/ 2147483647 h 440"/>
                <a:gd name="T8" fmla="*/ 2147483647 w 446"/>
                <a:gd name="T9" fmla="*/ 2147483647 h 440"/>
                <a:gd name="T10" fmla="*/ 2147483647 w 446"/>
                <a:gd name="T11" fmla="*/ 2147483647 h 440"/>
                <a:gd name="T12" fmla="*/ 2147483647 w 446"/>
                <a:gd name="T13" fmla="*/ 2147483647 h 440"/>
                <a:gd name="T14" fmla="*/ 2147483647 w 446"/>
                <a:gd name="T15" fmla="*/ 2147483647 h 440"/>
                <a:gd name="T16" fmla="*/ 2147483647 w 446"/>
                <a:gd name="T17" fmla="*/ 2147483647 h 440"/>
                <a:gd name="T18" fmla="*/ 2147483647 w 446"/>
                <a:gd name="T19" fmla="*/ 2147483647 h 440"/>
                <a:gd name="T20" fmla="*/ 2147483647 w 446"/>
                <a:gd name="T21" fmla="*/ 2147483647 h 440"/>
                <a:gd name="T22" fmla="*/ 2147483647 w 446"/>
                <a:gd name="T23" fmla="*/ 2147483647 h 440"/>
                <a:gd name="T24" fmla="*/ 2147483647 w 446"/>
                <a:gd name="T25" fmla="*/ 2147483647 h 440"/>
                <a:gd name="T26" fmla="*/ 2147483647 w 446"/>
                <a:gd name="T27" fmla="*/ 2147483647 h 440"/>
                <a:gd name="T28" fmla="*/ 2147483647 w 446"/>
                <a:gd name="T29" fmla="*/ 2147483647 h 440"/>
                <a:gd name="T30" fmla="*/ 2147483647 w 446"/>
                <a:gd name="T31" fmla="*/ 2147483647 h 440"/>
                <a:gd name="T32" fmla="*/ 2147483647 w 446"/>
                <a:gd name="T33" fmla="*/ 2147483647 h 440"/>
                <a:gd name="T34" fmla="*/ 2147483647 w 446"/>
                <a:gd name="T35" fmla="*/ 2147483647 h 440"/>
                <a:gd name="T36" fmla="*/ 2147483647 w 446"/>
                <a:gd name="T37" fmla="*/ 2147483647 h 440"/>
                <a:gd name="T38" fmla="*/ 2147483647 w 446"/>
                <a:gd name="T39" fmla="*/ 2147483647 h 440"/>
                <a:gd name="T40" fmla="*/ 2147483647 w 446"/>
                <a:gd name="T41" fmla="*/ 2147483647 h 440"/>
                <a:gd name="T42" fmla="*/ 2147483647 w 446"/>
                <a:gd name="T43" fmla="*/ 2147483647 h 440"/>
                <a:gd name="T44" fmla="*/ 2147483647 w 446"/>
                <a:gd name="T45" fmla="*/ 2147483647 h 440"/>
                <a:gd name="T46" fmla="*/ 2147483647 w 446"/>
                <a:gd name="T47" fmla="*/ 2147483647 h 440"/>
                <a:gd name="T48" fmla="*/ 2147483647 w 446"/>
                <a:gd name="T49" fmla="*/ 2147483647 h 440"/>
                <a:gd name="T50" fmla="*/ 2147483647 w 446"/>
                <a:gd name="T51" fmla="*/ 2147483647 h 440"/>
                <a:gd name="T52" fmla="*/ 2147483647 w 446"/>
                <a:gd name="T53" fmla="*/ 2147483647 h 440"/>
                <a:gd name="T54" fmla="*/ 2147483647 w 446"/>
                <a:gd name="T55" fmla="*/ 2147483647 h 440"/>
                <a:gd name="T56" fmla="*/ 2147483647 w 446"/>
                <a:gd name="T57" fmla="*/ 2147483647 h 440"/>
                <a:gd name="T58" fmla="*/ 2147483647 w 446"/>
                <a:gd name="T59" fmla="*/ 2147483647 h 440"/>
                <a:gd name="T60" fmla="*/ 2147483647 w 446"/>
                <a:gd name="T61" fmla="*/ 2147483647 h 440"/>
                <a:gd name="T62" fmla="*/ 2147483647 w 446"/>
                <a:gd name="T63" fmla="*/ 2147483647 h 440"/>
                <a:gd name="T64" fmla="*/ 2147483647 w 446"/>
                <a:gd name="T65" fmla="*/ 2147483647 h 440"/>
                <a:gd name="T66" fmla="*/ 2147483647 w 446"/>
                <a:gd name="T67" fmla="*/ 2147483647 h 440"/>
                <a:gd name="T68" fmla="*/ 2147483647 w 446"/>
                <a:gd name="T69" fmla="*/ 0 h 440"/>
                <a:gd name="T70" fmla="*/ 2147483647 w 446"/>
                <a:gd name="T71" fmla="*/ 2147483647 h 440"/>
                <a:gd name="T72" fmla="*/ 2147483647 w 446"/>
                <a:gd name="T73" fmla="*/ 2147483647 h 440"/>
                <a:gd name="T74" fmla="*/ 2147483647 w 446"/>
                <a:gd name="T75" fmla="*/ 2147483647 h 440"/>
                <a:gd name="T76" fmla="*/ 2147483647 w 446"/>
                <a:gd name="T77" fmla="*/ 2147483647 h 440"/>
                <a:gd name="T78" fmla="*/ 2147483647 w 446"/>
                <a:gd name="T79" fmla="*/ 2147483647 h 440"/>
                <a:gd name="T80" fmla="*/ 2147483647 w 446"/>
                <a:gd name="T81" fmla="*/ 2147483647 h 440"/>
                <a:gd name="T82" fmla="*/ 2147483647 w 446"/>
                <a:gd name="T83" fmla="*/ 2147483647 h 440"/>
                <a:gd name="T84" fmla="*/ 2147483647 w 446"/>
                <a:gd name="T85" fmla="*/ 2147483647 h 440"/>
                <a:gd name="T86" fmla="*/ 2147483647 w 446"/>
                <a:gd name="T87" fmla="*/ 2147483647 h 440"/>
                <a:gd name="T88" fmla="*/ 2147483647 w 446"/>
                <a:gd name="T89" fmla="*/ 2147483647 h 440"/>
                <a:gd name="T90" fmla="*/ 2147483647 w 446"/>
                <a:gd name="T91" fmla="*/ 2147483647 h 440"/>
                <a:gd name="T92" fmla="*/ 2147483647 w 446"/>
                <a:gd name="T93" fmla="*/ 2147483647 h 440"/>
                <a:gd name="T94" fmla="*/ 2147483647 w 446"/>
                <a:gd name="T95" fmla="*/ 2147483647 h 440"/>
                <a:gd name="T96" fmla="*/ 2147483647 w 446"/>
                <a:gd name="T97" fmla="*/ 2147483647 h 440"/>
                <a:gd name="T98" fmla="*/ 2147483647 w 446"/>
                <a:gd name="T99" fmla="*/ 2147483647 h 440"/>
                <a:gd name="T100" fmla="*/ 2147483647 w 446"/>
                <a:gd name="T101" fmla="*/ 2147483647 h 440"/>
                <a:gd name="T102" fmla="*/ 2147483647 w 446"/>
                <a:gd name="T103" fmla="*/ 2147483647 h 440"/>
                <a:gd name="T104" fmla="*/ 2147483647 w 446"/>
                <a:gd name="T105" fmla="*/ 2147483647 h 440"/>
                <a:gd name="T106" fmla="*/ 2147483647 w 446"/>
                <a:gd name="T107" fmla="*/ 2147483647 h 440"/>
                <a:gd name="T108" fmla="*/ 2147483647 w 446"/>
                <a:gd name="T109" fmla="*/ 2147483647 h 440"/>
                <a:gd name="T110" fmla="*/ 2147483647 w 446"/>
                <a:gd name="T111" fmla="*/ 2147483647 h 440"/>
                <a:gd name="T112" fmla="*/ 2147483647 w 446"/>
                <a:gd name="T113" fmla="*/ 2147483647 h 440"/>
                <a:gd name="T114" fmla="*/ 2147483647 w 446"/>
                <a:gd name="T115" fmla="*/ 2147483647 h 440"/>
                <a:gd name="T116" fmla="*/ 2147483647 w 446"/>
                <a:gd name="T117" fmla="*/ 2147483647 h 440"/>
                <a:gd name="T118" fmla="*/ 2147483647 w 446"/>
                <a:gd name="T119" fmla="*/ 2147483647 h 440"/>
                <a:gd name="T120" fmla="*/ 2147483647 w 446"/>
                <a:gd name="T121" fmla="*/ 2147483647 h 440"/>
                <a:gd name="T122" fmla="*/ 2147483647 w 446"/>
                <a:gd name="T123" fmla="*/ 2147483647 h 440"/>
                <a:gd name="T124" fmla="*/ 2147483647 w 446"/>
                <a:gd name="T125" fmla="*/ 2147483647 h 4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46"/>
                <a:gd name="T190" fmla="*/ 0 h 440"/>
                <a:gd name="T191" fmla="*/ 446 w 446"/>
                <a:gd name="T192" fmla="*/ 440 h 4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46" h="440">
                  <a:moveTo>
                    <a:pt x="222" y="258"/>
                  </a:moveTo>
                  <a:lnTo>
                    <a:pt x="222" y="258"/>
                  </a:lnTo>
                  <a:lnTo>
                    <a:pt x="220" y="258"/>
                  </a:lnTo>
                  <a:lnTo>
                    <a:pt x="220" y="256"/>
                  </a:lnTo>
                  <a:lnTo>
                    <a:pt x="218" y="256"/>
                  </a:lnTo>
                  <a:lnTo>
                    <a:pt x="218" y="258"/>
                  </a:lnTo>
                  <a:lnTo>
                    <a:pt x="220" y="258"/>
                  </a:lnTo>
                  <a:lnTo>
                    <a:pt x="222" y="258"/>
                  </a:lnTo>
                  <a:close/>
                  <a:moveTo>
                    <a:pt x="260" y="60"/>
                  </a:moveTo>
                  <a:lnTo>
                    <a:pt x="262" y="60"/>
                  </a:lnTo>
                  <a:lnTo>
                    <a:pt x="262" y="58"/>
                  </a:lnTo>
                  <a:lnTo>
                    <a:pt x="258" y="58"/>
                  </a:lnTo>
                  <a:lnTo>
                    <a:pt x="260" y="60"/>
                  </a:lnTo>
                  <a:close/>
                  <a:moveTo>
                    <a:pt x="218" y="252"/>
                  </a:moveTo>
                  <a:lnTo>
                    <a:pt x="218" y="250"/>
                  </a:lnTo>
                  <a:lnTo>
                    <a:pt x="216" y="250"/>
                  </a:lnTo>
                  <a:lnTo>
                    <a:pt x="216" y="252"/>
                  </a:lnTo>
                  <a:lnTo>
                    <a:pt x="214" y="250"/>
                  </a:lnTo>
                  <a:lnTo>
                    <a:pt x="212" y="250"/>
                  </a:lnTo>
                  <a:lnTo>
                    <a:pt x="212" y="252"/>
                  </a:lnTo>
                  <a:lnTo>
                    <a:pt x="214" y="252"/>
                  </a:lnTo>
                  <a:lnTo>
                    <a:pt x="216" y="252"/>
                  </a:lnTo>
                  <a:lnTo>
                    <a:pt x="218" y="252"/>
                  </a:lnTo>
                  <a:close/>
                  <a:moveTo>
                    <a:pt x="146" y="162"/>
                  </a:moveTo>
                  <a:lnTo>
                    <a:pt x="144" y="162"/>
                  </a:lnTo>
                  <a:lnTo>
                    <a:pt x="146" y="164"/>
                  </a:lnTo>
                  <a:lnTo>
                    <a:pt x="146" y="166"/>
                  </a:lnTo>
                  <a:lnTo>
                    <a:pt x="146" y="168"/>
                  </a:lnTo>
                  <a:lnTo>
                    <a:pt x="146" y="170"/>
                  </a:lnTo>
                  <a:lnTo>
                    <a:pt x="146" y="172"/>
                  </a:lnTo>
                  <a:lnTo>
                    <a:pt x="150" y="172"/>
                  </a:lnTo>
                  <a:lnTo>
                    <a:pt x="148" y="170"/>
                  </a:lnTo>
                  <a:lnTo>
                    <a:pt x="148" y="168"/>
                  </a:lnTo>
                  <a:lnTo>
                    <a:pt x="148" y="166"/>
                  </a:lnTo>
                  <a:lnTo>
                    <a:pt x="150" y="164"/>
                  </a:lnTo>
                  <a:lnTo>
                    <a:pt x="150" y="162"/>
                  </a:lnTo>
                  <a:lnTo>
                    <a:pt x="152" y="160"/>
                  </a:lnTo>
                  <a:lnTo>
                    <a:pt x="154" y="158"/>
                  </a:lnTo>
                  <a:lnTo>
                    <a:pt x="156" y="160"/>
                  </a:lnTo>
                  <a:lnTo>
                    <a:pt x="156" y="162"/>
                  </a:lnTo>
                  <a:lnTo>
                    <a:pt x="156" y="164"/>
                  </a:lnTo>
                  <a:lnTo>
                    <a:pt x="156" y="160"/>
                  </a:lnTo>
                  <a:lnTo>
                    <a:pt x="156" y="156"/>
                  </a:lnTo>
                  <a:lnTo>
                    <a:pt x="154" y="150"/>
                  </a:lnTo>
                  <a:lnTo>
                    <a:pt x="154" y="146"/>
                  </a:lnTo>
                  <a:lnTo>
                    <a:pt x="156" y="148"/>
                  </a:lnTo>
                  <a:lnTo>
                    <a:pt x="156" y="144"/>
                  </a:lnTo>
                  <a:lnTo>
                    <a:pt x="152" y="142"/>
                  </a:lnTo>
                  <a:lnTo>
                    <a:pt x="150" y="140"/>
                  </a:lnTo>
                  <a:lnTo>
                    <a:pt x="146" y="140"/>
                  </a:lnTo>
                  <a:lnTo>
                    <a:pt x="148" y="144"/>
                  </a:lnTo>
                  <a:lnTo>
                    <a:pt x="148" y="148"/>
                  </a:lnTo>
                  <a:lnTo>
                    <a:pt x="150" y="150"/>
                  </a:lnTo>
                  <a:lnTo>
                    <a:pt x="148" y="156"/>
                  </a:lnTo>
                  <a:lnTo>
                    <a:pt x="146" y="162"/>
                  </a:lnTo>
                  <a:close/>
                  <a:moveTo>
                    <a:pt x="158" y="166"/>
                  </a:moveTo>
                  <a:lnTo>
                    <a:pt x="156" y="170"/>
                  </a:lnTo>
                  <a:lnTo>
                    <a:pt x="154" y="172"/>
                  </a:lnTo>
                  <a:lnTo>
                    <a:pt x="152" y="174"/>
                  </a:lnTo>
                  <a:lnTo>
                    <a:pt x="148" y="174"/>
                  </a:lnTo>
                  <a:lnTo>
                    <a:pt x="150" y="178"/>
                  </a:lnTo>
                  <a:lnTo>
                    <a:pt x="152" y="178"/>
                  </a:lnTo>
                  <a:lnTo>
                    <a:pt x="154" y="178"/>
                  </a:lnTo>
                  <a:lnTo>
                    <a:pt x="156" y="178"/>
                  </a:lnTo>
                  <a:lnTo>
                    <a:pt x="156" y="180"/>
                  </a:lnTo>
                  <a:lnTo>
                    <a:pt x="160" y="178"/>
                  </a:lnTo>
                  <a:lnTo>
                    <a:pt x="164" y="178"/>
                  </a:lnTo>
                  <a:lnTo>
                    <a:pt x="164" y="176"/>
                  </a:lnTo>
                  <a:lnTo>
                    <a:pt x="166" y="174"/>
                  </a:lnTo>
                  <a:lnTo>
                    <a:pt x="164" y="170"/>
                  </a:lnTo>
                  <a:lnTo>
                    <a:pt x="162" y="174"/>
                  </a:lnTo>
                  <a:lnTo>
                    <a:pt x="160" y="170"/>
                  </a:lnTo>
                  <a:lnTo>
                    <a:pt x="160" y="168"/>
                  </a:lnTo>
                  <a:lnTo>
                    <a:pt x="158" y="166"/>
                  </a:lnTo>
                  <a:close/>
                  <a:moveTo>
                    <a:pt x="124" y="198"/>
                  </a:moveTo>
                  <a:lnTo>
                    <a:pt x="122" y="198"/>
                  </a:lnTo>
                  <a:lnTo>
                    <a:pt x="120" y="196"/>
                  </a:lnTo>
                  <a:lnTo>
                    <a:pt x="114" y="200"/>
                  </a:lnTo>
                  <a:lnTo>
                    <a:pt x="108" y="202"/>
                  </a:lnTo>
                  <a:lnTo>
                    <a:pt x="106" y="200"/>
                  </a:lnTo>
                  <a:lnTo>
                    <a:pt x="104" y="202"/>
                  </a:lnTo>
                  <a:lnTo>
                    <a:pt x="100" y="202"/>
                  </a:lnTo>
                  <a:lnTo>
                    <a:pt x="106" y="204"/>
                  </a:lnTo>
                  <a:lnTo>
                    <a:pt x="108" y="208"/>
                  </a:lnTo>
                  <a:lnTo>
                    <a:pt x="104" y="214"/>
                  </a:lnTo>
                  <a:lnTo>
                    <a:pt x="106" y="218"/>
                  </a:lnTo>
                  <a:lnTo>
                    <a:pt x="112" y="212"/>
                  </a:lnTo>
                  <a:lnTo>
                    <a:pt x="116" y="208"/>
                  </a:lnTo>
                  <a:lnTo>
                    <a:pt x="124" y="208"/>
                  </a:lnTo>
                  <a:lnTo>
                    <a:pt x="126" y="204"/>
                  </a:lnTo>
                  <a:lnTo>
                    <a:pt x="130" y="208"/>
                  </a:lnTo>
                  <a:lnTo>
                    <a:pt x="136" y="208"/>
                  </a:lnTo>
                  <a:lnTo>
                    <a:pt x="138" y="204"/>
                  </a:lnTo>
                  <a:lnTo>
                    <a:pt x="142" y="202"/>
                  </a:lnTo>
                  <a:lnTo>
                    <a:pt x="140" y="200"/>
                  </a:lnTo>
                  <a:lnTo>
                    <a:pt x="144" y="200"/>
                  </a:lnTo>
                  <a:lnTo>
                    <a:pt x="144" y="198"/>
                  </a:lnTo>
                  <a:lnTo>
                    <a:pt x="146" y="196"/>
                  </a:lnTo>
                  <a:lnTo>
                    <a:pt x="148" y="192"/>
                  </a:lnTo>
                  <a:lnTo>
                    <a:pt x="150" y="188"/>
                  </a:lnTo>
                  <a:lnTo>
                    <a:pt x="150" y="184"/>
                  </a:lnTo>
                  <a:lnTo>
                    <a:pt x="148" y="184"/>
                  </a:lnTo>
                  <a:lnTo>
                    <a:pt x="150" y="182"/>
                  </a:lnTo>
                  <a:lnTo>
                    <a:pt x="148" y="180"/>
                  </a:lnTo>
                  <a:lnTo>
                    <a:pt x="146" y="176"/>
                  </a:lnTo>
                  <a:lnTo>
                    <a:pt x="144" y="176"/>
                  </a:lnTo>
                  <a:lnTo>
                    <a:pt x="144" y="178"/>
                  </a:lnTo>
                  <a:lnTo>
                    <a:pt x="144" y="182"/>
                  </a:lnTo>
                  <a:lnTo>
                    <a:pt x="142" y="186"/>
                  </a:lnTo>
                  <a:lnTo>
                    <a:pt x="138" y="188"/>
                  </a:lnTo>
                  <a:lnTo>
                    <a:pt x="138" y="192"/>
                  </a:lnTo>
                  <a:lnTo>
                    <a:pt x="136" y="192"/>
                  </a:lnTo>
                  <a:lnTo>
                    <a:pt x="132" y="196"/>
                  </a:lnTo>
                  <a:lnTo>
                    <a:pt x="130" y="194"/>
                  </a:lnTo>
                  <a:lnTo>
                    <a:pt x="130" y="198"/>
                  </a:lnTo>
                  <a:lnTo>
                    <a:pt x="130" y="200"/>
                  </a:lnTo>
                  <a:lnTo>
                    <a:pt x="126" y="198"/>
                  </a:lnTo>
                  <a:lnTo>
                    <a:pt x="124" y="198"/>
                  </a:lnTo>
                  <a:close/>
                  <a:moveTo>
                    <a:pt x="262" y="10"/>
                  </a:moveTo>
                  <a:lnTo>
                    <a:pt x="264" y="10"/>
                  </a:lnTo>
                  <a:lnTo>
                    <a:pt x="264" y="8"/>
                  </a:lnTo>
                  <a:lnTo>
                    <a:pt x="262" y="8"/>
                  </a:lnTo>
                  <a:lnTo>
                    <a:pt x="260" y="8"/>
                  </a:lnTo>
                  <a:lnTo>
                    <a:pt x="260" y="10"/>
                  </a:lnTo>
                  <a:lnTo>
                    <a:pt x="262" y="10"/>
                  </a:lnTo>
                  <a:close/>
                  <a:moveTo>
                    <a:pt x="234" y="262"/>
                  </a:moveTo>
                  <a:lnTo>
                    <a:pt x="234" y="262"/>
                  </a:lnTo>
                  <a:lnTo>
                    <a:pt x="234" y="260"/>
                  </a:lnTo>
                  <a:lnTo>
                    <a:pt x="232" y="260"/>
                  </a:lnTo>
                  <a:lnTo>
                    <a:pt x="230" y="260"/>
                  </a:lnTo>
                  <a:lnTo>
                    <a:pt x="228" y="260"/>
                  </a:lnTo>
                  <a:lnTo>
                    <a:pt x="226" y="260"/>
                  </a:lnTo>
                  <a:lnTo>
                    <a:pt x="226" y="262"/>
                  </a:lnTo>
                  <a:lnTo>
                    <a:pt x="228" y="262"/>
                  </a:lnTo>
                  <a:lnTo>
                    <a:pt x="230" y="262"/>
                  </a:lnTo>
                  <a:lnTo>
                    <a:pt x="232" y="264"/>
                  </a:lnTo>
                  <a:lnTo>
                    <a:pt x="234" y="264"/>
                  </a:lnTo>
                  <a:lnTo>
                    <a:pt x="234" y="262"/>
                  </a:lnTo>
                  <a:close/>
                  <a:moveTo>
                    <a:pt x="244" y="274"/>
                  </a:moveTo>
                  <a:lnTo>
                    <a:pt x="244" y="272"/>
                  </a:lnTo>
                  <a:lnTo>
                    <a:pt x="242" y="272"/>
                  </a:lnTo>
                  <a:lnTo>
                    <a:pt x="242" y="270"/>
                  </a:lnTo>
                  <a:lnTo>
                    <a:pt x="240" y="268"/>
                  </a:lnTo>
                  <a:lnTo>
                    <a:pt x="240" y="266"/>
                  </a:lnTo>
                  <a:lnTo>
                    <a:pt x="238" y="266"/>
                  </a:lnTo>
                  <a:lnTo>
                    <a:pt x="236" y="266"/>
                  </a:lnTo>
                  <a:lnTo>
                    <a:pt x="236" y="264"/>
                  </a:lnTo>
                  <a:lnTo>
                    <a:pt x="234" y="264"/>
                  </a:lnTo>
                  <a:lnTo>
                    <a:pt x="234" y="266"/>
                  </a:lnTo>
                  <a:lnTo>
                    <a:pt x="234" y="268"/>
                  </a:lnTo>
                  <a:lnTo>
                    <a:pt x="236" y="272"/>
                  </a:lnTo>
                  <a:lnTo>
                    <a:pt x="236" y="278"/>
                  </a:lnTo>
                  <a:lnTo>
                    <a:pt x="238" y="278"/>
                  </a:lnTo>
                  <a:lnTo>
                    <a:pt x="240" y="278"/>
                  </a:lnTo>
                  <a:lnTo>
                    <a:pt x="240" y="276"/>
                  </a:lnTo>
                  <a:lnTo>
                    <a:pt x="242" y="276"/>
                  </a:lnTo>
                  <a:lnTo>
                    <a:pt x="244" y="276"/>
                  </a:lnTo>
                  <a:lnTo>
                    <a:pt x="246" y="276"/>
                  </a:lnTo>
                  <a:lnTo>
                    <a:pt x="246" y="274"/>
                  </a:lnTo>
                  <a:lnTo>
                    <a:pt x="244" y="274"/>
                  </a:lnTo>
                  <a:close/>
                  <a:moveTo>
                    <a:pt x="342" y="70"/>
                  </a:moveTo>
                  <a:lnTo>
                    <a:pt x="344" y="70"/>
                  </a:lnTo>
                  <a:lnTo>
                    <a:pt x="344" y="66"/>
                  </a:lnTo>
                  <a:lnTo>
                    <a:pt x="342" y="66"/>
                  </a:lnTo>
                  <a:lnTo>
                    <a:pt x="338" y="66"/>
                  </a:lnTo>
                  <a:lnTo>
                    <a:pt x="340" y="68"/>
                  </a:lnTo>
                  <a:lnTo>
                    <a:pt x="342" y="70"/>
                  </a:lnTo>
                  <a:close/>
                  <a:moveTo>
                    <a:pt x="222" y="262"/>
                  </a:moveTo>
                  <a:lnTo>
                    <a:pt x="222" y="262"/>
                  </a:lnTo>
                  <a:lnTo>
                    <a:pt x="222" y="264"/>
                  </a:lnTo>
                  <a:lnTo>
                    <a:pt x="224" y="264"/>
                  </a:lnTo>
                  <a:lnTo>
                    <a:pt x="224" y="262"/>
                  </a:lnTo>
                  <a:lnTo>
                    <a:pt x="222" y="262"/>
                  </a:lnTo>
                  <a:close/>
                  <a:moveTo>
                    <a:pt x="434" y="172"/>
                  </a:moveTo>
                  <a:lnTo>
                    <a:pt x="434" y="172"/>
                  </a:lnTo>
                  <a:lnTo>
                    <a:pt x="432" y="174"/>
                  </a:lnTo>
                  <a:lnTo>
                    <a:pt x="430" y="176"/>
                  </a:lnTo>
                  <a:lnTo>
                    <a:pt x="430" y="178"/>
                  </a:lnTo>
                  <a:lnTo>
                    <a:pt x="428" y="180"/>
                  </a:lnTo>
                  <a:lnTo>
                    <a:pt x="430" y="182"/>
                  </a:lnTo>
                  <a:lnTo>
                    <a:pt x="432" y="184"/>
                  </a:lnTo>
                  <a:lnTo>
                    <a:pt x="434" y="182"/>
                  </a:lnTo>
                  <a:lnTo>
                    <a:pt x="434" y="180"/>
                  </a:lnTo>
                  <a:lnTo>
                    <a:pt x="434" y="178"/>
                  </a:lnTo>
                  <a:lnTo>
                    <a:pt x="434" y="176"/>
                  </a:lnTo>
                  <a:lnTo>
                    <a:pt x="436" y="176"/>
                  </a:lnTo>
                  <a:lnTo>
                    <a:pt x="438" y="176"/>
                  </a:lnTo>
                  <a:lnTo>
                    <a:pt x="440" y="176"/>
                  </a:lnTo>
                  <a:lnTo>
                    <a:pt x="438" y="174"/>
                  </a:lnTo>
                  <a:lnTo>
                    <a:pt x="438" y="172"/>
                  </a:lnTo>
                  <a:lnTo>
                    <a:pt x="436" y="172"/>
                  </a:lnTo>
                  <a:lnTo>
                    <a:pt x="434" y="172"/>
                  </a:lnTo>
                  <a:close/>
                  <a:moveTo>
                    <a:pt x="228" y="16"/>
                  </a:moveTo>
                  <a:lnTo>
                    <a:pt x="230" y="16"/>
                  </a:lnTo>
                  <a:lnTo>
                    <a:pt x="230" y="14"/>
                  </a:lnTo>
                  <a:lnTo>
                    <a:pt x="232" y="14"/>
                  </a:lnTo>
                  <a:lnTo>
                    <a:pt x="232" y="16"/>
                  </a:lnTo>
                  <a:lnTo>
                    <a:pt x="234" y="16"/>
                  </a:lnTo>
                  <a:lnTo>
                    <a:pt x="236" y="16"/>
                  </a:lnTo>
                  <a:lnTo>
                    <a:pt x="236" y="14"/>
                  </a:lnTo>
                  <a:lnTo>
                    <a:pt x="236" y="12"/>
                  </a:lnTo>
                  <a:lnTo>
                    <a:pt x="234" y="10"/>
                  </a:lnTo>
                  <a:lnTo>
                    <a:pt x="232" y="8"/>
                  </a:lnTo>
                  <a:lnTo>
                    <a:pt x="230" y="8"/>
                  </a:lnTo>
                  <a:lnTo>
                    <a:pt x="228" y="10"/>
                  </a:lnTo>
                  <a:lnTo>
                    <a:pt x="226" y="8"/>
                  </a:lnTo>
                  <a:lnTo>
                    <a:pt x="226" y="10"/>
                  </a:lnTo>
                  <a:lnTo>
                    <a:pt x="224" y="8"/>
                  </a:lnTo>
                  <a:lnTo>
                    <a:pt x="224" y="12"/>
                  </a:lnTo>
                  <a:lnTo>
                    <a:pt x="222" y="10"/>
                  </a:lnTo>
                  <a:lnTo>
                    <a:pt x="222" y="12"/>
                  </a:lnTo>
                  <a:lnTo>
                    <a:pt x="218" y="12"/>
                  </a:lnTo>
                  <a:lnTo>
                    <a:pt x="218" y="14"/>
                  </a:lnTo>
                  <a:lnTo>
                    <a:pt x="220" y="14"/>
                  </a:lnTo>
                  <a:lnTo>
                    <a:pt x="220" y="16"/>
                  </a:lnTo>
                  <a:lnTo>
                    <a:pt x="222" y="16"/>
                  </a:lnTo>
                  <a:lnTo>
                    <a:pt x="222" y="12"/>
                  </a:lnTo>
                  <a:lnTo>
                    <a:pt x="222" y="16"/>
                  </a:lnTo>
                  <a:lnTo>
                    <a:pt x="224" y="16"/>
                  </a:lnTo>
                  <a:lnTo>
                    <a:pt x="226" y="14"/>
                  </a:lnTo>
                  <a:lnTo>
                    <a:pt x="228" y="14"/>
                  </a:lnTo>
                  <a:lnTo>
                    <a:pt x="228" y="16"/>
                  </a:lnTo>
                  <a:close/>
                  <a:moveTo>
                    <a:pt x="204" y="18"/>
                  </a:moveTo>
                  <a:lnTo>
                    <a:pt x="206" y="18"/>
                  </a:lnTo>
                  <a:lnTo>
                    <a:pt x="208" y="22"/>
                  </a:lnTo>
                  <a:lnTo>
                    <a:pt x="208" y="20"/>
                  </a:lnTo>
                  <a:lnTo>
                    <a:pt x="208" y="16"/>
                  </a:lnTo>
                  <a:lnTo>
                    <a:pt x="212" y="16"/>
                  </a:lnTo>
                  <a:lnTo>
                    <a:pt x="210" y="14"/>
                  </a:lnTo>
                  <a:lnTo>
                    <a:pt x="212" y="14"/>
                  </a:lnTo>
                  <a:lnTo>
                    <a:pt x="210" y="12"/>
                  </a:lnTo>
                  <a:lnTo>
                    <a:pt x="208" y="14"/>
                  </a:lnTo>
                  <a:lnTo>
                    <a:pt x="206" y="14"/>
                  </a:lnTo>
                  <a:lnTo>
                    <a:pt x="206" y="16"/>
                  </a:lnTo>
                  <a:lnTo>
                    <a:pt x="204" y="16"/>
                  </a:lnTo>
                  <a:lnTo>
                    <a:pt x="202" y="16"/>
                  </a:lnTo>
                  <a:lnTo>
                    <a:pt x="200" y="18"/>
                  </a:lnTo>
                  <a:lnTo>
                    <a:pt x="200" y="20"/>
                  </a:lnTo>
                  <a:lnTo>
                    <a:pt x="202" y="20"/>
                  </a:lnTo>
                  <a:lnTo>
                    <a:pt x="204" y="22"/>
                  </a:lnTo>
                  <a:lnTo>
                    <a:pt x="202" y="18"/>
                  </a:lnTo>
                  <a:lnTo>
                    <a:pt x="204" y="18"/>
                  </a:lnTo>
                  <a:close/>
                  <a:moveTo>
                    <a:pt x="444" y="230"/>
                  </a:moveTo>
                  <a:lnTo>
                    <a:pt x="444" y="230"/>
                  </a:lnTo>
                  <a:lnTo>
                    <a:pt x="442" y="230"/>
                  </a:lnTo>
                  <a:lnTo>
                    <a:pt x="442" y="232"/>
                  </a:lnTo>
                  <a:lnTo>
                    <a:pt x="440" y="232"/>
                  </a:lnTo>
                  <a:lnTo>
                    <a:pt x="446" y="220"/>
                  </a:lnTo>
                  <a:lnTo>
                    <a:pt x="444" y="206"/>
                  </a:lnTo>
                  <a:lnTo>
                    <a:pt x="442" y="202"/>
                  </a:lnTo>
                  <a:lnTo>
                    <a:pt x="442" y="206"/>
                  </a:lnTo>
                  <a:lnTo>
                    <a:pt x="440" y="212"/>
                  </a:lnTo>
                  <a:lnTo>
                    <a:pt x="440" y="210"/>
                  </a:lnTo>
                  <a:lnTo>
                    <a:pt x="438" y="210"/>
                  </a:lnTo>
                  <a:lnTo>
                    <a:pt x="438" y="208"/>
                  </a:lnTo>
                  <a:lnTo>
                    <a:pt x="436" y="200"/>
                  </a:lnTo>
                  <a:lnTo>
                    <a:pt x="438" y="196"/>
                  </a:lnTo>
                  <a:lnTo>
                    <a:pt x="436" y="194"/>
                  </a:lnTo>
                  <a:lnTo>
                    <a:pt x="434" y="188"/>
                  </a:lnTo>
                  <a:lnTo>
                    <a:pt x="432" y="188"/>
                  </a:lnTo>
                  <a:lnTo>
                    <a:pt x="430" y="192"/>
                  </a:lnTo>
                  <a:lnTo>
                    <a:pt x="430" y="194"/>
                  </a:lnTo>
                  <a:lnTo>
                    <a:pt x="430" y="196"/>
                  </a:lnTo>
                  <a:lnTo>
                    <a:pt x="430" y="198"/>
                  </a:lnTo>
                  <a:lnTo>
                    <a:pt x="430" y="200"/>
                  </a:lnTo>
                  <a:lnTo>
                    <a:pt x="432" y="204"/>
                  </a:lnTo>
                  <a:lnTo>
                    <a:pt x="432" y="206"/>
                  </a:lnTo>
                  <a:lnTo>
                    <a:pt x="432" y="208"/>
                  </a:lnTo>
                  <a:lnTo>
                    <a:pt x="430" y="210"/>
                  </a:lnTo>
                  <a:lnTo>
                    <a:pt x="430" y="212"/>
                  </a:lnTo>
                  <a:lnTo>
                    <a:pt x="428" y="214"/>
                  </a:lnTo>
                  <a:lnTo>
                    <a:pt x="426" y="214"/>
                  </a:lnTo>
                  <a:lnTo>
                    <a:pt x="426" y="212"/>
                  </a:lnTo>
                  <a:lnTo>
                    <a:pt x="424" y="212"/>
                  </a:lnTo>
                  <a:lnTo>
                    <a:pt x="422" y="212"/>
                  </a:lnTo>
                  <a:lnTo>
                    <a:pt x="422" y="210"/>
                  </a:lnTo>
                  <a:lnTo>
                    <a:pt x="420" y="210"/>
                  </a:lnTo>
                  <a:lnTo>
                    <a:pt x="420" y="208"/>
                  </a:lnTo>
                  <a:lnTo>
                    <a:pt x="418" y="206"/>
                  </a:lnTo>
                  <a:lnTo>
                    <a:pt x="418" y="204"/>
                  </a:lnTo>
                  <a:lnTo>
                    <a:pt x="416" y="204"/>
                  </a:lnTo>
                  <a:lnTo>
                    <a:pt x="416" y="202"/>
                  </a:lnTo>
                  <a:lnTo>
                    <a:pt x="416" y="200"/>
                  </a:lnTo>
                  <a:lnTo>
                    <a:pt x="416" y="198"/>
                  </a:lnTo>
                  <a:lnTo>
                    <a:pt x="416" y="196"/>
                  </a:lnTo>
                  <a:lnTo>
                    <a:pt x="416" y="194"/>
                  </a:lnTo>
                  <a:lnTo>
                    <a:pt x="414" y="194"/>
                  </a:lnTo>
                  <a:lnTo>
                    <a:pt x="414" y="192"/>
                  </a:lnTo>
                  <a:lnTo>
                    <a:pt x="414" y="190"/>
                  </a:lnTo>
                  <a:lnTo>
                    <a:pt x="416" y="190"/>
                  </a:lnTo>
                  <a:lnTo>
                    <a:pt x="414" y="190"/>
                  </a:lnTo>
                  <a:lnTo>
                    <a:pt x="412" y="188"/>
                  </a:lnTo>
                  <a:lnTo>
                    <a:pt x="410" y="188"/>
                  </a:lnTo>
                  <a:lnTo>
                    <a:pt x="412" y="184"/>
                  </a:lnTo>
                  <a:lnTo>
                    <a:pt x="410" y="180"/>
                  </a:lnTo>
                  <a:lnTo>
                    <a:pt x="410" y="178"/>
                  </a:lnTo>
                  <a:lnTo>
                    <a:pt x="412" y="178"/>
                  </a:lnTo>
                  <a:lnTo>
                    <a:pt x="412" y="176"/>
                  </a:lnTo>
                  <a:lnTo>
                    <a:pt x="412" y="174"/>
                  </a:lnTo>
                  <a:lnTo>
                    <a:pt x="414" y="172"/>
                  </a:lnTo>
                  <a:lnTo>
                    <a:pt x="414" y="170"/>
                  </a:lnTo>
                  <a:lnTo>
                    <a:pt x="416" y="170"/>
                  </a:lnTo>
                  <a:lnTo>
                    <a:pt x="416" y="168"/>
                  </a:lnTo>
                  <a:lnTo>
                    <a:pt x="418" y="168"/>
                  </a:lnTo>
                  <a:lnTo>
                    <a:pt x="420" y="168"/>
                  </a:lnTo>
                  <a:lnTo>
                    <a:pt x="420" y="166"/>
                  </a:lnTo>
                  <a:lnTo>
                    <a:pt x="416" y="164"/>
                  </a:lnTo>
                  <a:lnTo>
                    <a:pt x="414" y="162"/>
                  </a:lnTo>
                  <a:lnTo>
                    <a:pt x="414" y="160"/>
                  </a:lnTo>
                  <a:lnTo>
                    <a:pt x="416" y="158"/>
                  </a:lnTo>
                  <a:lnTo>
                    <a:pt x="418" y="158"/>
                  </a:lnTo>
                  <a:lnTo>
                    <a:pt x="420" y="158"/>
                  </a:lnTo>
                  <a:lnTo>
                    <a:pt x="422" y="158"/>
                  </a:lnTo>
                  <a:lnTo>
                    <a:pt x="424" y="158"/>
                  </a:lnTo>
                  <a:lnTo>
                    <a:pt x="426" y="158"/>
                  </a:lnTo>
                  <a:lnTo>
                    <a:pt x="426" y="160"/>
                  </a:lnTo>
                  <a:lnTo>
                    <a:pt x="428" y="160"/>
                  </a:lnTo>
                  <a:lnTo>
                    <a:pt x="430" y="164"/>
                  </a:lnTo>
                  <a:lnTo>
                    <a:pt x="434" y="166"/>
                  </a:lnTo>
                  <a:lnTo>
                    <a:pt x="434" y="162"/>
                  </a:lnTo>
                  <a:lnTo>
                    <a:pt x="436" y="162"/>
                  </a:lnTo>
                  <a:lnTo>
                    <a:pt x="436" y="160"/>
                  </a:lnTo>
                  <a:lnTo>
                    <a:pt x="432" y="158"/>
                  </a:lnTo>
                  <a:lnTo>
                    <a:pt x="430" y="156"/>
                  </a:lnTo>
                  <a:lnTo>
                    <a:pt x="428" y="156"/>
                  </a:lnTo>
                  <a:lnTo>
                    <a:pt x="426" y="156"/>
                  </a:lnTo>
                  <a:lnTo>
                    <a:pt x="424" y="156"/>
                  </a:lnTo>
                  <a:lnTo>
                    <a:pt x="424" y="154"/>
                  </a:lnTo>
                  <a:lnTo>
                    <a:pt x="424" y="152"/>
                  </a:lnTo>
                  <a:lnTo>
                    <a:pt x="422" y="150"/>
                  </a:lnTo>
                  <a:lnTo>
                    <a:pt x="422" y="148"/>
                  </a:lnTo>
                  <a:lnTo>
                    <a:pt x="422" y="144"/>
                  </a:lnTo>
                  <a:lnTo>
                    <a:pt x="420" y="142"/>
                  </a:lnTo>
                  <a:lnTo>
                    <a:pt x="420" y="140"/>
                  </a:lnTo>
                  <a:lnTo>
                    <a:pt x="418" y="138"/>
                  </a:lnTo>
                  <a:lnTo>
                    <a:pt x="416" y="136"/>
                  </a:lnTo>
                  <a:lnTo>
                    <a:pt x="416" y="134"/>
                  </a:lnTo>
                  <a:lnTo>
                    <a:pt x="418" y="134"/>
                  </a:lnTo>
                  <a:lnTo>
                    <a:pt x="418" y="132"/>
                  </a:lnTo>
                  <a:lnTo>
                    <a:pt x="418" y="130"/>
                  </a:lnTo>
                  <a:lnTo>
                    <a:pt x="416" y="130"/>
                  </a:lnTo>
                  <a:lnTo>
                    <a:pt x="416" y="128"/>
                  </a:lnTo>
                  <a:lnTo>
                    <a:pt x="414" y="126"/>
                  </a:lnTo>
                  <a:lnTo>
                    <a:pt x="412" y="124"/>
                  </a:lnTo>
                  <a:lnTo>
                    <a:pt x="410" y="122"/>
                  </a:lnTo>
                  <a:lnTo>
                    <a:pt x="410" y="120"/>
                  </a:lnTo>
                  <a:lnTo>
                    <a:pt x="410" y="118"/>
                  </a:lnTo>
                  <a:lnTo>
                    <a:pt x="408" y="116"/>
                  </a:lnTo>
                  <a:lnTo>
                    <a:pt x="406" y="110"/>
                  </a:lnTo>
                  <a:lnTo>
                    <a:pt x="402" y="108"/>
                  </a:lnTo>
                  <a:lnTo>
                    <a:pt x="402" y="104"/>
                  </a:lnTo>
                  <a:lnTo>
                    <a:pt x="400" y="102"/>
                  </a:lnTo>
                  <a:lnTo>
                    <a:pt x="402" y="100"/>
                  </a:lnTo>
                  <a:lnTo>
                    <a:pt x="396" y="98"/>
                  </a:lnTo>
                  <a:lnTo>
                    <a:pt x="394" y="94"/>
                  </a:lnTo>
                  <a:lnTo>
                    <a:pt x="392" y="90"/>
                  </a:lnTo>
                  <a:lnTo>
                    <a:pt x="390" y="88"/>
                  </a:lnTo>
                  <a:lnTo>
                    <a:pt x="392" y="84"/>
                  </a:lnTo>
                  <a:lnTo>
                    <a:pt x="390" y="80"/>
                  </a:lnTo>
                  <a:lnTo>
                    <a:pt x="388" y="78"/>
                  </a:lnTo>
                  <a:lnTo>
                    <a:pt x="388" y="76"/>
                  </a:lnTo>
                  <a:lnTo>
                    <a:pt x="386" y="76"/>
                  </a:lnTo>
                  <a:lnTo>
                    <a:pt x="386" y="74"/>
                  </a:lnTo>
                  <a:lnTo>
                    <a:pt x="384" y="74"/>
                  </a:lnTo>
                  <a:lnTo>
                    <a:pt x="382" y="72"/>
                  </a:lnTo>
                  <a:lnTo>
                    <a:pt x="380" y="72"/>
                  </a:lnTo>
                  <a:lnTo>
                    <a:pt x="378" y="72"/>
                  </a:lnTo>
                  <a:lnTo>
                    <a:pt x="376" y="74"/>
                  </a:lnTo>
                  <a:lnTo>
                    <a:pt x="374" y="72"/>
                  </a:lnTo>
                  <a:lnTo>
                    <a:pt x="376" y="70"/>
                  </a:lnTo>
                  <a:lnTo>
                    <a:pt x="378" y="70"/>
                  </a:lnTo>
                  <a:lnTo>
                    <a:pt x="382" y="70"/>
                  </a:lnTo>
                  <a:lnTo>
                    <a:pt x="380" y="68"/>
                  </a:lnTo>
                  <a:lnTo>
                    <a:pt x="380" y="66"/>
                  </a:lnTo>
                  <a:lnTo>
                    <a:pt x="374" y="60"/>
                  </a:lnTo>
                  <a:lnTo>
                    <a:pt x="372" y="60"/>
                  </a:lnTo>
                  <a:lnTo>
                    <a:pt x="372" y="58"/>
                  </a:lnTo>
                  <a:lnTo>
                    <a:pt x="370" y="58"/>
                  </a:lnTo>
                  <a:lnTo>
                    <a:pt x="368" y="58"/>
                  </a:lnTo>
                  <a:lnTo>
                    <a:pt x="366" y="58"/>
                  </a:lnTo>
                  <a:lnTo>
                    <a:pt x="366" y="56"/>
                  </a:lnTo>
                  <a:lnTo>
                    <a:pt x="364" y="56"/>
                  </a:lnTo>
                  <a:lnTo>
                    <a:pt x="362" y="54"/>
                  </a:lnTo>
                  <a:lnTo>
                    <a:pt x="360" y="54"/>
                  </a:lnTo>
                  <a:lnTo>
                    <a:pt x="358" y="54"/>
                  </a:lnTo>
                  <a:lnTo>
                    <a:pt x="356" y="54"/>
                  </a:lnTo>
                  <a:lnTo>
                    <a:pt x="354" y="54"/>
                  </a:lnTo>
                  <a:lnTo>
                    <a:pt x="352" y="54"/>
                  </a:lnTo>
                  <a:lnTo>
                    <a:pt x="350" y="54"/>
                  </a:lnTo>
                  <a:lnTo>
                    <a:pt x="348" y="52"/>
                  </a:lnTo>
                  <a:lnTo>
                    <a:pt x="344" y="50"/>
                  </a:lnTo>
                  <a:lnTo>
                    <a:pt x="342" y="50"/>
                  </a:lnTo>
                  <a:lnTo>
                    <a:pt x="342" y="54"/>
                  </a:lnTo>
                  <a:lnTo>
                    <a:pt x="340" y="52"/>
                  </a:lnTo>
                  <a:lnTo>
                    <a:pt x="338" y="56"/>
                  </a:lnTo>
                  <a:lnTo>
                    <a:pt x="336" y="56"/>
                  </a:lnTo>
                  <a:lnTo>
                    <a:pt x="330" y="56"/>
                  </a:lnTo>
                  <a:lnTo>
                    <a:pt x="336" y="58"/>
                  </a:lnTo>
                  <a:lnTo>
                    <a:pt x="336" y="60"/>
                  </a:lnTo>
                  <a:lnTo>
                    <a:pt x="338" y="64"/>
                  </a:lnTo>
                  <a:lnTo>
                    <a:pt x="340" y="62"/>
                  </a:lnTo>
                  <a:lnTo>
                    <a:pt x="344" y="64"/>
                  </a:lnTo>
                  <a:lnTo>
                    <a:pt x="346" y="66"/>
                  </a:lnTo>
                  <a:lnTo>
                    <a:pt x="352" y="66"/>
                  </a:lnTo>
                  <a:lnTo>
                    <a:pt x="352" y="70"/>
                  </a:lnTo>
                  <a:lnTo>
                    <a:pt x="356" y="68"/>
                  </a:lnTo>
                  <a:lnTo>
                    <a:pt x="360" y="72"/>
                  </a:lnTo>
                  <a:lnTo>
                    <a:pt x="356" y="72"/>
                  </a:lnTo>
                  <a:lnTo>
                    <a:pt x="356" y="74"/>
                  </a:lnTo>
                  <a:lnTo>
                    <a:pt x="354" y="76"/>
                  </a:lnTo>
                  <a:lnTo>
                    <a:pt x="360" y="76"/>
                  </a:lnTo>
                  <a:lnTo>
                    <a:pt x="360" y="78"/>
                  </a:lnTo>
                  <a:lnTo>
                    <a:pt x="364" y="78"/>
                  </a:lnTo>
                  <a:lnTo>
                    <a:pt x="366" y="80"/>
                  </a:lnTo>
                  <a:lnTo>
                    <a:pt x="370" y="82"/>
                  </a:lnTo>
                  <a:lnTo>
                    <a:pt x="370" y="84"/>
                  </a:lnTo>
                  <a:lnTo>
                    <a:pt x="372" y="86"/>
                  </a:lnTo>
                  <a:lnTo>
                    <a:pt x="370" y="88"/>
                  </a:lnTo>
                  <a:lnTo>
                    <a:pt x="368" y="86"/>
                  </a:lnTo>
                  <a:lnTo>
                    <a:pt x="364" y="82"/>
                  </a:lnTo>
                  <a:lnTo>
                    <a:pt x="356" y="80"/>
                  </a:lnTo>
                  <a:lnTo>
                    <a:pt x="356" y="82"/>
                  </a:lnTo>
                  <a:lnTo>
                    <a:pt x="354" y="82"/>
                  </a:lnTo>
                  <a:lnTo>
                    <a:pt x="352" y="80"/>
                  </a:lnTo>
                  <a:lnTo>
                    <a:pt x="350" y="80"/>
                  </a:lnTo>
                  <a:lnTo>
                    <a:pt x="350" y="82"/>
                  </a:lnTo>
                  <a:lnTo>
                    <a:pt x="346" y="82"/>
                  </a:lnTo>
                  <a:lnTo>
                    <a:pt x="346" y="84"/>
                  </a:lnTo>
                  <a:lnTo>
                    <a:pt x="344" y="86"/>
                  </a:lnTo>
                  <a:lnTo>
                    <a:pt x="344" y="84"/>
                  </a:lnTo>
                  <a:lnTo>
                    <a:pt x="342" y="82"/>
                  </a:lnTo>
                  <a:lnTo>
                    <a:pt x="340" y="82"/>
                  </a:lnTo>
                  <a:lnTo>
                    <a:pt x="338" y="82"/>
                  </a:lnTo>
                  <a:lnTo>
                    <a:pt x="338" y="84"/>
                  </a:lnTo>
                  <a:lnTo>
                    <a:pt x="336" y="84"/>
                  </a:lnTo>
                  <a:lnTo>
                    <a:pt x="336" y="82"/>
                  </a:lnTo>
                  <a:lnTo>
                    <a:pt x="334" y="80"/>
                  </a:lnTo>
                  <a:lnTo>
                    <a:pt x="332" y="78"/>
                  </a:lnTo>
                  <a:lnTo>
                    <a:pt x="328" y="76"/>
                  </a:lnTo>
                  <a:lnTo>
                    <a:pt x="328" y="72"/>
                  </a:lnTo>
                  <a:lnTo>
                    <a:pt x="326" y="72"/>
                  </a:lnTo>
                  <a:lnTo>
                    <a:pt x="324" y="68"/>
                  </a:lnTo>
                  <a:lnTo>
                    <a:pt x="322" y="68"/>
                  </a:lnTo>
                  <a:lnTo>
                    <a:pt x="324" y="68"/>
                  </a:lnTo>
                  <a:lnTo>
                    <a:pt x="324" y="66"/>
                  </a:lnTo>
                  <a:lnTo>
                    <a:pt x="322" y="66"/>
                  </a:lnTo>
                  <a:lnTo>
                    <a:pt x="322" y="64"/>
                  </a:lnTo>
                  <a:lnTo>
                    <a:pt x="322" y="62"/>
                  </a:lnTo>
                  <a:lnTo>
                    <a:pt x="320" y="62"/>
                  </a:lnTo>
                  <a:lnTo>
                    <a:pt x="318" y="64"/>
                  </a:lnTo>
                  <a:lnTo>
                    <a:pt x="318" y="60"/>
                  </a:lnTo>
                  <a:lnTo>
                    <a:pt x="318" y="58"/>
                  </a:lnTo>
                  <a:lnTo>
                    <a:pt x="312" y="56"/>
                  </a:lnTo>
                  <a:lnTo>
                    <a:pt x="308" y="56"/>
                  </a:lnTo>
                  <a:lnTo>
                    <a:pt x="308" y="60"/>
                  </a:lnTo>
                  <a:lnTo>
                    <a:pt x="304" y="60"/>
                  </a:lnTo>
                  <a:lnTo>
                    <a:pt x="302" y="62"/>
                  </a:lnTo>
                  <a:lnTo>
                    <a:pt x="304" y="62"/>
                  </a:lnTo>
                  <a:lnTo>
                    <a:pt x="304" y="66"/>
                  </a:lnTo>
                  <a:lnTo>
                    <a:pt x="300" y="66"/>
                  </a:lnTo>
                  <a:lnTo>
                    <a:pt x="296" y="64"/>
                  </a:lnTo>
                  <a:lnTo>
                    <a:pt x="296" y="68"/>
                  </a:lnTo>
                  <a:lnTo>
                    <a:pt x="300" y="72"/>
                  </a:lnTo>
                  <a:lnTo>
                    <a:pt x="296" y="70"/>
                  </a:lnTo>
                  <a:lnTo>
                    <a:pt x="294" y="70"/>
                  </a:lnTo>
                  <a:lnTo>
                    <a:pt x="292" y="74"/>
                  </a:lnTo>
                  <a:lnTo>
                    <a:pt x="288" y="74"/>
                  </a:lnTo>
                  <a:lnTo>
                    <a:pt x="284" y="74"/>
                  </a:lnTo>
                  <a:lnTo>
                    <a:pt x="280" y="72"/>
                  </a:lnTo>
                  <a:lnTo>
                    <a:pt x="278" y="74"/>
                  </a:lnTo>
                  <a:lnTo>
                    <a:pt x="276" y="72"/>
                  </a:lnTo>
                  <a:lnTo>
                    <a:pt x="268" y="72"/>
                  </a:lnTo>
                  <a:lnTo>
                    <a:pt x="266" y="72"/>
                  </a:lnTo>
                  <a:lnTo>
                    <a:pt x="264" y="74"/>
                  </a:lnTo>
                  <a:lnTo>
                    <a:pt x="264" y="76"/>
                  </a:lnTo>
                  <a:lnTo>
                    <a:pt x="264" y="74"/>
                  </a:lnTo>
                  <a:lnTo>
                    <a:pt x="262" y="74"/>
                  </a:lnTo>
                  <a:lnTo>
                    <a:pt x="260" y="74"/>
                  </a:lnTo>
                  <a:lnTo>
                    <a:pt x="258" y="74"/>
                  </a:lnTo>
                  <a:lnTo>
                    <a:pt x="256" y="74"/>
                  </a:lnTo>
                  <a:lnTo>
                    <a:pt x="254" y="74"/>
                  </a:lnTo>
                  <a:lnTo>
                    <a:pt x="252" y="74"/>
                  </a:lnTo>
                  <a:lnTo>
                    <a:pt x="252" y="76"/>
                  </a:lnTo>
                  <a:lnTo>
                    <a:pt x="246" y="76"/>
                  </a:lnTo>
                  <a:lnTo>
                    <a:pt x="244" y="74"/>
                  </a:lnTo>
                  <a:lnTo>
                    <a:pt x="242" y="74"/>
                  </a:lnTo>
                  <a:lnTo>
                    <a:pt x="240" y="74"/>
                  </a:lnTo>
                  <a:lnTo>
                    <a:pt x="240" y="72"/>
                  </a:lnTo>
                  <a:lnTo>
                    <a:pt x="238" y="72"/>
                  </a:lnTo>
                  <a:lnTo>
                    <a:pt x="238" y="74"/>
                  </a:lnTo>
                  <a:lnTo>
                    <a:pt x="238" y="76"/>
                  </a:lnTo>
                  <a:lnTo>
                    <a:pt x="238" y="78"/>
                  </a:lnTo>
                  <a:lnTo>
                    <a:pt x="236" y="80"/>
                  </a:lnTo>
                  <a:lnTo>
                    <a:pt x="234" y="80"/>
                  </a:lnTo>
                  <a:lnTo>
                    <a:pt x="232" y="80"/>
                  </a:lnTo>
                  <a:lnTo>
                    <a:pt x="230" y="80"/>
                  </a:lnTo>
                  <a:lnTo>
                    <a:pt x="228" y="82"/>
                  </a:lnTo>
                  <a:lnTo>
                    <a:pt x="230" y="84"/>
                  </a:lnTo>
                  <a:lnTo>
                    <a:pt x="234" y="88"/>
                  </a:lnTo>
                  <a:lnTo>
                    <a:pt x="236" y="88"/>
                  </a:lnTo>
                  <a:lnTo>
                    <a:pt x="232" y="88"/>
                  </a:lnTo>
                  <a:lnTo>
                    <a:pt x="230" y="92"/>
                  </a:lnTo>
                  <a:lnTo>
                    <a:pt x="226" y="92"/>
                  </a:lnTo>
                  <a:lnTo>
                    <a:pt x="222" y="90"/>
                  </a:lnTo>
                  <a:lnTo>
                    <a:pt x="220" y="94"/>
                  </a:lnTo>
                  <a:lnTo>
                    <a:pt x="220" y="96"/>
                  </a:lnTo>
                  <a:lnTo>
                    <a:pt x="224" y="96"/>
                  </a:lnTo>
                  <a:lnTo>
                    <a:pt x="228" y="94"/>
                  </a:lnTo>
                  <a:lnTo>
                    <a:pt x="230" y="96"/>
                  </a:lnTo>
                  <a:lnTo>
                    <a:pt x="234" y="96"/>
                  </a:lnTo>
                  <a:lnTo>
                    <a:pt x="236" y="96"/>
                  </a:lnTo>
                  <a:lnTo>
                    <a:pt x="234" y="98"/>
                  </a:lnTo>
                  <a:lnTo>
                    <a:pt x="232" y="98"/>
                  </a:lnTo>
                  <a:lnTo>
                    <a:pt x="230" y="98"/>
                  </a:lnTo>
                  <a:lnTo>
                    <a:pt x="228" y="98"/>
                  </a:lnTo>
                  <a:lnTo>
                    <a:pt x="228" y="100"/>
                  </a:lnTo>
                  <a:lnTo>
                    <a:pt x="228" y="102"/>
                  </a:lnTo>
                  <a:lnTo>
                    <a:pt x="228" y="104"/>
                  </a:lnTo>
                  <a:lnTo>
                    <a:pt x="228" y="106"/>
                  </a:lnTo>
                  <a:lnTo>
                    <a:pt x="230" y="108"/>
                  </a:lnTo>
                  <a:lnTo>
                    <a:pt x="230" y="110"/>
                  </a:lnTo>
                  <a:lnTo>
                    <a:pt x="232" y="110"/>
                  </a:lnTo>
                  <a:lnTo>
                    <a:pt x="236" y="112"/>
                  </a:lnTo>
                  <a:lnTo>
                    <a:pt x="238" y="114"/>
                  </a:lnTo>
                  <a:lnTo>
                    <a:pt x="242" y="116"/>
                  </a:lnTo>
                  <a:lnTo>
                    <a:pt x="242" y="118"/>
                  </a:lnTo>
                  <a:lnTo>
                    <a:pt x="242" y="120"/>
                  </a:lnTo>
                  <a:lnTo>
                    <a:pt x="240" y="120"/>
                  </a:lnTo>
                  <a:lnTo>
                    <a:pt x="238" y="122"/>
                  </a:lnTo>
                  <a:lnTo>
                    <a:pt x="236" y="122"/>
                  </a:lnTo>
                  <a:lnTo>
                    <a:pt x="236" y="124"/>
                  </a:lnTo>
                  <a:lnTo>
                    <a:pt x="234" y="124"/>
                  </a:lnTo>
                  <a:lnTo>
                    <a:pt x="232" y="124"/>
                  </a:lnTo>
                  <a:lnTo>
                    <a:pt x="230" y="126"/>
                  </a:lnTo>
                  <a:lnTo>
                    <a:pt x="228" y="126"/>
                  </a:lnTo>
                  <a:lnTo>
                    <a:pt x="228" y="128"/>
                  </a:lnTo>
                  <a:lnTo>
                    <a:pt x="228" y="130"/>
                  </a:lnTo>
                  <a:lnTo>
                    <a:pt x="226" y="130"/>
                  </a:lnTo>
                  <a:lnTo>
                    <a:pt x="226" y="132"/>
                  </a:lnTo>
                  <a:lnTo>
                    <a:pt x="224" y="132"/>
                  </a:lnTo>
                  <a:lnTo>
                    <a:pt x="226" y="132"/>
                  </a:lnTo>
                  <a:lnTo>
                    <a:pt x="228" y="132"/>
                  </a:lnTo>
                  <a:lnTo>
                    <a:pt x="228" y="130"/>
                  </a:lnTo>
                  <a:lnTo>
                    <a:pt x="230" y="130"/>
                  </a:lnTo>
                  <a:lnTo>
                    <a:pt x="232" y="128"/>
                  </a:lnTo>
                  <a:lnTo>
                    <a:pt x="234" y="128"/>
                  </a:lnTo>
                  <a:lnTo>
                    <a:pt x="236" y="128"/>
                  </a:lnTo>
                  <a:lnTo>
                    <a:pt x="236" y="130"/>
                  </a:lnTo>
                  <a:lnTo>
                    <a:pt x="238" y="130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40" y="124"/>
                  </a:lnTo>
                  <a:lnTo>
                    <a:pt x="242" y="124"/>
                  </a:lnTo>
                  <a:lnTo>
                    <a:pt x="242" y="122"/>
                  </a:lnTo>
                  <a:lnTo>
                    <a:pt x="244" y="120"/>
                  </a:lnTo>
                  <a:lnTo>
                    <a:pt x="246" y="120"/>
                  </a:lnTo>
                  <a:lnTo>
                    <a:pt x="248" y="120"/>
                  </a:lnTo>
                  <a:lnTo>
                    <a:pt x="250" y="120"/>
                  </a:lnTo>
                  <a:lnTo>
                    <a:pt x="250" y="118"/>
                  </a:lnTo>
                  <a:lnTo>
                    <a:pt x="250" y="116"/>
                  </a:lnTo>
                  <a:lnTo>
                    <a:pt x="250" y="112"/>
                  </a:lnTo>
                  <a:lnTo>
                    <a:pt x="250" y="110"/>
                  </a:lnTo>
                  <a:lnTo>
                    <a:pt x="252" y="110"/>
                  </a:lnTo>
                  <a:lnTo>
                    <a:pt x="254" y="110"/>
                  </a:lnTo>
                  <a:lnTo>
                    <a:pt x="256" y="108"/>
                  </a:lnTo>
                  <a:lnTo>
                    <a:pt x="262" y="108"/>
                  </a:lnTo>
                  <a:lnTo>
                    <a:pt x="264" y="110"/>
                  </a:lnTo>
                  <a:lnTo>
                    <a:pt x="266" y="110"/>
                  </a:lnTo>
                  <a:lnTo>
                    <a:pt x="268" y="112"/>
                  </a:lnTo>
                  <a:lnTo>
                    <a:pt x="270" y="112"/>
                  </a:lnTo>
                  <a:lnTo>
                    <a:pt x="272" y="112"/>
                  </a:lnTo>
                  <a:lnTo>
                    <a:pt x="274" y="112"/>
                  </a:lnTo>
                  <a:lnTo>
                    <a:pt x="276" y="114"/>
                  </a:lnTo>
                  <a:lnTo>
                    <a:pt x="278" y="114"/>
                  </a:lnTo>
                  <a:lnTo>
                    <a:pt x="280" y="114"/>
                  </a:lnTo>
                  <a:lnTo>
                    <a:pt x="282" y="116"/>
                  </a:lnTo>
                  <a:lnTo>
                    <a:pt x="284" y="116"/>
                  </a:lnTo>
                  <a:lnTo>
                    <a:pt x="282" y="118"/>
                  </a:lnTo>
                  <a:lnTo>
                    <a:pt x="284" y="120"/>
                  </a:lnTo>
                  <a:lnTo>
                    <a:pt x="286" y="122"/>
                  </a:lnTo>
                  <a:lnTo>
                    <a:pt x="288" y="128"/>
                  </a:lnTo>
                  <a:lnTo>
                    <a:pt x="288" y="124"/>
                  </a:lnTo>
                  <a:lnTo>
                    <a:pt x="292" y="124"/>
                  </a:lnTo>
                  <a:lnTo>
                    <a:pt x="292" y="126"/>
                  </a:lnTo>
                  <a:lnTo>
                    <a:pt x="292" y="130"/>
                  </a:lnTo>
                  <a:lnTo>
                    <a:pt x="294" y="132"/>
                  </a:lnTo>
                  <a:lnTo>
                    <a:pt x="296" y="132"/>
                  </a:lnTo>
                  <a:lnTo>
                    <a:pt x="296" y="130"/>
                  </a:lnTo>
                  <a:lnTo>
                    <a:pt x="296" y="128"/>
                  </a:lnTo>
                  <a:lnTo>
                    <a:pt x="300" y="130"/>
                  </a:lnTo>
                  <a:lnTo>
                    <a:pt x="302" y="132"/>
                  </a:lnTo>
                  <a:lnTo>
                    <a:pt x="306" y="134"/>
                  </a:lnTo>
                  <a:lnTo>
                    <a:pt x="308" y="132"/>
                  </a:lnTo>
                  <a:lnTo>
                    <a:pt x="310" y="132"/>
                  </a:lnTo>
                  <a:lnTo>
                    <a:pt x="310" y="134"/>
                  </a:lnTo>
                  <a:lnTo>
                    <a:pt x="308" y="134"/>
                  </a:lnTo>
                  <a:lnTo>
                    <a:pt x="308" y="138"/>
                  </a:lnTo>
                  <a:lnTo>
                    <a:pt x="310" y="140"/>
                  </a:lnTo>
                  <a:lnTo>
                    <a:pt x="312" y="138"/>
                  </a:lnTo>
                  <a:lnTo>
                    <a:pt x="314" y="138"/>
                  </a:lnTo>
                  <a:lnTo>
                    <a:pt x="318" y="140"/>
                  </a:lnTo>
                  <a:lnTo>
                    <a:pt x="322" y="140"/>
                  </a:lnTo>
                  <a:lnTo>
                    <a:pt x="324" y="142"/>
                  </a:lnTo>
                  <a:lnTo>
                    <a:pt x="322" y="142"/>
                  </a:lnTo>
                  <a:lnTo>
                    <a:pt x="320" y="142"/>
                  </a:lnTo>
                  <a:lnTo>
                    <a:pt x="318" y="142"/>
                  </a:lnTo>
                  <a:lnTo>
                    <a:pt x="316" y="142"/>
                  </a:lnTo>
                  <a:lnTo>
                    <a:pt x="314" y="142"/>
                  </a:lnTo>
                  <a:lnTo>
                    <a:pt x="314" y="144"/>
                  </a:lnTo>
                  <a:lnTo>
                    <a:pt x="316" y="144"/>
                  </a:lnTo>
                  <a:lnTo>
                    <a:pt x="316" y="146"/>
                  </a:lnTo>
                  <a:lnTo>
                    <a:pt x="318" y="146"/>
                  </a:lnTo>
                  <a:lnTo>
                    <a:pt x="320" y="148"/>
                  </a:lnTo>
                  <a:lnTo>
                    <a:pt x="322" y="148"/>
                  </a:lnTo>
                  <a:lnTo>
                    <a:pt x="322" y="150"/>
                  </a:lnTo>
                  <a:lnTo>
                    <a:pt x="326" y="156"/>
                  </a:lnTo>
                  <a:lnTo>
                    <a:pt x="324" y="162"/>
                  </a:lnTo>
                  <a:lnTo>
                    <a:pt x="328" y="162"/>
                  </a:lnTo>
                  <a:lnTo>
                    <a:pt x="328" y="168"/>
                  </a:lnTo>
                  <a:lnTo>
                    <a:pt x="328" y="166"/>
                  </a:lnTo>
                  <a:lnTo>
                    <a:pt x="330" y="166"/>
                  </a:lnTo>
                  <a:lnTo>
                    <a:pt x="332" y="168"/>
                  </a:lnTo>
                  <a:lnTo>
                    <a:pt x="332" y="170"/>
                  </a:lnTo>
                  <a:lnTo>
                    <a:pt x="332" y="172"/>
                  </a:lnTo>
                  <a:lnTo>
                    <a:pt x="332" y="174"/>
                  </a:lnTo>
                  <a:lnTo>
                    <a:pt x="334" y="176"/>
                  </a:lnTo>
                  <a:lnTo>
                    <a:pt x="336" y="178"/>
                  </a:lnTo>
                  <a:lnTo>
                    <a:pt x="338" y="180"/>
                  </a:lnTo>
                  <a:lnTo>
                    <a:pt x="340" y="180"/>
                  </a:lnTo>
                  <a:lnTo>
                    <a:pt x="342" y="182"/>
                  </a:lnTo>
                  <a:lnTo>
                    <a:pt x="342" y="184"/>
                  </a:lnTo>
                  <a:lnTo>
                    <a:pt x="342" y="186"/>
                  </a:lnTo>
                  <a:lnTo>
                    <a:pt x="344" y="186"/>
                  </a:lnTo>
                  <a:lnTo>
                    <a:pt x="346" y="188"/>
                  </a:lnTo>
                  <a:lnTo>
                    <a:pt x="348" y="188"/>
                  </a:lnTo>
                  <a:lnTo>
                    <a:pt x="348" y="190"/>
                  </a:lnTo>
                  <a:lnTo>
                    <a:pt x="350" y="190"/>
                  </a:lnTo>
                  <a:lnTo>
                    <a:pt x="350" y="192"/>
                  </a:lnTo>
                  <a:lnTo>
                    <a:pt x="352" y="192"/>
                  </a:lnTo>
                  <a:lnTo>
                    <a:pt x="354" y="192"/>
                  </a:lnTo>
                  <a:lnTo>
                    <a:pt x="354" y="194"/>
                  </a:lnTo>
                  <a:lnTo>
                    <a:pt x="356" y="194"/>
                  </a:lnTo>
                  <a:lnTo>
                    <a:pt x="358" y="194"/>
                  </a:lnTo>
                  <a:lnTo>
                    <a:pt x="360" y="196"/>
                  </a:lnTo>
                  <a:lnTo>
                    <a:pt x="364" y="196"/>
                  </a:lnTo>
                  <a:lnTo>
                    <a:pt x="366" y="200"/>
                  </a:lnTo>
                  <a:lnTo>
                    <a:pt x="368" y="202"/>
                  </a:lnTo>
                  <a:lnTo>
                    <a:pt x="370" y="206"/>
                  </a:lnTo>
                  <a:lnTo>
                    <a:pt x="374" y="206"/>
                  </a:lnTo>
                  <a:lnTo>
                    <a:pt x="374" y="210"/>
                  </a:lnTo>
                  <a:lnTo>
                    <a:pt x="376" y="210"/>
                  </a:lnTo>
                  <a:lnTo>
                    <a:pt x="376" y="214"/>
                  </a:lnTo>
                  <a:lnTo>
                    <a:pt x="378" y="214"/>
                  </a:lnTo>
                  <a:lnTo>
                    <a:pt x="380" y="214"/>
                  </a:lnTo>
                  <a:lnTo>
                    <a:pt x="382" y="214"/>
                  </a:lnTo>
                  <a:lnTo>
                    <a:pt x="384" y="216"/>
                  </a:lnTo>
                  <a:lnTo>
                    <a:pt x="384" y="218"/>
                  </a:lnTo>
                  <a:lnTo>
                    <a:pt x="386" y="218"/>
                  </a:lnTo>
                  <a:lnTo>
                    <a:pt x="386" y="220"/>
                  </a:lnTo>
                  <a:lnTo>
                    <a:pt x="392" y="222"/>
                  </a:lnTo>
                  <a:lnTo>
                    <a:pt x="394" y="222"/>
                  </a:lnTo>
                  <a:lnTo>
                    <a:pt x="392" y="218"/>
                  </a:lnTo>
                  <a:lnTo>
                    <a:pt x="390" y="218"/>
                  </a:lnTo>
                  <a:lnTo>
                    <a:pt x="388" y="218"/>
                  </a:lnTo>
                  <a:lnTo>
                    <a:pt x="386" y="216"/>
                  </a:lnTo>
                  <a:lnTo>
                    <a:pt x="386" y="214"/>
                  </a:lnTo>
                  <a:lnTo>
                    <a:pt x="386" y="212"/>
                  </a:lnTo>
                  <a:lnTo>
                    <a:pt x="384" y="210"/>
                  </a:lnTo>
                  <a:lnTo>
                    <a:pt x="382" y="210"/>
                  </a:lnTo>
                  <a:lnTo>
                    <a:pt x="382" y="208"/>
                  </a:lnTo>
                  <a:lnTo>
                    <a:pt x="380" y="208"/>
                  </a:lnTo>
                  <a:lnTo>
                    <a:pt x="380" y="206"/>
                  </a:lnTo>
                  <a:lnTo>
                    <a:pt x="378" y="206"/>
                  </a:lnTo>
                  <a:lnTo>
                    <a:pt x="376" y="204"/>
                  </a:lnTo>
                  <a:lnTo>
                    <a:pt x="374" y="202"/>
                  </a:lnTo>
                  <a:lnTo>
                    <a:pt x="370" y="198"/>
                  </a:lnTo>
                  <a:lnTo>
                    <a:pt x="368" y="196"/>
                  </a:lnTo>
                  <a:lnTo>
                    <a:pt x="370" y="196"/>
                  </a:lnTo>
                  <a:lnTo>
                    <a:pt x="370" y="194"/>
                  </a:lnTo>
                  <a:lnTo>
                    <a:pt x="372" y="194"/>
                  </a:lnTo>
                  <a:lnTo>
                    <a:pt x="372" y="196"/>
                  </a:lnTo>
                  <a:lnTo>
                    <a:pt x="374" y="196"/>
                  </a:lnTo>
                  <a:lnTo>
                    <a:pt x="376" y="198"/>
                  </a:lnTo>
                  <a:lnTo>
                    <a:pt x="376" y="200"/>
                  </a:lnTo>
                  <a:lnTo>
                    <a:pt x="376" y="202"/>
                  </a:lnTo>
                  <a:lnTo>
                    <a:pt x="378" y="202"/>
                  </a:lnTo>
                  <a:lnTo>
                    <a:pt x="380" y="202"/>
                  </a:lnTo>
                  <a:lnTo>
                    <a:pt x="382" y="202"/>
                  </a:lnTo>
                  <a:lnTo>
                    <a:pt x="384" y="204"/>
                  </a:lnTo>
                  <a:lnTo>
                    <a:pt x="384" y="206"/>
                  </a:lnTo>
                  <a:lnTo>
                    <a:pt x="386" y="208"/>
                  </a:lnTo>
                  <a:lnTo>
                    <a:pt x="388" y="208"/>
                  </a:lnTo>
                  <a:lnTo>
                    <a:pt x="388" y="210"/>
                  </a:lnTo>
                  <a:lnTo>
                    <a:pt x="390" y="210"/>
                  </a:lnTo>
                  <a:lnTo>
                    <a:pt x="392" y="212"/>
                  </a:lnTo>
                  <a:lnTo>
                    <a:pt x="396" y="212"/>
                  </a:lnTo>
                  <a:lnTo>
                    <a:pt x="398" y="214"/>
                  </a:lnTo>
                  <a:lnTo>
                    <a:pt x="404" y="216"/>
                  </a:lnTo>
                  <a:lnTo>
                    <a:pt x="408" y="222"/>
                  </a:lnTo>
                  <a:lnTo>
                    <a:pt x="406" y="222"/>
                  </a:lnTo>
                  <a:lnTo>
                    <a:pt x="404" y="222"/>
                  </a:lnTo>
                  <a:lnTo>
                    <a:pt x="404" y="224"/>
                  </a:lnTo>
                  <a:lnTo>
                    <a:pt x="402" y="224"/>
                  </a:lnTo>
                  <a:lnTo>
                    <a:pt x="404" y="224"/>
                  </a:lnTo>
                  <a:lnTo>
                    <a:pt x="404" y="226"/>
                  </a:lnTo>
                  <a:lnTo>
                    <a:pt x="406" y="226"/>
                  </a:lnTo>
                  <a:lnTo>
                    <a:pt x="406" y="228"/>
                  </a:lnTo>
                  <a:lnTo>
                    <a:pt x="408" y="228"/>
                  </a:lnTo>
                  <a:lnTo>
                    <a:pt x="408" y="230"/>
                  </a:lnTo>
                  <a:lnTo>
                    <a:pt x="410" y="230"/>
                  </a:lnTo>
                  <a:lnTo>
                    <a:pt x="412" y="230"/>
                  </a:lnTo>
                  <a:lnTo>
                    <a:pt x="414" y="230"/>
                  </a:lnTo>
                  <a:lnTo>
                    <a:pt x="416" y="228"/>
                  </a:lnTo>
                  <a:lnTo>
                    <a:pt x="422" y="228"/>
                  </a:lnTo>
                  <a:lnTo>
                    <a:pt x="426" y="228"/>
                  </a:lnTo>
                  <a:lnTo>
                    <a:pt x="428" y="224"/>
                  </a:lnTo>
                  <a:lnTo>
                    <a:pt x="430" y="220"/>
                  </a:lnTo>
                  <a:lnTo>
                    <a:pt x="432" y="220"/>
                  </a:lnTo>
                  <a:lnTo>
                    <a:pt x="432" y="222"/>
                  </a:lnTo>
                  <a:lnTo>
                    <a:pt x="434" y="222"/>
                  </a:lnTo>
                  <a:lnTo>
                    <a:pt x="434" y="224"/>
                  </a:lnTo>
                  <a:lnTo>
                    <a:pt x="442" y="220"/>
                  </a:lnTo>
                  <a:lnTo>
                    <a:pt x="442" y="222"/>
                  </a:lnTo>
                  <a:lnTo>
                    <a:pt x="442" y="224"/>
                  </a:lnTo>
                  <a:lnTo>
                    <a:pt x="440" y="226"/>
                  </a:lnTo>
                  <a:lnTo>
                    <a:pt x="438" y="234"/>
                  </a:lnTo>
                  <a:lnTo>
                    <a:pt x="442" y="242"/>
                  </a:lnTo>
                  <a:lnTo>
                    <a:pt x="442" y="240"/>
                  </a:lnTo>
                  <a:lnTo>
                    <a:pt x="442" y="238"/>
                  </a:lnTo>
                  <a:lnTo>
                    <a:pt x="442" y="234"/>
                  </a:lnTo>
                  <a:lnTo>
                    <a:pt x="444" y="232"/>
                  </a:lnTo>
                  <a:lnTo>
                    <a:pt x="444" y="230"/>
                  </a:lnTo>
                  <a:close/>
                  <a:moveTo>
                    <a:pt x="270" y="62"/>
                  </a:moveTo>
                  <a:lnTo>
                    <a:pt x="272" y="64"/>
                  </a:lnTo>
                  <a:lnTo>
                    <a:pt x="276" y="64"/>
                  </a:lnTo>
                  <a:lnTo>
                    <a:pt x="278" y="68"/>
                  </a:lnTo>
                  <a:lnTo>
                    <a:pt x="280" y="62"/>
                  </a:lnTo>
                  <a:lnTo>
                    <a:pt x="282" y="68"/>
                  </a:lnTo>
                  <a:lnTo>
                    <a:pt x="284" y="66"/>
                  </a:lnTo>
                  <a:lnTo>
                    <a:pt x="288" y="68"/>
                  </a:lnTo>
                  <a:lnTo>
                    <a:pt x="292" y="68"/>
                  </a:lnTo>
                  <a:lnTo>
                    <a:pt x="294" y="66"/>
                  </a:lnTo>
                  <a:lnTo>
                    <a:pt x="298" y="64"/>
                  </a:lnTo>
                  <a:lnTo>
                    <a:pt x="294" y="62"/>
                  </a:lnTo>
                  <a:lnTo>
                    <a:pt x="292" y="58"/>
                  </a:lnTo>
                  <a:lnTo>
                    <a:pt x="286" y="58"/>
                  </a:lnTo>
                  <a:lnTo>
                    <a:pt x="286" y="56"/>
                  </a:lnTo>
                  <a:lnTo>
                    <a:pt x="282" y="54"/>
                  </a:lnTo>
                  <a:lnTo>
                    <a:pt x="280" y="54"/>
                  </a:lnTo>
                  <a:lnTo>
                    <a:pt x="278" y="56"/>
                  </a:lnTo>
                  <a:lnTo>
                    <a:pt x="278" y="60"/>
                  </a:lnTo>
                  <a:lnTo>
                    <a:pt x="276" y="60"/>
                  </a:lnTo>
                  <a:lnTo>
                    <a:pt x="272" y="60"/>
                  </a:lnTo>
                  <a:lnTo>
                    <a:pt x="270" y="62"/>
                  </a:lnTo>
                  <a:close/>
                  <a:moveTo>
                    <a:pt x="264" y="54"/>
                  </a:moveTo>
                  <a:lnTo>
                    <a:pt x="264" y="56"/>
                  </a:lnTo>
                  <a:lnTo>
                    <a:pt x="262" y="56"/>
                  </a:lnTo>
                  <a:lnTo>
                    <a:pt x="262" y="58"/>
                  </a:lnTo>
                  <a:lnTo>
                    <a:pt x="264" y="58"/>
                  </a:lnTo>
                  <a:lnTo>
                    <a:pt x="264" y="60"/>
                  </a:lnTo>
                  <a:lnTo>
                    <a:pt x="262" y="62"/>
                  </a:lnTo>
                  <a:lnTo>
                    <a:pt x="264" y="62"/>
                  </a:lnTo>
                  <a:lnTo>
                    <a:pt x="264" y="66"/>
                  </a:lnTo>
                  <a:lnTo>
                    <a:pt x="268" y="68"/>
                  </a:lnTo>
                  <a:lnTo>
                    <a:pt x="268" y="64"/>
                  </a:lnTo>
                  <a:lnTo>
                    <a:pt x="270" y="64"/>
                  </a:lnTo>
                  <a:lnTo>
                    <a:pt x="268" y="60"/>
                  </a:lnTo>
                  <a:lnTo>
                    <a:pt x="268" y="58"/>
                  </a:lnTo>
                  <a:lnTo>
                    <a:pt x="268" y="56"/>
                  </a:lnTo>
                  <a:lnTo>
                    <a:pt x="266" y="54"/>
                  </a:lnTo>
                  <a:lnTo>
                    <a:pt x="264" y="54"/>
                  </a:lnTo>
                  <a:close/>
                  <a:moveTo>
                    <a:pt x="288" y="52"/>
                  </a:moveTo>
                  <a:lnTo>
                    <a:pt x="294" y="50"/>
                  </a:lnTo>
                  <a:lnTo>
                    <a:pt x="294" y="54"/>
                  </a:lnTo>
                  <a:lnTo>
                    <a:pt x="298" y="50"/>
                  </a:lnTo>
                  <a:lnTo>
                    <a:pt x="302" y="56"/>
                  </a:lnTo>
                  <a:lnTo>
                    <a:pt x="306" y="54"/>
                  </a:lnTo>
                  <a:lnTo>
                    <a:pt x="306" y="48"/>
                  </a:lnTo>
                  <a:lnTo>
                    <a:pt x="308" y="46"/>
                  </a:lnTo>
                  <a:lnTo>
                    <a:pt x="314" y="46"/>
                  </a:lnTo>
                  <a:lnTo>
                    <a:pt x="318" y="48"/>
                  </a:lnTo>
                  <a:lnTo>
                    <a:pt x="320" y="42"/>
                  </a:lnTo>
                  <a:lnTo>
                    <a:pt x="324" y="44"/>
                  </a:lnTo>
                  <a:lnTo>
                    <a:pt x="322" y="40"/>
                  </a:lnTo>
                  <a:lnTo>
                    <a:pt x="320" y="40"/>
                  </a:lnTo>
                  <a:lnTo>
                    <a:pt x="314" y="40"/>
                  </a:lnTo>
                  <a:lnTo>
                    <a:pt x="308" y="38"/>
                  </a:lnTo>
                  <a:lnTo>
                    <a:pt x="304" y="40"/>
                  </a:lnTo>
                  <a:lnTo>
                    <a:pt x="300" y="42"/>
                  </a:lnTo>
                  <a:lnTo>
                    <a:pt x="294" y="42"/>
                  </a:lnTo>
                  <a:lnTo>
                    <a:pt x="290" y="46"/>
                  </a:lnTo>
                  <a:lnTo>
                    <a:pt x="288" y="46"/>
                  </a:lnTo>
                  <a:lnTo>
                    <a:pt x="288" y="50"/>
                  </a:lnTo>
                  <a:lnTo>
                    <a:pt x="288" y="52"/>
                  </a:lnTo>
                  <a:close/>
                  <a:moveTo>
                    <a:pt x="324" y="48"/>
                  </a:moveTo>
                  <a:lnTo>
                    <a:pt x="322" y="48"/>
                  </a:lnTo>
                  <a:lnTo>
                    <a:pt x="322" y="50"/>
                  </a:lnTo>
                  <a:lnTo>
                    <a:pt x="324" y="52"/>
                  </a:lnTo>
                  <a:lnTo>
                    <a:pt x="326" y="52"/>
                  </a:lnTo>
                  <a:lnTo>
                    <a:pt x="328" y="52"/>
                  </a:lnTo>
                  <a:lnTo>
                    <a:pt x="332" y="54"/>
                  </a:lnTo>
                  <a:lnTo>
                    <a:pt x="332" y="50"/>
                  </a:lnTo>
                  <a:lnTo>
                    <a:pt x="334" y="50"/>
                  </a:lnTo>
                  <a:lnTo>
                    <a:pt x="336" y="50"/>
                  </a:lnTo>
                  <a:lnTo>
                    <a:pt x="338" y="50"/>
                  </a:lnTo>
                  <a:lnTo>
                    <a:pt x="338" y="48"/>
                  </a:lnTo>
                  <a:lnTo>
                    <a:pt x="336" y="48"/>
                  </a:lnTo>
                  <a:lnTo>
                    <a:pt x="334" y="48"/>
                  </a:lnTo>
                  <a:lnTo>
                    <a:pt x="332" y="48"/>
                  </a:lnTo>
                  <a:lnTo>
                    <a:pt x="332" y="46"/>
                  </a:lnTo>
                  <a:lnTo>
                    <a:pt x="328" y="44"/>
                  </a:lnTo>
                  <a:lnTo>
                    <a:pt x="324" y="48"/>
                  </a:lnTo>
                  <a:close/>
                  <a:moveTo>
                    <a:pt x="264" y="50"/>
                  </a:moveTo>
                  <a:lnTo>
                    <a:pt x="264" y="50"/>
                  </a:lnTo>
                  <a:lnTo>
                    <a:pt x="264" y="48"/>
                  </a:lnTo>
                  <a:lnTo>
                    <a:pt x="262" y="48"/>
                  </a:lnTo>
                  <a:lnTo>
                    <a:pt x="262" y="46"/>
                  </a:lnTo>
                  <a:lnTo>
                    <a:pt x="260" y="48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2" y="52"/>
                  </a:lnTo>
                  <a:lnTo>
                    <a:pt x="262" y="54"/>
                  </a:lnTo>
                  <a:lnTo>
                    <a:pt x="264" y="54"/>
                  </a:lnTo>
                  <a:lnTo>
                    <a:pt x="264" y="52"/>
                  </a:lnTo>
                  <a:lnTo>
                    <a:pt x="266" y="52"/>
                  </a:lnTo>
                  <a:lnTo>
                    <a:pt x="264" y="50"/>
                  </a:lnTo>
                  <a:close/>
                  <a:moveTo>
                    <a:pt x="254" y="32"/>
                  </a:moveTo>
                  <a:lnTo>
                    <a:pt x="254" y="32"/>
                  </a:lnTo>
                  <a:lnTo>
                    <a:pt x="256" y="36"/>
                  </a:lnTo>
                  <a:lnTo>
                    <a:pt x="256" y="38"/>
                  </a:lnTo>
                  <a:lnTo>
                    <a:pt x="260" y="38"/>
                  </a:lnTo>
                  <a:lnTo>
                    <a:pt x="262" y="38"/>
                  </a:lnTo>
                  <a:lnTo>
                    <a:pt x="262" y="36"/>
                  </a:lnTo>
                  <a:lnTo>
                    <a:pt x="260" y="36"/>
                  </a:lnTo>
                  <a:lnTo>
                    <a:pt x="258" y="34"/>
                  </a:lnTo>
                  <a:lnTo>
                    <a:pt x="260" y="34"/>
                  </a:lnTo>
                  <a:lnTo>
                    <a:pt x="256" y="32"/>
                  </a:lnTo>
                  <a:lnTo>
                    <a:pt x="256" y="30"/>
                  </a:lnTo>
                  <a:lnTo>
                    <a:pt x="254" y="28"/>
                  </a:lnTo>
                  <a:lnTo>
                    <a:pt x="254" y="30"/>
                  </a:lnTo>
                  <a:lnTo>
                    <a:pt x="254" y="32"/>
                  </a:lnTo>
                  <a:close/>
                  <a:moveTo>
                    <a:pt x="272" y="54"/>
                  </a:moveTo>
                  <a:lnTo>
                    <a:pt x="274" y="56"/>
                  </a:lnTo>
                  <a:lnTo>
                    <a:pt x="268" y="50"/>
                  </a:lnTo>
                  <a:lnTo>
                    <a:pt x="268" y="52"/>
                  </a:lnTo>
                  <a:lnTo>
                    <a:pt x="268" y="54"/>
                  </a:lnTo>
                  <a:lnTo>
                    <a:pt x="272" y="54"/>
                  </a:lnTo>
                  <a:close/>
                  <a:moveTo>
                    <a:pt x="284" y="38"/>
                  </a:moveTo>
                  <a:lnTo>
                    <a:pt x="284" y="38"/>
                  </a:lnTo>
                  <a:lnTo>
                    <a:pt x="284" y="36"/>
                  </a:lnTo>
                  <a:lnTo>
                    <a:pt x="280" y="36"/>
                  </a:lnTo>
                  <a:lnTo>
                    <a:pt x="280" y="38"/>
                  </a:lnTo>
                  <a:lnTo>
                    <a:pt x="282" y="38"/>
                  </a:lnTo>
                  <a:lnTo>
                    <a:pt x="284" y="38"/>
                  </a:lnTo>
                  <a:close/>
                  <a:moveTo>
                    <a:pt x="260" y="30"/>
                  </a:moveTo>
                  <a:lnTo>
                    <a:pt x="258" y="30"/>
                  </a:lnTo>
                  <a:lnTo>
                    <a:pt x="258" y="32"/>
                  </a:lnTo>
                  <a:lnTo>
                    <a:pt x="260" y="32"/>
                  </a:lnTo>
                  <a:lnTo>
                    <a:pt x="260" y="30"/>
                  </a:lnTo>
                  <a:close/>
                  <a:moveTo>
                    <a:pt x="254" y="32"/>
                  </a:moveTo>
                  <a:lnTo>
                    <a:pt x="254" y="32"/>
                  </a:lnTo>
                  <a:lnTo>
                    <a:pt x="252" y="32"/>
                  </a:lnTo>
                  <a:lnTo>
                    <a:pt x="254" y="32"/>
                  </a:lnTo>
                  <a:close/>
                  <a:moveTo>
                    <a:pt x="298" y="32"/>
                  </a:moveTo>
                  <a:lnTo>
                    <a:pt x="300" y="32"/>
                  </a:lnTo>
                  <a:lnTo>
                    <a:pt x="296" y="32"/>
                  </a:lnTo>
                  <a:lnTo>
                    <a:pt x="298" y="32"/>
                  </a:lnTo>
                  <a:close/>
                  <a:moveTo>
                    <a:pt x="104" y="178"/>
                  </a:moveTo>
                  <a:lnTo>
                    <a:pt x="104" y="178"/>
                  </a:lnTo>
                  <a:close/>
                  <a:moveTo>
                    <a:pt x="200" y="96"/>
                  </a:moveTo>
                  <a:lnTo>
                    <a:pt x="202" y="92"/>
                  </a:lnTo>
                  <a:lnTo>
                    <a:pt x="202" y="90"/>
                  </a:lnTo>
                  <a:lnTo>
                    <a:pt x="206" y="88"/>
                  </a:lnTo>
                  <a:lnTo>
                    <a:pt x="204" y="94"/>
                  </a:lnTo>
                  <a:lnTo>
                    <a:pt x="210" y="94"/>
                  </a:lnTo>
                  <a:lnTo>
                    <a:pt x="214" y="98"/>
                  </a:lnTo>
                  <a:lnTo>
                    <a:pt x="214" y="94"/>
                  </a:lnTo>
                  <a:lnTo>
                    <a:pt x="216" y="94"/>
                  </a:lnTo>
                  <a:lnTo>
                    <a:pt x="214" y="92"/>
                  </a:lnTo>
                  <a:lnTo>
                    <a:pt x="210" y="92"/>
                  </a:lnTo>
                  <a:lnTo>
                    <a:pt x="212" y="90"/>
                  </a:lnTo>
                  <a:lnTo>
                    <a:pt x="210" y="88"/>
                  </a:lnTo>
                  <a:lnTo>
                    <a:pt x="206" y="88"/>
                  </a:lnTo>
                  <a:lnTo>
                    <a:pt x="210" y="86"/>
                  </a:lnTo>
                  <a:lnTo>
                    <a:pt x="208" y="82"/>
                  </a:lnTo>
                  <a:lnTo>
                    <a:pt x="204" y="82"/>
                  </a:lnTo>
                  <a:lnTo>
                    <a:pt x="204" y="80"/>
                  </a:lnTo>
                  <a:lnTo>
                    <a:pt x="198" y="80"/>
                  </a:lnTo>
                  <a:lnTo>
                    <a:pt x="196" y="78"/>
                  </a:lnTo>
                  <a:lnTo>
                    <a:pt x="196" y="80"/>
                  </a:lnTo>
                  <a:lnTo>
                    <a:pt x="194" y="80"/>
                  </a:lnTo>
                  <a:lnTo>
                    <a:pt x="192" y="80"/>
                  </a:lnTo>
                  <a:lnTo>
                    <a:pt x="188" y="80"/>
                  </a:lnTo>
                  <a:lnTo>
                    <a:pt x="188" y="76"/>
                  </a:lnTo>
                  <a:lnTo>
                    <a:pt x="184" y="76"/>
                  </a:lnTo>
                  <a:lnTo>
                    <a:pt x="182" y="76"/>
                  </a:lnTo>
                  <a:lnTo>
                    <a:pt x="182" y="74"/>
                  </a:lnTo>
                  <a:lnTo>
                    <a:pt x="184" y="72"/>
                  </a:lnTo>
                  <a:lnTo>
                    <a:pt x="186" y="72"/>
                  </a:lnTo>
                  <a:lnTo>
                    <a:pt x="188" y="70"/>
                  </a:lnTo>
                  <a:lnTo>
                    <a:pt x="186" y="68"/>
                  </a:lnTo>
                  <a:lnTo>
                    <a:pt x="184" y="68"/>
                  </a:lnTo>
                  <a:lnTo>
                    <a:pt x="182" y="68"/>
                  </a:lnTo>
                  <a:lnTo>
                    <a:pt x="180" y="68"/>
                  </a:lnTo>
                  <a:lnTo>
                    <a:pt x="180" y="66"/>
                  </a:lnTo>
                  <a:lnTo>
                    <a:pt x="178" y="64"/>
                  </a:lnTo>
                  <a:lnTo>
                    <a:pt x="180" y="64"/>
                  </a:lnTo>
                  <a:lnTo>
                    <a:pt x="180" y="62"/>
                  </a:lnTo>
                  <a:lnTo>
                    <a:pt x="176" y="62"/>
                  </a:lnTo>
                  <a:lnTo>
                    <a:pt x="180" y="58"/>
                  </a:lnTo>
                  <a:lnTo>
                    <a:pt x="180" y="56"/>
                  </a:lnTo>
                  <a:lnTo>
                    <a:pt x="178" y="56"/>
                  </a:lnTo>
                  <a:lnTo>
                    <a:pt x="178" y="52"/>
                  </a:lnTo>
                  <a:lnTo>
                    <a:pt x="180" y="52"/>
                  </a:lnTo>
                  <a:lnTo>
                    <a:pt x="176" y="50"/>
                  </a:lnTo>
                  <a:lnTo>
                    <a:pt x="176" y="54"/>
                  </a:lnTo>
                  <a:lnTo>
                    <a:pt x="176" y="56"/>
                  </a:lnTo>
                  <a:lnTo>
                    <a:pt x="174" y="60"/>
                  </a:lnTo>
                  <a:lnTo>
                    <a:pt x="172" y="60"/>
                  </a:lnTo>
                  <a:lnTo>
                    <a:pt x="170" y="60"/>
                  </a:lnTo>
                  <a:lnTo>
                    <a:pt x="168" y="60"/>
                  </a:lnTo>
                  <a:lnTo>
                    <a:pt x="170" y="58"/>
                  </a:lnTo>
                  <a:lnTo>
                    <a:pt x="168" y="56"/>
                  </a:lnTo>
                  <a:lnTo>
                    <a:pt x="164" y="56"/>
                  </a:lnTo>
                  <a:lnTo>
                    <a:pt x="166" y="54"/>
                  </a:lnTo>
                  <a:lnTo>
                    <a:pt x="170" y="50"/>
                  </a:lnTo>
                  <a:lnTo>
                    <a:pt x="170" y="48"/>
                  </a:lnTo>
                  <a:lnTo>
                    <a:pt x="174" y="48"/>
                  </a:lnTo>
                  <a:lnTo>
                    <a:pt x="168" y="48"/>
                  </a:lnTo>
                  <a:lnTo>
                    <a:pt x="170" y="46"/>
                  </a:lnTo>
                  <a:lnTo>
                    <a:pt x="170" y="44"/>
                  </a:lnTo>
                  <a:lnTo>
                    <a:pt x="172" y="40"/>
                  </a:lnTo>
                  <a:lnTo>
                    <a:pt x="170" y="40"/>
                  </a:lnTo>
                  <a:lnTo>
                    <a:pt x="168" y="40"/>
                  </a:lnTo>
                  <a:lnTo>
                    <a:pt x="166" y="40"/>
                  </a:lnTo>
                  <a:lnTo>
                    <a:pt x="166" y="38"/>
                  </a:lnTo>
                  <a:lnTo>
                    <a:pt x="168" y="38"/>
                  </a:lnTo>
                  <a:lnTo>
                    <a:pt x="170" y="38"/>
                  </a:lnTo>
                  <a:lnTo>
                    <a:pt x="172" y="38"/>
                  </a:lnTo>
                  <a:lnTo>
                    <a:pt x="174" y="38"/>
                  </a:lnTo>
                  <a:lnTo>
                    <a:pt x="178" y="40"/>
                  </a:lnTo>
                  <a:lnTo>
                    <a:pt x="180" y="42"/>
                  </a:lnTo>
                  <a:lnTo>
                    <a:pt x="180" y="38"/>
                  </a:lnTo>
                  <a:lnTo>
                    <a:pt x="182" y="36"/>
                  </a:lnTo>
                  <a:lnTo>
                    <a:pt x="186" y="36"/>
                  </a:lnTo>
                  <a:lnTo>
                    <a:pt x="188" y="34"/>
                  </a:lnTo>
                  <a:lnTo>
                    <a:pt x="190" y="32"/>
                  </a:lnTo>
                  <a:lnTo>
                    <a:pt x="194" y="34"/>
                  </a:lnTo>
                  <a:lnTo>
                    <a:pt x="194" y="32"/>
                  </a:lnTo>
                  <a:lnTo>
                    <a:pt x="196" y="32"/>
                  </a:lnTo>
                  <a:lnTo>
                    <a:pt x="198" y="32"/>
                  </a:lnTo>
                  <a:lnTo>
                    <a:pt x="200" y="30"/>
                  </a:lnTo>
                  <a:lnTo>
                    <a:pt x="202" y="30"/>
                  </a:lnTo>
                  <a:lnTo>
                    <a:pt x="200" y="26"/>
                  </a:lnTo>
                  <a:lnTo>
                    <a:pt x="198" y="28"/>
                  </a:lnTo>
                  <a:lnTo>
                    <a:pt x="192" y="30"/>
                  </a:lnTo>
                  <a:lnTo>
                    <a:pt x="192" y="32"/>
                  </a:lnTo>
                  <a:lnTo>
                    <a:pt x="188" y="32"/>
                  </a:lnTo>
                  <a:lnTo>
                    <a:pt x="186" y="32"/>
                  </a:lnTo>
                  <a:lnTo>
                    <a:pt x="184" y="32"/>
                  </a:lnTo>
                  <a:lnTo>
                    <a:pt x="182" y="32"/>
                  </a:lnTo>
                  <a:lnTo>
                    <a:pt x="182" y="30"/>
                  </a:lnTo>
                  <a:lnTo>
                    <a:pt x="182" y="28"/>
                  </a:lnTo>
                  <a:lnTo>
                    <a:pt x="180" y="26"/>
                  </a:lnTo>
                  <a:lnTo>
                    <a:pt x="178" y="26"/>
                  </a:lnTo>
                  <a:lnTo>
                    <a:pt x="174" y="26"/>
                  </a:lnTo>
                  <a:lnTo>
                    <a:pt x="170" y="24"/>
                  </a:lnTo>
                  <a:lnTo>
                    <a:pt x="168" y="26"/>
                  </a:lnTo>
                  <a:lnTo>
                    <a:pt x="166" y="28"/>
                  </a:lnTo>
                  <a:lnTo>
                    <a:pt x="164" y="30"/>
                  </a:lnTo>
                  <a:lnTo>
                    <a:pt x="162" y="28"/>
                  </a:lnTo>
                  <a:lnTo>
                    <a:pt x="162" y="26"/>
                  </a:lnTo>
                  <a:lnTo>
                    <a:pt x="160" y="24"/>
                  </a:lnTo>
                  <a:lnTo>
                    <a:pt x="162" y="22"/>
                  </a:lnTo>
                  <a:lnTo>
                    <a:pt x="164" y="20"/>
                  </a:lnTo>
                  <a:lnTo>
                    <a:pt x="166" y="18"/>
                  </a:lnTo>
                  <a:lnTo>
                    <a:pt x="168" y="18"/>
                  </a:lnTo>
                  <a:lnTo>
                    <a:pt x="168" y="20"/>
                  </a:lnTo>
                  <a:lnTo>
                    <a:pt x="170" y="22"/>
                  </a:lnTo>
                  <a:lnTo>
                    <a:pt x="172" y="24"/>
                  </a:lnTo>
                  <a:lnTo>
                    <a:pt x="172" y="20"/>
                  </a:lnTo>
                  <a:lnTo>
                    <a:pt x="174" y="22"/>
                  </a:lnTo>
                  <a:lnTo>
                    <a:pt x="172" y="18"/>
                  </a:lnTo>
                  <a:lnTo>
                    <a:pt x="174" y="18"/>
                  </a:lnTo>
                  <a:lnTo>
                    <a:pt x="178" y="18"/>
                  </a:lnTo>
                  <a:lnTo>
                    <a:pt x="178" y="16"/>
                  </a:lnTo>
                  <a:lnTo>
                    <a:pt x="180" y="16"/>
                  </a:lnTo>
                  <a:lnTo>
                    <a:pt x="184" y="18"/>
                  </a:lnTo>
                  <a:lnTo>
                    <a:pt x="184" y="16"/>
                  </a:lnTo>
                  <a:lnTo>
                    <a:pt x="184" y="14"/>
                  </a:lnTo>
                  <a:lnTo>
                    <a:pt x="188" y="12"/>
                  </a:lnTo>
                  <a:lnTo>
                    <a:pt x="190" y="14"/>
                  </a:lnTo>
                  <a:lnTo>
                    <a:pt x="192" y="14"/>
                  </a:lnTo>
                  <a:lnTo>
                    <a:pt x="196" y="14"/>
                  </a:lnTo>
                  <a:lnTo>
                    <a:pt x="194" y="18"/>
                  </a:lnTo>
                  <a:lnTo>
                    <a:pt x="196" y="20"/>
                  </a:lnTo>
                  <a:lnTo>
                    <a:pt x="198" y="22"/>
                  </a:lnTo>
                  <a:lnTo>
                    <a:pt x="200" y="22"/>
                  </a:lnTo>
                  <a:lnTo>
                    <a:pt x="198" y="18"/>
                  </a:lnTo>
                  <a:lnTo>
                    <a:pt x="200" y="16"/>
                  </a:lnTo>
                  <a:lnTo>
                    <a:pt x="202" y="14"/>
                  </a:lnTo>
                  <a:lnTo>
                    <a:pt x="200" y="14"/>
                  </a:lnTo>
                  <a:lnTo>
                    <a:pt x="202" y="12"/>
                  </a:lnTo>
                  <a:lnTo>
                    <a:pt x="200" y="12"/>
                  </a:lnTo>
                  <a:lnTo>
                    <a:pt x="198" y="10"/>
                  </a:lnTo>
                  <a:lnTo>
                    <a:pt x="200" y="8"/>
                  </a:lnTo>
                  <a:lnTo>
                    <a:pt x="202" y="6"/>
                  </a:lnTo>
                  <a:lnTo>
                    <a:pt x="206" y="8"/>
                  </a:lnTo>
                  <a:lnTo>
                    <a:pt x="208" y="8"/>
                  </a:lnTo>
                  <a:lnTo>
                    <a:pt x="210" y="6"/>
                  </a:lnTo>
                  <a:lnTo>
                    <a:pt x="212" y="8"/>
                  </a:lnTo>
                  <a:lnTo>
                    <a:pt x="216" y="8"/>
                  </a:lnTo>
                  <a:lnTo>
                    <a:pt x="218" y="6"/>
                  </a:lnTo>
                  <a:lnTo>
                    <a:pt x="220" y="8"/>
                  </a:lnTo>
                  <a:lnTo>
                    <a:pt x="224" y="8"/>
                  </a:lnTo>
                  <a:lnTo>
                    <a:pt x="226" y="6"/>
                  </a:lnTo>
                  <a:lnTo>
                    <a:pt x="230" y="8"/>
                  </a:lnTo>
                  <a:lnTo>
                    <a:pt x="228" y="4"/>
                  </a:lnTo>
                  <a:lnTo>
                    <a:pt x="230" y="6"/>
                  </a:lnTo>
                  <a:lnTo>
                    <a:pt x="234" y="4"/>
                  </a:lnTo>
                  <a:lnTo>
                    <a:pt x="234" y="2"/>
                  </a:lnTo>
                  <a:lnTo>
                    <a:pt x="236" y="2"/>
                  </a:lnTo>
                  <a:lnTo>
                    <a:pt x="222" y="0"/>
                  </a:lnTo>
                  <a:lnTo>
                    <a:pt x="200" y="2"/>
                  </a:lnTo>
                  <a:lnTo>
                    <a:pt x="180" y="6"/>
                  </a:lnTo>
                  <a:lnTo>
                    <a:pt x="158" y="10"/>
                  </a:lnTo>
                  <a:lnTo>
                    <a:pt x="138" y="18"/>
                  </a:lnTo>
                  <a:lnTo>
                    <a:pt x="120" y="26"/>
                  </a:lnTo>
                  <a:lnTo>
                    <a:pt x="102" y="36"/>
                  </a:lnTo>
                  <a:lnTo>
                    <a:pt x="86" y="48"/>
                  </a:lnTo>
                  <a:lnTo>
                    <a:pt x="70" y="62"/>
                  </a:lnTo>
                  <a:lnTo>
                    <a:pt x="72" y="62"/>
                  </a:lnTo>
                  <a:lnTo>
                    <a:pt x="70" y="68"/>
                  </a:lnTo>
                  <a:lnTo>
                    <a:pt x="68" y="66"/>
                  </a:lnTo>
                  <a:lnTo>
                    <a:pt x="68" y="68"/>
                  </a:lnTo>
                  <a:lnTo>
                    <a:pt x="66" y="68"/>
                  </a:lnTo>
                  <a:lnTo>
                    <a:pt x="64" y="70"/>
                  </a:lnTo>
                  <a:lnTo>
                    <a:pt x="60" y="74"/>
                  </a:lnTo>
                  <a:lnTo>
                    <a:pt x="56" y="78"/>
                  </a:lnTo>
                  <a:lnTo>
                    <a:pt x="56" y="76"/>
                  </a:lnTo>
                  <a:lnTo>
                    <a:pt x="44" y="90"/>
                  </a:lnTo>
                  <a:lnTo>
                    <a:pt x="34" y="106"/>
                  </a:lnTo>
                  <a:lnTo>
                    <a:pt x="24" y="122"/>
                  </a:lnTo>
                  <a:lnTo>
                    <a:pt x="18" y="138"/>
                  </a:lnTo>
                  <a:lnTo>
                    <a:pt x="10" y="156"/>
                  </a:lnTo>
                  <a:lnTo>
                    <a:pt x="6" y="174"/>
                  </a:lnTo>
                  <a:lnTo>
                    <a:pt x="2" y="192"/>
                  </a:lnTo>
                  <a:lnTo>
                    <a:pt x="0" y="212"/>
                  </a:lnTo>
                  <a:lnTo>
                    <a:pt x="2" y="210"/>
                  </a:lnTo>
                  <a:lnTo>
                    <a:pt x="4" y="206"/>
                  </a:lnTo>
                  <a:lnTo>
                    <a:pt x="2" y="200"/>
                  </a:lnTo>
                  <a:lnTo>
                    <a:pt x="4" y="198"/>
                  </a:lnTo>
                  <a:lnTo>
                    <a:pt x="6" y="200"/>
                  </a:lnTo>
                  <a:lnTo>
                    <a:pt x="6" y="198"/>
                  </a:lnTo>
                  <a:lnTo>
                    <a:pt x="6" y="196"/>
                  </a:lnTo>
                  <a:lnTo>
                    <a:pt x="6" y="194"/>
                  </a:lnTo>
                  <a:lnTo>
                    <a:pt x="4" y="188"/>
                  </a:lnTo>
                  <a:lnTo>
                    <a:pt x="4" y="186"/>
                  </a:lnTo>
                  <a:lnTo>
                    <a:pt x="6" y="184"/>
                  </a:lnTo>
                  <a:lnTo>
                    <a:pt x="6" y="186"/>
                  </a:lnTo>
                  <a:lnTo>
                    <a:pt x="12" y="186"/>
                  </a:lnTo>
                  <a:lnTo>
                    <a:pt x="14" y="182"/>
                  </a:lnTo>
                  <a:lnTo>
                    <a:pt x="14" y="180"/>
                  </a:lnTo>
                  <a:lnTo>
                    <a:pt x="12" y="178"/>
                  </a:lnTo>
                  <a:lnTo>
                    <a:pt x="16" y="176"/>
                  </a:lnTo>
                  <a:lnTo>
                    <a:pt x="14" y="178"/>
                  </a:lnTo>
                  <a:lnTo>
                    <a:pt x="16" y="180"/>
                  </a:lnTo>
                  <a:lnTo>
                    <a:pt x="18" y="178"/>
                  </a:lnTo>
                  <a:lnTo>
                    <a:pt x="20" y="176"/>
                  </a:lnTo>
                  <a:lnTo>
                    <a:pt x="22" y="174"/>
                  </a:lnTo>
                  <a:lnTo>
                    <a:pt x="22" y="168"/>
                  </a:lnTo>
                  <a:lnTo>
                    <a:pt x="24" y="168"/>
                  </a:lnTo>
                  <a:lnTo>
                    <a:pt x="22" y="170"/>
                  </a:lnTo>
                  <a:lnTo>
                    <a:pt x="22" y="172"/>
                  </a:lnTo>
                  <a:lnTo>
                    <a:pt x="22" y="174"/>
                  </a:lnTo>
                  <a:lnTo>
                    <a:pt x="22" y="178"/>
                  </a:lnTo>
                  <a:lnTo>
                    <a:pt x="20" y="182"/>
                  </a:lnTo>
                  <a:lnTo>
                    <a:pt x="22" y="184"/>
                  </a:lnTo>
                  <a:lnTo>
                    <a:pt x="20" y="184"/>
                  </a:lnTo>
                  <a:lnTo>
                    <a:pt x="22" y="188"/>
                  </a:lnTo>
                  <a:lnTo>
                    <a:pt x="20" y="194"/>
                  </a:lnTo>
                  <a:lnTo>
                    <a:pt x="18" y="200"/>
                  </a:lnTo>
                  <a:lnTo>
                    <a:pt x="18" y="202"/>
                  </a:lnTo>
                  <a:lnTo>
                    <a:pt x="18" y="204"/>
                  </a:lnTo>
                  <a:lnTo>
                    <a:pt x="18" y="206"/>
                  </a:lnTo>
                  <a:lnTo>
                    <a:pt x="16" y="208"/>
                  </a:lnTo>
                  <a:lnTo>
                    <a:pt x="14" y="210"/>
                  </a:lnTo>
                  <a:lnTo>
                    <a:pt x="12" y="212"/>
                  </a:lnTo>
                  <a:lnTo>
                    <a:pt x="12" y="214"/>
                  </a:lnTo>
                  <a:lnTo>
                    <a:pt x="10" y="216"/>
                  </a:lnTo>
                  <a:lnTo>
                    <a:pt x="12" y="216"/>
                  </a:lnTo>
                  <a:lnTo>
                    <a:pt x="12" y="218"/>
                  </a:lnTo>
                  <a:lnTo>
                    <a:pt x="12" y="222"/>
                  </a:lnTo>
                  <a:lnTo>
                    <a:pt x="10" y="224"/>
                  </a:lnTo>
                  <a:lnTo>
                    <a:pt x="8" y="226"/>
                  </a:lnTo>
                  <a:lnTo>
                    <a:pt x="10" y="230"/>
                  </a:lnTo>
                  <a:lnTo>
                    <a:pt x="10" y="234"/>
                  </a:lnTo>
                  <a:lnTo>
                    <a:pt x="8" y="240"/>
                  </a:lnTo>
                  <a:lnTo>
                    <a:pt x="12" y="248"/>
                  </a:lnTo>
                  <a:lnTo>
                    <a:pt x="10" y="252"/>
                  </a:lnTo>
                  <a:lnTo>
                    <a:pt x="10" y="260"/>
                  </a:lnTo>
                  <a:lnTo>
                    <a:pt x="12" y="264"/>
                  </a:lnTo>
                  <a:lnTo>
                    <a:pt x="14" y="270"/>
                  </a:lnTo>
                  <a:lnTo>
                    <a:pt x="14" y="278"/>
                  </a:lnTo>
                  <a:lnTo>
                    <a:pt x="16" y="282"/>
                  </a:lnTo>
                  <a:lnTo>
                    <a:pt x="18" y="282"/>
                  </a:lnTo>
                  <a:lnTo>
                    <a:pt x="16" y="286"/>
                  </a:lnTo>
                  <a:lnTo>
                    <a:pt x="20" y="288"/>
                  </a:lnTo>
                  <a:lnTo>
                    <a:pt x="18" y="292"/>
                  </a:lnTo>
                  <a:lnTo>
                    <a:pt x="22" y="294"/>
                  </a:lnTo>
                  <a:lnTo>
                    <a:pt x="22" y="298"/>
                  </a:lnTo>
                  <a:lnTo>
                    <a:pt x="24" y="302"/>
                  </a:lnTo>
                  <a:lnTo>
                    <a:pt x="26" y="306"/>
                  </a:lnTo>
                  <a:lnTo>
                    <a:pt x="26" y="308"/>
                  </a:lnTo>
                  <a:lnTo>
                    <a:pt x="26" y="310"/>
                  </a:lnTo>
                  <a:lnTo>
                    <a:pt x="28" y="312"/>
                  </a:lnTo>
                  <a:lnTo>
                    <a:pt x="30" y="316"/>
                  </a:lnTo>
                  <a:lnTo>
                    <a:pt x="34" y="318"/>
                  </a:lnTo>
                  <a:lnTo>
                    <a:pt x="34" y="320"/>
                  </a:lnTo>
                  <a:lnTo>
                    <a:pt x="38" y="322"/>
                  </a:lnTo>
                  <a:lnTo>
                    <a:pt x="40" y="326"/>
                  </a:lnTo>
                  <a:lnTo>
                    <a:pt x="42" y="326"/>
                  </a:lnTo>
                  <a:lnTo>
                    <a:pt x="44" y="330"/>
                  </a:lnTo>
                  <a:lnTo>
                    <a:pt x="46" y="330"/>
                  </a:lnTo>
                  <a:lnTo>
                    <a:pt x="48" y="332"/>
                  </a:lnTo>
                  <a:lnTo>
                    <a:pt x="50" y="334"/>
                  </a:lnTo>
                  <a:lnTo>
                    <a:pt x="54" y="336"/>
                  </a:lnTo>
                  <a:lnTo>
                    <a:pt x="56" y="340"/>
                  </a:lnTo>
                  <a:lnTo>
                    <a:pt x="60" y="340"/>
                  </a:lnTo>
                  <a:lnTo>
                    <a:pt x="62" y="344"/>
                  </a:lnTo>
                  <a:lnTo>
                    <a:pt x="62" y="346"/>
                  </a:lnTo>
                  <a:lnTo>
                    <a:pt x="64" y="346"/>
                  </a:lnTo>
                  <a:lnTo>
                    <a:pt x="64" y="344"/>
                  </a:lnTo>
                  <a:lnTo>
                    <a:pt x="66" y="344"/>
                  </a:lnTo>
                  <a:lnTo>
                    <a:pt x="68" y="344"/>
                  </a:lnTo>
                  <a:lnTo>
                    <a:pt x="70" y="344"/>
                  </a:lnTo>
                  <a:lnTo>
                    <a:pt x="72" y="344"/>
                  </a:lnTo>
                  <a:lnTo>
                    <a:pt x="68" y="342"/>
                  </a:lnTo>
                  <a:lnTo>
                    <a:pt x="66" y="342"/>
                  </a:lnTo>
                  <a:lnTo>
                    <a:pt x="62" y="340"/>
                  </a:lnTo>
                  <a:lnTo>
                    <a:pt x="60" y="338"/>
                  </a:lnTo>
                  <a:lnTo>
                    <a:pt x="56" y="338"/>
                  </a:lnTo>
                  <a:lnTo>
                    <a:pt x="54" y="334"/>
                  </a:lnTo>
                  <a:lnTo>
                    <a:pt x="48" y="330"/>
                  </a:lnTo>
                  <a:lnTo>
                    <a:pt x="46" y="330"/>
                  </a:lnTo>
                  <a:lnTo>
                    <a:pt x="46" y="326"/>
                  </a:lnTo>
                  <a:lnTo>
                    <a:pt x="44" y="326"/>
                  </a:lnTo>
                  <a:lnTo>
                    <a:pt x="42" y="326"/>
                  </a:lnTo>
                  <a:lnTo>
                    <a:pt x="40" y="324"/>
                  </a:lnTo>
                  <a:lnTo>
                    <a:pt x="40" y="322"/>
                  </a:lnTo>
                  <a:lnTo>
                    <a:pt x="40" y="320"/>
                  </a:lnTo>
                  <a:lnTo>
                    <a:pt x="38" y="320"/>
                  </a:lnTo>
                  <a:lnTo>
                    <a:pt x="36" y="320"/>
                  </a:lnTo>
                  <a:lnTo>
                    <a:pt x="36" y="318"/>
                  </a:lnTo>
                  <a:lnTo>
                    <a:pt x="34" y="318"/>
                  </a:lnTo>
                  <a:lnTo>
                    <a:pt x="34" y="316"/>
                  </a:lnTo>
                  <a:lnTo>
                    <a:pt x="34" y="314"/>
                  </a:lnTo>
                  <a:lnTo>
                    <a:pt x="32" y="312"/>
                  </a:lnTo>
                  <a:lnTo>
                    <a:pt x="30" y="310"/>
                  </a:lnTo>
                  <a:lnTo>
                    <a:pt x="28" y="306"/>
                  </a:lnTo>
                  <a:lnTo>
                    <a:pt x="28" y="304"/>
                  </a:lnTo>
                  <a:lnTo>
                    <a:pt x="30" y="302"/>
                  </a:lnTo>
                  <a:lnTo>
                    <a:pt x="30" y="300"/>
                  </a:lnTo>
                  <a:lnTo>
                    <a:pt x="30" y="298"/>
                  </a:lnTo>
                  <a:lnTo>
                    <a:pt x="28" y="298"/>
                  </a:lnTo>
                  <a:lnTo>
                    <a:pt x="26" y="294"/>
                  </a:lnTo>
                  <a:lnTo>
                    <a:pt x="24" y="292"/>
                  </a:lnTo>
                  <a:lnTo>
                    <a:pt x="24" y="288"/>
                  </a:lnTo>
                  <a:lnTo>
                    <a:pt x="24" y="286"/>
                  </a:lnTo>
                  <a:lnTo>
                    <a:pt x="22" y="280"/>
                  </a:lnTo>
                  <a:lnTo>
                    <a:pt x="24" y="276"/>
                  </a:lnTo>
                  <a:lnTo>
                    <a:pt x="22" y="274"/>
                  </a:lnTo>
                  <a:lnTo>
                    <a:pt x="22" y="270"/>
                  </a:lnTo>
                  <a:lnTo>
                    <a:pt x="22" y="264"/>
                  </a:lnTo>
                  <a:lnTo>
                    <a:pt x="20" y="260"/>
                  </a:lnTo>
                  <a:lnTo>
                    <a:pt x="22" y="256"/>
                  </a:lnTo>
                  <a:lnTo>
                    <a:pt x="20" y="252"/>
                  </a:lnTo>
                  <a:lnTo>
                    <a:pt x="20" y="248"/>
                  </a:lnTo>
                  <a:lnTo>
                    <a:pt x="18" y="244"/>
                  </a:lnTo>
                  <a:lnTo>
                    <a:pt x="18" y="242"/>
                  </a:lnTo>
                  <a:lnTo>
                    <a:pt x="18" y="240"/>
                  </a:lnTo>
                  <a:lnTo>
                    <a:pt x="18" y="238"/>
                  </a:lnTo>
                  <a:lnTo>
                    <a:pt x="18" y="234"/>
                  </a:lnTo>
                  <a:lnTo>
                    <a:pt x="18" y="232"/>
                  </a:lnTo>
                  <a:lnTo>
                    <a:pt x="22" y="232"/>
                  </a:lnTo>
                  <a:lnTo>
                    <a:pt x="24" y="234"/>
                  </a:lnTo>
                  <a:lnTo>
                    <a:pt x="24" y="238"/>
                  </a:lnTo>
                  <a:lnTo>
                    <a:pt x="22" y="240"/>
                  </a:lnTo>
                  <a:lnTo>
                    <a:pt x="24" y="242"/>
                  </a:lnTo>
                  <a:lnTo>
                    <a:pt x="26" y="244"/>
                  </a:lnTo>
                  <a:lnTo>
                    <a:pt x="24" y="246"/>
                  </a:lnTo>
                  <a:lnTo>
                    <a:pt x="24" y="248"/>
                  </a:lnTo>
                  <a:lnTo>
                    <a:pt x="24" y="252"/>
                  </a:lnTo>
                  <a:lnTo>
                    <a:pt x="24" y="254"/>
                  </a:lnTo>
                  <a:lnTo>
                    <a:pt x="26" y="256"/>
                  </a:lnTo>
                  <a:lnTo>
                    <a:pt x="28" y="256"/>
                  </a:lnTo>
                  <a:lnTo>
                    <a:pt x="30" y="252"/>
                  </a:lnTo>
                  <a:lnTo>
                    <a:pt x="36" y="252"/>
                  </a:lnTo>
                  <a:lnTo>
                    <a:pt x="34" y="246"/>
                  </a:lnTo>
                  <a:lnTo>
                    <a:pt x="36" y="246"/>
                  </a:lnTo>
                  <a:lnTo>
                    <a:pt x="38" y="240"/>
                  </a:lnTo>
                  <a:lnTo>
                    <a:pt x="34" y="238"/>
                  </a:lnTo>
                  <a:lnTo>
                    <a:pt x="36" y="232"/>
                  </a:lnTo>
                  <a:lnTo>
                    <a:pt x="34" y="230"/>
                  </a:lnTo>
                  <a:lnTo>
                    <a:pt x="34" y="224"/>
                  </a:lnTo>
                  <a:lnTo>
                    <a:pt x="34" y="218"/>
                  </a:lnTo>
                  <a:lnTo>
                    <a:pt x="36" y="218"/>
                  </a:lnTo>
                  <a:lnTo>
                    <a:pt x="36" y="214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8"/>
                  </a:lnTo>
                  <a:lnTo>
                    <a:pt x="42" y="224"/>
                  </a:lnTo>
                  <a:lnTo>
                    <a:pt x="40" y="226"/>
                  </a:lnTo>
                  <a:lnTo>
                    <a:pt x="38" y="226"/>
                  </a:lnTo>
                  <a:lnTo>
                    <a:pt x="40" y="226"/>
                  </a:lnTo>
                  <a:lnTo>
                    <a:pt x="40" y="230"/>
                  </a:lnTo>
                  <a:lnTo>
                    <a:pt x="42" y="230"/>
                  </a:lnTo>
                  <a:lnTo>
                    <a:pt x="44" y="226"/>
                  </a:lnTo>
                  <a:lnTo>
                    <a:pt x="46" y="226"/>
                  </a:lnTo>
                  <a:lnTo>
                    <a:pt x="46" y="220"/>
                  </a:lnTo>
                  <a:lnTo>
                    <a:pt x="50" y="220"/>
                  </a:lnTo>
                  <a:lnTo>
                    <a:pt x="52" y="218"/>
                  </a:lnTo>
                  <a:lnTo>
                    <a:pt x="54" y="220"/>
                  </a:lnTo>
                  <a:lnTo>
                    <a:pt x="58" y="222"/>
                  </a:lnTo>
                  <a:lnTo>
                    <a:pt x="64" y="222"/>
                  </a:lnTo>
                  <a:lnTo>
                    <a:pt x="72" y="218"/>
                  </a:lnTo>
                  <a:lnTo>
                    <a:pt x="74" y="216"/>
                  </a:lnTo>
                  <a:lnTo>
                    <a:pt x="76" y="212"/>
                  </a:lnTo>
                  <a:lnTo>
                    <a:pt x="82" y="212"/>
                  </a:lnTo>
                  <a:lnTo>
                    <a:pt x="84" y="206"/>
                  </a:lnTo>
                  <a:lnTo>
                    <a:pt x="84" y="204"/>
                  </a:lnTo>
                  <a:lnTo>
                    <a:pt x="82" y="202"/>
                  </a:lnTo>
                  <a:lnTo>
                    <a:pt x="84" y="202"/>
                  </a:lnTo>
                  <a:lnTo>
                    <a:pt x="84" y="200"/>
                  </a:lnTo>
                  <a:lnTo>
                    <a:pt x="82" y="196"/>
                  </a:lnTo>
                  <a:lnTo>
                    <a:pt x="84" y="196"/>
                  </a:lnTo>
                  <a:lnTo>
                    <a:pt x="86" y="196"/>
                  </a:lnTo>
                  <a:lnTo>
                    <a:pt x="88" y="196"/>
                  </a:lnTo>
                  <a:lnTo>
                    <a:pt x="88" y="194"/>
                  </a:lnTo>
                  <a:lnTo>
                    <a:pt x="86" y="194"/>
                  </a:lnTo>
                  <a:lnTo>
                    <a:pt x="86" y="190"/>
                  </a:lnTo>
                  <a:lnTo>
                    <a:pt x="84" y="190"/>
                  </a:lnTo>
                  <a:lnTo>
                    <a:pt x="86" y="188"/>
                  </a:lnTo>
                  <a:lnTo>
                    <a:pt x="88" y="186"/>
                  </a:lnTo>
                  <a:lnTo>
                    <a:pt x="86" y="186"/>
                  </a:lnTo>
                  <a:lnTo>
                    <a:pt x="86" y="184"/>
                  </a:lnTo>
                  <a:lnTo>
                    <a:pt x="84" y="184"/>
                  </a:lnTo>
                  <a:lnTo>
                    <a:pt x="84" y="182"/>
                  </a:lnTo>
                  <a:lnTo>
                    <a:pt x="88" y="182"/>
                  </a:lnTo>
                  <a:lnTo>
                    <a:pt x="88" y="180"/>
                  </a:lnTo>
                  <a:lnTo>
                    <a:pt x="90" y="178"/>
                  </a:lnTo>
                  <a:lnTo>
                    <a:pt x="92" y="178"/>
                  </a:lnTo>
                  <a:lnTo>
                    <a:pt x="94" y="178"/>
                  </a:lnTo>
                  <a:lnTo>
                    <a:pt x="96" y="178"/>
                  </a:lnTo>
                  <a:lnTo>
                    <a:pt x="96" y="176"/>
                  </a:lnTo>
                  <a:lnTo>
                    <a:pt x="92" y="174"/>
                  </a:lnTo>
                  <a:lnTo>
                    <a:pt x="90" y="174"/>
                  </a:lnTo>
                  <a:lnTo>
                    <a:pt x="88" y="172"/>
                  </a:lnTo>
                  <a:lnTo>
                    <a:pt x="88" y="168"/>
                  </a:lnTo>
                  <a:lnTo>
                    <a:pt x="88" y="166"/>
                  </a:lnTo>
                  <a:lnTo>
                    <a:pt x="88" y="164"/>
                  </a:lnTo>
                  <a:lnTo>
                    <a:pt x="90" y="164"/>
                  </a:lnTo>
                  <a:lnTo>
                    <a:pt x="94" y="166"/>
                  </a:lnTo>
                  <a:lnTo>
                    <a:pt x="96" y="164"/>
                  </a:lnTo>
                  <a:lnTo>
                    <a:pt x="98" y="162"/>
                  </a:lnTo>
                  <a:lnTo>
                    <a:pt x="100" y="160"/>
                  </a:lnTo>
                  <a:lnTo>
                    <a:pt x="102" y="160"/>
                  </a:lnTo>
                  <a:lnTo>
                    <a:pt x="104" y="160"/>
                  </a:lnTo>
                  <a:lnTo>
                    <a:pt x="104" y="162"/>
                  </a:lnTo>
                  <a:lnTo>
                    <a:pt x="102" y="164"/>
                  </a:lnTo>
                  <a:lnTo>
                    <a:pt x="98" y="166"/>
                  </a:lnTo>
                  <a:lnTo>
                    <a:pt x="96" y="172"/>
                  </a:lnTo>
                  <a:lnTo>
                    <a:pt x="98" y="170"/>
                  </a:lnTo>
                  <a:lnTo>
                    <a:pt x="102" y="168"/>
                  </a:lnTo>
                  <a:lnTo>
                    <a:pt x="108" y="170"/>
                  </a:lnTo>
                  <a:lnTo>
                    <a:pt x="110" y="172"/>
                  </a:lnTo>
                  <a:lnTo>
                    <a:pt x="108" y="172"/>
                  </a:lnTo>
                  <a:lnTo>
                    <a:pt x="108" y="174"/>
                  </a:lnTo>
                  <a:lnTo>
                    <a:pt x="106" y="176"/>
                  </a:lnTo>
                  <a:lnTo>
                    <a:pt x="104" y="178"/>
                  </a:lnTo>
                  <a:lnTo>
                    <a:pt x="106" y="178"/>
                  </a:lnTo>
                  <a:lnTo>
                    <a:pt x="108" y="178"/>
                  </a:lnTo>
                  <a:lnTo>
                    <a:pt x="108" y="182"/>
                  </a:lnTo>
                  <a:lnTo>
                    <a:pt x="106" y="186"/>
                  </a:lnTo>
                  <a:lnTo>
                    <a:pt x="104" y="188"/>
                  </a:lnTo>
                  <a:lnTo>
                    <a:pt x="102" y="190"/>
                  </a:lnTo>
                  <a:lnTo>
                    <a:pt x="102" y="192"/>
                  </a:lnTo>
                  <a:lnTo>
                    <a:pt x="104" y="192"/>
                  </a:lnTo>
                  <a:lnTo>
                    <a:pt x="106" y="192"/>
                  </a:lnTo>
                  <a:lnTo>
                    <a:pt x="108" y="192"/>
                  </a:lnTo>
                  <a:lnTo>
                    <a:pt x="108" y="194"/>
                  </a:lnTo>
                  <a:lnTo>
                    <a:pt x="110" y="194"/>
                  </a:lnTo>
                  <a:lnTo>
                    <a:pt x="110" y="196"/>
                  </a:lnTo>
                  <a:lnTo>
                    <a:pt x="112" y="194"/>
                  </a:lnTo>
                  <a:lnTo>
                    <a:pt x="112" y="192"/>
                  </a:lnTo>
                  <a:lnTo>
                    <a:pt x="112" y="190"/>
                  </a:lnTo>
                  <a:lnTo>
                    <a:pt x="112" y="188"/>
                  </a:lnTo>
                  <a:lnTo>
                    <a:pt x="114" y="188"/>
                  </a:lnTo>
                  <a:lnTo>
                    <a:pt x="114" y="186"/>
                  </a:lnTo>
                  <a:lnTo>
                    <a:pt x="112" y="184"/>
                  </a:lnTo>
                  <a:lnTo>
                    <a:pt x="112" y="182"/>
                  </a:lnTo>
                  <a:lnTo>
                    <a:pt x="116" y="180"/>
                  </a:lnTo>
                  <a:lnTo>
                    <a:pt x="114" y="176"/>
                  </a:lnTo>
                  <a:lnTo>
                    <a:pt x="112" y="176"/>
                  </a:lnTo>
                  <a:lnTo>
                    <a:pt x="114" y="172"/>
                  </a:lnTo>
                  <a:lnTo>
                    <a:pt x="114" y="166"/>
                  </a:lnTo>
                  <a:lnTo>
                    <a:pt x="118" y="166"/>
                  </a:lnTo>
                  <a:lnTo>
                    <a:pt x="120" y="164"/>
                  </a:lnTo>
                  <a:lnTo>
                    <a:pt x="122" y="168"/>
                  </a:lnTo>
                  <a:lnTo>
                    <a:pt x="126" y="168"/>
                  </a:lnTo>
                  <a:lnTo>
                    <a:pt x="130" y="166"/>
                  </a:lnTo>
                  <a:lnTo>
                    <a:pt x="134" y="164"/>
                  </a:lnTo>
                  <a:lnTo>
                    <a:pt x="140" y="160"/>
                  </a:lnTo>
                  <a:lnTo>
                    <a:pt x="142" y="156"/>
                  </a:lnTo>
                  <a:lnTo>
                    <a:pt x="142" y="154"/>
                  </a:lnTo>
                  <a:lnTo>
                    <a:pt x="144" y="154"/>
                  </a:lnTo>
                  <a:lnTo>
                    <a:pt x="144" y="152"/>
                  </a:lnTo>
                  <a:lnTo>
                    <a:pt x="146" y="152"/>
                  </a:lnTo>
                  <a:lnTo>
                    <a:pt x="146" y="150"/>
                  </a:lnTo>
                  <a:lnTo>
                    <a:pt x="146" y="148"/>
                  </a:lnTo>
                  <a:lnTo>
                    <a:pt x="144" y="148"/>
                  </a:lnTo>
                  <a:lnTo>
                    <a:pt x="146" y="144"/>
                  </a:lnTo>
                  <a:lnTo>
                    <a:pt x="144" y="146"/>
                  </a:lnTo>
                  <a:lnTo>
                    <a:pt x="144" y="144"/>
                  </a:lnTo>
                  <a:lnTo>
                    <a:pt x="144" y="142"/>
                  </a:lnTo>
                  <a:lnTo>
                    <a:pt x="142" y="142"/>
                  </a:lnTo>
                  <a:lnTo>
                    <a:pt x="138" y="142"/>
                  </a:lnTo>
                  <a:lnTo>
                    <a:pt x="136" y="142"/>
                  </a:lnTo>
                  <a:lnTo>
                    <a:pt x="134" y="144"/>
                  </a:lnTo>
                  <a:lnTo>
                    <a:pt x="132" y="148"/>
                  </a:lnTo>
                  <a:lnTo>
                    <a:pt x="126" y="146"/>
                  </a:lnTo>
                  <a:lnTo>
                    <a:pt x="124" y="144"/>
                  </a:lnTo>
                  <a:lnTo>
                    <a:pt x="130" y="146"/>
                  </a:lnTo>
                  <a:lnTo>
                    <a:pt x="134" y="142"/>
                  </a:lnTo>
                  <a:lnTo>
                    <a:pt x="136" y="140"/>
                  </a:lnTo>
                  <a:lnTo>
                    <a:pt x="142" y="140"/>
                  </a:lnTo>
                  <a:lnTo>
                    <a:pt x="144" y="136"/>
                  </a:lnTo>
                  <a:lnTo>
                    <a:pt x="144" y="134"/>
                  </a:lnTo>
                  <a:lnTo>
                    <a:pt x="146" y="132"/>
                  </a:lnTo>
                  <a:lnTo>
                    <a:pt x="144" y="130"/>
                  </a:lnTo>
                  <a:lnTo>
                    <a:pt x="144" y="128"/>
                  </a:lnTo>
                  <a:lnTo>
                    <a:pt x="144" y="126"/>
                  </a:lnTo>
                  <a:lnTo>
                    <a:pt x="142" y="126"/>
                  </a:lnTo>
                  <a:lnTo>
                    <a:pt x="144" y="124"/>
                  </a:lnTo>
                  <a:lnTo>
                    <a:pt x="146" y="124"/>
                  </a:lnTo>
                  <a:lnTo>
                    <a:pt x="148" y="124"/>
                  </a:lnTo>
                  <a:lnTo>
                    <a:pt x="150" y="124"/>
                  </a:lnTo>
                  <a:lnTo>
                    <a:pt x="152" y="122"/>
                  </a:lnTo>
                  <a:lnTo>
                    <a:pt x="152" y="120"/>
                  </a:lnTo>
                  <a:lnTo>
                    <a:pt x="154" y="120"/>
                  </a:lnTo>
                  <a:lnTo>
                    <a:pt x="156" y="118"/>
                  </a:lnTo>
                  <a:lnTo>
                    <a:pt x="160" y="116"/>
                  </a:lnTo>
                  <a:lnTo>
                    <a:pt x="162" y="116"/>
                  </a:lnTo>
                  <a:lnTo>
                    <a:pt x="164" y="116"/>
                  </a:lnTo>
                  <a:lnTo>
                    <a:pt x="166" y="116"/>
                  </a:lnTo>
                  <a:lnTo>
                    <a:pt x="170" y="120"/>
                  </a:lnTo>
                  <a:lnTo>
                    <a:pt x="172" y="116"/>
                  </a:lnTo>
                  <a:lnTo>
                    <a:pt x="174" y="112"/>
                  </a:lnTo>
                  <a:lnTo>
                    <a:pt x="176" y="112"/>
                  </a:lnTo>
                  <a:lnTo>
                    <a:pt x="180" y="114"/>
                  </a:lnTo>
                  <a:lnTo>
                    <a:pt x="184" y="112"/>
                  </a:lnTo>
                  <a:lnTo>
                    <a:pt x="184" y="116"/>
                  </a:lnTo>
                  <a:lnTo>
                    <a:pt x="176" y="120"/>
                  </a:lnTo>
                  <a:lnTo>
                    <a:pt x="172" y="124"/>
                  </a:lnTo>
                  <a:lnTo>
                    <a:pt x="172" y="126"/>
                  </a:lnTo>
                  <a:lnTo>
                    <a:pt x="172" y="128"/>
                  </a:lnTo>
                  <a:lnTo>
                    <a:pt x="172" y="130"/>
                  </a:lnTo>
                  <a:lnTo>
                    <a:pt x="170" y="130"/>
                  </a:lnTo>
                  <a:lnTo>
                    <a:pt x="170" y="132"/>
                  </a:lnTo>
                  <a:lnTo>
                    <a:pt x="170" y="134"/>
                  </a:lnTo>
                  <a:lnTo>
                    <a:pt x="172" y="134"/>
                  </a:lnTo>
                  <a:lnTo>
                    <a:pt x="172" y="136"/>
                  </a:lnTo>
                  <a:lnTo>
                    <a:pt x="172" y="140"/>
                  </a:lnTo>
                  <a:lnTo>
                    <a:pt x="172" y="142"/>
                  </a:lnTo>
                  <a:lnTo>
                    <a:pt x="168" y="146"/>
                  </a:lnTo>
                  <a:lnTo>
                    <a:pt x="168" y="148"/>
                  </a:lnTo>
                  <a:lnTo>
                    <a:pt x="168" y="152"/>
                  </a:lnTo>
                  <a:lnTo>
                    <a:pt x="168" y="150"/>
                  </a:lnTo>
                  <a:lnTo>
                    <a:pt x="170" y="150"/>
                  </a:lnTo>
                  <a:lnTo>
                    <a:pt x="170" y="148"/>
                  </a:lnTo>
                  <a:lnTo>
                    <a:pt x="170" y="146"/>
                  </a:lnTo>
                  <a:lnTo>
                    <a:pt x="172" y="146"/>
                  </a:lnTo>
                  <a:lnTo>
                    <a:pt x="172" y="144"/>
                  </a:lnTo>
                  <a:lnTo>
                    <a:pt x="174" y="144"/>
                  </a:lnTo>
                  <a:lnTo>
                    <a:pt x="174" y="142"/>
                  </a:lnTo>
                  <a:lnTo>
                    <a:pt x="176" y="142"/>
                  </a:lnTo>
                  <a:lnTo>
                    <a:pt x="178" y="142"/>
                  </a:lnTo>
                  <a:lnTo>
                    <a:pt x="178" y="136"/>
                  </a:lnTo>
                  <a:lnTo>
                    <a:pt x="182" y="134"/>
                  </a:lnTo>
                  <a:lnTo>
                    <a:pt x="184" y="132"/>
                  </a:lnTo>
                  <a:lnTo>
                    <a:pt x="184" y="134"/>
                  </a:lnTo>
                  <a:lnTo>
                    <a:pt x="186" y="134"/>
                  </a:lnTo>
                  <a:lnTo>
                    <a:pt x="188" y="134"/>
                  </a:lnTo>
                  <a:lnTo>
                    <a:pt x="188" y="132"/>
                  </a:lnTo>
                  <a:lnTo>
                    <a:pt x="188" y="130"/>
                  </a:lnTo>
                  <a:lnTo>
                    <a:pt x="188" y="128"/>
                  </a:lnTo>
                  <a:lnTo>
                    <a:pt x="188" y="126"/>
                  </a:lnTo>
                  <a:lnTo>
                    <a:pt x="192" y="126"/>
                  </a:lnTo>
                  <a:lnTo>
                    <a:pt x="188" y="122"/>
                  </a:lnTo>
                  <a:lnTo>
                    <a:pt x="192" y="118"/>
                  </a:lnTo>
                  <a:lnTo>
                    <a:pt x="192" y="114"/>
                  </a:lnTo>
                  <a:lnTo>
                    <a:pt x="194" y="112"/>
                  </a:lnTo>
                  <a:lnTo>
                    <a:pt x="194" y="110"/>
                  </a:lnTo>
                  <a:lnTo>
                    <a:pt x="190" y="106"/>
                  </a:lnTo>
                  <a:lnTo>
                    <a:pt x="188" y="102"/>
                  </a:lnTo>
                  <a:lnTo>
                    <a:pt x="192" y="100"/>
                  </a:lnTo>
                  <a:lnTo>
                    <a:pt x="194" y="100"/>
                  </a:lnTo>
                  <a:lnTo>
                    <a:pt x="196" y="100"/>
                  </a:lnTo>
                  <a:lnTo>
                    <a:pt x="196" y="104"/>
                  </a:lnTo>
                  <a:lnTo>
                    <a:pt x="198" y="104"/>
                  </a:lnTo>
                  <a:lnTo>
                    <a:pt x="200" y="102"/>
                  </a:lnTo>
                  <a:lnTo>
                    <a:pt x="198" y="98"/>
                  </a:lnTo>
                  <a:lnTo>
                    <a:pt x="194" y="96"/>
                  </a:lnTo>
                  <a:lnTo>
                    <a:pt x="196" y="92"/>
                  </a:lnTo>
                  <a:lnTo>
                    <a:pt x="200" y="96"/>
                  </a:lnTo>
                  <a:close/>
                  <a:moveTo>
                    <a:pt x="78" y="222"/>
                  </a:moveTo>
                  <a:lnTo>
                    <a:pt x="76" y="222"/>
                  </a:lnTo>
                  <a:lnTo>
                    <a:pt x="74" y="222"/>
                  </a:lnTo>
                  <a:lnTo>
                    <a:pt x="72" y="224"/>
                  </a:lnTo>
                  <a:lnTo>
                    <a:pt x="72" y="226"/>
                  </a:lnTo>
                  <a:lnTo>
                    <a:pt x="70" y="228"/>
                  </a:lnTo>
                  <a:lnTo>
                    <a:pt x="70" y="230"/>
                  </a:lnTo>
                  <a:lnTo>
                    <a:pt x="70" y="232"/>
                  </a:lnTo>
                  <a:lnTo>
                    <a:pt x="72" y="232"/>
                  </a:lnTo>
                  <a:lnTo>
                    <a:pt x="74" y="230"/>
                  </a:lnTo>
                  <a:lnTo>
                    <a:pt x="74" y="228"/>
                  </a:lnTo>
                  <a:lnTo>
                    <a:pt x="76" y="228"/>
                  </a:lnTo>
                  <a:lnTo>
                    <a:pt x="78" y="228"/>
                  </a:lnTo>
                  <a:lnTo>
                    <a:pt x="80" y="228"/>
                  </a:lnTo>
                  <a:lnTo>
                    <a:pt x="80" y="226"/>
                  </a:lnTo>
                  <a:lnTo>
                    <a:pt x="78" y="224"/>
                  </a:lnTo>
                  <a:lnTo>
                    <a:pt x="78" y="222"/>
                  </a:lnTo>
                  <a:close/>
                  <a:moveTo>
                    <a:pt x="68" y="246"/>
                  </a:moveTo>
                  <a:lnTo>
                    <a:pt x="68" y="246"/>
                  </a:lnTo>
                  <a:lnTo>
                    <a:pt x="66" y="248"/>
                  </a:lnTo>
                  <a:lnTo>
                    <a:pt x="66" y="250"/>
                  </a:lnTo>
                  <a:lnTo>
                    <a:pt x="66" y="252"/>
                  </a:lnTo>
                  <a:lnTo>
                    <a:pt x="64" y="252"/>
                  </a:lnTo>
                  <a:lnTo>
                    <a:pt x="64" y="254"/>
                  </a:lnTo>
                  <a:lnTo>
                    <a:pt x="64" y="256"/>
                  </a:lnTo>
                  <a:lnTo>
                    <a:pt x="64" y="258"/>
                  </a:lnTo>
                  <a:lnTo>
                    <a:pt x="66" y="258"/>
                  </a:lnTo>
                  <a:lnTo>
                    <a:pt x="68" y="258"/>
                  </a:lnTo>
                  <a:lnTo>
                    <a:pt x="70" y="258"/>
                  </a:lnTo>
                  <a:lnTo>
                    <a:pt x="70" y="256"/>
                  </a:lnTo>
                  <a:lnTo>
                    <a:pt x="70" y="254"/>
                  </a:lnTo>
                  <a:lnTo>
                    <a:pt x="68" y="252"/>
                  </a:lnTo>
                  <a:lnTo>
                    <a:pt x="72" y="252"/>
                  </a:lnTo>
                  <a:lnTo>
                    <a:pt x="76" y="248"/>
                  </a:lnTo>
                  <a:lnTo>
                    <a:pt x="74" y="246"/>
                  </a:lnTo>
                  <a:lnTo>
                    <a:pt x="72" y="244"/>
                  </a:lnTo>
                  <a:lnTo>
                    <a:pt x="70" y="242"/>
                  </a:lnTo>
                  <a:lnTo>
                    <a:pt x="68" y="246"/>
                  </a:lnTo>
                  <a:close/>
                  <a:moveTo>
                    <a:pt x="52" y="280"/>
                  </a:moveTo>
                  <a:lnTo>
                    <a:pt x="54" y="278"/>
                  </a:lnTo>
                  <a:lnTo>
                    <a:pt x="56" y="278"/>
                  </a:lnTo>
                  <a:lnTo>
                    <a:pt x="58" y="274"/>
                  </a:lnTo>
                  <a:lnTo>
                    <a:pt x="62" y="274"/>
                  </a:lnTo>
                  <a:lnTo>
                    <a:pt x="60" y="268"/>
                  </a:lnTo>
                  <a:lnTo>
                    <a:pt x="58" y="270"/>
                  </a:lnTo>
                  <a:lnTo>
                    <a:pt x="54" y="272"/>
                  </a:lnTo>
                  <a:lnTo>
                    <a:pt x="52" y="274"/>
                  </a:lnTo>
                  <a:lnTo>
                    <a:pt x="52" y="276"/>
                  </a:lnTo>
                  <a:lnTo>
                    <a:pt x="52" y="278"/>
                  </a:lnTo>
                  <a:lnTo>
                    <a:pt x="52" y="280"/>
                  </a:lnTo>
                  <a:close/>
                  <a:moveTo>
                    <a:pt x="56" y="306"/>
                  </a:moveTo>
                  <a:lnTo>
                    <a:pt x="56" y="304"/>
                  </a:lnTo>
                  <a:lnTo>
                    <a:pt x="56" y="300"/>
                  </a:lnTo>
                  <a:lnTo>
                    <a:pt x="52" y="298"/>
                  </a:lnTo>
                  <a:lnTo>
                    <a:pt x="56" y="296"/>
                  </a:lnTo>
                  <a:lnTo>
                    <a:pt x="54" y="292"/>
                  </a:lnTo>
                  <a:lnTo>
                    <a:pt x="58" y="292"/>
                  </a:lnTo>
                  <a:lnTo>
                    <a:pt x="58" y="288"/>
                  </a:lnTo>
                  <a:lnTo>
                    <a:pt x="54" y="288"/>
                  </a:lnTo>
                  <a:lnTo>
                    <a:pt x="52" y="282"/>
                  </a:lnTo>
                  <a:lnTo>
                    <a:pt x="48" y="282"/>
                  </a:lnTo>
                  <a:lnTo>
                    <a:pt x="46" y="286"/>
                  </a:lnTo>
                  <a:lnTo>
                    <a:pt x="44" y="286"/>
                  </a:lnTo>
                  <a:lnTo>
                    <a:pt x="42" y="288"/>
                  </a:lnTo>
                  <a:lnTo>
                    <a:pt x="40" y="288"/>
                  </a:lnTo>
                  <a:lnTo>
                    <a:pt x="38" y="286"/>
                  </a:lnTo>
                  <a:lnTo>
                    <a:pt x="36" y="286"/>
                  </a:lnTo>
                  <a:lnTo>
                    <a:pt x="34" y="288"/>
                  </a:lnTo>
                  <a:lnTo>
                    <a:pt x="32" y="288"/>
                  </a:lnTo>
                  <a:lnTo>
                    <a:pt x="32" y="290"/>
                  </a:lnTo>
                  <a:lnTo>
                    <a:pt x="34" y="290"/>
                  </a:lnTo>
                  <a:lnTo>
                    <a:pt x="34" y="292"/>
                  </a:lnTo>
                  <a:lnTo>
                    <a:pt x="32" y="294"/>
                  </a:lnTo>
                  <a:lnTo>
                    <a:pt x="32" y="296"/>
                  </a:lnTo>
                  <a:lnTo>
                    <a:pt x="34" y="302"/>
                  </a:lnTo>
                  <a:lnTo>
                    <a:pt x="38" y="306"/>
                  </a:lnTo>
                  <a:lnTo>
                    <a:pt x="38" y="308"/>
                  </a:lnTo>
                  <a:lnTo>
                    <a:pt x="36" y="308"/>
                  </a:lnTo>
                  <a:lnTo>
                    <a:pt x="38" y="310"/>
                  </a:lnTo>
                  <a:lnTo>
                    <a:pt x="40" y="312"/>
                  </a:lnTo>
                  <a:lnTo>
                    <a:pt x="44" y="312"/>
                  </a:lnTo>
                  <a:lnTo>
                    <a:pt x="46" y="312"/>
                  </a:lnTo>
                  <a:lnTo>
                    <a:pt x="46" y="314"/>
                  </a:lnTo>
                  <a:lnTo>
                    <a:pt x="48" y="314"/>
                  </a:lnTo>
                  <a:lnTo>
                    <a:pt x="48" y="316"/>
                  </a:lnTo>
                  <a:lnTo>
                    <a:pt x="48" y="318"/>
                  </a:lnTo>
                  <a:lnTo>
                    <a:pt x="50" y="318"/>
                  </a:lnTo>
                  <a:lnTo>
                    <a:pt x="50" y="316"/>
                  </a:lnTo>
                  <a:lnTo>
                    <a:pt x="52" y="316"/>
                  </a:lnTo>
                  <a:lnTo>
                    <a:pt x="52" y="314"/>
                  </a:lnTo>
                  <a:lnTo>
                    <a:pt x="52" y="312"/>
                  </a:lnTo>
                  <a:lnTo>
                    <a:pt x="52" y="310"/>
                  </a:lnTo>
                  <a:lnTo>
                    <a:pt x="52" y="308"/>
                  </a:lnTo>
                  <a:lnTo>
                    <a:pt x="56" y="306"/>
                  </a:lnTo>
                  <a:close/>
                  <a:moveTo>
                    <a:pt x="68" y="334"/>
                  </a:moveTo>
                  <a:lnTo>
                    <a:pt x="68" y="334"/>
                  </a:lnTo>
                  <a:lnTo>
                    <a:pt x="70" y="334"/>
                  </a:lnTo>
                  <a:lnTo>
                    <a:pt x="72" y="334"/>
                  </a:lnTo>
                  <a:lnTo>
                    <a:pt x="70" y="330"/>
                  </a:lnTo>
                  <a:lnTo>
                    <a:pt x="72" y="328"/>
                  </a:lnTo>
                  <a:lnTo>
                    <a:pt x="72" y="326"/>
                  </a:lnTo>
                  <a:lnTo>
                    <a:pt x="70" y="326"/>
                  </a:lnTo>
                  <a:lnTo>
                    <a:pt x="68" y="326"/>
                  </a:lnTo>
                  <a:lnTo>
                    <a:pt x="68" y="324"/>
                  </a:lnTo>
                  <a:lnTo>
                    <a:pt x="66" y="324"/>
                  </a:lnTo>
                  <a:lnTo>
                    <a:pt x="64" y="324"/>
                  </a:lnTo>
                  <a:lnTo>
                    <a:pt x="64" y="326"/>
                  </a:lnTo>
                  <a:lnTo>
                    <a:pt x="64" y="324"/>
                  </a:lnTo>
                  <a:lnTo>
                    <a:pt x="64" y="322"/>
                  </a:lnTo>
                  <a:lnTo>
                    <a:pt x="60" y="320"/>
                  </a:lnTo>
                  <a:lnTo>
                    <a:pt x="68" y="320"/>
                  </a:lnTo>
                  <a:lnTo>
                    <a:pt x="70" y="316"/>
                  </a:lnTo>
                  <a:lnTo>
                    <a:pt x="68" y="316"/>
                  </a:lnTo>
                  <a:lnTo>
                    <a:pt x="66" y="316"/>
                  </a:lnTo>
                  <a:lnTo>
                    <a:pt x="68" y="316"/>
                  </a:lnTo>
                  <a:lnTo>
                    <a:pt x="68" y="314"/>
                  </a:lnTo>
                  <a:lnTo>
                    <a:pt x="74" y="314"/>
                  </a:lnTo>
                  <a:lnTo>
                    <a:pt x="72" y="312"/>
                  </a:lnTo>
                  <a:lnTo>
                    <a:pt x="68" y="310"/>
                  </a:lnTo>
                  <a:lnTo>
                    <a:pt x="62" y="306"/>
                  </a:lnTo>
                  <a:lnTo>
                    <a:pt x="60" y="308"/>
                  </a:lnTo>
                  <a:lnTo>
                    <a:pt x="58" y="310"/>
                  </a:lnTo>
                  <a:lnTo>
                    <a:pt x="58" y="316"/>
                  </a:lnTo>
                  <a:lnTo>
                    <a:pt x="56" y="324"/>
                  </a:lnTo>
                  <a:lnTo>
                    <a:pt x="60" y="326"/>
                  </a:lnTo>
                  <a:lnTo>
                    <a:pt x="60" y="330"/>
                  </a:lnTo>
                  <a:lnTo>
                    <a:pt x="62" y="332"/>
                  </a:lnTo>
                  <a:lnTo>
                    <a:pt x="62" y="328"/>
                  </a:lnTo>
                  <a:lnTo>
                    <a:pt x="68" y="330"/>
                  </a:lnTo>
                  <a:lnTo>
                    <a:pt x="68" y="332"/>
                  </a:lnTo>
                  <a:lnTo>
                    <a:pt x="68" y="334"/>
                  </a:lnTo>
                  <a:close/>
                  <a:moveTo>
                    <a:pt x="72" y="352"/>
                  </a:moveTo>
                  <a:lnTo>
                    <a:pt x="74" y="352"/>
                  </a:lnTo>
                  <a:lnTo>
                    <a:pt x="74" y="354"/>
                  </a:lnTo>
                  <a:lnTo>
                    <a:pt x="76" y="354"/>
                  </a:lnTo>
                  <a:lnTo>
                    <a:pt x="78" y="354"/>
                  </a:lnTo>
                  <a:lnTo>
                    <a:pt x="80" y="354"/>
                  </a:lnTo>
                  <a:lnTo>
                    <a:pt x="80" y="352"/>
                  </a:lnTo>
                  <a:lnTo>
                    <a:pt x="82" y="352"/>
                  </a:lnTo>
                  <a:lnTo>
                    <a:pt x="86" y="350"/>
                  </a:lnTo>
                  <a:lnTo>
                    <a:pt x="80" y="346"/>
                  </a:lnTo>
                  <a:lnTo>
                    <a:pt x="76" y="344"/>
                  </a:lnTo>
                  <a:lnTo>
                    <a:pt x="72" y="344"/>
                  </a:lnTo>
                  <a:lnTo>
                    <a:pt x="74" y="348"/>
                  </a:lnTo>
                  <a:lnTo>
                    <a:pt x="72" y="352"/>
                  </a:lnTo>
                  <a:close/>
                  <a:moveTo>
                    <a:pt x="82" y="320"/>
                  </a:moveTo>
                  <a:lnTo>
                    <a:pt x="82" y="316"/>
                  </a:lnTo>
                  <a:lnTo>
                    <a:pt x="80" y="320"/>
                  </a:lnTo>
                  <a:lnTo>
                    <a:pt x="80" y="326"/>
                  </a:lnTo>
                  <a:lnTo>
                    <a:pt x="78" y="324"/>
                  </a:lnTo>
                  <a:lnTo>
                    <a:pt x="76" y="324"/>
                  </a:lnTo>
                  <a:lnTo>
                    <a:pt x="74" y="324"/>
                  </a:lnTo>
                  <a:lnTo>
                    <a:pt x="72" y="324"/>
                  </a:lnTo>
                  <a:lnTo>
                    <a:pt x="72" y="326"/>
                  </a:lnTo>
                  <a:lnTo>
                    <a:pt x="74" y="326"/>
                  </a:lnTo>
                  <a:lnTo>
                    <a:pt x="74" y="328"/>
                  </a:lnTo>
                  <a:lnTo>
                    <a:pt x="78" y="328"/>
                  </a:lnTo>
                  <a:lnTo>
                    <a:pt x="82" y="328"/>
                  </a:lnTo>
                  <a:lnTo>
                    <a:pt x="86" y="330"/>
                  </a:lnTo>
                  <a:lnTo>
                    <a:pt x="86" y="326"/>
                  </a:lnTo>
                  <a:lnTo>
                    <a:pt x="86" y="322"/>
                  </a:lnTo>
                  <a:lnTo>
                    <a:pt x="82" y="320"/>
                  </a:lnTo>
                  <a:close/>
                  <a:moveTo>
                    <a:pt x="174" y="362"/>
                  </a:moveTo>
                  <a:lnTo>
                    <a:pt x="176" y="362"/>
                  </a:lnTo>
                  <a:lnTo>
                    <a:pt x="178" y="362"/>
                  </a:lnTo>
                  <a:lnTo>
                    <a:pt x="176" y="362"/>
                  </a:lnTo>
                  <a:lnTo>
                    <a:pt x="176" y="360"/>
                  </a:lnTo>
                  <a:lnTo>
                    <a:pt x="174" y="360"/>
                  </a:lnTo>
                  <a:lnTo>
                    <a:pt x="172" y="358"/>
                  </a:lnTo>
                  <a:lnTo>
                    <a:pt x="170" y="356"/>
                  </a:lnTo>
                  <a:lnTo>
                    <a:pt x="168" y="354"/>
                  </a:lnTo>
                  <a:lnTo>
                    <a:pt x="166" y="356"/>
                  </a:lnTo>
                  <a:lnTo>
                    <a:pt x="170" y="358"/>
                  </a:lnTo>
                  <a:lnTo>
                    <a:pt x="172" y="360"/>
                  </a:lnTo>
                  <a:lnTo>
                    <a:pt x="170" y="360"/>
                  </a:lnTo>
                  <a:lnTo>
                    <a:pt x="168" y="364"/>
                  </a:lnTo>
                  <a:lnTo>
                    <a:pt x="164" y="364"/>
                  </a:lnTo>
                  <a:lnTo>
                    <a:pt x="160" y="364"/>
                  </a:lnTo>
                  <a:lnTo>
                    <a:pt x="156" y="364"/>
                  </a:lnTo>
                  <a:lnTo>
                    <a:pt x="156" y="366"/>
                  </a:lnTo>
                  <a:lnTo>
                    <a:pt x="154" y="366"/>
                  </a:lnTo>
                  <a:lnTo>
                    <a:pt x="152" y="366"/>
                  </a:lnTo>
                  <a:lnTo>
                    <a:pt x="152" y="364"/>
                  </a:lnTo>
                  <a:lnTo>
                    <a:pt x="150" y="364"/>
                  </a:lnTo>
                  <a:lnTo>
                    <a:pt x="150" y="362"/>
                  </a:lnTo>
                  <a:lnTo>
                    <a:pt x="150" y="360"/>
                  </a:lnTo>
                  <a:lnTo>
                    <a:pt x="148" y="360"/>
                  </a:lnTo>
                  <a:lnTo>
                    <a:pt x="146" y="360"/>
                  </a:lnTo>
                  <a:lnTo>
                    <a:pt x="146" y="358"/>
                  </a:lnTo>
                  <a:lnTo>
                    <a:pt x="146" y="356"/>
                  </a:lnTo>
                  <a:lnTo>
                    <a:pt x="146" y="354"/>
                  </a:lnTo>
                  <a:lnTo>
                    <a:pt x="144" y="354"/>
                  </a:lnTo>
                  <a:lnTo>
                    <a:pt x="142" y="354"/>
                  </a:lnTo>
                  <a:lnTo>
                    <a:pt x="140" y="354"/>
                  </a:lnTo>
                  <a:lnTo>
                    <a:pt x="138" y="352"/>
                  </a:lnTo>
                  <a:lnTo>
                    <a:pt x="136" y="350"/>
                  </a:lnTo>
                  <a:lnTo>
                    <a:pt x="130" y="348"/>
                  </a:lnTo>
                  <a:lnTo>
                    <a:pt x="124" y="344"/>
                  </a:lnTo>
                  <a:lnTo>
                    <a:pt x="120" y="342"/>
                  </a:lnTo>
                  <a:lnTo>
                    <a:pt x="120" y="340"/>
                  </a:lnTo>
                  <a:lnTo>
                    <a:pt x="112" y="338"/>
                  </a:lnTo>
                  <a:lnTo>
                    <a:pt x="110" y="338"/>
                  </a:lnTo>
                  <a:lnTo>
                    <a:pt x="110" y="336"/>
                  </a:lnTo>
                  <a:lnTo>
                    <a:pt x="110" y="334"/>
                  </a:lnTo>
                  <a:lnTo>
                    <a:pt x="108" y="334"/>
                  </a:lnTo>
                  <a:lnTo>
                    <a:pt x="108" y="336"/>
                  </a:lnTo>
                  <a:lnTo>
                    <a:pt x="108" y="340"/>
                  </a:lnTo>
                  <a:lnTo>
                    <a:pt x="110" y="342"/>
                  </a:lnTo>
                  <a:lnTo>
                    <a:pt x="108" y="344"/>
                  </a:lnTo>
                  <a:lnTo>
                    <a:pt x="108" y="346"/>
                  </a:lnTo>
                  <a:lnTo>
                    <a:pt x="110" y="350"/>
                  </a:lnTo>
                  <a:lnTo>
                    <a:pt x="112" y="350"/>
                  </a:lnTo>
                  <a:lnTo>
                    <a:pt x="114" y="350"/>
                  </a:lnTo>
                  <a:lnTo>
                    <a:pt x="116" y="350"/>
                  </a:lnTo>
                  <a:lnTo>
                    <a:pt x="118" y="350"/>
                  </a:lnTo>
                  <a:lnTo>
                    <a:pt x="118" y="352"/>
                  </a:lnTo>
                  <a:lnTo>
                    <a:pt x="118" y="354"/>
                  </a:lnTo>
                  <a:lnTo>
                    <a:pt x="118" y="356"/>
                  </a:lnTo>
                  <a:lnTo>
                    <a:pt x="120" y="358"/>
                  </a:lnTo>
                  <a:lnTo>
                    <a:pt x="122" y="358"/>
                  </a:lnTo>
                  <a:lnTo>
                    <a:pt x="122" y="360"/>
                  </a:lnTo>
                  <a:lnTo>
                    <a:pt x="122" y="362"/>
                  </a:lnTo>
                  <a:lnTo>
                    <a:pt x="120" y="362"/>
                  </a:lnTo>
                  <a:lnTo>
                    <a:pt x="120" y="364"/>
                  </a:lnTo>
                  <a:lnTo>
                    <a:pt x="122" y="364"/>
                  </a:lnTo>
                  <a:lnTo>
                    <a:pt x="124" y="364"/>
                  </a:lnTo>
                  <a:lnTo>
                    <a:pt x="130" y="370"/>
                  </a:lnTo>
                  <a:lnTo>
                    <a:pt x="136" y="370"/>
                  </a:lnTo>
                  <a:lnTo>
                    <a:pt x="138" y="370"/>
                  </a:lnTo>
                  <a:lnTo>
                    <a:pt x="138" y="368"/>
                  </a:lnTo>
                  <a:lnTo>
                    <a:pt x="136" y="368"/>
                  </a:lnTo>
                  <a:lnTo>
                    <a:pt x="134" y="366"/>
                  </a:lnTo>
                  <a:lnTo>
                    <a:pt x="132" y="366"/>
                  </a:lnTo>
                  <a:lnTo>
                    <a:pt x="132" y="364"/>
                  </a:lnTo>
                  <a:lnTo>
                    <a:pt x="138" y="364"/>
                  </a:lnTo>
                  <a:lnTo>
                    <a:pt x="146" y="368"/>
                  </a:lnTo>
                  <a:lnTo>
                    <a:pt x="148" y="372"/>
                  </a:lnTo>
                  <a:lnTo>
                    <a:pt x="154" y="376"/>
                  </a:lnTo>
                  <a:lnTo>
                    <a:pt x="160" y="378"/>
                  </a:lnTo>
                  <a:lnTo>
                    <a:pt x="168" y="382"/>
                  </a:lnTo>
                  <a:lnTo>
                    <a:pt x="166" y="380"/>
                  </a:lnTo>
                  <a:lnTo>
                    <a:pt x="170" y="380"/>
                  </a:lnTo>
                  <a:lnTo>
                    <a:pt x="170" y="378"/>
                  </a:lnTo>
                  <a:lnTo>
                    <a:pt x="170" y="376"/>
                  </a:lnTo>
                  <a:lnTo>
                    <a:pt x="168" y="376"/>
                  </a:lnTo>
                  <a:lnTo>
                    <a:pt x="166" y="376"/>
                  </a:lnTo>
                  <a:lnTo>
                    <a:pt x="164" y="374"/>
                  </a:lnTo>
                  <a:lnTo>
                    <a:pt x="162" y="374"/>
                  </a:lnTo>
                  <a:lnTo>
                    <a:pt x="160" y="374"/>
                  </a:lnTo>
                  <a:lnTo>
                    <a:pt x="158" y="374"/>
                  </a:lnTo>
                  <a:lnTo>
                    <a:pt x="158" y="372"/>
                  </a:lnTo>
                  <a:lnTo>
                    <a:pt x="156" y="370"/>
                  </a:lnTo>
                  <a:lnTo>
                    <a:pt x="154" y="368"/>
                  </a:lnTo>
                  <a:lnTo>
                    <a:pt x="156" y="364"/>
                  </a:lnTo>
                  <a:lnTo>
                    <a:pt x="162" y="364"/>
                  </a:lnTo>
                  <a:lnTo>
                    <a:pt x="166" y="366"/>
                  </a:lnTo>
                  <a:lnTo>
                    <a:pt x="168" y="366"/>
                  </a:lnTo>
                  <a:lnTo>
                    <a:pt x="168" y="364"/>
                  </a:lnTo>
                  <a:lnTo>
                    <a:pt x="170" y="364"/>
                  </a:lnTo>
                  <a:lnTo>
                    <a:pt x="172" y="362"/>
                  </a:lnTo>
                  <a:lnTo>
                    <a:pt x="174" y="362"/>
                  </a:lnTo>
                  <a:close/>
                  <a:moveTo>
                    <a:pt x="182" y="426"/>
                  </a:moveTo>
                  <a:lnTo>
                    <a:pt x="182" y="424"/>
                  </a:lnTo>
                  <a:lnTo>
                    <a:pt x="180" y="424"/>
                  </a:lnTo>
                  <a:lnTo>
                    <a:pt x="180" y="422"/>
                  </a:lnTo>
                  <a:lnTo>
                    <a:pt x="182" y="420"/>
                  </a:lnTo>
                  <a:lnTo>
                    <a:pt x="176" y="416"/>
                  </a:lnTo>
                  <a:lnTo>
                    <a:pt x="170" y="410"/>
                  </a:lnTo>
                  <a:lnTo>
                    <a:pt x="162" y="404"/>
                  </a:lnTo>
                  <a:lnTo>
                    <a:pt x="156" y="404"/>
                  </a:lnTo>
                  <a:lnTo>
                    <a:pt x="154" y="400"/>
                  </a:lnTo>
                  <a:lnTo>
                    <a:pt x="152" y="394"/>
                  </a:lnTo>
                  <a:lnTo>
                    <a:pt x="148" y="390"/>
                  </a:lnTo>
                  <a:lnTo>
                    <a:pt x="142" y="382"/>
                  </a:lnTo>
                  <a:lnTo>
                    <a:pt x="138" y="380"/>
                  </a:lnTo>
                  <a:lnTo>
                    <a:pt x="138" y="378"/>
                  </a:lnTo>
                  <a:lnTo>
                    <a:pt x="138" y="376"/>
                  </a:lnTo>
                  <a:lnTo>
                    <a:pt x="136" y="376"/>
                  </a:lnTo>
                  <a:lnTo>
                    <a:pt x="134" y="376"/>
                  </a:lnTo>
                  <a:lnTo>
                    <a:pt x="134" y="378"/>
                  </a:lnTo>
                  <a:lnTo>
                    <a:pt x="134" y="384"/>
                  </a:lnTo>
                  <a:lnTo>
                    <a:pt x="136" y="388"/>
                  </a:lnTo>
                  <a:lnTo>
                    <a:pt x="134" y="390"/>
                  </a:lnTo>
                  <a:lnTo>
                    <a:pt x="134" y="392"/>
                  </a:lnTo>
                  <a:lnTo>
                    <a:pt x="132" y="392"/>
                  </a:lnTo>
                  <a:lnTo>
                    <a:pt x="130" y="392"/>
                  </a:lnTo>
                  <a:lnTo>
                    <a:pt x="128" y="392"/>
                  </a:lnTo>
                  <a:lnTo>
                    <a:pt x="126" y="392"/>
                  </a:lnTo>
                  <a:lnTo>
                    <a:pt x="126" y="390"/>
                  </a:lnTo>
                  <a:lnTo>
                    <a:pt x="124" y="388"/>
                  </a:lnTo>
                  <a:lnTo>
                    <a:pt x="122" y="386"/>
                  </a:lnTo>
                  <a:lnTo>
                    <a:pt x="120" y="388"/>
                  </a:lnTo>
                  <a:lnTo>
                    <a:pt x="114" y="380"/>
                  </a:lnTo>
                  <a:lnTo>
                    <a:pt x="112" y="378"/>
                  </a:lnTo>
                  <a:lnTo>
                    <a:pt x="114" y="376"/>
                  </a:lnTo>
                  <a:lnTo>
                    <a:pt x="118" y="376"/>
                  </a:lnTo>
                  <a:lnTo>
                    <a:pt x="118" y="374"/>
                  </a:lnTo>
                  <a:lnTo>
                    <a:pt x="118" y="372"/>
                  </a:lnTo>
                  <a:lnTo>
                    <a:pt x="116" y="372"/>
                  </a:lnTo>
                  <a:lnTo>
                    <a:pt x="114" y="372"/>
                  </a:lnTo>
                  <a:lnTo>
                    <a:pt x="112" y="372"/>
                  </a:lnTo>
                  <a:lnTo>
                    <a:pt x="110" y="372"/>
                  </a:lnTo>
                  <a:lnTo>
                    <a:pt x="110" y="374"/>
                  </a:lnTo>
                  <a:lnTo>
                    <a:pt x="106" y="370"/>
                  </a:lnTo>
                  <a:lnTo>
                    <a:pt x="104" y="364"/>
                  </a:lnTo>
                  <a:lnTo>
                    <a:pt x="98" y="362"/>
                  </a:lnTo>
                  <a:lnTo>
                    <a:pt x="94" y="364"/>
                  </a:lnTo>
                  <a:lnTo>
                    <a:pt x="98" y="366"/>
                  </a:lnTo>
                  <a:lnTo>
                    <a:pt x="100" y="368"/>
                  </a:lnTo>
                  <a:lnTo>
                    <a:pt x="98" y="370"/>
                  </a:lnTo>
                  <a:lnTo>
                    <a:pt x="94" y="368"/>
                  </a:lnTo>
                  <a:lnTo>
                    <a:pt x="94" y="370"/>
                  </a:lnTo>
                  <a:lnTo>
                    <a:pt x="96" y="374"/>
                  </a:lnTo>
                  <a:lnTo>
                    <a:pt x="94" y="376"/>
                  </a:lnTo>
                  <a:lnTo>
                    <a:pt x="92" y="372"/>
                  </a:lnTo>
                  <a:lnTo>
                    <a:pt x="88" y="368"/>
                  </a:lnTo>
                  <a:lnTo>
                    <a:pt x="86" y="368"/>
                  </a:lnTo>
                  <a:lnTo>
                    <a:pt x="86" y="366"/>
                  </a:lnTo>
                  <a:lnTo>
                    <a:pt x="84" y="366"/>
                  </a:lnTo>
                  <a:lnTo>
                    <a:pt x="82" y="366"/>
                  </a:lnTo>
                  <a:lnTo>
                    <a:pt x="82" y="368"/>
                  </a:lnTo>
                  <a:lnTo>
                    <a:pt x="80" y="370"/>
                  </a:lnTo>
                  <a:lnTo>
                    <a:pt x="78" y="370"/>
                  </a:lnTo>
                  <a:lnTo>
                    <a:pt x="76" y="370"/>
                  </a:lnTo>
                  <a:lnTo>
                    <a:pt x="72" y="374"/>
                  </a:lnTo>
                  <a:lnTo>
                    <a:pt x="68" y="370"/>
                  </a:lnTo>
                  <a:lnTo>
                    <a:pt x="64" y="372"/>
                  </a:lnTo>
                  <a:lnTo>
                    <a:pt x="62" y="370"/>
                  </a:lnTo>
                  <a:lnTo>
                    <a:pt x="58" y="368"/>
                  </a:lnTo>
                  <a:lnTo>
                    <a:pt x="58" y="370"/>
                  </a:lnTo>
                  <a:lnTo>
                    <a:pt x="60" y="370"/>
                  </a:lnTo>
                  <a:lnTo>
                    <a:pt x="60" y="372"/>
                  </a:lnTo>
                  <a:lnTo>
                    <a:pt x="62" y="374"/>
                  </a:lnTo>
                  <a:lnTo>
                    <a:pt x="62" y="376"/>
                  </a:lnTo>
                  <a:lnTo>
                    <a:pt x="66" y="382"/>
                  </a:lnTo>
                  <a:lnTo>
                    <a:pt x="84" y="398"/>
                  </a:lnTo>
                  <a:lnTo>
                    <a:pt x="104" y="412"/>
                  </a:lnTo>
                  <a:lnTo>
                    <a:pt x="106" y="412"/>
                  </a:lnTo>
                  <a:lnTo>
                    <a:pt x="106" y="410"/>
                  </a:lnTo>
                  <a:lnTo>
                    <a:pt x="112" y="414"/>
                  </a:lnTo>
                  <a:lnTo>
                    <a:pt x="120" y="414"/>
                  </a:lnTo>
                  <a:lnTo>
                    <a:pt x="124" y="420"/>
                  </a:lnTo>
                  <a:lnTo>
                    <a:pt x="132" y="424"/>
                  </a:lnTo>
                  <a:lnTo>
                    <a:pt x="138" y="426"/>
                  </a:lnTo>
                  <a:lnTo>
                    <a:pt x="142" y="430"/>
                  </a:lnTo>
                  <a:lnTo>
                    <a:pt x="148" y="432"/>
                  </a:lnTo>
                  <a:lnTo>
                    <a:pt x="148" y="434"/>
                  </a:lnTo>
                  <a:lnTo>
                    <a:pt x="154" y="434"/>
                  </a:lnTo>
                  <a:lnTo>
                    <a:pt x="156" y="434"/>
                  </a:lnTo>
                  <a:lnTo>
                    <a:pt x="160" y="436"/>
                  </a:lnTo>
                  <a:lnTo>
                    <a:pt x="176" y="440"/>
                  </a:lnTo>
                  <a:lnTo>
                    <a:pt x="176" y="438"/>
                  </a:lnTo>
                  <a:lnTo>
                    <a:pt x="174" y="438"/>
                  </a:lnTo>
                  <a:lnTo>
                    <a:pt x="172" y="436"/>
                  </a:lnTo>
                  <a:lnTo>
                    <a:pt x="174" y="436"/>
                  </a:lnTo>
                  <a:lnTo>
                    <a:pt x="174" y="438"/>
                  </a:lnTo>
                  <a:lnTo>
                    <a:pt x="176" y="438"/>
                  </a:lnTo>
                  <a:lnTo>
                    <a:pt x="178" y="436"/>
                  </a:lnTo>
                  <a:lnTo>
                    <a:pt x="180" y="434"/>
                  </a:lnTo>
                  <a:lnTo>
                    <a:pt x="182" y="432"/>
                  </a:lnTo>
                  <a:lnTo>
                    <a:pt x="184" y="430"/>
                  </a:lnTo>
                  <a:lnTo>
                    <a:pt x="186" y="428"/>
                  </a:lnTo>
                  <a:lnTo>
                    <a:pt x="184" y="426"/>
                  </a:lnTo>
                  <a:lnTo>
                    <a:pt x="182" y="426"/>
                  </a:lnTo>
                  <a:close/>
                  <a:moveTo>
                    <a:pt x="202" y="138"/>
                  </a:moveTo>
                  <a:lnTo>
                    <a:pt x="202" y="138"/>
                  </a:lnTo>
                  <a:lnTo>
                    <a:pt x="202" y="140"/>
                  </a:lnTo>
                  <a:lnTo>
                    <a:pt x="204" y="140"/>
                  </a:lnTo>
                  <a:lnTo>
                    <a:pt x="206" y="140"/>
                  </a:lnTo>
                  <a:lnTo>
                    <a:pt x="206" y="138"/>
                  </a:lnTo>
                  <a:lnTo>
                    <a:pt x="204" y="138"/>
                  </a:lnTo>
                  <a:lnTo>
                    <a:pt x="202" y="138"/>
                  </a:lnTo>
                  <a:close/>
                  <a:moveTo>
                    <a:pt x="208" y="140"/>
                  </a:moveTo>
                  <a:lnTo>
                    <a:pt x="208" y="140"/>
                  </a:lnTo>
                  <a:lnTo>
                    <a:pt x="210" y="140"/>
                  </a:lnTo>
                  <a:lnTo>
                    <a:pt x="208" y="140"/>
                  </a:lnTo>
                  <a:close/>
                  <a:moveTo>
                    <a:pt x="192" y="128"/>
                  </a:moveTo>
                  <a:lnTo>
                    <a:pt x="192" y="128"/>
                  </a:lnTo>
                  <a:lnTo>
                    <a:pt x="192" y="130"/>
                  </a:lnTo>
                  <a:lnTo>
                    <a:pt x="194" y="130"/>
                  </a:lnTo>
                  <a:lnTo>
                    <a:pt x="194" y="128"/>
                  </a:lnTo>
                  <a:lnTo>
                    <a:pt x="192" y="128"/>
                  </a:lnTo>
                  <a:close/>
                  <a:moveTo>
                    <a:pt x="214" y="140"/>
                  </a:moveTo>
                  <a:lnTo>
                    <a:pt x="214" y="140"/>
                  </a:lnTo>
                  <a:close/>
                  <a:moveTo>
                    <a:pt x="218" y="136"/>
                  </a:moveTo>
                  <a:lnTo>
                    <a:pt x="216" y="136"/>
                  </a:lnTo>
                  <a:lnTo>
                    <a:pt x="216" y="138"/>
                  </a:lnTo>
                  <a:lnTo>
                    <a:pt x="218" y="138"/>
                  </a:lnTo>
                  <a:lnTo>
                    <a:pt x="220" y="138"/>
                  </a:lnTo>
                  <a:lnTo>
                    <a:pt x="220" y="136"/>
                  </a:lnTo>
                  <a:lnTo>
                    <a:pt x="218" y="136"/>
                  </a:lnTo>
                  <a:close/>
                  <a:moveTo>
                    <a:pt x="98" y="326"/>
                  </a:moveTo>
                  <a:lnTo>
                    <a:pt x="96" y="324"/>
                  </a:lnTo>
                  <a:lnTo>
                    <a:pt x="94" y="326"/>
                  </a:lnTo>
                  <a:lnTo>
                    <a:pt x="96" y="328"/>
                  </a:lnTo>
                  <a:lnTo>
                    <a:pt x="94" y="330"/>
                  </a:lnTo>
                  <a:lnTo>
                    <a:pt x="96" y="332"/>
                  </a:lnTo>
                  <a:lnTo>
                    <a:pt x="98" y="334"/>
                  </a:lnTo>
                  <a:lnTo>
                    <a:pt x="96" y="338"/>
                  </a:lnTo>
                  <a:lnTo>
                    <a:pt x="98" y="338"/>
                  </a:lnTo>
                  <a:lnTo>
                    <a:pt x="98" y="336"/>
                  </a:lnTo>
                  <a:lnTo>
                    <a:pt x="98" y="334"/>
                  </a:lnTo>
                  <a:lnTo>
                    <a:pt x="100" y="334"/>
                  </a:lnTo>
                  <a:lnTo>
                    <a:pt x="100" y="336"/>
                  </a:lnTo>
                  <a:lnTo>
                    <a:pt x="100" y="338"/>
                  </a:lnTo>
                  <a:lnTo>
                    <a:pt x="102" y="336"/>
                  </a:lnTo>
                  <a:lnTo>
                    <a:pt x="102" y="338"/>
                  </a:lnTo>
                  <a:lnTo>
                    <a:pt x="104" y="338"/>
                  </a:lnTo>
                  <a:lnTo>
                    <a:pt x="106" y="338"/>
                  </a:lnTo>
                  <a:lnTo>
                    <a:pt x="104" y="336"/>
                  </a:lnTo>
                  <a:lnTo>
                    <a:pt x="104" y="334"/>
                  </a:lnTo>
                  <a:lnTo>
                    <a:pt x="104" y="332"/>
                  </a:lnTo>
                  <a:lnTo>
                    <a:pt x="104" y="330"/>
                  </a:lnTo>
                  <a:lnTo>
                    <a:pt x="102" y="328"/>
                  </a:lnTo>
                  <a:lnTo>
                    <a:pt x="98" y="330"/>
                  </a:lnTo>
                  <a:lnTo>
                    <a:pt x="98" y="328"/>
                  </a:lnTo>
                  <a:lnTo>
                    <a:pt x="98" y="326"/>
                  </a:lnTo>
                  <a:close/>
                  <a:moveTo>
                    <a:pt x="96" y="338"/>
                  </a:moveTo>
                  <a:lnTo>
                    <a:pt x="96" y="338"/>
                  </a:lnTo>
                  <a:close/>
                  <a:moveTo>
                    <a:pt x="80" y="286"/>
                  </a:moveTo>
                  <a:lnTo>
                    <a:pt x="80" y="284"/>
                  </a:lnTo>
                  <a:lnTo>
                    <a:pt x="78" y="284"/>
                  </a:lnTo>
                  <a:lnTo>
                    <a:pt x="76" y="284"/>
                  </a:lnTo>
                  <a:lnTo>
                    <a:pt x="76" y="286"/>
                  </a:lnTo>
                  <a:lnTo>
                    <a:pt x="74" y="286"/>
                  </a:lnTo>
                  <a:lnTo>
                    <a:pt x="72" y="286"/>
                  </a:lnTo>
                  <a:lnTo>
                    <a:pt x="70" y="288"/>
                  </a:lnTo>
                  <a:lnTo>
                    <a:pt x="68" y="288"/>
                  </a:lnTo>
                  <a:lnTo>
                    <a:pt x="66" y="290"/>
                  </a:lnTo>
                  <a:lnTo>
                    <a:pt x="66" y="292"/>
                  </a:lnTo>
                  <a:lnTo>
                    <a:pt x="68" y="294"/>
                  </a:lnTo>
                  <a:lnTo>
                    <a:pt x="70" y="292"/>
                  </a:lnTo>
                  <a:lnTo>
                    <a:pt x="72" y="292"/>
                  </a:lnTo>
                  <a:lnTo>
                    <a:pt x="70" y="296"/>
                  </a:lnTo>
                  <a:lnTo>
                    <a:pt x="72" y="296"/>
                  </a:lnTo>
                  <a:lnTo>
                    <a:pt x="74" y="296"/>
                  </a:lnTo>
                  <a:lnTo>
                    <a:pt x="74" y="298"/>
                  </a:lnTo>
                  <a:lnTo>
                    <a:pt x="72" y="300"/>
                  </a:lnTo>
                  <a:lnTo>
                    <a:pt x="72" y="302"/>
                  </a:lnTo>
                  <a:lnTo>
                    <a:pt x="74" y="300"/>
                  </a:lnTo>
                  <a:lnTo>
                    <a:pt x="76" y="300"/>
                  </a:lnTo>
                  <a:lnTo>
                    <a:pt x="82" y="298"/>
                  </a:lnTo>
                  <a:lnTo>
                    <a:pt x="82" y="296"/>
                  </a:lnTo>
                  <a:lnTo>
                    <a:pt x="82" y="294"/>
                  </a:lnTo>
                  <a:lnTo>
                    <a:pt x="84" y="292"/>
                  </a:lnTo>
                  <a:lnTo>
                    <a:pt x="84" y="290"/>
                  </a:lnTo>
                  <a:lnTo>
                    <a:pt x="82" y="290"/>
                  </a:lnTo>
                  <a:lnTo>
                    <a:pt x="80" y="288"/>
                  </a:lnTo>
                  <a:lnTo>
                    <a:pt x="80" y="286"/>
                  </a:lnTo>
                  <a:close/>
                  <a:moveTo>
                    <a:pt x="166" y="170"/>
                  </a:moveTo>
                  <a:lnTo>
                    <a:pt x="166" y="170"/>
                  </a:lnTo>
                  <a:lnTo>
                    <a:pt x="166" y="164"/>
                  </a:lnTo>
                  <a:lnTo>
                    <a:pt x="164" y="164"/>
                  </a:lnTo>
                  <a:lnTo>
                    <a:pt x="164" y="168"/>
                  </a:lnTo>
                  <a:lnTo>
                    <a:pt x="164" y="170"/>
                  </a:lnTo>
                  <a:lnTo>
                    <a:pt x="166" y="170"/>
                  </a:lnTo>
                  <a:close/>
                  <a:moveTo>
                    <a:pt x="222" y="98"/>
                  </a:moveTo>
                  <a:lnTo>
                    <a:pt x="222" y="98"/>
                  </a:lnTo>
                  <a:lnTo>
                    <a:pt x="220" y="98"/>
                  </a:lnTo>
                  <a:lnTo>
                    <a:pt x="222" y="98"/>
                  </a:lnTo>
                  <a:close/>
                  <a:moveTo>
                    <a:pt x="226" y="86"/>
                  </a:moveTo>
                  <a:lnTo>
                    <a:pt x="226" y="88"/>
                  </a:lnTo>
                  <a:lnTo>
                    <a:pt x="228" y="88"/>
                  </a:lnTo>
                  <a:lnTo>
                    <a:pt x="228" y="86"/>
                  </a:lnTo>
                  <a:lnTo>
                    <a:pt x="226" y="86"/>
                  </a:lnTo>
                  <a:close/>
                  <a:moveTo>
                    <a:pt x="212" y="82"/>
                  </a:moveTo>
                  <a:lnTo>
                    <a:pt x="212" y="82"/>
                  </a:lnTo>
                  <a:lnTo>
                    <a:pt x="214" y="82"/>
                  </a:lnTo>
                  <a:lnTo>
                    <a:pt x="214" y="80"/>
                  </a:lnTo>
                  <a:lnTo>
                    <a:pt x="208" y="80"/>
                  </a:lnTo>
                  <a:lnTo>
                    <a:pt x="208" y="82"/>
                  </a:lnTo>
                  <a:lnTo>
                    <a:pt x="212" y="82"/>
                  </a:lnTo>
                  <a:close/>
                  <a:moveTo>
                    <a:pt x="230" y="264"/>
                  </a:moveTo>
                  <a:lnTo>
                    <a:pt x="228" y="264"/>
                  </a:lnTo>
                  <a:lnTo>
                    <a:pt x="228" y="266"/>
                  </a:lnTo>
                  <a:lnTo>
                    <a:pt x="230" y="266"/>
                  </a:lnTo>
                  <a:lnTo>
                    <a:pt x="230" y="264"/>
                  </a:lnTo>
                  <a:close/>
                </a:path>
              </a:pathLst>
            </a:custGeom>
            <a:gradFill flip="none" rotWithShape="1">
              <a:gsLst>
                <a:gs pos="50000">
                  <a:schemeClr val="bg1">
                    <a:lumMod val="95000"/>
                  </a:schemeClr>
                </a:gs>
                <a:gs pos="68000">
                  <a:schemeClr val="tx1">
                    <a:lumMod val="50000"/>
                    <a:lumOff val="50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  <a:gs pos="38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defTabSz="457200"/>
              <a:endParaRPr lang="en-US" u="sng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35" name="Ellipse 45"/>
            <p:cNvSpPr>
              <a:spLocks noChangeArrowheads="1"/>
            </p:cNvSpPr>
            <p:nvPr/>
          </p:nvSpPr>
          <p:spPr bwMode="auto">
            <a:xfrm rot="21374326" flipH="1">
              <a:off x="5769184" y="3238311"/>
              <a:ext cx="2742413" cy="2244215"/>
            </a:xfrm>
            <a:prstGeom prst="ellipse">
              <a:avLst/>
            </a:prstGeom>
            <a:gradFill rotWithShape="1">
              <a:gsLst>
                <a:gs pos="0">
                  <a:srgbClr val="FFFCF9">
                    <a:alpha val="76999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5400000"/>
            </a:gradFill>
            <a:ln w="9525">
              <a:noFill/>
              <a:round/>
              <a:headEnd/>
              <a:tailEnd/>
            </a:ln>
            <a:effectLst>
              <a:softEdge rad="50800"/>
            </a:effectLst>
          </p:spPr>
          <p:txBody>
            <a:bodyPr anchor="ctr"/>
            <a:lstStyle/>
            <a:p>
              <a:pPr algn="ctr" defTabSz="457200"/>
              <a:endParaRPr lang="en-US" u="sng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grpSp>
        <p:nvGrpSpPr>
          <p:cNvPr id="8205" name="Group 35"/>
          <p:cNvGrpSpPr>
            <a:grpSpLocks/>
          </p:cNvGrpSpPr>
          <p:nvPr/>
        </p:nvGrpSpPr>
        <p:grpSpPr bwMode="auto">
          <a:xfrm>
            <a:off x="2763838" y="1660525"/>
            <a:ext cx="1287462" cy="1400175"/>
            <a:chOff x="5475288" y="3217862"/>
            <a:chExt cx="3349625" cy="3640138"/>
          </a:xfrm>
        </p:grpSpPr>
        <p:sp>
          <p:nvSpPr>
            <p:cNvPr id="37" name="Ellipse 98"/>
            <p:cNvSpPr/>
            <p:nvPr/>
          </p:nvSpPr>
          <p:spPr bwMode="auto">
            <a:xfrm>
              <a:off x="5708334" y="6339588"/>
              <a:ext cx="2963669" cy="518412"/>
            </a:xfrm>
            <a:prstGeom prst="ellipse">
              <a:avLst/>
            </a:prstGeom>
            <a:gradFill flip="none" rotWithShape="1">
              <a:gsLst>
                <a:gs pos="100000">
                  <a:srgbClr val="FFFFFF">
                    <a:alpha val="0"/>
                  </a:srgbClr>
                </a:gs>
                <a:gs pos="0">
                  <a:srgbClr val="E6E6E6">
                    <a:lumMod val="10000"/>
                    <a:alpha val="76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457200"/>
              <a:endParaRPr lang="en-US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38" name="Oval 37"/>
            <p:cNvSpPr>
              <a:spLocks noChangeArrowheads="1"/>
            </p:cNvSpPr>
            <p:nvPr/>
          </p:nvSpPr>
          <p:spPr bwMode="auto">
            <a:xfrm>
              <a:off x="5475288" y="3217862"/>
              <a:ext cx="3349625" cy="335147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56000">
                  <a:srgbClr val="1F88C8"/>
                </a:gs>
                <a:gs pos="14000">
                  <a:schemeClr val="accent1">
                    <a:lumMod val="60000"/>
                    <a:lumOff val="4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solidFill>
                <a:srgbClr val="1F88C8"/>
              </a:solidFill>
              <a:round/>
              <a:headEnd/>
              <a:tailEnd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defTabSz="457200"/>
              <a:endParaRPr lang="en-US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39" name="Freeform 10"/>
            <p:cNvSpPr>
              <a:spLocks noEditPoints="1"/>
            </p:cNvSpPr>
            <p:nvPr/>
          </p:nvSpPr>
          <p:spPr bwMode="auto">
            <a:xfrm>
              <a:off x="5475288" y="3217862"/>
              <a:ext cx="3349625" cy="3306383"/>
            </a:xfrm>
            <a:custGeom>
              <a:avLst/>
              <a:gdLst>
                <a:gd name="T0" fmla="*/ 2147483647 w 446"/>
                <a:gd name="T1" fmla="*/ 2147483647 h 440"/>
                <a:gd name="T2" fmla="*/ 2147483647 w 446"/>
                <a:gd name="T3" fmla="*/ 2147483647 h 440"/>
                <a:gd name="T4" fmla="*/ 2147483647 w 446"/>
                <a:gd name="T5" fmla="*/ 2147483647 h 440"/>
                <a:gd name="T6" fmla="*/ 2147483647 w 446"/>
                <a:gd name="T7" fmla="*/ 2147483647 h 440"/>
                <a:gd name="T8" fmla="*/ 2147483647 w 446"/>
                <a:gd name="T9" fmla="*/ 2147483647 h 440"/>
                <a:gd name="T10" fmla="*/ 2147483647 w 446"/>
                <a:gd name="T11" fmla="*/ 2147483647 h 440"/>
                <a:gd name="T12" fmla="*/ 2147483647 w 446"/>
                <a:gd name="T13" fmla="*/ 2147483647 h 440"/>
                <a:gd name="T14" fmla="*/ 2147483647 w 446"/>
                <a:gd name="T15" fmla="*/ 2147483647 h 440"/>
                <a:gd name="T16" fmla="*/ 2147483647 w 446"/>
                <a:gd name="T17" fmla="*/ 2147483647 h 440"/>
                <a:gd name="T18" fmla="*/ 2147483647 w 446"/>
                <a:gd name="T19" fmla="*/ 2147483647 h 440"/>
                <a:gd name="T20" fmla="*/ 2147483647 w 446"/>
                <a:gd name="T21" fmla="*/ 2147483647 h 440"/>
                <a:gd name="T22" fmla="*/ 2147483647 w 446"/>
                <a:gd name="T23" fmla="*/ 2147483647 h 440"/>
                <a:gd name="T24" fmla="*/ 2147483647 w 446"/>
                <a:gd name="T25" fmla="*/ 2147483647 h 440"/>
                <a:gd name="T26" fmla="*/ 2147483647 w 446"/>
                <a:gd name="T27" fmla="*/ 2147483647 h 440"/>
                <a:gd name="T28" fmla="*/ 2147483647 w 446"/>
                <a:gd name="T29" fmla="*/ 2147483647 h 440"/>
                <a:gd name="T30" fmla="*/ 2147483647 w 446"/>
                <a:gd name="T31" fmla="*/ 2147483647 h 440"/>
                <a:gd name="T32" fmla="*/ 2147483647 w 446"/>
                <a:gd name="T33" fmla="*/ 2147483647 h 440"/>
                <a:gd name="T34" fmla="*/ 2147483647 w 446"/>
                <a:gd name="T35" fmla="*/ 2147483647 h 440"/>
                <a:gd name="T36" fmla="*/ 2147483647 w 446"/>
                <a:gd name="T37" fmla="*/ 2147483647 h 440"/>
                <a:gd name="T38" fmla="*/ 2147483647 w 446"/>
                <a:gd name="T39" fmla="*/ 2147483647 h 440"/>
                <a:gd name="T40" fmla="*/ 2147483647 w 446"/>
                <a:gd name="T41" fmla="*/ 2147483647 h 440"/>
                <a:gd name="T42" fmla="*/ 2147483647 w 446"/>
                <a:gd name="T43" fmla="*/ 2147483647 h 440"/>
                <a:gd name="T44" fmla="*/ 2147483647 w 446"/>
                <a:gd name="T45" fmla="*/ 2147483647 h 440"/>
                <a:gd name="T46" fmla="*/ 2147483647 w 446"/>
                <a:gd name="T47" fmla="*/ 2147483647 h 440"/>
                <a:gd name="T48" fmla="*/ 2147483647 w 446"/>
                <a:gd name="T49" fmla="*/ 2147483647 h 440"/>
                <a:gd name="T50" fmla="*/ 2147483647 w 446"/>
                <a:gd name="T51" fmla="*/ 2147483647 h 440"/>
                <a:gd name="T52" fmla="*/ 2147483647 w 446"/>
                <a:gd name="T53" fmla="*/ 2147483647 h 440"/>
                <a:gd name="T54" fmla="*/ 2147483647 w 446"/>
                <a:gd name="T55" fmla="*/ 2147483647 h 440"/>
                <a:gd name="T56" fmla="*/ 2147483647 w 446"/>
                <a:gd name="T57" fmla="*/ 2147483647 h 440"/>
                <a:gd name="T58" fmla="*/ 2147483647 w 446"/>
                <a:gd name="T59" fmla="*/ 2147483647 h 440"/>
                <a:gd name="T60" fmla="*/ 2147483647 w 446"/>
                <a:gd name="T61" fmla="*/ 2147483647 h 440"/>
                <a:gd name="T62" fmla="*/ 2147483647 w 446"/>
                <a:gd name="T63" fmla="*/ 2147483647 h 440"/>
                <a:gd name="T64" fmla="*/ 2147483647 w 446"/>
                <a:gd name="T65" fmla="*/ 2147483647 h 440"/>
                <a:gd name="T66" fmla="*/ 2147483647 w 446"/>
                <a:gd name="T67" fmla="*/ 2147483647 h 440"/>
                <a:gd name="T68" fmla="*/ 2147483647 w 446"/>
                <a:gd name="T69" fmla="*/ 0 h 440"/>
                <a:gd name="T70" fmla="*/ 2147483647 w 446"/>
                <a:gd name="T71" fmla="*/ 2147483647 h 440"/>
                <a:gd name="T72" fmla="*/ 2147483647 w 446"/>
                <a:gd name="T73" fmla="*/ 2147483647 h 440"/>
                <a:gd name="T74" fmla="*/ 2147483647 w 446"/>
                <a:gd name="T75" fmla="*/ 2147483647 h 440"/>
                <a:gd name="T76" fmla="*/ 2147483647 w 446"/>
                <a:gd name="T77" fmla="*/ 2147483647 h 440"/>
                <a:gd name="T78" fmla="*/ 2147483647 w 446"/>
                <a:gd name="T79" fmla="*/ 2147483647 h 440"/>
                <a:gd name="T80" fmla="*/ 2147483647 w 446"/>
                <a:gd name="T81" fmla="*/ 2147483647 h 440"/>
                <a:gd name="T82" fmla="*/ 2147483647 w 446"/>
                <a:gd name="T83" fmla="*/ 2147483647 h 440"/>
                <a:gd name="T84" fmla="*/ 2147483647 w 446"/>
                <a:gd name="T85" fmla="*/ 2147483647 h 440"/>
                <a:gd name="T86" fmla="*/ 2147483647 w 446"/>
                <a:gd name="T87" fmla="*/ 2147483647 h 440"/>
                <a:gd name="T88" fmla="*/ 2147483647 w 446"/>
                <a:gd name="T89" fmla="*/ 2147483647 h 440"/>
                <a:gd name="T90" fmla="*/ 2147483647 w 446"/>
                <a:gd name="T91" fmla="*/ 2147483647 h 440"/>
                <a:gd name="T92" fmla="*/ 2147483647 w 446"/>
                <a:gd name="T93" fmla="*/ 2147483647 h 440"/>
                <a:gd name="T94" fmla="*/ 2147483647 w 446"/>
                <a:gd name="T95" fmla="*/ 2147483647 h 440"/>
                <a:gd name="T96" fmla="*/ 2147483647 w 446"/>
                <a:gd name="T97" fmla="*/ 2147483647 h 440"/>
                <a:gd name="T98" fmla="*/ 2147483647 w 446"/>
                <a:gd name="T99" fmla="*/ 2147483647 h 440"/>
                <a:gd name="T100" fmla="*/ 2147483647 w 446"/>
                <a:gd name="T101" fmla="*/ 2147483647 h 440"/>
                <a:gd name="T102" fmla="*/ 2147483647 w 446"/>
                <a:gd name="T103" fmla="*/ 2147483647 h 440"/>
                <a:gd name="T104" fmla="*/ 2147483647 w 446"/>
                <a:gd name="T105" fmla="*/ 2147483647 h 440"/>
                <a:gd name="T106" fmla="*/ 2147483647 w 446"/>
                <a:gd name="T107" fmla="*/ 2147483647 h 440"/>
                <a:gd name="T108" fmla="*/ 2147483647 w 446"/>
                <a:gd name="T109" fmla="*/ 2147483647 h 440"/>
                <a:gd name="T110" fmla="*/ 2147483647 w 446"/>
                <a:gd name="T111" fmla="*/ 2147483647 h 440"/>
                <a:gd name="T112" fmla="*/ 2147483647 w 446"/>
                <a:gd name="T113" fmla="*/ 2147483647 h 440"/>
                <a:gd name="T114" fmla="*/ 2147483647 w 446"/>
                <a:gd name="T115" fmla="*/ 2147483647 h 440"/>
                <a:gd name="T116" fmla="*/ 2147483647 w 446"/>
                <a:gd name="T117" fmla="*/ 2147483647 h 440"/>
                <a:gd name="T118" fmla="*/ 2147483647 w 446"/>
                <a:gd name="T119" fmla="*/ 2147483647 h 440"/>
                <a:gd name="T120" fmla="*/ 2147483647 w 446"/>
                <a:gd name="T121" fmla="*/ 2147483647 h 440"/>
                <a:gd name="T122" fmla="*/ 2147483647 w 446"/>
                <a:gd name="T123" fmla="*/ 2147483647 h 440"/>
                <a:gd name="T124" fmla="*/ 2147483647 w 446"/>
                <a:gd name="T125" fmla="*/ 2147483647 h 4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46"/>
                <a:gd name="T190" fmla="*/ 0 h 440"/>
                <a:gd name="T191" fmla="*/ 446 w 446"/>
                <a:gd name="T192" fmla="*/ 440 h 4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46" h="440">
                  <a:moveTo>
                    <a:pt x="222" y="258"/>
                  </a:moveTo>
                  <a:lnTo>
                    <a:pt x="222" y="258"/>
                  </a:lnTo>
                  <a:lnTo>
                    <a:pt x="220" y="258"/>
                  </a:lnTo>
                  <a:lnTo>
                    <a:pt x="220" y="256"/>
                  </a:lnTo>
                  <a:lnTo>
                    <a:pt x="218" y="256"/>
                  </a:lnTo>
                  <a:lnTo>
                    <a:pt x="218" y="258"/>
                  </a:lnTo>
                  <a:lnTo>
                    <a:pt x="220" y="258"/>
                  </a:lnTo>
                  <a:lnTo>
                    <a:pt x="222" y="258"/>
                  </a:lnTo>
                  <a:close/>
                  <a:moveTo>
                    <a:pt x="260" y="60"/>
                  </a:moveTo>
                  <a:lnTo>
                    <a:pt x="262" y="60"/>
                  </a:lnTo>
                  <a:lnTo>
                    <a:pt x="262" y="58"/>
                  </a:lnTo>
                  <a:lnTo>
                    <a:pt x="258" y="58"/>
                  </a:lnTo>
                  <a:lnTo>
                    <a:pt x="260" y="60"/>
                  </a:lnTo>
                  <a:close/>
                  <a:moveTo>
                    <a:pt x="218" y="252"/>
                  </a:moveTo>
                  <a:lnTo>
                    <a:pt x="218" y="250"/>
                  </a:lnTo>
                  <a:lnTo>
                    <a:pt x="216" y="250"/>
                  </a:lnTo>
                  <a:lnTo>
                    <a:pt x="216" y="252"/>
                  </a:lnTo>
                  <a:lnTo>
                    <a:pt x="214" y="250"/>
                  </a:lnTo>
                  <a:lnTo>
                    <a:pt x="212" y="250"/>
                  </a:lnTo>
                  <a:lnTo>
                    <a:pt x="212" y="252"/>
                  </a:lnTo>
                  <a:lnTo>
                    <a:pt x="214" y="252"/>
                  </a:lnTo>
                  <a:lnTo>
                    <a:pt x="216" y="252"/>
                  </a:lnTo>
                  <a:lnTo>
                    <a:pt x="218" y="252"/>
                  </a:lnTo>
                  <a:close/>
                  <a:moveTo>
                    <a:pt x="146" y="162"/>
                  </a:moveTo>
                  <a:lnTo>
                    <a:pt x="144" y="162"/>
                  </a:lnTo>
                  <a:lnTo>
                    <a:pt x="146" y="164"/>
                  </a:lnTo>
                  <a:lnTo>
                    <a:pt x="146" y="166"/>
                  </a:lnTo>
                  <a:lnTo>
                    <a:pt x="146" y="168"/>
                  </a:lnTo>
                  <a:lnTo>
                    <a:pt x="146" y="170"/>
                  </a:lnTo>
                  <a:lnTo>
                    <a:pt x="146" y="172"/>
                  </a:lnTo>
                  <a:lnTo>
                    <a:pt x="150" y="172"/>
                  </a:lnTo>
                  <a:lnTo>
                    <a:pt x="148" y="170"/>
                  </a:lnTo>
                  <a:lnTo>
                    <a:pt x="148" y="168"/>
                  </a:lnTo>
                  <a:lnTo>
                    <a:pt x="148" y="166"/>
                  </a:lnTo>
                  <a:lnTo>
                    <a:pt x="150" y="164"/>
                  </a:lnTo>
                  <a:lnTo>
                    <a:pt x="150" y="162"/>
                  </a:lnTo>
                  <a:lnTo>
                    <a:pt x="152" y="160"/>
                  </a:lnTo>
                  <a:lnTo>
                    <a:pt x="154" y="158"/>
                  </a:lnTo>
                  <a:lnTo>
                    <a:pt x="156" y="160"/>
                  </a:lnTo>
                  <a:lnTo>
                    <a:pt x="156" y="162"/>
                  </a:lnTo>
                  <a:lnTo>
                    <a:pt x="156" y="164"/>
                  </a:lnTo>
                  <a:lnTo>
                    <a:pt x="156" y="160"/>
                  </a:lnTo>
                  <a:lnTo>
                    <a:pt x="156" y="156"/>
                  </a:lnTo>
                  <a:lnTo>
                    <a:pt x="154" y="150"/>
                  </a:lnTo>
                  <a:lnTo>
                    <a:pt x="154" y="146"/>
                  </a:lnTo>
                  <a:lnTo>
                    <a:pt x="156" y="148"/>
                  </a:lnTo>
                  <a:lnTo>
                    <a:pt x="156" y="144"/>
                  </a:lnTo>
                  <a:lnTo>
                    <a:pt x="152" y="142"/>
                  </a:lnTo>
                  <a:lnTo>
                    <a:pt x="150" y="140"/>
                  </a:lnTo>
                  <a:lnTo>
                    <a:pt x="146" y="140"/>
                  </a:lnTo>
                  <a:lnTo>
                    <a:pt x="148" y="144"/>
                  </a:lnTo>
                  <a:lnTo>
                    <a:pt x="148" y="148"/>
                  </a:lnTo>
                  <a:lnTo>
                    <a:pt x="150" y="150"/>
                  </a:lnTo>
                  <a:lnTo>
                    <a:pt x="148" y="156"/>
                  </a:lnTo>
                  <a:lnTo>
                    <a:pt x="146" y="162"/>
                  </a:lnTo>
                  <a:close/>
                  <a:moveTo>
                    <a:pt x="158" y="166"/>
                  </a:moveTo>
                  <a:lnTo>
                    <a:pt x="156" y="170"/>
                  </a:lnTo>
                  <a:lnTo>
                    <a:pt x="154" y="172"/>
                  </a:lnTo>
                  <a:lnTo>
                    <a:pt x="152" y="174"/>
                  </a:lnTo>
                  <a:lnTo>
                    <a:pt x="148" y="174"/>
                  </a:lnTo>
                  <a:lnTo>
                    <a:pt x="150" y="178"/>
                  </a:lnTo>
                  <a:lnTo>
                    <a:pt x="152" y="178"/>
                  </a:lnTo>
                  <a:lnTo>
                    <a:pt x="154" y="178"/>
                  </a:lnTo>
                  <a:lnTo>
                    <a:pt x="156" y="178"/>
                  </a:lnTo>
                  <a:lnTo>
                    <a:pt x="156" y="180"/>
                  </a:lnTo>
                  <a:lnTo>
                    <a:pt x="160" y="178"/>
                  </a:lnTo>
                  <a:lnTo>
                    <a:pt x="164" y="178"/>
                  </a:lnTo>
                  <a:lnTo>
                    <a:pt x="164" y="176"/>
                  </a:lnTo>
                  <a:lnTo>
                    <a:pt x="166" y="174"/>
                  </a:lnTo>
                  <a:lnTo>
                    <a:pt x="164" y="170"/>
                  </a:lnTo>
                  <a:lnTo>
                    <a:pt x="162" y="174"/>
                  </a:lnTo>
                  <a:lnTo>
                    <a:pt x="160" y="170"/>
                  </a:lnTo>
                  <a:lnTo>
                    <a:pt x="160" y="168"/>
                  </a:lnTo>
                  <a:lnTo>
                    <a:pt x="158" y="166"/>
                  </a:lnTo>
                  <a:close/>
                  <a:moveTo>
                    <a:pt x="124" y="198"/>
                  </a:moveTo>
                  <a:lnTo>
                    <a:pt x="122" y="198"/>
                  </a:lnTo>
                  <a:lnTo>
                    <a:pt x="120" y="196"/>
                  </a:lnTo>
                  <a:lnTo>
                    <a:pt x="114" y="200"/>
                  </a:lnTo>
                  <a:lnTo>
                    <a:pt x="108" y="202"/>
                  </a:lnTo>
                  <a:lnTo>
                    <a:pt x="106" y="200"/>
                  </a:lnTo>
                  <a:lnTo>
                    <a:pt x="104" y="202"/>
                  </a:lnTo>
                  <a:lnTo>
                    <a:pt x="100" y="202"/>
                  </a:lnTo>
                  <a:lnTo>
                    <a:pt x="106" y="204"/>
                  </a:lnTo>
                  <a:lnTo>
                    <a:pt x="108" y="208"/>
                  </a:lnTo>
                  <a:lnTo>
                    <a:pt x="104" y="214"/>
                  </a:lnTo>
                  <a:lnTo>
                    <a:pt x="106" y="218"/>
                  </a:lnTo>
                  <a:lnTo>
                    <a:pt x="112" y="212"/>
                  </a:lnTo>
                  <a:lnTo>
                    <a:pt x="116" y="208"/>
                  </a:lnTo>
                  <a:lnTo>
                    <a:pt x="124" y="208"/>
                  </a:lnTo>
                  <a:lnTo>
                    <a:pt x="126" y="204"/>
                  </a:lnTo>
                  <a:lnTo>
                    <a:pt x="130" y="208"/>
                  </a:lnTo>
                  <a:lnTo>
                    <a:pt x="136" y="208"/>
                  </a:lnTo>
                  <a:lnTo>
                    <a:pt x="138" y="204"/>
                  </a:lnTo>
                  <a:lnTo>
                    <a:pt x="142" y="202"/>
                  </a:lnTo>
                  <a:lnTo>
                    <a:pt x="140" y="200"/>
                  </a:lnTo>
                  <a:lnTo>
                    <a:pt x="144" y="200"/>
                  </a:lnTo>
                  <a:lnTo>
                    <a:pt x="144" y="198"/>
                  </a:lnTo>
                  <a:lnTo>
                    <a:pt x="146" y="196"/>
                  </a:lnTo>
                  <a:lnTo>
                    <a:pt x="148" y="192"/>
                  </a:lnTo>
                  <a:lnTo>
                    <a:pt x="150" y="188"/>
                  </a:lnTo>
                  <a:lnTo>
                    <a:pt x="150" y="184"/>
                  </a:lnTo>
                  <a:lnTo>
                    <a:pt x="148" y="184"/>
                  </a:lnTo>
                  <a:lnTo>
                    <a:pt x="150" y="182"/>
                  </a:lnTo>
                  <a:lnTo>
                    <a:pt x="148" y="180"/>
                  </a:lnTo>
                  <a:lnTo>
                    <a:pt x="146" y="176"/>
                  </a:lnTo>
                  <a:lnTo>
                    <a:pt x="144" y="176"/>
                  </a:lnTo>
                  <a:lnTo>
                    <a:pt x="144" y="178"/>
                  </a:lnTo>
                  <a:lnTo>
                    <a:pt x="144" y="182"/>
                  </a:lnTo>
                  <a:lnTo>
                    <a:pt x="142" y="186"/>
                  </a:lnTo>
                  <a:lnTo>
                    <a:pt x="138" y="188"/>
                  </a:lnTo>
                  <a:lnTo>
                    <a:pt x="138" y="192"/>
                  </a:lnTo>
                  <a:lnTo>
                    <a:pt x="136" y="192"/>
                  </a:lnTo>
                  <a:lnTo>
                    <a:pt x="132" y="196"/>
                  </a:lnTo>
                  <a:lnTo>
                    <a:pt x="130" y="194"/>
                  </a:lnTo>
                  <a:lnTo>
                    <a:pt x="130" y="198"/>
                  </a:lnTo>
                  <a:lnTo>
                    <a:pt x="130" y="200"/>
                  </a:lnTo>
                  <a:lnTo>
                    <a:pt x="126" y="198"/>
                  </a:lnTo>
                  <a:lnTo>
                    <a:pt x="124" y="198"/>
                  </a:lnTo>
                  <a:close/>
                  <a:moveTo>
                    <a:pt x="262" y="10"/>
                  </a:moveTo>
                  <a:lnTo>
                    <a:pt x="264" y="10"/>
                  </a:lnTo>
                  <a:lnTo>
                    <a:pt x="264" y="8"/>
                  </a:lnTo>
                  <a:lnTo>
                    <a:pt x="262" y="8"/>
                  </a:lnTo>
                  <a:lnTo>
                    <a:pt x="260" y="8"/>
                  </a:lnTo>
                  <a:lnTo>
                    <a:pt x="260" y="10"/>
                  </a:lnTo>
                  <a:lnTo>
                    <a:pt x="262" y="10"/>
                  </a:lnTo>
                  <a:close/>
                  <a:moveTo>
                    <a:pt x="234" y="262"/>
                  </a:moveTo>
                  <a:lnTo>
                    <a:pt x="234" y="262"/>
                  </a:lnTo>
                  <a:lnTo>
                    <a:pt x="234" y="260"/>
                  </a:lnTo>
                  <a:lnTo>
                    <a:pt x="232" y="260"/>
                  </a:lnTo>
                  <a:lnTo>
                    <a:pt x="230" y="260"/>
                  </a:lnTo>
                  <a:lnTo>
                    <a:pt x="228" y="260"/>
                  </a:lnTo>
                  <a:lnTo>
                    <a:pt x="226" y="260"/>
                  </a:lnTo>
                  <a:lnTo>
                    <a:pt x="226" y="262"/>
                  </a:lnTo>
                  <a:lnTo>
                    <a:pt x="228" y="262"/>
                  </a:lnTo>
                  <a:lnTo>
                    <a:pt x="230" y="262"/>
                  </a:lnTo>
                  <a:lnTo>
                    <a:pt x="232" y="264"/>
                  </a:lnTo>
                  <a:lnTo>
                    <a:pt x="234" y="264"/>
                  </a:lnTo>
                  <a:lnTo>
                    <a:pt x="234" y="262"/>
                  </a:lnTo>
                  <a:close/>
                  <a:moveTo>
                    <a:pt x="244" y="274"/>
                  </a:moveTo>
                  <a:lnTo>
                    <a:pt x="244" y="272"/>
                  </a:lnTo>
                  <a:lnTo>
                    <a:pt x="242" y="272"/>
                  </a:lnTo>
                  <a:lnTo>
                    <a:pt x="242" y="270"/>
                  </a:lnTo>
                  <a:lnTo>
                    <a:pt x="240" y="268"/>
                  </a:lnTo>
                  <a:lnTo>
                    <a:pt x="240" y="266"/>
                  </a:lnTo>
                  <a:lnTo>
                    <a:pt x="238" y="266"/>
                  </a:lnTo>
                  <a:lnTo>
                    <a:pt x="236" y="266"/>
                  </a:lnTo>
                  <a:lnTo>
                    <a:pt x="236" y="264"/>
                  </a:lnTo>
                  <a:lnTo>
                    <a:pt x="234" y="264"/>
                  </a:lnTo>
                  <a:lnTo>
                    <a:pt x="234" y="266"/>
                  </a:lnTo>
                  <a:lnTo>
                    <a:pt x="234" y="268"/>
                  </a:lnTo>
                  <a:lnTo>
                    <a:pt x="236" y="272"/>
                  </a:lnTo>
                  <a:lnTo>
                    <a:pt x="236" y="278"/>
                  </a:lnTo>
                  <a:lnTo>
                    <a:pt x="238" y="278"/>
                  </a:lnTo>
                  <a:lnTo>
                    <a:pt x="240" y="278"/>
                  </a:lnTo>
                  <a:lnTo>
                    <a:pt x="240" y="276"/>
                  </a:lnTo>
                  <a:lnTo>
                    <a:pt x="242" y="276"/>
                  </a:lnTo>
                  <a:lnTo>
                    <a:pt x="244" y="276"/>
                  </a:lnTo>
                  <a:lnTo>
                    <a:pt x="246" y="276"/>
                  </a:lnTo>
                  <a:lnTo>
                    <a:pt x="246" y="274"/>
                  </a:lnTo>
                  <a:lnTo>
                    <a:pt x="244" y="274"/>
                  </a:lnTo>
                  <a:close/>
                  <a:moveTo>
                    <a:pt x="342" y="70"/>
                  </a:moveTo>
                  <a:lnTo>
                    <a:pt x="344" y="70"/>
                  </a:lnTo>
                  <a:lnTo>
                    <a:pt x="344" y="66"/>
                  </a:lnTo>
                  <a:lnTo>
                    <a:pt x="342" y="66"/>
                  </a:lnTo>
                  <a:lnTo>
                    <a:pt x="338" y="66"/>
                  </a:lnTo>
                  <a:lnTo>
                    <a:pt x="340" y="68"/>
                  </a:lnTo>
                  <a:lnTo>
                    <a:pt x="342" y="70"/>
                  </a:lnTo>
                  <a:close/>
                  <a:moveTo>
                    <a:pt x="222" y="262"/>
                  </a:moveTo>
                  <a:lnTo>
                    <a:pt x="222" y="262"/>
                  </a:lnTo>
                  <a:lnTo>
                    <a:pt x="222" y="264"/>
                  </a:lnTo>
                  <a:lnTo>
                    <a:pt x="224" y="264"/>
                  </a:lnTo>
                  <a:lnTo>
                    <a:pt x="224" y="262"/>
                  </a:lnTo>
                  <a:lnTo>
                    <a:pt x="222" y="262"/>
                  </a:lnTo>
                  <a:close/>
                  <a:moveTo>
                    <a:pt x="434" y="172"/>
                  </a:moveTo>
                  <a:lnTo>
                    <a:pt x="434" y="172"/>
                  </a:lnTo>
                  <a:lnTo>
                    <a:pt x="432" y="174"/>
                  </a:lnTo>
                  <a:lnTo>
                    <a:pt x="430" y="176"/>
                  </a:lnTo>
                  <a:lnTo>
                    <a:pt x="430" y="178"/>
                  </a:lnTo>
                  <a:lnTo>
                    <a:pt x="428" y="180"/>
                  </a:lnTo>
                  <a:lnTo>
                    <a:pt x="430" y="182"/>
                  </a:lnTo>
                  <a:lnTo>
                    <a:pt x="432" y="184"/>
                  </a:lnTo>
                  <a:lnTo>
                    <a:pt x="434" y="182"/>
                  </a:lnTo>
                  <a:lnTo>
                    <a:pt x="434" y="180"/>
                  </a:lnTo>
                  <a:lnTo>
                    <a:pt x="434" y="178"/>
                  </a:lnTo>
                  <a:lnTo>
                    <a:pt x="434" y="176"/>
                  </a:lnTo>
                  <a:lnTo>
                    <a:pt x="436" y="176"/>
                  </a:lnTo>
                  <a:lnTo>
                    <a:pt x="438" y="176"/>
                  </a:lnTo>
                  <a:lnTo>
                    <a:pt x="440" y="176"/>
                  </a:lnTo>
                  <a:lnTo>
                    <a:pt x="438" y="174"/>
                  </a:lnTo>
                  <a:lnTo>
                    <a:pt x="438" y="172"/>
                  </a:lnTo>
                  <a:lnTo>
                    <a:pt x="436" y="172"/>
                  </a:lnTo>
                  <a:lnTo>
                    <a:pt x="434" y="172"/>
                  </a:lnTo>
                  <a:close/>
                  <a:moveTo>
                    <a:pt x="228" y="16"/>
                  </a:moveTo>
                  <a:lnTo>
                    <a:pt x="230" y="16"/>
                  </a:lnTo>
                  <a:lnTo>
                    <a:pt x="230" y="14"/>
                  </a:lnTo>
                  <a:lnTo>
                    <a:pt x="232" y="14"/>
                  </a:lnTo>
                  <a:lnTo>
                    <a:pt x="232" y="16"/>
                  </a:lnTo>
                  <a:lnTo>
                    <a:pt x="234" y="16"/>
                  </a:lnTo>
                  <a:lnTo>
                    <a:pt x="236" y="16"/>
                  </a:lnTo>
                  <a:lnTo>
                    <a:pt x="236" y="14"/>
                  </a:lnTo>
                  <a:lnTo>
                    <a:pt x="236" y="12"/>
                  </a:lnTo>
                  <a:lnTo>
                    <a:pt x="234" y="10"/>
                  </a:lnTo>
                  <a:lnTo>
                    <a:pt x="232" y="8"/>
                  </a:lnTo>
                  <a:lnTo>
                    <a:pt x="230" y="8"/>
                  </a:lnTo>
                  <a:lnTo>
                    <a:pt x="228" y="10"/>
                  </a:lnTo>
                  <a:lnTo>
                    <a:pt x="226" y="8"/>
                  </a:lnTo>
                  <a:lnTo>
                    <a:pt x="226" y="10"/>
                  </a:lnTo>
                  <a:lnTo>
                    <a:pt x="224" y="8"/>
                  </a:lnTo>
                  <a:lnTo>
                    <a:pt x="224" y="12"/>
                  </a:lnTo>
                  <a:lnTo>
                    <a:pt x="222" y="10"/>
                  </a:lnTo>
                  <a:lnTo>
                    <a:pt x="222" y="12"/>
                  </a:lnTo>
                  <a:lnTo>
                    <a:pt x="218" y="12"/>
                  </a:lnTo>
                  <a:lnTo>
                    <a:pt x="218" y="14"/>
                  </a:lnTo>
                  <a:lnTo>
                    <a:pt x="220" y="14"/>
                  </a:lnTo>
                  <a:lnTo>
                    <a:pt x="220" y="16"/>
                  </a:lnTo>
                  <a:lnTo>
                    <a:pt x="222" y="16"/>
                  </a:lnTo>
                  <a:lnTo>
                    <a:pt x="222" y="12"/>
                  </a:lnTo>
                  <a:lnTo>
                    <a:pt x="222" y="16"/>
                  </a:lnTo>
                  <a:lnTo>
                    <a:pt x="224" y="16"/>
                  </a:lnTo>
                  <a:lnTo>
                    <a:pt x="226" y="14"/>
                  </a:lnTo>
                  <a:lnTo>
                    <a:pt x="228" y="14"/>
                  </a:lnTo>
                  <a:lnTo>
                    <a:pt x="228" y="16"/>
                  </a:lnTo>
                  <a:close/>
                  <a:moveTo>
                    <a:pt x="204" y="18"/>
                  </a:moveTo>
                  <a:lnTo>
                    <a:pt x="206" y="18"/>
                  </a:lnTo>
                  <a:lnTo>
                    <a:pt x="208" y="22"/>
                  </a:lnTo>
                  <a:lnTo>
                    <a:pt x="208" y="20"/>
                  </a:lnTo>
                  <a:lnTo>
                    <a:pt x="208" y="16"/>
                  </a:lnTo>
                  <a:lnTo>
                    <a:pt x="212" y="16"/>
                  </a:lnTo>
                  <a:lnTo>
                    <a:pt x="210" y="14"/>
                  </a:lnTo>
                  <a:lnTo>
                    <a:pt x="212" y="14"/>
                  </a:lnTo>
                  <a:lnTo>
                    <a:pt x="210" y="12"/>
                  </a:lnTo>
                  <a:lnTo>
                    <a:pt x="208" y="14"/>
                  </a:lnTo>
                  <a:lnTo>
                    <a:pt x="206" y="14"/>
                  </a:lnTo>
                  <a:lnTo>
                    <a:pt x="206" y="16"/>
                  </a:lnTo>
                  <a:lnTo>
                    <a:pt x="204" y="16"/>
                  </a:lnTo>
                  <a:lnTo>
                    <a:pt x="202" y="16"/>
                  </a:lnTo>
                  <a:lnTo>
                    <a:pt x="200" y="18"/>
                  </a:lnTo>
                  <a:lnTo>
                    <a:pt x="200" y="20"/>
                  </a:lnTo>
                  <a:lnTo>
                    <a:pt x="202" y="20"/>
                  </a:lnTo>
                  <a:lnTo>
                    <a:pt x="204" y="22"/>
                  </a:lnTo>
                  <a:lnTo>
                    <a:pt x="202" y="18"/>
                  </a:lnTo>
                  <a:lnTo>
                    <a:pt x="204" y="18"/>
                  </a:lnTo>
                  <a:close/>
                  <a:moveTo>
                    <a:pt x="444" y="230"/>
                  </a:moveTo>
                  <a:lnTo>
                    <a:pt x="444" y="230"/>
                  </a:lnTo>
                  <a:lnTo>
                    <a:pt x="442" y="230"/>
                  </a:lnTo>
                  <a:lnTo>
                    <a:pt x="442" y="232"/>
                  </a:lnTo>
                  <a:lnTo>
                    <a:pt x="440" y="232"/>
                  </a:lnTo>
                  <a:lnTo>
                    <a:pt x="446" y="220"/>
                  </a:lnTo>
                  <a:lnTo>
                    <a:pt x="444" y="206"/>
                  </a:lnTo>
                  <a:lnTo>
                    <a:pt x="442" y="202"/>
                  </a:lnTo>
                  <a:lnTo>
                    <a:pt x="442" y="206"/>
                  </a:lnTo>
                  <a:lnTo>
                    <a:pt x="440" y="212"/>
                  </a:lnTo>
                  <a:lnTo>
                    <a:pt x="440" y="210"/>
                  </a:lnTo>
                  <a:lnTo>
                    <a:pt x="438" y="210"/>
                  </a:lnTo>
                  <a:lnTo>
                    <a:pt x="438" y="208"/>
                  </a:lnTo>
                  <a:lnTo>
                    <a:pt x="436" y="200"/>
                  </a:lnTo>
                  <a:lnTo>
                    <a:pt x="438" y="196"/>
                  </a:lnTo>
                  <a:lnTo>
                    <a:pt x="436" y="194"/>
                  </a:lnTo>
                  <a:lnTo>
                    <a:pt x="434" y="188"/>
                  </a:lnTo>
                  <a:lnTo>
                    <a:pt x="432" y="188"/>
                  </a:lnTo>
                  <a:lnTo>
                    <a:pt x="430" y="192"/>
                  </a:lnTo>
                  <a:lnTo>
                    <a:pt x="430" y="194"/>
                  </a:lnTo>
                  <a:lnTo>
                    <a:pt x="430" y="196"/>
                  </a:lnTo>
                  <a:lnTo>
                    <a:pt x="430" y="198"/>
                  </a:lnTo>
                  <a:lnTo>
                    <a:pt x="430" y="200"/>
                  </a:lnTo>
                  <a:lnTo>
                    <a:pt x="432" y="204"/>
                  </a:lnTo>
                  <a:lnTo>
                    <a:pt x="432" y="206"/>
                  </a:lnTo>
                  <a:lnTo>
                    <a:pt x="432" y="208"/>
                  </a:lnTo>
                  <a:lnTo>
                    <a:pt x="430" y="210"/>
                  </a:lnTo>
                  <a:lnTo>
                    <a:pt x="430" y="212"/>
                  </a:lnTo>
                  <a:lnTo>
                    <a:pt x="428" y="214"/>
                  </a:lnTo>
                  <a:lnTo>
                    <a:pt x="426" y="214"/>
                  </a:lnTo>
                  <a:lnTo>
                    <a:pt x="426" y="212"/>
                  </a:lnTo>
                  <a:lnTo>
                    <a:pt x="424" y="212"/>
                  </a:lnTo>
                  <a:lnTo>
                    <a:pt x="422" y="212"/>
                  </a:lnTo>
                  <a:lnTo>
                    <a:pt x="422" y="210"/>
                  </a:lnTo>
                  <a:lnTo>
                    <a:pt x="420" y="210"/>
                  </a:lnTo>
                  <a:lnTo>
                    <a:pt x="420" y="208"/>
                  </a:lnTo>
                  <a:lnTo>
                    <a:pt x="418" y="206"/>
                  </a:lnTo>
                  <a:lnTo>
                    <a:pt x="418" y="204"/>
                  </a:lnTo>
                  <a:lnTo>
                    <a:pt x="416" y="204"/>
                  </a:lnTo>
                  <a:lnTo>
                    <a:pt x="416" y="202"/>
                  </a:lnTo>
                  <a:lnTo>
                    <a:pt x="416" y="200"/>
                  </a:lnTo>
                  <a:lnTo>
                    <a:pt x="416" y="198"/>
                  </a:lnTo>
                  <a:lnTo>
                    <a:pt x="416" y="196"/>
                  </a:lnTo>
                  <a:lnTo>
                    <a:pt x="416" y="194"/>
                  </a:lnTo>
                  <a:lnTo>
                    <a:pt x="414" y="194"/>
                  </a:lnTo>
                  <a:lnTo>
                    <a:pt x="414" y="192"/>
                  </a:lnTo>
                  <a:lnTo>
                    <a:pt x="414" y="190"/>
                  </a:lnTo>
                  <a:lnTo>
                    <a:pt x="416" y="190"/>
                  </a:lnTo>
                  <a:lnTo>
                    <a:pt x="414" y="190"/>
                  </a:lnTo>
                  <a:lnTo>
                    <a:pt x="412" y="188"/>
                  </a:lnTo>
                  <a:lnTo>
                    <a:pt x="410" y="188"/>
                  </a:lnTo>
                  <a:lnTo>
                    <a:pt x="412" y="184"/>
                  </a:lnTo>
                  <a:lnTo>
                    <a:pt x="410" y="180"/>
                  </a:lnTo>
                  <a:lnTo>
                    <a:pt x="410" y="178"/>
                  </a:lnTo>
                  <a:lnTo>
                    <a:pt x="412" y="178"/>
                  </a:lnTo>
                  <a:lnTo>
                    <a:pt x="412" y="176"/>
                  </a:lnTo>
                  <a:lnTo>
                    <a:pt x="412" y="174"/>
                  </a:lnTo>
                  <a:lnTo>
                    <a:pt x="414" y="172"/>
                  </a:lnTo>
                  <a:lnTo>
                    <a:pt x="414" y="170"/>
                  </a:lnTo>
                  <a:lnTo>
                    <a:pt x="416" y="170"/>
                  </a:lnTo>
                  <a:lnTo>
                    <a:pt x="416" y="168"/>
                  </a:lnTo>
                  <a:lnTo>
                    <a:pt x="418" y="168"/>
                  </a:lnTo>
                  <a:lnTo>
                    <a:pt x="420" y="168"/>
                  </a:lnTo>
                  <a:lnTo>
                    <a:pt x="420" y="166"/>
                  </a:lnTo>
                  <a:lnTo>
                    <a:pt x="416" y="164"/>
                  </a:lnTo>
                  <a:lnTo>
                    <a:pt x="414" y="162"/>
                  </a:lnTo>
                  <a:lnTo>
                    <a:pt x="414" y="160"/>
                  </a:lnTo>
                  <a:lnTo>
                    <a:pt x="416" y="158"/>
                  </a:lnTo>
                  <a:lnTo>
                    <a:pt x="418" y="158"/>
                  </a:lnTo>
                  <a:lnTo>
                    <a:pt x="420" y="158"/>
                  </a:lnTo>
                  <a:lnTo>
                    <a:pt x="422" y="158"/>
                  </a:lnTo>
                  <a:lnTo>
                    <a:pt x="424" y="158"/>
                  </a:lnTo>
                  <a:lnTo>
                    <a:pt x="426" y="158"/>
                  </a:lnTo>
                  <a:lnTo>
                    <a:pt x="426" y="160"/>
                  </a:lnTo>
                  <a:lnTo>
                    <a:pt x="428" y="160"/>
                  </a:lnTo>
                  <a:lnTo>
                    <a:pt x="430" y="164"/>
                  </a:lnTo>
                  <a:lnTo>
                    <a:pt x="434" y="166"/>
                  </a:lnTo>
                  <a:lnTo>
                    <a:pt x="434" y="162"/>
                  </a:lnTo>
                  <a:lnTo>
                    <a:pt x="436" y="162"/>
                  </a:lnTo>
                  <a:lnTo>
                    <a:pt x="436" y="160"/>
                  </a:lnTo>
                  <a:lnTo>
                    <a:pt x="432" y="158"/>
                  </a:lnTo>
                  <a:lnTo>
                    <a:pt x="430" y="156"/>
                  </a:lnTo>
                  <a:lnTo>
                    <a:pt x="428" y="156"/>
                  </a:lnTo>
                  <a:lnTo>
                    <a:pt x="426" y="156"/>
                  </a:lnTo>
                  <a:lnTo>
                    <a:pt x="424" y="156"/>
                  </a:lnTo>
                  <a:lnTo>
                    <a:pt x="424" y="154"/>
                  </a:lnTo>
                  <a:lnTo>
                    <a:pt x="424" y="152"/>
                  </a:lnTo>
                  <a:lnTo>
                    <a:pt x="422" y="150"/>
                  </a:lnTo>
                  <a:lnTo>
                    <a:pt x="422" y="148"/>
                  </a:lnTo>
                  <a:lnTo>
                    <a:pt x="422" y="144"/>
                  </a:lnTo>
                  <a:lnTo>
                    <a:pt x="420" y="142"/>
                  </a:lnTo>
                  <a:lnTo>
                    <a:pt x="420" y="140"/>
                  </a:lnTo>
                  <a:lnTo>
                    <a:pt x="418" y="138"/>
                  </a:lnTo>
                  <a:lnTo>
                    <a:pt x="416" y="136"/>
                  </a:lnTo>
                  <a:lnTo>
                    <a:pt x="416" y="134"/>
                  </a:lnTo>
                  <a:lnTo>
                    <a:pt x="418" y="134"/>
                  </a:lnTo>
                  <a:lnTo>
                    <a:pt x="418" y="132"/>
                  </a:lnTo>
                  <a:lnTo>
                    <a:pt x="418" y="130"/>
                  </a:lnTo>
                  <a:lnTo>
                    <a:pt x="416" y="130"/>
                  </a:lnTo>
                  <a:lnTo>
                    <a:pt x="416" y="128"/>
                  </a:lnTo>
                  <a:lnTo>
                    <a:pt x="414" y="126"/>
                  </a:lnTo>
                  <a:lnTo>
                    <a:pt x="412" y="124"/>
                  </a:lnTo>
                  <a:lnTo>
                    <a:pt x="410" y="122"/>
                  </a:lnTo>
                  <a:lnTo>
                    <a:pt x="410" y="120"/>
                  </a:lnTo>
                  <a:lnTo>
                    <a:pt x="410" y="118"/>
                  </a:lnTo>
                  <a:lnTo>
                    <a:pt x="408" y="116"/>
                  </a:lnTo>
                  <a:lnTo>
                    <a:pt x="406" y="110"/>
                  </a:lnTo>
                  <a:lnTo>
                    <a:pt x="402" y="108"/>
                  </a:lnTo>
                  <a:lnTo>
                    <a:pt x="402" y="104"/>
                  </a:lnTo>
                  <a:lnTo>
                    <a:pt x="400" y="102"/>
                  </a:lnTo>
                  <a:lnTo>
                    <a:pt x="402" y="100"/>
                  </a:lnTo>
                  <a:lnTo>
                    <a:pt x="396" y="98"/>
                  </a:lnTo>
                  <a:lnTo>
                    <a:pt x="394" y="94"/>
                  </a:lnTo>
                  <a:lnTo>
                    <a:pt x="392" y="90"/>
                  </a:lnTo>
                  <a:lnTo>
                    <a:pt x="390" y="88"/>
                  </a:lnTo>
                  <a:lnTo>
                    <a:pt x="392" y="84"/>
                  </a:lnTo>
                  <a:lnTo>
                    <a:pt x="390" y="80"/>
                  </a:lnTo>
                  <a:lnTo>
                    <a:pt x="388" y="78"/>
                  </a:lnTo>
                  <a:lnTo>
                    <a:pt x="388" y="76"/>
                  </a:lnTo>
                  <a:lnTo>
                    <a:pt x="386" y="76"/>
                  </a:lnTo>
                  <a:lnTo>
                    <a:pt x="386" y="74"/>
                  </a:lnTo>
                  <a:lnTo>
                    <a:pt x="384" y="74"/>
                  </a:lnTo>
                  <a:lnTo>
                    <a:pt x="382" y="72"/>
                  </a:lnTo>
                  <a:lnTo>
                    <a:pt x="380" y="72"/>
                  </a:lnTo>
                  <a:lnTo>
                    <a:pt x="378" y="72"/>
                  </a:lnTo>
                  <a:lnTo>
                    <a:pt x="376" y="74"/>
                  </a:lnTo>
                  <a:lnTo>
                    <a:pt x="374" y="72"/>
                  </a:lnTo>
                  <a:lnTo>
                    <a:pt x="376" y="70"/>
                  </a:lnTo>
                  <a:lnTo>
                    <a:pt x="378" y="70"/>
                  </a:lnTo>
                  <a:lnTo>
                    <a:pt x="382" y="70"/>
                  </a:lnTo>
                  <a:lnTo>
                    <a:pt x="380" y="68"/>
                  </a:lnTo>
                  <a:lnTo>
                    <a:pt x="380" y="66"/>
                  </a:lnTo>
                  <a:lnTo>
                    <a:pt x="374" y="60"/>
                  </a:lnTo>
                  <a:lnTo>
                    <a:pt x="372" y="60"/>
                  </a:lnTo>
                  <a:lnTo>
                    <a:pt x="372" y="58"/>
                  </a:lnTo>
                  <a:lnTo>
                    <a:pt x="370" y="58"/>
                  </a:lnTo>
                  <a:lnTo>
                    <a:pt x="368" y="58"/>
                  </a:lnTo>
                  <a:lnTo>
                    <a:pt x="366" y="58"/>
                  </a:lnTo>
                  <a:lnTo>
                    <a:pt x="366" y="56"/>
                  </a:lnTo>
                  <a:lnTo>
                    <a:pt x="364" y="56"/>
                  </a:lnTo>
                  <a:lnTo>
                    <a:pt x="362" y="54"/>
                  </a:lnTo>
                  <a:lnTo>
                    <a:pt x="360" y="54"/>
                  </a:lnTo>
                  <a:lnTo>
                    <a:pt x="358" y="54"/>
                  </a:lnTo>
                  <a:lnTo>
                    <a:pt x="356" y="54"/>
                  </a:lnTo>
                  <a:lnTo>
                    <a:pt x="354" y="54"/>
                  </a:lnTo>
                  <a:lnTo>
                    <a:pt x="352" y="54"/>
                  </a:lnTo>
                  <a:lnTo>
                    <a:pt x="350" y="54"/>
                  </a:lnTo>
                  <a:lnTo>
                    <a:pt x="348" y="52"/>
                  </a:lnTo>
                  <a:lnTo>
                    <a:pt x="344" y="50"/>
                  </a:lnTo>
                  <a:lnTo>
                    <a:pt x="342" y="50"/>
                  </a:lnTo>
                  <a:lnTo>
                    <a:pt x="342" y="54"/>
                  </a:lnTo>
                  <a:lnTo>
                    <a:pt x="340" y="52"/>
                  </a:lnTo>
                  <a:lnTo>
                    <a:pt x="338" y="56"/>
                  </a:lnTo>
                  <a:lnTo>
                    <a:pt x="336" y="56"/>
                  </a:lnTo>
                  <a:lnTo>
                    <a:pt x="330" y="56"/>
                  </a:lnTo>
                  <a:lnTo>
                    <a:pt x="336" y="58"/>
                  </a:lnTo>
                  <a:lnTo>
                    <a:pt x="336" y="60"/>
                  </a:lnTo>
                  <a:lnTo>
                    <a:pt x="338" y="64"/>
                  </a:lnTo>
                  <a:lnTo>
                    <a:pt x="340" y="62"/>
                  </a:lnTo>
                  <a:lnTo>
                    <a:pt x="344" y="64"/>
                  </a:lnTo>
                  <a:lnTo>
                    <a:pt x="346" y="66"/>
                  </a:lnTo>
                  <a:lnTo>
                    <a:pt x="352" y="66"/>
                  </a:lnTo>
                  <a:lnTo>
                    <a:pt x="352" y="70"/>
                  </a:lnTo>
                  <a:lnTo>
                    <a:pt x="356" y="68"/>
                  </a:lnTo>
                  <a:lnTo>
                    <a:pt x="360" y="72"/>
                  </a:lnTo>
                  <a:lnTo>
                    <a:pt x="356" y="72"/>
                  </a:lnTo>
                  <a:lnTo>
                    <a:pt x="356" y="74"/>
                  </a:lnTo>
                  <a:lnTo>
                    <a:pt x="354" y="76"/>
                  </a:lnTo>
                  <a:lnTo>
                    <a:pt x="360" y="76"/>
                  </a:lnTo>
                  <a:lnTo>
                    <a:pt x="360" y="78"/>
                  </a:lnTo>
                  <a:lnTo>
                    <a:pt x="364" y="78"/>
                  </a:lnTo>
                  <a:lnTo>
                    <a:pt x="366" y="80"/>
                  </a:lnTo>
                  <a:lnTo>
                    <a:pt x="370" y="82"/>
                  </a:lnTo>
                  <a:lnTo>
                    <a:pt x="370" y="84"/>
                  </a:lnTo>
                  <a:lnTo>
                    <a:pt x="372" y="86"/>
                  </a:lnTo>
                  <a:lnTo>
                    <a:pt x="370" y="88"/>
                  </a:lnTo>
                  <a:lnTo>
                    <a:pt x="368" y="86"/>
                  </a:lnTo>
                  <a:lnTo>
                    <a:pt x="364" y="82"/>
                  </a:lnTo>
                  <a:lnTo>
                    <a:pt x="356" y="80"/>
                  </a:lnTo>
                  <a:lnTo>
                    <a:pt x="356" y="82"/>
                  </a:lnTo>
                  <a:lnTo>
                    <a:pt x="354" y="82"/>
                  </a:lnTo>
                  <a:lnTo>
                    <a:pt x="352" y="80"/>
                  </a:lnTo>
                  <a:lnTo>
                    <a:pt x="350" y="80"/>
                  </a:lnTo>
                  <a:lnTo>
                    <a:pt x="350" y="82"/>
                  </a:lnTo>
                  <a:lnTo>
                    <a:pt x="346" y="82"/>
                  </a:lnTo>
                  <a:lnTo>
                    <a:pt x="346" y="84"/>
                  </a:lnTo>
                  <a:lnTo>
                    <a:pt x="344" y="86"/>
                  </a:lnTo>
                  <a:lnTo>
                    <a:pt x="344" y="84"/>
                  </a:lnTo>
                  <a:lnTo>
                    <a:pt x="342" y="82"/>
                  </a:lnTo>
                  <a:lnTo>
                    <a:pt x="340" y="82"/>
                  </a:lnTo>
                  <a:lnTo>
                    <a:pt x="338" y="82"/>
                  </a:lnTo>
                  <a:lnTo>
                    <a:pt x="338" y="84"/>
                  </a:lnTo>
                  <a:lnTo>
                    <a:pt x="336" y="84"/>
                  </a:lnTo>
                  <a:lnTo>
                    <a:pt x="336" y="82"/>
                  </a:lnTo>
                  <a:lnTo>
                    <a:pt x="334" y="80"/>
                  </a:lnTo>
                  <a:lnTo>
                    <a:pt x="332" y="78"/>
                  </a:lnTo>
                  <a:lnTo>
                    <a:pt x="328" y="76"/>
                  </a:lnTo>
                  <a:lnTo>
                    <a:pt x="328" y="72"/>
                  </a:lnTo>
                  <a:lnTo>
                    <a:pt x="326" y="72"/>
                  </a:lnTo>
                  <a:lnTo>
                    <a:pt x="324" y="68"/>
                  </a:lnTo>
                  <a:lnTo>
                    <a:pt x="322" y="68"/>
                  </a:lnTo>
                  <a:lnTo>
                    <a:pt x="324" y="68"/>
                  </a:lnTo>
                  <a:lnTo>
                    <a:pt x="324" y="66"/>
                  </a:lnTo>
                  <a:lnTo>
                    <a:pt x="322" y="66"/>
                  </a:lnTo>
                  <a:lnTo>
                    <a:pt x="322" y="64"/>
                  </a:lnTo>
                  <a:lnTo>
                    <a:pt x="322" y="62"/>
                  </a:lnTo>
                  <a:lnTo>
                    <a:pt x="320" y="62"/>
                  </a:lnTo>
                  <a:lnTo>
                    <a:pt x="318" y="64"/>
                  </a:lnTo>
                  <a:lnTo>
                    <a:pt x="318" y="60"/>
                  </a:lnTo>
                  <a:lnTo>
                    <a:pt x="318" y="58"/>
                  </a:lnTo>
                  <a:lnTo>
                    <a:pt x="312" y="56"/>
                  </a:lnTo>
                  <a:lnTo>
                    <a:pt x="308" y="56"/>
                  </a:lnTo>
                  <a:lnTo>
                    <a:pt x="308" y="60"/>
                  </a:lnTo>
                  <a:lnTo>
                    <a:pt x="304" y="60"/>
                  </a:lnTo>
                  <a:lnTo>
                    <a:pt x="302" y="62"/>
                  </a:lnTo>
                  <a:lnTo>
                    <a:pt x="304" y="62"/>
                  </a:lnTo>
                  <a:lnTo>
                    <a:pt x="304" y="66"/>
                  </a:lnTo>
                  <a:lnTo>
                    <a:pt x="300" y="66"/>
                  </a:lnTo>
                  <a:lnTo>
                    <a:pt x="296" y="64"/>
                  </a:lnTo>
                  <a:lnTo>
                    <a:pt x="296" y="68"/>
                  </a:lnTo>
                  <a:lnTo>
                    <a:pt x="300" y="72"/>
                  </a:lnTo>
                  <a:lnTo>
                    <a:pt x="296" y="70"/>
                  </a:lnTo>
                  <a:lnTo>
                    <a:pt x="294" y="70"/>
                  </a:lnTo>
                  <a:lnTo>
                    <a:pt x="292" y="74"/>
                  </a:lnTo>
                  <a:lnTo>
                    <a:pt x="288" y="74"/>
                  </a:lnTo>
                  <a:lnTo>
                    <a:pt x="284" y="74"/>
                  </a:lnTo>
                  <a:lnTo>
                    <a:pt x="280" y="72"/>
                  </a:lnTo>
                  <a:lnTo>
                    <a:pt x="278" y="74"/>
                  </a:lnTo>
                  <a:lnTo>
                    <a:pt x="276" y="72"/>
                  </a:lnTo>
                  <a:lnTo>
                    <a:pt x="268" y="72"/>
                  </a:lnTo>
                  <a:lnTo>
                    <a:pt x="266" y="72"/>
                  </a:lnTo>
                  <a:lnTo>
                    <a:pt x="264" y="74"/>
                  </a:lnTo>
                  <a:lnTo>
                    <a:pt x="264" y="76"/>
                  </a:lnTo>
                  <a:lnTo>
                    <a:pt x="264" y="74"/>
                  </a:lnTo>
                  <a:lnTo>
                    <a:pt x="262" y="74"/>
                  </a:lnTo>
                  <a:lnTo>
                    <a:pt x="260" y="74"/>
                  </a:lnTo>
                  <a:lnTo>
                    <a:pt x="258" y="74"/>
                  </a:lnTo>
                  <a:lnTo>
                    <a:pt x="256" y="74"/>
                  </a:lnTo>
                  <a:lnTo>
                    <a:pt x="254" y="74"/>
                  </a:lnTo>
                  <a:lnTo>
                    <a:pt x="252" y="74"/>
                  </a:lnTo>
                  <a:lnTo>
                    <a:pt x="252" y="76"/>
                  </a:lnTo>
                  <a:lnTo>
                    <a:pt x="246" y="76"/>
                  </a:lnTo>
                  <a:lnTo>
                    <a:pt x="244" y="74"/>
                  </a:lnTo>
                  <a:lnTo>
                    <a:pt x="242" y="74"/>
                  </a:lnTo>
                  <a:lnTo>
                    <a:pt x="240" y="74"/>
                  </a:lnTo>
                  <a:lnTo>
                    <a:pt x="240" y="72"/>
                  </a:lnTo>
                  <a:lnTo>
                    <a:pt x="238" y="72"/>
                  </a:lnTo>
                  <a:lnTo>
                    <a:pt x="238" y="74"/>
                  </a:lnTo>
                  <a:lnTo>
                    <a:pt x="238" y="76"/>
                  </a:lnTo>
                  <a:lnTo>
                    <a:pt x="238" y="78"/>
                  </a:lnTo>
                  <a:lnTo>
                    <a:pt x="236" y="80"/>
                  </a:lnTo>
                  <a:lnTo>
                    <a:pt x="234" y="80"/>
                  </a:lnTo>
                  <a:lnTo>
                    <a:pt x="232" y="80"/>
                  </a:lnTo>
                  <a:lnTo>
                    <a:pt x="230" y="80"/>
                  </a:lnTo>
                  <a:lnTo>
                    <a:pt x="228" y="82"/>
                  </a:lnTo>
                  <a:lnTo>
                    <a:pt x="230" y="84"/>
                  </a:lnTo>
                  <a:lnTo>
                    <a:pt x="234" y="88"/>
                  </a:lnTo>
                  <a:lnTo>
                    <a:pt x="236" y="88"/>
                  </a:lnTo>
                  <a:lnTo>
                    <a:pt x="232" y="88"/>
                  </a:lnTo>
                  <a:lnTo>
                    <a:pt x="230" y="92"/>
                  </a:lnTo>
                  <a:lnTo>
                    <a:pt x="226" y="92"/>
                  </a:lnTo>
                  <a:lnTo>
                    <a:pt x="222" y="90"/>
                  </a:lnTo>
                  <a:lnTo>
                    <a:pt x="220" y="94"/>
                  </a:lnTo>
                  <a:lnTo>
                    <a:pt x="220" y="96"/>
                  </a:lnTo>
                  <a:lnTo>
                    <a:pt x="224" y="96"/>
                  </a:lnTo>
                  <a:lnTo>
                    <a:pt x="228" y="94"/>
                  </a:lnTo>
                  <a:lnTo>
                    <a:pt x="230" y="96"/>
                  </a:lnTo>
                  <a:lnTo>
                    <a:pt x="234" y="96"/>
                  </a:lnTo>
                  <a:lnTo>
                    <a:pt x="236" y="96"/>
                  </a:lnTo>
                  <a:lnTo>
                    <a:pt x="234" y="98"/>
                  </a:lnTo>
                  <a:lnTo>
                    <a:pt x="232" y="98"/>
                  </a:lnTo>
                  <a:lnTo>
                    <a:pt x="230" y="98"/>
                  </a:lnTo>
                  <a:lnTo>
                    <a:pt x="228" y="98"/>
                  </a:lnTo>
                  <a:lnTo>
                    <a:pt x="228" y="100"/>
                  </a:lnTo>
                  <a:lnTo>
                    <a:pt x="228" y="102"/>
                  </a:lnTo>
                  <a:lnTo>
                    <a:pt x="228" y="104"/>
                  </a:lnTo>
                  <a:lnTo>
                    <a:pt x="228" y="106"/>
                  </a:lnTo>
                  <a:lnTo>
                    <a:pt x="230" y="108"/>
                  </a:lnTo>
                  <a:lnTo>
                    <a:pt x="230" y="110"/>
                  </a:lnTo>
                  <a:lnTo>
                    <a:pt x="232" y="110"/>
                  </a:lnTo>
                  <a:lnTo>
                    <a:pt x="236" y="112"/>
                  </a:lnTo>
                  <a:lnTo>
                    <a:pt x="238" y="114"/>
                  </a:lnTo>
                  <a:lnTo>
                    <a:pt x="242" y="116"/>
                  </a:lnTo>
                  <a:lnTo>
                    <a:pt x="242" y="118"/>
                  </a:lnTo>
                  <a:lnTo>
                    <a:pt x="242" y="120"/>
                  </a:lnTo>
                  <a:lnTo>
                    <a:pt x="240" y="120"/>
                  </a:lnTo>
                  <a:lnTo>
                    <a:pt x="238" y="122"/>
                  </a:lnTo>
                  <a:lnTo>
                    <a:pt x="236" y="122"/>
                  </a:lnTo>
                  <a:lnTo>
                    <a:pt x="236" y="124"/>
                  </a:lnTo>
                  <a:lnTo>
                    <a:pt x="234" y="124"/>
                  </a:lnTo>
                  <a:lnTo>
                    <a:pt x="232" y="124"/>
                  </a:lnTo>
                  <a:lnTo>
                    <a:pt x="230" y="126"/>
                  </a:lnTo>
                  <a:lnTo>
                    <a:pt x="228" y="126"/>
                  </a:lnTo>
                  <a:lnTo>
                    <a:pt x="228" y="128"/>
                  </a:lnTo>
                  <a:lnTo>
                    <a:pt x="228" y="130"/>
                  </a:lnTo>
                  <a:lnTo>
                    <a:pt x="226" y="130"/>
                  </a:lnTo>
                  <a:lnTo>
                    <a:pt x="226" y="132"/>
                  </a:lnTo>
                  <a:lnTo>
                    <a:pt x="224" y="132"/>
                  </a:lnTo>
                  <a:lnTo>
                    <a:pt x="226" y="132"/>
                  </a:lnTo>
                  <a:lnTo>
                    <a:pt x="228" y="132"/>
                  </a:lnTo>
                  <a:lnTo>
                    <a:pt x="228" y="130"/>
                  </a:lnTo>
                  <a:lnTo>
                    <a:pt x="230" y="130"/>
                  </a:lnTo>
                  <a:lnTo>
                    <a:pt x="232" y="128"/>
                  </a:lnTo>
                  <a:lnTo>
                    <a:pt x="234" y="128"/>
                  </a:lnTo>
                  <a:lnTo>
                    <a:pt x="236" y="128"/>
                  </a:lnTo>
                  <a:lnTo>
                    <a:pt x="236" y="130"/>
                  </a:lnTo>
                  <a:lnTo>
                    <a:pt x="238" y="130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40" y="124"/>
                  </a:lnTo>
                  <a:lnTo>
                    <a:pt x="242" y="124"/>
                  </a:lnTo>
                  <a:lnTo>
                    <a:pt x="242" y="122"/>
                  </a:lnTo>
                  <a:lnTo>
                    <a:pt x="244" y="120"/>
                  </a:lnTo>
                  <a:lnTo>
                    <a:pt x="246" y="120"/>
                  </a:lnTo>
                  <a:lnTo>
                    <a:pt x="248" y="120"/>
                  </a:lnTo>
                  <a:lnTo>
                    <a:pt x="250" y="120"/>
                  </a:lnTo>
                  <a:lnTo>
                    <a:pt x="250" y="118"/>
                  </a:lnTo>
                  <a:lnTo>
                    <a:pt x="250" y="116"/>
                  </a:lnTo>
                  <a:lnTo>
                    <a:pt x="250" y="112"/>
                  </a:lnTo>
                  <a:lnTo>
                    <a:pt x="250" y="110"/>
                  </a:lnTo>
                  <a:lnTo>
                    <a:pt x="252" y="110"/>
                  </a:lnTo>
                  <a:lnTo>
                    <a:pt x="254" y="110"/>
                  </a:lnTo>
                  <a:lnTo>
                    <a:pt x="256" y="108"/>
                  </a:lnTo>
                  <a:lnTo>
                    <a:pt x="262" y="108"/>
                  </a:lnTo>
                  <a:lnTo>
                    <a:pt x="264" y="110"/>
                  </a:lnTo>
                  <a:lnTo>
                    <a:pt x="266" y="110"/>
                  </a:lnTo>
                  <a:lnTo>
                    <a:pt x="268" y="112"/>
                  </a:lnTo>
                  <a:lnTo>
                    <a:pt x="270" y="112"/>
                  </a:lnTo>
                  <a:lnTo>
                    <a:pt x="272" y="112"/>
                  </a:lnTo>
                  <a:lnTo>
                    <a:pt x="274" y="112"/>
                  </a:lnTo>
                  <a:lnTo>
                    <a:pt x="276" y="114"/>
                  </a:lnTo>
                  <a:lnTo>
                    <a:pt x="278" y="114"/>
                  </a:lnTo>
                  <a:lnTo>
                    <a:pt x="280" y="114"/>
                  </a:lnTo>
                  <a:lnTo>
                    <a:pt x="282" y="116"/>
                  </a:lnTo>
                  <a:lnTo>
                    <a:pt x="284" y="116"/>
                  </a:lnTo>
                  <a:lnTo>
                    <a:pt x="282" y="118"/>
                  </a:lnTo>
                  <a:lnTo>
                    <a:pt x="284" y="120"/>
                  </a:lnTo>
                  <a:lnTo>
                    <a:pt x="286" y="122"/>
                  </a:lnTo>
                  <a:lnTo>
                    <a:pt x="288" y="128"/>
                  </a:lnTo>
                  <a:lnTo>
                    <a:pt x="288" y="124"/>
                  </a:lnTo>
                  <a:lnTo>
                    <a:pt x="292" y="124"/>
                  </a:lnTo>
                  <a:lnTo>
                    <a:pt x="292" y="126"/>
                  </a:lnTo>
                  <a:lnTo>
                    <a:pt x="292" y="130"/>
                  </a:lnTo>
                  <a:lnTo>
                    <a:pt x="294" y="132"/>
                  </a:lnTo>
                  <a:lnTo>
                    <a:pt x="296" y="132"/>
                  </a:lnTo>
                  <a:lnTo>
                    <a:pt x="296" y="130"/>
                  </a:lnTo>
                  <a:lnTo>
                    <a:pt x="296" y="128"/>
                  </a:lnTo>
                  <a:lnTo>
                    <a:pt x="300" y="130"/>
                  </a:lnTo>
                  <a:lnTo>
                    <a:pt x="302" y="132"/>
                  </a:lnTo>
                  <a:lnTo>
                    <a:pt x="306" y="134"/>
                  </a:lnTo>
                  <a:lnTo>
                    <a:pt x="308" y="132"/>
                  </a:lnTo>
                  <a:lnTo>
                    <a:pt x="310" y="132"/>
                  </a:lnTo>
                  <a:lnTo>
                    <a:pt x="310" y="134"/>
                  </a:lnTo>
                  <a:lnTo>
                    <a:pt x="308" y="134"/>
                  </a:lnTo>
                  <a:lnTo>
                    <a:pt x="308" y="138"/>
                  </a:lnTo>
                  <a:lnTo>
                    <a:pt x="310" y="140"/>
                  </a:lnTo>
                  <a:lnTo>
                    <a:pt x="312" y="138"/>
                  </a:lnTo>
                  <a:lnTo>
                    <a:pt x="314" y="138"/>
                  </a:lnTo>
                  <a:lnTo>
                    <a:pt x="318" y="140"/>
                  </a:lnTo>
                  <a:lnTo>
                    <a:pt x="322" y="140"/>
                  </a:lnTo>
                  <a:lnTo>
                    <a:pt x="324" y="142"/>
                  </a:lnTo>
                  <a:lnTo>
                    <a:pt x="322" y="142"/>
                  </a:lnTo>
                  <a:lnTo>
                    <a:pt x="320" y="142"/>
                  </a:lnTo>
                  <a:lnTo>
                    <a:pt x="318" y="142"/>
                  </a:lnTo>
                  <a:lnTo>
                    <a:pt x="316" y="142"/>
                  </a:lnTo>
                  <a:lnTo>
                    <a:pt x="314" y="142"/>
                  </a:lnTo>
                  <a:lnTo>
                    <a:pt x="314" y="144"/>
                  </a:lnTo>
                  <a:lnTo>
                    <a:pt x="316" y="144"/>
                  </a:lnTo>
                  <a:lnTo>
                    <a:pt x="316" y="146"/>
                  </a:lnTo>
                  <a:lnTo>
                    <a:pt x="318" y="146"/>
                  </a:lnTo>
                  <a:lnTo>
                    <a:pt x="320" y="148"/>
                  </a:lnTo>
                  <a:lnTo>
                    <a:pt x="322" y="148"/>
                  </a:lnTo>
                  <a:lnTo>
                    <a:pt x="322" y="150"/>
                  </a:lnTo>
                  <a:lnTo>
                    <a:pt x="326" y="156"/>
                  </a:lnTo>
                  <a:lnTo>
                    <a:pt x="324" y="162"/>
                  </a:lnTo>
                  <a:lnTo>
                    <a:pt x="328" y="162"/>
                  </a:lnTo>
                  <a:lnTo>
                    <a:pt x="328" y="168"/>
                  </a:lnTo>
                  <a:lnTo>
                    <a:pt x="328" y="166"/>
                  </a:lnTo>
                  <a:lnTo>
                    <a:pt x="330" y="166"/>
                  </a:lnTo>
                  <a:lnTo>
                    <a:pt x="332" y="168"/>
                  </a:lnTo>
                  <a:lnTo>
                    <a:pt x="332" y="170"/>
                  </a:lnTo>
                  <a:lnTo>
                    <a:pt x="332" y="172"/>
                  </a:lnTo>
                  <a:lnTo>
                    <a:pt x="332" y="174"/>
                  </a:lnTo>
                  <a:lnTo>
                    <a:pt x="334" y="176"/>
                  </a:lnTo>
                  <a:lnTo>
                    <a:pt x="336" y="178"/>
                  </a:lnTo>
                  <a:lnTo>
                    <a:pt x="338" y="180"/>
                  </a:lnTo>
                  <a:lnTo>
                    <a:pt x="340" y="180"/>
                  </a:lnTo>
                  <a:lnTo>
                    <a:pt x="342" y="182"/>
                  </a:lnTo>
                  <a:lnTo>
                    <a:pt x="342" y="184"/>
                  </a:lnTo>
                  <a:lnTo>
                    <a:pt x="342" y="186"/>
                  </a:lnTo>
                  <a:lnTo>
                    <a:pt x="344" y="186"/>
                  </a:lnTo>
                  <a:lnTo>
                    <a:pt x="346" y="188"/>
                  </a:lnTo>
                  <a:lnTo>
                    <a:pt x="348" y="188"/>
                  </a:lnTo>
                  <a:lnTo>
                    <a:pt x="348" y="190"/>
                  </a:lnTo>
                  <a:lnTo>
                    <a:pt x="350" y="190"/>
                  </a:lnTo>
                  <a:lnTo>
                    <a:pt x="350" y="192"/>
                  </a:lnTo>
                  <a:lnTo>
                    <a:pt x="352" y="192"/>
                  </a:lnTo>
                  <a:lnTo>
                    <a:pt x="354" y="192"/>
                  </a:lnTo>
                  <a:lnTo>
                    <a:pt x="354" y="194"/>
                  </a:lnTo>
                  <a:lnTo>
                    <a:pt x="356" y="194"/>
                  </a:lnTo>
                  <a:lnTo>
                    <a:pt x="358" y="194"/>
                  </a:lnTo>
                  <a:lnTo>
                    <a:pt x="360" y="196"/>
                  </a:lnTo>
                  <a:lnTo>
                    <a:pt x="364" y="196"/>
                  </a:lnTo>
                  <a:lnTo>
                    <a:pt x="366" y="200"/>
                  </a:lnTo>
                  <a:lnTo>
                    <a:pt x="368" y="202"/>
                  </a:lnTo>
                  <a:lnTo>
                    <a:pt x="370" y="206"/>
                  </a:lnTo>
                  <a:lnTo>
                    <a:pt x="374" y="206"/>
                  </a:lnTo>
                  <a:lnTo>
                    <a:pt x="374" y="210"/>
                  </a:lnTo>
                  <a:lnTo>
                    <a:pt x="376" y="210"/>
                  </a:lnTo>
                  <a:lnTo>
                    <a:pt x="376" y="214"/>
                  </a:lnTo>
                  <a:lnTo>
                    <a:pt x="378" y="214"/>
                  </a:lnTo>
                  <a:lnTo>
                    <a:pt x="380" y="214"/>
                  </a:lnTo>
                  <a:lnTo>
                    <a:pt x="382" y="214"/>
                  </a:lnTo>
                  <a:lnTo>
                    <a:pt x="384" y="216"/>
                  </a:lnTo>
                  <a:lnTo>
                    <a:pt x="384" y="218"/>
                  </a:lnTo>
                  <a:lnTo>
                    <a:pt x="386" y="218"/>
                  </a:lnTo>
                  <a:lnTo>
                    <a:pt x="386" y="220"/>
                  </a:lnTo>
                  <a:lnTo>
                    <a:pt x="392" y="222"/>
                  </a:lnTo>
                  <a:lnTo>
                    <a:pt x="394" y="222"/>
                  </a:lnTo>
                  <a:lnTo>
                    <a:pt x="392" y="218"/>
                  </a:lnTo>
                  <a:lnTo>
                    <a:pt x="390" y="218"/>
                  </a:lnTo>
                  <a:lnTo>
                    <a:pt x="388" y="218"/>
                  </a:lnTo>
                  <a:lnTo>
                    <a:pt x="386" y="216"/>
                  </a:lnTo>
                  <a:lnTo>
                    <a:pt x="386" y="214"/>
                  </a:lnTo>
                  <a:lnTo>
                    <a:pt x="386" y="212"/>
                  </a:lnTo>
                  <a:lnTo>
                    <a:pt x="384" y="210"/>
                  </a:lnTo>
                  <a:lnTo>
                    <a:pt x="382" y="210"/>
                  </a:lnTo>
                  <a:lnTo>
                    <a:pt x="382" y="208"/>
                  </a:lnTo>
                  <a:lnTo>
                    <a:pt x="380" y="208"/>
                  </a:lnTo>
                  <a:lnTo>
                    <a:pt x="380" y="206"/>
                  </a:lnTo>
                  <a:lnTo>
                    <a:pt x="378" y="206"/>
                  </a:lnTo>
                  <a:lnTo>
                    <a:pt x="376" y="204"/>
                  </a:lnTo>
                  <a:lnTo>
                    <a:pt x="374" y="202"/>
                  </a:lnTo>
                  <a:lnTo>
                    <a:pt x="370" y="198"/>
                  </a:lnTo>
                  <a:lnTo>
                    <a:pt x="368" y="196"/>
                  </a:lnTo>
                  <a:lnTo>
                    <a:pt x="370" y="196"/>
                  </a:lnTo>
                  <a:lnTo>
                    <a:pt x="370" y="194"/>
                  </a:lnTo>
                  <a:lnTo>
                    <a:pt x="372" y="194"/>
                  </a:lnTo>
                  <a:lnTo>
                    <a:pt x="372" y="196"/>
                  </a:lnTo>
                  <a:lnTo>
                    <a:pt x="374" y="196"/>
                  </a:lnTo>
                  <a:lnTo>
                    <a:pt x="376" y="198"/>
                  </a:lnTo>
                  <a:lnTo>
                    <a:pt x="376" y="200"/>
                  </a:lnTo>
                  <a:lnTo>
                    <a:pt x="376" y="202"/>
                  </a:lnTo>
                  <a:lnTo>
                    <a:pt x="378" y="202"/>
                  </a:lnTo>
                  <a:lnTo>
                    <a:pt x="380" y="202"/>
                  </a:lnTo>
                  <a:lnTo>
                    <a:pt x="382" y="202"/>
                  </a:lnTo>
                  <a:lnTo>
                    <a:pt x="384" y="204"/>
                  </a:lnTo>
                  <a:lnTo>
                    <a:pt x="384" y="206"/>
                  </a:lnTo>
                  <a:lnTo>
                    <a:pt x="386" y="208"/>
                  </a:lnTo>
                  <a:lnTo>
                    <a:pt x="388" y="208"/>
                  </a:lnTo>
                  <a:lnTo>
                    <a:pt x="388" y="210"/>
                  </a:lnTo>
                  <a:lnTo>
                    <a:pt x="390" y="210"/>
                  </a:lnTo>
                  <a:lnTo>
                    <a:pt x="392" y="212"/>
                  </a:lnTo>
                  <a:lnTo>
                    <a:pt x="396" y="212"/>
                  </a:lnTo>
                  <a:lnTo>
                    <a:pt x="398" y="214"/>
                  </a:lnTo>
                  <a:lnTo>
                    <a:pt x="404" y="216"/>
                  </a:lnTo>
                  <a:lnTo>
                    <a:pt x="408" y="222"/>
                  </a:lnTo>
                  <a:lnTo>
                    <a:pt x="406" y="222"/>
                  </a:lnTo>
                  <a:lnTo>
                    <a:pt x="404" y="222"/>
                  </a:lnTo>
                  <a:lnTo>
                    <a:pt x="404" y="224"/>
                  </a:lnTo>
                  <a:lnTo>
                    <a:pt x="402" y="224"/>
                  </a:lnTo>
                  <a:lnTo>
                    <a:pt x="404" y="224"/>
                  </a:lnTo>
                  <a:lnTo>
                    <a:pt x="404" y="226"/>
                  </a:lnTo>
                  <a:lnTo>
                    <a:pt x="406" y="226"/>
                  </a:lnTo>
                  <a:lnTo>
                    <a:pt x="406" y="228"/>
                  </a:lnTo>
                  <a:lnTo>
                    <a:pt x="408" y="228"/>
                  </a:lnTo>
                  <a:lnTo>
                    <a:pt x="408" y="230"/>
                  </a:lnTo>
                  <a:lnTo>
                    <a:pt x="410" y="230"/>
                  </a:lnTo>
                  <a:lnTo>
                    <a:pt x="412" y="230"/>
                  </a:lnTo>
                  <a:lnTo>
                    <a:pt x="414" y="230"/>
                  </a:lnTo>
                  <a:lnTo>
                    <a:pt x="416" y="228"/>
                  </a:lnTo>
                  <a:lnTo>
                    <a:pt x="422" y="228"/>
                  </a:lnTo>
                  <a:lnTo>
                    <a:pt x="426" y="228"/>
                  </a:lnTo>
                  <a:lnTo>
                    <a:pt x="428" y="224"/>
                  </a:lnTo>
                  <a:lnTo>
                    <a:pt x="430" y="220"/>
                  </a:lnTo>
                  <a:lnTo>
                    <a:pt x="432" y="220"/>
                  </a:lnTo>
                  <a:lnTo>
                    <a:pt x="432" y="222"/>
                  </a:lnTo>
                  <a:lnTo>
                    <a:pt x="434" y="222"/>
                  </a:lnTo>
                  <a:lnTo>
                    <a:pt x="434" y="224"/>
                  </a:lnTo>
                  <a:lnTo>
                    <a:pt x="442" y="220"/>
                  </a:lnTo>
                  <a:lnTo>
                    <a:pt x="442" y="222"/>
                  </a:lnTo>
                  <a:lnTo>
                    <a:pt x="442" y="224"/>
                  </a:lnTo>
                  <a:lnTo>
                    <a:pt x="440" y="226"/>
                  </a:lnTo>
                  <a:lnTo>
                    <a:pt x="438" y="234"/>
                  </a:lnTo>
                  <a:lnTo>
                    <a:pt x="442" y="242"/>
                  </a:lnTo>
                  <a:lnTo>
                    <a:pt x="442" y="240"/>
                  </a:lnTo>
                  <a:lnTo>
                    <a:pt x="442" y="238"/>
                  </a:lnTo>
                  <a:lnTo>
                    <a:pt x="442" y="234"/>
                  </a:lnTo>
                  <a:lnTo>
                    <a:pt x="444" y="232"/>
                  </a:lnTo>
                  <a:lnTo>
                    <a:pt x="444" y="230"/>
                  </a:lnTo>
                  <a:close/>
                  <a:moveTo>
                    <a:pt x="270" y="62"/>
                  </a:moveTo>
                  <a:lnTo>
                    <a:pt x="272" y="64"/>
                  </a:lnTo>
                  <a:lnTo>
                    <a:pt x="276" y="64"/>
                  </a:lnTo>
                  <a:lnTo>
                    <a:pt x="278" y="68"/>
                  </a:lnTo>
                  <a:lnTo>
                    <a:pt x="280" y="62"/>
                  </a:lnTo>
                  <a:lnTo>
                    <a:pt x="282" y="68"/>
                  </a:lnTo>
                  <a:lnTo>
                    <a:pt x="284" y="66"/>
                  </a:lnTo>
                  <a:lnTo>
                    <a:pt x="288" y="68"/>
                  </a:lnTo>
                  <a:lnTo>
                    <a:pt x="292" y="68"/>
                  </a:lnTo>
                  <a:lnTo>
                    <a:pt x="294" y="66"/>
                  </a:lnTo>
                  <a:lnTo>
                    <a:pt x="298" y="64"/>
                  </a:lnTo>
                  <a:lnTo>
                    <a:pt x="294" y="62"/>
                  </a:lnTo>
                  <a:lnTo>
                    <a:pt x="292" y="58"/>
                  </a:lnTo>
                  <a:lnTo>
                    <a:pt x="286" y="58"/>
                  </a:lnTo>
                  <a:lnTo>
                    <a:pt x="286" y="56"/>
                  </a:lnTo>
                  <a:lnTo>
                    <a:pt x="282" y="54"/>
                  </a:lnTo>
                  <a:lnTo>
                    <a:pt x="280" y="54"/>
                  </a:lnTo>
                  <a:lnTo>
                    <a:pt x="278" y="56"/>
                  </a:lnTo>
                  <a:lnTo>
                    <a:pt x="278" y="60"/>
                  </a:lnTo>
                  <a:lnTo>
                    <a:pt x="276" y="60"/>
                  </a:lnTo>
                  <a:lnTo>
                    <a:pt x="272" y="60"/>
                  </a:lnTo>
                  <a:lnTo>
                    <a:pt x="270" y="62"/>
                  </a:lnTo>
                  <a:close/>
                  <a:moveTo>
                    <a:pt x="264" y="54"/>
                  </a:moveTo>
                  <a:lnTo>
                    <a:pt x="264" y="56"/>
                  </a:lnTo>
                  <a:lnTo>
                    <a:pt x="262" y="56"/>
                  </a:lnTo>
                  <a:lnTo>
                    <a:pt x="262" y="58"/>
                  </a:lnTo>
                  <a:lnTo>
                    <a:pt x="264" y="58"/>
                  </a:lnTo>
                  <a:lnTo>
                    <a:pt x="264" y="60"/>
                  </a:lnTo>
                  <a:lnTo>
                    <a:pt x="262" y="62"/>
                  </a:lnTo>
                  <a:lnTo>
                    <a:pt x="264" y="62"/>
                  </a:lnTo>
                  <a:lnTo>
                    <a:pt x="264" y="66"/>
                  </a:lnTo>
                  <a:lnTo>
                    <a:pt x="268" y="68"/>
                  </a:lnTo>
                  <a:lnTo>
                    <a:pt x="268" y="64"/>
                  </a:lnTo>
                  <a:lnTo>
                    <a:pt x="270" y="64"/>
                  </a:lnTo>
                  <a:lnTo>
                    <a:pt x="268" y="60"/>
                  </a:lnTo>
                  <a:lnTo>
                    <a:pt x="268" y="58"/>
                  </a:lnTo>
                  <a:lnTo>
                    <a:pt x="268" y="56"/>
                  </a:lnTo>
                  <a:lnTo>
                    <a:pt x="266" y="54"/>
                  </a:lnTo>
                  <a:lnTo>
                    <a:pt x="264" y="54"/>
                  </a:lnTo>
                  <a:close/>
                  <a:moveTo>
                    <a:pt x="288" y="52"/>
                  </a:moveTo>
                  <a:lnTo>
                    <a:pt x="294" y="50"/>
                  </a:lnTo>
                  <a:lnTo>
                    <a:pt x="294" y="54"/>
                  </a:lnTo>
                  <a:lnTo>
                    <a:pt x="298" y="50"/>
                  </a:lnTo>
                  <a:lnTo>
                    <a:pt x="302" y="56"/>
                  </a:lnTo>
                  <a:lnTo>
                    <a:pt x="306" y="54"/>
                  </a:lnTo>
                  <a:lnTo>
                    <a:pt x="306" y="48"/>
                  </a:lnTo>
                  <a:lnTo>
                    <a:pt x="308" y="46"/>
                  </a:lnTo>
                  <a:lnTo>
                    <a:pt x="314" y="46"/>
                  </a:lnTo>
                  <a:lnTo>
                    <a:pt x="318" y="48"/>
                  </a:lnTo>
                  <a:lnTo>
                    <a:pt x="320" y="42"/>
                  </a:lnTo>
                  <a:lnTo>
                    <a:pt x="324" y="44"/>
                  </a:lnTo>
                  <a:lnTo>
                    <a:pt x="322" y="40"/>
                  </a:lnTo>
                  <a:lnTo>
                    <a:pt x="320" y="40"/>
                  </a:lnTo>
                  <a:lnTo>
                    <a:pt x="314" y="40"/>
                  </a:lnTo>
                  <a:lnTo>
                    <a:pt x="308" y="38"/>
                  </a:lnTo>
                  <a:lnTo>
                    <a:pt x="304" y="40"/>
                  </a:lnTo>
                  <a:lnTo>
                    <a:pt x="300" y="42"/>
                  </a:lnTo>
                  <a:lnTo>
                    <a:pt x="294" y="42"/>
                  </a:lnTo>
                  <a:lnTo>
                    <a:pt x="290" y="46"/>
                  </a:lnTo>
                  <a:lnTo>
                    <a:pt x="288" y="46"/>
                  </a:lnTo>
                  <a:lnTo>
                    <a:pt x="288" y="50"/>
                  </a:lnTo>
                  <a:lnTo>
                    <a:pt x="288" y="52"/>
                  </a:lnTo>
                  <a:close/>
                  <a:moveTo>
                    <a:pt x="324" y="48"/>
                  </a:moveTo>
                  <a:lnTo>
                    <a:pt x="322" y="48"/>
                  </a:lnTo>
                  <a:lnTo>
                    <a:pt x="322" y="50"/>
                  </a:lnTo>
                  <a:lnTo>
                    <a:pt x="324" y="52"/>
                  </a:lnTo>
                  <a:lnTo>
                    <a:pt x="326" y="52"/>
                  </a:lnTo>
                  <a:lnTo>
                    <a:pt x="328" y="52"/>
                  </a:lnTo>
                  <a:lnTo>
                    <a:pt x="332" y="54"/>
                  </a:lnTo>
                  <a:lnTo>
                    <a:pt x="332" y="50"/>
                  </a:lnTo>
                  <a:lnTo>
                    <a:pt x="334" y="50"/>
                  </a:lnTo>
                  <a:lnTo>
                    <a:pt x="336" y="50"/>
                  </a:lnTo>
                  <a:lnTo>
                    <a:pt x="338" y="50"/>
                  </a:lnTo>
                  <a:lnTo>
                    <a:pt x="338" y="48"/>
                  </a:lnTo>
                  <a:lnTo>
                    <a:pt x="336" y="48"/>
                  </a:lnTo>
                  <a:lnTo>
                    <a:pt x="334" y="48"/>
                  </a:lnTo>
                  <a:lnTo>
                    <a:pt x="332" y="48"/>
                  </a:lnTo>
                  <a:lnTo>
                    <a:pt x="332" y="46"/>
                  </a:lnTo>
                  <a:lnTo>
                    <a:pt x="328" y="44"/>
                  </a:lnTo>
                  <a:lnTo>
                    <a:pt x="324" y="48"/>
                  </a:lnTo>
                  <a:close/>
                  <a:moveTo>
                    <a:pt x="264" y="50"/>
                  </a:moveTo>
                  <a:lnTo>
                    <a:pt x="264" y="50"/>
                  </a:lnTo>
                  <a:lnTo>
                    <a:pt x="264" y="48"/>
                  </a:lnTo>
                  <a:lnTo>
                    <a:pt x="262" y="48"/>
                  </a:lnTo>
                  <a:lnTo>
                    <a:pt x="262" y="46"/>
                  </a:lnTo>
                  <a:lnTo>
                    <a:pt x="260" y="48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2" y="52"/>
                  </a:lnTo>
                  <a:lnTo>
                    <a:pt x="262" y="54"/>
                  </a:lnTo>
                  <a:lnTo>
                    <a:pt x="264" y="54"/>
                  </a:lnTo>
                  <a:lnTo>
                    <a:pt x="264" y="52"/>
                  </a:lnTo>
                  <a:lnTo>
                    <a:pt x="266" y="52"/>
                  </a:lnTo>
                  <a:lnTo>
                    <a:pt x="264" y="50"/>
                  </a:lnTo>
                  <a:close/>
                  <a:moveTo>
                    <a:pt x="254" y="32"/>
                  </a:moveTo>
                  <a:lnTo>
                    <a:pt x="254" y="32"/>
                  </a:lnTo>
                  <a:lnTo>
                    <a:pt x="256" y="36"/>
                  </a:lnTo>
                  <a:lnTo>
                    <a:pt x="256" y="38"/>
                  </a:lnTo>
                  <a:lnTo>
                    <a:pt x="260" y="38"/>
                  </a:lnTo>
                  <a:lnTo>
                    <a:pt x="262" y="38"/>
                  </a:lnTo>
                  <a:lnTo>
                    <a:pt x="262" y="36"/>
                  </a:lnTo>
                  <a:lnTo>
                    <a:pt x="260" y="36"/>
                  </a:lnTo>
                  <a:lnTo>
                    <a:pt x="258" y="34"/>
                  </a:lnTo>
                  <a:lnTo>
                    <a:pt x="260" y="34"/>
                  </a:lnTo>
                  <a:lnTo>
                    <a:pt x="256" y="32"/>
                  </a:lnTo>
                  <a:lnTo>
                    <a:pt x="256" y="30"/>
                  </a:lnTo>
                  <a:lnTo>
                    <a:pt x="254" y="28"/>
                  </a:lnTo>
                  <a:lnTo>
                    <a:pt x="254" y="30"/>
                  </a:lnTo>
                  <a:lnTo>
                    <a:pt x="254" y="32"/>
                  </a:lnTo>
                  <a:close/>
                  <a:moveTo>
                    <a:pt x="272" y="54"/>
                  </a:moveTo>
                  <a:lnTo>
                    <a:pt x="274" y="56"/>
                  </a:lnTo>
                  <a:lnTo>
                    <a:pt x="268" y="50"/>
                  </a:lnTo>
                  <a:lnTo>
                    <a:pt x="268" y="52"/>
                  </a:lnTo>
                  <a:lnTo>
                    <a:pt x="268" y="54"/>
                  </a:lnTo>
                  <a:lnTo>
                    <a:pt x="272" y="54"/>
                  </a:lnTo>
                  <a:close/>
                  <a:moveTo>
                    <a:pt x="284" y="38"/>
                  </a:moveTo>
                  <a:lnTo>
                    <a:pt x="284" y="38"/>
                  </a:lnTo>
                  <a:lnTo>
                    <a:pt x="284" y="36"/>
                  </a:lnTo>
                  <a:lnTo>
                    <a:pt x="280" y="36"/>
                  </a:lnTo>
                  <a:lnTo>
                    <a:pt x="280" y="38"/>
                  </a:lnTo>
                  <a:lnTo>
                    <a:pt x="282" y="38"/>
                  </a:lnTo>
                  <a:lnTo>
                    <a:pt x="284" y="38"/>
                  </a:lnTo>
                  <a:close/>
                  <a:moveTo>
                    <a:pt x="260" y="30"/>
                  </a:moveTo>
                  <a:lnTo>
                    <a:pt x="258" y="30"/>
                  </a:lnTo>
                  <a:lnTo>
                    <a:pt x="258" y="32"/>
                  </a:lnTo>
                  <a:lnTo>
                    <a:pt x="260" y="32"/>
                  </a:lnTo>
                  <a:lnTo>
                    <a:pt x="260" y="30"/>
                  </a:lnTo>
                  <a:close/>
                  <a:moveTo>
                    <a:pt x="254" y="32"/>
                  </a:moveTo>
                  <a:lnTo>
                    <a:pt x="254" y="32"/>
                  </a:lnTo>
                  <a:lnTo>
                    <a:pt x="252" y="32"/>
                  </a:lnTo>
                  <a:lnTo>
                    <a:pt x="254" y="32"/>
                  </a:lnTo>
                  <a:close/>
                  <a:moveTo>
                    <a:pt x="298" y="32"/>
                  </a:moveTo>
                  <a:lnTo>
                    <a:pt x="300" y="32"/>
                  </a:lnTo>
                  <a:lnTo>
                    <a:pt x="296" y="32"/>
                  </a:lnTo>
                  <a:lnTo>
                    <a:pt x="298" y="32"/>
                  </a:lnTo>
                  <a:close/>
                  <a:moveTo>
                    <a:pt x="104" y="178"/>
                  </a:moveTo>
                  <a:lnTo>
                    <a:pt x="104" y="178"/>
                  </a:lnTo>
                  <a:close/>
                  <a:moveTo>
                    <a:pt x="200" y="96"/>
                  </a:moveTo>
                  <a:lnTo>
                    <a:pt x="202" y="92"/>
                  </a:lnTo>
                  <a:lnTo>
                    <a:pt x="202" y="90"/>
                  </a:lnTo>
                  <a:lnTo>
                    <a:pt x="206" y="88"/>
                  </a:lnTo>
                  <a:lnTo>
                    <a:pt x="204" y="94"/>
                  </a:lnTo>
                  <a:lnTo>
                    <a:pt x="210" y="94"/>
                  </a:lnTo>
                  <a:lnTo>
                    <a:pt x="214" y="98"/>
                  </a:lnTo>
                  <a:lnTo>
                    <a:pt x="214" y="94"/>
                  </a:lnTo>
                  <a:lnTo>
                    <a:pt x="216" y="94"/>
                  </a:lnTo>
                  <a:lnTo>
                    <a:pt x="214" y="92"/>
                  </a:lnTo>
                  <a:lnTo>
                    <a:pt x="210" y="92"/>
                  </a:lnTo>
                  <a:lnTo>
                    <a:pt x="212" y="90"/>
                  </a:lnTo>
                  <a:lnTo>
                    <a:pt x="210" y="88"/>
                  </a:lnTo>
                  <a:lnTo>
                    <a:pt x="206" y="88"/>
                  </a:lnTo>
                  <a:lnTo>
                    <a:pt x="210" y="86"/>
                  </a:lnTo>
                  <a:lnTo>
                    <a:pt x="208" y="82"/>
                  </a:lnTo>
                  <a:lnTo>
                    <a:pt x="204" y="82"/>
                  </a:lnTo>
                  <a:lnTo>
                    <a:pt x="204" y="80"/>
                  </a:lnTo>
                  <a:lnTo>
                    <a:pt x="198" y="80"/>
                  </a:lnTo>
                  <a:lnTo>
                    <a:pt x="196" y="78"/>
                  </a:lnTo>
                  <a:lnTo>
                    <a:pt x="196" y="80"/>
                  </a:lnTo>
                  <a:lnTo>
                    <a:pt x="194" y="80"/>
                  </a:lnTo>
                  <a:lnTo>
                    <a:pt x="192" y="80"/>
                  </a:lnTo>
                  <a:lnTo>
                    <a:pt x="188" y="80"/>
                  </a:lnTo>
                  <a:lnTo>
                    <a:pt x="188" y="76"/>
                  </a:lnTo>
                  <a:lnTo>
                    <a:pt x="184" y="76"/>
                  </a:lnTo>
                  <a:lnTo>
                    <a:pt x="182" y="76"/>
                  </a:lnTo>
                  <a:lnTo>
                    <a:pt x="182" y="74"/>
                  </a:lnTo>
                  <a:lnTo>
                    <a:pt x="184" y="72"/>
                  </a:lnTo>
                  <a:lnTo>
                    <a:pt x="186" y="72"/>
                  </a:lnTo>
                  <a:lnTo>
                    <a:pt x="188" y="70"/>
                  </a:lnTo>
                  <a:lnTo>
                    <a:pt x="186" y="68"/>
                  </a:lnTo>
                  <a:lnTo>
                    <a:pt x="184" y="68"/>
                  </a:lnTo>
                  <a:lnTo>
                    <a:pt x="182" y="68"/>
                  </a:lnTo>
                  <a:lnTo>
                    <a:pt x="180" y="68"/>
                  </a:lnTo>
                  <a:lnTo>
                    <a:pt x="180" y="66"/>
                  </a:lnTo>
                  <a:lnTo>
                    <a:pt x="178" y="64"/>
                  </a:lnTo>
                  <a:lnTo>
                    <a:pt x="180" y="64"/>
                  </a:lnTo>
                  <a:lnTo>
                    <a:pt x="180" y="62"/>
                  </a:lnTo>
                  <a:lnTo>
                    <a:pt x="176" y="62"/>
                  </a:lnTo>
                  <a:lnTo>
                    <a:pt x="180" y="58"/>
                  </a:lnTo>
                  <a:lnTo>
                    <a:pt x="180" y="56"/>
                  </a:lnTo>
                  <a:lnTo>
                    <a:pt x="178" y="56"/>
                  </a:lnTo>
                  <a:lnTo>
                    <a:pt x="178" y="52"/>
                  </a:lnTo>
                  <a:lnTo>
                    <a:pt x="180" y="52"/>
                  </a:lnTo>
                  <a:lnTo>
                    <a:pt x="176" y="50"/>
                  </a:lnTo>
                  <a:lnTo>
                    <a:pt x="176" y="54"/>
                  </a:lnTo>
                  <a:lnTo>
                    <a:pt x="176" y="56"/>
                  </a:lnTo>
                  <a:lnTo>
                    <a:pt x="174" y="60"/>
                  </a:lnTo>
                  <a:lnTo>
                    <a:pt x="172" y="60"/>
                  </a:lnTo>
                  <a:lnTo>
                    <a:pt x="170" y="60"/>
                  </a:lnTo>
                  <a:lnTo>
                    <a:pt x="168" y="60"/>
                  </a:lnTo>
                  <a:lnTo>
                    <a:pt x="170" y="58"/>
                  </a:lnTo>
                  <a:lnTo>
                    <a:pt x="168" y="56"/>
                  </a:lnTo>
                  <a:lnTo>
                    <a:pt x="164" y="56"/>
                  </a:lnTo>
                  <a:lnTo>
                    <a:pt x="166" y="54"/>
                  </a:lnTo>
                  <a:lnTo>
                    <a:pt x="170" y="50"/>
                  </a:lnTo>
                  <a:lnTo>
                    <a:pt x="170" y="48"/>
                  </a:lnTo>
                  <a:lnTo>
                    <a:pt x="174" y="48"/>
                  </a:lnTo>
                  <a:lnTo>
                    <a:pt x="168" y="48"/>
                  </a:lnTo>
                  <a:lnTo>
                    <a:pt x="170" y="46"/>
                  </a:lnTo>
                  <a:lnTo>
                    <a:pt x="170" y="44"/>
                  </a:lnTo>
                  <a:lnTo>
                    <a:pt x="172" y="40"/>
                  </a:lnTo>
                  <a:lnTo>
                    <a:pt x="170" y="40"/>
                  </a:lnTo>
                  <a:lnTo>
                    <a:pt x="168" y="40"/>
                  </a:lnTo>
                  <a:lnTo>
                    <a:pt x="166" y="40"/>
                  </a:lnTo>
                  <a:lnTo>
                    <a:pt x="166" y="38"/>
                  </a:lnTo>
                  <a:lnTo>
                    <a:pt x="168" y="38"/>
                  </a:lnTo>
                  <a:lnTo>
                    <a:pt x="170" y="38"/>
                  </a:lnTo>
                  <a:lnTo>
                    <a:pt x="172" y="38"/>
                  </a:lnTo>
                  <a:lnTo>
                    <a:pt x="174" y="38"/>
                  </a:lnTo>
                  <a:lnTo>
                    <a:pt x="178" y="40"/>
                  </a:lnTo>
                  <a:lnTo>
                    <a:pt x="180" y="42"/>
                  </a:lnTo>
                  <a:lnTo>
                    <a:pt x="180" y="38"/>
                  </a:lnTo>
                  <a:lnTo>
                    <a:pt x="182" y="36"/>
                  </a:lnTo>
                  <a:lnTo>
                    <a:pt x="186" y="36"/>
                  </a:lnTo>
                  <a:lnTo>
                    <a:pt x="188" y="34"/>
                  </a:lnTo>
                  <a:lnTo>
                    <a:pt x="190" y="32"/>
                  </a:lnTo>
                  <a:lnTo>
                    <a:pt x="194" y="34"/>
                  </a:lnTo>
                  <a:lnTo>
                    <a:pt x="194" y="32"/>
                  </a:lnTo>
                  <a:lnTo>
                    <a:pt x="196" y="32"/>
                  </a:lnTo>
                  <a:lnTo>
                    <a:pt x="198" y="32"/>
                  </a:lnTo>
                  <a:lnTo>
                    <a:pt x="200" y="30"/>
                  </a:lnTo>
                  <a:lnTo>
                    <a:pt x="202" y="30"/>
                  </a:lnTo>
                  <a:lnTo>
                    <a:pt x="200" y="26"/>
                  </a:lnTo>
                  <a:lnTo>
                    <a:pt x="198" y="28"/>
                  </a:lnTo>
                  <a:lnTo>
                    <a:pt x="192" y="30"/>
                  </a:lnTo>
                  <a:lnTo>
                    <a:pt x="192" y="32"/>
                  </a:lnTo>
                  <a:lnTo>
                    <a:pt x="188" y="32"/>
                  </a:lnTo>
                  <a:lnTo>
                    <a:pt x="186" y="32"/>
                  </a:lnTo>
                  <a:lnTo>
                    <a:pt x="184" y="32"/>
                  </a:lnTo>
                  <a:lnTo>
                    <a:pt x="182" y="32"/>
                  </a:lnTo>
                  <a:lnTo>
                    <a:pt x="182" y="30"/>
                  </a:lnTo>
                  <a:lnTo>
                    <a:pt x="182" y="28"/>
                  </a:lnTo>
                  <a:lnTo>
                    <a:pt x="180" y="26"/>
                  </a:lnTo>
                  <a:lnTo>
                    <a:pt x="178" y="26"/>
                  </a:lnTo>
                  <a:lnTo>
                    <a:pt x="174" y="26"/>
                  </a:lnTo>
                  <a:lnTo>
                    <a:pt x="170" y="24"/>
                  </a:lnTo>
                  <a:lnTo>
                    <a:pt x="168" y="26"/>
                  </a:lnTo>
                  <a:lnTo>
                    <a:pt x="166" y="28"/>
                  </a:lnTo>
                  <a:lnTo>
                    <a:pt x="164" y="30"/>
                  </a:lnTo>
                  <a:lnTo>
                    <a:pt x="162" y="28"/>
                  </a:lnTo>
                  <a:lnTo>
                    <a:pt x="162" y="26"/>
                  </a:lnTo>
                  <a:lnTo>
                    <a:pt x="160" y="24"/>
                  </a:lnTo>
                  <a:lnTo>
                    <a:pt x="162" y="22"/>
                  </a:lnTo>
                  <a:lnTo>
                    <a:pt x="164" y="20"/>
                  </a:lnTo>
                  <a:lnTo>
                    <a:pt x="166" y="18"/>
                  </a:lnTo>
                  <a:lnTo>
                    <a:pt x="168" y="18"/>
                  </a:lnTo>
                  <a:lnTo>
                    <a:pt x="168" y="20"/>
                  </a:lnTo>
                  <a:lnTo>
                    <a:pt x="170" y="22"/>
                  </a:lnTo>
                  <a:lnTo>
                    <a:pt x="172" y="24"/>
                  </a:lnTo>
                  <a:lnTo>
                    <a:pt x="172" y="20"/>
                  </a:lnTo>
                  <a:lnTo>
                    <a:pt x="174" y="22"/>
                  </a:lnTo>
                  <a:lnTo>
                    <a:pt x="172" y="18"/>
                  </a:lnTo>
                  <a:lnTo>
                    <a:pt x="174" y="18"/>
                  </a:lnTo>
                  <a:lnTo>
                    <a:pt x="178" y="18"/>
                  </a:lnTo>
                  <a:lnTo>
                    <a:pt x="178" y="16"/>
                  </a:lnTo>
                  <a:lnTo>
                    <a:pt x="180" y="16"/>
                  </a:lnTo>
                  <a:lnTo>
                    <a:pt x="184" y="18"/>
                  </a:lnTo>
                  <a:lnTo>
                    <a:pt x="184" y="16"/>
                  </a:lnTo>
                  <a:lnTo>
                    <a:pt x="184" y="14"/>
                  </a:lnTo>
                  <a:lnTo>
                    <a:pt x="188" y="12"/>
                  </a:lnTo>
                  <a:lnTo>
                    <a:pt x="190" y="14"/>
                  </a:lnTo>
                  <a:lnTo>
                    <a:pt x="192" y="14"/>
                  </a:lnTo>
                  <a:lnTo>
                    <a:pt x="196" y="14"/>
                  </a:lnTo>
                  <a:lnTo>
                    <a:pt x="194" y="18"/>
                  </a:lnTo>
                  <a:lnTo>
                    <a:pt x="196" y="20"/>
                  </a:lnTo>
                  <a:lnTo>
                    <a:pt x="198" y="22"/>
                  </a:lnTo>
                  <a:lnTo>
                    <a:pt x="200" y="22"/>
                  </a:lnTo>
                  <a:lnTo>
                    <a:pt x="198" y="18"/>
                  </a:lnTo>
                  <a:lnTo>
                    <a:pt x="200" y="16"/>
                  </a:lnTo>
                  <a:lnTo>
                    <a:pt x="202" y="14"/>
                  </a:lnTo>
                  <a:lnTo>
                    <a:pt x="200" y="14"/>
                  </a:lnTo>
                  <a:lnTo>
                    <a:pt x="202" y="12"/>
                  </a:lnTo>
                  <a:lnTo>
                    <a:pt x="200" y="12"/>
                  </a:lnTo>
                  <a:lnTo>
                    <a:pt x="198" y="10"/>
                  </a:lnTo>
                  <a:lnTo>
                    <a:pt x="200" y="8"/>
                  </a:lnTo>
                  <a:lnTo>
                    <a:pt x="202" y="6"/>
                  </a:lnTo>
                  <a:lnTo>
                    <a:pt x="206" y="8"/>
                  </a:lnTo>
                  <a:lnTo>
                    <a:pt x="208" y="8"/>
                  </a:lnTo>
                  <a:lnTo>
                    <a:pt x="210" y="6"/>
                  </a:lnTo>
                  <a:lnTo>
                    <a:pt x="212" y="8"/>
                  </a:lnTo>
                  <a:lnTo>
                    <a:pt x="216" y="8"/>
                  </a:lnTo>
                  <a:lnTo>
                    <a:pt x="218" y="6"/>
                  </a:lnTo>
                  <a:lnTo>
                    <a:pt x="220" y="8"/>
                  </a:lnTo>
                  <a:lnTo>
                    <a:pt x="224" y="8"/>
                  </a:lnTo>
                  <a:lnTo>
                    <a:pt x="226" y="6"/>
                  </a:lnTo>
                  <a:lnTo>
                    <a:pt x="230" y="8"/>
                  </a:lnTo>
                  <a:lnTo>
                    <a:pt x="228" y="4"/>
                  </a:lnTo>
                  <a:lnTo>
                    <a:pt x="230" y="6"/>
                  </a:lnTo>
                  <a:lnTo>
                    <a:pt x="234" y="4"/>
                  </a:lnTo>
                  <a:lnTo>
                    <a:pt x="234" y="2"/>
                  </a:lnTo>
                  <a:lnTo>
                    <a:pt x="236" y="2"/>
                  </a:lnTo>
                  <a:lnTo>
                    <a:pt x="222" y="0"/>
                  </a:lnTo>
                  <a:lnTo>
                    <a:pt x="200" y="2"/>
                  </a:lnTo>
                  <a:lnTo>
                    <a:pt x="180" y="6"/>
                  </a:lnTo>
                  <a:lnTo>
                    <a:pt x="158" y="10"/>
                  </a:lnTo>
                  <a:lnTo>
                    <a:pt x="138" y="18"/>
                  </a:lnTo>
                  <a:lnTo>
                    <a:pt x="120" y="26"/>
                  </a:lnTo>
                  <a:lnTo>
                    <a:pt x="102" y="36"/>
                  </a:lnTo>
                  <a:lnTo>
                    <a:pt x="86" y="48"/>
                  </a:lnTo>
                  <a:lnTo>
                    <a:pt x="70" y="62"/>
                  </a:lnTo>
                  <a:lnTo>
                    <a:pt x="72" y="62"/>
                  </a:lnTo>
                  <a:lnTo>
                    <a:pt x="70" y="68"/>
                  </a:lnTo>
                  <a:lnTo>
                    <a:pt x="68" y="66"/>
                  </a:lnTo>
                  <a:lnTo>
                    <a:pt x="68" y="68"/>
                  </a:lnTo>
                  <a:lnTo>
                    <a:pt x="66" y="68"/>
                  </a:lnTo>
                  <a:lnTo>
                    <a:pt x="64" y="70"/>
                  </a:lnTo>
                  <a:lnTo>
                    <a:pt x="60" y="74"/>
                  </a:lnTo>
                  <a:lnTo>
                    <a:pt x="56" y="78"/>
                  </a:lnTo>
                  <a:lnTo>
                    <a:pt x="56" y="76"/>
                  </a:lnTo>
                  <a:lnTo>
                    <a:pt x="44" y="90"/>
                  </a:lnTo>
                  <a:lnTo>
                    <a:pt x="34" y="106"/>
                  </a:lnTo>
                  <a:lnTo>
                    <a:pt x="24" y="122"/>
                  </a:lnTo>
                  <a:lnTo>
                    <a:pt x="18" y="138"/>
                  </a:lnTo>
                  <a:lnTo>
                    <a:pt x="10" y="156"/>
                  </a:lnTo>
                  <a:lnTo>
                    <a:pt x="6" y="174"/>
                  </a:lnTo>
                  <a:lnTo>
                    <a:pt x="2" y="192"/>
                  </a:lnTo>
                  <a:lnTo>
                    <a:pt x="0" y="212"/>
                  </a:lnTo>
                  <a:lnTo>
                    <a:pt x="2" y="210"/>
                  </a:lnTo>
                  <a:lnTo>
                    <a:pt x="4" y="206"/>
                  </a:lnTo>
                  <a:lnTo>
                    <a:pt x="2" y="200"/>
                  </a:lnTo>
                  <a:lnTo>
                    <a:pt x="4" y="198"/>
                  </a:lnTo>
                  <a:lnTo>
                    <a:pt x="6" y="200"/>
                  </a:lnTo>
                  <a:lnTo>
                    <a:pt x="6" y="198"/>
                  </a:lnTo>
                  <a:lnTo>
                    <a:pt x="6" y="196"/>
                  </a:lnTo>
                  <a:lnTo>
                    <a:pt x="6" y="194"/>
                  </a:lnTo>
                  <a:lnTo>
                    <a:pt x="4" y="188"/>
                  </a:lnTo>
                  <a:lnTo>
                    <a:pt x="4" y="186"/>
                  </a:lnTo>
                  <a:lnTo>
                    <a:pt x="6" y="184"/>
                  </a:lnTo>
                  <a:lnTo>
                    <a:pt x="6" y="186"/>
                  </a:lnTo>
                  <a:lnTo>
                    <a:pt x="12" y="186"/>
                  </a:lnTo>
                  <a:lnTo>
                    <a:pt x="14" y="182"/>
                  </a:lnTo>
                  <a:lnTo>
                    <a:pt x="14" y="180"/>
                  </a:lnTo>
                  <a:lnTo>
                    <a:pt x="12" y="178"/>
                  </a:lnTo>
                  <a:lnTo>
                    <a:pt x="16" y="176"/>
                  </a:lnTo>
                  <a:lnTo>
                    <a:pt x="14" y="178"/>
                  </a:lnTo>
                  <a:lnTo>
                    <a:pt x="16" y="180"/>
                  </a:lnTo>
                  <a:lnTo>
                    <a:pt x="18" y="178"/>
                  </a:lnTo>
                  <a:lnTo>
                    <a:pt x="20" y="176"/>
                  </a:lnTo>
                  <a:lnTo>
                    <a:pt x="22" y="174"/>
                  </a:lnTo>
                  <a:lnTo>
                    <a:pt x="22" y="168"/>
                  </a:lnTo>
                  <a:lnTo>
                    <a:pt x="24" y="168"/>
                  </a:lnTo>
                  <a:lnTo>
                    <a:pt x="22" y="170"/>
                  </a:lnTo>
                  <a:lnTo>
                    <a:pt x="22" y="172"/>
                  </a:lnTo>
                  <a:lnTo>
                    <a:pt x="22" y="174"/>
                  </a:lnTo>
                  <a:lnTo>
                    <a:pt x="22" y="178"/>
                  </a:lnTo>
                  <a:lnTo>
                    <a:pt x="20" y="182"/>
                  </a:lnTo>
                  <a:lnTo>
                    <a:pt x="22" y="184"/>
                  </a:lnTo>
                  <a:lnTo>
                    <a:pt x="20" y="184"/>
                  </a:lnTo>
                  <a:lnTo>
                    <a:pt x="22" y="188"/>
                  </a:lnTo>
                  <a:lnTo>
                    <a:pt x="20" y="194"/>
                  </a:lnTo>
                  <a:lnTo>
                    <a:pt x="18" y="200"/>
                  </a:lnTo>
                  <a:lnTo>
                    <a:pt x="18" y="202"/>
                  </a:lnTo>
                  <a:lnTo>
                    <a:pt x="18" y="204"/>
                  </a:lnTo>
                  <a:lnTo>
                    <a:pt x="18" y="206"/>
                  </a:lnTo>
                  <a:lnTo>
                    <a:pt x="16" y="208"/>
                  </a:lnTo>
                  <a:lnTo>
                    <a:pt x="14" y="210"/>
                  </a:lnTo>
                  <a:lnTo>
                    <a:pt x="12" y="212"/>
                  </a:lnTo>
                  <a:lnTo>
                    <a:pt x="12" y="214"/>
                  </a:lnTo>
                  <a:lnTo>
                    <a:pt x="10" y="216"/>
                  </a:lnTo>
                  <a:lnTo>
                    <a:pt x="12" y="216"/>
                  </a:lnTo>
                  <a:lnTo>
                    <a:pt x="12" y="218"/>
                  </a:lnTo>
                  <a:lnTo>
                    <a:pt x="12" y="222"/>
                  </a:lnTo>
                  <a:lnTo>
                    <a:pt x="10" y="224"/>
                  </a:lnTo>
                  <a:lnTo>
                    <a:pt x="8" y="226"/>
                  </a:lnTo>
                  <a:lnTo>
                    <a:pt x="10" y="230"/>
                  </a:lnTo>
                  <a:lnTo>
                    <a:pt x="10" y="234"/>
                  </a:lnTo>
                  <a:lnTo>
                    <a:pt x="8" y="240"/>
                  </a:lnTo>
                  <a:lnTo>
                    <a:pt x="12" y="248"/>
                  </a:lnTo>
                  <a:lnTo>
                    <a:pt x="10" y="252"/>
                  </a:lnTo>
                  <a:lnTo>
                    <a:pt x="10" y="260"/>
                  </a:lnTo>
                  <a:lnTo>
                    <a:pt x="12" y="264"/>
                  </a:lnTo>
                  <a:lnTo>
                    <a:pt x="14" y="270"/>
                  </a:lnTo>
                  <a:lnTo>
                    <a:pt x="14" y="278"/>
                  </a:lnTo>
                  <a:lnTo>
                    <a:pt x="16" y="282"/>
                  </a:lnTo>
                  <a:lnTo>
                    <a:pt x="18" y="282"/>
                  </a:lnTo>
                  <a:lnTo>
                    <a:pt x="16" y="286"/>
                  </a:lnTo>
                  <a:lnTo>
                    <a:pt x="20" y="288"/>
                  </a:lnTo>
                  <a:lnTo>
                    <a:pt x="18" y="292"/>
                  </a:lnTo>
                  <a:lnTo>
                    <a:pt x="22" y="294"/>
                  </a:lnTo>
                  <a:lnTo>
                    <a:pt x="22" y="298"/>
                  </a:lnTo>
                  <a:lnTo>
                    <a:pt x="24" y="302"/>
                  </a:lnTo>
                  <a:lnTo>
                    <a:pt x="26" y="306"/>
                  </a:lnTo>
                  <a:lnTo>
                    <a:pt x="26" y="308"/>
                  </a:lnTo>
                  <a:lnTo>
                    <a:pt x="26" y="310"/>
                  </a:lnTo>
                  <a:lnTo>
                    <a:pt x="28" y="312"/>
                  </a:lnTo>
                  <a:lnTo>
                    <a:pt x="30" y="316"/>
                  </a:lnTo>
                  <a:lnTo>
                    <a:pt x="34" y="318"/>
                  </a:lnTo>
                  <a:lnTo>
                    <a:pt x="34" y="320"/>
                  </a:lnTo>
                  <a:lnTo>
                    <a:pt x="38" y="322"/>
                  </a:lnTo>
                  <a:lnTo>
                    <a:pt x="40" y="326"/>
                  </a:lnTo>
                  <a:lnTo>
                    <a:pt x="42" y="326"/>
                  </a:lnTo>
                  <a:lnTo>
                    <a:pt x="44" y="330"/>
                  </a:lnTo>
                  <a:lnTo>
                    <a:pt x="46" y="330"/>
                  </a:lnTo>
                  <a:lnTo>
                    <a:pt x="48" y="332"/>
                  </a:lnTo>
                  <a:lnTo>
                    <a:pt x="50" y="334"/>
                  </a:lnTo>
                  <a:lnTo>
                    <a:pt x="54" y="336"/>
                  </a:lnTo>
                  <a:lnTo>
                    <a:pt x="56" y="340"/>
                  </a:lnTo>
                  <a:lnTo>
                    <a:pt x="60" y="340"/>
                  </a:lnTo>
                  <a:lnTo>
                    <a:pt x="62" y="344"/>
                  </a:lnTo>
                  <a:lnTo>
                    <a:pt x="62" y="346"/>
                  </a:lnTo>
                  <a:lnTo>
                    <a:pt x="64" y="346"/>
                  </a:lnTo>
                  <a:lnTo>
                    <a:pt x="64" y="344"/>
                  </a:lnTo>
                  <a:lnTo>
                    <a:pt x="66" y="344"/>
                  </a:lnTo>
                  <a:lnTo>
                    <a:pt x="68" y="344"/>
                  </a:lnTo>
                  <a:lnTo>
                    <a:pt x="70" y="344"/>
                  </a:lnTo>
                  <a:lnTo>
                    <a:pt x="72" y="344"/>
                  </a:lnTo>
                  <a:lnTo>
                    <a:pt x="68" y="342"/>
                  </a:lnTo>
                  <a:lnTo>
                    <a:pt x="66" y="342"/>
                  </a:lnTo>
                  <a:lnTo>
                    <a:pt x="62" y="340"/>
                  </a:lnTo>
                  <a:lnTo>
                    <a:pt x="60" y="338"/>
                  </a:lnTo>
                  <a:lnTo>
                    <a:pt x="56" y="338"/>
                  </a:lnTo>
                  <a:lnTo>
                    <a:pt x="54" y="334"/>
                  </a:lnTo>
                  <a:lnTo>
                    <a:pt x="48" y="330"/>
                  </a:lnTo>
                  <a:lnTo>
                    <a:pt x="46" y="330"/>
                  </a:lnTo>
                  <a:lnTo>
                    <a:pt x="46" y="326"/>
                  </a:lnTo>
                  <a:lnTo>
                    <a:pt x="44" y="326"/>
                  </a:lnTo>
                  <a:lnTo>
                    <a:pt x="42" y="326"/>
                  </a:lnTo>
                  <a:lnTo>
                    <a:pt x="40" y="324"/>
                  </a:lnTo>
                  <a:lnTo>
                    <a:pt x="40" y="322"/>
                  </a:lnTo>
                  <a:lnTo>
                    <a:pt x="40" y="320"/>
                  </a:lnTo>
                  <a:lnTo>
                    <a:pt x="38" y="320"/>
                  </a:lnTo>
                  <a:lnTo>
                    <a:pt x="36" y="320"/>
                  </a:lnTo>
                  <a:lnTo>
                    <a:pt x="36" y="318"/>
                  </a:lnTo>
                  <a:lnTo>
                    <a:pt x="34" y="318"/>
                  </a:lnTo>
                  <a:lnTo>
                    <a:pt x="34" y="316"/>
                  </a:lnTo>
                  <a:lnTo>
                    <a:pt x="34" y="314"/>
                  </a:lnTo>
                  <a:lnTo>
                    <a:pt x="32" y="312"/>
                  </a:lnTo>
                  <a:lnTo>
                    <a:pt x="30" y="310"/>
                  </a:lnTo>
                  <a:lnTo>
                    <a:pt x="28" y="306"/>
                  </a:lnTo>
                  <a:lnTo>
                    <a:pt x="28" y="304"/>
                  </a:lnTo>
                  <a:lnTo>
                    <a:pt x="30" y="302"/>
                  </a:lnTo>
                  <a:lnTo>
                    <a:pt x="30" y="300"/>
                  </a:lnTo>
                  <a:lnTo>
                    <a:pt x="30" y="298"/>
                  </a:lnTo>
                  <a:lnTo>
                    <a:pt x="28" y="298"/>
                  </a:lnTo>
                  <a:lnTo>
                    <a:pt x="26" y="294"/>
                  </a:lnTo>
                  <a:lnTo>
                    <a:pt x="24" y="292"/>
                  </a:lnTo>
                  <a:lnTo>
                    <a:pt x="24" y="288"/>
                  </a:lnTo>
                  <a:lnTo>
                    <a:pt x="24" y="286"/>
                  </a:lnTo>
                  <a:lnTo>
                    <a:pt x="22" y="280"/>
                  </a:lnTo>
                  <a:lnTo>
                    <a:pt x="24" y="276"/>
                  </a:lnTo>
                  <a:lnTo>
                    <a:pt x="22" y="274"/>
                  </a:lnTo>
                  <a:lnTo>
                    <a:pt x="22" y="270"/>
                  </a:lnTo>
                  <a:lnTo>
                    <a:pt x="22" y="264"/>
                  </a:lnTo>
                  <a:lnTo>
                    <a:pt x="20" y="260"/>
                  </a:lnTo>
                  <a:lnTo>
                    <a:pt x="22" y="256"/>
                  </a:lnTo>
                  <a:lnTo>
                    <a:pt x="20" y="252"/>
                  </a:lnTo>
                  <a:lnTo>
                    <a:pt x="20" y="248"/>
                  </a:lnTo>
                  <a:lnTo>
                    <a:pt x="18" y="244"/>
                  </a:lnTo>
                  <a:lnTo>
                    <a:pt x="18" y="242"/>
                  </a:lnTo>
                  <a:lnTo>
                    <a:pt x="18" y="240"/>
                  </a:lnTo>
                  <a:lnTo>
                    <a:pt x="18" y="238"/>
                  </a:lnTo>
                  <a:lnTo>
                    <a:pt x="18" y="234"/>
                  </a:lnTo>
                  <a:lnTo>
                    <a:pt x="18" y="232"/>
                  </a:lnTo>
                  <a:lnTo>
                    <a:pt x="22" y="232"/>
                  </a:lnTo>
                  <a:lnTo>
                    <a:pt x="24" y="234"/>
                  </a:lnTo>
                  <a:lnTo>
                    <a:pt x="24" y="238"/>
                  </a:lnTo>
                  <a:lnTo>
                    <a:pt x="22" y="240"/>
                  </a:lnTo>
                  <a:lnTo>
                    <a:pt x="24" y="242"/>
                  </a:lnTo>
                  <a:lnTo>
                    <a:pt x="26" y="244"/>
                  </a:lnTo>
                  <a:lnTo>
                    <a:pt x="24" y="246"/>
                  </a:lnTo>
                  <a:lnTo>
                    <a:pt x="24" y="248"/>
                  </a:lnTo>
                  <a:lnTo>
                    <a:pt x="24" y="252"/>
                  </a:lnTo>
                  <a:lnTo>
                    <a:pt x="24" y="254"/>
                  </a:lnTo>
                  <a:lnTo>
                    <a:pt x="26" y="256"/>
                  </a:lnTo>
                  <a:lnTo>
                    <a:pt x="28" y="256"/>
                  </a:lnTo>
                  <a:lnTo>
                    <a:pt x="30" y="252"/>
                  </a:lnTo>
                  <a:lnTo>
                    <a:pt x="36" y="252"/>
                  </a:lnTo>
                  <a:lnTo>
                    <a:pt x="34" y="246"/>
                  </a:lnTo>
                  <a:lnTo>
                    <a:pt x="36" y="246"/>
                  </a:lnTo>
                  <a:lnTo>
                    <a:pt x="38" y="240"/>
                  </a:lnTo>
                  <a:lnTo>
                    <a:pt x="34" y="238"/>
                  </a:lnTo>
                  <a:lnTo>
                    <a:pt x="36" y="232"/>
                  </a:lnTo>
                  <a:lnTo>
                    <a:pt x="34" y="230"/>
                  </a:lnTo>
                  <a:lnTo>
                    <a:pt x="34" y="224"/>
                  </a:lnTo>
                  <a:lnTo>
                    <a:pt x="34" y="218"/>
                  </a:lnTo>
                  <a:lnTo>
                    <a:pt x="36" y="218"/>
                  </a:lnTo>
                  <a:lnTo>
                    <a:pt x="36" y="214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8"/>
                  </a:lnTo>
                  <a:lnTo>
                    <a:pt x="42" y="224"/>
                  </a:lnTo>
                  <a:lnTo>
                    <a:pt x="40" y="226"/>
                  </a:lnTo>
                  <a:lnTo>
                    <a:pt x="38" y="226"/>
                  </a:lnTo>
                  <a:lnTo>
                    <a:pt x="40" y="226"/>
                  </a:lnTo>
                  <a:lnTo>
                    <a:pt x="40" y="230"/>
                  </a:lnTo>
                  <a:lnTo>
                    <a:pt x="42" y="230"/>
                  </a:lnTo>
                  <a:lnTo>
                    <a:pt x="44" y="226"/>
                  </a:lnTo>
                  <a:lnTo>
                    <a:pt x="46" y="226"/>
                  </a:lnTo>
                  <a:lnTo>
                    <a:pt x="46" y="220"/>
                  </a:lnTo>
                  <a:lnTo>
                    <a:pt x="50" y="220"/>
                  </a:lnTo>
                  <a:lnTo>
                    <a:pt x="52" y="218"/>
                  </a:lnTo>
                  <a:lnTo>
                    <a:pt x="54" y="220"/>
                  </a:lnTo>
                  <a:lnTo>
                    <a:pt x="58" y="222"/>
                  </a:lnTo>
                  <a:lnTo>
                    <a:pt x="64" y="222"/>
                  </a:lnTo>
                  <a:lnTo>
                    <a:pt x="72" y="218"/>
                  </a:lnTo>
                  <a:lnTo>
                    <a:pt x="74" y="216"/>
                  </a:lnTo>
                  <a:lnTo>
                    <a:pt x="76" y="212"/>
                  </a:lnTo>
                  <a:lnTo>
                    <a:pt x="82" y="212"/>
                  </a:lnTo>
                  <a:lnTo>
                    <a:pt x="84" y="206"/>
                  </a:lnTo>
                  <a:lnTo>
                    <a:pt x="84" y="204"/>
                  </a:lnTo>
                  <a:lnTo>
                    <a:pt x="82" y="202"/>
                  </a:lnTo>
                  <a:lnTo>
                    <a:pt x="84" y="202"/>
                  </a:lnTo>
                  <a:lnTo>
                    <a:pt x="84" y="200"/>
                  </a:lnTo>
                  <a:lnTo>
                    <a:pt x="82" y="196"/>
                  </a:lnTo>
                  <a:lnTo>
                    <a:pt x="84" y="196"/>
                  </a:lnTo>
                  <a:lnTo>
                    <a:pt x="86" y="196"/>
                  </a:lnTo>
                  <a:lnTo>
                    <a:pt x="88" y="196"/>
                  </a:lnTo>
                  <a:lnTo>
                    <a:pt x="88" y="194"/>
                  </a:lnTo>
                  <a:lnTo>
                    <a:pt x="86" y="194"/>
                  </a:lnTo>
                  <a:lnTo>
                    <a:pt x="86" y="190"/>
                  </a:lnTo>
                  <a:lnTo>
                    <a:pt x="84" y="190"/>
                  </a:lnTo>
                  <a:lnTo>
                    <a:pt x="86" y="188"/>
                  </a:lnTo>
                  <a:lnTo>
                    <a:pt x="88" y="186"/>
                  </a:lnTo>
                  <a:lnTo>
                    <a:pt x="86" y="186"/>
                  </a:lnTo>
                  <a:lnTo>
                    <a:pt x="86" y="184"/>
                  </a:lnTo>
                  <a:lnTo>
                    <a:pt x="84" y="184"/>
                  </a:lnTo>
                  <a:lnTo>
                    <a:pt x="84" y="182"/>
                  </a:lnTo>
                  <a:lnTo>
                    <a:pt x="88" y="182"/>
                  </a:lnTo>
                  <a:lnTo>
                    <a:pt x="88" y="180"/>
                  </a:lnTo>
                  <a:lnTo>
                    <a:pt x="90" y="178"/>
                  </a:lnTo>
                  <a:lnTo>
                    <a:pt x="92" y="178"/>
                  </a:lnTo>
                  <a:lnTo>
                    <a:pt x="94" y="178"/>
                  </a:lnTo>
                  <a:lnTo>
                    <a:pt x="96" y="178"/>
                  </a:lnTo>
                  <a:lnTo>
                    <a:pt x="96" y="176"/>
                  </a:lnTo>
                  <a:lnTo>
                    <a:pt x="92" y="174"/>
                  </a:lnTo>
                  <a:lnTo>
                    <a:pt x="90" y="174"/>
                  </a:lnTo>
                  <a:lnTo>
                    <a:pt x="88" y="172"/>
                  </a:lnTo>
                  <a:lnTo>
                    <a:pt x="88" y="168"/>
                  </a:lnTo>
                  <a:lnTo>
                    <a:pt x="88" y="166"/>
                  </a:lnTo>
                  <a:lnTo>
                    <a:pt x="88" y="164"/>
                  </a:lnTo>
                  <a:lnTo>
                    <a:pt x="90" y="164"/>
                  </a:lnTo>
                  <a:lnTo>
                    <a:pt x="94" y="166"/>
                  </a:lnTo>
                  <a:lnTo>
                    <a:pt x="96" y="164"/>
                  </a:lnTo>
                  <a:lnTo>
                    <a:pt x="98" y="162"/>
                  </a:lnTo>
                  <a:lnTo>
                    <a:pt x="100" y="160"/>
                  </a:lnTo>
                  <a:lnTo>
                    <a:pt x="102" y="160"/>
                  </a:lnTo>
                  <a:lnTo>
                    <a:pt x="104" y="160"/>
                  </a:lnTo>
                  <a:lnTo>
                    <a:pt x="104" y="162"/>
                  </a:lnTo>
                  <a:lnTo>
                    <a:pt x="102" y="164"/>
                  </a:lnTo>
                  <a:lnTo>
                    <a:pt x="98" y="166"/>
                  </a:lnTo>
                  <a:lnTo>
                    <a:pt x="96" y="172"/>
                  </a:lnTo>
                  <a:lnTo>
                    <a:pt x="98" y="170"/>
                  </a:lnTo>
                  <a:lnTo>
                    <a:pt x="102" y="168"/>
                  </a:lnTo>
                  <a:lnTo>
                    <a:pt x="108" y="170"/>
                  </a:lnTo>
                  <a:lnTo>
                    <a:pt x="110" y="172"/>
                  </a:lnTo>
                  <a:lnTo>
                    <a:pt x="108" y="172"/>
                  </a:lnTo>
                  <a:lnTo>
                    <a:pt x="108" y="174"/>
                  </a:lnTo>
                  <a:lnTo>
                    <a:pt x="106" y="176"/>
                  </a:lnTo>
                  <a:lnTo>
                    <a:pt x="104" y="178"/>
                  </a:lnTo>
                  <a:lnTo>
                    <a:pt x="106" y="178"/>
                  </a:lnTo>
                  <a:lnTo>
                    <a:pt x="108" y="178"/>
                  </a:lnTo>
                  <a:lnTo>
                    <a:pt x="108" y="182"/>
                  </a:lnTo>
                  <a:lnTo>
                    <a:pt x="106" y="186"/>
                  </a:lnTo>
                  <a:lnTo>
                    <a:pt x="104" y="188"/>
                  </a:lnTo>
                  <a:lnTo>
                    <a:pt x="102" y="190"/>
                  </a:lnTo>
                  <a:lnTo>
                    <a:pt x="102" y="192"/>
                  </a:lnTo>
                  <a:lnTo>
                    <a:pt x="104" y="192"/>
                  </a:lnTo>
                  <a:lnTo>
                    <a:pt x="106" y="192"/>
                  </a:lnTo>
                  <a:lnTo>
                    <a:pt x="108" y="192"/>
                  </a:lnTo>
                  <a:lnTo>
                    <a:pt x="108" y="194"/>
                  </a:lnTo>
                  <a:lnTo>
                    <a:pt x="110" y="194"/>
                  </a:lnTo>
                  <a:lnTo>
                    <a:pt x="110" y="196"/>
                  </a:lnTo>
                  <a:lnTo>
                    <a:pt x="112" y="194"/>
                  </a:lnTo>
                  <a:lnTo>
                    <a:pt x="112" y="192"/>
                  </a:lnTo>
                  <a:lnTo>
                    <a:pt x="112" y="190"/>
                  </a:lnTo>
                  <a:lnTo>
                    <a:pt x="112" y="188"/>
                  </a:lnTo>
                  <a:lnTo>
                    <a:pt x="114" y="188"/>
                  </a:lnTo>
                  <a:lnTo>
                    <a:pt x="114" y="186"/>
                  </a:lnTo>
                  <a:lnTo>
                    <a:pt x="112" y="184"/>
                  </a:lnTo>
                  <a:lnTo>
                    <a:pt x="112" y="182"/>
                  </a:lnTo>
                  <a:lnTo>
                    <a:pt x="116" y="180"/>
                  </a:lnTo>
                  <a:lnTo>
                    <a:pt x="114" y="176"/>
                  </a:lnTo>
                  <a:lnTo>
                    <a:pt x="112" y="176"/>
                  </a:lnTo>
                  <a:lnTo>
                    <a:pt x="114" y="172"/>
                  </a:lnTo>
                  <a:lnTo>
                    <a:pt x="114" y="166"/>
                  </a:lnTo>
                  <a:lnTo>
                    <a:pt x="118" y="166"/>
                  </a:lnTo>
                  <a:lnTo>
                    <a:pt x="120" y="164"/>
                  </a:lnTo>
                  <a:lnTo>
                    <a:pt x="122" y="168"/>
                  </a:lnTo>
                  <a:lnTo>
                    <a:pt x="126" y="168"/>
                  </a:lnTo>
                  <a:lnTo>
                    <a:pt x="130" y="166"/>
                  </a:lnTo>
                  <a:lnTo>
                    <a:pt x="134" y="164"/>
                  </a:lnTo>
                  <a:lnTo>
                    <a:pt x="140" y="160"/>
                  </a:lnTo>
                  <a:lnTo>
                    <a:pt x="142" y="156"/>
                  </a:lnTo>
                  <a:lnTo>
                    <a:pt x="142" y="154"/>
                  </a:lnTo>
                  <a:lnTo>
                    <a:pt x="144" y="154"/>
                  </a:lnTo>
                  <a:lnTo>
                    <a:pt x="144" y="152"/>
                  </a:lnTo>
                  <a:lnTo>
                    <a:pt x="146" y="152"/>
                  </a:lnTo>
                  <a:lnTo>
                    <a:pt x="146" y="150"/>
                  </a:lnTo>
                  <a:lnTo>
                    <a:pt x="146" y="148"/>
                  </a:lnTo>
                  <a:lnTo>
                    <a:pt x="144" y="148"/>
                  </a:lnTo>
                  <a:lnTo>
                    <a:pt x="146" y="144"/>
                  </a:lnTo>
                  <a:lnTo>
                    <a:pt x="144" y="146"/>
                  </a:lnTo>
                  <a:lnTo>
                    <a:pt x="144" y="144"/>
                  </a:lnTo>
                  <a:lnTo>
                    <a:pt x="144" y="142"/>
                  </a:lnTo>
                  <a:lnTo>
                    <a:pt x="142" y="142"/>
                  </a:lnTo>
                  <a:lnTo>
                    <a:pt x="138" y="142"/>
                  </a:lnTo>
                  <a:lnTo>
                    <a:pt x="136" y="142"/>
                  </a:lnTo>
                  <a:lnTo>
                    <a:pt x="134" y="144"/>
                  </a:lnTo>
                  <a:lnTo>
                    <a:pt x="132" y="148"/>
                  </a:lnTo>
                  <a:lnTo>
                    <a:pt x="126" y="146"/>
                  </a:lnTo>
                  <a:lnTo>
                    <a:pt x="124" y="144"/>
                  </a:lnTo>
                  <a:lnTo>
                    <a:pt x="130" y="146"/>
                  </a:lnTo>
                  <a:lnTo>
                    <a:pt x="134" y="142"/>
                  </a:lnTo>
                  <a:lnTo>
                    <a:pt x="136" y="140"/>
                  </a:lnTo>
                  <a:lnTo>
                    <a:pt x="142" y="140"/>
                  </a:lnTo>
                  <a:lnTo>
                    <a:pt x="144" y="136"/>
                  </a:lnTo>
                  <a:lnTo>
                    <a:pt x="144" y="134"/>
                  </a:lnTo>
                  <a:lnTo>
                    <a:pt x="146" y="132"/>
                  </a:lnTo>
                  <a:lnTo>
                    <a:pt x="144" y="130"/>
                  </a:lnTo>
                  <a:lnTo>
                    <a:pt x="144" y="128"/>
                  </a:lnTo>
                  <a:lnTo>
                    <a:pt x="144" y="126"/>
                  </a:lnTo>
                  <a:lnTo>
                    <a:pt x="142" y="126"/>
                  </a:lnTo>
                  <a:lnTo>
                    <a:pt x="144" y="124"/>
                  </a:lnTo>
                  <a:lnTo>
                    <a:pt x="146" y="124"/>
                  </a:lnTo>
                  <a:lnTo>
                    <a:pt x="148" y="124"/>
                  </a:lnTo>
                  <a:lnTo>
                    <a:pt x="150" y="124"/>
                  </a:lnTo>
                  <a:lnTo>
                    <a:pt x="152" y="122"/>
                  </a:lnTo>
                  <a:lnTo>
                    <a:pt x="152" y="120"/>
                  </a:lnTo>
                  <a:lnTo>
                    <a:pt x="154" y="120"/>
                  </a:lnTo>
                  <a:lnTo>
                    <a:pt x="156" y="118"/>
                  </a:lnTo>
                  <a:lnTo>
                    <a:pt x="160" y="116"/>
                  </a:lnTo>
                  <a:lnTo>
                    <a:pt x="162" y="116"/>
                  </a:lnTo>
                  <a:lnTo>
                    <a:pt x="164" y="116"/>
                  </a:lnTo>
                  <a:lnTo>
                    <a:pt x="166" y="116"/>
                  </a:lnTo>
                  <a:lnTo>
                    <a:pt x="170" y="120"/>
                  </a:lnTo>
                  <a:lnTo>
                    <a:pt x="172" y="116"/>
                  </a:lnTo>
                  <a:lnTo>
                    <a:pt x="174" y="112"/>
                  </a:lnTo>
                  <a:lnTo>
                    <a:pt x="176" y="112"/>
                  </a:lnTo>
                  <a:lnTo>
                    <a:pt x="180" y="114"/>
                  </a:lnTo>
                  <a:lnTo>
                    <a:pt x="184" y="112"/>
                  </a:lnTo>
                  <a:lnTo>
                    <a:pt x="184" y="116"/>
                  </a:lnTo>
                  <a:lnTo>
                    <a:pt x="176" y="120"/>
                  </a:lnTo>
                  <a:lnTo>
                    <a:pt x="172" y="124"/>
                  </a:lnTo>
                  <a:lnTo>
                    <a:pt x="172" y="126"/>
                  </a:lnTo>
                  <a:lnTo>
                    <a:pt x="172" y="128"/>
                  </a:lnTo>
                  <a:lnTo>
                    <a:pt x="172" y="130"/>
                  </a:lnTo>
                  <a:lnTo>
                    <a:pt x="170" y="130"/>
                  </a:lnTo>
                  <a:lnTo>
                    <a:pt x="170" y="132"/>
                  </a:lnTo>
                  <a:lnTo>
                    <a:pt x="170" y="134"/>
                  </a:lnTo>
                  <a:lnTo>
                    <a:pt x="172" y="134"/>
                  </a:lnTo>
                  <a:lnTo>
                    <a:pt x="172" y="136"/>
                  </a:lnTo>
                  <a:lnTo>
                    <a:pt x="172" y="140"/>
                  </a:lnTo>
                  <a:lnTo>
                    <a:pt x="172" y="142"/>
                  </a:lnTo>
                  <a:lnTo>
                    <a:pt x="168" y="146"/>
                  </a:lnTo>
                  <a:lnTo>
                    <a:pt x="168" y="148"/>
                  </a:lnTo>
                  <a:lnTo>
                    <a:pt x="168" y="152"/>
                  </a:lnTo>
                  <a:lnTo>
                    <a:pt x="168" y="150"/>
                  </a:lnTo>
                  <a:lnTo>
                    <a:pt x="170" y="150"/>
                  </a:lnTo>
                  <a:lnTo>
                    <a:pt x="170" y="148"/>
                  </a:lnTo>
                  <a:lnTo>
                    <a:pt x="170" y="146"/>
                  </a:lnTo>
                  <a:lnTo>
                    <a:pt x="172" y="146"/>
                  </a:lnTo>
                  <a:lnTo>
                    <a:pt x="172" y="144"/>
                  </a:lnTo>
                  <a:lnTo>
                    <a:pt x="174" y="144"/>
                  </a:lnTo>
                  <a:lnTo>
                    <a:pt x="174" y="142"/>
                  </a:lnTo>
                  <a:lnTo>
                    <a:pt x="176" y="142"/>
                  </a:lnTo>
                  <a:lnTo>
                    <a:pt x="178" y="142"/>
                  </a:lnTo>
                  <a:lnTo>
                    <a:pt x="178" y="136"/>
                  </a:lnTo>
                  <a:lnTo>
                    <a:pt x="182" y="134"/>
                  </a:lnTo>
                  <a:lnTo>
                    <a:pt x="184" y="132"/>
                  </a:lnTo>
                  <a:lnTo>
                    <a:pt x="184" y="134"/>
                  </a:lnTo>
                  <a:lnTo>
                    <a:pt x="186" y="134"/>
                  </a:lnTo>
                  <a:lnTo>
                    <a:pt x="188" y="134"/>
                  </a:lnTo>
                  <a:lnTo>
                    <a:pt x="188" y="132"/>
                  </a:lnTo>
                  <a:lnTo>
                    <a:pt x="188" y="130"/>
                  </a:lnTo>
                  <a:lnTo>
                    <a:pt x="188" y="128"/>
                  </a:lnTo>
                  <a:lnTo>
                    <a:pt x="188" y="126"/>
                  </a:lnTo>
                  <a:lnTo>
                    <a:pt x="192" y="126"/>
                  </a:lnTo>
                  <a:lnTo>
                    <a:pt x="188" y="122"/>
                  </a:lnTo>
                  <a:lnTo>
                    <a:pt x="192" y="118"/>
                  </a:lnTo>
                  <a:lnTo>
                    <a:pt x="192" y="114"/>
                  </a:lnTo>
                  <a:lnTo>
                    <a:pt x="194" y="112"/>
                  </a:lnTo>
                  <a:lnTo>
                    <a:pt x="194" y="110"/>
                  </a:lnTo>
                  <a:lnTo>
                    <a:pt x="190" y="106"/>
                  </a:lnTo>
                  <a:lnTo>
                    <a:pt x="188" y="102"/>
                  </a:lnTo>
                  <a:lnTo>
                    <a:pt x="192" y="100"/>
                  </a:lnTo>
                  <a:lnTo>
                    <a:pt x="194" y="100"/>
                  </a:lnTo>
                  <a:lnTo>
                    <a:pt x="196" y="100"/>
                  </a:lnTo>
                  <a:lnTo>
                    <a:pt x="196" y="104"/>
                  </a:lnTo>
                  <a:lnTo>
                    <a:pt x="198" y="104"/>
                  </a:lnTo>
                  <a:lnTo>
                    <a:pt x="200" y="102"/>
                  </a:lnTo>
                  <a:lnTo>
                    <a:pt x="198" y="98"/>
                  </a:lnTo>
                  <a:lnTo>
                    <a:pt x="194" y="96"/>
                  </a:lnTo>
                  <a:lnTo>
                    <a:pt x="196" y="92"/>
                  </a:lnTo>
                  <a:lnTo>
                    <a:pt x="200" y="96"/>
                  </a:lnTo>
                  <a:close/>
                  <a:moveTo>
                    <a:pt x="78" y="222"/>
                  </a:moveTo>
                  <a:lnTo>
                    <a:pt x="76" y="222"/>
                  </a:lnTo>
                  <a:lnTo>
                    <a:pt x="74" y="222"/>
                  </a:lnTo>
                  <a:lnTo>
                    <a:pt x="72" y="224"/>
                  </a:lnTo>
                  <a:lnTo>
                    <a:pt x="72" y="226"/>
                  </a:lnTo>
                  <a:lnTo>
                    <a:pt x="70" y="228"/>
                  </a:lnTo>
                  <a:lnTo>
                    <a:pt x="70" y="230"/>
                  </a:lnTo>
                  <a:lnTo>
                    <a:pt x="70" y="232"/>
                  </a:lnTo>
                  <a:lnTo>
                    <a:pt x="72" y="232"/>
                  </a:lnTo>
                  <a:lnTo>
                    <a:pt x="74" y="230"/>
                  </a:lnTo>
                  <a:lnTo>
                    <a:pt x="74" y="228"/>
                  </a:lnTo>
                  <a:lnTo>
                    <a:pt x="76" y="228"/>
                  </a:lnTo>
                  <a:lnTo>
                    <a:pt x="78" y="228"/>
                  </a:lnTo>
                  <a:lnTo>
                    <a:pt x="80" y="228"/>
                  </a:lnTo>
                  <a:lnTo>
                    <a:pt x="80" y="226"/>
                  </a:lnTo>
                  <a:lnTo>
                    <a:pt x="78" y="224"/>
                  </a:lnTo>
                  <a:lnTo>
                    <a:pt x="78" y="222"/>
                  </a:lnTo>
                  <a:close/>
                  <a:moveTo>
                    <a:pt x="68" y="246"/>
                  </a:moveTo>
                  <a:lnTo>
                    <a:pt x="68" y="246"/>
                  </a:lnTo>
                  <a:lnTo>
                    <a:pt x="66" y="248"/>
                  </a:lnTo>
                  <a:lnTo>
                    <a:pt x="66" y="250"/>
                  </a:lnTo>
                  <a:lnTo>
                    <a:pt x="66" y="252"/>
                  </a:lnTo>
                  <a:lnTo>
                    <a:pt x="64" y="252"/>
                  </a:lnTo>
                  <a:lnTo>
                    <a:pt x="64" y="254"/>
                  </a:lnTo>
                  <a:lnTo>
                    <a:pt x="64" y="256"/>
                  </a:lnTo>
                  <a:lnTo>
                    <a:pt x="64" y="258"/>
                  </a:lnTo>
                  <a:lnTo>
                    <a:pt x="66" y="258"/>
                  </a:lnTo>
                  <a:lnTo>
                    <a:pt x="68" y="258"/>
                  </a:lnTo>
                  <a:lnTo>
                    <a:pt x="70" y="258"/>
                  </a:lnTo>
                  <a:lnTo>
                    <a:pt x="70" y="256"/>
                  </a:lnTo>
                  <a:lnTo>
                    <a:pt x="70" y="254"/>
                  </a:lnTo>
                  <a:lnTo>
                    <a:pt x="68" y="252"/>
                  </a:lnTo>
                  <a:lnTo>
                    <a:pt x="72" y="252"/>
                  </a:lnTo>
                  <a:lnTo>
                    <a:pt x="76" y="248"/>
                  </a:lnTo>
                  <a:lnTo>
                    <a:pt x="74" y="246"/>
                  </a:lnTo>
                  <a:lnTo>
                    <a:pt x="72" y="244"/>
                  </a:lnTo>
                  <a:lnTo>
                    <a:pt x="70" y="242"/>
                  </a:lnTo>
                  <a:lnTo>
                    <a:pt x="68" y="246"/>
                  </a:lnTo>
                  <a:close/>
                  <a:moveTo>
                    <a:pt x="52" y="280"/>
                  </a:moveTo>
                  <a:lnTo>
                    <a:pt x="54" y="278"/>
                  </a:lnTo>
                  <a:lnTo>
                    <a:pt x="56" y="278"/>
                  </a:lnTo>
                  <a:lnTo>
                    <a:pt x="58" y="274"/>
                  </a:lnTo>
                  <a:lnTo>
                    <a:pt x="62" y="274"/>
                  </a:lnTo>
                  <a:lnTo>
                    <a:pt x="60" y="268"/>
                  </a:lnTo>
                  <a:lnTo>
                    <a:pt x="58" y="270"/>
                  </a:lnTo>
                  <a:lnTo>
                    <a:pt x="54" y="272"/>
                  </a:lnTo>
                  <a:lnTo>
                    <a:pt x="52" y="274"/>
                  </a:lnTo>
                  <a:lnTo>
                    <a:pt x="52" y="276"/>
                  </a:lnTo>
                  <a:lnTo>
                    <a:pt x="52" y="278"/>
                  </a:lnTo>
                  <a:lnTo>
                    <a:pt x="52" y="280"/>
                  </a:lnTo>
                  <a:close/>
                  <a:moveTo>
                    <a:pt x="56" y="306"/>
                  </a:moveTo>
                  <a:lnTo>
                    <a:pt x="56" y="304"/>
                  </a:lnTo>
                  <a:lnTo>
                    <a:pt x="56" y="300"/>
                  </a:lnTo>
                  <a:lnTo>
                    <a:pt x="52" y="298"/>
                  </a:lnTo>
                  <a:lnTo>
                    <a:pt x="56" y="296"/>
                  </a:lnTo>
                  <a:lnTo>
                    <a:pt x="54" y="292"/>
                  </a:lnTo>
                  <a:lnTo>
                    <a:pt x="58" y="292"/>
                  </a:lnTo>
                  <a:lnTo>
                    <a:pt x="58" y="288"/>
                  </a:lnTo>
                  <a:lnTo>
                    <a:pt x="54" y="288"/>
                  </a:lnTo>
                  <a:lnTo>
                    <a:pt x="52" y="282"/>
                  </a:lnTo>
                  <a:lnTo>
                    <a:pt x="48" y="282"/>
                  </a:lnTo>
                  <a:lnTo>
                    <a:pt x="46" y="286"/>
                  </a:lnTo>
                  <a:lnTo>
                    <a:pt x="44" y="286"/>
                  </a:lnTo>
                  <a:lnTo>
                    <a:pt x="42" y="288"/>
                  </a:lnTo>
                  <a:lnTo>
                    <a:pt x="40" y="288"/>
                  </a:lnTo>
                  <a:lnTo>
                    <a:pt x="38" y="286"/>
                  </a:lnTo>
                  <a:lnTo>
                    <a:pt x="36" y="286"/>
                  </a:lnTo>
                  <a:lnTo>
                    <a:pt x="34" y="288"/>
                  </a:lnTo>
                  <a:lnTo>
                    <a:pt x="32" y="288"/>
                  </a:lnTo>
                  <a:lnTo>
                    <a:pt x="32" y="290"/>
                  </a:lnTo>
                  <a:lnTo>
                    <a:pt x="34" y="290"/>
                  </a:lnTo>
                  <a:lnTo>
                    <a:pt x="34" y="292"/>
                  </a:lnTo>
                  <a:lnTo>
                    <a:pt x="32" y="294"/>
                  </a:lnTo>
                  <a:lnTo>
                    <a:pt x="32" y="296"/>
                  </a:lnTo>
                  <a:lnTo>
                    <a:pt x="34" y="302"/>
                  </a:lnTo>
                  <a:lnTo>
                    <a:pt x="38" y="306"/>
                  </a:lnTo>
                  <a:lnTo>
                    <a:pt x="38" y="308"/>
                  </a:lnTo>
                  <a:lnTo>
                    <a:pt x="36" y="308"/>
                  </a:lnTo>
                  <a:lnTo>
                    <a:pt x="38" y="310"/>
                  </a:lnTo>
                  <a:lnTo>
                    <a:pt x="40" y="312"/>
                  </a:lnTo>
                  <a:lnTo>
                    <a:pt x="44" y="312"/>
                  </a:lnTo>
                  <a:lnTo>
                    <a:pt x="46" y="312"/>
                  </a:lnTo>
                  <a:lnTo>
                    <a:pt x="46" y="314"/>
                  </a:lnTo>
                  <a:lnTo>
                    <a:pt x="48" y="314"/>
                  </a:lnTo>
                  <a:lnTo>
                    <a:pt x="48" y="316"/>
                  </a:lnTo>
                  <a:lnTo>
                    <a:pt x="48" y="318"/>
                  </a:lnTo>
                  <a:lnTo>
                    <a:pt x="50" y="318"/>
                  </a:lnTo>
                  <a:lnTo>
                    <a:pt x="50" y="316"/>
                  </a:lnTo>
                  <a:lnTo>
                    <a:pt x="52" y="316"/>
                  </a:lnTo>
                  <a:lnTo>
                    <a:pt x="52" y="314"/>
                  </a:lnTo>
                  <a:lnTo>
                    <a:pt x="52" y="312"/>
                  </a:lnTo>
                  <a:lnTo>
                    <a:pt x="52" y="310"/>
                  </a:lnTo>
                  <a:lnTo>
                    <a:pt x="52" y="308"/>
                  </a:lnTo>
                  <a:lnTo>
                    <a:pt x="56" y="306"/>
                  </a:lnTo>
                  <a:close/>
                  <a:moveTo>
                    <a:pt x="68" y="334"/>
                  </a:moveTo>
                  <a:lnTo>
                    <a:pt x="68" y="334"/>
                  </a:lnTo>
                  <a:lnTo>
                    <a:pt x="70" y="334"/>
                  </a:lnTo>
                  <a:lnTo>
                    <a:pt x="72" y="334"/>
                  </a:lnTo>
                  <a:lnTo>
                    <a:pt x="70" y="330"/>
                  </a:lnTo>
                  <a:lnTo>
                    <a:pt x="72" y="328"/>
                  </a:lnTo>
                  <a:lnTo>
                    <a:pt x="72" y="326"/>
                  </a:lnTo>
                  <a:lnTo>
                    <a:pt x="70" y="326"/>
                  </a:lnTo>
                  <a:lnTo>
                    <a:pt x="68" y="326"/>
                  </a:lnTo>
                  <a:lnTo>
                    <a:pt x="68" y="324"/>
                  </a:lnTo>
                  <a:lnTo>
                    <a:pt x="66" y="324"/>
                  </a:lnTo>
                  <a:lnTo>
                    <a:pt x="64" y="324"/>
                  </a:lnTo>
                  <a:lnTo>
                    <a:pt x="64" y="326"/>
                  </a:lnTo>
                  <a:lnTo>
                    <a:pt x="64" y="324"/>
                  </a:lnTo>
                  <a:lnTo>
                    <a:pt x="64" y="322"/>
                  </a:lnTo>
                  <a:lnTo>
                    <a:pt x="60" y="320"/>
                  </a:lnTo>
                  <a:lnTo>
                    <a:pt x="68" y="320"/>
                  </a:lnTo>
                  <a:lnTo>
                    <a:pt x="70" y="316"/>
                  </a:lnTo>
                  <a:lnTo>
                    <a:pt x="68" y="316"/>
                  </a:lnTo>
                  <a:lnTo>
                    <a:pt x="66" y="316"/>
                  </a:lnTo>
                  <a:lnTo>
                    <a:pt x="68" y="316"/>
                  </a:lnTo>
                  <a:lnTo>
                    <a:pt x="68" y="314"/>
                  </a:lnTo>
                  <a:lnTo>
                    <a:pt x="74" y="314"/>
                  </a:lnTo>
                  <a:lnTo>
                    <a:pt x="72" y="312"/>
                  </a:lnTo>
                  <a:lnTo>
                    <a:pt x="68" y="310"/>
                  </a:lnTo>
                  <a:lnTo>
                    <a:pt x="62" y="306"/>
                  </a:lnTo>
                  <a:lnTo>
                    <a:pt x="60" y="308"/>
                  </a:lnTo>
                  <a:lnTo>
                    <a:pt x="58" y="310"/>
                  </a:lnTo>
                  <a:lnTo>
                    <a:pt x="58" y="316"/>
                  </a:lnTo>
                  <a:lnTo>
                    <a:pt x="56" y="324"/>
                  </a:lnTo>
                  <a:lnTo>
                    <a:pt x="60" y="326"/>
                  </a:lnTo>
                  <a:lnTo>
                    <a:pt x="60" y="330"/>
                  </a:lnTo>
                  <a:lnTo>
                    <a:pt x="62" y="332"/>
                  </a:lnTo>
                  <a:lnTo>
                    <a:pt x="62" y="328"/>
                  </a:lnTo>
                  <a:lnTo>
                    <a:pt x="68" y="330"/>
                  </a:lnTo>
                  <a:lnTo>
                    <a:pt x="68" y="332"/>
                  </a:lnTo>
                  <a:lnTo>
                    <a:pt x="68" y="334"/>
                  </a:lnTo>
                  <a:close/>
                  <a:moveTo>
                    <a:pt x="72" y="352"/>
                  </a:moveTo>
                  <a:lnTo>
                    <a:pt x="74" y="352"/>
                  </a:lnTo>
                  <a:lnTo>
                    <a:pt x="74" y="354"/>
                  </a:lnTo>
                  <a:lnTo>
                    <a:pt x="76" y="354"/>
                  </a:lnTo>
                  <a:lnTo>
                    <a:pt x="78" y="354"/>
                  </a:lnTo>
                  <a:lnTo>
                    <a:pt x="80" y="354"/>
                  </a:lnTo>
                  <a:lnTo>
                    <a:pt x="80" y="352"/>
                  </a:lnTo>
                  <a:lnTo>
                    <a:pt x="82" y="352"/>
                  </a:lnTo>
                  <a:lnTo>
                    <a:pt x="86" y="350"/>
                  </a:lnTo>
                  <a:lnTo>
                    <a:pt x="80" y="346"/>
                  </a:lnTo>
                  <a:lnTo>
                    <a:pt x="76" y="344"/>
                  </a:lnTo>
                  <a:lnTo>
                    <a:pt x="72" y="344"/>
                  </a:lnTo>
                  <a:lnTo>
                    <a:pt x="74" y="348"/>
                  </a:lnTo>
                  <a:lnTo>
                    <a:pt x="72" y="352"/>
                  </a:lnTo>
                  <a:close/>
                  <a:moveTo>
                    <a:pt x="82" y="320"/>
                  </a:moveTo>
                  <a:lnTo>
                    <a:pt x="82" y="316"/>
                  </a:lnTo>
                  <a:lnTo>
                    <a:pt x="80" y="320"/>
                  </a:lnTo>
                  <a:lnTo>
                    <a:pt x="80" y="326"/>
                  </a:lnTo>
                  <a:lnTo>
                    <a:pt x="78" y="324"/>
                  </a:lnTo>
                  <a:lnTo>
                    <a:pt x="76" y="324"/>
                  </a:lnTo>
                  <a:lnTo>
                    <a:pt x="74" y="324"/>
                  </a:lnTo>
                  <a:lnTo>
                    <a:pt x="72" y="324"/>
                  </a:lnTo>
                  <a:lnTo>
                    <a:pt x="72" y="326"/>
                  </a:lnTo>
                  <a:lnTo>
                    <a:pt x="74" y="326"/>
                  </a:lnTo>
                  <a:lnTo>
                    <a:pt x="74" y="328"/>
                  </a:lnTo>
                  <a:lnTo>
                    <a:pt x="78" y="328"/>
                  </a:lnTo>
                  <a:lnTo>
                    <a:pt x="82" y="328"/>
                  </a:lnTo>
                  <a:lnTo>
                    <a:pt x="86" y="330"/>
                  </a:lnTo>
                  <a:lnTo>
                    <a:pt x="86" y="326"/>
                  </a:lnTo>
                  <a:lnTo>
                    <a:pt x="86" y="322"/>
                  </a:lnTo>
                  <a:lnTo>
                    <a:pt x="82" y="320"/>
                  </a:lnTo>
                  <a:close/>
                  <a:moveTo>
                    <a:pt x="174" y="362"/>
                  </a:moveTo>
                  <a:lnTo>
                    <a:pt x="176" y="362"/>
                  </a:lnTo>
                  <a:lnTo>
                    <a:pt x="178" y="362"/>
                  </a:lnTo>
                  <a:lnTo>
                    <a:pt x="176" y="362"/>
                  </a:lnTo>
                  <a:lnTo>
                    <a:pt x="176" y="360"/>
                  </a:lnTo>
                  <a:lnTo>
                    <a:pt x="174" y="360"/>
                  </a:lnTo>
                  <a:lnTo>
                    <a:pt x="172" y="358"/>
                  </a:lnTo>
                  <a:lnTo>
                    <a:pt x="170" y="356"/>
                  </a:lnTo>
                  <a:lnTo>
                    <a:pt x="168" y="354"/>
                  </a:lnTo>
                  <a:lnTo>
                    <a:pt x="166" y="356"/>
                  </a:lnTo>
                  <a:lnTo>
                    <a:pt x="170" y="358"/>
                  </a:lnTo>
                  <a:lnTo>
                    <a:pt x="172" y="360"/>
                  </a:lnTo>
                  <a:lnTo>
                    <a:pt x="170" y="360"/>
                  </a:lnTo>
                  <a:lnTo>
                    <a:pt x="168" y="364"/>
                  </a:lnTo>
                  <a:lnTo>
                    <a:pt x="164" y="364"/>
                  </a:lnTo>
                  <a:lnTo>
                    <a:pt x="160" y="364"/>
                  </a:lnTo>
                  <a:lnTo>
                    <a:pt x="156" y="364"/>
                  </a:lnTo>
                  <a:lnTo>
                    <a:pt x="156" y="366"/>
                  </a:lnTo>
                  <a:lnTo>
                    <a:pt x="154" y="366"/>
                  </a:lnTo>
                  <a:lnTo>
                    <a:pt x="152" y="366"/>
                  </a:lnTo>
                  <a:lnTo>
                    <a:pt x="152" y="364"/>
                  </a:lnTo>
                  <a:lnTo>
                    <a:pt x="150" y="364"/>
                  </a:lnTo>
                  <a:lnTo>
                    <a:pt x="150" y="362"/>
                  </a:lnTo>
                  <a:lnTo>
                    <a:pt x="150" y="360"/>
                  </a:lnTo>
                  <a:lnTo>
                    <a:pt x="148" y="360"/>
                  </a:lnTo>
                  <a:lnTo>
                    <a:pt x="146" y="360"/>
                  </a:lnTo>
                  <a:lnTo>
                    <a:pt x="146" y="358"/>
                  </a:lnTo>
                  <a:lnTo>
                    <a:pt x="146" y="356"/>
                  </a:lnTo>
                  <a:lnTo>
                    <a:pt x="146" y="354"/>
                  </a:lnTo>
                  <a:lnTo>
                    <a:pt x="144" y="354"/>
                  </a:lnTo>
                  <a:lnTo>
                    <a:pt x="142" y="354"/>
                  </a:lnTo>
                  <a:lnTo>
                    <a:pt x="140" y="354"/>
                  </a:lnTo>
                  <a:lnTo>
                    <a:pt x="138" y="352"/>
                  </a:lnTo>
                  <a:lnTo>
                    <a:pt x="136" y="350"/>
                  </a:lnTo>
                  <a:lnTo>
                    <a:pt x="130" y="348"/>
                  </a:lnTo>
                  <a:lnTo>
                    <a:pt x="124" y="344"/>
                  </a:lnTo>
                  <a:lnTo>
                    <a:pt x="120" y="342"/>
                  </a:lnTo>
                  <a:lnTo>
                    <a:pt x="120" y="340"/>
                  </a:lnTo>
                  <a:lnTo>
                    <a:pt x="112" y="338"/>
                  </a:lnTo>
                  <a:lnTo>
                    <a:pt x="110" y="338"/>
                  </a:lnTo>
                  <a:lnTo>
                    <a:pt x="110" y="336"/>
                  </a:lnTo>
                  <a:lnTo>
                    <a:pt x="110" y="334"/>
                  </a:lnTo>
                  <a:lnTo>
                    <a:pt x="108" y="334"/>
                  </a:lnTo>
                  <a:lnTo>
                    <a:pt x="108" y="336"/>
                  </a:lnTo>
                  <a:lnTo>
                    <a:pt x="108" y="340"/>
                  </a:lnTo>
                  <a:lnTo>
                    <a:pt x="110" y="342"/>
                  </a:lnTo>
                  <a:lnTo>
                    <a:pt x="108" y="344"/>
                  </a:lnTo>
                  <a:lnTo>
                    <a:pt x="108" y="346"/>
                  </a:lnTo>
                  <a:lnTo>
                    <a:pt x="110" y="350"/>
                  </a:lnTo>
                  <a:lnTo>
                    <a:pt x="112" y="350"/>
                  </a:lnTo>
                  <a:lnTo>
                    <a:pt x="114" y="350"/>
                  </a:lnTo>
                  <a:lnTo>
                    <a:pt x="116" y="350"/>
                  </a:lnTo>
                  <a:lnTo>
                    <a:pt x="118" y="350"/>
                  </a:lnTo>
                  <a:lnTo>
                    <a:pt x="118" y="352"/>
                  </a:lnTo>
                  <a:lnTo>
                    <a:pt x="118" y="354"/>
                  </a:lnTo>
                  <a:lnTo>
                    <a:pt x="118" y="356"/>
                  </a:lnTo>
                  <a:lnTo>
                    <a:pt x="120" y="358"/>
                  </a:lnTo>
                  <a:lnTo>
                    <a:pt x="122" y="358"/>
                  </a:lnTo>
                  <a:lnTo>
                    <a:pt x="122" y="360"/>
                  </a:lnTo>
                  <a:lnTo>
                    <a:pt x="122" y="362"/>
                  </a:lnTo>
                  <a:lnTo>
                    <a:pt x="120" y="362"/>
                  </a:lnTo>
                  <a:lnTo>
                    <a:pt x="120" y="364"/>
                  </a:lnTo>
                  <a:lnTo>
                    <a:pt x="122" y="364"/>
                  </a:lnTo>
                  <a:lnTo>
                    <a:pt x="124" y="364"/>
                  </a:lnTo>
                  <a:lnTo>
                    <a:pt x="130" y="370"/>
                  </a:lnTo>
                  <a:lnTo>
                    <a:pt x="136" y="370"/>
                  </a:lnTo>
                  <a:lnTo>
                    <a:pt x="138" y="370"/>
                  </a:lnTo>
                  <a:lnTo>
                    <a:pt x="138" y="368"/>
                  </a:lnTo>
                  <a:lnTo>
                    <a:pt x="136" y="368"/>
                  </a:lnTo>
                  <a:lnTo>
                    <a:pt x="134" y="366"/>
                  </a:lnTo>
                  <a:lnTo>
                    <a:pt x="132" y="366"/>
                  </a:lnTo>
                  <a:lnTo>
                    <a:pt x="132" y="364"/>
                  </a:lnTo>
                  <a:lnTo>
                    <a:pt x="138" y="364"/>
                  </a:lnTo>
                  <a:lnTo>
                    <a:pt x="146" y="368"/>
                  </a:lnTo>
                  <a:lnTo>
                    <a:pt x="148" y="372"/>
                  </a:lnTo>
                  <a:lnTo>
                    <a:pt x="154" y="376"/>
                  </a:lnTo>
                  <a:lnTo>
                    <a:pt x="160" y="378"/>
                  </a:lnTo>
                  <a:lnTo>
                    <a:pt x="168" y="382"/>
                  </a:lnTo>
                  <a:lnTo>
                    <a:pt x="166" y="380"/>
                  </a:lnTo>
                  <a:lnTo>
                    <a:pt x="170" y="380"/>
                  </a:lnTo>
                  <a:lnTo>
                    <a:pt x="170" y="378"/>
                  </a:lnTo>
                  <a:lnTo>
                    <a:pt x="170" y="376"/>
                  </a:lnTo>
                  <a:lnTo>
                    <a:pt x="168" y="376"/>
                  </a:lnTo>
                  <a:lnTo>
                    <a:pt x="166" y="376"/>
                  </a:lnTo>
                  <a:lnTo>
                    <a:pt x="164" y="374"/>
                  </a:lnTo>
                  <a:lnTo>
                    <a:pt x="162" y="374"/>
                  </a:lnTo>
                  <a:lnTo>
                    <a:pt x="160" y="374"/>
                  </a:lnTo>
                  <a:lnTo>
                    <a:pt x="158" y="374"/>
                  </a:lnTo>
                  <a:lnTo>
                    <a:pt x="158" y="372"/>
                  </a:lnTo>
                  <a:lnTo>
                    <a:pt x="156" y="370"/>
                  </a:lnTo>
                  <a:lnTo>
                    <a:pt x="154" y="368"/>
                  </a:lnTo>
                  <a:lnTo>
                    <a:pt x="156" y="364"/>
                  </a:lnTo>
                  <a:lnTo>
                    <a:pt x="162" y="364"/>
                  </a:lnTo>
                  <a:lnTo>
                    <a:pt x="166" y="366"/>
                  </a:lnTo>
                  <a:lnTo>
                    <a:pt x="168" y="366"/>
                  </a:lnTo>
                  <a:lnTo>
                    <a:pt x="168" y="364"/>
                  </a:lnTo>
                  <a:lnTo>
                    <a:pt x="170" y="364"/>
                  </a:lnTo>
                  <a:lnTo>
                    <a:pt x="172" y="362"/>
                  </a:lnTo>
                  <a:lnTo>
                    <a:pt x="174" y="362"/>
                  </a:lnTo>
                  <a:close/>
                  <a:moveTo>
                    <a:pt x="182" y="426"/>
                  </a:moveTo>
                  <a:lnTo>
                    <a:pt x="182" y="424"/>
                  </a:lnTo>
                  <a:lnTo>
                    <a:pt x="180" y="424"/>
                  </a:lnTo>
                  <a:lnTo>
                    <a:pt x="180" y="422"/>
                  </a:lnTo>
                  <a:lnTo>
                    <a:pt x="182" y="420"/>
                  </a:lnTo>
                  <a:lnTo>
                    <a:pt x="176" y="416"/>
                  </a:lnTo>
                  <a:lnTo>
                    <a:pt x="170" y="410"/>
                  </a:lnTo>
                  <a:lnTo>
                    <a:pt x="162" y="404"/>
                  </a:lnTo>
                  <a:lnTo>
                    <a:pt x="156" y="404"/>
                  </a:lnTo>
                  <a:lnTo>
                    <a:pt x="154" y="400"/>
                  </a:lnTo>
                  <a:lnTo>
                    <a:pt x="152" y="394"/>
                  </a:lnTo>
                  <a:lnTo>
                    <a:pt x="148" y="390"/>
                  </a:lnTo>
                  <a:lnTo>
                    <a:pt x="142" y="382"/>
                  </a:lnTo>
                  <a:lnTo>
                    <a:pt x="138" y="380"/>
                  </a:lnTo>
                  <a:lnTo>
                    <a:pt x="138" y="378"/>
                  </a:lnTo>
                  <a:lnTo>
                    <a:pt x="138" y="376"/>
                  </a:lnTo>
                  <a:lnTo>
                    <a:pt x="136" y="376"/>
                  </a:lnTo>
                  <a:lnTo>
                    <a:pt x="134" y="376"/>
                  </a:lnTo>
                  <a:lnTo>
                    <a:pt x="134" y="378"/>
                  </a:lnTo>
                  <a:lnTo>
                    <a:pt x="134" y="384"/>
                  </a:lnTo>
                  <a:lnTo>
                    <a:pt x="136" y="388"/>
                  </a:lnTo>
                  <a:lnTo>
                    <a:pt x="134" y="390"/>
                  </a:lnTo>
                  <a:lnTo>
                    <a:pt x="134" y="392"/>
                  </a:lnTo>
                  <a:lnTo>
                    <a:pt x="132" y="392"/>
                  </a:lnTo>
                  <a:lnTo>
                    <a:pt x="130" y="392"/>
                  </a:lnTo>
                  <a:lnTo>
                    <a:pt x="128" y="392"/>
                  </a:lnTo>
                  <a:lnTo>
                    <a:pt x="126" y="392"/>
                  </a:lnTo>
                  <a:lnTo>
                    <a:pt x="126" y="390"/>
                  </a:lnTo>
                  <a:lnTo>
                    <a:pt x="124" y="388"/>
                  </a:lnTo>
                  <a:lnTo>
                    <a:pt x="122" y="386"/>
                  </a:lnTo>
                  <a:lnTo>
                    <a:pt x="120" y="388"/>
                  </a:lnTo>
                  <a:lnTo>
                    <a:pt x="114" y="380"/>
                  </a:lnTo>
                  <a:lnTo>
                    <a:pt x="112" y="378"/>
                  </a:lnTo>
                  <a:lnTo>
                    <a:pt x="114" y="376"/>
                  </a:lnTo>
                  <a:lnTo>
                    <a:pt x="118" y="376"/>
                  </a:lnTo>
                  <a:lnTo>
                    <a:pt x="118" y="374"/>
                  </a:lnTo>
                  <a:lnTo>
                    <a:pt x="118" y="372"/>
                  </a:lnTo>
                  <a:lnTo>
                    <a:pt x="116" y="372"/>
                  </a:lnTo>
                  <a:lnTo>
                    <a:pt x="114" y="372"/>
                  </a:lnTo>
                  <a:lnTo>
                    <a:pt x="112" y="372"/>
                  </a:lnTo>
                  <a:lnTo>
                    <a:pt x="110" y="372"/>
                  </a:lnTo>
                  <a:lnTo>
                    <a:pt x="110" y="374"/>
                  </a:lnTo>
                  <a:lnTo>
                    <a:pt x="106" y="370"/>
                  </a:lnTo>
                  <a:lnTo>
                    <a:pt x="104" y="364"/>
                  </a:lnTo>
                  <a:lnTo>
                    <a:pt x="98" y="362"/>
                  </a:lnTo>
                  <a:lnTo>
                    <a:pt x="94" y="364"/>
                  </a:lnTo>
                  <a:lnTo>
                    <a:pt x="98" y="366"/>
                  </a:lnTo>
                  <a:lnTo>
                    <a:pt x="100" y="368"/>
                  </a:lnTo>
                  <a:lnTo>
                    <a:pt x="98" y="370"/>
                  </a:lnTo>
                  <a:lnTo>
                    <a:pt x="94" y="368"/>
                  </a:lnTo>
                  <a:lnTo>
                    <a:pt x="94" y="370"/>
                  </a:lnTo>
                  <a:lnTo>
                    <a:pt x="96" y="374"/>
                  </a:lnTo>
                  <a:lnTo>
                    <a:pt x="94" y="376"/>
                  </a:lnTo>
                  <a:lnTo>
                    <a:pt x="92" y="372"/>
                  </a:lnTo>
                  <a:lnTo>
                    <a:pt x="88" y="368"/>
                  </a:lnTo>
                  <a:lnTo>
                    <a:pt x="86" y="368"/>
                  </a:lnTo>
                  <a:lnTo>
                    <a:pt x="86" y="366"/>
                  </a:lnTo>
                  <a:lnTo>
                    <a:pt x="84" y="366"/>
                  </a:lnTo>
                  <a:lnTo>
                    <a:pt x="82" y="366"/>
                  </a:lnTo>
                  <a:lnTo>
                    <a:pt x="82" y="368"/>
                  </a:lnTo>
                  <a:lnTo>
                    <a:pt x="80" y="370"/>
                  </a:lnTo>
                  <a:lnTo>
                    <a:pt x="78" y="370"/>
                  </a:lnTo>
                  <a:lnTo>
                    <a:pt x="76" y="370"/>
                  </a:lnTo>
                  <a:lnTo>
                    <a:pt x="72" y="374"/>
                  </a:lnTo>
                  <a:lnTo>
                    <a:pt x="68" y="370"/>
                  </a:lnTo>
                  <a:lnTo>
                    <a:pt x="64" y="372"/>
                  </a:lnTo>
                  <a:lnTo>
                    <a:pt x="62" y="370"/>
                  </a:lnTo>
                  <a:lnTo>
                    <a:pt x="58" y="368"/>
                  </a:lnTo>
                  <a:lnTo>
                    <a:pt x="58" y="370"/>
                  </a:lnTo>
                  <a:lnTo>
                    <a:pt x="60" y="370"/>
                  </a:lnTo>
                  <a:lnTo>
                    <a:pt x="60" y="372"/>
                  </a:lnTo>
                  <a:lnTo>
                    <a:pt x="62" y="374"/>
                  </a:lnTo>
                  <a:lnTo>
                    <a:pt x="62" y="376"/>
                  </a:lnTo>
                  <a:lnTo>
                    <a:pt x="66" y="382"/>
                  </a:lnTo>
                  <a:lnTo>
                    <a:pt x="84" y="398"/>
                  </a:lnTo>
                  <a:lnTo>
                    <a:pt x="104" y="412"/>
                  </a:lnTo>
                  <a:lnTo>
                    <a:pt x="106" y="412"/>
                  </a:lnTo>
                  <a:lnTo>
                    <a:pt x="106" y="410"/>
                  </a:lnTo>
                  <a:lnTo>
                    <a:pt x="112" y="414"/>
                  </a:lnTo>
                  <a:lnTo>
                    <a:pt x="120" y="414"/>
                  </a:lnTo>
                  <a:lnTo>
                    <a:pt x="124" y="420"/>
                  </a:lnTo>
                  <a:lnTo>
                    <a:pt x="132" y="424"/>
                  </a:lnTo>
                  <a:lnTo>
                    <a:pt x="138" y="426"/>
                  </a:lnTo>
                  <a:lnTo>
                    <a:pt x="142" y="430"/>
                  </a:lnTo>
                  <a:lnTo>
                    <a:pt x="148" y="432"/>
                  </a:lnTo>
                  <a:lnTo>
                    <a:pt x="148" y="434"/>
                  </a:lnTo>
                  <a:lnTo>
                    <a:pt x="154" y="434"/>
                  </a:lnTo>
                  <a:lnTo>
                    <a:pt x="156" y="434"/>
                  </a:lnTo>
                  <a:lnTo>
                    <a:pt x="160" y="436"/>
                  </a:lnTo>
                  <a:lnTo>
                    <a:pt x="176" y="440"/>
                  </a:lnTo>
                  <a:lnTo>
                    <a:pt x="176" y="438"/>
                  </a:lnTo>
                  <a:lnTo>
                    <a:pt x="174" y="438"/>
                  </a:lnTo>
                  <a:lnTo>
                    <a:pt x="172" y="436"/>
                  </a:lnTo>
                  <a:lnTo>
                    <a:pt x="174" y="436"/>
                  </a:lnTo>
                  <a:lnTo>
                    <a:pt x="174" y="438"/>
                  </a:lnTo>
                  <a:lnTo>
                    <a:pt x="176" y="438"/>
                  </a:lnTo>
                  <a:lnTo>
                    <a:pt x="178" y="436"/>
                  </a:lnTo>
                  <a:lnTo>
                    <a:pt x="180" y="434"/>
                  </a:lnTo>
                  <a:lnTo>
                    <a:pt x="182" y="432"/>
                  </a:lnTo>
                  <a:lnTo>
                    <a:pt x="184" y="430"/>
                  </a:lnTo>
                  <a:lnTo>
                    <a:pt x="186" y="428"/>
                  </a:lnTo>
                  <a:lnTo>
                    <a:pt x="184" y="426"/>
                  </a:lnTo>
                  <a:lnTo>
                    <a:pt x="182" y="426"/>
                  </a:lnTo>
                  <a:close/>
                  <a:moveTo>
                    <a:pt x="202" y="138"/>
                  </a:moveTo>
                  <a:lnTo>
                    <a:pt x="202" y="138"/>
                  </a:lnTo>
                  <a:lnTo>
                    <a:pt x="202" y="140"/>
                  </a:lnTo>
                  <a:lnTo>
                    <a:pt x="204" y="140"/>
                  </a:lnTo>
                  <a:lnTo>
                    <a:pt x="206" y="140"/>
                  </a:lnTo>
                  <a:lnTo>
                    <a:pt x="206" y="138"/>
                  </a:lnTo>
                  <a:lnTo>
                    <a:pt x="204" y="138"/>
                  </a:lnTo>
                  <a:lnTo>
                    <a:pt x="202" y="138"/>
                  </a:lnTo>
                  <a:close/>
                  <a:moveTo>
                    <a:pt x="208" y="140"/>
                  </a:moveTo>
                  <a:lnTo>
                    <a:pt x="208" y="140"/>
                  </a:lnTo>
                  <a:lnTo>
                    <a:pt x="210" y="140"/>
                  </a:lnTo>
                  <a:lnTo>
                    <a:pt x="208" y="140"/>
                  </a:lnTo>
                  <a:close/>
                  <a:moveTo>
                    <a:pt x="192" y="128"/>
                  </a:moveTo>
                  <a:lnTo>
                    <a:pt x="192" y="128"/>
                  </a:lnTo>
                  <a:lnTo>
                    <a:pt x="192" y="130"/>
                  </a:lnTo>
                  <a:lnTo>
                    <a:pt x="194" y="130"/>
                  </a:lnTo>
                  <a:lnTo>
                    <a:pt x="194" y="128"/>
                  </a:lnTo>
                  <a:lnTo>
                    <a:pt x="192" y="128"/>
                  </a:lnTo>
                  <a:close/>
                  <a:moveTo>
                    <a:pt x="214" y="140"/>
                  </a:moveTo>
                  <a:lnTo>
                    <a:pt x="214" y="140"/>
                  </a:lnTo>
                  <a:close/>
                  <a:moveTo>
                    <a:pt x="218" y="136"/>
                  </a:moveTo>
                  <a:lnTo>
                    <a:pt x="216" y="136"/>
                  </a:lnTo>
                  <a:lnTo>
                    <a:pt x="216" y="138"/>
                  </a:lnTo>
                  <a:lnTo>
                    <a:pt x="218" y="138"/>
                  </a:lnTo>
                  <a:lnTo>
                    <a:pt x="220" y="138"/>
                  </a:lnTo>
                  <a:lnTo>
                    <a:pt x="220" y="136"/>
                  </a:lnTo>
                  <a:lnTo>
                    <a:pt x="218" y="136"/>
                  </a:lnTo>
                  <a:close/>
                  <a:moveTo>
                    <a:pt x="98" y="326"/>
                  </a:moveTo>
                  <a:lnTo>
                    <a:pt x="96" y="324"/>
                  </a:lnTo>
                  <a:lnTo>
                    <a:pt x="94" y="326"/>
                  </a:lnTo>
                  <a:lnTo>
                    <a:pt x="96" y="328"/>
                  </a:lnTo>
                  <a:lnTo>
                    <a:pt x="94" y="330"/>
                  </a:lnTo>
                  <a:lnTo>
                    <a:pt x="96" y="332"/>
                  </a:lnTo>
                  <a:lnTo>
                    <a:pt x="98" y="334"/>
                  </a:lnTo>
                  <a:lnTo>
                    <a:pt x="96" y="338"/>
                  </a:lnTo>
                  <a:lnTo>
                    <a:pt x="98" y="338"/>
                  </a:lnTo>
                  <a:lnTo>
                    <a:pt x="98" y="336"/>
                  </a:lnTo>
                  <a:lnTo>
                    <a:pt x="98" y="334"/>
                  </a:lnTo>
                  <a:lnTo>
                    <a:pt x="100" y="334"/>
                  </a:lnTo>
                  <a:lnTo>
                    <a:pt x="100" y="336"/>
                  </a:lnTo>
                  <a:lnTo>
                    <a:pt x="100" y="338"/>
                  </a:lnTo>
                  <a:lnTo>
                    <a:pt x="102" y="336"/>
                  </a:lnTo>
                  <a:lnTo>
                    <a:pt x="102" y="338"/>
                  </a:lnTo>
                  <a:lnTo>
                    <a:pt x="104" y="338"/>
                  </a:lnTo>
                  <a:lnTo>
                    <a:pt x="106" y="338"/>
                  </a:lnTo>
                  <a:lnTo>
                    <a:pt x="104" y="336"/>
                  </a:lnTo>
                  <a:lnTo>
                    <a:pt x="104" y="334"/>
                  </a:lnTo>
                  <a:lnTo>
                    <a:pt x="104" y="332"/>
                  </a:lnTo>
                  <a:lnTo>
                    <a:pt x="104" y="330"/>
                  </a:lnTo>
                  <a:lnTo>
                    <a:pt x="102" y="328"/>
                  </a:lnTo>
                  <a:lnTo>
                    <a:pt x="98" y="330"/>
                  </a:lnTo>
                  <a:lnTo>
                    <a:pt x="98" y="328"/>
                  </a:lnTo>
                  <a:lnTo>
                    <a:pt x="98" y="326"/>
                  </a:lnTo>
                  <a:close/>
                  <a:moveTo>
                    <a:pt x="96" y="338"/>
                  </a:moveTo>
                  <a:lnTo>
                    <a:pt x="96" y="338"/>
                  </a:lnTo>
                  <a:close/>
                  <a:moveTo>
                    <a:pt x="80" y="286"/>
                  </a:moveTo>
                  <a:lnTo>
                    <a:pt x="80" y="284"/>
                  </a:lnTo>
                  <a:lnTo>
                    <a:pt x="78" y="284"/>
                  </a:lnTo>
                  <a:lnTo>
                    <a:pt x="76" y="284"/>
                  </a:lnTo>
                  <a:lnTo>
                    <a:pt x="76" y="286"/>
                  </a:lnTo>
                  <a:lnTo>
                    <a:pt x="74" y="286"/>
                  </a:lnTo>
                  <a:lnTo>
                    <a:pt x="72" y="286"/>
                  </a:lnTo>
                  <a:lnTo>
                    <a:pt x="70" y="288"/>
                  </a:lnTo>
                  <a:lnTo>
                    <a:pt x="68" y="288"/>
                  </a:lnTo>
                  <a:lnTo>
                    <a:pt x="66" y="290"/>
                  </a:lnTo>
                  <a:lnTo>
                    <a:pt x="66" y="292"/>
                  </a:lnTo>
                  <a:lnTo>
                    <a:pt x="68" y="294"/>
                  </a:lnTo>
                  <a:lnTo>
                    <a:pt x="70" y="292"/>
                  </a:lnTo>
                  <a:lnTo>
                    <a:pt x="72" y="292"/>
                  </a:lnTo>
                  <a:lnTo>
                    <a:pt x="70" y="296"/>
                  </a:lnTo>
                  <a:lnTo>
                    <a:pt x="72" y="296"/>
                  </a:lnTo>
                  <a:lnTo>
                    <a:pt x="74" y="296"/>
                  </a:lnTo>
                  <a:lnTo>
                    <a:pt x="74" y="298"/>
                  </a:lnTo>
                  <a:lnTo>
                    <a:pt x="72" y="300"/>
                  </a:lnTo>
                  <a:lnTo>
                    <a:pt x="72" y="302"/>
                  </a:lnTo>
                  <a:lnTo>
                    <a:pt x="74" y="300"/>
                  </a:lnTo>
                  <a:lnTo>
                    <a:pt x="76" y="300"/>
                  </a:lnTo>
                  <a:lnTo>
                    <a:pt x="82" y="298"/>
                  </a:lnTo>
                  <a:lnTo>
                    <a:pt x="82" y="296"/>
                  </a:lnTo>
                  <a:lnTo>
                    <a:pt x="82" y="294"/>
                  </a:lnTo>
                  <a:lnTo>
                    <a:pt x="84" y="292"/>
                  </a:lnTo>
                  <a:lnTo>
                    <a:pt x="84" y="290"/>
                  </a:lnTo>
                  <a:lnTo>
                    <a:pt x="82" y="290"/>
                  </a:lnTo>
                  <a:lnTo>
                    <a:pt x="80" y="288"/>
                  </a:lnTo>
                  <a:lnTo>
                    <a:pt x="80" y="286"/>
                  </a:lnTo>
                  <a:close/>
                  <a:moveTo>
                    <a:pt x="166" y="170"/>
                  </a:moveTo>
                  <a:lnTo>
                    <a:pt x="166" y="170"/>
                  </a:lnTo>
                  <a:lnTo>
                    <a:pt x="166" y="164"/>
                  </a:lnTo>
                  <a:lnTo>
                    <a:pt x="164" y="164"/>
                  </a:lnTo>
                  <a:lnTo>
                    <a:pt x="164" y="168"/>
                  </a:lnTo>
                  <a:lnTo>
                    <a:pt x="164" y="170"/>
                  </a:lnTo>
                  <a:lnTo>
                    <a:pt x="166" y="170"/>
                  </a:lnTo>
                  <a:close/>
                  <a:moveTo>
                    <a:pt x="222" y="98"/>
                  </a:moveTo>
                  <a:lnTo>
                    <a:pt x="222" y="98"/>
                  </a:lnTo>
                  <a:lnTo>
                    <a:pt x="220" y="98"/>
                  </a:lnTo>
                  <a:lnTo>
                    <a:pt x="222" y="98"/>
                  </a:lnTo>
                  <a:close/>
                  <a:moveTo>
                    <a:pt x="226" y="86"/>
                  </a:moveTo>
                  <a:lnTo>
                    <a:pt x="226" y="88"/>
                  </a:lnTo>
                  <a:lnTo>
                    <a:pt x="228" y="88"/>
                  </a:lnTo>
                  <a:lnTo>
                    <a:pt x="228" y="86"/>
                  </a:lnTo>
                  <a:lnTo>
                    <a:pt x="226" y="86"/>
                  </a:lnTo>
                  <a:close/>
                  <a:moveTo>
                    <a:pt x="212" y="82"/>
                  </a:moveTo>
                  <a:lnTo>
                    <a:pt x="212" y="82"/>
                  </a:lnTo>
                  <a:lnTo>
                    <a:pt x="214" y="82"/>
                  </a:lnTo>
                  <a:lnTo>
                    <a:pt x="214" y="80"/>
                  </a:lnTo>
                  <a:lnTo>
                    <a:pt x="208" y="80"/>
                  </a:lnTo>
                  <a:lnTo>
                    <a:pt x="208" y="82"/>
                  </a:lnTo>
                  <a:lnTo>
                    <a:pt x="212" y="82"/>
                  </a:lnTo>
                  <a:close/>
                  <a:moveTo>
                    <a:pt x="230" y="264"/>
                  </a:moveTo>
                  <a:lnTo>
                    <a:pt x="228" y="264"/>
                  </a:lnTo>
                  <a:lnTo>
                    <a:pt x="228" y="266"/>
                  </a:lnTo>
                  <a:lnTo>
                    <a:pt x="230" y="266"/>
                  </a:lnTo>
                  <a:lnTo>
                    <a:pt x="230" y="264"/>
                  </a:lnTo>
                  <a:close/>
                </a:path>
              </a:pathLst>
            </a:custGeom>
            <a:gradFill flip="none" rotWithShape="1">
              <a:gsLst>
                <a:gs pos="50000">
                  <a:schemeClr val="bg1">
                    <a:lumMod val="95000"/>
                  </a:schemeClr>
                </a:gs>
                <a:gs pos="68000">
                  <a:schemeClr val="tx1">
                    <a:lumMod val="50000"/>
                    <a:lumOff val="50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  <a:gs pos="38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defTabSz="457200"/>
              <a:endParaRPr lang="en-US" u="sng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40" name="Ellipse 45"/>
            <p:cNvSpPr>
              <a:spLocks noChangeArrowheads="1"/>
            </p:cNvSpPr>
            <p:nvPr/>
          </p:nvSpPr>
          <p:spPr bwMode="auto">
            <a:xfrm rot="21374326" flipH="1">
              <a:off x="5769184" y="3238311"/>
              <a:ext cx="2742413" cy="2244215"/>
            </a:xfrm>
            <a:prstGeom prst="ellipse">
              <a:avLst/>
            </a:prstGeom>
            <a:gradFill rotWithShape="1">
              <a:gsLst>
                <a:gs pos="0">
                  <a:srgbClr val="FFFCF9">
                    <a:alpha val="76999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5400000"/>
            </a:gradFill>
            <a:ln w="9525">
              <a:noFill/>
              <a:round/>
              <a:headEnd/>
              <a:tailEnd/>
            </a:ln>
            <a:effectLst>
              <a:softEdge rad="50800"/>
            </a:effectLst>
          </p:spPr>
          <p:txBody>
            <a:bodyPr anchor="ctr"/>
            <a:lstStyle/>
            <a:p>
              <a:pPr algn="ctr" defTabSz="457200"/>
              <a:endParaRPr lang="en-US" u="sng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grpSp>
        <p:nvGrpSpPr>
          <p:cNvPr id="8206" name="Group 40"/>
          <p:cNvGrpSpPr>
            <a:grpSpLocks/>
          </p:cNvGrpSpPr>
          <p:nvPr/>
        </p:nvGrpSpPr>
        <p:grpSpPr bwMode="auto">
          <a:xfrm>
            <a:off x="1646238" y="2143125"/>
            <a:ext cx="665162" cy="723900"/>
            <a:chOff x="5475288" y="3217862"/>
            <a:chExt cx="3349625" cy="3640138"/>
          </a:xfrm>
        </p:grpSpPr>
        <p:sp>
          <p:nvSpPr>
            <p:cNvPr id="42" name="Ellipse 98"/>
            <p:cNvSpPr/>
            <p:nvPr/>
          </p:nvSpPr>
          <p:spPr bwMode="auto">
            <a:xfrm>
              <a:off x="5708334" y="6339588"/>
              <a:ext cx="2963669" cy="518412"/>
            </a:xfrm>
            <a:prstGeom prst="ellipse">
              <a:avLst/>
            </a:prstGeom>
            <a:gradFill flip="none" rotWithShape="1">
              <a:gsLst>
                <a:gs pos="100000">
                  <a:srgbClr val="FFFFFF">
                    <a:alpha val="0"/>
                  </a:srgbClr>
                </a:gs>
                <a:gs pos="0">
                  <a:srgbClr val="E6E6E6">
                    <a:lumMod val="10000"/>
                    <a:alpha val="76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457200"/>
              <a:endParaRPr lang="en-US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43" name="Oval 42"/>
            <p:cNvSpPr>
              <a:spLocks noChangeArrowheads="1"/>
            </p:cNvSpPr>
            <p:nvPr/>
          </p:nvSpPr>
          <p:spPr bwMode="auto">
            <a:xfrm>
              <a:off x="5475288" y="3217862"/>
              <a:ext cx="3349625" cy="335147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56000">
                  <a:srgbClr val="1F88C8"/>
                </a:gs>
                <a:gs pos="14000">
                  <a:schemeClr val="accent1">
                    <a:lumMod val="60000"/>
                    <a:lumOff val="4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solidFill>
                <a:srgbClr val="1F88C8"/>
              </a:solidFill>
              <a:round/>
              <a:headEnd/>
              <a:tailEnd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defTabSz="457200"/>
              <a:endParaRPr lang="en-US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44" name="Freeform 10"/>
            <p:cNvSpPr>
              <a:spLocks noEditPoints="1"/>
            </p:cNvSpPr>
            <p:nvPr/>
          </p:nvSpPr>
          <p:spPr bwMode="auto">
            <a:xfrm>
              <a:off x="5475288" y="3217862"/>
              <a:ext cx="3349625" cy="3306383"/>
            </a:xfrm>
            <a:custGeom>
              <a:avLst/>
              <a:gdLst>
                <a:gd name="T0" fmla="*/ 2147483647 w 446"/>
                <a:gd name="T1" fmla="*/ 2147483647 h 440"/>
                <a:gd name="T2" fmla="*/ 2147483647 w 446"/>
                <a:gd name="T3" fmla="*/ 2147483647 h 440"/>
                <a:gd name="T4" fmla="*/ 2147483647 w 446"/>
                <a:gd name="T5" fmla="*/ 2147483647 h 440"/>
                <a:gd name="T6" fmla="*/ 2147483647 w 446"/>
                <a:gd name="T7" fmla="*/ 2147483647 h 440"/>
                <a:gd name="T8" fmla="*/ 2147483647 w 446"/>
                <a:gd name="T9" fmla="*/ 2147483647 h 440"/>
                <a:gd name="T10" fmla="*/ 2147483647 w 446"/>
                <a:gd name="T11" fmla="*/ 2147483647 h 440"/>
                <a:gd name="T12" fmla="*/ 2147483647 w 446"/>
                <a:gd name="T13" fmla="*/ 2147483647 h 440"/>
                <a:gd name="T14" fmla="*/ 2147483647 w 446"/>
                <a:gd name="T15" fmla="*/ 2147483647 h 440"/>
                <a:gd name="T16" fmla="*/ 2147483647 w 446"/>
                <a:gd name="T17" fmla="*/ 2147483647 h 440"/>
                <a:gd name="T18" fmla="*/ 2147483647 w 446"/>
                <a:gd name="T19" fmla="*/ 2147483647 h 440"/>
                <a:gd name="T20" fmla="*/ 2147483647 w 446"/>
                <a:gd name="T21" fmla="*/ 2147483647 h 440"/>
                <a:gd name="T22" fmla="*/ 2147483647 w 446"/>
                <a:gd name="T23" fmla="*/ 2147483647 h 440"/>
                <a:gd name="T24" fmla="*/ 2147483647 w 446"/>
                <a:gd name="T25" fmla="*/ 2147483647 h 440"/>
                <a:gd name="T26" fmla="*/ 2147483647 w 446"/>
                <a:gd name="T27" fmla="*/ 2147483647 h 440"/>
                <a:gd name="T28" fmla="*/ 2147483647 w 446"/>
                <a:gd name="T29" fmla="*/ 2147483647 h 440"/>
                <a:gd name="T30" fmla="*/ 2147483647 w 446"/>
                <a:gd name="T31" fmla="*/ 2147483647 h 440"/>
                <a:gd name="T32" fmla="*/ 2147483647 w 446"/>
                <a:gd name="T33" fmla="*/ 2147483647 h 440"/>
                <a:gd name="T34" fmla="*/ 2147483647 w 446"/>
                <a:gd name="T35" fmla="*/ 2147483647 h 440"/>
                <a:gd name="T36" fmla="*/ 2147483647 w 446"/>
                <a:gd name="T37" fmla="*/ 2147483647 h 440"/>
                <a:gd name="T38" fmla="*/ 2147483647 w 446"/>
                <a:gd name="T39" fmla="*/ 2147483647 h 440"/>
                <a:gd name="T40" fmla="*/ 2147483647 w 446"/>
                <a:gd name="T41" fmla="*/ 2147483647 h 440"/>
                <a:gd name="T42" fmla="*/ 2147483647 w 446"/>
                <a:gd name="T43" fmla="*/ 2147483647 h 440"/>
                <a:gd name="T44" fmla="*/ 2147483647 w 446"/>
                <a:gd name="T45" fmla="*/ 2147483647 h 440"/>
                <a:gd name="T46" fmla="*/ 2147483647 w 446"/>
                <a:gd name="T47" fmla="*/ 2147483647 h 440"/>
                <a:gd name="T48" fmla="*/ 2147483647 w 446"/>
                <a:gd name="T49" fmla="*/ 2147483647 h 440"/>
                <a:gd name="T50" fmla="*/ 2147483647 w 446"/>
                <a:gd name="T51" fmla="*/ 2147483647 h 440"/>
                <a:gd name="T52" fmla="*/ 2147483647 w 446"/>
                <a:gd name="T53" fmla="*/ 2147483647 h 440"/>
                <a:gd name="T54" fmla="*/ 2147483647 w 446"/>
                <a:gd name="T55" fmla="*/ 2147483647 h 440"/>
                <a:gd name="T56" fmla="*/ 2147483647 w 446"/>
                <a:gd name="T57" fmla="*/ 2147483647 h 440"/>
                <a:gd name="T58" fmla="*/ 2147483647 w 446"/>
                <a:gd name="T59" fmla="*/ 2147483647 h 440"/>
                <a:gd name="T60" fmla="*/ 2147483647 w 446"/>
                <a:gd name="T61" fmla="*/ 2147483647 h 440"/>
                <a:gd name="T62" fmla="*/ 2147483647 w 446"/>
                <a:gd name="T63" fmla="*/ 2147483647 h 440"/>
                <a:gd name="T64" fmla="*/ 2147483647 w 446"/>
                <a:gd name="T65" fmla="*/ 2147483647 h 440"/>
                <a:gd name="T66" fmla="*/ 2147483647 w 446"/>
                <a:gd name="T67" fmla="*/ 2147483647 h 440"/>
                <a:gd name="T68" fmla="*/ 2147483647 w 446"/>
                <a:gd name="T69" fmla="*/ 0 h 440"/>
                <a:gd name="T70" fmla="*/ 2147483647 w 446"/>
                <a:gd name="T71" fmla="*/ 2147483647 h 440"/>
                <a:gd name="T72" fmla="*/ 2147483647 w 446"/>
                <a:gd name="T73" fmla="*/ 2147483647 h 440"/>
                <a:gd name="T74" fmla="*/ 2147483647 w 446"/>
                <a:gd name="T75" fmla="*/ 2147483647 h 440"/>
                <a:gd name="T76" fmla="*/ 2147483647 w 446"/>
                <a:gd name="T77" fmla="*/ 2147483647 h 440"/>
                <a:gd name="T78" fmla="*/ 2147483647 w 446"/>
                <a:gd name="T79" fmla="*/ 2147483647 h 440"/>
                <a:gd name="T80" fmla="*/ 2147483647 w 446"/>
                <a:gd name="T81" fmla="*/ 2147483647 h 440"/>
                <a:gd name="T82" fmla="*/ 2147483647 w 446"/>
                <a:gd name="T83" fmla="*/ 2147483647 h 440"/>
                <a:gd name="T84" fmla="*/ 2147483647 w 446"/>
                <a:gd name="T85" fmla="*/ 2147483647 h 440"/>
                <a:gd name="T86" fmla="*/ 2147483647 w 446"/>
                <a:gd name="T87" fmla="*/ 2147483647 h 440"/>
                <a:gd name="T88" fmla="*/ 2147483647 w 446"/>
                <a:gd name="T89" fmla="*/ 2147483647 h 440"/>
                <a:gd name="T90" fmla="*/ 2147483647 w 446"/>
                <a:gd name="T91" fmla="*/ 2147483647 h 440"/>
                <a:gd name="T92" fmla="*/ 2147483647 w 446"/>
                <a:gd name="T93" fmla="*/ 2147483647 h 440"/>
                <a:gd name="T94" fmla="*/ 2147483647 w 446"/>
                <a:gd name="T95" fmla="*/ 2147483647 h 440"/>
                <a:gd name="T96" fmla="*/ 2147483647 w 446"/>
                <a:gd name="T97" fmla="*/ 2147483647 h 440"/>
                <a:gd name="T98" fmla="*/ 2147483647 w 446"/>
                <a:gd name="T99" fmla="*/ 2147483647 h 440"/>
                <a:gd name="T100" fmla="*/ 2147483647 w 446"/>
                <a:gd name="T101" fmla="*/ 2147483647 h 440"/>
                <a:gd name="T102" fmla="*/ 2147483647 w 446"/>
                <a:gd name="T103" fmla="*/ 2147483647 h 440"/>
                <a:gd name="T104" fmla="*/ 2147483647 w 446"/>
                <a:gd name="T105" fmla="*/ 2147483647 h 440"/>
                <a:gd name="T106" fmla="*/ 2147483647 w 446"/>
                <a:gd name="T107" fmla="*/ 2147483647 h 440"/>
                <a:gd name="T108" fmla="*/ 2147483647 w 446"/>
                <a:gd name="T109" fmla="*/ 2147483647 h 440"/>
                <a:gd name="T110" fmla="*/ 2147483647 w 446"/>
                <a:gd name="T111" fmla="*/ 2147483647 h 440"/>
                <a:gd name="T112" fmla="*/ 2147483647 w 446"/>
                <a:gd name="T113" fmla="*/ 2147483647 h 440"/>
                <a:gd name="T114" fmla="*/ 2147483647 w 446"/>
                <a:gd name="T115" fmla="*/ 2147483647 h 440"/>
                <a:gd name="T116" fmla="*/ 2147483647 w 446"/>
                <a:gd name="T117" fmla="*/ 2147483647 h 440"/>
                <a:gd name="T118" fmla="*/ 2147483647 w 446"/>
                <a:gd name="T119" fmla="*/ 2147483647 h 440"/>
                <a:gd name="T120" fmla="*/ 2147483647 w 446"/>
                <a:gd name="T121" fmla="*/ 2147483647 h 440"/>
                <a:gd name="T122" fmla="*/ 2147483647 w 446"/>
                <a:gd name="T123" fmla="*/ 2147483647 h 440"/>
                <a:gd name="T124" fmla="*/ 2147483647 w 446"/>
                <a:gd name="T125" fmla="*/ 2147483647 h 4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46"/>
                <a:gd name="T190" fmla="*/ 0 h 440"/>
                <a:gd name="T191" fmla="*/ 446 w 446"/>
                <a:gd name="T192" fmla="*/ 440 h 4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46" h="440">
                  <a:moveTo>
                    <a:pt x="222" y="258"/>
                  </a:moveTo>
                  <a:lnTo>
                    <a:pt x="222" y="258"/>
                  </a:lnTo>
                  <a:lnTo>
                    <a:pt x="220" y="258"/>
                  </a:lnTo>
                  <a:lnTo>
                    <a:pt x="220" y="256"/>
                  </a:lnTo>
                  <a:lnTo>
                    <a:pt x="218" y="256"/>
                  </a:lnTo>
                  <a:lnTo>
                    <a:pt x="218" y="258"/>
                  </a:lnTo>
                  <a:lnTo>
                    <a:pt x="220" y="258"/>
                  </a:lnTo>
                  <a:lnTo>
                    <a:pt x="222" y="258"/>
                  </a:lnTo>
                  <a:close/>
                  <a:moveTo>
                    <a:pt x="260" y="60"/>
                  </a:moveTo>
                  <a:lnTo>
                    <a:pt x="262" y="60"/>
                  </a:lnTo>
                  <a:lnTo>
                    <a:pt x="262" y="58"/>
                  </a:lnTo>
                  <a:lnTo>
                    <a:pt x="258" y="58"/>
                  </a:lnTo>
                  <a:lnTo>
                    <a:pt x="260" y="60"/>
                  </a:lnTo>
                  <a:close/>
                  <a:moveTo>
                    <a:pt x="218" y="252"/>
                  </a:moveTo>
                  <a:lnTo>
                    <a:pt x="218" y="250"/>
                  </a:lnTo>
                  <a:lnTo>
                    <a:pt x="216" y="250"/>
                  </a:lnTo>
                  <a:lnTo>
                    <a:pt x="216" y="252"/>
                  </a:lnTo>
                  <a:lnTo>
                    <a:pt x="214" y="250"/>
                  </a:lnTo>
                  <a:lnTo>
                    <a:pt x="212" y="250"/>
                  </a:lnTo>
                  <a:lnTo>
                    <a:pt x="212" y="252"/>
                  </a:lnTo>
                  <a:lnTo>
                    <a:pt x="214" y="252"/>
                  </a:lnTo>
                  <a:lnTo>
                    <a:pt x="216" y="252"/>
                  </a:lnTo>
                  <a:lnTo>
                    <a:pt x="218" y="252"/>
                  </a:lnTo>
                  <a:close/>
                  <a:moveTo>
                    <a:pt x="146" y="162"/>
                  </a:moveTo>
                  <a:lnTo>
                    <a:pt x="144" y="162"/>
                  </a:lnTo>
                  <a:lnTo>
                    <a:pt x="146" y="164"/>
                  </a:lnTo>
                  <a:lnTo>
                    <a:pt x="146" y="166"/>
                  </a:lnTo>
                  <a:lnTo>
                    <a:pt x="146" y="168"/>
                  </a:lnTo>
                  <a:lnTo>
                    <a:pt x="146" y="170"/>
                  </a:lnTo>
                  <a:lnTo>
                    <a:pt x="146" y="172"/>
                  </a:lnTo>
                  <a:lnTo>
                    <a:pt x="150" y="172"/>
                  </a:lnTo>
                  <a:lnTo>
                    <a:pt x="148" y="170"/>
                  </a:lnTo>
                  <a:lnTo>
                    <a:pt x="148" y="168"/>
                  </a:lnTo>
                  <a:lnTo>
                    <a:pt x="148" y="166"/>
                  </a:lnTo>
                  <a:lnTo>
                    <a:pt x="150" y="164"/>
                  </a:lnTo>
                  <a:lnTo>
                    <a:pt x="150" y="162"/>
                  </a:lnTo>
                  <a:lnTo>
                    <a:pt x="152" y="160"/>
                  </a:lnTo>
                  <a:lnTo>
                    <a:pt x="154" y="158"/>
                  </a:lnTo>
                  <a:lnTo>
                    <a:pt x="156" y="160"/>
                  </a:lnTo>
                  <a:lnTo>
                    <a:pt x="156" y="162"/>
                  </a:lnTo>
                  <a:lnTo>
                    <a:pt x="156" y="164"/>
                  </a:lnTo>
                  <a:lnTo>
                    <a:pt x="156" y="160"/>
                  </a:lnTo>
                  <a:lnTo>
                    <a:pt x="156" y="156"/>
                  </a:lnTo>
                  <a:lnTo>
                    <a:pt x="154" y="150"/>
                  </a:lnTo>
                  <a:lnTo>
                    <a:pt x="154" y="146"/>
                  </a:lnTo>
                  <a:lnTo>
                    <a:pt x="156" y="148"/>
                  </a:lnTo>
                  <a:lnTo>
                    <a:pt x="156" y="144"/>
                  </a:lnTo>
                  <a:lnTo>
                    <a:pt x="152" y="142"/>
                  </a:lnTo>
                  <a:lnTo>
                    <a:pt x="150" y="140"/>
                  </a:lnTo>
                  <a:lnTo>
                    <a:pt x="146" y="140"/>
                  </a:lnTo>
                  <a:lnTo>
                    <a:pt x="148" y="144"/>
                  </a:lnTo>
                  <a:lnTo>
                    <a:pt x="148" y="148"/>
                  </a:lnTo>
                  <a:lnTo>
                    <a:pt x="150" y="150"/>
                  </a:lnTo>
                  <a:lnTo>
                    <a:pt x="148" y="156"/>
                  </a:lnTo>
                  <a:lnTo>
                    <a:pt x="146" y="162"/>
                  </a:lnTo>
                  <a:close/>
                  <a:moveTo>
                    <a:pt x="158" y="166"/>
                  </a:moveTo>
                  <a:lnTo>
                    <a:pt x="156" y="170"/>
                  </a:lnTo>
                  <a:lnTo>
                    <a:pt x="154" y="172"/>
                  </a:lnTo>
                  <a:lnTo>
                    <a:pt x="152" y="174"/>
                  </a:lnTo>
                  <a:lnTo>
                    <a:pt x="148" y="174"/>
                  </a:lnTo>
                  <a:lnTo>
                    <a:pt x="150" y="178"/>
                  </a:lnTo>
                  <a:lnTo>
                    <a:pt x="152" y="178"/>
                  </a:lnTo>
                  <a:lnTo>
                    <a:pt x="154" y="178"/>
                  </a:lnTo>
                  <a:lnTo>
                    <a:pt x="156" y="178"/>
                  </a:lnTo>
                  <a:lnTo>
                    <a:pt x="156" y="180"/>
                  </a:lnTo>
                  <a:lnTo>
                    <a:pt x="160" y="178"/>
                  </a:lnTo>
                  <a:lnTo>
                    <a:pt x="164" y="178"/>
                  </a:lnTo>
                  <a:lnTo>
                    <a:pt x="164" y="176"/>
                  </a:lnTo>
                  <a:lnTo>
                    <a:pt x="166" y="174"/>
                  </a:lnTo>
                  <a:lnTo>
                    <a:pt x="164" y="170"/>
                  </a:lnTo>
                  <a:lnTo>
                    <a:pt x="162" y="174"/>
                  </a:lnTo>
                  <a:lnTo>
                    <a:pt x="160" y="170"/>
                  </a:lnTo>
                  <a:lnTo>
                    <a:pt x="160" y="168"/>
                  </a:lnTo>
                  <a:lnTo>
                    <a:pt x="158" y="166"/>
                  </a:lnTo>
                  <a:close/>
                  <a:moveTo>
                    <a:pt x="124" y="198"/>
                  </a:moveTo>
                  <a:lnTo>
                    <a:pt x="122" y="198"/>
                  </a:lnTo>
                  <a:lnTo>
                    <a:pt x="120" y="196"/>
                  </a:lnTo>
                  <a:lnTo>
                    <a:pt x="114" y="200"/>
                  </a:lnTo>
                  <a:lnTo>
                    <a:pt x="108" y="202"/>
                  </a:lnTo>
                  <a:lnTo>
                    <a:pt x="106" y="200"/>
                  </a:lnTo>
                  <a:lnTo>
                    <a:pt x="104" y="202"/>
                  </a:lnTo>
                  <a:lnTo>
                    <a:pt x="100" y="202"/>
                  </a:lnTo>
                  <a:lnTo>
                    <a:pt x="106" y="204"/>
                  </a:lnTo>
                  <a:lnTo>
                    <a:pt x="108" y="208"/>
                  </a:lnTo>
                  <a:lnTo>
                    <a:pt x="104" y="214"/>
                  </a:lnTo>
                  <a:lnTo>
                    <a:pt x="106" y="218"/>
                  </a:lnTo>
                  <a:lnTo>
                    <a:pt x="112" y="212"/>
                  </a:lnTo>
                  <a:lnTo>
                    <a:pt x="116" y="208"/>
                  </a:lnTo>
                  <a:lnTo>
                    <a:pt x="124" y="208"/>
                  </a:lnTo>
                  <a:lnTo>
                    <a:pt x="126" y="204"/>
                  </a:lnTo>
                  <a:lnTo>
                    <a:pt x="130" y="208"/>
                  </a:lnTo>
                  <a:lnTo>
                    <a:pt x="136" y="208"/>
                  </a:lnTo>
                  <a:lnTo>
                    <a:pt x="138" y="204"/>
                  </a:lnTo>
                  <a:lnTo>
                    <a:pt x="142" y="202"/>
                  </a:lnTo>
                  <a:lnTo>
                    <a:pt x="140" y="200"/>
                  </a:lnTo>
                  <a:lnTo>
                    <a:pt x="144" y="200"/>
                  </a:lnTo>
                  <a:lnTo>
                    <a:pt x="144" y="198"/>
                  </a:lnTo>
                  <a:lnTo>
                    <a:pt x="146" y="196"/>
                  </a:lnTo>
                  <a:lnTo>
                    <a:pt x="148" y="192"/>
                  </a:lnTo>
                  <a:lnTo>
                    <a:pt x="150" y="188"/>
                  </a:lnTo>
                  <a:lnTo>
                    <a:pt x="150" y="184"/>
                  </a:lnTo>
                  <a:lnTo>
                    <a:pt x="148" y="184"/>
                  </a:lnTo>
                  <a:lnTo>
                    <a:pt x="150" y="182"/>
                  </a:lnTo>
                  <a:lnTo>
                    <a:pt x="148" y="180"/>
                  </a:lnTo>
                  <a:lnTo>
                    <a:pt x="146" y="176"/>
                  </a:lnTo>
                  <a:lnTo>
                    <a:pt x="144" y="176"/>
                  </a:lnTo>
                  <a:lnTo>
                    <a:pt x="144" y="178"/>
                  </a:lnTo>
                  <a:lnTo>
                    <a:pt x="144" y="182"/>
                  </a:lnTo>
                  <a:lnTo>
                    <a:pt x="142" y="186"/>
                  </a:lnTo>
                  <a:lnTo>
                    <a:pt x="138" y="188"/>
                  </a:lnTo>
                  <a:lnTo>
                    <a:pt x="138" y="192"/>
                  </a:lnTo>
                  <a:lnTo>
                    <a:pt x="136" y="192"/>
                  </a:lnTo>
                  <a:lnTo>
                    <a:pt x="132" y="196"/>
                  </a:lnTo>
                  <a:lnTo>
                    <a:pt x="130" y="194"/>
                  </a:lnTo>
                  <a:lnTo>
                    <a:pt x="130" y="198"/>
                  </a:lnTo>
                  <a:lnTo>
                    <a:pt x="130" y="200"/>
                  </a:lnTo>
                  <a:lnTo>
                    <a:pt x="126" y="198"/>
                  </a:lnTo>
                  <a:lnTo>
                    <a:pt x="124" y="198"/>
                  </a:lnTo>
                  <a:close/>
                  <a:moveTo>
                    <a:pt x="262" y="10"/>
                  </a:moveTo>
                  <a:lnTo>
                    <a:pt x="264" y="10"/>
                  </a:lnTo>
                  <a:lnTo>
                    <a:pt x="264" y="8"/>
                  </a:lnTo>
                  <a:lnTo>
                    <a:pt x="262" y="8"/>
                  </a:lnTo>
                  <a:lnTo>
                    <a:pt x="260" y="8"/>
                  </a:lnTo>
                  <a:lnTo>
                    <a:pt x="260" y="10"/>
                  </a:lnTo>
                  <a:lnTo>
                    <a:pt x="262" y="10"/>
                  </a:lnTo>
                  <a:close/>
                  <a:moveTo>
                    <a:pt x="234" y="262"/>
                  </a:moveTo>
                  <a:lnTo>
                    <a:pt x="234" y="262"/>
                  </a:lnTo>
                  <a:lnTo>
                    <a:pt x="234" y="260"/>
                  </a:lnTo>
                  <a:lnTo>
                    <a:pt x="232" y="260"/>
                  </a:lnTo>
                  <a:lnTo>
                    <a:pt x="230" y="260"/>
                  </a:lnTo>
                  <a:lnTo>
                    <a:pt x="228" y="260"/>
                  </a:lnTo>
                  <a:lnTo>
                    <a:pt x="226" y="260"/>
                  </a:lnTo>
                  <a:lnTo>
                    <a:pt x="226" y="262"/>
                  </a:lnTo>
                  <a:lnTo>
                    <a:pt x="228" y="262"/>
                  </a:lnTo>
                  <a:lnTo>
                    <a:pt x="230" y="262"/>
                  </a:lnTo>
                  <a:lnTo>
                    <a:pt x="232" y="264"/>
                  </a:lnTo>
                  <a:lnTo>
                    <a:pt x="234" y="264"/>
                  </a:lnTo>
                  <a:lnTo>
                    <a:pt x="234" y="262"/>
                  </a:lnTo>
                  <a:close/>
                  <a:moveTo>
                    <a:pt x="244" y="274"/>
                  </a:moveTo>
                  <a:lnTo>
                    <a:pt x="244" y="272"/>
                  </a:lnTo>
                  <a:lnTo>
                    <a:pt x="242" y="272"/>
                  </a:lnTo>
                  <a:lnTo>
                    <a:pt x="242" y="270"/>
                  </a:lnTo>
                  <a:lnTo>
                    <a:pt x="240" y="268"/>
                  </a:lnTo>
                  <a:lnTo>
                    <a:pt x="240" y="266"/>
                  </a:lnTo>
                  <a:lnTo>
                    <a:pt x="238" y="266"/>
                  </a:lnTo>
                  <a:lnTo>
                    <a:pt x="236" y="266"/>
                  </a:lnTo>
                  <a:lnTo>
                    <a:pt x="236" y="264"/>
                  </a:lnTo>
                  <a:lnTo>
                    <a:pt x="234" y="264"/>
                  </a:lnTo>
                  <a:lnTo>
                    <a:pt x="234" y="266"/>
                  </a:lnTo>
                  <a:lnTo>
                    <a:pt x="234" y="268"/>
                  </a:lnTo>
                  <a:lnTo>
                    <a:pt x="236" y="272"/>
                  </a:lnTo>
                  <a:lnTo>
                    <a:pt x="236" y="278"/>
                  </a:lnTo>
                  <a:lnTo>
                    <a:pt x="238" y="278"/>
                  </a:lnTo>
                  <a:lnTo>
                    <a:pt x="240" y="278"/>
                  </a:lnTo>
                  <a:lnTo>
                    <a:pt x="240" y="276"/>
                  </a:lnTo>
                  <a:lnTo>
                    <a:pt x="242" y="276"/>
                  </a:lnTo>
                  <a:lnTo>
                    <a:pt x="244" y="276"/>
                  </a:lnTo>
                  <a:lnTo>
                    <a:pt x="246" y="276"/>
                  </a:lnTo>
                  <a:lnTo>
                    <a:pt x="246" y="274"/>
                  </a:lnTo>
                  <a:lnTo>
                    <a:pt x="244" y="274"/>
                  </a:lnTo>
                  <a:close/>
                  <a:moveTo>
                    <a:pt x="342" y="70"/>
                  </a:moveTo>
                  <a:lnTo>
                    <a:pt x="344" y="70"/>
                  </a:lnTo>
                  <a:lnTo>
                    <a:pt x="344" y="66"/>
                  </a:lnTo>
                  <a:lnTo>
                    <a:pt x="342" y="66"/>
                  </a:lnTo>
                  <a:lnTo>
                    <a:pt x="338" y="66"/>
                  </a:lnTo>
                  <a:lnTo>
                    <a:pt x="340" y="68"/>
                  </a:lnTo>
                  <a:lnTo>
                    <a:pt x="342" y="70"/>
                  </a:lnTo>
                  <a:close/>
                  <a:moveTo>
                    <a:pt x="222" y="262"/>
                  </a:moveTo>
                  <a:lnTo>
                    <a:pt x="222" y="262"/>
                  </a:lnTo>
                  <a:lnTo>
                    <a:pt x="222" y="264"/>
                  </a:lnTo>
                  <a:lnTo>
                    <a:pt x="224" y="264"/>
                  </a:lnTo>
                  <a:lnTo>
                    <a:pt x="224" y="262"/>
                  </a:lnTo>
                  <a:lnTo>
                    <a:pt x="222" y="262"/>
                  </a:lnTo>
                  <a:close/>
                  <a:moveTo>
                    <a:pt x="434" y="172"/>
                  </a:moveTo>
                  <a:lnTo>
                    <a:pt x="434" y="172"/>
                  </a:lnTo>
                  <a:lnTo>
                    <a:pt x="432" y="174"/>
                  </a:lnTo>
                  <a:lnTo>
                    <a:pt x="430" y="176"/>
                  </a:lnTo>
                  <a:lnTo>
                    <a:pt x="430" y="178"/>
                  </a:lnTo>
                  <a:lnTo>
                    <a:pt x="428" y="180"/>
                  </a:lnTo>
                  <a:lnTo>
                    <a:pt x="430" y="182"/>
                  </a:lnTo>
                  <a:lnTo>
                    <a:pt x="432" y="184"/>
                  </a:lnTo>
                  <a:lnTo>
                    <a:pt x="434" y="182"/>
                  </a:lnTo>
                  <a:lnTo>
                    <a:pt x="434" y="180"/>
                  </a:lnTo>
                  <a:lnTo>
                    <a:pt x="434" y="178"/>
                  </a:lnTo>
                  <a:lnTo>
                    <a:pt x="434" y="176"/>
                  </a:lnTo>
                  <a:lnTo>
                    <a:pt x="436" y="176"/>
                  </a:lnTo>
                  <a:lnTo>
                    <a:pt x="438" y="176"/>
                  </a:lnTo>
                  <a:lnTo>
                    <a:pt x="440" y="176"/>
                  </a:lnTo>
                  <a:lnTo>
                    <a:pt x="438" y="174"/>
                  </a:lnTo>
                  <a:lnTo>
                    <a:pt x="438" y="172"/>
                  </a:lnTo>
                  <a:lnTo>
                    <a:pt x="436" y="172"/>
                  </a:lnTo>
                  <a:lnTo>
                    <a:pt x="434" y="172"/>
                  </a:lnTo>
                  <a:close/>
                  <a:moveTo>
                    <a:pt x="228" y="16"/>
                  </a:moveTo>
                  <a:lnTo>
                    <a:pt x="230" y="16"/>
                  </a:lnTo>
                  <a:lnTo>
                    <a:pt x="230" y="14"/>
                  </a:lnTo>
                  <a:lnTo>
                    <a:pt x="232" y="14"/>
                  </a:lnTo>
                  <a:lnTo>
                    <a:pt x="232" y="16"/>
                  </a:lnTo>
                  <a:lnTo>
                    <a:pt x="234" y="16"/>
                  </a:lnTo>
                  <a:lnTo>
                    <a:pt x="236" y="16"/>
                  </a:lnTo>
                  <a:lnTo>
                    <a:pt x="236" y="14"/>
                  </a:lnTo>
                  <a:lnTo>
                    <a:pt x="236" y="12"/>
                  </a:lnTo>
                  <a:lnTo>
                    <a:pt x="234" y="10"/>
                  </a:lnTo>
                  <a:lnTo>
                    <a:pt x="232" y="8"/>
                  </a:lnTo>
                  <a:lnTo>
                    <a:pt x="230" y="8"/>
                  </a:lnTo>
                  <a:lnTo>
                    <a:pt x="228" y="10"/>
                  </a:lnTo>
                  <a:lnTo>
                    <a:pt x="226" y="8"/>
                  </a:lnTo>
                  <a:lnTo>
                    <a:pt x="226" y="10"/>
                  </a:lnTo>
                  <a:lnTo>
                    <a:pt x="224" y="8"/>
                  </a:lnTo>
                  <a:lnTo>
                    <a:pt x="224" y="12"/>
                  </a:lnTo>
                  <a:lnTo>
                    <a:pt x="222" y="10"/>
                  </a:lnTo>
                  <a:lnTo>
                    <a:pt x="222" y="12"/>
                  </a:lnTo>
                  <a:lnTo>
                    <a:pt x="218" y="12"/>
                  </a:lnTo>
                  <a:lnTo>
                    <a:pt x="218" y="14"/>
                  </a:lnTo>
                  <a:lnTo>
                    <a:pt x="220" y="14"/>
                  </a:lnTo>
                  <a:lnTo>
                    <a:pt x="220" y="16"/>
                  </a:lnTo>
                  <a:lnTo>
                    <a:pt x="222" y="16"/>
                  </a:lnTo>
                  <a:lnTo>
                    <a:pt x="222" y="12"/>
                  </a:lnTo>
                  <a:lnTo>
                    <a:pt x="222" y="16"/>
                  </a:lnTo>
                  <a:lnTo>
                    <a:pt x="224" y="16"/>
                  </a:lnTo>
                  <a:lnTo>
                    <a:pt x="226" y="14"/>
                  </a:lnTo>
                  <a:lnTo>
                    <a:pt x="228" y="14"/>
                  </a:lnTo>
                  <a:lnTo>
                    <a:pt x="228" y="16"/>
                  </a:lnTo>
                  <a:close/>
                  <a:moveTo>
                    <a:pt x="204" y="18"/>
                  </a:moveTo>
                  <a:lnTo>
                    <a:pt x="206" y="18"/>
                  </a:lnTo>
                  <a:lnTo>
                    <a:pt x="208" y="22"/>
                  </a:lnTo>
                  <a:lnTo>
                    <a:pt x="208" y="20"/>
                  </a:lnTo>
                  <a:lnTo>
                    <a:pt x="208" y="16"/>
                  </a:lnTo>
                  <a:lnTo>
                    <a:pt x="212" y="16"/>
                  </a:lnTo>
                  <a:lnTo>
                    <a:pt x="210" y="14"/>
                  </a:lnTo>
                  <a:lnTo>
                    <a:pt x="212" y="14"/>
                  </a:lnTo>
                  <a:lnTo>
                    <a:pt x="210" y="12"/>
                  </a:lnTo>
                  <a:lnTo>
                    <a:pt x="208" y="14"/>
                  </a:lnTo>
                  <a:lnTo>
                    <a:pt x="206" y="14"/>
                  </a:lnTo>
                  <a:lnTo>
                    <a:pt x="206" y="16"/>
                  </a:lnTo>
                  <a:lnTo>
                    <a:pt x="204" y="16"/>
                  </a:lnTo>
                  <a:lnTo>
                    <a:pt x="202" y="16"/>
                  </a:lnTo>
                  <a:lnTo>
                    <a:pt x="200" y="18"/>
                  </a:lnTo>
                  <a:lnTo>
                    <a:pt x="200" y="20"/>
                  </a:lnTo>
                  <a:lnTo>
                    <a:pt x="202" y="20"/>
                  </a:lnTo>
                  <a:lnTo>
                    <a:pt x="204" y="22"/>
                  </a:lnTo>
                  <a:lnTo>
                    <a:pt x="202" y="18"/>
                  </a:lnTo>
                  <a:lnTo>
                    <a:pt x="204" y="18"/>
                  </a:lnTo>
                  <a:close/>
                  <a:moveTo>
                    <a:pt x="444" y="230"/>
                  </a:moveTo>
                  <a:lnTo>
                    <a:pt x="444" y="230"/>
                  </a:lnTo>
                  <a:lnTo>
                    <a:pt x="442" y="230"/>
                  </a:lnTo>
                  <a:lnTo>
                    <a:pt x="442" y="232"/>
                  </a:lnTo>
                  <a:lnTo>
                    <a:pt x="440" y="232"/>
                  </a:lnTo>
                  <a:lnTo>
                    <a:pt x="446" y="220"/>
                  </a:lnTo>
                  <a:lnTo>
                    <a:pt x="444" y="206"/>
                  </a:lnTo>
                  <a:lnTo>
                    <a:pt x="442" y="202"/>
                  </a:lnTo>
                  <a:lnTo>
                    <a:pt x="442" y="206"/>
                  </a:lnTo>
                  <a:lnTo>
                    <a:pt x="440" y="212"/>
                  </a:lnTo>
                  <a:lnTo>
                    <a:pt x="440" y="210"/>
                  </a:lnTo>
                  <a:lnTo>
                    <a:pt x="438" y="210"/>
                  </a:lnTo>
                  <a:lnTo>
                    <a:pt x="438" y="208"/>
                  </a:lnTo>
                  <a:lnTo>
                    <a:pt x="436" y="200"/>
                  </a:lnTo>
                  <a:lnTo>
                    <a:pt x="438" y="196"/>
                  </a:lnTo>
                  <a:lnTo>
                    <a:pt x="436" y="194"/>
                  </a:lnTo>
                  <a:lnTo>
                    <a:pt x="434" y="188"/>
                  </a:lnTo>
                  <a:lnTo>
                    <a:pt x="432" y="188"/>
                  </a:lnTo>
                  <a:lnTo>
                    <a:pt x="430" y="192"/>
                  </a:lnTo>
                  <a:lnTo>
                    <a:pt x="430" y="194"/>
                  </a:lnTo>
                  <a:lnTo>
                    <a:pt x="430" y="196"/>
                  </a:lnTo>
                  <a:lnTo>
                    <a:pt x="430" y="198"/>
                  </a:lnTo>
                  <a:lnTo>
                    <a:pt x="430" y="200"/>
                  </a:lnTo>
                  <a:lnTo>
                    <a:pt x="432" y="204"/>
                  </a:lnTo>
                  <a:lnTo>
                    <a:pt x="432" y="206"/>
                  </a:lnTo>
                  <a:lnTo>
                    <a:pt x="432" y="208"/>
                  </a:lnTo>
                  <a:lnTo>
                    <a:pt x="430" y="210"/>
                  </a:lnTo>
                  <a:lnTo>
                    <a:pt x="430" y="212"/>
                  </a:lnTo>
                  <a:lnTo>
                    <a:pt x="428" y="214"/>
                  </a:lnTo>
                  <a:lnTo>
                    <a:pt x="426" y="214"/>
                  </a:lnTo>
                  <a:lnTo>
                    <a:pt x="426" y="212"/>
                  </a:lnTo>
                  <a:lnTo>
                    <a:pt x="424" y="212"/>
                  </a:lnTo>
                  <a:lnTo>
                    <a:pt x="422" y="212"/>
                  </a:lnTo>
                  <a:lnTo>
                    <a:pt x="422" y="210"/>
                  </a:lnTo>
                  <a:lnTo>
                    <a:pt x="420" y="210"/>
                  </a:lnTo>
                  <a:lnTo>
                    <a:pt x="420" y="208"/>
                  </a:lnTo>
                  <a:lnTo>
                    <a:pt x="418" y="206"/>
                  </a:lnTo>
                  <a:lnTo>
                    <a:pt x="418" y="204"/>
                  </a:lnTo>
                  <a:lnTo>
                    <a:pt x="416" y="204"/>
                  </a:lnTo>
                  <a:lnTo>
                    <a:pt x="416" y="202"/>
                  </a:lnTo>
                  <a:lnTo>
                    <a:pt x="416" y="200"/>
                  </a:lnTo>
                  <a:lnTo>
                    <a:pt x="416" y="198"/>
                  </a:lnTo>
                  <a:lnTo>
                    <a:pt x="416" y="196"/>
                  </a:lnTo>
                  <a:lnTo>
                    <a:pt x="416" y="194"/>
                  </a:lnTo>
                  <a:lnTo>
                    <a:pt x="414" y="194"/>
                  </a:lnTo>
                  <a:lnTo>
                    <a:pt x="414" y="192"/>
                  </a:lnTo>
                  <a:lnTo>
                    <a:pt x="414" y="190"/>
                  </a:lnTo>
                  <a:lnTo>
                    <a:pt x="416" y="190"/>
                  </a:lnTo>
                  <a:lnTo>
                    <a:pt x="414" y="190"/>
                  </a:lnTo>
                  <a:lnTo>
                    <a:pt x="412" y="188"/>
                  </a:lnTo>
                  <a:lnTo>
                    <a:pt x="410" y="188"/>
                  </a:lnTo>
                  <a:lnTo>
                    <a:pt x="412" y="184"/>
                  </a:lnTo>
                  <a:lnTo>
                    <a:pt x="410" y="180"/>
                  </a:lnTo>
                  <a:lnTo>
                    <a:pt x="410" y="178"/>
                  </a:lnTo>
                  <a:lnTo>
                    <a:pt x="412" y="178"/>
                  </a:lnTo>
                  <a:lnTo>
                    <a:pt x="412" y="176"/>
                  </a:lnTo>
                  <a:lnTo>
                    <a:pt x="412" y="174"/>
                  </a:lnTo>
                  <a:lnTo>
                    <a:pt x="414" y="172"/>
                  </a:lnTo>
                  <a:lnTo>
                    <a:pt x="414" y="170"/>
                  </a:lnTo>
                  <a:lnTo>
                    <a:pt x="416" y="170"/>
                  </a:lnTo>
                  <a:lnTo>
                    <a:pt x="416" y="168"/>
                  </a:lnTo>
                  <a:lnTo>
                    <a:pt x="418" y="168"/>
                  </a:lnTo>
                  <a:lnTo>
                    <a:pt x="420" y="168"/>
                  </a:lnTo>
                  <a:lnTo>
                    <a:pt x="420" y="166"/>
                  </a:lnTo>
                  <a:lnTo>
                    <a:pt x="416" y="164"/>
                  </a:lnTo>
                  <a:lnTo>
                    <a:pt x="414" y="162"/>
                  </a:lnTo>
                  <a:lnTo>
                    <a:pt x="414" y="160"/>
                  </a:lnTo>
                  <a:lnTo>
                    <a:pt x="416" y="158"/>
                  </a:lnTo>
                  <a:lnTo>
                    <a:pt x="418" y="158"/>
                  </a:lnTo>
                  <a:lnTo>
                    <a:pt x="420" y="158"/>
                  </a:lnTo>
                  <a:lnTo>
                    <a:pt x="422" y="158"/>
                  </a:lnTo>
                  <a:lnTo>
                    <a:pt x="424" y="158"/>
                  </a:lnTo>
                  <a:lnTo>
                    <a:pt x="426" y="158"/>
                  </a:lnTo>
                  <a:lnTo>
                    <a:pt x="426" y="160"/>
                  </a:lnTo>
                  <a:lnTo>
                    <a:pt x="428" y="160"/>
                  </a:lnTo>
                  <a:lnTo>
                    <a:pt x="430" y="164"/>
                  </a:lnTo>
                  <a:lnTo>
                    <a:pt x="434" y="166"/>
                  </a:lnTo>
                  <a:lnTo>
                    <a:pt x="434" y="162"/>
                  </a:lnTo>
                  <a:lnTo>
                    <a:pt x="436" y="162"/>
                  </a:lnTo>
                  <a:lnTo>
                    <a:pt x="436" y="160"/>
                  </a:lnTo>
                  <a:lnTo>
                    <a:pt x="432" y="158"/>
                  </a:lnTo>
                  <a:lnTo>
                    <a:pt x="430" y="156"/>
                  </a:lnTo>
                  <a:lnTo>
                    <a:pt x="428" y="156"/>
                  </a:lnTo>
                  <a:lnTo>
                    <a:pt x="426" y="156"/>
                  </a:lnTo>
                  <a:lnTo>
                    <a:pt x="424" y="156"/>
                  </a:lnTo>
                  <a:lnTo>
                    <a:pt x="424" y="154"/>
                  </a:lnTo>
                  <a:lnTo>
                    <a:pt x="424" y="152"/>
                  </a:lnTo>
                  <a:lnTo>
                    <a:pt x="422" y="150"/>
                  </a:lnTo>
                  <a:lnTo>
                    <a:pt x="422" y="148"/>
                  </a:lnTo>
                  <a:lnTo>
                    <a:pt x="422" y="144"/>
                  </a:lnTo>
                  <a:lnTo>
                    <a:pt x="420" y="142"/>
                  </a:lnTo>
                  <a:lnTo>
                    <a:pt x="420" y="140"/>
                  </a:lnTo>
                  <a:lnTo>
                    <a:pt x="418" y="138"/>
                  </a:lnTo>
                  <a:lnTo>
                    <a:pt x="416" y="136"/>
                  </a:lnTo>
                  <a:lnTo>
                    <a:pt x="416" y="134"/>
                  </a:lnTo>
                  <a:lnTo>
                    <a:pt x="418" y="134"/>
                  </a:lnTo>
                  <a:lnTo>
                    <a:pt x="418" y="132"/>
                  </a:lnTo>
                  <a:lnTo>
                    <a:pt x="418" y="130"/>
                  </a:lnTo>
                  <a:lnTo>
                    <a:pt x="416" y="130"/>
                  </a:lnTo>
                  <a:lnTo>
                    <a:pt x="416" y="128"/>
                  </a:lnTo>
                  <a:lnTo>
                    <a:pt x="414" y="126"/>
                  </a:lnTo>
                  <a:lnTo>
                    <a:pt x="412" y="124"/>
                  </a:lnTo>
                  <a:lnTo>
                    <a:pt x="410" y="122"/>
                  </a:lnTo>
                  <a:lnTo>
                    <a:pt x="410" y="120"/>
                  </a:lnTo>
                  <a:lnTo>
                    <a:pt x="410" y="118"/>
                  </a:lnTo>
                  <a:lnTo>
                    <a:pt x="408" y="116"/>
                  </a:lnTo>
                  <a:lnTo>
                    <a:pt x="406" y="110"/>
                  </a:lnTo>
                  <a:lnTo>
                    <a:pt x="402" y="108"/>
                  </a:lnTo>
                  <a:lnTo>
                    <a:pt x="402" y="104"/>
                  </a:lnTo>
                  <a:lnTo>
                    <a:pt x="400" y="102"/>
                  </a:lnTo>
                  <a:lnTo>
                    <a:pt x="402" y="100"/>
                  </a:lnTo>
                  <a:lnTo>
                    <a:pt x="396" y="98"/>
                  </a:lnTo>
                  <a:lnTo>
                    <a:pt x="394" y="94"/>
                  </a:lnTo>
                  <a:lnTo>
                    <a:pt x="392" y="90"/>
                  </a:lnTo>
                  <a:lnTo>
                    <a:pt x="390" y="88"/>
                  </a:lnTo>
                  <a:lnTo>
                    <a:pt x="392" y="84"/>
                  </a:lnTo>
                  <a:lnTo>
                    <a:pt x="390" y="80"/>
                  </a:lnTo>
                  <a:lnTo>
                    <a:pt x="388" y="78"/>
                  </a:lnTo>
                  <a:lnTo>
                    <a:pt x="388" y="76"/>
                  </a:lnTo>
                  <a:lnTo>
                    <a:pt x="386" y="76"/>
                  </a:lnTo>
                  <a:lnTo>
                    <a:pt x="386" y="74"/>
                  </a:lnTo>
                  <a:lnTo>
                    <a:pt x="384" y="74"/>
                  </a:lnTo>
                  <a:lnTo>
                    <a:pt x="382" y="72"/>
                  </a:lnTo>
                  <a:lnTo>
                    <a:pt x="380" y="72"/>
                  </a:lnTo>
                  <a:lnTo>
                    <a:pt x="378" y="72"/>
                  </a:lnTo>
                  <a:lnTo>
                    <a:pt x="376" y="74"/>
                  </a:lnTo>
                  <a:lnTo>
                    <a:pt x="374" y="72"/>
                  </a:lnTo>
                  <a:lnTo>
                    <a:pt x="376" y="70"/>
                  </a:lnTo>
                  <a:lnTo>
                    <a:pt x="378" y="70"/>
                  </a:lnTo>
                  <a:lnTo>
                    <a:pt x="382" y="70"/>
                  </a:lnTo>
                  <a:lnTo>
                    <a:pt x="380" y="68"/>
                  </a:lnTo>
                  <a:lnTo>
                    <a:pt x="380" y="66"/>
                  </a:lnTo>
                  <a:lnTo>
                    <a:pt x="374" y="60"/>
                  </a:lnTo>
                  <a:lnTo>
                    <a:pt x="372" y="60"/>
                  </a:lnTo>
                  <a:lnTo>
                    <a:pt x="372" y="58"/>
                  </a:lnTo>
                  <a:lnTo>
                    <a:pt x="370" y="58"/>
                  </a:lnTo>
                  <a:lnTo>
                    <a:pt x="368" y="58"/>
                  </a:lnTo>
                  <a:lnTo>
                    <a:pt x="366" y="58"/>
                  </a:lnTo>
                  <a:lnTo>
                    <a:pt x="366" y="56"/>
                  </a:lnTo>
                  <a:lnTo>
                    <a:pt x="364" y="56"/>
                  </a:lnTo>
                  <a:lnTo>
                    <a:pt x="362" y="54"/>
                  </a:lnTo>
                  <a:lnTo>
                    <a:pt x="360" y="54"/>
                  </a:lnTo>
                  <a:lnTo>
                    <a:pt x="358" y="54"/>
                  </a:lnTo>
                  <a:lnTo>
                    <a:pt x="356" y="54"/>
                  </a:lnTo>
                  <a:lnTo>
                    <a:pt x="354" y="54"/>
                  </a:lnTo>
                  <a:lnTo>
                    <a:pt x="352" y="54"/>
                  </a:lnTo>
                  <a:lnTo>
                    <a:pt x="350" y="54"/>
                  </a:lnTo>
                  <a:lnTo>
                    <a:pt x="348" y="52"/>
                  </a:lnTo>
                  <a:lnTo>
                    <a:pt x="344" y="50"/>
                  </a:lnTo>
                  <a:lnTo>
                    <a:pt x="342" y="50"/>
                  </a:lnTo>
                  <a:lnTo>
                    <a:pt x="342" y="54"/>
                  </a:lnTo>
                  <a:lnTo>
                    <a:pt x="340" y="52"/>
                  </a:lnTo>
                  <a:lnTo>
                    <a:pt x="338" y="56"/>
                  </a:lnTo>
                  <a:lnTo>
                    <a:pt x="336" y="56"/>
                  </a:lnTo>
                  <a:lnTo>
                    <a:pt x="330" y="56"/>
                  </a:lnTo>
                  <a:lnTo>
                    <a:pt x="336" y="58"/>
                  </a:lnTo>
                  <a:lnTo>
                    <a:pt x="336" y="60"/>
                  </a:lnTo>
                  <a:lnTo>
                    <a:pt x="338" y="64"/>
                  </a:lnTo>
                  <a:lnTo>
                    <a:pt x="340" y="62"/>
                  </a:lnTo>
                  <a:lnTo>
                    <a:pt x="344" y="64"/>
                  </a:lnTo>
                  <a:lnTo>
                    <a:pt x="346" y="66"/>
                  </a:lnTo>
                  <a:lnTo>
                    <a:pt x="352" y="66"/>
                  </a:lnTo>
                  <a:lnTo>
                    <a:pt x="352" y="70"/>
                  </a:lnTo>
                  <a:lnTo>
                    <a:pt x="356" y="68"/>
                  </a:lnTo>
                  <a:lnTo>
                    <a:pt x="360" y="72"/>
                  </a:lnTo>
                  <a:lnTo>
                    <a:pt x="356" y="72"/>
                  </a:lnTo>
                  <a:lnTo>
                    <a:pt x="356" y="74"/>
                  </a:lnTo>
                  <a:lnTo>
                    <a:pt x="354" y="76"/>
                  </a:lnTo>
                  <a:lnTo>
                    <a:pt x="360" y="76"/>
                  </a:lnTo>
                  <a:lnTo>
                    <a:pt x="360" y="78"/>
                  </a:lnTo>
                  <a:lnTo>
                    <a:pt x="364" y="78"/>
                  </a:lnTo>
                  <a:lnTo>
                    <a:pt x="366" y="80"/>
                  </a:lnTo>
                  <a:lnTo>
                    <a:pt x="370" y="82"/>
                  </a:lnTo>
                  <a:lnTo>
                    <a:pt x="370" y="84"/>
                  </a:lnTo>
                  <a:lnTo>
                    <a:pt x="372" y="86"/>
                  </a:lnTo>
                  <a:lnTo>
                    <a:pt x="370" y="88"/>
                  </a:lnTo>
                  <a:lnTo>
                    <a:pt x="368" y="86"/>
                  </a:lnTo>
                  <a:lnTo>
                    <a:pt x="364" y="82"/>
                  </a:lnTo>
                  <a:lnTo>
                    <a:pt x="356" y="80"/>
                  </a:lnTo>
                  <a:lnTo>
                    <a:pt x="356" y="82"/>
                  </a:lnTo>
                  <a:lnTo>
                    <a:pt x="354" y="82"/>
                  </a:lnTo>
                  <a:lnTo>
                    <a:pt x="352" y="80"/>
                  </a:lnTo>
                  <a:lnTo>
                    <a:pt x="350" y="80"/>
                  </a:lnTo>
                  <a:lnTo>
                    <a:pt x="350" y="82"/>
                  </a:lnTo>
                  <a:lnTo>
                    <a:pt x="346" y="82"/>
                  </a:lnTo>
                  <a:lnTo>
                    <a:pt x="346" y="84"/>
                  </a:lnTo>
                  <a:lnTo>
                    <a:pt x="344" y="86"/>
                  </a:lnTo>
                  <a:lnTo>
                    <a:pt x="344" y="84"/>
                  </a:lnTo>
                  <a:lnTo>
                    <a:pt x="342" y="82"/>
                  </a:lnTo>
                  <a:lnTo>
                    <a:pt x="340" y="82"/>
                  </a:lnTo>
                  <a:lnTo>
                    <a:pt x="338" y="82"/>
                  </a:lnTo>
                  <a:lnTo>
                    <a:pt x="338" y="84"/>
                  </a:lnTo>
                  <a:lnTo>
                    <a:pt x="336" y="84"/>
                  </a:lnTo>
                  <a:lnTo>
                    <a:pt x="336" y="82"/>
                  </a:lnTo>
                  <a:lnTo>
                    <a:pt x="334" y="80"/>
                  </a:lnTo>
                  <a:lnTo>
                    <a:pt x="332" y="78"/>
                  </a:lnTo>
                  <a:lnTo>
                    <a:pt x="328" y="76"/>
                  </a:lnTo>
                  <a:lnTo>
                    <a:pt x="328" y="72"/>
                  </a:lnTo>
                  <a:lnTo>
                    <a:pt x="326" y="72"/>
                  </a:lnTo>
                  <a:lnTo>
                    <a:pt x="324" y="68"/>
                  </a:lnTo>
                  <a:lnTo>
                    <a:pt x="322" y="68"/>
                  </a:lnTo>
                  <a:lnTo>
                    <a:pt x="324" y="68"/>
                  </a:lnTo>
                  <a:lnTo>
                    <a:pt x="324" y="66"/>
                  </a:lnTo>
                  <a:lnTo>
                    <a:pt x="322" y="66"/>
                  </a:lnTo>
                  <a:lnTo>
                    <a:pt x="322" y="64"/>
                  </a:lnTo>
                  <a:lnTo>
                    <a:pt x="322" y="62"/>
                  </a:lnTo>
                  <a:lnTo>
                    <a:pt x="320" y="62"/>
                  </a:lnTo>
                  <a:lnTo>
                    <a:pt x="318" y="64"/>
                  </a:lnTo>
                  <a:lnTo>
                    <a:pt x="318" y="60"/>
                  </a:lnTo>
                  <a:lnTo>
                    <a:pt x="318" y="58"/>
                  </a:lnTo>
                  <a:lnTo>
                    <a:pt x="312" y="56"/>
                  </a:lnTo>
                  <a:lnTo>
                    <a:pt x="308" y="56"/>
                  </a:lnTo>
                  <a:lnTo>
                    <a:pt x="308" y="60"/>
                  </a:lnTo>
                  <a:lnTo>
                    <a:pt x="304" y="60"/>
                  </a:lnTo>
                  <a:lnTo>
                    <a:pt x="302" y="62"/>
                  </a:lnTo>
                  <a:lnTo>
                    <a:pt x="304" y="62"/>
                  </a:lnTo>
                  <a:lnTo>
                    <a:pt x="304" y="66"/>
                  </a:lnTo>
                  <a:lnTo>
                    <a:pt x="300" y="66"/>
                  </a:lnTo>
                  <a:lnTo>
                    <a:pt x="296" y="64"/>
                  </a:lnTo>
                  <a:lnTo>
                    <a:pt x="296" y="68"/>
                  </a:lnTo>
                  <a:lnTo>
                    <a:pt x="300" y="72"/>
                  </a:lnTo>
                  <a:lnTo>
                    <a:pt x="296" y="70"/>
                  </a:lnTo>
                  <a:lnTo>
                    <a:pt x="294" y="70"/>
                  </a:lnTo>
                  <a:lnTo>
                    <a:pt x="292" y="74"/>
                  </a:lnTo>
                  <a:lnTo>
                    <a:pt x="288" y="74"/>
                  </a:lnTo>
                  <a:lnTo>
                    <a:pt x="284" y="74"/>
                  </a:lnTo>
                  <a:lnTo>
                    <a:pt x="280" y="72"/>
                  </a:lnTo>
                  <a:lnTo>
                    <a:pt x="278" y="74"/>
                  </a:lnTo>
                  <a:lnTo>
                    <a:pt x="276" y="72"/>
                  </a:lnTo>
                  <a:lnTo>
                    <a:pt x="268" y="72"/>
                  </a:lnTo>
                  <a:lnTo>
                    <a:pt x="266" y="72"/>
                  </a:lnTo>
                  <a:lnTo>
                    <a:pt x="264" y="74"/>
                  </a:lnTo>
                  <a:lnTo>
                    <a:pt x="264" y="76"/>
                  </a:lnTo>
                  <a:lnTo>
                    <a:pt x="264" y="74"/>
                  </a:lnTo>
                  <a:lnTo>
                    <a:pt x="262" y="74"/>
                  </a:lnTo>
                  <a:lnTo>
                    <a:pt x="260" y="74"/>
                  </a:lnTo>
                  <a:lnTo>
                    <a:pt x="258" y="74"/>
                  </a:lnTo>
                  <a:lnTo>
                    <a:pt x="256" y="74"/>
                  </a:lnTo>
                  <a:lnTo>
                    <a:pt x="254" y="74"/>
                  </a:lnTo>
                  <a:lnTo>
                    <a:pt x="252" y="74"/>
                  </a:lnTo>
                  <a:lnTo>
                    <a:pt x="252" y="76"/>
                  </a:lnTo>
                  <a:lnTo>
                    <a:pt x="246" y="76"/>
                  </a:lnTo>
                  <a:lnTo>
                    <a:pt x="244" y="74"/>
                  </a:lnTo>
                  <a:lnTo>
                    <a:pt x="242" y="74"/>
                  </a:lnTo>
                  <a:lnTo>
                    <a:pt x="240" y="74"/>
                  </a:lnTo>
                  <a:lnTo>
                    <a:pt x="240" y="72"/>
                  </a:lnTo>
                  <a:lnTo>
                    <a:pt x="238" y="72"/>
                  </a:lnTo>
                  <a:lnTo>
                    <a:pt x="238" y="74"/>
                  </a:lnTo>
                  <a:lnTo>
                    <a:pt x="238" y="76"/>
                  </a:lnTo>
                  <a:lnTo>
                    <a:pt x="238" y="78"/>
                  </a:lnTo>
                  <a:lnTo>
                    <a:pt x="236" y="80"/>
                  </a:lnTo>
                  <a:lnTo>
                    <a:pt x="234" y="80"/>
                  </a:lnTo>
                  <a:lnTo>
                    <a:pt x="232" y="80"/>
                  </a:lnTo>
                  <a:lnTo>
                    <a:pt x="230" y="80"/>
                  </a:lnTo>
                  <a:lnTo>
                    <a:pt x="228" y="82"/>
                  </a:lnTo>
                  <a:lnTo>
                    <a:pt x="230" y="84"/>
                  </a:lnTo>
                  <a:lnTo>
                    <a:pt x="234" y="88"/>
                  </a:lnTo>
                  <a:lnTo>
                    <a:pt x="236" y="88"/>
                  </a:lnTo>
                  <a:lnTo>
                    <a:pt x="232" y="88"/>
                  </a:lnTo>
                  <a:lnTo>
                    <a:pt x="230" y="92"/>
                  </a:lnTo>
                  <a:lnTo>
                    <a:pt x="226" y="92"/>
                  </a:lnTo>
                  <a:lnTo>
                    <a:pt x="222" y="90"/>
                  </a:lnTo>
                  <a:lnTo>
                    <a:pt x="220" y="94"/>
                  </a:lnTo>
                  <a:lnTo>
                    <a:pt x="220" y="96"/>
                  </a:lnTo>
                  <a:lnTo>
                    <a:pt x="224" y="96"/>
                  </a:lnTo>
                  <a:lnTo>
                    <a:pt x="228" y="94"/>
                  </a:lnTo>
                  <a:lnTo>
                    <a:pt x="230" y="96"/>
                  </a:lnTo>
                  <a:lnTo>
                    <a:pt x="234" y="96"/>
                  </a:lnTo>
                  <a:lnTo>
                    <a:pt x="236" y="96"/>
                  </a:lnTo>
                  <a:lnTo>
                    <a:pt x="234" y="98"/>
                  </a:lnTo>
                  <a:lnTo>
                    <a:pt x="232" y="98"/>
                  </a:lnTo>
                  <a:lnTo>
                    <a:pt x="230" y="98"/>
                  </a:lnTo>
                  <a:lnTo>
                    <a:pt x="228" y="98"/>
                  </a:lnTo>
                  <a:lnTo>
                    <a:pt x="228" y="100"/>
                  </a:lnTo>
                  <a:lnTo>
                    <a:pt x="228" y="102"/>
                  </a:lnTo>
                  <a:lnTo>
                    <a:pt x="228" y="104"/>
                  </a:lnTo>
                  <a:lnTo>
                    <a:pt x="228" y="106"/>
                  </a:lnTo>
                  <a:lnTo>
                    <a:pt x="230" y="108"/>
                  </a:lnTo>
                  <a:lnTo>
                    <a:pt x="230" y="110"/>
                  </a:lnTo>
                  <a:lnTo>
                    <a:pt x="232" y="110"/>
                  </a:lnTo>
                  <a:lnTo>
                    <a:pt x="236" y="112"/>
                  </a:lnTo>
                  <a:lnTo>
                    <a:pt x="238" y="114"/>
                  </a:lnTo>
                  <a:lnTo>
                    <a:pt x="242" y="116"/>
                  </a:lnTo>
                  <a:lnTo>
                    <a:pt x="242" y="118"/>
                  </a:lnTo>
                  <a:lnTo>
                    <a:pt x="242" y="120"/>
                  </a:lnTo>
                  <a:lnTo>
                    <a:pt x="240" y="120"/>
                  </a:lnTo>
                  <a:lnTo>
                    <a:pt x="238" y="122"/>
                  </a:lnTo>
                  <a:lnTo>
                    <a:pt x="236" y="122"/>
                  </a:lnTo>
                  <a:lnTo>
                    <a:pt x="236" y="124"/>
                  </a:lnTo>
                  <a:lnTo>
                    <a:pt x="234" y="124"/>
                  </a:lnTo>
                  <a:lnTo>
                    <a:pt x="232" y="124"/>
                  </a:lnTo>
                  <a:lnTo>
                    <a:pt x="230" y="126"/>
                  </a:lnTo>
                  <a:lnTo>
                    <a:pt x="228" y="126"/>
                  </a:lnTo>
                  <a:lnTo>
                    <a:pt x="228" y="128"/>
                  </a:lnTo>
                  <a:lnTo>
                    <a:pt x="228" y="130"/>
                  </a:lnTo>
                  <a:lnTo>
                    <a:pt x="226" y="130"/>
                  </a:lnTo>
                  <a:lnTo>
                    <a:pt x="226" y="132"/>
                  </a:lnTo>
                  <a:lnTo>
                    <a:pt x="224" y="132"/>
                  </a:lnTo>
                  <a:lnTo>
                    <a:pt x="226" y="132"/>
                  </a:lnTo>
                  <a:lnTo>
                    <a:pt x="228" y="132"/>
                  </a:lnTo>
                  <a:lnTo>
                    <a:pt x="228" y="130"/>
                  </a:lnTo>
                  <a:lnTo>
                    <a:pt x="230" y="130"/>
                  </a:lnTo>
                  <a:lnTo>
                    <a:pt x="232" y="128"/>
                  </a:lnTo>
                  <a:lnTo>
                    <a:pt x="234" y="128"/>
                  </a:lnTo>
                  <a:lnTo>
                    <a:pt x="236" y="128"/>
                  </a:lnTo>
                  <a:lnTo>
                    <a:pt x="236" y="130"/>
                  </a:lnTo>
                  <a:lnTo>
                    <a:pt x="238" y="130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40" y="124"/>
                  </a:lnTo>
                  <a:lnTo>
                    <a:pt x="242" y="124"/>
                  </a:lnTo>
                  <a:lnTo>
                    <a:pt x="242" y="122"/>
                  </a:lnTo>
                  <a:lnTo>
                    <a:pt x="244" y="120"/>
                  </a:lnTo>
                  <a:lnTo>
                    <a:pt x="246" y="120"/>
                  </a:lnTo>
                  <a:lnTo>
                    <a:pt x="248" y="120"/>
                  </a:lnTo>
                  <a:lnTo>
                    <a:pt x="250" y="120"/>
                  </a:lnTo>
                  <a:lnTo>
                    <a:pt x="250" y="118"/>
                  </a:lnTo>
                  <a:lnTo>
                    <a:pt x="250" y="116"/>
                  </a:lnTo>
                  <a:lnTo>
                    <a:pt x="250" y="112"/>
                  </a:lnTo>
                  <a:lnTo>
                    <a:pt x="250" y="110"/>
                  </a:lnTo>
                  <a:lnTo>
                    <a:pt x="252" y="110"/>
                  </a:lnTo>
                  <a:lnTo>
                    <a:pt x="254" y="110"/>
                  </a:lnTo>
                  <a:lnTo>
                    <a:pt x="256" y="108"/>
                  </a:lnTo>
                  <a:lnTo>
                    <a:pt x="262" y="108"/>
                  </a:lnTo>
                  <a:lnTo>
                    <a:pt x="264" y="110"/>
                  </a:lnTo>
                  <a:lnTo>
                    <a:pt x="266" y="110"/>
                  </a:lnTo>
                  <a:lnTo>
                    <a:pt x="268" y="112"/>
                  </a:lnTo>
                  <a:lnTo>
                    <a:pt x="270" y="112"/>
                  </a:lnTo>
                  <a:lnTo>
                    <a:pt x="272" y="112"/>
                  </a:lnTo>
                  <a:lnTo>
                    <a:pt x="274" y="112"/>
                  </a:lnTo>
                  <a:lnTo>
                    <a:pt x="276" y="114"/>
                  </a:lnTo>
                  <a:lnTo>
                    <a:pt x="278" y="114"/>
                  </a:lnTo>
                  <a:lnTo>
                    <a:pt x="280" y="114"/>
                  </a:lnTo>
                  <a:lnTo>
                    <a:pt x="282" y="116"/>
                  </a:lnTo>
                  <a:lnTo>
                    <a:pt x="284" y="116"/>
                  </a:lnTo>
                  <a:lnTo>
                    <a:pt x="282" y="118"/>
                  </a:lnTo>
                  <a:lnTo>
                    <a:pt x="284" y="120"/>
                  </a:lnTo>
                  <a:lnTo>
                    <a:pt x="286" y="122"/>
                  </a:lnTo>
                  <a:lnTo>
                    <a:pt x="288" y="128"/>
                  </a:lnTo>
                  <a:lnTo>
                    <a:pt x="288" y="124"/>
                  </a:lnTo>
                  <a:lnTo>
                    <a:pt x="292" y="124"/>
                  </a:lnTo>
                  <a:lnTo>
                    <a:pt x="292" y="126"/>
                  </a:lnTo>
                  <a:lnTo>
                    <a:pt x="292" y="130"/>
                  </a:lnTo>
                  <a:lnTo>
                    <a:pt x="294" y="132"/>
                  </a:lnTo>
                  <a:lnTo>
                    <a:pt x="296" y="132"/>
                  </a:lnTo>
                  <a:lnTo>
                    <a:pt x="296" y="130"/>
                  </a:lnTo>
                  <a:lnTo>
                    <a:pt x="296" y="128"/>
                  </a:lnTo>
                  <a:lnTo>
                    <a:pt x="300" y="130"/>
                  </a:lnTo>
                  <a:lnTo>
                    <a:pt x="302" y="132"/>
                  </a:lnTo>
                  <a:lnTo>
                    <a:pt x="306" y="134"/>
                  </a:lnTo>
                  <a:lnTo>
                    <a:pt x="308" y="132"/>
                  </a:lnTo>
                  <a:lnTo>
                    <a:pt x="310" y="132"/>
                  </a:lnTo>
                  <a:lnTo>
                    <a:pt x="310" y="134"/>
                  </a:lnTo>
                  <a:lnTo>
                    <a:pt x="308" y="134"/>
                  </a:lnTo>
                  <a:lnTo>
                    <a:pt x="308" y="138"/>
                  </a:lnTo>
                  <a:lnTo>
                    <a:pt x="310" y="140"/>
                  </a:lnTo>
                  <a:lnTo>
                    <a:pt x="312" y="138"/>
                  </a:lnTo>
                  <a:lnTo>
                    <a:pt x="314" y="138"/>
                  </a:lnTo>
                  <a:lnTo>
                    <a:pt x="318" y="140"/>
                  </a:lnTo>
                  <a:lnTo>
                    <a:pt x="322" y="140"/>
                  </a:lnTo>
                  <a:lnTo>
                    <a:pt x="324" y="142"/>
                  </a:lnTo>
                  <a:lnTo>
                    <a:pt x="322" y="142"/>
                  </a:lnTo>
                  <a:lnTo>
                    <a:pt x="320" y="142"/>
                  </a:lnTo>
                  <a:lnTo>
                    <a:pt x="318" y="142"/>
                  </a:lnTo>
                  <a:lnTo>
                    <a:pt x="316" y="142"/>
                  </a:lnTo>
                  <a:lnTo>
                    <a:pt x="314" y="142"/>
                  </a:lnTo>
                  <a:lnTo>
                    <a:pt x="314" y="144"/>
                  </a:lnTo>
                  <a:lnTo>
                    <a:pt x="316" y="144"/>
                  </a:lnTo>
                  <a:lnTo>
                    <a:pt x="316" y="146"/>
                  </a:lnTo>
                  <a:lnTo>
                    <a:pt x="318" y="146"/>
                  </a:lnTo>
                  <a:lnTo>
                    <a:pt x="320" y="148"/>
                  </a:lnTo>
                  <a:lnTo>
                    <a:pt x="322" y="148"/>
                  </a:lnTo>
                  <a:lnTo>
                    <a:pt x="322" y="150"/>
                  </a:lnTo>
                  <a:lnTo>
                    <a:pt x="326" y="156"/>
                  </a:lnTo>
                  <a:lnTo>
                    <a:pt x="324" y="162"/>
                  </a:lnTo>
                  <a:lnTo>
                    <a:pt x="328" y="162"/>
                  </a:lnTo>
                  <a:lnTo>
                    <a:pt x="328" y="168"/>
                  </a:lnTo>
                  <a:lnTo>
                    <a:pt x="328" y="166"/>
                  </a:lnTo>
                  <a:lnTo>
                    <a:pt x="330" y="166"/>
                  </a:lnTo>
                  <a:lnTo>
                    <a:pt x="332" y="168"/>
                  </a:lnTo>
                  <a:lnTo>
                    <a:pt x="332" y="170"/>
                  </a:lnTo>
                  <a:lnTo>
                    <a:pt x="332" y="172"/>
                  </a:lnTo>
                  <a:lnTo>
                    <a:pt x="332" y="174"/>
                  </a:lnTo>
                  <a:lnTo>
                    <a:pt x="334" y="176"/>
                  </a:lnTo>
                  <a:lnTo>
                    <a:pt x="336" y="178"/>
                  </a:lnTo>
                  <a:lnTo>
                    <a:pt x="338" y="180"/>
                  </a:lnTo>
                  <a:lnTo>
                    <a:pt x="340" y="180"/>
                  </a:lnTo>
                  <a:lnTo>
                    <a:pt x="342" y="182"/>
                  </a:lnTo>
                  <a:lnTo>
                    <a:pt x="342" y="184"/>
                  </a:lnTo>
                  <a:lnTo>
                    <a:pt x="342" y="186"/>
                  </a:lnTo>
                  <a:lnTo>
                    <a:pt x="344" y="186"/>
                  </a:lnTo>
                  <a:lnTo>
                    <a:pt x="346" y="188"/>
                  </a:lnTo>
                  <a:lnTo>
                    <a:pt x="348" y="188"/>
                  </a:lnTo>
                  <a:lnTo>
                    <a:pt x="348" y="190"/>
                  </a:lnTo>
                  <a:lnTo>
                    <a:pt x="350" y="190"/>
                  </a:lnTo>
                  <a:lnTo>
                    <a:pt x="350" y="192"/>
                  </a:lnTo>
                  <a:lnTo>
                    <a:pt x="352" y="192"/>
                  </a:lnTo>
                  <a:lnTo>
                    <a:pt x="354" y="192"/>
                  </a:lnTo>
                  <a:lnTo>
                    <a:pt x="354" y="194"/>
                  </a:lnTo>
                  <a:lnTo>
                    <a:pt x="356" y="194"/>
                  </a:lnTo>
                  <a:lnTo>
                    <a:pt x="358" y="194"/>
                  </a:lnTo>
                  <a:lnTo>
                    <a:pt x="360" y="196"/>
                  </a:lnTo>
                  <a:lnTo>
                    <a:pt x="364" y="196"/>
                  </a:lnTo>
                  <a:lnTo>
                    <a:pt x="366" y="200"/>
                  </a:lnTo>
                  <a:lnTo>
                    <a:pt x="368" y="202"/>
                  </a:lnTo>
                  <a:lnTo>
                    <a:pt x="370" y="206"/>
                  </a:lnTo>
                  <a:lnTo>
                    <a:pt x="374" y="206"/>
                  </a:lnTo>
                  <a:lnTo>
                    <a:pt x="374" y="210"/>
                  </a:lnTo>
                  <a:lnTo>
                    <a:pt x="376" y="210"/>
                  </a:lnTo>
                  <a:lnTo>
                    <a:pt x="376" y="214"/>
                  </a:lnTo>
                  <a:lnTo>
                    <a:pt x="378" y="214"/>
                  </a:lnTo>
                  <a:lnTo>
                    <a:pt x="380" y="214"/>
                  </a:lnTo>
                  <a:lnTo>
                    <a:pt x="382" y="214"/>
                  </a:lnTo>
                  <a:lnTo>
                    <a:pt x="384" y="216"/>
                  </a:lnTo>
                  <a:lnTo>
                    <a:pt x="384" y="218"/>
                  </a:lnTo>
                  <a:lnTo>
                    <a:pt x="386" y="218"/>
                  </a:lnTo>
                  <a:lnTo>
                    <a:pt x="386" y="220"/>
                  </a:lnTo>
                  <a:lnTo>
                    <a:pt x="392" y="222"/>
                  </a:lnTo>
                  <a:lnTo>
                    <a:pt x="394" y="222"/>
                  </a:lnTo>
                  <a:lnTo>
                    <a:pt x="392" y="218"/>
                  </a:lnTo>
                  <a:lnTo>
                    <a:pt x="390" y="218"/>
                  </a:lnTo>
                  <a:lnTo>
                    <a:pt x="388" y="218"/>
                  </a:lnTo>
                  <a:lnTo>
                    <a:pt x="386" y="216"/>
                  </a:lnTo>
                  <a:lnTo>
                    <a:pt x="386" y="214"/>
                  </a:lnTo>
                  <a:lnTo>
                    <a:pt x="386" y="212"/>
                  </a:lnTo>
                  <a:lnTo>
                    <a:pt x="384" y="210"/>
                  </a:lnTo>
                  <a:lnTo>
                    <a:pt x="382" y="210"/>
                  </a:lnTo>
                  <a:lnTo>
                    <a:pt x="382" y="208"/>
                  </a:lnTo>
                  <a:lnTo>
                    <a:pt x="380" y="208"/>
                  </a:lnTo>
                  <a:lnTo>
                    <a:pt x="380" y="206"/>
                  </a:lnTo>
                  <a:lnTo>
                    <a:pt x="378" y="206"/>
                  </a:lnTo>
                  <a:lnTo>
                    <a:pt x="376" y="204"/>
                  </a:lnTo>
                  <a:lnTo>
                    <a:pt x="374" y="202"/>
                  </a:lnTo>
                  <a:lnTo>
                    <a:pt x="370" y="198"/>
                  </a:lnTo>
                  <a:lnTo>
                    <a:pt x="368" y="196"/>
                  </a:lnTo>
                  <a:lnTo>
                    <a:pt x="370" y="196"/>
                  </a:lnTo>
                  <a:lnTo>
                    <a:pt x="370" y="194"/>
                  </a:lnTo>
                  <a:lnTo>
                    <a:pt x="372" y="194"/>
                  </a:lnTo>
                  <a:lnTo>
                    <a:pt x="372" y="196"/>
                  </a:lnTo>
                  <a:lnTo>
                    <a:pt x="374" y="196"/>
                  </a:lnTo>
                  <a:lnTo>
                    <a:pt x="376" y="198"/>
                  </a:lnTo>
                  <a:lnTo>
                    <a:pt x="376" y="200"/>
                  </a:lnTo>
                  <a:lnTo>
                    <a:pt x="376" y="202"/>
                  </a:lnTo>
                  <a:lnTo>
                    <a:pt x="378" y="202"/>
                  </a:lnTo>
                  <a:lnTo>
                    <a:pt x="380" y="202"/>
                  </a:lnTo>
                  <a:lnTo>
                    <a:pt x="382" y="202"/>
                  </a:lnTo>
                  <a:lnTo>
                    <a:pt x="384" y="204"/>
                  </a:lnTo>
                  <a:lnTo>
                    <a:pt x="384" y="206"/>
                  </a:lnTo>
                  <a:lnTo>
                    <a:pt x="386" y="208"/>
                  </a:lnTo>
                  <a:lnTo>
                    <a:pt x="388" y="208"/>
                  </a:lnTo>
                  <a:lnTo>
                    <a:pt x="388" y="210"/>
                  </a:lnTo>
                  <a:lnTo>
                    <a:pt x="390" y="210"/>
                  </a:lnTo>
                  <a:lnTo>
                    <a:pt x="392" y="212"/>
                  </a:lnTo>
                  <a:lnTo>
                    <a:pt x="396" y="212"/>
                  </a:lnTo>
                  <a:lnTo>
                    <a:pt x="398" y="214"/>
                  </a:lnTo>
                  <a:lnTo>
                    <a:pt x="404" y="216"/>
                  </a:lnTo>
                  <a:lnTo>
                    <a:pt x="408" y="222"/>
                  </a:lnTo>
                  <a:lnTo>
                    <a:pt x="406" y="222"/>
                  </a:lnTo>
                  <a:lnTo>
                    <a:pt x="404" y="222"/>
                  </a:lnTo>
                  <a:lnTo>
                    <a:pt x="404" y="224"/>
                  </a:lnTo>
                  <a:lnTo>
                    <a:pt x="402" y="224"/>
                  </a:lnTo>
                  <a:lnTo>
                    <a:pt x="404" y="224"/>
                  </a:lnTo>
                  <a:lnTo>
                    <a:pt x="404" y="226"/>
                  </a:lnTo>
                  <a:lnTo>
                    <a:pt x="406" y="226"/>
                  </a:lnTo>
                  <a:lnTo>
                    <a:pt x="406" y="228"/>
                  </a:lnTo>
                  <a:lnTo>
                    <a:pt x="408" y="228"/>
                  </a:lnTo>
                  <a:lnTo>
                    <a:pt x="408" y="230"/>
                  </a:lnTo>
                  <a:lnTo>
                    <a:pt x="410" y="230"/>
                  </a:lnTo>
                  <a:lnTo>
                    <a:pt x="412" y="230"/>
                  </a:lnTo>
                  <a:lnTo>
                    <a:pt x="414" y="230"/>
                  </a:lnTo>
                  <a:lnTo>
                    <a:pt x="416" y="228"/>
                  </a:lnTo>
                  <a:lnTo>
                    <a:pt x="422" y="228"/>
                  </a:lnTo>
                  <a:lnTo>
                    <a:pt x="426" y="228"/>
                  </a:lnTo>
                  <a:lnTo>
                    <a:pt x="428" y="224"/>
                  </a:lnTo>
                  <a:lnTo>
                    <a:pt x="430" y="220"/>
                  </a:lnTo>
                  <a:lnTo>
                    <a:pt x="432" y="220"/>
                  </a:lnTo>
                  <a:lnTo>
                    <a:pt x="432" y="222"/>
                  </a:lnTo>
                  <a:lnTo>
                    <a:pt x="434" y="222"/>
                  </a:lnTo>
                  <a:lnTo>
                    <a:pt x="434" y="224"/>
                  </a:lnTo>
                  <a:lnTo>
                    <a:pt x="442" y="220"/>
                  </a:lnTo>
                  <a:lnTo>
                    <a:pt x="442" y="222"/>
                  </a:lnTo>
                  <a:lnTo>
                    <a:pt x="442" y="224"/>
                  </a:lnTo>
                  <a:lnTo>
                    <a:pt x="440" y="226"/>
                  </a:lnTo>
                  <a:lnTo>
                    <a:pt x="438" y="234"/>
                  </a:lnTo>
                  <a:lnTo>
                    <a:pt x="442" y="242"/>
                  </a:lnTo>
                  <a:lnTo>
                    <a:pt x="442" y="240"/>
                  </a:lnTo>
                  <a:lnTo>
                    <a:pt x="442" y="238"/>
                  </a:lnTo>
                  <a:lnTo>
                    <a:pt x="442" y="234"/>
                  </a:lnTo>
                  <a:lnTo>
                    <a:pt x="444" y="232"/>
                  </a:lnTo>
                  <a:lnTo>
                    <a:pt x="444" y="230"/>
                  </a:lnTo>
                  <a:close/>
                  <a:moveTo>
                    <a:pt x="270" y="62"/>
                  </a:moveTo>
                  <a:lnTo>
                    <a:pt x="272" y="64"/>
                  </a:lnTo>
                  <a:lnTo>
                    <a:pt x="276" y="64"/>
                  </a:lnTo>
                  <a:lnTo>
                    <a:pt x="278" y="68"/>
                  </a:lnTo>
                  <a:lnTo>
                    <a:pt x="280" y="62"/>
                  </a:lnTo>
                  <a:lnTo>
                    <a:pt x="282" y="68"/>
                  </a:lnTo>
                  <a:lnTo>
                    <a:pt x="284" y="66"/>
                  </a:lnTo>
                  <a:lnTo>
                    <a:pt x="288" y="68"/>
                  </a:lnTo>
                  <a:lnTo>
                    <a:pt x="292" y="68"/>
                  </a:lnTo>
                  <a:lnTo>
                    <a:pt x="294" y="66"/>
                  </a:lnTo>
                  <a:lnTo>
                    <a:pt x="298" y="64"/>
                  </a:lnTo>
                  <a:lnTo>
                    <a:pt x="294" y="62"/>
                  </a:lnTo>
                  <a:lnTo>
                    <a:pt x="292" y="58"/>
                  </a:lnTo>
                  <a:lnTo>
                    <a:pt x="286" y="58"/>
                  </a:lnTo>
                  <a:lnTo>
                    <a:pt x="286" y="56"/>
                  </a:lnTo>
                  <a:lnTo>
                    <a:pt x="282" y="54"/>
                  </a:lnTo>
                  <a:lnTo>
                    <a:pt x="280" y="54"/>
                  </a:lnTo>
                  <a:lnTo>
                    <a:pt x="278" y="56"/>
                  </a:lnTo>
                  <a:lnTo>
                    <a:pt x="278" y="60"/>
                  </a:lnTo>
                  <a:lnTo>
                    <a:pt x="276" y="60"/>
                  </a:lnTo>
                  <a:lnTo>
                    <a:pt x="272" y="60"/>
                  </a:lnTo>
                  <a:lnTo>
                    <a:pt x="270" y="62"/>
                  </a:lnTo>
                  <a:close/>
                  <a:moveTo>
                    <a:pt x="264" y="54"/>
                  </a:moveTo>
                  <a:lnTo>
                    <a:pt x="264" y="56"/>
                  </a:lnTo>
                  <a:lnTo>
                    <a:pt x="262" y="56"/>
                  </a:lnTo>
                  <a:lnTo>
                    <a:pt x="262" y="58"/>
                  </a:lnTo>
                  <a:lnTo>
                    <a:pt x="264" y="58"/>
                  </a:lnTo>
                  <a:lnTo>
                    <a:pt x="264" y="60"/>
                  </a:lnTo>
                  <a:lnTo>
                    <a:pt x="262" y="62"/>
                  </a:lnTo>
                  <a:lnTo>
                    <a:pt x="264" y="62"/>
                  </a:lnTo>
                  <a:lnTo>
                    <a:pt x="264" y="66"/>
                  </a:lnTo>
                  <a:lnTo>
                    <a:pt x="268" y="68"/>
                  </a:lnTo>
                  <a:lnTo>
                    <a:pt x="268" y="64"/>
                  </a:lnTo>
                  <a:lnTo>
                    <a:pt x="270" y="64"/>
                  </a:lnTo>
                  <a:lnTo>
                    <a:pt x="268" y="60"/>
                  </a:lnTo>
                  <a:lnTo>
                    <a:pt x="268" y="58"/>
                  </a:lnTo>
                  <a:lnTo>
                    <a:pt x="268" y="56"/>
                  </a:lnTo>
                  <a:lnTo>
                    <a:pt x="266" y="54"/>
                  </a:lnTo>
                  <a:lnTo>
                    <a:pt x="264" y="54"/>
                  </a:lnTo>
                  <a:close/>
                  <a:moveTo>
                    <a:pt x="288" y="52"/>
                  </a:moveTo>
                  <a:lnTo>
                    <a:pt x="294" y="50"/>
                  </a:lnTo>
                  <a:lnTo>
                    <a:pt x="294" y="54"/>
                  </a:lnTo>
                  <a:lnTo>
                    <a:pt x="298" y="50"/>
                  </a:lnTo>
                  <a:lnTo>
                    <a:pt x="302" y="56"/>
                  </a:lnTo>
                  <a:lnTo>
                    <a:pt x="306" y="54"/>
                  </a:lnTo>
                  <a:lnTo>
                    <a:pt x="306" y="48"/>
                  </a:lnTo>
                  <a:lnTo>
                    <a:pt x="308" y="46"/>
                  </a:lnTo>
                  <a:lnTo>
                    <a:pt x="314" y="46"/>
                  </a:lnTo>
                  <a:lnTo>
                    <a:pt x="318" y="48"/>
                  </a:lnTo>
                  <a:lnTo>
                    <a:pt x="320" y="42"/>
                  </a:lnTo>
                  <a:lnTo>
                    <a:pt x="324" y="44"/>
                  </a:lnTo>
                  <a:lnTo>
                    <a:pt x="322" y="40"/>
                  </a:lnTo>
                  <a:lnTo>
                    <a:pt x="320" y="40"/>
                  </a:lnTo>
                  <a:lnTo>
                    <a:pt x="314" y="40"/>
                  </a:lnTo>
                  <a:lnTo>
                    <a:pt x="308" y="38"/>
                  </a:lnTo>
                  <a:lnTo>
                    <a:pt x="304" y="40"/>
                  </a:lnTo>
                  <a:lnTo>
                    <a:pt x="300" y="42"/>
                  </a:lnTo>
                  <a:lnTo>
                    <a:pt x="294" y="42"/>
                  </a:lnTo>
                  <a:lnTo>
                    <a:pt x="290" y="46"/>
                  </a:lnTo>
                  <a:lnTo>
                    <a:pt x="288" y="46"/>
                  </a:lnTo>
                  <a:lnTo>
                    <a:pt x="288" y="50"/>
                  </a:lnTo>
                  <a:lnTo>
                    <a:pt x="288" y="52"/>
                  </a:lnTo>
                  <a:close/>
                  <a:moveTo>
                    <a:pt x="324" y="48"/>
                  </a:moveTo>
                  <a:lnTo>
                    <a:pt x="322" y="48"/>
                  </a:lnTo>
                  <a:lnTo>
                    <a:pt x="322" y="50"/>
                  </a:lnTo>
                  <a:lnTo>
                    <a:pt x="324" y="52"/>
                  </a:lnTo>
                  <a:lnTo>
                    <a:pt x="326" y="52"/>
                  </a:lnTo>
                  <a:lnTo>
                    <a:pt x="328" y="52"/>
                  </a:lnTo>
                  <a:lnTo>
                    <a:pt x="332" y="54"/>
                  </a:lnTo>
                  <a:lnTo>
                    <a:pt x="332" y="50"/>
                  </a:lnTo>
                  <a:lnTo>
                    <a:pt x="334" y="50"/>
                  </a:lnTo>
                  <a:lnTo>
                    <a:pt x="336" y="50"/>
                  </a:lnTo>
                  <a:lnTo>
                    <a:pt x="338" y="50"/>
                  </a:lnTo>
                  <a:lnTo>
                    <a:pt x="338" y="48"/>
                  </a:lnTo>
                  <a:lnTo>
                    <a:pt x="336" y="48"/>
                  </a:lnTo>
                  <a:lnTo>
                    <a:pt x="334" y="48"/>
                  </a:lnTo>
                  <a:lnTo>
                    <a:pt x="332" y="48"/>
                  </a:lnTo>
                  <a:lnTo>
                    <a:pt x="332" y="46"/>
                  </a:lnTo>
                  <a:lnTo>
                    <a:pt x="328" y="44"/>
                  </a:lnTo>
                  <a:lnTo>
                    <a:pt x="324" y="48"/>
                  </a:lnTo>
                  <a:close/>
                  <a:moveTo>
                    <a:pt x="264" y="50"/>
                  </a:moveTo>
                  <a:lnTo>
                    <a:pt x="264" y="50"/>
                  </a:lnTo>
                  <a:lnTo>
                    <a:pt x="264" y="48"/>
                  </a:lnTo>
                  <a:lnTo>
                    <a:pt x="262" y="48"/>
                  </a:lnTo>
                  <a:lnTo>
                    <a:pt x="262" y="46"/>
                  </a:lnTo>
                  <a:lnTo>
                    <a:pt x="260" y="48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2" y="52"/>
                  </a:lnTo>
                  <a:lnTo>
                    <a:pt x="262" y="54"/>
                  </a:lnTo>
                  <a:lnTo>
                    <a:pt x="264" y="54"/>
                  </a:lnTo>
                  <a:lnTo>
                    <a:pt x="264" y="52"/>
                  </a:lnTo>
                  <a:lnTo>
                    <a:pt x="266" y="52"/>
                  </a:lnTo>
                  <a:lnTo>
                    <a:pt x="264" y="50"/>
                  </a:lnTo>
                  <a:close/>
                  <a:moveTo>
                    <a:pt x="254" y="32"/>
                  </a:moveTo>
                  <a:lnTo>
                    <a:pt x="254" y="32"/>
                  </a:lnTo>
                  <a:lnTo>
                    <a:pt x="256" y="36"/>
                  </a:lnTo>
                  <a:lnTo>
                    <a:pt x="256" y="38"/>
                  </a:lnTo>
                  <a:lnTo>
                    <a:pt x="260" y="38"/>
                  </a:lnTo>
                  <a:lnTo>
                    <a:pt x="262" y="38"/>
                  </a:lnTo>
                  <a:lnTo>
                    <a:pt x="262" y="36"/>
                  </a:lnTo>
                  <a:lnTo>
                    <a:pt x="260" y="36"/>
                  </a:lnTo>
                  <a:lnTo>
                    <a:pt x="258" y="34"/>
                  </a:lnTo>
                  <a:lnTo>
                    <a:pt x="260" y="34"/>
                  </a:lnTo>
                  <a:lnTo>
                    <a:pt x="256" y="32"/>
                  </a:lnTo>
                  <a:lnTo>
                    <a:pt x="256" y="30"/>
                  </a:lnTo>
                  <a:lnTo>
                    <a:pt x="254" y="28"/>
                  </a:lnTo>
                  <a:lnTo>
                    <a:pt x="254" y="30"/>
                  </a:lnTo>
                  <a:lnTo>
                    <a:pt x="254" y="32"/>
                  </a:lnTo>
                  <a:close/>
                  <a:moveTo>
                    <a:pt x="272" y="54"/>
                  </a:moveTo>
                  <a:lnTo>
                    <a:pt x="274" y="56"/>
                  </a:lnTo>
                  <a:lnTo>
                    <a:pt x="268" y="50"/>
                  </a:lnTo>
                  <a:lnTo>
                    <a:pt x="268" y="52"/>
                  </a:lnTo>
                  <a:lnTo>
                    <a:pt x="268" y="54"/>
                  </a:lnTo>
                  <a:lnTo>
                    <a:pt x="272" y="54"/>
                  </a:lnTo>
                  <a:close/>
                  <a:moveTo>
                    <a:pt x="284" y="38"/>
                  </a:moveTo>
                  <a:lnTo>
                    <a:pt x="284" y="38"/>
                  </a:lnTo>
                  <a:lnTo>
                    <a:pt x="284" y="36"/>
                  </a:lnTo>
                  <a:lnTo>
                    <a:pt x="280" y="36"/>
                  </a:lnTo>
                  <a:lnTo>
                    <a:pt x="280" y="38"/>
                  </a:lnTo>
                  <a:lnTo>
                    <a:pt x="282" y="38"/>
                  </a:lnTo>
                  <a:lnTo>
                    <a:pt x="284" y="38"/>
                  </a:lnTo>
                  <a:close/>
                  <a:moveTo>
                    <a:pt x="260" y="30"/>
                  </a:moveTo>
                  <a:lnTo>
                    <a:pt x="258" y="30"/>
                  </a:lnTo>
                  <a:lnTo>
                    <a:pt x="258" y="32"/>
                  </a:lnTo>
                  <a:lnTo>
                    <a:pt x="260" y="32"/>
                  </a:lnTo>
                  <a:lnTo>
                    <a:pt x="260" y="30"/>
                  </a:lnTo>
                  <a:close/>
                  <a:moveTo>
                    <a:pt x="254" y="32"/>
                  </a:moveTo>
                  <a:lnTo>
                    <a:pt x="254" y="32"/>
                  </a:lnTo>
                  <a:lnTo>
                    <a:pt x="252" y="32"/>
                  </a:lnTo>
                  <a:lnTo>
                    <a:pt x="254" y="32"/>
                  </a:lnTo>
                  <a:close/>
                  <a:moveTo>
                    <a:pt x="298" y="32"/>
                  </a:moveTo>
                  <a:lnTo>
                    <a:pt x="300" y="32"/>
                  </a:lnTo>
                  <a:lnTo>
                    <a:pt x="296" y="32"/>
                  </a:lnTo>
                  <a:lnTo>
                    <a:pt x="298" y="32"/>
                  </a:lnTo>
                  <a:close/>
                  <a:moveTo>
                    <a:pt x="104" y="178"/>
                  </a:moveTo>
                  <a:lnTo>
                    <a:pt x="104" y="178"/>
                  </a:lnTo>
                  <a:close/>
                  <a:moveTo>
                    <a:pt x="200" y="96"/>
                  </a:moveTo>
                  <a:lnTo>
                    <a:pt x="202" y="92"/>
                  </a:lnTo>
                  <a:lnTo>
                    <a:pt x="202" y="90"/>
                  </a:lnTo>
                  <a:lnTo>
                    <a:pt x="206" y="88"/>
                  </a:lnTo>
                  <a:lnTo>
                    <a:pt x="204" y="94"/>
                  </a:lnTo>
                  <a:lnTo>
                    <a:pt x="210" y="94"/>
                  </a:lnTo>
                  <a:lnTo>
                    <a:pt x="214" y="98"/>
                  </a:lnTo>
                  <a:lnTo>
                    <a:pt x="214" y="94"/>
                  </a:lnTo>
                  <a:lnTo>
                    <a:pt x="216" y="94"/>
                  </a:lnTo>
                  <a:lnTo>
                    <a:pt x="214" y="92"/>
                  </a:lnTo>
                  <a:lnTo>
                    <a:pt x="210" y="92"/>
                  </a:lnTo>
                  <a:lnTo>
                    <a:pt x="212" y="90"/>
                  </a:lnTo>
                  <a:lnTo>
                    <a:pt x="210" y="88"/>
                  </a:lnTo>
                  <a:lnTo>
                    <a:pt x="206" y="88"/>
                  </a:lnTo>
                  <a:lnTo>
                    <a:pt x="210" y="86"/>
                  </a:lnTo>
                  <a:lnTo>
                    <a:pt x="208" y="82"/>
                  </a:lnTo>
                  <a:lnTo>
                    <a:pt x="204" y="82"/>
                  </a:lnTo>
                  <a:lnTo>
                    <a:pt x="204" y="80"/>
                  </a:lnTo>
                  <a:lnTo>
                    <a:pt x="198" y="80"/>
                  </a:lnTo>
                  <a:lnTo>
                    <a:pt x="196" y="78"/>
                  </a:lnTo>
                  <a:lnTo>
                    <a:pt x="196" y="80"/>
                  </a:lnTo>
                  <a:lnTo>
                    <a:pt x="194" y="80"/>
                  </a:lnTo>
                  <a:lnTo>
                    <a:pt x="192" y="80"/>
                  </a:lnTo>
                  <a:lnTo>
                    <a:pt x="188" y="80"/>
                  </a:lnTo>
                  <a:lnTo>
                    <a:pt x="188" y="76"/>
                  </a:lnTo>
                  <a:lnTo>
                    <a:pt x="184" y="76"/>
                  </a:lnTo>
                  <a:lnTo>
                    <a:pt x="182" y="76"/>
                  </a:lnTo>
                  <a:lnTo>
                    <a:pt x="182" y="74"/>
                  </a:lnTo>
                  <a:lnTo>
                    <a:pt x="184" y="72"/>
                  </a:lnTo>
                  <a:lnTo>
                    <a:pt x="186" y="72"/>
                  </a:lnTo>
                  <a:lnTo>
                    <a:pt x="188" y="70"/>
                  </a:lnTo>
                  <a:lnTo>
                    <a:pt x="186" y="68"/>
                  </a:lnTo>
                  <a:lnTo>
                    <a:pt x="184" y="68"/>
                  </a:lnTo>
                  <a:lnTo>
                    <a:pt x="182" y="68"/>
                  </a:lnTo>
                  <a:lnTo>
                    <a:pt x="180" y="68"/>
                  </a:lnTo>
                  <a:lnTo>
                    <a:pt x="180" y="66"/>
                  </a:lnTo>
                  <a:lnTo>
                    <a:pt x="178" y="64"/>
                  </a:lnTo>
                  <a:lnTo>
                    <a:pt x="180" y="64"/>
                  </a:lnTo>
                  <a:lnTo>
                    <a:pt x="180" y="62"/>
                  </a:lnTo>
                  <a:lnTo>
                    <a:pt x="176" y="62"/>
                  </a:lnTo>
                  <a:lnTo>
                    <a:pt x="180" y="58"/>
                  </a:lnTo>
                  <a:lnTo>
                    <a:pt x="180" y="56"/>
                  </a:lnTo>
                  <a:lnTo>
                    <a:pt x="178" y="56"/>
                  </a:lnTo>
                  <a:lnTo>
                    <a:pt x="178" y="52"/>
                  </a:lnTo>
                  <a:lnTo>
                    <a:pt x="180" y="52"/>
                  </a:lnTo>
                  <a:lnTo>
                    <a:pt x="176" y="50"/>
                  </a:lnTo>
                  <a:lnTo>
                    <a:pt x="176" y="54"/>
                  </a:lnTo>
                  <a:lnTo>
                    <a:pt x="176" y="56"/>
                  </a:lnTo>
                  <a:lnTo>
                    <a:pt x="174" y="60"/>
                  </a:lnTo>
                  <a:lnTo>
                    <a:pt x="172" y="60"/>
                  </a:lnTo>
                  <a:lnTo>
                    <a:pt x="170" y="60"/>
                  </a:lnTo>
                  <a:lnTo>
                    <a:pt x="168" y="60"/>
                  </a:lnTo>
                  <a:lnTo>
                    <a:pt x="170" y="58"/>
                  </a:lnTo>
                  <a:lnTo>
                    <a:pt x="168" y="56"/>
                  </a:lnTo>
                  <a:lnTo>
                    <a:pt x="164" y="56"/>
                  </a:lnTo>
                  <a:lnTo>
                    <a:pt x="166" y="54"/>
                  </a:lnTo>
                  <a:lnTo>
                    <a:pt x="170" y="50"/>
                  </a:lnTo>
                  <a:lnTo>
                    <a:pt x="170" y="48"/>
                  </a:lnTo>
                  <a:lnTo>
                    <a:pt x="174" y="48"/>
                  </a:lnTo>
                  <a:lnTo>
                    <a:pt x="168" y="48"/>
                  </a:lnTo>
                  <a:lnTo>
                    <a:pt x="170" y="46"/>
                  </a:lnTo>
                  <a:lnTo>
                    <a:pt x="170" y="44"/>
                  </a:lnTo>
                  <a:lnTo>
                    <a:pt x="172" y="40"/>
                  </a:lnTo>
                  <a:lnTo>
                    <a:pt x="170" y="40"/>
                  </a:lnTo>
                  <a:lnTo>
                    <a:pt x="168" y="40"/>
                  </a:lnTo>
                  <a:lnTo>
                    <a:pt x="166" y="40"/>
                  </a:lnTo>
                  <a:lnTo>
                    <a:pt x="166" y="38"/>
                  </a:lnTo>
                  <a:lnTo>
                    <a:pt x="168" y="38"/>
                  </a:lnTo>
                  <a:lnTo>
                    <a:pt x="170" y="38"/>
                  </a:lnTo>
                  <a:lnTo>
                    <a:pt x="172" y="38"/>
                  </a:lnTo>
                  <a:lnTo>
                    <a:pt x="174" y="38"/>
                  </a:lnTo>
                  <a:lnTo>
                    <a:pt x="178" y="40"/>
                  </a:lnTo>
                  <a:lnTo>
                    <a:pt x="180" y="42"/>
                  </a:lnTo>
                  <a:lnTo>
                    <a:pt x="180" y="38"/>
                  </a:lnTo>
                  <a:lnTo>
                    <a:pt x="182" y="36"/>
                  </a:lnTo>
                  <a:lnTo>
                    <a:pt x="186" y="36"/>
                  </a:lnTo>
                  <a:lnTo>
                    <a:pt x="188" y="34"/>
                  </a:lnTo>
                  <a:lnTo>
                    <a:pt x="190" y="32"/>
                  </a:lnTo>
                  <a:lnTo>
                    <a:pt x="194" y="34"/>
                  </a:lnTo>
                  <a:lnTo>
                    <a:pt x="194" y="32"/>
                  </a:lnTo>
                  <a:lnTo>
                    <a:pt x="196" y="32"/>
                  </a:lnTo>
                  <a:lnTo>
                    <a:pt x="198" y="32"/>
                  </a:lnTo>
                  <a:lnTo>
                    <a:pt x="200" y="30"/>
                  </a:lnTo>
                  <a:lnTo>
                    <a:pt x="202" y="30"/>
                  </a:lnTo>
                  <a:lnTo>
                    <a:pt x="200" y="26"/>
                  </a:lnTo>
                  <a:lnTo>
                    <a:pt x="198" y="28"/>
                  </a:lnTo>
                  <a:lnTo>
                    <a:pt x="192" y="30"/>
                  </a:lnTo>
                  <a:lnTo>
                    <a:pt x="192" y="32"/>
                  </a:lnTo>
                  <a:lnTo>
                    <a:pt x="188" y="32"/>
                  </a:lnTo>
                  <a:lnTo>
                    <a:pt x="186" y="32"/>
                  </a:lnTo>
                  <a:lnTo>
                    <a:pt x="184" y="32"/>
                  </a:lnTo>
                  <a:lnTo>
                    <a:pt x="182" y="32"/>
                  </a:lnTo>
                  <a:lnTo>
                    <a:pt x="182" y="30"/>
                  </a:lnTo>
                  <a:lnTo>
                    <a:pt x="182" y="28"/>
                  </a:lnTo>
                  <a:lnTo>
                    <a:pt x="180" y="26"/>
                  </a:lnTo>
                  <a:lnTo>
                    <a:pt x="178" y="26"/>
                  </a:lnTo>
                  <a:lnTo>
                    <a:pt x="174" y="26"/>
                  </a:lnTo>
                  <a:lnTo>
                    <a:pt x="170" y="24"/>
                  </a:lnTo>
                  <a:lnTo>
                    <a:pt x="168" y="26"/>
                  </a:lnTo>
                  <a:lnTo>
                    <a:pt x="166" y="28"/>
                  </a:lnTo>
                  <a:lnTo>
                    <a:pt x="164" y="30"/>
                  </a:lnTo>
                  <a:lnTo>
                    <a:pt x="162" y="28"/>
                  </a:lnTo>
                  <a:lnTo>
                    <a:pt x="162" y="26"/>
                  </a:lnTo>
                  <a:lnTo>
                    <a:pt x="160" y="24"/>
                  </a:lnTo>
                  <a:lnTo>
                    <a:pt x="162" y="22"/>
                  </a:lnTo>
                  <a:lnTo>
                    <a:pt x="164" y="20"/>
                  </a:lnTo>
                  <a:lnTo>
                    <a:pt x="166" y="18"/>
                  </a:lnTo>
                  <a:lnTo>
                    <a:pt x="168" y="18"/>
                  </a:lnTo>
                  <a:lnTo>
                    <a:pt x="168" y="20"/>
                  </a:lnTo>
                  <a:lnTo>
                    <a:pt x="170" y="22"/>
                  </a:lnTo>
                  <a:lnTo>
                    <a:pt x="172" y="24"/>
                  </a:lnTo>
                  <a:lnTo>
                    <a:pt x="172" y="20"/>
                  </a:lnTo>
                  <a:lnTo>
                    <a:pt x="174" y="22"/>
                  </a:lnTo>
                  <a:lnTo>
                    <a:pt x="172" y="18"/>
                  </a:lnTo>
                  <a:lnTo>
                    <a:pt x="174" y="18"/>
                  </a:lnTo>
                  <a:lnTo>
                    <a:pt x="178" y="18"/>
                  </a:lnTo>
                  <a:lnTo>
                    <a:pt x="178" y="16"/>
                  </a:lnTo>
                  <a:lnTo>
                    <a:pt x="180" y="16"/>
                  </a:lnTo>
                  <a:lnTo>
                    <a:pt x="184" y="18"/>
                  </a:lnTo>
                  <a:lnTo>
                    <a:pt x="184" y="16"/>
                  </a:lnTo>
                  <a:lnTo>
                    <a:pt x="184" y="14"/>
                  </a:lnTo>
                  <a:lnTo>
                    <a:pt x="188" y="12"/>
                  </a:lnTo>
                  <a:lnTo>
                    <a:pt x="190" y="14"/>
                  </a:lnTo>
                  <a:lnTo>
                    <a:pt x="192" y="14"/>
                  </a:lnTo>
                  <a:lnTo>
                    <a:pt x="196" y="14"/>
                  </a:lnTo>
                  <a:lnTo>
                    <a:pt x="194" y="18"/>
                  </a:lnTo>
                  <a:lnTo>
                    <a:pt x="196" y="20"/>
                  </a:lnTo>
                  <a:lnTo>
                    <a:pt x="198" y="22"/>
                  </a:lnTo>
                  <a:lnTo>
                    <a:pt x="200" y="22"/>
                  </a:lnTo>
                  <a:lnTo>
                    <a:pt x="198" y="18"/>
                  </a:lnTo>
                  <a:lnTo>
                    <a:pt x="200" y="16"/>
                  </a:lnTo>
                  <a:lnTo>
                    <a:pt x="202" y="14"/>
                  </a:lnTo>
                  <a:lnTo>
                    <a:pt x="200" y="14"/>
                  </a:lnTo>
                  <a:lnTo>
                    <a:pt x="202" y="12"/>
                  </a:lnTo>
                  <a:lnTo>
                    <a:pt x="200" y="12"/>
                  </a:lnTo>
                  <a:lnTo>
                    <a:pt x="198" y="10"/>
                  </a:lnTo>
                  <a:lnTo>
                    <a:pt x="200" y="8"/>
                  </a:lnTo>
                  <a:lnTo>
                    <a:pt x="202" y="6"/>
                  </a:lnTo>
                  <a:lnTo>
                    <a:pt x="206" y="8"/>
                  </a:lnTo>
                  <a:lnTo>
                    <a:pt x="208" y="8"/>
                  </a:lnTo>
                  <a:lnTo>
                    <a:pt x="210" y="6"/>
                  </a:lnTo>
                  <a:lnTo>
                    <a:pt x="212" y="8"/>
                  </a:lnTo>
                  <a:lnTo>
                    <a:pt x="216" y="8"/>
                  </a:lnTo>
                  <a:lnTo>
                    <a:pt x="218" y="6"/>
                  </a:lnTo>
                  <a:lnTo>
                    <a:pt x="220" y="8"/>
                  </a:lnTo>
                  <a:lnTo>
                    <a:pt x="224" y="8"/>
                  </a:lnTo>
                  <a:lnTo>
                    <a:pt x="226" y="6"/>
                  </a:lnTo>
                  <a:lnTo>
                    <a:pt x="230" y="8"/>
                  </a:lnTo>
                  <a:lnTo>
                    <a:pt x="228" y="4"/>
                  </a:lnTo>
                  <a:lnTo>
                    <a:pt x="230" y="6"/>
                  </a:lnTo>
                  <a:lnTo>
                    <a:pt x="234" y="4"/>
                  </a:lnTo>
                  <a:lnTo>
                    <a:pt x="234" y="2"/>
                  </a:lnTo>
                  <a:lnTo>
                    <a:pt x="236" y="2"/>
                  </a:lnTo>
                  <a:lnTo>
                    <a:pt x="222" y="0"/>
                  </a:lnTo>
                  <a:lnTo>
                    <a:pt x="200" y="2"/>
                  </a:lnTo>
                  <a:lnTo>
                    <a:pt x="180" y="6"/>
                  </a:lnTo>
                  <a:lnTo>
                    <a:pt x="158" y="10"/>
                  </a:lnTo>
                  <a:lnTo>
                    <a:pt x="138" y="18"/>
                  </a:lnTo>
                  <a:lnTo>
                    <a:pt x="120" y="26"/>
                  </a:lnTo>
                  <a:lnTo>
                    <a:pt x="102" y="36"/>
                  </a:lnTo>
                  <a:lnTo>
                    <a:pt x="86" y="48"/>
                  </a:lnTo>
                  <a:lnTo>
                    <a:pt x="70" y="62"/>
                  </a:lnTo>
                  <a:lnTo>
                    <a:pt x="72" y="62"/>
                  </a:lnTo>
                  <a:lnTo>
                    <a:pt x="70" y="68"/>
                  </a:lnTo>
                  <a:lnTo>
                    <a:pt x="68" y="66"/>
                  </a:lnTo>
                  <a:lnTo>
                    <a:pt x="68" y="68"/>
                  </a:lnTo>
                  <a:lnTo>
                    <a:pt x="66" y="68"/>
                  </a:lnTo>
                  <a:lnTo>
                    <a:pt x="64" y="70"/>
                  </a:lnTo>
                  <a:lnTo>
                    <a:pt x="60" y="74"/>
                  </a:lnTo>
                  <a:lnTo>
                    <a:pt x="56" y="78"/>
                  </a:lnTo>
                  <a:lnTo>
                    <a:pt x="56" y="76"/>
                  </a:lnTo>
                  <a:lnTo>
                    <a:pt x="44" y="90"/>
                  </a:lnTo>
                  <a:lnTo>
                    <a:pt x="34" y="106"/>
                  </a:lnTo>
                  <a:lnTo>
                    <a:pt x="24" y="122"/>
                  </a:lnTo>
                  <a:lnTo>
                    <a:pt x="18" y="138"/>
                  </a:lnTo>
                  <a:lnTo>
                    <a:pt x="10" y="156"/>
                  </a:lnTo>
                  <a:lnTo>
                    <a:pt x="6" y="174"/>
                  </a:lnTo>
                  <a:lnTo>
                    <a:pt x="2" y="192"/>
                  </a:lnTo>
                  <a:lnTo>
                    <a:pt x="0" y="212"/>
                  </a:lnTo>
                  <a:lnTo>
                    <a:pt x="2" y="210"/>
                  </a:lnTo>
                  <a:lnTo>
                    <a:pt x="4" y="206"/>
                  </a:lnTo>
                  <a:lnTo>
                    <a:pt x="2" y="200"/>
                  </a:lnTo>
                  <a:lnTo>
                    <a:pt x="4" y="198"/>
                  </a:lnTo>
                  <a:lnTo>
                    <a:pt x="6" y="200"/>
                  </a:lnTo>
                  <a:lnTo>
                    <a:pt x="6" y="198"/>
                  </a:lnTo>
                  <a:lnTo>
                    <a:pt x="6" y="196"/>
                  </a:lnTo>
                  <a:lnTo>
                    <a:pt x="6" y="194"/>
                  </a:lnTo>
                  <a:lnTo>
                    <a:pt x="4" y="188"/>
                  </a:lnTo>
                  <a:lnTo>
                    <a:pt x="4" y="186"/>
                  </a:lnTo>
                  <a:lnTo>
                    <a:pt x="6" y="184"/>
                  </a:lnTo>
                  <a:lnTo>
                    <a:pt x="6" y="186"/>
                  </a:lnTo>
                  <a:lnTo>
                    <a:pt x="12" y="186"/>
                  </a:lnTo>
                  <a:lnTo>
                    <a:pt x="14" y="182"/>
                  </a:lnTo>
                  <a:lnTo>
                    <a:pt x="14" y="180"/>
                  </a:lnTo>
                  <a:lnTo>
                    <a:pt x="12" y="178"/>
                  </a:lnTo>
                  <a:lnTo>
                    <a:pt x="16" y="176"/>
                  </a:lnTo>
                  <a:lnTo>
                    <a:pt x="14" y="178"/>
                  </a:lnTo>
                  <a:lnTo>
                    <a:pt x="16" y="180"/>
                  </a:lnTo>
                  <a:lnTo>
                    <a:pt x="18" y="178"/>
                  </a:lnTo>
                  <a:lnTo>
                    <a:pt x="20" y="176"/>
                  </a:lnTo>
                  <a:lnTo>
                    <a:pt x="22" y="174"/>
                  </a:lnTo>
                  <a:lnTo>
                    <a:pt x="22" y="168"/>
                  </a:lnTo>
                  <a:lnTo>
                    <a:pt x="24" y="168"/>
                  </a:lnTo>
                  <a:lnTo>
                    <a:pt x="22" y="170"/>
                  </a:lnTo>
                  <a:lnTo>
                    <a:pt x="22" y="172"/>
                  </a:lnTo>
                  <a:lnTo>
                    <a:pt x="22" y="174"/>
                  </a:lnTo>
                  <a:lnTo>
                    <a:pt x="22" y="178"/>
                  </a:lnTo>
                  <a:lnTo>
                    <a:pt x="20" y="182"/>
                  </a:lnTo>
                  <a:lnTo>
                    <a:pt x="22" y="184"/>
                  </a:lnTo>
                  <a:lnTo>
                    <a:pt x="20" y="184"/>
                  </a:lnTo>
                  <a:lnTo>
                    <a:pt x="22" y="188"/>
                  </a:lnTo>
                  <a:lnTo>
                    <a:pt x="20" y="194"/>
                  </a:lnTo>
                  <a:lnTo>
                    <a:pt x="18" y="200"/>
                  </a:lnTo>
                  <a:lnTo>
                    <a:pt x="18" y="202"/>
                  </a:lnTo>
                  <a:lnTo>
                    <a:pt x="18" y="204"/>
                  </a:lnTo>
                  <a:lnTo>
                    <a:pt x="18" y="206"/>
                  </a:lnTo>
                  <a:lnTo>
                    <a:pt x="16" y="208"/>
                  </a:lnTo>
                  <a:lnTo>
                    <a:pt x="14" y="210"/>
                  </a:lnTo>
                  <a:lnTo>
                    <a:pt x="12" y="212"/>
                  </a:lnTo>
                  <a:lnTo>
                    <a:pt x="12" y="214"/>
                  </a:lnTo>
                  <a:lnTo>
                    <a:pt x="10" y="216"/>
                  </a:lnTo>
                  <a:lnTo>
                    <a:pt x="12" y="216"/>
                  </a:lnTo>
                  <a:lnTo>
                    <a:pt x="12" y="218"/>
                  </a:lnTo>
                  <a:lnTo>
                    <a:pt x="12" y="222"/>
                  </a:lnTo>
                  <a:lnTo>
                    <a:pt x="10" y="224"/>
                  </a:lnTo>
                  <a:lnTo>
                    <a:pt x="8" y="226"/>
                  </a:lnTo>
                  <a:lnTo>
                    <a:pt x="10" y="230"/>
                  </a:lnTo>
                  <a:lnTo>
                    <a:pt x="10" y="234"/>
                  </a:lnTo>
                  <a:lnTo>
                    <a:pt x="8" y="240"/>
                  </a:lnTo>
                  <a:lnTo>
                    <a:pt x="12" y="248"/>
                  </a:lnTo>
                  <a:lnTo>
                    <a:pt x="10" y="252"/>
                  </a:lnTo>
                  <a:lnTo>
                    <a:pt x="10" y="260"/>
                  </a:lnTo>
                  <a:lnTo>
                    <a:pt x="12" y="264"/>
                  </a:lnTo>
                  <a:lnTo>
                    <a:pt x="14" y="270"/>
                  </a:lnTo>
                  <a:lnTo>
                    <a:pt x="14" y="278"/>
                  </a:lnTo>
                  <a:lnTo>
                    <a:pt x="16" y="282"/>
                  </a:lnTo>
                  <a:lnTo>
                    <a:pt x="18" y="282"/>
                  </a:lnTo>
                  <a:lnTo>
                    <a:pt x="16" y="286"/>
                  </a:lnTo>
                  <a:lnTo>
                    <a:pt x="20" y="288"/>
                  </a:lnTo>
                  <a:lnTo>
                    <a:pt x="18" y="292"/>
                  </a:lnTo>
                  <a:lnTo>
                    <a:pt x="22" y="294"/>
                  </a:lnTo>
                  <a:lnTo>
                    <a:pt x="22" y="298"/>
                  </a:lnTo>
                  <a:lnTo>
                    <a:pt x="24" y="302"/>
                  </a:lnTo>
                  <a:lnTo>
                    <a:pt x="26" y="306"/>
                  </a:lnTo>
                  <a:lnTo>
                    <a:pt x="26" y="308"/>
                  </a:lnTo>
                  <a:lnTo>
                    <a:pt x="26" y="310"/>
                  </a:lnTo>
                  <a:lnTo>
                    <a:pt x="28" y="312"/>
                  </a:lnTo>
                  <a:lnTo>
                    <a:pt x="30" y="316"/>
                  </a:lnTo>
                  <a:lnTo>
                    <a:pt x="34" y="318"/>
                  </a:lnTo>
                  <a:lnTo>
                    <a:pt x="34" y="320"/>
                  </a:lnTo>
                  <a:lnTo>
                    <a:pt x="38" y="322"/>
                  </a:lnTo>
                  <a:lnTo>
                    <a:pt x="40" y="326"/>
                  </a:lnTo>
                  <a:lnTo>
                    <a:pt x="42" y="326"/>
                  </a:lnTo>
                  <a:lnTo>
                    <a:pt x="44" y="330"/>
                  </a:lnTo>
                  <a:lnTo>
                    <a:pt x="46" y="330"/>
                  </a:lnTo>
                  <a:lnTo>
                    <a:pt x="48" y="332"/>
                  </a:lnTo>
                  <a:lnTo>
                    <a:pt x="50" y="334"/>
                  </a:lnTo>
                  <a:lnTo>
                    <a:pt x="54" y="336"/>
                  </a:lnTo>
                  <a:lnTo>
                    <a:pt x="56" y="340"/>
                  </a:lnTo>
                  <a:lnTo>
                    <a:pt x="60" y="340"/>
                  </a:lnTo>
                  <a:lnTo>
                    <a:pt x="62" y="344"/>
                  </a:lnTo>
                  <a:lnTo>
                    <a:pt x="62" y="346"/>
                  </a:lnTo>
                  <a:lnTo>
                    <a:pt x="64" y="346"/>
                  </a:lnTo>
                  <a:lnTo>
                    <a:pt x="64" y="344"/>
                  </a:lnTo>
                  <a:lnTo>
                    <a:pt x="66" y="344"/>
                  </a:lnTo>
                  <a:lnTo>
                    <a:pt x="68" y="344"/>
                  </a:lnTo>
                  <a:lnTo>
                    <a:pt x="70" y="344"/>
                  </a:lnTo>
                  <a:lnTo>
                    <a:pt x="72" y="344"/>
                  </a:lnTo>
                  <a:lnTo>
                    <a:pt x="68" y="342"/>
                  </a:lnTo>
                  <a:lnTo>
                    <a:pt x="66" y="342"/>
                  </a:lnTo>
                  <a:lnTo>
                    <a:pt x="62" y="340"/>
                  </a:lnTo>
                  <a:lnTo>
                    <a:pt x="60" y="338"/>
                  </a:lnTo>
                  <a:lnTo>
                    <a:pt x="56" y="338"/>
                  </a:lnTo>
                  <a:lnTo>
                    <a:pt x="54" y="334"/>
                  </a:lnTo>
                  <a:lnTo>
                    <a:pt x="48" y="330"/>
                  </a:lnTo>
                  <a:lnTo>
                    <a:pt x="46" y="330"/>
                  </a:lnTo>
                  <a:lnTo>
                    <a:pt x="46" y="326"/>
                  </a:lnTo>
                  <a:lnTo>
                    <a:pt x="44" y="326"/>
                  </a:lnTo>
                  <a:lnTo>
                    <a:pt x="42" y="326"/>
                  </a:lnTo>
                  <a:lnTo>
                    <a:pt x="40" y="324"/>
                  </a:lnTo>
                  <a:lnTo>
                    <a:pt x="40" y="322"/>
                  </a:lnTo>
                  <a:lnTo>
                    <a:pt x="40" y="320"/>
                  </a:lnTo>
                  <a:lnTo>
                    <a:pt x="38" y="320"/>
                  </a:lnTo>
                  <a:lnTo>
                    <a:pt x="36" y="320"/>
                  </a:lnTo>
                  <a:lnTo>
                    <a:pt x="36" y="318"/>
                  </a:lnTo>
                  <a:lnTo>
                    <a:pt x="34" y="318"/>
                  </a:lnTo>
                  <a:lnTo>
                    <a:pt x="34" y="316"/>
                  </a:lnTo>
                  <a:lnTo>
                    <a:pt x="34" y="314"/>
                  </a:lnTo>
                  <a:lnTo>
                    <a:pt x="32" y="312"/>
                  </a:lnTo>
                  <a:lnTo>
                    <a:pt x="30" y="310"/>
                  </a:lnTo>
                  <a:lnTo>
                    <a:pt x="28" y="306"/>
                  </a:lnTo>
                  <a:lnTo>
                    <a:pt x="28" y="304"/>
                  </a:lnTo>
                  <a:lnTo>
                    <a:pt x="30" y="302"/>
                  </a:lnTo>
                  <a:lnTo>
                    <a:pt x="30" y="300"/>
                  </a:lnTo>
                  <a:lnTo>
                    <a:pt x="30" y="298"/>
                  </a:lnTo>
                  <a:lnTo>
                    <a:pt x="28" y="298"/>
                  </a:lnTo>
                  <a:lnTo>
                    <a:pt x="26" y="294"/>
                  </a:lnTo>
                  <a:lnTo>
                    <a:pt x="24" y="292"/>
                  </a:lnTo>
                  <a:lnTo>
                    <a:pt x="24" y="288"/>
                  </a:lnTo>
                  <a:lnTo>
                    <a:pt x="24" y="286"/>
                  </a:lnTo>
                  <a:lnTo>
                    <a:pt x="22" y="280"/>
                  </a:lnTo>
                  <a:lnTo>
                    <a:pt x="24" y="276"/>
                  </a:lnTo>
                  <a:lnTo>
                    <a:pt x="22" y="274"/>
                  </a:lnTo>
                  <a:lnTo>
                    <a:pt x="22" y="270"/>
                  </a:lnTo>
                  <a:lnTo>
                    <a:pt x="22" y="264"/>
                  </a:lnTo>
                  <a:lnTo>
                    <a:pt x="20" y="260"/>
                  </a:lnTo>
                  <a:lnTo>
                    <a:pt x="22" y="256"/>
                  </a:lnTo>
                  <a:lnTo>
                    <a:pt x="20" y="252"/>
                  </a:lnTo>
                  <a:lnTo>
                    <a:pt x="20" y="248"/>
                  </a:lnTo>
                  <a:lnTo>
                    <a:pt x="18" y="244"/>
                  </a:lnTo>
                  <a:lnTo>
                    <a:pt x="18" y="242"/>
                  </a:lnTo>
                  <a:lnTo>
                    <a:pt x="18" y="240"/>
                  </a:lnTo>
                  <a:lnTo>
                    <a:pt x="18" y="238"/>
                  </a:lnTo>
                  <a:lnTo>
                    <a:pt x="18" y="234"/>
                  </a:lnTo>
                  <a:lnTo>
                    <a:pt x="18" y="232"/>
                  </a:lnTo>
                  <a:lnTo>
                    <a:pt x="22" y="232"/>
                  </a:lnTo>
                  <a:lnTo>
                    <a:pt x="24" y="234"/>
                  </a:lnTo>
                  <a:lnTo>
                    <a:pt x="24" y="238"/>
                  </a:lnTo>
                  <a:lnTo>
                    <a:pt x="22" y="240"/>
                  </a:lnTo>
                  <a:lnTo>
                    <a:pt x="24" y="242"/>
                  </a:lnTo>
                  <a:lnTo>
                    <a:pt x="26" y="244"/>
                  </a:lnTo>
                  <a:lnTo>
                    <a:pt x="24" y="246"/>
                  </a:lnTo>
                  <a:lnTo>
                    <a:pt x="24" y="248"/>
                  </a:lnTo>
                  <a:lnTo>
                    <a:pt x="24" y="252"/>
                  </a:lnTo>
                  <a:lnTo>
                    <a:pt x="24" y="254"/>
                  </a:lnTo>
                  <a:lnTo>
                    <a:pt x="26" y="256"/>
                  </a:lnTo>
                  <a:lnTo>
                    <a:pt x="28" y="256"/>
                  </a:lnTo>
                  <a:lnTo>
                    <a:pt x="30" y="252"/>
                  </a:lnTo>
                  <a:lnTo>
                    <a:pt x="36" y="252"/>
                  </a:lnTo>
                  <a:lnTo>
                    <a:pt x="34" y="246"/>
                  </a:lnTo>
                  <a:lnTo>
                    <a:pt x="36" y="246"/>
                  </a:lnTo>
                  <a:lnTo>
                    <a:pt x="38" y="240"/>
                  </a:lnTo>
                  <a:lnTo>
                    <a:pt x="34" y="238"/>
                  </a:lnTo>
                  <a:lnTo>
                    <a:pt x="36" y="232"/>
                  </a:lnTo>
                  <a:lnTo>
                    <a:pt x="34" y="230"/>
                  </a:lnTo>
                  <a:lnTo>
                    <a:pt x="34" y="224"/>
                  </a:lnTo>
                  <a:lnTo>
                    <a:pt x="34" y="218"/>
                  </a:lnTo>
                  <a:lnTo>
                    <a:pt x="36" y="218"/>
                  </a:lnTo>
                  <a:lnTo>
                    <a:pt x="36" y="214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8"/>
                  </a:lnTo>
                  <a:lnTo>
                    <a:pt x="42" y="224"/>
                  </a:lnTo>
                  <a:lnTo>
                    <a:pt x="40" y="226"/>
                  </a:lnTo>
                  <a:lnTo>
                    <a:pt x="38" y="226"/>
                  </a:lnTo>
                  <a:lnTo>
                    <a:pt x="40" y="226"/>
                  </a:lnTo>
                  <a:lnTo>
                    <a:pt x="40" y="230"/>
                  </a:lnTo>
                  <a:lnTo>
                    <a:pt x="42" y="230"/>
                  </a:lnTo>
                  <a:lnTo>
                    <a:pt x="44" y="226"/>
                  </a:lnTo>
                  <a:lnTo>
                    <a:pt x="46" y="226"/>
                  </a:lnTo>
                  <a:lnTo>
                    <a:pt x="46" y="220"/>
                  </a:lnTo>
                  <a:lnTo>
                    <a:pt x="50" y="220"/>
                  </a:lnTo>
                  <a:lnTo>
                    <a:pt x="52" y="218"/>
                  </a:lnTo>
                  <a:lnTo>
                    <a:pt x="54" y="220"/>
                  </a:lnTo>
                  <a:lnTo>
                    <a:pt x="58" y="222"/>
                  </a:lnTo>
                  <a:lnTo>
                    <a:pt x="64" y="222"/>
                  </a:lnTo>
                  <a:lnTo>
                    <a:pt x="72" y="218"/>
                  </a:lnTo>
                  <a:lnTo>
                    <a:pt x="74" y="216"/>
                  </a:lnTo>
                  <a:lnTo>
                    <a:pt x="76" y="212"/>
                  </a:lnTo>
                  <a:lnTo>
                    <a:pt x="82" y="212"/>
                  </a:lnTo>
                  <a:lnTo>
                    <a:pt x="84" y="206"/>
                  </a:lnTo>
                  <a:lnTo>
                    <a:pt x="84" y="204"/>
                  </a:lnTo>
                  <a:lnTo>
                    <a:pt x="82" y="202"/>
                  </a:lnTo>
                  <a:lnTo>
                    <a:pt x="84" y="202"/>
                  </a:lnTo>
                  <a:lnTo>
                    <a:pt x="84" y="200"/>
                  </a:lnTo>
                  <a:lnTo>
                    <a:pt x="82" y="196"/>
                  </a:lnTo>
                  <a:lnTo>
                    <a:pt x="84" y="196"/>
                  </a:lnTo>
                  <a:lnTo>
                    <a:pt x="86" y="196"/>
                  </a:lnTo>
                  <a:lnTo>
                    <a:pt x="88" y="196"/>
                  </a:lnTo>
                  <a:lnTo>
                    <a:pt x="88" y="194"/>
                  </a:lnTo>
                  <a:lnTo>
                    <a:pt x="86" y="194"/>
                  </a:lnTo>
                  <a:lnTo>
                    <a:pt x="86" y="190"/>
                  </a:lnTo>
                  <a:lnTo>
                    <a:pt x="84" y="190"/>
                  </a:lnTo>
                  <a:lnTo>
                    <a:pt x="86" y="188"/>
                  </a:lnTo>
                  <a:lnTo>
                    <a:pt x="88" y="186"/>
                  </a:lnTo>
                  <a:lnTo>
                    <a:pt x="86" y="186"/>
                  </a:lnTo>
                  <a:lnTo>
                    <a:pt x="86" y="184"/>
                  </a:lnTo>
                  <a:lnTo>
                    <a:pt x="84" y="184"/>
                  </a:lnTo>
                  <a:lnTo>
                    <a:pt x="84" y="182"/>
                  </a:lnTo>
                  <a:lnTo>
                    <a:pt x="88" y="182"/>
                  </a:lnTo>
                  <a:lnTo>
                    <a:pt x="88" y="180"/>
                  </a:lnTo>
                  <a:lnTo>
                    <a:pt x="90" y="178"/>
                  </a:lnTo>
                  <a:lnTo>
                    <a:pt x="92" y="178"/>
                  </a:lnTo>
                  <a:lnTo>
                    <a:pt x="94" y="178"/>
                  </a:lnTo>
                  <a:lnTo>
                    <a:pt x="96" y="178"/>
                  </a:lnTo>
                  <a:lnTo>
                    <a:pt x="96" y="176"/>
                  </a:lnTo>
                  <a:lnTo>
                    <a:pt x="92" y="174"/>
                  </a:lnTo>
                  <a:lnTo>
                    <a:pt x="90" y="174"/>
                  </a:lnTo>
                  <a:lnTo>
                    <a:pt x="88" y="172"/>
                  </a:lnTo>
                  <a:lnTo>
                    <a:pt x="88" y="168"/>
                  </a:lnTo>
                  <a:lnTo>
                    <a:pt x="88" y="166"/>
                  </a:lnTo>
                  <a:lnTo>
                    <a:pt x="88" y="164"/>
                  </a:lnTo>
                  <a:lnTo>
                    <a:pt x="90" y="164"/>
                  </a:lnTo>
                  <a:lnTo>
                    <a:pt x="94" y="166"/>
                  </a:lnTo>
                  <a:lnTo>
                    <a:pt x="96" y="164"/>
                  </a:lnTo>
                  <a:lnTo>
                    <a:pt x="98" y="162"/>
                  </a:lnTo>
                  <a:lnTo>
                    <a:pt x="100" y="160"/>
                  </a:lnTo>
                  <a:lnTo>
                    <a:pt x="102" y="160"/>
                  </a:lnTo>
                  <a:lnTo>
                    <a:pt x="104" y="160"/>
                  </a:lnTo>
                  <a:lnTo>
                    <a:pt x="104" y="162"/>
                  </a:lnTo>
                  <a:lnTo>
                    <a:pt x="102" y="164"/>
                  </a:lnTo>
                  <a:lnTo>
                    <a:pt x="98" y="166"/>
                  </a:lnTo>
                  <a:lnTo>
                    <a:pt x="96" y="172"/>
                  </a:lnTo>
                  <a:lnTo>
                    <a:pt x="98" y="170"/>
                  </a:lnTo>
                  <a:lnTo>
                    <a:pt x="102" y="168"/>
                  </a:lnTo>
                  <a:lnTo>
                    <a:pt x="108" y="170"/>
                  </a:lnTo>
                  <a:lnTo>
                    <a:pt x="110" y="172"/>
                  </a:lnTo>
                  <a:lnTo>
                    <a:pt x="108" y="172"/>
                  </a:lnTo>
                  <a:lnTo>
                    <a:pt x="108" y="174"/>
                  </a:lnTo>
                  <a:lnTo>
                    <a:pt x="106" y="176"/>
                  </a:lnTo>
                  <a:lnTo>
                    <a:pt x="104" y="178"/>
                  </a:lnTo>
                  <a:lnTo>
                    <a:pt x="106" y="178"/>
                  </a:lnTo>
                  <a:lnTo>
                    <a:pt x="108" y="178"/>
                  </a:lnTo>
                  <a:lnTo>
                    <a:pt x="108" y="182"/>
                  </a:lnTo>
                  <a:lnTo>
                    <a:pt x="106" y="186"/>
                  </a:lnTo>
                  <a:lnTo>
                    <a:pt x="104" y="188"/>
                  </a:lnTo>
                  <a:lnTo>
                    <a:pt x="102" y="190"/>
                  </a:lnTo>
                  <a:lnTo>
                    <a:pt x="102" y="192"/>
                  </a:lnTo>
                  <a:lnTo>
                    <a:pt x="104" y="192"/>
                  </a:lnTo>
                  <a:lnTo>
                    <a:pt x="106" y="192"/>
                  </a:lnTo>
                  <a:lnTo>
                    <a:pt x="108" y="192"/>
                  </a:lnTo>
                  <a:lnTo>
                    <a:pt x="108" y="194"/>
                  </a:lnTo>
                  <a:lnTo>
                    <a:pt x="110" y="194"/>
                  </a:lnTo>
                  <a:lnTo>
                    <a:pt x="110" y="196"/>
                  </a:lnTo>
                  <a:lnTo>
                    <a:pt x="112" y="194"/>
                  </a:lnTo>
                  <a:lnTo>
                    <a:pt x="112" y="192"/>
                  </a:lnTo>
                  <a:lnTo>
                    <a:pt x="112" y="190"/>
                  </a:lnTo>
                  <a:lnTo>
                    <a:pt x="112" y="188"/>
                  </a:lnTo>
                  <a:lnTo>
                    <a:pt x="114" y="188"/>
                  </a:lnTo>
                  <a:lnTo>
                    <a:pt x="114" y="186"/>
                  </a:lnTo>
                  <a:lnTo>
                    <a:pt x="112" y="184"/>
                  </a:lnTo>
                  <a:lnTo>
                    <a:pt x="112" y="182"/>
                  </a:lnTo>
                  <a:lnTo>
                    <a:pt x="116" y="180"/>
                  </a:lnTo>
                  <a:lnTo>
                    <a:pt x="114" y="176"/>
                  </a:lnTo>
                  <a:lnTo>
                    <a:pt x="112" y="176"/>
                  </a:lnTo>
                  <a:lnTo>
                    <a:pt x="114" y="172"/>
                  </a:lnTo>
                  <a:lnTo>
                    <a:pt x="114" y="166"/>
                  </a:lnTo>
                  <a:lnTo>
                    <a:pt x="118" y="166"/>
                  </a:lnTo>
                  <a:lnTo>
                    <a:pt x="120" y="164"/>
                  </a:lnTo>
                  <a:lnTo>
                    <a:pt x="122" y="168"/>
                  </a:lnTo>
                  <a:lnTo>
                    <a:pt x="126" y="168"/>
                  </a:lnTo>
                  <a:lnTo>
                    <a:pt x="130" y="166"/>
                  </a:lnTo>
                  <a:lnTo>
                    <a:pt x="134" y="164"/>
                  </a:lnTo>
                  <a:lnTo>
                    <a:pt x="140" y="160"/>
                  </a:lnTo>
                  <a:lnTo>
                    <a:pt x="142" y="156"/>
                  </a:lnTo>
                  <a:lnTo>
                    <a:pt x="142" y="154"/>
                  </a:lnTo>
                  <a:lnTo>
                    <a:pt x="144" y="154"/>
                  </a:lnTo>
                  <a:lnTo>
                    <a:pt x="144" y="152"/>
                  </a:lnTo>
                  <a:lnTo>
                    <a:pt x="146" y="152"/>
                  </a:lnTo>
                  <a:lnTo>
                    <a:pt x="146" y="150"/>
                  </a:lnTo>
                  <a:lnTo>
                    <a:pt x="146" y="148"/>
                  </a:lnTo>
                  <a:lnTo>
                    <a:pt x="144" y="148"/>
                  </a:lnTo>
                  <a:lnTo>
                    <a:pt x="146" y="144"/>
                  </a:lnTo>
                  <a:lnTo>
                    <a:pt x="144" y="146"/>
                  </a:lnTo>
                  <a:lnTo>
                    <a:pt x="144" y="144"/>
                  </a:lnTo>
                  <a:lnTo>
                    <a:pt x="144" y="142"/>
                  </a:lnTo>
                  <a:lnTo>
                    <a:pt x="142" y="142"/>
                  </a:lnTo>
                  <a:lnTo>
                    <a:pt x="138" y="142"/>
                  </a:lnTo>
                  <a:lnTo>
                    <a:pt x="136" y="142"/>
                  </a:lnTo>
                  <a:lnTo>
                    <a:pt x="134" y="144"/>
                  </a:lnTo>
                  <a:lnTo>
                    <a:pt x="132" y="148"/>
                  </a:lnTo>
                  <a:lnTo>
                    <a:pt x="126" y="146"/>
                  </a:lnTo>
                  <a:lnTo>
                    <a:pt x="124" y="144"/>
                  </a:lnTo>
                  <a:lnTo>
                    <a:pt x="130" y="146"/>
                  </a:lnTo>
                  <a:lnTo>
                    <a:pt x="134" y="142"/>
                  </a:lnTo>
                  <a:lnTo>
                    <a:pt x="136" y="140"/>
                  </a:lnTo>
                  <a:lnTo>
                    <a:pt x="142" y="140"/>
                  </a:lnTo>
                  <a:lnTo>
                    <a:pt x="144" y="136"/>
                  </a:lnTo>
                  <a:lnTo>
                    <a:pt x="144" y="134"/>
                  </a:lnTo>
                  <a:lnTo>
                    <a:pt x="146" y="132"/>
                  </a:lnTo>
                  <a:lnTo>
                    <a:pt x="144" y="130"/>
                  </a:lnTo>
                  <a:lnTo>
                    <a:pt x="144" y="128"/>
                  </a:lnTo>
                  <a:lnTo>
                    <a:pt x="144" y="126"/>
                  </a:lnTo>
                  <a:lnTo>
                    <a:pt x="142" y="126"/>
                  </a:lnTo>
                  <a:lnTo>
                    <a:pt x="144" y="124"/>
                  </a:lnTo>
                  <a:lnTo>
                    <a:pt x="146" y="124"/>
                  </a:lnTo>
                  <a:lnTo>
                    <a:pt x="148" y="124"/>
                  </a:lnTo>
                  <a:lnTo>
                    <a:pt x="150" y="124"/>
                  </a:lnTo>
                  <a:lnTo>
                    <a:pt x="152" y="122"/>
                  </a:lnTo>
                  <a:lnTo>
                    <a:pt x="152" y="120"/>
                  </a:lnTo>
                  <a:lnTo>
                    <a:pt x="154" y="120"/>
                  </a:lnTo>
                  <a:lnTo>
                    <a:pt x="156" y="118"/>
                  </a:lnTo>
                  <a:lnTo>
                    <a:pt x="160" y="116"/>
                  </a:lnTo>
                  <a:lnTo>
                    <a:pt x="162" y="116"/>
                  </a:lnTo>
                  <a:lnTo>
                    <a:pt x="164" y="116"/>
                  </a:lnTo>
                  <a:lnTo>
                    <a:pt x="166" y="116"/>
                  </a:lnTo>
                  <a:lnTo>
                    <a:pt x="170" y="120"/>
                  </a:lnTo>
                  <a:lnTo>
                    <a:pt x="172" y="116"/>
                  </a:lnTo>
                  <a:lnTo>
                    <a:pt x="174" y="112"/>
                  </a:lnTo>
                  <a:lnTo>
                    <a:pt x="176" y="112"/>
                  </a:lnTo>
                  <a:lnTo>
                    <a:pt x="180" y="114"/>
                  </a:lnTo>
                  <a:lnTo>
                    <a:pt x="184" y="112"/>
                  </a:lnTo>
                  <a:lnTo>
                    <a:pt x="184" y="116"/>
                  </a:lnTo>
                  <a:lnTo>
                    <a:pt x="176" y="120"/>
                  </a:lnTo>
                  <a:lnTo>
                    <a:pt x="172" y="124"/>
                  </a:lnTo>
                  <a:lnTo>
                    <a:pt x="172" y="126"/>
                  </a:lnTo>
                  <a:lnTo>
                    <a:pt x="172" y="128"/>
                  </a:lnTo>
                  <a:lnTo>
                    <a:pt x="172" y="130"/>
                  </a:lnTo>
                  <a:lnTo>
                    <a:pt x="170" y="130"/>
                  </a:lnTo>
                  <a:lnTo>
                    <a:pt x="170" y="132"/>
                  </a:lnTo>
                  <a:lnTo>
                    <a:pt x="170" y="134"/>
                  </a:lnTo>
                  <a:lnTo>
                    <a:pt x="172" y="134"/>
                  </a:lnTo>
                  <a:lnTo>
                    <a:pt x="172" y="136"/>
                  </a:lnTo>
                  <a:lnTo>
                    <a:pt x="172" y="140"/>
                  </a:lnTo>
                  <a:lnTo>
                    <a:pt x="172" y="142"/>
                  </a:lnTo>
                  <a:lnTo>
                    <a:pt x="168" y="146"/>
                  </a:lnTo>
                  <a:lnTo>
                    <a:pt x="168" y="148"/>
                  </a:lnTo>
                  <a:lnTo>
                    <a:pt x="168" y="152"/>
                  </a:lnTo>
                  <a:lnTo>
                    <a:pt x="168" y="150"/>
                  </a:lnTo>
                  <a:lnTo>
                    <a:pt x="170" y="150"/>
                  </a:lnTo>
                  <a:lnTo>
                    <a:pt x="170" y="148"/>
                  </a:lnTo>
                  <a:lnTo>
                    <a:pt x="170" y="146"/>
                  </a:lnTo>
                  <a:lnTo>
                    <a:pt x="172" y="146"/>
                  </a:lnTo>
                  <a:lnTo>
                    <a:pt x="172" y="144"/>
                  </a:lnTo>
                  <a:lnTo>
                    <a:pt x="174" y="144"/>
                  </a:lnTo>
                  <a:lnTo>
                    <a:pt x="174" y="142"/>
                  </a:lnTo>
                  <a:lnTo>
                    <a:pt x="176" y="142"/>
                  </a:lnTo>
                  <a:lnTo>
                    <a:pt x="178" y="142"/>
                  </a:lnTo>
                  <a:lnTo>
                    <a:pt x="178" y="136"/>
                  </a:lnTo>
                  <a:lnTo>
                    <a:pt x="182" y="134"/>
                  </a:lnTo>
                  <a:lnTo>
                    <a:pt x="184" y="132"/>
                  </a:lnTo>
                  <a:lnTo>
                    <a:pt x="184" y="134"/>
                  </a:lnTo>
                  <a:lnTo>
                    <a:pt x="186" y="134"/>
                  </a:lnTo>
                  <a:lnTo>
                    <a:pt x="188" y="134"/>
                  </a:lnTo>
                  <a:lnTo>
                    <a:pt x="188" y="132"/>
                  </a:lnTo>
                  <a:lnTo>
                    <a:pt x="188" y="130"/>
                  </a:lnTo>
                  <a:lnTo>
                    <a:pt x="188" y="128"/>
                  </a:lnTo>
                  <a:lnTo>
                    <a:pt x="188" y="126"/>
                  </a:lnTo>
                  <a:lnTo>
                    <a:pt x="192" y="126"/>
                  </a:lnTo>
                  <a:lnTo>
                    <a:pt x="188" y="122"/>
                  </a:lnTo>
                  <a:lnTo>
                    <a:pt x="192" y="118"/>
                  </a:lnTo>
                  <a:lnTo>
                    <a:pt x="192" y="114"/>
                  </a:lnTo>
                  <a:lnTo>
                    <a:pt x="194" y="112"/>
                  </a:lnTo>
                  <a:lnTo>
                    <a:pt x="194" y="110"/>
                  </a:lnTo>
                  <a:lnTo>
                    <a:pt x="190" y="106"/>
                  </a:lnTo>
                  <a:lnTo>
                    <a:pt x="188" y="102"/>
                  </a:lnTo>
                  <a:lnTo>
                    <a:pt x="192" y="100"/>
                  </a:lnTo>
                  <a:lnTo>
                    <a:pt x="194" y="100"/>
                  </a:lnTo>
                  <a:lnTo>
                    <a:pt x="196" y="100"/>
                  </a:lnTo>
                  <a:lnTo>
                    <a:pt x="196" y="104"/>
                  </a:lnTo>
                  <a:lnTo>
                    <a:pt x="198" y="104"/>
                  </a:lnTo>
                  <a:lnTo>
                    <a:pt x="200" y="102"/>
                  </a:lnTo>
                  <a:lnTo>
                    <a:pt x="198" y="98"/>
                  </a:lnTo>
                  <a:lnTo>
                    <a:pt x="194" y="96"/>
                  </a:lnTo>
                  <a:lnTo>
                    <a:pt x="196" y="92"/>
                  </a:lnTo>
                  <a:lnTo>
                    <a:pt x="200" y="96"/>
                  </a:lnTo>
                  <a:close/>
                  <a:moveTo>
                    <a:pt x="78" y="222"/>
                  </a:moveTo>
                  <a:lnTo>
                    <a:pt x="76" y="222"/>
                  </a:lnTo>
                  <a:lnTo>
                    <a:pt x="74" y="222"/>
                  </a:lnTo>
                  <a:lnTo>
                    <a:pt x="72" y="224"/>
                  </a:lnTo>
                  <a:lnTo>
                    <a:pt x="72" y="226"/>
                  </a:lnTo>
                  <a:lnTo>
                    <a:pt x="70" y="228"/>
                  </a:lnTo>
                  <a:lnTo>
                    <a:pt x="70" y="230"/>
                  </a:lnTo>
                  <a:lnTo>
                    <a:pt x="70" y="232"/>
                  </a:lnTo>
                  <a:lnTo>
                    <a:pt x="72" y="232"/>
                  </a:lnTo>
                  <a:lnTo>
                    <a:pt x="74" y="230"/>
                  </a:lnTo>
                  <a:lnTo>
                    <a:pt x="74" y="228"/>
                  </a:lnTo>
                  <a:lnTo>
                    <a:pt x="76" y="228"/>
                  </a:lnTo>
                  <a:lnTo>
                    <a:pt x="78" y="228"/>
                  </a:lnTo>
                  <a:lnTo>
                    <a:pt x="80" y="228"/>
                  </a:lnTo>
                  <a:lnTo>
                    <a:pt x="80" y="226"/>
                  </a:lnTo>
                  <a:lnTo>
                    <a:pt x="78" y="224"/>
                  </a:lnTo>
                  <a:lnTo>
                    <a:pt x="78" y="222"/>
                  </a:lnTo>
                  <a:close/>
                  <a:moveTo>
                    <a:pt x="68" y="246"/>
                  </a:moveTo>
                  <a:lnTo>
                    <a:pt x="68" y="246"/>
                  </a:lnTo>
                  <a:lnTo>
                    <a:pt x="66" y="248"/>
                  </a:lnTo>
                  <a:lnTo>
                    <a:pt x="66" y="250"/>
                  </a:lnTo>
                  <a:lnTo>
                    <a:pt x="66" y="252"/>
                  </a:lnTo>
                  <a:lnTo>
                    <a:pt x="64" y="252"/>
                  </a:lnTo>
                  <a:lnTo>
                    <a:pt x="64" y="254"/>
                  </a:lnTo>
                  <a:lnTo>
                    <a:pt x="64" y="256"/>
                  </a:lnTo>
                  <a:lnTo>
                    <a:pt x="64" y="258"/>
                  </a:lnTo>
                  <a:lnTo>
                    <a:pt x="66" y="258"/>
                  </a:lnTo>
                  <a:lnTo>
                    <a:pt x="68" y="258"/>
                  </a:lnTo>
                  <a:lnTo>
                    <a:pt x="70" y="258"/>
                  </a:lnTo>
                  <a:lnTo>
                    <a:pt x="70" y="256"/>
                  </a:lnTo>
                  <a:lnTo>
                    <a:pt x="70" y="254"/>
                  </a:lnTo>
                  <a:lnTo>
                    <a:pt x="68" y="252"/>
                  </a:lnTo>
                  <a:lnTo>
                    <a:pt x="72" y="252"/>
                  </a:lnTo>
                  <a:lnTo>
                    <a:pt x="76" y="248"/>
                  </a:lnTo>
                  <a:lnTo>
                    <a:pt x="74" y="246"/>
                  </a:lnTo>
                  <a:lnTo>
                    <a:pt x="72" y="244"/>
                  </a:lnTo>
                  <a:lnTo>
                    <a:pt x="70" y="242"/>
                  </a:lnTo>
                  <a:lnTo>
                    <a:pt x="68" y="246"/>
                  </a:lnTo>
                  <a:close/>
                  <a:moveTo>
                    <a:pt x="52" y="280"/>
                  </a:moveTo>
                  <a:lnTo>
                    <a:pt x="54" y="278"/>
                  </a:lnTo>
                  <a:lnTo>
                    <a:pt x="56" y="278"/>
                  </a:lnTo>
                  <a:lnTo>
                    <a:pt x="58" y="274"/>
                  </a:lnTo>
                  <a:lnTo>
                    <a:pt x="62" y="274"/>
                  </a:lnTo>
                  <a:lnTo>
                    <a:pt x="60" y="268"/>
                  </a:lnTo>
                  <a:lnTo>
                    <a:pt x="58" y="270"/>
                  </a:lnTo>
                  <a:lnTo>
                    <a:pt x="54" y="272"/>
                  </a:lnTo>
                  <a:lnTo>
                    <a:pt x="52" y="274"/>
                  </a:lnTo>
                  <a:lnTo>
                    <a:pt x="52" y="276"/>
                  </a:lnTo>
                  <a:lnTo>
                    <a:pt x="52" y="278"/>
                  </a:lnTo>
                  <a:lnTo>
                    <a:pt x="52" y="280"/>
                  </a:lnTo>
                  <a:close/>
                  <a:moveTo>
                    <a:pt x="56" y="306"/>
                  </a:moveTo>
                  <a:lnTo>
                    <a:pt x="56" y="304"/>
                  </a:lnTo>
                  <a:lnTo>
                    <a:pt x="56" y="300"/>
                  </a:lnTo>
                  <a:lnTo>
                    <a:pt x="52" y="298"/>
                  </a:lnTo>
                  <a:lnTo>
                    <a:pt x="56" y="296"/>
                  </a:lnTo>
                  <a:lnTo>
                    <a:pt x="54" y="292"/>
                  </a:lnTo>
                  <a:lnTo>
                    <a:pt x="58" y="292"/>
                  </a:lnTo>
                  <a:lnTo>
                    <a:pt x="58" y="288"/>
                  </a:lnTo>
                  <a:lnTo>
                    <a:pt x="54" y="288"/>
                  </a:lnTo>
                  <a:lnTo>
                    <a:pt x="52" y="282"/>
                  </a:lnTo>
                  <a:lnTo>
                    <a:pt x="48" y="282"/>
                  </a:lnTo>
                  <a:lnTo>
                    <a:pt x="46" y="286"/>
                  </a:lnTo>
                  <a:lnTo>
                    <a:pt x="44" y="286"/>
                  </a:lnTo>
                  <a:lnTo>
                    <a:pt x="42" y="288"/>
                  </a:lnTo>
                  <a:lnTo>
                    <a:pt x="40" y="288"/>
                  </a:lnTo>
                  <a:lnTo>
                    <a:pt x="38" y="286"/>
                  </a:lnTo>
                  <a:lnTo>
                    <a:pt x="36" y="286"/>
                  </a:lnTo>
                  <a:lnTo>
                    <a:pt x="34" y="288"/>
                  </a:lnTo>
                  <a:lnTo>
                    <a:pt x="32" y="288"/>
                  </a:lnTo>
                  <a:lnTo>
                    <a:pt x="32" y="290"/>
                  </a:lnTo>
                  <a:lnTo>
                    <a:pt x="34" y="290"/>
                  </a:lnTo>
                  <a:lnTo>
                    <a:pt x="34" y="292"/>
                  </a:lnTo>
                  <a:lnTo>
                    <a:pt x="32" y="294"/>
                  </a:lnTo>
                  <a:lnTo>
                    <a:pt x="32" y="296"/>
                  </a:lnTo>
                  <a:lnTo>
                    <a:pt x="34" y="302"/>
                  </a:lnTo>
                  <a:lnTo>
                    <a:pt x="38" y="306"/>
                  </a:lnTo>
                  <a:lnTo>
                    <a:pt x="38" y="308"/>
                  </a:lnTo>
                  <a:lnTo>
                    <a:pt x="36" y="308"/>
                  </a:lnTo>
                  <a:lnTo>
                    <a:pt x="38" y="310"/>
                  </a:lnTo>
                  <a:lnTo>
                    <a:pt x="40" y="312"/>
                  </a:lnTo>
                  <a:lnTo>
                    <a:pt x="44" y="312"/>
                  </a:lnTo>
                  <a:lnTo>
                    <a:pt x="46" y="312"/>
                  </a:lnTo>
                  <a:lnTo>
                    <a:pt x="46" y="314"/>
                  </a:lnTo>
                  <a:lnTo>
                    <a:pt x="48" y="314"/>
                  </a:lnTo>
                  <a:lnTo>
                    <a:pt x="48" y="316"/>
                  </a:lnTo>
                  <a:lnTo>
                    <a:pt x="48" y="318"/>
                  </a:lnTo>
                  <a:lnTo>
                    <a:pt x="50" y="318"/>
                  </a:lnTo>
                  <a:lnTo>
                    <a:pt x="50" y="316"/>
                  </a:lnTo>
                  <a:lnTo>
                    <a:pt x="52" y="316"/>
                  </a:lnTo>
                  <a:lnTo>
                    <a:pt x="52" y="314"/>
                  </a:lnTo>
                  <a:lnTo>
                    <a:pt x="52" y="312"/>
                  </a:lnTo>
                  <a:lnTo>
                    <a:pt x="52" y="310"/>
                  </a:lnTo>
                  <a:lnTo>
                    <a:pt x="52" y="308"/>
                  </a:lnTo>
                  <a:lnTo>
                    <a:pt x="56" y="306"/>
                  </a:lnTo>
                  <a:close/>
                  <a:moveTo>
                    <a:pt x="68" y="334"/>
                  </a:moveTo>
                  <a:lnTo>
                    <a:pt x="68" y="334"/>
                  </a:lnTo>
                  <a:lnTo>
                    <a:pt x="70" y="334"/>
                  </a:lnTo>
                  <a:lnTo>
                    <a:pt x="72" y="334"/>
                  </a:lnTo>
                  <a:lnTo>
                    <a:pt x="70" y="330"/>
                  </a:lnTo>
                  <a:lnTo>
                    <a:pt x="72" y="328"/>
                  </a:lnTo>
                  <a:lnTo>
                    <a:pt x="72" y="326"/>
                  </a:lnTo>
                  <a:lnTo>
                    <a:pt x="70" y="326"/>
                  </a:lnTo>
                  <a:lnTo>
                    <a:pt x="68" y="326"/>
                  </a:lnTo>
                  <a:lnTo>
                    <a:pt x="68" y="324"/>
                  </a:lnTo>
                  <a:lnTo>
                    <a:pt x="66" y="324"/>
                  </a:lnTo>
                  <a:lnTo>
                    <a:pt x="64" y="324"/>
                  </a:lnTo>
                  <a:lnTo>
                    <a:pt x="64" y="326"/>
                  </a:lnTo>
                  <a:lnTo>
                    <a:pt x="64" y="324"/>
                  </a:lnTo>
                  <a:lnTo>
                    <a:pt x="64" y="322"/>
                  </a:lnTo>
                  <a:lnTo>
                    <a:pt x="60" y="320"/>
                  </a:lnTo>
                  <a:lnTo>
                    <a:pt x="68" y="320"/>
                  </a:lnTo>
                  <a:lnTo>
                    <a:pt x="70" y="316"/>
                  </a:lnTo>
                  <a:lnTo>
                    <a:pt x="68" y="316"/>
                  </a:lnTo>
                  <a:lnTo>
                    <a:pt x="66" y="316"/>
                  </a:lnTo>
                  <a:lnTo>
                    <a:pt x="68" y="316"/>
                  </a:lnTo>
                  <a:lnTo>
                    <a:pt x="68" y="314"/>
                  </a:lnTo>
                  <a:lnTo>
                    <a:pt x="74" y="314"/>
                  </a:lnTo>
                  <a:lnTo>
                    <a:pt x="72" y="312"/>
                  </a:lnTo>
                  <a:lnTo>
                    <a:pt x="68" y="310"/>
                  </a:lnTo>
                  <a:lnTo>
                    <a:pt x="62" y="306"/>
                  </a:lnTo>
                  <a:lnTo>
                    <a:pt x="60" y="308"/>
                  </a:lnTo>
                  <a:lnTo>
                    <a:pt x="58" y="310"/>
                  </a:lnTo>
                  <a:lnTo>
                    <a:pt x="58" y="316"/>
                  </a:lnTo>
                  <a:lnTo>
                    <a:pt x="56" y="324"/>
                  </a:lnTo>
                  <a:lnTo>
                    <a:pt x="60" y="326"/>
                  </a:lnTo>
                  <a:lnTo>
                    <a:pt x="60" y="330"/>
                  </a:lnTo>
                  <a:lnTo>
                    <a:pt x="62" y="332"/>
                  </a:lnTo>
                  <a:lnTo>
                    <a:pt x="62" y="328"/>
                  </a:lnTo>
                  <a:lnTo>
                    <a:pt x="68" y="330"/>
                  </a:lnTo>
                  <a:lnTo>
                    <a:pt x="68" y="332"/>
                  </a:lnTo>
                  <a:lnTo>
                    <a:pt x="68" y="334"/>
                  </a:lnTo>
                  <a:close/>
                  <a:moveTo>
                    <a:pt x="72" y="352"/>
                  </a:moveTo>
                  <a:lnTo>
                    <a:pt x="74" y="352"/>
                  </a:lnTo>
                  <a:lnTo>
                    <a:pt x="74" y="354"/>
                  </a:lnTo>
                  <a:lnTo>
                    <a:pt x="76" y="354"/>
                  </a:lnTo>
                  <a:lnTo>
                    <a:pt x="78" y="354"/>
                  </a:lnTo>
                  <a:lnTo>
                    <a:pt x="80" y="354"/>
                  </a:lnTo>
                  <a:lnTo>
                    <a:pt x="80" y="352"/>
                  </a:lnTo>
                  <a:lnTo>
                    <a:pt x="82" y="352"/>
                  </a:lnTo>
                  <a:lnTo>
                    <a:pt x="86" y="350"/>
                  </a:lnTo>
                  <a:lnTo>
                    <a:pt x="80" y="346"/>
                  </a:lnTo>
                  <a:lnTo>
                    <a:pt x="76" y="344"/>
                  </a:lnTo>
                  <a:lnTo>
                    <a:pt x="72" y="344"/>
                  </a:lnTo>
                  <a:lnTo>
                    <a:pt x="74" y="348"/>
                  </a:lnTo>
                  <a:lnTo>
                    <a:pt x="72" y="352"/>
                  </a:lnTo>
                  <a:close/>
                  <a:moveTo>
                    <a:pt x="82" y="320"/>
                  </a:moveTo>
                  <a:lnTo>
                    <a:pt x="82" y="316"/>
                  </a:lnTo>
                  <a:lnTo>
                    <a:pt x="80" y="320"/>
                  </a:lnTo>
                  <a:lnTo>
                    <a:pt x="80" y="326"/>
                  </a:lnTo>
                  <a:lnTo>
                    <a:pt x="78" y="324"/>
                  </a:lnTo>
                  <a:lnTo>
                    <a:pt x="76" y="324"/>
                  </a:lnTo>
                  <a:lnTo>
                    <a:pt x="74" y="324"/>
                  </a:lnTo>
                  <a:lnTo>
                    <a:pt x="72" y="324"/>
                  </a:lnTo>
                  <a:lnTo>
                    <a:pt x="72" y="326"/>
                  </a:lnTo>
                  <a:lnTo>
                    <a:pt x="74" y="326"/>
                  </a:lnTo>
                  <a:lnTo>
                    <a:pt x="74" y="328"/>
                  </a:lnTo>
                  <a:lnTo>
                    <a:pt x="78" y="328"/>
                  </a:lnTo>
                  <a:lnTo>
                    <a:pt x="82" y="328"/>
                  </a:lnTo>
                  <a:lnTo>
                    <a:pt x="86" y="330"/>
                  </a:lnTo>
                  <a:lnTo>
                    <a:pt x="86" y="326"/>
                  </a:lnTo>
                  <a:lnTo>
                    <a:pt x="86" y="322"/>
                  </a:lnTo>
                  <a:lnTo>
                    <a:pt x="82" y="320"/>
                  </a:lnTo>
                  <a:close/>
                  <a:moveTo>
                    <a:pt x="174" y="362"/>
                  </a:moveTo>
                  <a:lnTo>
                    <a:pt x="176" y="362"/>
                  </a:lnTo>
                  <a:lnTo>
                    <a:pt x="178" y="362"/>
                  </a:lnTo>
                  <a:lnTo>
                    <a:pt x="176" y="362"/>
                  </a:lnTo>
                  <a:lnTo>
                    <a:pt x="176" y="360"/>
                  </a:lnTo>
                  <a:lnTo>
                    <a:pt x="174" y="360"/>
                  </a:lnTo>
                  <a:lnTo>
                    <a:pt x="172" y="358"/>
                  </a:lnTo>
                  <a:lnTo>
                    <a:pt x="170" y="356"/>
                  </a:lnTo>
                  <a:lnTo>
                    <a:pt x="168" y="354"/>
                  </a:lnTo>
                  <a:lnTo>
                    <a:pt x="166" y="356"/>
                  </a:lnTo>
                  <a:lnTo>
                    <a:pt x="170" y="358"/>
                  </a:lnTo>
                  <a:lnTo>
                    <a:pt x="172" y="360"/>
                  </a:lnTo>
                  <a:lnTo>
                    <a:pt x="170" y="360"/>
                  </a:lnTo>
                  <a:lnTo>
                    <a:pt x="168" y="364"/>
                  </a:lnTo>
                  <a:lnTo>
                    <a:pt x="164" y="364"/>
                  </a:lnTo>
                  <a:lnTo>
                    <a:pt x="160" y="364"/>
                  </a:lnTo>
                  <a:lnTo>
                    <a:pt x="156" y="364"/>
                  </a:lnTo>
                  <a:lnTo>
                    <a:pt x="156" y="366"/>
                  </a:lnTo>
                  <a:lnTo>
                    <a:pt x="154" y="366"/>
                  </a:lnTo>
                  <a:lnTo>
                    <a:pt x="152" y="366"/>
                  </a:lnTo>
                  <a:lnTo>
                    <a:pt x="152" y="364"/>
                  </a:lnTo>
                  <a:lnTo>
                    <a:pt x="150" y="364"/>
                  </a:lnTo>
                  <a:lnTo>
                    <a:pt x="150" y="362"/>
                  </a:lnTo>
                  <a:lnTo>
                    <a:pt x="150" y="360"/>
                  </a:lnTo>
                  <a:lnTo>
                    <a:pt x="148" y="360"/>
                  </a:lnTo>
                  <a:lnTo>
                    <a:pt x="146" y="360"/>
                  </a:lnTo>
                  <a:lnTo>
                    <a:pt x="146" y="358"/>
                  </a:lnTo>
                  <a:lnTo>
                    <a:pt x="146" y="356"/>
                  </a:lnTo>
                  <a:lnTo>
                    <a:pt x="146" y="354"/>
                  </a:lnTo>
                  <a:lnTo>
                    <a:pt x="144" y="354"/>
                  </a:lnTo>
                  <a:lnTo>
                    <a:pt x="142" y="354"/>
                  </a:lnTo>
                  <a:lnTo>
                    <a:pt x="140" y="354"/>
                  </a:lnTo>
                  <a:lnTo>
                    <a:pt x="138" y="352"/>
                  </a:lnTo>
                  <a:lnTo>
                    <a:pt x="136" y="350"/>
                  </a:lnTo>
                  <a:lnTo>
                    <a:pt x="130" y="348"/>
                  </a:lnTo>
                  <a:lnTo>
                    <a:pt x="124" y="344"/>
                  </a:lnTo>
                  <a:lnTo>
                    <a:pt x="120" y="342"/>
                  </a:lnTo>
                  <a:lnTo>
                    <a:pt x="120" y="340"/>
                  </a:lnTo>
                  <a:lnTo>
                    <a:pt x="112" y="338"/>
                  </a:lnTo>
                  <a:lnTo>
                    <a:pt x="110" y="338"/>
                  </a:lnTo>
                  <a:lnTo>
                    <a:pt x="110" y="336"/>
                  </a:lnTo>
                  <a:lnTo>
                    <a:pt x="110" y="334"/>
                  </a:lnTo>
                  <a:lnTo>
                    <a:pt x="108" y="334"/>
                  </a:lnTo>
                  <a:lnTo>
                    <a:pt x="108" y="336"/>
                  </a:lnTo>
                  <a:lnTo>
                    <a:pt x="108" y="340"/>
                  </a:lnTo>
                  <a:lnTo>
                    <a:pt x="110" y="342"/>
                  </a:lnTo>
                  <a:lnTo>
                    <a:pt x="108" y="344"/>
                  </a:lnTo>
                  <a:lnTo>
                    <a:pt x="108" y="346"/>
                  </a:lnTo>
                  <a:lnTo>
                    <a:pt x="110" y="350"/>
                  </a:lnTo>
                  <a:lnTo>
                    <a:pt x="112" y="350"/>
                  </a:lnTo>
                  <a:lnTo>
                    <a:pt x="114" y="350"/>
                  </a:lnTo>
                  <a:lnTo>
                    <a:pt x="116" y="350"/>
                  </a:lnTo>
                  <a:lnTo>
                    <a:pt x="118" y="350"/>
                  </a:lnTo>
                  <a:lnTo>
                    <a:pt x="118" y="352"/>
                  </a:lnTo>
                  <a:lnTo>
                    <a:pt x="118" y="354"/>
                  </a:lnTo>
                  <a:lnTo>
                    <a:pt x="118" y="356"/>
                  </a:lnTo>
                  <a:lnTo>
                    <a:pt x="120" y="358"/>
                  </a:lnTo>
                  <a:lnTo>
                    <a:pt x="122" y="358"/>
                  </a:lnTo>
                  <a:lnTo>
                    <a:pt x="122" y="360"/>
                  </a:lnTo>
                  <a:lnTo>
                    <a:pt x="122" y="362"/>
                  </a:lnTo>
                  <a:lnTo>
                    <a:pt x="120" y="362"/>
                  </a:lnTo>
                  <a:lnTo>
                    <a:pt x="120" y="364"/>
                  </a:lnTo>
                  <a:lnTo>
                    <a:pt x="122" y="364"/>
                  </a:lnTo>
                  <a:lnTo>
                    <a:pt x="124" y="364"/>
                  </a:lnTo>
                  <a:lnTo>
                    <a:pt x="130" y="370"/>
                  </a:lnTo>
                  <a:lnTo>
                    <a:pt x="136" y="370"/>
                  </a:lnTo>
                  <a:lnTo>
                    <a:pt x="138" y="370"/>
                  </a:lnTo>
                  <a:lnTo>
                    <a:pt x="138" y="368"/>
                  </a:lnTo>
                  <a:lnTo>
                    <a:pt x="136" y="368"/>
                  </a:lnTo>
                  <a:lnTo>
                    <a:pt x="134" y="366"/>
                  </a:lnTo>
                  <a:lnTo>
                    <a:pt x="132" y="366"/>
                  </a:lnTo>
                  <a:lnTo>
                    <a:pt x="132" y="364"/>
                  </a:lnTo>
                  <a:lnTo>
                    <a:pt x="138" y="364"/>
                  </a:lnTo>
                  <a:lnTo>
                    <a:pt x="146" y="368"/>
                  </a:lnTo>
                  <a:lnTo>
                    <a:pt x="148" y="372"/>
                  </a:lnTo>
                  <a:lnTo>
                    <a:pt x="154" y="376"/>
                  </a:lnTo>
                  <a:lnTo>
                    <a:pt x="160" y="378"/>
                  </a:lnTo>
                  <a:lnTo>
                    <a:pt x="168" y="382"/>
                  </a:lnTo>
                  <a:lnTo>
                    <a:pt x="166" y="380"/>
                  </a:lnTo>
                  <a:lnTo>
                    <a:pt x="170" y="380"/>
                  </a:lnTo>
                  <a:lnTo>
                    <a:pt x="170" y="378"/>
                  </a:lnTo>
                  <a:lnTo>
                    <a:pt x="170" y="376"/>
                  </a:lnTo>
                  <a:lnTo>
                    <a:pt x="168" y="376"/>
                  </a:lnTo>
                  <a:lnTo>
                    <a:pt x="166" y="376"/>
                  </a:lnTo>
                  <a:lnTo>
                    <a:pt x="164" y="374"/>
                  </a:lnTo>
                  <a:lnTo>
                    <a:pt x="162" y="374"/>
                  </a:lnTo>
                  <a:lnTo>
                    <a:pt x="160" y="374"/>
                  </a:lnTo>
                  <a:lnTo>
                    <a:pt x="158" y="374"/>
                  </a:lnTo>
                  <a:lnTo>
                    <a:pt x="158" y="372"/>
                  </a:lnTo>
                  <a:lnTo>
                    <a:pt x="156" y="370"/>
                  </a:lnTo>
                  <a:lnTo>
                    <a:pt x="154" y="368"/>
                  </a:lnTo>
                  <a:lnTo>
                    <a:pt x="156" y="364"/>
                  </a:lnTo>
                  <a:lnTo>
                    <a:pt x="162" y="364"/>
                  </a:lnTo>
                  <a:lnTo>
                    <a:pt x="166" y="366"/>
                  </a:lnTo>
                  <a:lnTo>
                    <a:pt x="168" y="366"/>
                  </a:lnTo>
                  <a:lnTo>
                    <a:pt x="168" y="364"/>
                  </a:lnTo>
                  <a:lnTo>
                    <a:pt x="170" y="364"/>
                  </a:lnTo>
                  <a:lnTo>
                    <a:pt x="172" y="362"/>
                  </a:lnTo>
                  <a:lnTo>
                    <a:pt x="174" y="362"/>
                  </a:lnTo>
                  <a:close/>
                  <a:moveTo>
                    <a:pt x="182" y="426"/>
                  </a:moveTo>
                  <a:lnTo>
                    <a:pt x="182" y="424"/>
                  </a:lnTo>
                  <a:lnTo>
                    <a:pt x="180" y="424"/>
                  </a:lnTo>
                  <a:lnTo>
                    <a:pt x="180" y="422"/>
                  </a:lnTo>
                  <a:lnTo>
                    <a:pt x="182" y="420"/>
                  </a:lnTo>
                  <a:lnTo>
                    <a:pt x="176" y="416"/>
                  </a:lnTo>
                  <a:lnTo>
                    <a:pt x="170" y="410"/>
                  </a:lnTo>
                  <a:lnTo>
                    <a:pt x="162" y="404"/>
                  </a:lnTo>
                  <a:lnTo>
                    <a:pt x="156" y="404"/>
                  </a:lnTo>
                  <a:lnTo>
                    <a:pt x="154" y="400"/>
                  </a:lnTo>
                  <a:lnTo>
                    <a:pt x="152" y="394"/>
                  </a:lnTo>
                  <a:lnTo>
                    <a:pt x="148" y="390"/>
                  </a:lnTo>
                  <a:lnTo>
                    <a:pt x="142" y="382"/>
                  </a:lnTo>
                  <a:lnTo>
                    <a:pt x="138" y="380"/>
                  </a:lnTo>
                  <a:lnTo>
                    <a:pt x="138" y="378"/>
                  </a:lnTo>
                  <a:lnTo>
                    <a:pt x="138" y="376"/>
                  </a:lnTo>
                  <a:lnTo>
                    <a:pt x="136" y="376"/>
                  </a:lnTo>
                  <a:lnTo>
                    <a:pt x="134" y="376"/>
                  </a:lnTo>
                  <a:lnTo>
                    <a:pt x="134" y="378"/>
                  </a:lnTo>
                  <a:lnTo>
                    <a:pt x="134" y="384"/>
                  </a:lnTo>
                  <a:lnTo>
                    <a:pt x="136" y="388"/>
                  </a:lnTo>
                  <a:lnTo>
                    <a:pt x="134" y="390"/>
                  </a:lnTo>
                  <a:lnTo>
                    <a:pt x="134" y="392"/>
                  </a:lnTo>
                  <a:lnTo>
                    <a:pt x="132" y="392"/>
                  </a:lnTo>
                  <a:lnTo>
                    <a:pt x="130" y="392"/>
                  </a:lnTo>
                  <a:lnTo>
                    <a:pt x="128" y="392"/>
                  </a:lnTo>
                  <a:lnTo>
                    <a:pt x="126" y="392"/>
                  </a:lnTo>
                  <a:lnTo>
                    <a:pt x="126" y="390"/>
                  </a:lnTo>
                  <a:lnTo>
                    <a:pt x="124" y="388"/>
                  </a:lnTo>
                  <a:lnTo>
                    <a:pt x="122" y="386"/>
                  </a:lnTo>
                  <a:lnTo>
                    <a:pt x="120" y="388"/>
                  </a:lnTo>
                  <a:lnTo>
                    <a:pt x="114" y="380"/>
                  </a:lnTo>
                  <a:lnTo>
                    <a:pt x="112" y="378"/>
                  </a:lnTo>
                  <a:lnTo>
                    <a:pt x="114" y="376"/>
                  </a:lnTo>
                  <a:lnTo>
                    <a:pt x="118" y="376"/>
                  </a:lnTo>
                  <a:lnTo>
                    <a:pt x="118" y="374"/>
                  </a:lnTo>
                  <a:lnTo>
                    <a:pt x="118" y="372"/>
                  </a:lnTo>
                  <a:lnTo>
                    <a:pt x="116" y="372"/>
                  </a:lnTo>
                  <a:lnTo>
                    <a:pt x="114" y="372"/>
                  </a:lnTo>
                  <a:lnTo>
                    <a:pt x="112" y="372"/>
                  </a:lnTo>
                  <a:lnTo>
                    <a:pt x="110" y="372"/>
                  </a:lnTo>
                  <a:lnTo>
                    <a:pt x="110" y="374"/>
                  </a:lnTo>
                  <a:lnTo>
                    <a:pt x="106" y="370"/>
                  </a:lnTo>
                  <a:lnTo>
                    <a:pt x="104" y="364"/>
                  </a:lnTo>
                  <a:lnTo>
                    <a:pt x="98" y="362"/>
                  </a:lnTo>
                  <a:lnTo>
                    <a:pt x="94" y="364"/>
                  </a:lnTo>
                  <a:lnTo>
                    <a:pt x="98" y="366"/>
                  </a:lnTo>
                  <a:lnTo>
                    <a:pt x="100" y="368"/>
                  </a:lnTo>
                  <a:lnTo>
                    <a:pt x="98" y="370"/>
                  </a:lnTo>
                  <a:lnTo>
                    <a:pt x="94" y="368"/>
                  </a:lnTo>
                  <a:lnTo>
                    <a:pt x="94" y="370"/>
                  </a:lnTo>
                  <a:lnTo>
                    <a:pt x="96" y="374"/>
                  </a:lnTo>
                  <a:lnTo>
                    <a:pt x="94" y="376"/>
                  </a:lnTo>
                  <a:lnTo>
                    <a:pt x="92" y="372"/>
                  </a:lnTo>
                  <a:lnTo>
                    <a:pt x="88" y="368"/>
                  </a:lnTo>
                  <a:lnTo>
                    <a:pt x="86" y="368"/>
                  </a:lnTo>
                  <a:lnTo>
                    <a:pt x="86" y="366"/>
                  </a:lnTo>
                  <a:lnTo>
                    <a:pt x="84" y="366"/>
                  </a:lnTo>
                  <a:lnTo>
                    <a:pt x="82" y="366"/>
                  </a:lnTo>
                  <a:lnTo>
                    <a:pt x="82" y="368"/>
                  </a:lnTo>
                  <a:lnTo>
                    <a:pt x="80" y="370"/>
                  </a:lnTo>
                  <a:lnTo>
                    <a:pt x="78" y="370"/>
                  </a:lnTo>
                  <a:lnTo>
                    <a:pt x="76" y="370"/>
                  </a:lnTo>
                  <a:lnTo>
                    <a:pt x="72" y="374"/>
                  </a:lnTo>
                  <a:lnTo>
                    <a:pt x="68" y="370"/>
                  </a:lnTo>
                  <a:lnTo>
                    <a:pt x="64" y="372"/>
                  </a:lnTo>
                  <a:lnTo>
                    <a:pt x="62" y="370"/>
                  </a:lnTo>
                  <a:lnTo>
                    <a:pt x="58" y="368"/>
                  </a:lnTo>
                  <a:lnTo>
                    <a:pt x="58" y="370"/>
                  </a:lnTo>
                  <a:lnTo>
                    <a:pt x="60" y="370"/>
                  </a:lnTo>
                  <a:lnTo>
                    <a:pt x="60" y="372"/>
                  </a:lnTo>
                  <a:lnTo>
                    <a:pt x="62" y="374"/>
                  </a:lnTo>
                  <a:lnTo>
                    <a:pt x="62" y="376"/>
                  </a:lnTo>
                  <a:lnTo>
                    <a:pt x="66" y="382"/>
                  </a:lnTo>
                  <a:lnTo>
                    <a:pt x="84" y="398"/>
                  </a:lnTo>
                  <a:lnTo>
                    <a:pt x="104" y="412"/>
                  </a:lnTo>
                  <a:lnTo>
                    <a:pt x="106" y="412"/>
                  </a:lnTo>
                  <a:lnTo>
                    <a:pt x="106" y="410"/>
                  </a:lnTo>
                  <a:lnTo>
                    <a:pt x="112" y="414"/>
                  </a:lnTo>
                  <a:lnTo>
                    <a:pt x="120" y="414"/>
                  </a:lnTo>
                  <a:lnTo>
                    <a:pt x="124" y="420"/>
                  </a:lnTo>
                  <a:lnTo>
                    <a:pt x="132" y="424"/>
                  </a:lnTo>
                  <a:lnTo>
                    <a:pt x="138" y="426"/>
                  </a:lnTo>
                  <a:lnTo>
                    <a:pt x="142" y="430"/>
                  </a:lnTo>
                  <a:lnTo>
                    <a:pt x="148" y="432"/>
                  </a:lnTo>
                  <a:lnTo>
                    <a:pt x="148" y="434"/>
                  </a:lnTo>
                  <a:lnTo>
                    <a:pt x="154" y="434"/>
                  </a:lnTo>
                  <a:lnTo>
                    <a:pt x="156" y="434"/>
                  </a:lnTo>
                  <a:lnTo>
                    <a:pt x="160" y="436"/>
                  </a:lnTo>
                  <a:lnTo>
                    <a:pt x="176" y="440"/>
                  </a:lnTo>
                  <a:lnTo>
                    <a:pt x="176" y="438"/>
                  </a:lnTo>
                  <a:lnTo>
                    <a:pt x="174" y="438"/>
                  </a:lnTo>
                  <a:lnTo>
                    <a:pt x="172" y="436"/>
                  </a:lnTo>
                  <a:lnTo>
                    <a:pt x="174" y="436"/>
                  </a:lnTo>
                  <a:lnTo>
                    <a:pt x="174" y="438"/>
                  </a:lnTo>
                  <a:lnTo>
                    <a:pt x="176" y="438"/>
                  </a:lnTo>
                  <a:lnTo>
                    <a:pt x="178" y="436"/>
                  </a:lnTo>
                  <a:lnTo>
                    <a:pt x="180" y="434"/>
                  </a:lnTo>
                  <a:lnTo>
                    <a:pt x="182" y="432"/>
                  </a:lnTo>
                  <a:lnTo>
                    <a:pt x="184" y="430"/>
                  </a:lnTo>
                  <a:lnTo>
                    <a:pt x="186" y="428"/>
                  </a:lnTo>
                  <a:lnTo>
                    <a:pt x="184" y="426"/>
                  </a:lnTo>
                  <a:lnTo>
                    <a:pt x="182" y="426"/>
                  </a:lnTo>
                  <a:close/>
                  <a:moveTo>
                    <a:pt x="202" y="138"/>
                  </a:moveTo>
                  <a:lnTo>
                    <a:pt x="202" y="138"/>
                  </a:lnTo>
                  <a:lnTo>
                    <a:pt x="202" y="140"/>
                  </a:lnTo>
                  <a:lnTo>
                    <a:pt x="204" y="140"/>
                  </a:lnTo>
                  <a:lnTo>
                    <a:pt x="206" y="140"/>
                  </a:lnTo>
                  <a:lnTo>
                    <a:pt x="206" y="138"/>
                  </a:lnTo>
                  <a:lnTo>
                    <a:pt x="204" y="138"/>
                  </a:lnTo>
                  <a:lnTo>
                    <a:pt x="202" y="138"/>
                  </a:lnTo>
                  <a:close/>
                  <a:moveTo>
                    <a:pt x="208" y="140"/>
                  </a:moveTo>
                  <a:lnTo>
                    <a:pt x="208" y="140"/>
                  </a:lnTo>
                  <a:lnTo>
                    <a:pt x="210" y="140"/>
                  </a:lnTo>
                  <a:lnTo>
                    <a:pt x="208" y="140"/>
                  </a:lnTo>
                  <a:close/>
                  <a:moveTo>
                    <a:pt x="192" y="128"/>
                  </a:moveTo>
                  <a:lnTo>
                    <a:pt x="192" y="128"/>
                  </a:lnTo>
                  <a:lnTo>
                    <a:pt x="192" y="130"/>
                  </a:lnTo>
                  <a:lnTo>
                    <a:pt x="194" y="130"/>
                  </a:lnTo>
                  <a:lnTo>
                    <a:pt x="194" y="128"/>
                  </a:lnTo>
                  <a:lnTo>
                    <a:pt x="192" y="128"/>
                  </a:lnTo>
                  <a:close/>
                  <a:moveTo>
                    <a:pt x="214" y="140"/>
                  </a:moveTo>
                  <a:lnTo>
                    <a:pt x="214" y="140"/>
                  </a:lnTo>
                  <a:close/>
                  <a:moveTo>
                    <a:pt x="218" y="136"/>
                  </a:moveTo>
                  <a:lnTo>
                    <a:pt x="216" y="136"/>
                  </a:lnTo>
                  <a:lnTo>
                    <a:pt x="216" y="138"/>
                  </a:lnTo>
                  <a:lnTo>
                    <a:pt x="218" y="138"/>
                  </a:lnTo>
                  <a:lnTo>
                    <a:pt x="220" y="138"/>
                  </a:lnTo>
                  <a:lnTo>
                    <a:pt x="220" y="136"/>
                  </a:lnTo>
                  <a:lnTo>
                    <a:pt x="218" y="136"/>
                  </a:lnTo>
                  <a:close/>
                  <a:moveTo>
                    <a:pt x="98" y="326"/>
                  </a:moveTo>
                  <a:lnTo>
                    <a:pt x="96" y="324"/>
                  </a:lnTo>
                  <a:lnTo>
                    <a:pt x="94" y="326"/>
                  </a:lnTo>
                  <a:lnTo>
                    <a:pt x="96" y="328"/>
                  </a:lnTo>
                  <a:lnTo>
                    <a:pt x="94" y="330"/>
                  </a:lnTo>
                  <a:lnTo>
                    <a:pt x="96" y="332"/>
                  </a:lnTo>
                  <a:lnTo>
                    <a:pt x="98" y="334"/>
                  </a:lnTo>
                  <a:lnTo>
                    <a:pt x="96" y="338"/>
                  </a:lnTo>
                  <a:lnTo>
                    <a:pt x="98" y="338"/>
                  </a:lnTo>
                  <a:lnTo>
                    <a:pt x="98" y="336"/>
                  </a:lnTo>
                  <a:lnTo>
                    <a:pt x="98" y="334"/>
                  </a:lnTo>
                  <a:lnTo>
                    <a:pt x="100" y="334"/>
                  </a:lnTo>
                  <a:lnTo>
                    <a:pt x="100" y="336"/>
                  </a:lnTo>
                  <a:lnTo>
                    <a:pt x="100" y="338"/>
                  </a:lnTo>
                  <a:lnTo>
                    <a:pt x="102" y="336"/>
                  </a:lnTo>
                  <a:lnTo>
                    <a:pt x="102" y="338"/>
                  </a:lnTo>
                  <a:lnTo>
                    <a:pt x="104" y="338"/>
                  </a:lnTo>
                  <a:lnTo>
                    <a:pt x="106" y="338"/>
                  </a:lnTo>
                  <a:lnTo>
                    <a:pt x="104" y="336"/>
                  </a:lnTo>
                  <a:lnTo>
                    <a:pt x="104" y="334"/>
                  </a:lnTo>
                  <a:lnTo>
                    <a:pt x="104" y="332"/>
                  </a:lnTo>
                  <a:lnTo>
                    <a:pt x="104" y="330"/>
                  </a:lnTo>
                  <a:lnTo>
                    <a:pt x="102" y="328"/>
                  </a:lnTo>
                  <a:lnTo>
                    <a:pt x="98" y="330"/>
                  </a:lnTo>
                  <a:lnTo>
                    <a:pt x="98" y="328"/>
                  </a:lnTo>
                  <a:lnTo>
                    <a:pt x="98" y="326"/>
                  </a:lnTo>
                  <a:close/>
                  <a:moveTo>
                    <a:pt x="96" y="338"/>
                  </a:moveTo>
                  <a:lnTo>
                    <a:pt x="96" y="338"/>
                  </a:lnTo>
                  <a:close/>
                  <a:moveTo>
                    <a:pt x="80" y="286"/>
                  </a:moveTo>
                  <a:lnTo>
                    <a:pt x="80" y="284"/>
                  </a:lnTo>
                  <a:lnTo>
                    <a:pt x="78" y="284"/>
                  </a:lnTo>
                  <a:lnTo>
                    <a:pt x="76" y="284"/>
                  </a:lnTo>
                  <a:lnTo>
                    <a:pt x="76" y="286"/>
                  </a:lnTo>
                  <a:lnTo>
                    <a:pt x="74" y="286"/>
                  </a:lnTo>
                  <a:lnTo>
                    <a:pt x="72" y="286"/>
                  </a:lnTo>
                  <a:lnTo>
                    <a:pt x="70" y="288"/>
                  </a:lnTo>
                  <a:lnTo>
                    <a:pt x="68" y="288"/>
                  </a:lnTo>
                  <a:lnTo>
                    <a:pt x="66" y="290"/>
                  </a:lnTo>
                  <a:lnTo>
                    <a:pt x="66" y="292"/>
                  </a:lnTo>
                  <a:lnTo>
                    <a:pt x="68" y="294"/>
                  </a:lnTo>
                  <a:lnTo>
                    <a:pt x="70" y="292"/>
                  </a:lnTo>
                  <a:lnTo>
                    <a:pt x="72" y="292"/>
                  </a:lnTo>
                  <a:lnTo>
                    <a:pt x="70" y="296"/>
                  </a:lnTo>
                  <a:lnTo>
                    <a:pt x="72" y="296"/>
                  </a:lnTo>
                  <a:lnTo>
                    <a:pt x="74" y="296"/>
                  </a:lnTo>
                  <a:lnTo>
                    <a:pt x="74" y="298"/>
                  </a:lnTo>
                  <a:lnTo>
                    <a:pt x="72" y="300"/>
                  </a:lnTo>
                  <a:lnTo>
                    <a:pt x="72" y="302"/>
                  </a:lnTo>
                  <a:lnTo>
                    <a:pt x="74" y="300"/>
                  </a:lnTo>
                  <a:lnTo>
                    <a:pt x="76" y="300"/>
                  </a:lnTo>
                  <a:lnTo>
                    <a:pt x="82" y="298"/>
                  </a:lnTo>
                  <a:lnTo>
                    <a:pt x="82" y="296"/>
                  </a:lnTo>
                  <a:lnTo>
                    <a:pt x="82" y="294"/>
                  </a:lnTo>
                  <a:lnTo>
                    <a:pt x="84" y="292"/>
                  </a:lnTo>
                  <a:lnTo>
                    <a:pt x="84" y="290"/>
                  </a:lnTo>
                  <a:lnTo>
                    <a:pt x="82" y="290"/>
                  </a:lnTo>
                  <a:lnTo>
                    <a:pt x="80" y="288"/>
                  </a:lnTo>
                  <a:lnTo>
                    <a:pt x="80" y="286"/>
                  </a:lnTo>
                  <a:close/>
                  <a:moveTo>
                    <a:pt x="166" y="170"/>
                  </a:moveTo>
                  <a:lnTo>
                    <a:pt x="166" y="170"/>
                  </a:lnTo>
                  <a:lnTo>
                    <a:pt x="166" y="164"/>
                  </a:lnTo>
                  <a:lnTo>
                    <a:pt x="164" y="164"/>
                  </a:lnTo>
                  <a:lnTo>
                    <a:pt x="164" y="168"/>
                  </a:lnTo>
                  <a:lnTo>
                    <a:pt x="164" y="170"/>
                  </a:lnTo>
                  <a:lnTo>
                    <a:pt x="166" y="170"/>
                  </a:lnTo>
                  <a:close/>
                  <a:moveTo>
                    <a:pt x="222" y="98"/>
                  </a:moveTo>
                  <a:lnTo>
                    <a:pt x="222" y="98"/>
                  </a:lnTo>
                  <a:lnTo>
                    <a:pt x="220" y="98"/>
                  </a:lnTo>
                  <a:lnTo>
                    <a:pt x="222" y="98"/>
                  </a:lnTo>
                  <a:close/>
                  <a:moveTo>
                    <a:pt x="226" y="86"/>
                  </a:moveTo>
                  <a:lnTo>
                    <a:pt x="226" y="88"/>
                  </a:lnTo>
                  <a:lnTo>
                    <a:pt x="228" y="88"/>
                  </a:lnTo>
                  <a:lnTo>
                    <a:pt x="228" y="86"/>
                  </a:lnTo>
                  <a:lnTo>
                    <a:pt x="226" y="86"/>
                  </a:lnTo>
                  <a:close/>
                  <a:moveTo>
                    <a:pt x="212" y="82"/>
                  </a:moveTo>
                  <a:lnTo>
                    <a:pt x="212" y="82"/>
                  </a:lnTo>
                  <a:lnTo>
                    <a:pt x="214" y="82"/>
                  </a:lnTo>
                  <a:lnTo>
                    <a:pt x="214" y="80"/>
                  </a:lnTo>
                  <a:lnTo>
                    <a:pt x="208" y="80"/>
                  </a:lnTo>
                  <a:lnTo>
                    <a:pt x="208" y="82"/>
                  </a:lnTo>
                  <a:lnTo>
                    <a:pt x="212" y="82"/>
                  </a:lnTo>
                  <a:close/>
                  <a:moveTo>
                    <a:pt x="230" y="264"/>
                  </a:moveTo>
                  <a:lnTo>
                    <a:pt x="228" y="264"/>
                  </a:lnTo>
                  <a:lnTo>
                    <a:pt x="228" y="266"/>
                  </a:lnTo>
                  <a:lnTo>
                    <a:pt x="230" y="266"/>
                  </a:lnTo>
                  <a:lnTo>
                    <a:pt x="230" y="264"/>
                  </a:lnTo>
                  <a:close/>
                </a:path>
              </a:pathLst>
            </a:custGeom>
            <a:gradFill flip="none" rotWithShape="1">
              <a:gsLst>
                <a:gs pos="50000">
                  <a:schemeClr val="bg1">
                    <a:lumMod val="95000"/>
                  </a:schemeClr>
                </a:gs>
                <a:gs pos="68000">
                  <a:schemeClr val="tx1">
                    <a:lumMod val="50000"/>
                    <a:lumOff val="50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  <a:gs pos="38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defTabSz="457200"/>
              <a:endParaRPr lang="en-US" u="sng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45" name="Ellipse 45"/>
            <p:cNvSpPr>
              <a:spLocks noChangeArrowheads="1"/>
            </p:cNvSpPr>
            <p:nvPr/>
          </p:nvSpPr>
          <p:spPr bwMode="auto">
            <a:xfrm rot="21374326" flipH="1">
              <a:off x="5769184" y="3238311"/>
              <a:ext cx="2742413" cy="2244215"/>
            </a:xfrm>
            <a:prstGeom prst="ellipse">
              <a:avLst/>
            </a:prstGeom>
            <a:gradFill rotWithShape="1">
              <a:gsLst>
                <a:gs pos="0">
                  <a:srgbClr val="FFFCF9">
                    <a:alpha val="76999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5400000"/>
            </a:gradFill>
            <a:ln w="9525">
              <a:noFill/>
              <a:round/>
              <a:headEnd/>
              <a:tailEnd/>
            </a:ln>
            <a:effectLst>
              <a:softEdge rad="50800"/>
            </a:effectLst>
          </p:spPr>
          <p:txBody>
            <a:bodyPr anchor="ctr"/>
            <a:lstStyle/>
            <a:p>
              <a:pPr algn="ctr" defTabSz="457200"/>
              <a:endParaRPr lang="en-US" u="sng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0033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TextBox 54"/>
          <p:cNvSpPr txBox="1">
            <a:spLocks noChangeArrowheads="1"/>
          </p:cNvSpPr>
          <p:nvPr/>
        </p:nvSpPr>
        <p:spPr bwMode="auto">
          <a:xfrm>
            <a:off x="314325" y="377825"/>
            <a:ext cx="37338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nb-NO" sz="1500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VISULIZE ACTIVITIES WITH </a:t>
            </a:r>
            <a:r>
              <a:rPr lang="nb-NO" sz="1500" b="1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TIMELINES!</a:t>
            </a:r>
            <a:endParaRPr lang="en-GB" sz="1500">
              <a:solidFill>
                <a:srgbClr val="26262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27" name="Rektangel 62"/>
          <p:cNvSpPr>
            <a:spLocks noChangeArrowheads="1"/>
          </p:cNvSpPr>
          <p:nvPr/>
        </p:nvSpPr>
        <p:spPr bwMode="auto">
          <a:xfrm rot="10800000" flipV="1">
            <a:off x="0" y="0"/>
            <a:ext cx="9144000" cy="3763963"/>
          </a:xfrm>
          <a:prstGeom prst="rect">
            <a:avLst/>
          </a:prstGeom>
          <a:gradFill rotWithShape="1">
            <a:gsLst>
              <a:gs pos="0">
                <a:srgbClr val="F3F3F3"/>
              </a:gs>
              <a:gs pos="0">
                <a:srgbClr val="F3F3F3"/>
              </a:gs>
              <a:gs pos="0">
                <a:srgbClr val="F3F3F3"/>
              </a:gs>
              <a:gs pos="48000">
                <a:srgbClr val="F3F3F3"/>
              </a:gs>
              <a:gs pos="69000">
                <a:srgbClr val="F3F3F3"/>
              </a:gs>
              <a:gs pos="100000">
                <a:srgbClr val="BFBFBF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es-AR">
              <a:solidFill>
                <a:srgbClr val="FFFFFF"/>
              </a:solidFill>
              <a:latin typeface="Calibri" pitchFamily="34" charset="0"/>
            </a:endParaRPr>
          </a:p>
        </p:txBody>
      </p:sp>
      <p:grpSp>
        <p:nvGrpSpPr>
          <p:cNvPr id="11269" name="Gruppe 49"/>
          <p:cNvGrpSpPr>
            <a:grpSpLocks/>
          </p:cNvGrpSpPr>
          <p:nvPr/>
        </p:nvGrpSpPr>
        <p:grpSpPr bwMode="auto">
          <a:xfrm>
            <a:off x="393700" y="3575050"/>
            <a:ext cx="8412163" cy="1241425"/>
            <a:chOff x="393700" y="3574732"/>
            <a:chExt cx="8412480" cy="776288"/>
          </a:xfrm>
        </p:grpSpPr>
        <p:grpSp>
          <p:nvGrpSpPr>
            <p:cNvPr id="11303" name="Gruppe 50"/>
            <p:cNvGrpSpPr>
              <a:grpSpLocks/>
            </p:cNvGrpSpPr>
            <p:nvPr/>
          </p:nvGrpSpPr>
          <p:grpSpPr bwMode="auto">
            <a:xfrm>
              <a:off x="614680" y="3970020"/>
              <a:ext cx="8191500" cy="381000"/>
              <a:chOff x="584200" y="3771900"/>
              <a:chExt cx="8191500" cy="381000"/>
            </a:xfrm>
          </p:grpSpPr>
          <p:sp>
            <p:nvSpPr>
              <p:cNvPr id="340" name="Billedforklaring med højrepil 51"/>
              <p:cNvSpPr/>
              <p:nvPr/>
            </p:nvSpPr>
            <p:spPr>
              <a:xfrm>
                <a:off x="7797800" y="3771900"/>
                <a:ext cx="977900" cy="381000"/>
              </a:xfrm>
              <a:prstGeom prst="rightArrowCallout">
                <a:avLst>
                  <a:gd name="adj1" fmla="val 25000"/>
                  <a:gd name="adj2" fmla="val 25000"/>
                  <a:gd name="adj3" fmla="val 25000"/>
                  <a:gd name="adj4" fmla="val 78230"/>
                </a:avLst>
              </a:prstGeom>
              <a:gradFill flip="none" rotWithShape="1">
                <a:gsLst>
                  <a:gs pos="0">
                    <a:srgbClr val="020000">
                      <a:alpha val="10000"/>
                    </a:srgbClr>
                  </a:gs>
                  <a:gs pos="51000">
                    <a:srgbClr val="FFFFFF">
                      <a:alpha val="0"/>
                    </a:srgbClr>
                  </a:gs>
                  <a:gs pos="60000">
                    <a:srgbClr val="FFFFFF"/>
                  </a:gs>
                </a:gsLst>
                <a:lin ang="540000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/>
                <a:endParaRPr lang="es-AR" noProof="1">
                  <a:solidFill>
                    <a:srgbClr val="FFFFFF"/>
                  </a:solidFill>
                  <a:latin typeface="Calibri" pitchFamily="34" charset="0"/>
                </a:endParaRPr>
              </a:p>
            </p:txBody>
          </p:sp>
          <p:sp>
            <p:nvSpPr>
              <p:cNvPr id="341" name="Billedforklaring med højrepil 52"/>
              <p:cNvSpPr/>
              <p:nvPr/>
            </p:nvSpPr>
            <p:spPr>
              <a:xfrm>
                <a:off x="6997700" y="3771900"/>
                <a:ext cx="977900" cy="381000"/>
              </a:xfrm>
              <a:prstGeom prst="rightArrowCallout">
                <a:avLst>
                  <a:gd name="adj1" fmla="val 25000"/>
                  <a:gd name="adj2" fmla="val 25000"/>
                  <a:gd name="adj3" fmla="val 25000"/>
                  <a:gd name="adj4" fmla="val 78230"/>
                </a:avLst>
              </a:prstGeom>
              <a:gradFill flip="none" rotWithShape="1">
                <a:gsLst>
                  <a:gs pos="0">
                    <a:srgbClr val="020000">
                      <a:alpha val="10000"/>
                    </a:srgbClr>
                  </a:gs>
                  <a:gs pos="51000">
                    <a:srgbClr val="FFFFFF">
                      <a:alpha val="0"/>
                    </a:srgbClr>
                  </a:gs>
                  <a:gs pos="60000">
                    <a:srgbClr val="FFFFFF"/>
                  </a:gs>
                </a:gsLst>
                <a:lin ang="540000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/>
                <a:endParaRPr lang="es-AR" noProof="1">
                  <a:solidFill>
                    <a:srgbClr val="FFFFFF"/>
                  </a:solidFill>
                  <a:latin typeface="Calibri" pitchFamily="34" charset="0"/>
                </a:endParaRPr>
              </a:p>
            </p:txBody>
          </p:sp>
          <p:sp>
            <p:nvSpPr>
              <p:cNvPr id="342" name="Billedforklaring med højrepil 53"/>
              <p:cNvSpPr/>
              <p:nvPr/>
            </p:nvSpPr>
            <p:spPr>
              <a:xfrm>
                <a:off x="6197600" y="3771900"/>
                <a:ext cx="977900" cy="381000"/>
              </a:xfrm>
              <a:prstGeom prst="rightArrowCallout">
                <a:avLst>
                  <a:gd name="adj1" fmla="val 25000"/>
                  <a:gd name="adj2" fmla="val 25000"/>
                  <a:gd name="adj3" fmla="val 25000"/>
                  <a:gd name="adj4" fmla="val 78230"/>
                </a:avLst>
              </a:prstGeom>
              <a:gradFill flip="none" rotWithShape="1">
                <a:gsLst>
                  <a:gs pos="0">
                    <a:srgbClr val="020000">
                      <a:alpha val="10000"/>
                    </a:srgbClr>
                  </a:gs>
                  <a:gs pos="51000">
                    <a:srgbClr val="FFFFFF">
                      <a:alpha val="0"/>
                    </a:srgbClr>
                  </a:gs>
                  <a:gs pos="60000">
                    <a:srgbClr val="FFFFFF"/>
                  </a:gs>
                </a:gsLst>
                <a:lin ang="540000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/>
                <a:endParaRPr lang="es-AR" noProof="1">
                  <a:solidFill>
                    <a:srgbClr val="FFFFFF"/>
                  </a:solidFill>
                  <a:latin typeface="Calibri" pitchFamily="34" charset="0"/>
                </a:endParaRPr>
              </a:p>
            </p:txBody>
          </p:sp>
          <p:sp>
            <p:nvSpPr>
              <p:cNvPr id="343" name="Billedforklaring med højrepil 54"/>
              <p:cNvSpPr/>
              <p:nvPr/>
            </p:nvSpPr>
            <p:spPr>
              <a:xfrm>
                <a:off x="5397500" y="3771900"/>
                <a:ext cx="977900" cy="381000"/>
              </a:xfrm>
              <a:prstGeom prst="rightArrowCallout">
                <a:avLst>
                  <a:gd name="adj1" fmla="val 25000"/>
                  <a:gd name="adj2" fmla="val 25000"/>
                  <a:gd name="adj3" fmla="val 25000"/>
                  <a:gd name="adj4" fmla="val 78230"/>
                </a:avLst>
              </a:prstGeom>
              <a:gradFill flip="none" rotWithShape="1">
                <a:gsLst>
                  <a:gs pos="0">
                    <a:srgbClr val="020000">
                      <a:alpha val="10000"/>
                    </a:srgbClr>
                  </a:gs>
                  <a:gs pos="51000">
                    <a:srgbClr val="FFFFFF">
                      <a:alpha val="0"/>
                    </a:srgbClr>
                  </a:gs>
                  <a:gs pos="60000">
                    <a:srgbClr val="FFFFFF"/>
                  </a:gs>
                </a:gsLst>
                <a:lin ang="540000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/>
                <a:endParaRPr lang="es-AR" noProof="1">
                  <a:solidFill>
                    <a:srgbClr val="FFFFFF"/>
                  </a:solidFill>
                  <a:latin typeface="Calibri" pitchFamily="34" charset="0"/>
                </a:endParaRPr>
              </a:p>
            </p:txBody>
          </p:sp>
          <p:sp>
            <p:nvSpPr>
              <p:cNvPr id="344" name="Billedforklaring med højrepil 55"/>
              <p:cNvSpPr/>
              <p:nvPr/>
            </p:nvSpPr>
            <p:spPr>
              <a:xfrm>
                <a:off x="4597400" y="3771900"/>
                <a:ext cx="977900" cy="381000"/>
              </a:xfrm>
              <a:prstGeom prst="rightArrowCallout">
                <a:avLst>
                  <a:gd name="adj1" fmla="val 25000"/>
                  <a:gd name="adj2" fmla="val 25000"/>
                  <a:gd name="adj3" fmla="val 25000"/>
                  <a:gd name="adj4" fmla="val 78230"/>
                </a:avLst>
              </a:prstGeom>
              <a:gradFill flip="none" rotWithShape="1">
                <a:gsLst>
                  <a:gs pos="0">
                    <a:srgbClr val="020000">
                      <a:alpha val="10000"/>
                    </a:srgbClr>
                  </a:gs>
                  <a:gs pos="51000">
                    <a:srgbClr val="FFFFFF">
                      <a:alpha val="0"/>
                    </a:srgbClr>
                  </a:gs>
                  <a:gs pos="60000">
                    <a:srgbClr val="FFFFFF"/>
                  </a:gs>
                </a:gsLst>
                <a:lin ang="540000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/>
                <a:endParaRPr lang="es-AR" noProof="1">
                  <a:solidFill>
                    <a:srgbClr val="FFFFFF"/>
                  </a:solidFill>
                  <a:latin typeface="Calibri" pitchFamily="34" charset="0"/>
                </a:endParaRPr>
              </a:p>
            </p:txBody>
          </p:sp>
          <p:sp>
            <p:nvSpPr>
              <p:cNvPr id="345" name="Billedforklaring med højrepil 56"/>
              <p:cNvSpPr/>
              <p:nvPr/>
            </p:nvSpPr>
            <p:spPr>
              <a:xfrm>
                <a:off x="3797300" y="3771900"/>
                <a:ext cx="977900" cy="381000"/>
              </a:xfrm>
              <a:prstGeom prst="rightArrowCallout">
                <a:avLst>
                  <a:gd name="adj1" fmla="val 25000"/>
                  <a:gd name="adj2" fmla="val 25000"/>
                  <a:gd name="adj3" fmla="val 25000"/>
                  <a:gd name="adj4" fmla="val 78230"/>
                </a:avLst>
              </a:prstGeom>
              <a:gradFill flip="none" rotWithShape="1">
                <a:gsLst>
                  <a:gs pos="0">
                    <a:srgbClr val="020000">
                      <a:alpha val="10000"/>
                    </a:srgbClr>
                  </a:gs>
                  <a:gs pos="51000">
                    <a:srgbClr val="FFFFFF">
                      <a:alpha val="0"/>
                    </a:srgbClr>
                  </a:gs>
                  <a:gs pos="60000">
                    <a:srgbClr val="FFFFFF"/>
                  </a:gs>
                </a:gsLst>
                <a:lin ang="540000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/>
                <a:endParaRPr lang="es-AR" noProof="1">
                  <a:solidFill>
                    <a:srgbClr val="FFFFFF"/>
                  </a:solidFill>
                  <a:latin typeface="Calibri" pitchFamily="34" charset="0"/>
                </a:endParaRPr>
              </a:p>
            </p:txBody>
          </p:sp>
          <p:sp>
            <p:nvSpPr>
              <p:cNvPr id="346" name="Billedforklaring med højrepil 57"/>
              <p:cNvSpPr/>
              <p:nvPr/>
            </p:nvSpPr>
            <p:spPr>
              <a:xfrm>
                <a:off x="2984500" y="3771900"/>
                <a:ext cx="977900" cy="381000"/>
              </a:xfrm>
              <a:prstGeom prst="rightArrowCallout">
                <a:avLst>
                  <a:gd name="adj1" fmla="val 25000"/>
                  <a:gd name="adj2" fmla="val 25000"/>
                  <a:gd name="adj3" fmla="val 25000"/>
                  <a:gd name="adj4" fmla="val 78230"/>
                </a:avLst>
              </a:prstGeom>
              <a:gradFill flip="none" rotWithShape="1">
                <a:gsLst>
                  <a:gs pos="0">
                    <a:srgbClr val="020000">
                      <a:alpha val="10000"/>
                    </a:srgbClr>
                  </a:gs>
                  <a:gs pos="51000">
                    <a:srgbClr val="FFFFFF">
                      <a:alpha val="0"/>
                    </a:srgbClr>
                  </a:gs>
                  <a:gs pos="60000">
                    <a:srgbClr val="FFFFFF"/>
                  </a:gs>
                </a:gsLst>
                <a:lin ang="540000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/>
                <a:endParaRPr lang="es-AR" noProof="1">
                  <a:solidFill>
                    <a:srgbClr val="FFFFFF"/>
                  </a:solidFill>
                  <a:latin typeface="Calibri" pitchFamily="34" charset="0"/>
                </a:endParaRPr>
              </a:p>
            </p:txBody>
          </p:sp>
          <p:sp>
            <p:nvSpPr>
              <p:cNvPr id="347" name="Billedforklaring med højrepil 58"/>
              <p:cNvSpPr/>
              <p:nvPr/>
            </p:nvSpPr>
            <p:spPr>
              <a:xfrm>
                <a:off x="2184400" y="3771900"/>
                <a:ext cx="977900" cy="381000"/>
              </a:xfrm>
              <a:prstGeom prst="rightArrowCallout">
                <a:avLst>
                  <a:gd name="adj1" fmla="val 25000"/>
                  <a:gd name="adj2" fmla="val 25000"/>
                  <a:gd name="adj3" fmla="val 25000"/>
                  <a:gd name="adj4" fmla="val 78230"/>
                </a:avLst>
              </a:prstGeom>
              <a:gradFill flip="none" rotWithShape="1">
                <a:gsLst>
                  <a:gs pos="0">
                    <a:srgbClr val="020000">
                      <a:alpha val="10000"/>
                    </a:srgbClr>
                  </a:gs>
                  <a:gs pos="51000">
                    <a:srgbClr val="FFFFFF">
                      <a:alpha val="0"/>
                    </a:srgbClr>
                  </a:gs>
                  <a:gs pos="60000">
                    <a:srgbClr val="FFFFFF"/>
                  </a:gs>
                </a:gsLst>
                <a:lin ang="540000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/>
                <a:endParaRPr lang="es-AR" noProof="1">
                  <a:solidFill>
                    <a:srgbClr val="FFFFFF"/>
                  </a:solidFill>
                  <a:latin typeface="Calibri" pitchFamily="34" charset="0"/>
                </a:endParaRPr>
              </a:p>
            </p:txBody>
          </p:sp>
          <p:sp>
            <p:nvSpPr>
              <p:cNvPr id="348" name="Billedforklaring med højrepil 59"/>
              <p:cNvSpPr/>
              <p:nvPr/>
            </p:nvSpPr>
            <p:spPr>
              <a:xfrm>
                <a:off x="1384300" y="3771900"/>
                <a:ext cx="977900" cy="381000"/>
              </a:xfrm>
              <a:prstGeom prst="rightArrowCallout">
                <a:avLst>
                  <a:gd name="adj1" fmla="val 25000"/>
                  <a:gd name="adj2" fmla="val 25000"/>
                  <a:gd name="adj3" fmla="val 25000"/>
                  <a:gd name="adj4" fmla="val 78230"/>
                </a:avLst>
              </a:prstGeom>
              <a:gradFill flip="none" rotWithShape="1">
                <a:gsLst>
                  <a:gs pos="0">
                    <a:srgbClr val="020000">
                      <a:alpha val="10000"/>
                    </a:srgbClr>
                  </a:gs>
                  <a:gs pos="51000">
                    <a:srgbClr val="FFFFFF">
                      <a:alpha val="0"/>
                    </a:srgbClr>
                  </a:gs>
                  <a:gs pos="60000">
                    <a:srgbClr val="FFFFFF"/>
                  </a:gs>
                </a:gsLst>
                <a:lin ang="540000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/>
                <a:endParaRPr lang="es-AR" noProof="1">
                  <a:solidFill>
                    <a:srgbClr val="FFFFFF"/>
                  </a:solidFill>
                  <a:latin typeface="Calibri" pitchFamily="34" charset="0"/>
                </a:endParaRPr>
              </a:p>
            </p:txBody>
          </p:sp>
          <p:sp>
            <p:nvSpPr>
              <p:cNvPr id="349" name="Billedforklaring med højrepil 60"/>
              <p:cNvSpPr/>
              <p:nvPr/>
            </p:nvSpPr>
            <p:spPr>
              <a:xfrm>
                <a:off x="584200" y="3771900"/>
                <a:ext cx="977900" cy="381000"/>
              </a:xfrm>
              <a:prstGeom prst="rightArrowCallout">
                <a:avLst>
                  <a:gd name="adj1" fmla="val 25000"/>
                  <a:gd name="adj2" fmla="val 25000"/>
                  <a:gd name="adj3" fmla="val 25000"/>
                  <a:gd name="adj4" fmla="val 78230"/>
                </a:avLst>
              </a:prstGeom>
              <a:gradFill flip="none" rotWithShape="1">
                <a:gsLst>
                  <a:gs pos="0">
                    <a:srgbClr val="020000">
                      <a:alpha val="10000"/>
                    </a:srgbClr>
                  </a:gs>
                  <a:gs pos="51000">
                    <a:srgbClr val="FFFFFF">
                      <a:alpha val="0"/>
                    </a:srgbClr>
                  </a:gs>
                  <a:gs pos="60000">
                    <a:srgbClr val="FFFFFF"/>
                  </a:gs>
                </a:gsLst>
                <a:lin ang="540000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/>
                <a:endParaRPr lang="es-AR" noProof="1">
                  <a:solidFill>
                    <a:srgbClr val="FFFFFF"/>
                  </a:solidFill>
                  <a:latin typeface="Calibri" pitchFamily="34" charset="0"/>
                </a:endParaRPr>
              </a:p>
            </p:txBody>
          </p:sp>
        </p:grpSp>
        <p:sp>
          <p:nvSpPr>
            <p:cNvPr id="330" name="Billedforklaring med højrepil 21"/>
            <p:cNvSpPr>
              <a:spLocks noChangeArrowheads="1"/>
            </p:cNvSpPr>
            <p:nvPr/>
          </p:nvSpPr>
          <p:spPr bwMode="auto">
            <a:xfrm rot="10800000">
              <a:off x="393700" y="3580688"/>
              <a:ext cx="977937" cy="381195"/>
            </a:xfrm>
            <a:prstGeom prst="rightArrowCallout">
              <a:avLst>
                <a:gd name="adj1" fmla="val 25000"/>
                <a:gd name="adj2" fmla="val 25000"/>
                <a:gd name="adj3" fmla="val 25001"/>
                <a:gd name="adj4" fmla="val 78231"/>
              </a:avLst>
            </a:prstGeom>
            <a:gradFill rotWithShape="1">
              <a:gsLst>
                <a:gs pos="0">
                  <a:srgbClr val="7F7F7F"/>
                </a:gs>
                <a:gs pos="100000">
                  <a:srgbClr val="A0A2A4"/>
                </a:gs>
              </a:gsLst>
              <a:lin ang="5400000" scaled="1"/>
            </a:gradFill>
            <a:ln w="3175">
              <a:solidFill>
                <a:srgbClr val="7F7F7F"/>
              </a:solidFill>
              <a:round/>
              <a:headEnd/>
              <a:tailEnd/>
            </a:ln>
            <a:effectLst>
              <a:outerShdw dist="38100" dir="5400000" algn="t" rotWithShape="0">
                <a:srgbClr val="808080">
                  <a:alpha val="39999"/>
                </a:srgbClr>
              </a:outerShdw>
            </a:effectLst>
          </p:spPr>
          <p:txBody>
            <a:bodyPr/>
            <a:lstStyle/>
            <a:p>
              <a:endParaRPr lang="es-AR">
                <a:solidFill>
                  <a:srgbClr val="0D0D0D"/>
                </a:solidFill>
                <a:latin typeface="Calibri" pitchFamily="34" charset="0"/>
              </a:endParaRPr>
            </a:p>
          </p:txBody>
        </p:sp>
        <p:sp>
          <p:nvSpPr>
            <p:cNvPr id="331" name="Billedforklaring med højrepil 19"/>
            <p:cNvSpPr>
              <a:spLocks noChangeArrowheads="1"/>
            </p:cNvSpPr>
            <p:nvPr/>
          </p:nvSpPr>
          <p:spPr bwMode="auto">
            <a:xfrm rot="10800000">
              <a:off x="1193830" y="3580688"/>
              <a:ext cx="977937" cy="381195"/>
            </a:xfrm>
            <a:prstGeom prst="rightArrowCallout">
              <a:avLst>
                <a:gd name="adj1" fmla="val 25000"/>
                <a:gd name="adj2" fmla="val 25000"/>
                <a:gd name="adj3" fmla="val 25001"/>
                <a:gd name="adj4" fmla="val 78231"/>
              </a:avLst>
            </a:prstGeom>
            <a:gradFill rotWithShape="1">
              <a:gsLst>
                <a:gs pos="0">
                  <a:srgbClr val="F3F3F3"/>
                </a:gs>
                <a:gs pos="100000">
                  <a:srgbClr val="E6E6E6"/>
                </a:gs>
              </a:gsLst>
              <a:lin ang="5400000"/>
            </a:gradFill>
            <a:ln w="9525">
              <a:solidFill>
                <a:srgbClr val="BFBFBF"/>
              </a:solidFill>
              <a:miter lim="800000"/>
              <a:headEnd/>
              <a:tailEnd/>
            </a:ln>
            <a:effectLst>
              <a:outerShdw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/>
              <a:endParaRPr lang="es-AR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332" name="Billedforklaring med højrepil 16"/>
            <p:cNvSpPr>
              <a:spLocks noChangeArrowheads="1"/>
            </p:cNvSpPr>
            <p:nvPr/>
          </p:nvSpPr>
          <p:spPr bwMode="auto">
            <a:xfrm rot="10800000">
              <a:off x="1993960" y="3580688"/>
              <a:ext cx="977937" cy="381195"/>
            </a:xfrm>
            <a:prstGeom prst="rightArrowCallout">
              <a:avLst>
                <a:gd name="adj1" fmla="val 25000"/>
                <a:gd name="adj2" fmla="val 25000"/>
                <a:gd name="adj3" fmla="val 25001"/>
                <a:gd name="adj4" fmla="val 78231"/>
              </a:avLst>
            </a:prstGeom>
            <a:gradFill rotWithShape="1">
              <a:gsLst>
                <a:gs pos="0">
                  <a:srgbClr val="7F7F7F"/>
                </a:gs>
                <a:gs pos="100000">
                  <a:srgbClr val="A0A2A4"/>
                </a:gs>
              </a:gsLst>
              <a:lin ang="5400000" scaled="1"/>
            </a:gradFill>
            <a:ln w="3175">
              <a:solidFill>
                <a:srgbClr val="7F7F7F"/>
              </a:solidFill>
              <a:round/>
              <a:headEnd/>
              <a:tailEnd/>
            </a:ln>
            <a:effectLst>
              <a:outerShdw dist="38100" dir="5400000" algn="t" rotWithShape="0">
                <a:srgbClr val="808080">
                  <a:alpha val="39999"/>
                </a:srgbClr>
              </a:outerShdw>
            </a:effectLst>
          </p:spPr>
          <p:txBody>
            <a:bodyPr/>
            <a:lstStyle/>
            <a:p>
              <a:endParaRPr lang="es-AR">
                <a:solidFill>
                  <a:srgbClr val="0D0D0D"/>
                </a:solidFill>
                <a:latin typeface="Calibri" pitchFamily="34" charset="0"/>
              </a:endParaRPr>
            </a:p>
          </p:txBody>
        </p:sp>
        <p:sp>
          <p:nvSpPr>
            <p:cNvPr id="333" name="Billedforklaring med højrepil 3"/>
            <p:cNvSpPr>
              <a:spLocks noChangeArrowheads="1"/>
            </p:cNvSpPr>
            <p:nvPr/>
          </p:nvSpPr>
          <p:spPr bwMode="auto">
            <a:xfrm>
              <a:off x="7798079" y="3580688"/>
              <a:ext cx="977937" cy="381195"/>
            </a:xfrm>
            <a:prstGeom prst="rightArrowCallout">
              <a:avLst>
                <a:gd name="adj1" fmla="val 25000"/>
                <a:gd name="adj2" fmla="val 25000"/>
                <a:gd name="adj3" fmla="val 25001"/>
                <a:gd name="adj4" fmla="val 78231"/>
              </a:avLst>
            </a:prstGeom>
            <a:gradFill rotWithShape="1">
              <a:gsLst>
                <a:gs pos="0">
                  <a:srgbClr val="F3F3F3"/>
                </a:gs>
                <a:gs pos="100000">
                  <a:srgbClr val="E6E6E6"/>
                </a:gs>
              </a:gsLst>
              <a:lin ang="5400000"/>
            </a:gradFill>
            <a:ln w="9525">
              <a:solidFill>
                <a:srgbClr val="BFBFBF"/>
              </a:solidFill>
              <a:miter lim="800000"/>
              <a:headEnd/>
              <a:tailEnd/>
            </a:ln>
            <a:effectLst>
              <a:outerShdw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/>
              <a:endParaRPr lang="es-AR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334" name="Billedforklaring med højrepil 4"/>
            <p:cNvSpPr>
              <a:spLocks noChangeArrowheads="1"/>
            </p:cNvSpPr>
            <p:nvPr/>
          </p:nvSpPr>
          <p:spPr bwMode="auto">
            <a:xfrm>
              <a:off x="6997949" y="3580688"/>
              <a:ext cx="977937" cy="381195"/>
            </a:xfrm>
            <a:prstGeom prst="rightArrowCallout">
              <a:avLst>
                <a:gd name="adj1" fmla="val 25000"/>
                <a:gd name="adj2" fmla="val 25000"/>
                <a:gd name="adj3" fmla="val 25001"/>
                <a:gd name="adj4" fmla="val 78231"/>
              </a:avLst>
            </a:prstGeom>
            <a:gradFill rotWithShape="1">
              <a:gsLst>
                <a:gs pos="0">
                  <a:srgbClr val="A0A2A4"/>
                </a:gs>
                <a:gs pos="100000">
                  <a:srgbClr val="7F7F7F"/>
                </a:gs>
              </a:gsLst>
              <a:lin ang="5400000"/>
            </a:gradFill>
            <a:ln w="3175">
              <a:solidFill>
                <a:srgbClr val="7F7F7F"/>
              </a:solidFill>
              <a:round/>
              <a:headEnd/>
              <a:tailEnd/>
            </a:ln>
            <a:effectLst>
              <a:outerShdw dist="38100" dir="5400000" algn="t" rotWithShape="0">
                <a:srgbClr val="808080">
                  <a:alpha val="39999"/>
                </a:srgbClr>
              </a:outerShdw>
            </a:effectLst>
          </p:spPr>
          <p:txBody>
            <a:bodyPr/>
            <a:lstStyle/>
            <a:p>
              <a:endParaRPr lang="es-AR">
                <a:solidFill>
                  <a:srgbClr val="0D0D0D"/>
                </a:solidFill>
                <a:latin typeface="Calibri" pitchFamily="34" charset="0"/>
              </a:endParaRPr>
            </a:p>
          </p:txBody>
        </p:sp>
        <p:sp>
          <p:nvSpPr>
            <p:cNvPr id="335" name="Billedforklaring med højrepil 7"/>
            <p:cNvSpPr>
              <a:spLocks noChangeArrowheads="1"/>
            </p:cNvSpPr>
            <p:nvPr/>
          </p:nvSpPr>
          <p:spPr bwMode="auto">
            <a:xfrm>
              <a:off x="6197819" y="3580688"/>
              <a:ext cx="977937" cy="381195"/>
            </a:xfrm>
            <a:prstGeom prst="rightArrowCallout">
              <a:avLst>
                <a:gd name="adj1" fmla="val 25000"/>
                <a:gd name="adj2" fmla="val 25000"/>
                <a:gd name="adj3" fmla="val 25001"/>
                <a:gd name="adj4" fmla="val 78231"/>
              </a:avLst>
            </a:prstGeom>
            <a:gradFill rotWithShape="1">
              <a:gsLst>
                <a:gs pos="0">
                  <a:srgbClr val="F3F3F3"/>
                </a:gs>
                <a:gs pos="100000">
                  <a:srgbClr val="E6E6E6"/>
                </a:gs>
              </a:gsLst>
              <a:lin ang="5400000"/>
            </a:gradFill>
            <a:ln w="9525">
              <a:solidFill>
                <a:srgbClr val="BFBFBF"/>
              </a:solidFill>
              <a:miter lim="800000"/>
              <a:headEnd/>
              <a:tailEnd/>
            </a:ln>
            <a:effectLst>
              <a:outerShdw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/>
              <a:endParaRPr lang="es-AR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336" name="Billedforklaring med højrepil 9"/>
            <p:cNvSpPr>
              <a:spLocks noChangeArrowheads="1"/>
            </p:cNvSpPr>
            <p:nvPr/>
          </p:nvSpPr>
          <p:spPr bwMode="auto">
            <a:xfrm>
              <a:off x="5397689" y="3580688"/>
              <a:ext cx="977937" cy="381195"/>
            </a:xfrm>
            <a:prstGeom prst="rightArrowCallout">
              <a:avLst>
                <a:gd name="adj1" fmla="val 25000"/>
                <a:gd name="adj2" fmla="val 25000"/>
                <a:gd name="adj3" fmla="val 25001"/>
                <a:gd name="adj4" fmla="val 78231"/>
              </a:avLst>
            </a:prstGeom>
            <a:gradFill rotWithShape="1">
              <a:gsLst>
                <a:gs pos="0">
                  <a:srgbClr val="A0A2A4"/>
                </a:gs>
                <a:gs pos="100000">
                  <a:srgbClr val="7F7F7F"/>
                </a:gs>
              </a:gsLst>
              <a:lin ang="5400000"/>
            </a:gradFill>
            <a:ln w="3175">
              <a:solidFill>
                <a:srgbClr val="7F7F7F"/>
              </a:solidFill>
              <a:round/>
              <a:headEnd/>
              <a:tailEnd/>
            </a:ln>
            <a:effectLst>
              <a:outerShdw dist="38100" dir="5400000" algn="t" rotWithShape="0">
                <a:srgbClr val="808080">
                  <a:alpha val="39999"/>
                </a:srgbClr>
              </a:outerShdw>
            </a:effectLst>
          </p:spPr>
          <p:txBody>
            <a:bodyPr/>
            <a:lstStyle/>
            <a:p>
              <a:endParaRPr lang="es-AR">
                <a:solidFill>
                  <a:srgbClr val="0D0D0D"/>
                </a:solidFill>
                <a:latin typeface="Calibri" pitchFamily="34" charset="0"/>
              </a:endParaRPr>
            </a:p>
          </p:txBody>
        </p:sp>
        <p:sp>
          <p:nvSpPr>
            <p:cNvPr id="337" name="Billedforklaring med højrepil 11"/>
            <p:cNvSpPr>
              <a:spLocks noChangeArrowheads="1"/>
            </p:cNvSpPr>
            <p:nvPr/>
          </p:nvSpPr>
          <p:spPr bwMode="auto">
            <a:xfrm>
              <a:off x="4597558" y="3580688"/>
              <a:ext cx="977937" cy="381195"/>
            </a:xfrm>
            <a:prstGeom prst="rightArrowCallout">
              <a:avLst>
                <a:gd name="adj1" fmla="val 25000"/>
                <a:gd name="adj2" fmla="val 25000"/>
                <a:gd name="adj3" fmla="val 25001"/>
                <a:gd name="adj4" fmla="val 78231"/>
              </a:avLst>
            </a:prstGeom>
            <a:gradFill rotWithShape="1">
              <a:gsLst>
                <a:gs pos="0">
                  <a:srgbClr val="F3F3F3"/>
                </a:gs>
                <a:gs pos="100000">
                  <a:srgbClr val="E6E6E6"/>
                </a:gs>
              </a:gsLst>
              <a:lin ang="5400000"/>
            </a:gradFill>
            <a:ln w="9525">
              <a:solidFill>
                <a:srgbClr val="BFBFBF"/>
              </a:solidFill>
              <a:miter lim="800000"/>
              <a:headEnd/>
              <a:tailEnd/>
            </a:ln>
            <a:effectLst>
              <a:outerShdw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/>
              <a:endParaRPr lang="es-AR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338" name="Billedforklaring med højrepil 15"/>
            <p:cNvSpPr>
              <a:spLocks noChangeArrowheads="1"/>
            </p:cNvSpPr>
            <p:nvPr/>
          </p:nvSpPr>
          <p:spPr bwMode="auto">
            <a:xfrm rot="10800000">
              <a:off x="2794090" y="3580688"/>
              <a:ext cx="977937" cy="381195"/>
            </a:xfrm>
            <a:prstGeom prst="rightArrowCallout">
              <a:avLst>
                <a:gd name="adj1" fmla="val 25000"/>
                <a:gd name="adj2" fmla="val 25000"/>
                <a:gd name="adj3" fmla="val 25001"/>
                <a:gd name="adj4" fmla="val 78231"/>
              </a:avLst>
            </a:prstGeom>
            <a:gradFill rotWithShape="1">
              <a:gsLst>
                <a:gs pos="0">
                  <a:srgbClr val="F3F3F3"/>
                </a:gs>
                <a:gs pos="100000">
                  <a:srgbClr val="E6E6E6"/>
                </a:gs>
              </a:gsLst>
              <a:lin ang="5400000"/>
            </a:gradFill>
            <a:ln w="9525">
              <a:solidFill>
                <a:srgbClr val="BFBFBF"/>
              </a:solidFill>
              <a:miter lim="800000"/>
              <a:headEnd/>
              <a:tailEnd/>
            </a:ln>
            <a:effectLst>
              <a:outerShdw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/>
              <a:endParaRPr lang="es-AR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339" name="Billedforklaring med højre-venstrepil 23"/>
            <p:cNvSpPr>
              <a:spLocks noChangeArrowheads="1"/>
            </p:cNvSpPr>
            <p:nvPr/>
          </p:nvSpPr>
          <p:spPr bwMode="auto">
            <a:xfrm>
              <a:off x="3656136" y="3574732"/>
              <a:ext cx="1057315" cy="394100"/>
            </a:xfrm>
            <a:prstGeom prst="leftRightArrowCallout">
              <a:avLst>
                <a:gd name="adj1" fmla="val 25000"/>
                <a:gd name="adj2" fmla="val 25000"/>
                <a:gd name="adj3" fmla="val 16929"/>
                <a:gd name="adj4" fmla="val 72843"/>
              </a:avLst>
            </a:prstGeom>
            <a:gradFill rotWithShape="1">
              <a:gsLst>
                <a:gs pos="0">
                  <a:srgbClr val="A4D329"/>
                </a:gs>
                <a:gs pos="100000">
                  <a:srgbClr val="C0FF4D"/>
                </a:gs>
              </a:gsLst>
              <a:lin ang="5400000" scaled="1"/>
            </a:gradFill>
            <a:ln w="3175">
              <a:solidFill>
                <a:srgbClr val="9BBB59"/>
              </a:solidFill>
              <a:round/>
              <a:headEnd/>
              <a:tailEnd/>
            </a:ln>
            <a:effectLst>
              <a:outerShdw dist="38100" dir="2700000" algn="tl" rotWithShape="0">
                <a:srgbClr val="808080">
                  <a:alpha val="39999"/>
                </a:srgbClr>
              </a:outerShdw>
            </a:effectLst>
          </p:spPr>
          <p:txBody>
            <a:bodyPr/>
            <a:lstStyle/>
            <a:p>
              <a:endParaRPr lang="es-AR">
                <a:solidFill>
                  <a:srgbClr val="0D0D0D"/>
                </a:solidFill>
                <a:latin typeface="Calibri" pitchFamily="34" charset="0"/>
              </a:endParaRPr>
            </a:p>
          </p:txBody>
        </p:sp>
      </p:grpSp>
      <p:sp>
        <p:nvSpPr>
          <p:cNvPr id="11270" name="Rektangel 39"/>
          <p:cNvSpPr>
            <a:spLocks noChangeArrowheads="1"/>
          </p:cNvSpPr>
          <p:nvPr/>
        </p:nvSpPr>
        <p:spPr bwMode="auto">
          <a:xfrm rot="2700000">
            <a:off x="1358901" y="4783137"/>
            <a:ext cx="18923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400" noProof="1">
                <a:solidFill>
                  <a:srgbClr val="7F7F7F"/>
                </a:solidFill>
                <a:latin typeface="Calibri" pitchFamily="34" charset="0"/>
                <a:cs typeface="Arial" pitchFamily="34" charset="0"/>
              </a:rPr>
              <a:t>This is an example text </a:t>
            </a:r>
          </a:p>
        </p:txBody>
      </p:sp>
      <p:sp>
        <p:nvSpPr>
          <p:cNvPr id="11271" name="Rektangel 40"/>
          <p:cNvSpPr>
            <a:spLocks noChangeArrowheads="1"/>
          </p:cNvSpPr>
          <p:nvPr/>
        </p:nvSpPr>
        <p:spPr bwMode="auto">
          <a:xfrm rot="2700000">
            <a:off x="2120901" y="4783137"/>
            <a:ext cx="18923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Example text </a:t>
            </a:r>
          </a:p>
        </p:txBody>
      </p:sp>
      <p:sp>
        <p:nvSpPr>
          <p:cNvPr id="11272" name="Rektangel 41"/>
          <p:cNvSpPr>
            <a:spLocks noChangeArrowheads="1"/>
          </p:cNvSpPr>
          <p:nvPr/>
        </p:nvSpPr>
        <p:spPr bwMode="auto">
          <a:xfrm rot="2700000">
            <a:off x="2928938" y="4783137"/>
            <a:ext cx="18923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400" noProof="1">
                <a:solidFill>
                  <a:srgbClr val="7F7F7F"/>
                </a:solidFill>
                <a:latin typeface="Calibri" pitchFamily="34" charset="0"/>
                <a:cs typeface="Arial" pitchFamily="34" charset="0"/>
              </a:rPr>
              <a:t>This is an example text </a:t>
            </a:r>
          </a:p>
        </p:txBody>
      </p:sp>
      <p:sp>
        <p:nvSpPr>
          <p:cNvPr id="11273" name="Rektangel 42"/>
          <p:cNvSpPr>
            <a:spLocks noChangeArrowheads="1"/>
          </p:cNvSpPr>
          <p:nvPr/>
        </p:nvSpPr>
        <p:spPr bwMode="auto">
          <a:xfrm rot="2700000">
            <a:off x="3690938" y="4783137"/>
            <a:ext cx="18923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Example text </a:t>
            </a:r>
          </a:p>
        </p:txBody>
      </p:sp>
      <p:sp>
        <p:nvSpPr>
          <p:cNvPr id="11274" name="Rektangel 43"/>
          <p:cNvSpPr>
            <a:spLocks noChangeArrowheads="1"/>
          </p:cNvSpPr>
          <p:nvPr/>
        </p:nvSpPr>
        <p:spPr bwMode="auto">
          <a:xfrm rot="2700000">
            <a:off x="527051" y="4783137"/>
            <a:ext cx="18923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Example text </a:t>
            </a:r>
          </a:p>
        </p:txBody>
      </p:sp>
      <p:sp>
        <p:nvSpPr>
          <p:cNvPr id="11275" name="Rektangel 44"/>
          <p:cNvSpPr>
            <a:spLocks noChangeArrowheads="1"/>
          </p:cNvSpPr>
          <p:nvPr/>
        </p:nvSpPr>
        <p:spPr bwMode="auto">
          <a:xfrm rot="2700000">
            <a:off x="4437063" y="4783137"/>
            <a:ext cx="18923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400" noProof="1">
                <a:solidFill>
                  <a:srgbClr val="7F7F7F"/>
                </a:solidFill>
                <a:latin typeface="Calibri" pitchFamily="34" charset="0"/>
                <a:cs typeface="Arial" pitchFamily="34" charset="0"/>
              </a:rPr>
              <a:t>This is an example text </a:t>
            </a:r>
          </a:p>
        </p:txBody>
      </p:sp>
      <p:sp>
        <p:nvSpPr>
          <p:cNvPr id="11276" name="Rektangel 45"/>
          <p:cNvSpPr>
            <a:spLocks noChangeArrowheads="1"/>
          </p:cNvSpPr>
          <p:nvPr/>
        </p:nvSpPr>
        <p:spPr bwMode="auto">
          <a:xfrm rot="2700000">
            <a:off x="5199063" y="4783137"/>
            <a:ext cx="18923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Example text </a:t>
            </a:r>
          </a:p>
        </p:txBody>
      </p:sp>
      <p:sp>
        <p:nvSpPr>
          <p:cNvPr id="11277" name="Rektangel 46"/>
          <p:cNvSpPr>
            <a:spLocks noChangeArrowheads="1"/>
          </p:cNvSpPr>
          <p:nvPr/>
        </p:nvSpPr>
        <p:spPr bwMode="auto">
          <a:xfrm rot="2700000">
            <a:off x="6007101" y="4783137"/>
            <a:ext cx="18923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400" noProof="1">
                <a:solidFill>
                  <a:srgbClr val="7F7F7F"/>
                </a:solidFill>
                <a:latin typeface="Calibri" pitchFamily="34" charset="0"/>
                <a:cs typeface="Arial" pitchFamily="34" charset="0"/>
              </a:rPr>
              <a:t>This is an example text </a:t>
            </a:r>
          </a:p>
        </p:txBody>
      </p:sp>
      <p:sp>
        <p:nvSpPr>
          <p:cNvPr id="11278" name="Rektangel 47"/>
          <p:cNvSpPr>
            <a:spLocks noChangeArrowheads="1"/>
          </p:cNvSpPr>
          <p:nvPr/>
        </p:nvSpPr>
        <p:spPr bwMode="auto">
          <a:xfrm rot="2700000">
            <a:off x="6769101" y="4783137"/>
            <a:ext cx="18923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Example text </a:t>
            </a:r>
          </a:p>
        </p:txBody>
      </p:sp>
      <p:sp>
        <p:nvSpPr>
          <p:cNvPr id="11279" name="Rektangel 48"/>
          <p:cNvSpPr>
            <a:spLocks noChangeArrowheads="1"/>
          </p:cNvSpPr>
          <p:nvPr/>
        </p:nvSpPr>
        <p:spPr bwMode="auto">
          <a:xfrm rot="2700000">
            <a:off x="7698582" y="4783931"/>
            <a:ext cx="1892300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400" noProof="1">
                <a:solidFill>
                  <a:srgbClr val="7F7F7F"/>
                </a:solidFill>
                <a:latin typeface="Calibri" pitchFamily="34" charset="0"/>
                <a:cs typeface="Arial" pitchFamily="34" charset="0"/>
              </a:rPr>
              <a:t>Example text</a:t>
            </a:r>
          </a:p>
        </p:txBody>
      </p:sp>
      <p:sp>
        <p:nvSpPr>
          <p:cNvPr id="11280" name="Tekstboks 61"/>
          <p:cNvSpPr txBox="1">
            <a:spLocks noChangeArrowheads="1"/>
          </p:cNvSpPr>
          <p:nvPr/>
        </p:nvSpPr>
        <p:spPr bwMode="auto">
          <a:xfrm>
            <a:off x="7975600" y="3717925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a-DK" sz="1400" dirty="0" smtClean="0">
                <a:solidFill>
                  <a:srgbClr val="7F7F7F"/>
                </a:solidFill>
                <a:latin typeface="Calibri" pitchFamily="34" charset="0"/>
              </a:rPr>
              <a:t>2023</a:t>
            </a:r>
            <a:endParaRPr lang="da-DK" sz="1400" dirty="0">
              <a:solidFill>
                <a:srgbClr val="7F7F7F"/>
              </a:solidFill>
              <a:latin typeface="Calibri" pitchFamily="34" charset="0"/>
            </a:endParaRPr>
          </a:p>
        </p:txBody>
      </p:sp>
      <p:sp>
        <p:nvSpPr>
          <p:cNvPr id="11281" name="Tekstboks 63"/>
          <p:cNvSpPr txBox="1">
            <a:spLocks noChangeArrowheads="1"/>
          </p:cNvSpPr>
          <p:nvPr/>
        </p:nvSpPr>
        <p:spPr bwMode="auto">
          <a:xfrm>
            <a:off x="6375400" y="3717925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a-DK" sz="1400" dirty="0" smtClean="0">
                <a:solidFill>
                  <a:srgbClr val="7F7F7F"/>
                </a:solidFill>
                <a:latin typeface="Calibri" pitchFamily="34" charset="0"/>
              </a:rPr>
              <a:t>2021</a:t>
            </a:r>
            <a:endParaRPr lang="da-DK" sz="1400" dirty="0">
              <a:solidFill>
                <a:srgbClr val="7F7F7F"/>
              </a:solidFill>
              <a:latin typeface="Calibri" pitchFamily="34" charset="0"/>
            </a:endParaRPr>
          </a:p>
        </p:txBody>
      </p:sp>
      <p:sp>
        <p:nvSpPr>
          <p:cNvPr id="11282" name="Tekstboks 64"/>
          <p:cNvSpPr txBox="1">
            <a:spLocks noChangeArrowheads="1"/>
          </p:cNvSpPr>
          <p:nvPr/>
        </p:nvSpPr>
        <p:spPr bwMode="auto">
          <a:xfrm>
            <a:off x="4775200" y="3717925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a-DK" sz="1400" dirty="0" smtClean="0">
                <a:solidFill>
                  <a:srgbClr val="7F7F7F"/>
                </a:solidFill>
                <a:latin typeface="Calibri" pitchFamily="34" charset="0"/>
              </a:rPr>
              <a:t>2019</a:t>
            </a:r>
            <a:endParaRPr lang="da-DK" sz="1400" dirty="0">
              <a:solidFill>
                <a:srgbClr val="7F7F7F"/>
              </a:solidFill>
              <a:latin typeface="Calibri" pitchFamily="34" charset="0"/>
            </a:endParaRPr>
          </a:p>
        </p:txBody>
      </p:sp>
      <p:sp>
        <p:nvSpPr>
          <p:cNvPr id="11283" name="Tekstboks 65"/>
          <p:cNvSpPr txBox="1">
            <a:spLocks noChangeArrowheads="1"/>
          </p:cNvSpPr>
          <p:nvPr/>
        </p:nvSpPr>
        <p:spPr bwMode="auto">
          <a:xfrm>
            <a:off x="3086100" y="3717925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a-DK" sz="1400" dirty="0" smtClean="0">
                <a:solidFill>
                  <a:srgbClr val="7F7F7F"/>
                </a:solidFill>
                <a:latin typeface="Calibri" pitchFamily="34" charset="0"/>
              </a:rPr>
              <a:t>2017</a:t>
            </a:r>
            <a:endParaRPr lang="da-DK" sz="1400" dirty="0">
              <a:solidFill>
                <a:srgbClr val="7F7F7F"/>
              </a:solidFill>
              <a:latin typeface="Calibri" pitchFamily="34" charset="0"/>
            </a:endParaRPr>
          </a:p>
        </p:txBody>
      </p:sp>
      <p:sp>
        <p:nvSpPr>
          <p:cNvPr id="11284" name="Tekstboks 66"/>
          <p:cNvSpPr txBox="1">
            <a:spLocks noChangeArrowheads="1"/>
          </p:cNvSpPr>
          <p:nvPr/>
        </p:nvSpPr>
        <p:spPr bwMode="auto">
          <a:xfrm>
            <a:off x="1485900" y="3717925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a-DK" sz="1400" dirty="0" smtClean="0">
                <a:solidFill>
                  <a:srgbClr val="7F7F7F"/>
                </a:solidFill>
                <a:latin typeface="Calibri" pitchFamily="34" charset="0"/>
              </a:rPr>
              <a:t>2015</a:t>
            </a:r>
            <a:endParaRPr lang="da-DK" sz="1400" dirty="0">
              <a:solidFill>
                <a:srgbClr val="7F7F7F"/>
              </a:solidFill>
              <a:latin typeface="Calibri" pitchFamily="34" charset="0"/>
            </a:endParaRPr>
          </a:p>
        </p:txBody>
      </p:sp>
      <p:sp>
        <p:nvSpPr>
          <p:cNvPr id="11285" name="Tekstboks 67"/>
          <p:cNvSpPr txBox="1">
            <a:spLocks noChangeArrowheads="1"/>
          </p:cNvSpPr>
          <p:nvPr/>
        </p:nvSpPr>
        <p:spPr bwMode="auto">
          <a:xfrm>
            <a:off x="3913188" y="3717925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a-DK" sz="1400" dirty="0" smtClean="0">
                <a:solidFill>
                  <a:srgbClr val="000000"/>
                </a:solidFill>
                <a:latin typeface="Calibri" pitchFamily="34" charset="0"/>
              </a:rPr>
              <a:t>2018</a:t>
            </a:r>
            <a:endParaRPr lang="da-DK" sz="14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66" name="Tekstboks 68"/>
          <p:cNvSpPr txBox="1">
            <a:spLocks noChangeArrowheads="1"/>
          </p:cNvSpPr>
          <p:nvPr/>
        </p:nvSpPr>
        <p:spPr bwMode="auto">
          <a:xfrm>
            <a:off x="7150100" y="3717925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a-DK" sz="1400" dirty="0" smtClean="0">
                <a:solidFill>
                  <a:srgbClr val="FFFFFF"/>
                </a:solidFill>
                <a:latin typeface="Calibri" pitchFamily="34" charset="0"/>
              </a:rPr>
              <a:t>2022</a:t>
            </a:r>
            <a:endParaRPr lang="da-DK" sz="140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67" name="Tekstboks 69"/>
          <p:cNvSpPr txBox="1">
            <a:spLocks noChangeArrowheads="1"/>
          </p:cNvSpPr>
          <p:nvPr/>
        </p:nvSpPr>
        <p:spPr bwMode="auto">
          <a:xfrm>
            <a:off x="5524500" y="3717925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a-DK" sz="1400" dirty="0" smtClean="0">
                <a:solidFill>
                  <a:srgbClr val="FFFFFF"/>
                </a:solidFill>
                <a:latin typeface="Calibri" pitchFamily="34" charset="0"/>
              </a:rPr>
              <a:t>2020</a:t>
            </a:r>
            <a:endParaRPr lang="da-DK" sz="140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68" name="Tekstboks 70"/>
          <p:cNvSpPr txBox="1">
            <a:spLocks noChangeArrowheads="1"/>
          </p:cNvSpPr>
          <p:nvPr/>
        </p:nvSpPr>
        <p:spPr bwMode="auto">
          <a:xfrm>
            <a:off x="2260600" y="3717925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a-DK" sz="1400" dirty="0" smtClean="0">
                <a:solidFill>
                  <a:srgbClr val="FFFFFF"/>
                </a:solidFill>
                <a:latin typeface="Calibri" pitchFamily="34" charset="0"/>
              </a:rPr>
              <a:t>2016</a:t>
            </a:r>
            <a:endParaRPr lang="da-DK" sz="140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69" name="Tekstboks 71"/>
          <p:cNvSpPr txBox="1">
            <a:spLocks noChangeArrowheads="1"/>
          </p:cNvSpPr>
          <p:nvPr/>
        </p:nvSpPr>
        <p:spPr bwMode="auto">
          <a:xfrm>
            <a:off x="635000" y="3717925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a-DK" sz="1400" dirty="0" smtClean="0">
                <a:solidFill>
                  <a:srgbClr val="FFFFFF"/>
                </a:solidFill>
                <a:latin typeface="Calibri" pitchFamily="34" charset="0"/>
              </a:rPr>
              <a:t>2014</a:t>
            </a:r>
            <a:endParaRPr lang="da-DK" sz="140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70" name="Billedforklaring med højre-venstrepil 72"/>
          <p:cNvSpPr>
            <a:spLocks noChangeArrowheads="1"/>
          </p:cNvSpPr>
          <p:nvPr/>
        </p:nvSpPr>
        <p:spPr bwMode="auto">
          <a:xfrm>
            <a:off x="3351213" y="1938338"/>
            <a:ext cx="1817687" cy="1082675"/>
          </a:xfrm>
          <a:prstGeom prst="leftRightArrowCallout">
            <a:avLst>
              <a:gd name="adj1" fmla="val 25000"/>
              <a:gd name="adj2" fmla="val 25000"/>
              <a:gd name="adj3" fmla="val 16929"/>
              <a:gd name="adj4" fmla="val 72843"/>
            </a:avLst>
          </a:prstGeom>
          <a:gradFill rotWithShape="1">
            <a:gsLst>
              <a:gs pos="0">
                <a:srgbClr val="A4D329"/>
              </a:gs>
              <a:gs pos="100000">
                <a:srgbClr val="C0FF4D"/>
              </a:gs>
            </a:gsLst>
            <a:lin ang="5400000" scaled="1"/>
          </a:gradFill>
          <a:ln w="3175">
            <a:solidFill>
              <a:srgbClr val="9BBB59"/>
            </a:solidFill>
            <a:round/>
            <a:headEnd/>
            <a:tailEnd/>
          </a:ln>
          <a:effectLst>
            <a:outerShdw dist="38100" dir="2700000" algn="tl" rotWithShape="0">
              <a:srgbClr val="808080">
                <a:alpha val="39999"/>
              </a:srgbClr>
            </a:outerShdw>
          </a:effectLst>
        </p:spPr>
        <p:txBody>
          <a:bodyPr/>
          <a:lstStyle/>
          <a:p>
            <a:endParaRPr lang="es-AR">
              <a:solidFill>
                <a:srgbClr val="0D0D0D"/>
              </a:solidFill>
              <a:latin typeface="Calibri" pitchFamily="34" charset="0"/>
            </a:endParaRPr>
          </a:p>
        </p:txBody>
      </p:sp>
      <p:sp>
        <p:nvSpPr>
          <p:cNvPr id="371" name="Billedforklaring med højrepil 73"/>
          <p:cNvSpPr>
            <a:spLocks noChangeArrowheads="1"/>
          </p:cNvSpPr>
          <p:nvPr/>
        </p:nvSpPr>
        <p:spPr bwMode="auto">
          <a:xfrm rot="10800000">
            <a:off x="792163" y="1936750"/>
            <a:ext cx="1739900" cy="1084263"/>
          </a:xfrm>
          <a:prstGeom prst="rightArrowCallout">
            <a:avLst>
              <a:gd name="adj1" fmla="val 25000"/>
              <a:gd name="adj2" fmla="val 25000"/>
              <a:gd name="adj3" fmla="val 24999"/>
              <a:gd name="adj4" fmla="val 78231"/>
            </a:avLst>
          </a:prstGeom>
          <a:gradFill rotWithShape="1">
            <a:gsLst>
              <a:gs pos="0">
                <a:srgbClr val="F3F3F3"/>
              </a:gs>
              <a:gs pos="100000">
                <a:srgbClr val="E6E6E6"/>
              </a:gs>
            </a:gsLst>
            <a:lin ang="5400000"/>
          </a:gradFill>
          <a:ln w="9525">
            <a:solidFill>
              <a:srgbClr val="BFBFBF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es-AR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72" name="Billedforklaring med højrepil 74"/>
          <p:cNvSpPr>
            <a:spLocks noChangeArrowheads="1"/>
          </p:cNvSpPr>
          <p:nvPr/>
        </p:nvSpPr>
        <p:spPr bwMode="auto">
          <a:xfrm>
            <a:off x="6235700" y="1943100"/>
            <a:ext cx="1717675" cy="1069975"/>
          </a:xfrm>
          <a:prstGeom prst="rightArrowCallout">
            <a:avLst>
              <a:gd name="adj1" fmla="val 25000"/>
              <a:gd name="adj2" fmla="val 25000"/>
              <a:gd name="adj3" fmla="val 25002"/>
              <a:gd name="adj4" fmla="val 78231"/>
            </a:avLst>
          </a:prstGeom>
          <a:gradFill rotWithShape="1">
            <a:gsLst>
              <a:gs pos="0">
                <a:srgbClr val="A0A2A4"/>
              </a:gs>
              <a:gs pos="100000">
                <a:srgbClr val="7F7F7F"/>
              </a:gs>
            </a:gsLst>
            <a:lin ang="5400000"/>
          </a:gradFill>
          <a:ln w="3175">
            <a:solidFill>
              <a:srgbClr val="7F7F7F"/>
            </a:solidFill>
            <a:round/>
            <a:headEnd/>
            <a:tailEnd/>
          </a:ln>
          <a:effectLst>
            <a:outerShdw dist="38100" dir="5400000" algn="t" rotWithShape="0">
              <a:srgbClr val="808080">
                <a:alpha val="39999"/>
              </a:srgbClr>
            </a:outerShdw>
          </a:effectLst>
        </p:spPr>
        <p:txBody>
          <a:bodyPr/>
          <a:lstStyle/>
          <a:p>
            <a:endParaRPr lang="es-AR">
              <a:solidFill>
                <a:srgbClr val="0D0D0D"/>
              </a:solidFill>
              <a:latin typeface="Calibri" pitchFamily="34" charset="0"/>
            </a:endParaRPr>
          </a:p>
        </p:txBody>
      </p:sp>
      <p:sp>
        <p:nvSpPr>
          <p:cNvPr id="373" name="Line 33"/>
          <p:cNvSpPr>
            <a:spLocks noChangeShapeType="1"/>
          </p:cNvSpPr>
          <p:nvPr/>
        </p:nvSpPr>
        <p:spPr bwMode="auto">
          <a:xfrm flipV="1">
            <a:off x="4203700" y="3136900"/>
            <a:ext cx="0" cy="360363"/>
          </a:xfrm>
          <a:prstGeom prst="line">
            <a:avLst/>
          </a:prstGeom>
          <a:noFill/>
          <a:ln w="1270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Text" lastClr="000000"/>
              </a:solidFill>
              <a:ea typeface="+mn-ea"/>
            </a:endParaRPr>
          </a:p>
        </p:txBody>
      </p:sp>
      <p:sp>
        <p:nvSpPr>
          <p:cNvPr id="11294" name="Rektangel 78"/>
          <p:cNvSpPr>
            <a:spLocks noChangeArrowheads="1"/>
          </p:cNvSpPr>
          <p:nvPr/>
        </p:nvSpPr>
        <p:spPr bwMode="auto">
          <a:xfrm>
            <a:off x="3668713" y="2106613"/>
            <a:ext cx="6445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600" b="1" noProof="1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NOW</a:t>
            </a:r>
          </a:p>
        </p:txBody>
      </p:sp>
      <p:sp>
        <p:nvSpPr>
          <p:cNvPr id="11295" name="Rektangel 79"/>
          <p:cNvSpPr>
            <a:spLocks noChangeArrowheads="1"/>
          </p:cNvSpPr>
          <p:nvPr/>
        </p:nvSpPr>
        <p:spPr bwMode="auto">
          <a:xfrm>
            <a:off x="3670300" y="2374900"/>
            <a:ext cx="1300163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400" noProof="1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This is an example text. </a:t>
            </a:r>
          </a:p>
        </p:txBody>
      </p:sp>
      <p:sp>
        <p:nvSpPr>
          <p:cNvPr id="11296" name="Rektangel 80"/>
          <p:cNvSpPr>
            <a:spLocks noChangeArrowheads="1"/>
          </p:cNvSpPr>
          <p:nvPr/>
        </p:nvSpPr>
        <p:spPr bwMode="auto">
          <a:xfrm>
            <a:off x="1263650" y="2124075"/>
            <a:ext cx="849313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600" b="1" noProof="1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BEFORE</a:t>
            </a:r>
          </a:p>
        </p:txBody>
      </p:sp>
      <p:sp>
        <p:nvSpPr>
          <p:cNvPr id="11297" name="Rektangel 81"/>
          <p:cNvSpPr>
            <a:spLocks noChangeArrowheads="1"/>
          </p:cNvSpPr>
          <p:nvPr/>
        </p:nvSpPr>
        <p:spPr bwMode="auto">
          <a:xfrm>
            <a:off x="1265238" y="2370138"/>
            <a:ext cx="1300162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400" noProof="1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This is an example text. </a:t>
            </a:r>
          </a:p>
        </p:txBody>
      </p:sp>
      <p:sp>
        <p:nvSpPr>
          <p:cNvPr id="378" name="Rektangel 82"/>
          <p:cNvSpPr/>
          <p:nvPr/>
        </p:nvSpPr>
        <p:spPr>
          <a:xfrm>
            <a:off x="6302375" y="2132013"/>
            <a:ext cx="863600" cy="3397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600" b="1" noProof="1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FUTURE</a:t>
            </a:r>
          </a:p>
        </p:txBody>
      </p:sp>
      <p:sp>
        <p:nvSpPr>
          <p:cNvPr id="379" name="Rektangel 83"/>
          <p:cNvSpPr/>
          <p:nvPr/>
        </p:nvSpPr>
        <p:spPr bwMode="auto">
          <a:xfrm>
            <a:off x="6303963" y="2379663"/>
            <a:ext cx="1300162" cy="522287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400" noProof="1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This is an example text. </a:t>
            </a:r>
          </a:p>
        </p:txBody>
      </p:sp>
      <p:sp>
        <p:nvSpPr>
          <p:cNvPr id="380" name="Line 33"/>
          <p:cNvSpPr>
            <a:spLocks noChangeShapeType="1"/>
          </p:cNvSpPr>
          <p:nvPr/>
        </p:nvSpPr>
        <p:spPr bwMode="auto">
          <a:xfrm flipV="1">
            <a:off x="1798638" y="3136900"/>
            <a:ext cx="0" cy="360363"/>
          </a:xfrm>
          <a:prstGeom prst="line">
            <a:avLst/>
          </a:prstGeom>
          <a:noFill/>
          <a:ln w="1270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Text" lastClr="000000"/>
              </a:solidFill>
              <a:ea typeface="+mn-ea"/>
            </a:endParaRPr>
          </a:p>
        </p:txBody>
      </p:sp>
      <p:sp>
        <p:nvSpPr>
          <p:cNvPr id="382" name="Line 33"/>
          <p:cNvSpPr>
            <a:spLocks noChangeShapeType="1"/>
          </p:cNvSpPr>
          <p:nvPr/>
        </p:nvSpPr>
        <p:spPr bwMode="auto">
          <a:xfrm flipV="1">
            <a:off x="6870700" y="3136900"/>
            <a:ext cx="0" cy="358775"/>
          </a:xfrm>
          <a:prstGeom prst="line">
            <a:avLst/>
          </a:prstGeom>
          <a:noFill/>
          <a:ln w="1270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Text" lastClr="000000"/>
              </a:solidFill>
              <a:ea typeface="+mn-ea"/>
            </a:endParaRPr>
          </a:p>
        </p:txBody>
      </p:sp>
      <p:sp>
        <p:nvSpPr>
          <p:cNvPr id="436" name="TextBox 54"/>
          <p:cNvSpPr txBox="1">
            <a:spLocks noChangeArrowheads="1"/>
          </p:cNvSpPr>
          <p:nvPr/>
        </p:nvSpPr>
        <p:spPr bwMode="auto">
          <a:xfrm>
            <a:off x="314325" y="377825"/>
            <a:ext cx="53244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nb-NO" sz="1500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USE THE</a:t>
            </a:r>
            <a:r>
              <a:rPr lang="nb-NO" sz="1500">
                <a:latin typeface="Calibri" pitchFamily="34" charset="0"/>
                <a:cs typeface="Calibri" pitchFamily="34" charset="0"/>
              </a:rPr>
              <a:t> </a:t>
            </a:r>
            <a:r>
              <a:rPr lang="nb-NO" sz="1500" b="1">
                <a:latin typeface="Calibri" pitchFamily="34" charset="0"/>
                <a:cs typeface="Calibri" pitchFamily="34" charset="0"/>
              </a:rPr>
              <a:t>TIMELINE ARROW PUZZLE </a:t>
            </a:r>
            <a:r>
              <a:rPr lang="nb-NO" sz="1500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PLAN YOUR PROJECTS!</a:t>
            </a:r>
            <a:endParaRPr lang="en-GB" sz="1500">
              <a:solidFill>
                <a:srgbClr val="262626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7145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Rectangle 151"/>
          <p:cNvSpPr/>
          <p:nvPr/>
        </p:nvSpPr>
        <p:spPr>
          <a:xfrm>
            <a:off x="0" y="2082800"/>
            <a:ext cx="9144000" cy="3640138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bg1">
                  <a:lumMod val="75000"/>
                </a:schemeClr>
              </a:gs>
              <a:gs pos="74000">
                <a:schemeClr val="bg1">
                  <a:lumMod val="9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97" name="TextBox 54"/>
          <p:cNvSpPr txBox="1">
            <a:spLocks noChangeArrowheads="1"/>
          </p:cNvSpPr>
          <p:nvPr/>
        </p:nvSpPr>
        <p:spPr bwMode="auto">
          <a:xfrm>
            <a:off x="314325" y="377825"/>
            <a:ext cx="52609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nb-NO" sz="1500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IMPRESS WITH </a:t>
            </a:r>
            <a:r>
              <a:rPr lang="nb-NO" sz="1500" b="1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PHARMA ILLUSTRATION </a:t>
            </a:r>
            <a:r>
              <a:rPr lang="nb-NO" sz="1500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CHARTS!</a:t>
            </a:r>
            <a:endParaRPr lang="en-GB" sz="1500">
              <a:solidFill>
                <a:srgbClr val="26262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04" name="Ellipse 258"/>
          <p:cNvSpPr/>
          <p:nvPr/>
        </p:nvSpPr>
        <p:spPr bwMode="auto">
          <a:xfrm>
            <a:off x="215900" y="5075207"/>
            <a:ext cx="3503132" cy="457017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22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/>
            <a:endParaRPr lang="nb-NO">
              <a:solidFill>
                <a:srgbClr val="FFFFFF"/>
              </a:solidFill>
              <a:latin typeface="Calibri" pitchFamily="34" charset="0"/>
            </a:endParaRPr>
          </a:p>
        </p:txBody>
      </p:sp>
      <p:grpSp>
        <p:nvGrpSpPr>
          <p:cNvPr id="15368" name="Gruppe 255"/>
          <p:cNvGrpSpPr>
            <a:grpSpLocks/>
          </p:cNvGrpSpPr>
          <p:nvPr/>
        </p:nvGrpSpPr>
        <p:grpSpPr bwMode="auto">
          <a:xfrm>
            <a:off x="1016000" y="1335088"/>
            <a:ext cx="2116138" cy="3962400"/>
            <a:chOff x="6145213" y="1600200"/>
            <a:chExt cx="2516187" cy="4711700"/>
          </a:xfrm>
        </p:grpSpPr>
        <p:sp>
          <p:nvSpPr>
            <p:cNvPr id="806" name="Afrundet rektangel 27"/>
            <p:cNvSpPr/>
            <p:nvPr/>
          </p:nvSpPr>
          <p:spPr>
            <a:xfrm>
              <a:off x="6464220" y="1600200"/>
              <a:ext cx="1815882" cy="800385"/>
            </a:xfrm>
            <a:prstGeom prst="roundRect">
              <a:avLst/>
            </a:prstGeom>
            <a:gradFill flip="none" rotWithShape="1">
              <a:gsLst>
                <a:gs pos="44000">
                  <a:sysClr val="window" lastClr="FFFFFF">
                    <a:lumMod val="95000"/>
                  </a:sysClr>
                </a:gs>
                <a:gs pos="100000">
                  <a:srgbClr val="EEECE1">
                    <a:lumMod val="90000"/>
                  </a:srgbClr>
                </a:gs>
              </a:gsLst>
              <a:lin ang="10800000" scaled="1"/>
              <a:tileRect/>
            </a:gradFill>
            <a:ln w="25400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/>
          </p:spPr>
          <p:txBody>
            <a:bodyPr anchor="ctr"/>
            <a:lstStyle/>
            <a:p>
              <a:pPr algn="ctr"/>
              <a:endParaRPr lang="nb-NO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grpSp>
          <p:nvGrpSpPr>
            <p:cNvPr id="15487" name="Gruppe 28"/>
            <p:cNvGrpSpPr>
              <a:grpSpLocks/>
            </p:cNvGrpSpPr>
            <p:nvPr/>
          </p:nvGrpSpPr>
          <p:grpSpPr bwMode="auto">
            <a:xfrm>
              <a:off x="6145213" y="2260600"/>
              <a:ext cx="2516187" cy="4051300"/>
              <a:chOff x="6386513" y="2260600"/>
              <a:chExt cx="2516187" cy="4051300"/>
            </a:xfrm>
          </p:grpSpPr>
          <p:sp>
            <p:nvSpPr>
              <p:cNvPr id="808" name="Freeform 5"/>
              <p:cNvSpPr>
                <a:spLocks/>
              </p:cNvSpPr>
              <p:nvPr/>
            </p:nvSpPr>
            <p:spPr bwMode="auto">
              <a:xfrm>
                <a:off x="6386513" y="2260895"/>
                <a:ext cx="2516187" cy="4051005"/>
              </a:xfrm>
              <a:custGeom>
                <a:avLst/>
                <a:gdLst/>
                <a:ahLst/>
                <a:cxnLst>
                  <a:cxn ang="0">
                    <a:pos x="1316" y="0"/>
                  </a:cxn>
                  <a:cxn ang="0">
                    <a:pos x="271" y="0"/>
                  </a:cxn>
                  <a:cxn ang="0">
                    <a:pos x="216" y="10"/>
                  </a:cxn>
                  <a:cxn ang="0">
                    <a:pos x="163" y="36"/>
                  </a:cxn>
                  <a:cxn ang="0">
                    <a:pos x="118" y="74"/>
                  </a:cxn>
                  <a:cxn ang="0">
                    <a:pos x="78" y="123"/>
                  </a:cxn>
                  <a:cxn ang="0">
                    <a:pos x="45" y="176"/>
                  </a:cxn>
                  <a:cxn ang="0">
                    <a:pos x="21" y="229"/>
                  </a:cxn>
                  <a:cxn ang="0">
                    <a:pos x="6" y="282"/>
                  </a:cxn>
                  <a:cxn ang="0">
                    <a:pos x="0" y="327"/>
                  </a:cxn>
                  <a:cxn ang="0">
                    <a:pos x="0" y="2344"/>
                  </a:cxn>
                  <a:cxn ang="0">
                    <a:pos x="6" y="2386"/>
                  </a:cxn>
                  <a:cxn ang="0">
                    <a:pos x="21" y="2425"/>
                  </a:cxn>
                  <a:cxn ang="0">
                    <a:pos x="45" y="2461"/>
                  </a:cxn>
                  <a:cxn ang="0">
                    <a:pos x="80" y="2491"/>
                  </a:cxn>
                  <a:cxn ang="0">
                    <a:pos x="119" y="2516"/>
                  </a:cxn>
                  <a:cxn ang="0">
                    <a:pos x="165" y="2535"/>
                  </a:cxn>
                  <a:cxn ang="0">
                    <a:pos x="216" y="2548"/>
                  </a:cxn>
                  <a:cxn ang="0">
                    <a:pos x="271" y="2552"/>
                  </a:cxn>
                  <a:cxn ang="0">
                    <a:pos x="1316" y="2552"/>
                  </a:cxn>
                  <a:cxn ang="0">
                    <a:pos x="1369" y="2548"/>
                  </a:cxn>
                  <a:cxn ang="0">
                    <a:pos x="1420" y="2535"/>
                  </a:cxn>
                  <a:cxn ang="0">
                    <a:pos x="1465" y="2516"/>
                  </a:cxn>
                  <a:cxn ang="0">
                    <a:pos x="1505" y="2491"/>
                  </a:cxn>
                  <a:cxn ang="0">
                    <a:pos x="1539" y="2461"/>
                  </a:cxn>
                  <a:cxn ang="0">
                    <a:pos x="1564" y="2425"/>
                  </a:cxn>
                  <a:cxn ang="0">
                    <a:pos x="1579" y="2386"/>
                  </a:cxn>
                  <a:cxn ang="0">
                    <a:pos x="1585" y="2344"/>
                  </a:cxn>
                  <a:cxn ang="0">
                    <a:pos x="1585" y="327"/>
                  </a:cxn>
                  <a:cxn ang="0">
                    <a:pos x="1579" y="282"/>
                  </a:cxn>
                  <a:cxn ang="0">
                    <a:pos x="1564" y="229"/>
                  </a:cxn>
                  <a:cxn ang="0">
                    <a:pos x="1539" y="176"/>
                  </a:cxn>
                  <a:cxn ang="0">
                    <a:pos x="1507" y="123"/>
                  </a:cxn>
                  <a:cxn ang="0">
                    <a:pos x="1469" y="74"/>
                  </a:cxn>
                  <a:cxn ang="0">
                    <a:pos x="1422" y="36"/>
                  </a:cxn>
                  <a:cxn ang="0">
                    <a:pos x="1371" y="10"/>
                  </a:cxn>
                  <a:cxn ang="0">
                    <a:pos x="1316" y="0"/>
                  </a:cxn>
                </a:cxnLst>
                <a:rect l="0" t="0" r="r" b="b"/>
                <a:pathLst>
                  <a:path w="1585" h="2552">
                    <a:moveTo>
                      <a:pt x="1316" y="0"/>
                    </a:moveTo>
                    <a:lnTo>
                      <a:pt x="271" y="0"/>
                    </a:lnTo>
                    <a:lnTo>
                      <a:pt x="216" y="10"/>
                    </a:lnTo>
                    <a:lnTo>
                      <a:pt x="163" y="36"/>
                    </a:lnTo>
                    <a:lnTo>
                      <a:pt x="118" y="74"/>
                    </a:lnTo>
                    <a:lnTo>
                      <a:pt x="78" y="123"/>
                    </a:lnTo>
                    <a:lnTo>
                      <a:pt x="45" y="176"/>
                    </a:lnTo>
                    <a:lnTo>
                      <a:pt x="21" y="229"/>
                    </a:lnTo>
                    <a:lnTo>
                      <a:pt x="6" y="282"/>
                    </a:lnTo>
                    <a:lnTo>
                      <a:pt x="0" y="327"/>
                    </a:lnTo>
                    <a:lnTo>
                      <a:pt x="0" y="2344"/>
                    </a:lnTo>
                    <a:lnTo>
                      <a:pt x="6" y="2386"/>
                    </a:lnTo>
                    <a:lnTo>
                      <a:pt x="21" y="2425"/>
                    </a:lnTo>
                    <a:lnTo>
                      <a:pt x="45" y="2461"/>
                    </a:lnTo>
                    <a:lnTo>
                      <a:pt x="80" y="2491"/>
                    </a:lnTo>
                    <a:lnTo>
                      <a:pt x="119" y="2516"/>
                    </a:lnTo>
                    <a:lnTo>
                      <a:pt x="165" y="2535"/>
                    </a:lnTo>
                    <a:lnTo>
                      <a:pt x="216" y="2548"/>
                    </a:lnTo>
                    <a:lnTo>
                      <a:pt x="271" y="2552"/>
                    </a:lnTo>
                    <a:lnTo>
                      <a:pt x="1316" y="2552"/>
                    </a:lnTo>
                    <a:lnTo>
                      <a:pt x="1369" y="2548"/>
                    </a:lnTo>
                    <a:lnTo>
                      <a:pt x="1420" y="2535"/>
                    </a:lnTo>
                    <a:lnTo>
                      <a:pt x="1465" y="2516"/>
                    </a:lnTo>
                    <a:lnTo>
                      <a:pt x="1505" y="2491"/>
                    </a:lnTo>
                    <a:lnTo>
                      <a:pt x="1539" y="2461"/>
                    </a:lnTo>
                    <a:lnTo>
                      <a:pt x="1564" y="2425"/>
                    </a:lnTo>
                    <a:lnTo>
                      <a:pt x="1579" y="2386"/>
                    </a:lnTo>
                    <a:lnTo>
                      <a:pt x="1585" y="2344"/>
                    </a:lnTo>
                    <a:lnTo>
                      <a:pt x="1585" y="327"/>
                    </a:lnTo>
                    <a:lnTo>
                      <a:pt x="1579" y="282"/>
                    </a:lnTo>
                    <a:lnTo>
                      <a:pt x="1564" y="229"/>
                    </a:lnTo>
                    <a:lnTo>
                      <a:pt x="1539" y="176"/>
                    </a:lnTo>
                    <a:lnTo>
                      <a:pt x="1507" y="123"/>
                    </a:lnTo>
                    <a:lnTo>
                      <a:pt x="1469" y="74"/>
                    </a:lnTo>
                    <a:lnTo>
                      <a:pt x="1422" y="36"/>
                    </a:lnTo>
                    <a:lnTo>
                      <a:pt x="1371" y="10"/>
                    </a:lnTo>
                    <a:lnTo>
                      <a:pt x="1316" y="0"/>
                    </a:lnTo>
                    <a:close/>
                  </a:path>
                </a:pathLst>
              </a:custGeom>
              <a:gradFill flip="none" rotWithShape="1">
                <a:gsLst>
                  <a:gs pos="44000">
                    <a:srgbClr val="4BACC6">
                      <a:lumMod val="75000"/>
                    </a:srgbClr>
                  </a:gs>
                  <a:gs pos="100000">
                    <a:srgbClr val="4F81BD">
                      <a:lumMod val="20000"/>
                      <a:lumOff val="80000"/>
                    </a:srgbClr>
                  </a:gs>
                </a:gsLst>
                <a:lin ang="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nb-NO">
                  <a:solidFill>
                    <a:srgbClr val="000000"/>
                  </a:solidFill>
                </a:endParaRPr>
              </a:p>
            </p:txBody>
          </p:sp>
          <p:sp>
            <p:nvSpPr>
              <p:cNvPr id="809" name="Freeform 5"/>
              <p:cNvSpPr>
                <a:spLocks/>
              </p:cNvSpPr>
              <p:nvPr/>
            </p:nvSpPr>
            <p:spPr bwMode="auto">
              <a:xfrm>
                <a:off x="6495994" y="2387370"/>
                <a:ext cx="2317987" cy="3835807"/>
              </a:xfrm>
              <a:custGeom>
                <a:avLst/>
                <a:gdLst>
                  <a:gd name="T0" fmla="*/ 1316 w 1585"/>
                  <a:gd name="T1" fmla="*/ 0 h 2552"/>
                  <a:gd name="T2" fmla="*/ 271 w 1585"/>
                  <a:gd name="T3" fmla="*/ 0 h 2552"/>
                  <a:gd name="T4" fmla="*/ 216 w 1585"/>
                  <a:gd name="T5" fmla="*/ 10 h 2552"/>
                  <a:gd name="T6" fmla="*/ 163 w 1585"/>
                  <a:gd name="T7" fmla="*/ 36 h 2552"/>
                  <a:gd name="T8" fmla="*/ 118 w 1585"/>
                  <a:gd name="T9" fmla="*/ 74 h 2552"/>
                  <a:gd name="T10" fmla="*/ 78 w 1585"/>
                  <a:gd name="T11" fmla="*/ 123 h 2552"/>
                  <a:gd name="T12" fmla="*/ 45 w 1585"/>
                  <a:gd name="T13" fmla="*/ 176 h 2552"/>
                  <a:gd name="T14" fmla="*/ 21 w 1585"/>
                  <a:gd name="T15" fmla="*/ 229 h 2552"/>
                  <a:gd name="T16" fmla="*/ 6 w 1585"/>
                  <a:gd name="T17" fmla="*/ 282 h 2552"/>
                  <a:gd name="T18" fmla="*/ 0 w 1585"/>
                  <a:gd name="T19" fmla="*/ 327 h 2552"/>
                  <a:gd name="T20" fmla="*/ 0 w 1585"/>
                  <a:gd name="T21" fmla="*/ 2344 h 2552"/>
                  <a:gd name="T22" fmla="*/ 6 w 1585"/>
                  <a:gd name="T23" fmla="*/ 2386 h 2552"/>
                  <a:gd name="T24" fmla="*/ 21 w 1585"/>
                  <a:gd name="T25" fmla="*/ 2425 h 2552"/>
                  <a:gd name="T26" fmla="*/ 45 w 1585"/>
                  <a:gd name="T27" fmla="*/ 2461 h 2552"/>
                  <a:gd name="T28" fmla="*/ 80 w 1585"/>
                  <a:gd name="T29" fmla="*/ 2491 h 2552"/>
                  <a:gd name="T30" fmla="*/ 119 w 1585"/>
                  <a:gd name="T31" fmla="*/ 2516 h 2552"/>
                  <a:gd name="T32" fmla="*/ 165 w 1585"/>
                  <a:gd name="T33" fmla="*/ 2535 h 2552"/>
                  <a:gd name="T34" fmla="*/ 216 w 1585"/>
                  <a:gd name="T35" fmla="*/ 2548 h 2552"/>
                  <a:gd name="T36" fmla="*/ 271 w 1585"/>
                  <a:gd name="T37" fmla="*/ 2552 h 2552"/>
                  <a:gd name="T38" fmla="*/ 1316 w 1585"/>
                  <a:gd name="T39" fmla="*/ 2552 h 2552"/>
                  <a:gd name="T40" fmla="*/ 1369 w 1585"/>
                  <a:gd name="T41" fmla="*/ 2548 h 2552"/>
                  <a:gd name="T42" fmla="*/ 1420 w 1585"/>
                  <a:gd name="T43" fmla="*/ 2535 h 2552"/>
                  <a:gd name="T44" fmla="*/ 1465 w 1585"/>
                  <a:gd name="T45" fmla="*/ 2516 h 2552"/>
                  <a:gd name="T46" fmla="*/ 1505 w 1585"/>
                  <a:gd name="T47" fmla="*/ 2491 h 2552"/>
                  <a:gd name="T48" fmla="*/ 1539 w 1585"/>
                  <a:gd name="T49" fmla="*/ 2461 h 2552"/>
                  <a:gd name="T50" fmla="*/ 1564 w 1585"/>
                  <a:gd name="T51" fmla="*/ 2425 h 2552"/>
                  <a:gd name="T52" fmla="*/ 1579 w 1585"/>
                  <a:gd name="T53" fmla="*/ 2386 h 2552"/>
                  <a:gd name="T54" fmla="*/ 1585 w 1585"/>
                  <a:gd name="T55" fmla="*/ 2344 h 2552"/>
                  <a:gd name="T56" fmla="*/ 1585 w 1585"/>
                  <a:gd name="T57" fmla="*/ 327 h 2552"/>
                  <a:gd name="T58" fmla="*/ 1579 w 1585"/>
                  <a:gd name="T59" fmla="*/ 282 h 2552"/>
                  <a:gd name="T60" fmla="*/ 1564 w 1585"/>
                  <a:gd name="T61" fmla="*/ 229 h 2552"/>
                  <a:gd name="T62" fmla="*/ 1539 w 1585"/>
                  <a:gd name="T63" fmla="*/ 176 h 2552"/>
                  <a:gd name="T64" fmla="*/ 1507 w 1585"/>
                  <a:gd name="T65" fmla="*/ 123 h 2552"/>
                  <a:gd name="T66" fmla="*/ 1469 w 1585"/>
                  <a:gd name="T67" fmla="*/ 74 h 2552"/>
                  <a:gd name="T68" fmla="*/ 1422 w 1585"/>
                  <a:gd name="T69" fmla="*/ 36 h 2552"/>
                  <a:gd name="T70" fmla="*/ 1371 w 1585"/>
                  <a:gd name="T71" fmla="*/ 10 h 2552"/>
                  <a:gd name="T72" fmla="*/ 1316 w 1585"/>
                  <a:gd name="T73" fmla="*/ 0 h 255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585"/>
                  <a:gd name="T112" fmla="*/ 0 h 2552"/>
                  <a:gd name="T113" fmla="*/ 1585 w 1585"/>
                  <a:gd name="T114" fmla="*/ 2552 h 2552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585" h="2552">
                    <a:moveTo>
                      <a:pt x="1316" y="0"/>
                    </a:moveTo>
                    <a:lnTo>
                      <a:pt x="271" y="0"/>
                    </a:lnTo>
                    <a:lnTo>
                      <a:pt x="216" y="10"/>
                    </a:lnTo>
                    <a:lnTo>
                      <a:pt x="163" y="36"/>
                    </a:lnTo>
                    <a:lnTo>
                      <a:pt x="118" y="74"/>
                    </a:lnTo>
                    <a:lnTo>
                      <a:pt x="78" y="123"/>
                    </a:lnTo>
                    <a:lnTo>
                      <a:pt x="45" y="176"/>
                    </a:lnTo>
                    <a:lnTo>
                      <a:pt x="21" y="229"/>
                    </a:lnTo>
                    <a:lnTo>
                      <a:pt x="6" y="282"/>
                    </a:lnTo>
                    <a:lnTo>
                      <a:pt x="0" y="327"/>
                    </a:lnTo>
                    <a:lnTo>
                      <a:pt x="0" y="2344"/>
                    </a:lnTo>
                    <a:lnTo>
                      <a:pt x="6" y="2386"/>
                    </a:lnTo>
                    <a:lnTo>
                      <a:pt x="21" y="2425"/>
                    </a:lnTo>
                    <a:lnTo>
                      <a:pt x="45" y="2461"/>
                    </a:lnTo>
                    <a:lnTo>
                      <a:pt x="80" y="2491"/>
                    </a:lnTo>
                    <a:lnTo>
                      <a:pt x="119" y="2516"/>
                    </a:lnTo>
                    <a:lnTo>
                      <a:pt x="165" y="2535"/>
                    </a:lnTo>
                    <a:lnTo>
                      <a:pt x="216" y="2548"/>
                    </a:lnTo>
                    <a:lnTo>
                      <a:pt x="271" y="2552"/>
                    </a:lnTo>
                    <a:lnTo>
                      <a:pt x="1316" y="2552"/>
                    </a:lnTo>
                    <a:lnTo>
                      <a:pt x="1369" y="2548"/>
                    </a:lnTo>
                    <a:lnTo>
                      <a:pt x="1420" y="2535"/>
                    </a:lnTo>
                    <a:lnTo>
                      <a:pt x="1465" y="2516"/>
                    </a:lnTo>
                    <a:lnTo>
                      <a:pt x="1505" y="2491"/>
                    </a:lnTo>
                    <a:lnTo>
                      <a:pt x="1539" y="2461"/>
                    </a:lnTo>
                    <a:lnTo>
                      <a:pt x="1564" y="2425"/>
                    </a:lnTo>
                    <a:lnTo>
                      <a:pt x="1579" y="2386"/>
                    </a:lnTo>
                    <a:lnTo>
                      <a:pt x="1585" y="2344"/>
                    </a:lnTo>
                    <a:lnTo>
                      <a:pt x="1585" y="327"/>
                    </a:lnTo>
                    <a:lnTo>
                      <a:pt x="1579" y="282"/>
                    </a:lnTo>
                    <a:lnTo>
                      <a:pt x="1564" y="229"/>
                    </a:lnTo>
                    <a:lnTo>
                      <a:pt x="1539" y="176"/>
                    </a:lnTo>
                    <a:lnTo>
                      <a:pt x="1507" y="123"/>
                    </a:lnTo>
                    <a:lnTo>
                      <a:pt x="1469" y="74"/>
                    </a:lnTo>
                    <a:lnTo>
                      <a:pt x="1422" y="36"/>
                    </a:lnTo>
                    <a:lnTo>
                      <a:pt x="1371" y="10"/>
                    </a:lnTo>
                    <a:lnTo>
                      <a:pt x="1316" y="0"/>
                    </a:lnTo>
                    <a:close/>
                  </a:path>
                </a:pathLst>
              </a:custGeom>
              <a:solidFill>
                <a:srgbClr val="0070C0">
                  <a:alpha val="43137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nb-NO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4" name="Gruppe 33"/>
          <p:cNvGrpSpPr/>
          <p:nvPr/>
        </p:nvGrpSpPr>
        <p:grpSpPr>
          <a:xfrm>
            <a:off x="2577242" y="4773389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5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813" name="Ellipse 38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6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815" name="Ellipse 40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816" name="Cirkel 41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817" name="Afrundet rektangel 42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812" name="Afrundet rektangel 37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7" name="Gruppe 33"/>
          <p:cNvGrpSpPr/>
          <p:nvPr/>
        </p:nvGrpSpPr>
        <p:grpSpPr>
          <a:xfrm>
            <a:off x="2246153" y="4773389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8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821" name="Ellipse 47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9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823" name="Ellipse 49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824" name="Cirkel 50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825" name="Afrundet rektangel 51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820" name="Afrundet rektangel 46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0" name="Gruppe 33"/>
          <p:cNvGrpSpPr/>
          <p:nvPr/>
        </p:nvGrpSpPr>
        <p:grpSpPr>
          <a:xfrm>
            <a:off x="2363636" y="4474342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1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829" name="Ellipse 55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2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831" name="Ellipse 57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832" name="Cirkel 58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833" name="Afrundet rektangel 59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828" name="Afrundet rektangel 54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3" name="Gruppe 33"/>
          <p:cNvGrpSpPr/>
          <p:nvPr/>
        </p:nvGrpSpPr>
        <p:grpSpPr>
          <a:xfrm>
            <a:off x="1989826" y="4794750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4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837" name="Ellipse 63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5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839" name="Ellipse 65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840" name="Cirkel 66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841" name="Afrundet rektangel 67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836" name="Afrundet rektangel 62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6" name="Gruppe 33"/>
          <p:cNvGrpSpPr/>
          <p:nvPr/>
        </p:nvGrpSpPr>
        <p:grpSpPr>
          <a:xfrm>
            <a:off x="1658738" y="4794750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7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845" name="Ellipse 71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8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847" name="Ellipse 73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848" name="Cirkel 74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849" name="Afrundet rektangel 75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844" name="Afrundet rektangel 70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9" name="Gruppe 33"/>
          <p:cNvGrpSpPr/>
          <p:nvPr/>
        </p:nvGrpSpPr>
        <p:grpSpPr>
          <a:xfrm>
            <a:off x="1327649" y="4784070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20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853" name="Ellipse 79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21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855" name="Ellipse 81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856" name="Cirkel 82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857" name="Afrundet rektangel 83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852" name="Afrundet rektangel 78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22" name="Gruppe 33"/>
          <p:cNvGrpSpPr/>
          <p:nvPr/>
        </p:nvGrpSpPr>
        <p:grpSpPr>
          <a:xfrm>
            <a:off x="2021867" y="4527743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23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861" name="Ellipse 87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24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863" name="Ellipse 89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864" name="Cirkel 90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865" name="Afrundet rektangel 91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860" name="Afrundet rektangel 86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25" name="Gruppe 33"/>
          <p:cNvGrpSpPr/>
          <p:nvPr/>
        </p:nvGrpSpPr>
        <p:grpSpPr>
          <a:xfrm>
            <a:off x="2587922" y="4452981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26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869" name="Ellipse 135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27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871" name="Ellipse 137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872" name="Cirkel 138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873" name="Afrundet rektangel 139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868" name="Afrundet rektangel 134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sp>
        <p:nvSpPr>
          <p:cNvPr id="15377" name="Rektangel 263"/>
          <p:cNvSpPr>
            <a:spLocks noChangeArrowheads="1"/>
          </p:cNvSpPr>
          <p:nvPr/>
        </p:nvSpPr>
        <p:spPr bwMode="auto">
          <a:xfrm>
            <a:off x="1349375" y="1387475"/>
            <a:ext cx="1439863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AR" sz="1600" b="1" noProof="1">
                <a:solidFill>
                  <a:srgbClr val="1E1C11"/>
                </a:solidFill>
                <a:latin typeface="Calibri" pitchFamily="34" charset="0"/>
                <a:cs typeface="Arial" pitchFamily="34" charset="0"/>
              </a:rPr>
              <a:t>Example text</a:t>
            </a:r>
          </a:p>
        </p:txBody>
      </p:sp>
      <p:sp>
        <p:nvSpPr>
          <p:cNvPr id="875" name="Rektangel 264"/>
          <p:cNvSpPr/>
          <p:nvPr/>
        </p:nvSpPr>
        <p:spPr>
          <a:xfrm>
            <a:off x="1295400" y="1697038"/>
            <a:ext cx="1509713" cy="107950"/>
          </a:xfrm>
          <a:prstGeom prst="rect">
            <a:avLst/>
          </a:prstGeom>
          <a:gradFill>
            <a:gsLst>
              <a:gs pos="44000">
                <a:srgbClr val="1F497D">
                  <a:lumMod val="60000"/>
                  <a:lumOff val="40000"/>
                </a:srgbClr>
              </a:gs>
              <a:gs pos="100000">
                <a:srgbClr val="1F497D">
                  <a:lumMod val="75000"/>
                </a:srgbClr>
              </a:gs>
            </a:gsLst>
            <a:lin ang="10800000" scaled="1"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/>
            <a:endParaRPr lang="nb-NO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876" name="Ellipse 287"/>
          <p:cNvSpPr/>
          <p:nvPr/>
        </p:nvSpPr>
        <p:spPr bwMode="auto">
          <a:xfrm>
            <a:off x="2693725" y="5064526"/>
            <a:ext cx="3503132" cy="457017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22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/>
            <a:endParaRPr lang="nb-NO">
              <a:solidFill>
                <a:srgbClr val="FFFFFF"/>
              </a:solidFill>
              <a:latin typeface="Calibri" pitchFamily="34" charset="0"/>
            </a:endParaRPr>
          </a:p>
        </p:txBody>
      </p:sp>
      <p:grpSp>
        <p:nvGrpSpPr>
          <p:cNvPr id="15382" name="Gruppe 255"/>
          <p:cNvGrpSpPr>
            <a:grpSpLocks/>
          </p:cNvGrpSpPr>
          <p:nvPr/>
        </p:nvGrpSpPr>
        <p:grpSpPr bwMode="auto">
          <a:xfrm>
            <a:off x="3494088" y="1323975"/>
            <a:ext cx="2116137" cy="3962400"/>
            <a:chOff x="6145213" y="1600200"/>
            <a:chExt cx="2516187" cy="4711700"/>
          </a:xfrm>
        </p:grpSpPr>
        <p:sp>
          <p:nvSpPr>
            <p:cNvPr id="878" name="Afrundet rektangel 289"/>
            <p:cNvSpPr/>
            <p:nvPr/>
          </p:nvSpPr>
          <p:spPr>
            <a:xfrm>
              <a:off x="6464219" y="1600200"/>
              <a:ext cx="1815883" cy="800385"/>
            </a:xfrm>
            <a:prstGeom prst="roundRect">
              <a:avLst/>
            </a:prstGeom>
            <a:gradFill flip="none" rotWithShape="1">
              <a:gsLst>
                <a:gs pos="44000">
                  <a:sysClr val="window" lastClr="FFFFFF">
                    <a:lumMod val="95000"/>
                  </a:sysClr>
                </a:gs>
                <a:gs pos="100000">
                  <a:srgbClr val="EEECE1">
                    <a:lumMod val="90000"/>
                  </a:srgbClr>
                </a:gs>
              </a:gsLst>
              <a:lin ang="10800000" scaled="1"/>
              <a:tileRect/>
            </a:gradFill>
            <a:ln w="25400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/>
          </p:spPr>
          <p:txBody>
            <a:bodyPr anchor="ctr"/>
            <a:lstStyle/>
            <a:p>
              <a:pPr algn="ctr"/>
              <a:endParaRPr lang="nb-NO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grpSp>
          <p:nvGrpSpPr>
            <p:cNvPr id="15483" name="Gruppe 28"/>
            <p:cNvGrpSpPr>
              <a:grpSpLocks/>
            </p:cNvGrpSpPr>
            <p:nvPr/>
          </p:nvGrpSpPr>
          <p:grpSpPr bwMode="auto">
            <a:xfrm>
              <a:off x="6145213" y="2260600"/>
              <a:ext cx="2516187" cy="4051300"/>
              <a:chOff x="6386513" y="2260600"/>
              <a:chExt cx="2516187" cy="4051300"/>
            </a:xfrm>
          </p:grpSpPr>
          <p:sp>
            <p:nvSpPr>
              <p:cNvPr id="880" name="Freeform 5"/>
              <p:cNvSpPr>
                <a:spLocks/>
              </p:cNvSpPr>
              <p:nvPr/>
            </p:nvSpPr>
            <p:spPr bwMode="auto">
              <a:xfrm>
                <a:off x="6386513" y="2260895"/>
                <a:ext cx="2516187" cy="4051005"/>
              </a:xfrm>
              <a:custGeom>
                <a:avLst/>
                <a:gdLst/>
                <a:ahLst/>
                <a:cxnLst>
                  <a:cxn ang="0">
                    <a:pos x="1316" y="0"/>
                  </a:cxn>
                  <a:cxn ang="0">
                    <a:pos x="271" y="0"/>
                  </a:cxn>
                  <a:cxn ang="0">
                    <a:pos x="216" y="10"/>
                  </a:cxn>
                  <a:cxn ang="0">
                    <a:pos x="163" y="36"/>
                  </a:cxn>
                  <a:cxn ang="0">
                    <a:pos x="118" y="74"/>
                  </a:cxn>
                  <a:cxn ang="0">
                    <a:pos x="78" y="123"/>
                  </a:cxn>
                  <a:cxn ang="0">
                    <a:pos x="45" y="176"/>
                  </a:cxn>
                  <a:cxn ang="0">
                    <a:pos x="21" y="229"/>
                  </a:cxn>
                  <a:cxn ang="0">
                    <a:pos x="6" y="282"/>
                  </a:cxn>
                  <a:cxn ang="0">
                    <a:pos x="0" y="327"/>
                  </a:cxn>
                  <a:cxn ang="0">
                    <a:pos x="0" y="2344"/>
                  </a:cxn>
                  <a:cxn ang="0">
                    <a:pos x="6" y="2386"/>
                  </a:cxn>
                  <a:cxn ang="0">
                    <a:pos x="21" y="2425"/>
                  </a:cxn>
                  <a:cxn ang="0">
                    <a:pos x="45" y="2461"/>
                  </a:cxn>
                  <a:cxn ang="0">
                    <a:pos x="80" y="2491"/>
                  </a:cxn>
                  <a:cxn ang="0">
                    <a:pos x="119" y="2516"/>
                  </a:cxn>
                  <a:cxn ang="0">
                    <a:pos x="165" y="2535"/>
                  </a:cxn>
                  <a:cxn ang="0">
                    <a:pos x="216" y="2548"/>
                  </a:cxn>
                  <a:cxn ang="0">
                    <a:pos x="271" y="2552"/>
                  </a:cxn>
                  <a:cxn ang="0">
                    <a:pos x="1316" y="2552"/>
                  </a:cxn>
                  <a:cxn ang="0">
                    <a:pos x="1369" y="2548"/>
                  </a:cxn>
                  <a:cxn ang="0">
                    <a:pos x="1420" y="2535"/>
                  </a:cxn>
                  <a:cxn ang="0">
                    <a:pos x="1465" y="2516"/>
                  </a:cxn>
                  <a:cxn ang="0">
                    <a:pos x="1505" y="2491"/>
                  </a:cxn>
                  <a:cxn ang="0">
                    <a:pos x="1539" y="2461"/>
                  </a:cxn>
                  <a:cxn ang="0">
                    <a:pos x="1564" y="2425"/>
                  </a:cxn>
                  <a:cxn ang="0">
                    <a:pos x="1579" y="2386"/>
                  </a:cxn>
                  <a:cxn ang="0">
                    <a:pos x="1585" y="2344"/>
                  </a:cxn>
                  <a:cxn ang="0">
                    <a:pos x="1585" y="327"/>
                  </a:cxn>
                  <a:cxn ang="0">
                    <a:pos x="1579" y="282"/>
                  </a:cxn>
                  <a:cxn ang="0">
                    <a:pos x="1564" y="229"/>
                  </a:cxn>
                  <a:cxn ang="0">
                    <a:pos x="1539" y="176"/>
                  </a:cxn>
                  <a:cxn ang="0">
                    <a:pos x="1507" y="123"/>
                  </a:cxn>
                  <a:cxn ang="0">
                    <a:pos x="1469" y="74"/>
                  </a:cxn>
                  <a:cxn ang="0">
                    <a:pos x="1422" y="36"/>
                  </a:cxn>
                  <a:cxn ang="0">
                    <a:pos x="1371" y="10"/>
                  </a:cxn>
                  <a:cxn ang="0">
                    <a:pos x="1316" y="0"/>
                  </a:cxn>
                </a:cxnLst>
                <a:rect l="0" t="0" r="r" b="b"/>
                <a:pathLst>
                  <a:path w="1585" h="2552">
                    <a:moveTo>
                      <a:pt x="1316" y="0"/>
                    </a:moveTo>
                    <a:lnTo>
                      <a:pt x="271" y="0"/>
                    </a:lnTo>
                    <a:lnTo>
                      <a:pt x="216" y="10"/>
                    </a:lnTo>
                    <a:lnTo>
                      <a:pt x="163" y="36"/>
                    </a:lnTo>
                    <a:lnTo>
                      <a:pt x="118" y="74"/>
                    </a:lnTo>
                    <a:lnTo>
                      <a:pt x="78" y="123"/>
                    </a:lnTo>
                    <a:lnTo>
                      <a:pt x="45" y="176"/>
                    </a:lnTo>
                    <a:lnTo>
                      <a:pt x="21" y="229"/>
                    </a:lnTo>
                    <a:lnTo>
                      <a:pt x="6" y="282"/>
                    </a:lnTo>
                    <a:lnTo>
                      <a:pt x="0" y="327"/>
                    </a:lnTo>
                    <a:lnTo>
                      <a:pt x="0" y="2344"/>
                    </a:lnTo>
                    <a:lnTo>
                      <a:pt x="6" y="2386"/>
                    </a:lnTo>
                    <a:lnTo>
                      <a:pt x="21" y="2425"/>
                    </a:lnTo>
                    <a:lnTo>
                      <a:pt x="45" y="2461"/>
                    </a:lnTo>
                    <a:lnTo>
                      <a:pt x="80" y="2491"/>
                    </a:lnTo>
                    <a:lnTo>
                      <a:pt x="119" y="2516"/>
                    </a:lnTo>
                    <a:lnTo>
                      <a:pt x="165" y="2535"/>
                    </a:lnTo>
                    <a:lnTo>
                      <a:pt x="216" y="2548"/>
                    </a:lnTo>
                    <a:lnTo>
                      <a:pt x="271" y="2552"/>
                    </a:lnTo>
                    <a:lnTo>
                      <a:pt x="1316" y="2552"/>
                    </a:lnTo>
                    <a:lnTo>
                      <a:pt x="1369" y="2548"/>
                    </a:lnTo>
                    <a:lnTo>
                      <a:pt x="1420" y="2535"/>
                    </a:lnTo>
                    <a:lnTo>
                      <a:pt x="1465" y="2516"/>
                    </a:lnTo>
                    <a:lnTo>
                      <a:pt x="1505" y="2491"/>
                    </a:lnTo>
                    <a:lnTo>
                      <a:pt x="1539" y="2461"/>
                    </a:lnTo>
                    <a:lnTo>
                      <a:pt x="1564" y="2425"/>
                    </a:lnTo>
                    <a:lnTo>
                      <a:pt x="1579" y="2386"/>
                    </a:lnTo>
                    <a:lnTo>
                      <a:pt x="1585" y="2344"/>
                    </a:lnTo>
                    <a:lnTo>
                      <a:pt x="1585" y="327"/>
                    </a:lnTo>
                    <a:lnTo>
                      <a:pt x="1579" y="282"/>
                    </a:lnTo>
                    <a:lnTo>
                      <a:pt x="1564" y="229"/>
                    </a:lnTo>
                    <a:lnTo>
                      <a:pt x="1539" y="176"/>
                    </a:lnTo>
                    <a:lnTo>
                      <a:pt x="1507" y="123"/>
                    </a:lnTo>
                    <a:lnTo>
                      <a:pt x="1469" y="74"/>
                    </a:lnTo>
                    <a:lnTo>
                      <a:pt x="1422" y="36"/>
                    </a:lnTo>
                    <a:lnTo>
                      <a:pt x="1371" y="10"/>
                    </a:lnTo>
                    <a:lnTo>
                      <a:pt x="1316" y="0"/>
                    </a:lnTo>
                    <a:close/>
                  </a:path>
                </a:pathLst>
              </a:custGeom>
              <a:gradFill flip="none" rotWithShape="1">
                <a:gsLst>
                  <a:gs pos="44000">
                    <a:srgbClr val="4BACC6">
                      <a:lumMod val="75000"/>
                    </a:srgbClr>
                  </a:gs>
                  <a:gs pos="100000">
                    <a:srgbClr val="4F81BD">
                      <a:lumMod val="20000"/>
                      <a:lumOff val="80000"/>
                    </a:srgbClr>
                  </a:gs>
                </a:gsLst>
                <a:lin ang="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nb-NO">
                  <a:solidFill>
                    <a:srgbClr val="000000"/>
                  </a:solidFill>
                </a:endParaRPr>
              </a:p>
            </p:txBody>
          </p:sp>
          <p:sp>
            <p:nvSpPr>
              <p:cNvPr id="881" name="Freeform 5"/>
              <p:cNvSpPr>
                <a:spLocks/>
              </p:cNvSpPr>
              <p:nvPr/>
            </p:nvSpPr>
            <p:spPr bwMode="auto">
              <a:xfrm>
                <a:off x="6495995" y="2387371"/>
                <a:ext cx="2317988" cy="3835807"/>
              </a:xfrm>
              <a:custGeom>
                <a:avLst/>
                <a:gdLst>
                  <a:gd name="T0" fmla="*/ 1316 w 1585"/>
                  <a:gd name="T1" fmla="*/ 0 h 2552"/>
                  <a:gd name="T2" fmla="*/ 271 w 1585"/>
                  <a:gd name="T3" fmla="*/ 0 h 2552"/>
                  <a:gd name="T4" fmla="*/ 216 w 1585"/>
                  <a:gd name="T5" fmla="*/ 10 h 2552"/>
                  <a:gd name="T6" fmla="*/ 163 w 1585"/>
                  <a:gd name="T7" fmla="*/ 36 h 2552"/>
                  <a:gd name="T8" fmla="*/ 118 w 1585"/>
                  <a:gd name="T9" fmla="*/ 74 h 2552"/>
                  <a:gd name="T10" fmla="*/ 78 w 1585"/>
                  <a:gd name="T11" fmla="*/ 123 h 2552"/>
                  <a:gd name="T12" fmla="*/ 45 w 1585"/>
                  <a:gd name="T13" fmla="*/ 176 h 2552"/>
                  <a:gd name="T14" fmla="*/ 21 w 1585"/>
                  <a:gd name="T15" fmla="*/ 229 h 2552"/>
                  <a:gd name="T16" fmla="*/ 6 w 1585"/>
                  <a:gd name="T17" fmla="*/ 282 h 2552"/>
                  <a:gd name="T18" fmla="*/ 0 w 1585"/>
                  <a:gd name="T19" fmla="*/ 327 h 2552"/>
                  <a:gd name="T20" fmla="*/ 0 w 1585"/>
                  <a:gd name="T21" fmla="*/ 2344 h 2552"/>
                  <a:gd name="T22" fmla="*/ 6 w 1585"/>
                  <a:gd name="T23" fmla="*/ 2386 h 2552"/>
                  <a:gd name="T24" fmla="*/ 21 w 1585"/>
                  <a:gd name="T25" fmla="*/ 2425 h 2552"/>
                  <a:gd name="T26" fmla="*/ 45 w 1585"/>
                  <a:gd name="T27" fmla="*/ 2461 h 2552"/>
                  <a:gd name="T28" fmla="*/ 80 w 1585"/>
                  <a:gd name="T29" fmla="*/ 2491 h 2552"/>
                  <a:gd name="T30" fmla="*/ 119 w 1585"/>
                  <a:gd name="T31" fmla="*/ 2516 h 2552"/>
                  <a:gd name="T32" fmla="*/ 165 w 1585"/>
                  <a:gd name="T33" fmla="*/ 2535 h 2552"/>
                  <a:gd name="T34" fmla="*/ 216 w 1585"/>
                  <a:gd name="T35" fmla="*/ 2548 h 2552"/>
                  <a:gd name="T36" fmla="*/ 271 w 1585"/>
                  <a:gd name="T37" fmla="*/ 2552 h 2552"/>
                  <a:gd name="T38" fmla="*/ 1316 w 1585"/>
                  <a:gd name="T39" fmla="*/ 2552 h 2552"/>
                  <a:gd name="T40" fmla="*/ 1369 w 1585"/>
                  <a:gd name="T41" fmla="*/ 2548 h 2552"/>
                  <a:gd name="T42" fmla="*/ 1420 w 1585"/>
                  <a:gd name="T43" fmla="*/ 2535 h 2552"/>
                  <a:gd name="T44" fmla="*/ 1465 w 1585"/>
                  <a:gd name="T45" fmla="*/ 2516 h 2552"/>
                  <a:gd name="T46" fmla="*/ 1505 w 1585"/>
                  <a:gd name="T47" fmla="*/ 2491 h 2552"/>
                  <a:gd name="T48" fmla="*/ 1539 w 1585"/>
                  <a:gd name="T49" fmla="*/ 2461 h 2552"/>
                  <a:gd name="T50" fmla="*/ 1564 w 1585"/>
                  <a:gd name="T51" fmla="*/ 2425 h 2552"/>
                  <a:gd name="T52" fmla="*/ 1579 w 1585"/>
                  <a:gd name="T53" fmla="*/ 2386 h 2552"/>
                  <a:gd name="T54" fmla="*/ 1585 w 1585"/>
                  <a:gd name="T55" fmla="*/ 2344 h 2552"/>
                  <a:gd name="T56" fmla="*/ 1585 w 1585"/>
                  <a:gd name="T57" fmla="*/ 327 h 2552"/>
                  <a:gd name="T58" fmla="*/ 1579 w 1585"/>
                  <a:gd name="T59" fmla="*/ 282 h 2552"/>
                  <a:gd name="T60" fmla="*/ 1564 w 1585"/>
                  <a:gd name="T61" fmla="*/ 229 h 2552"/>
                  <a:gd name="T62" fmla="*/ 1539 w 1585"/>
                  <a:gd name="T63" fmla="*/ 176 h 2552"/>
                  <a:gd name="T64" fmla="*/ 1507 w 1585"/>
                  <a:gd name="T65" fmla="*/ 123 h 2552"/>
                  <a:gd name="T66" fmla="*/ 1469 w 1585"/>
                  <a:gd name="T67" fmla="*/ 74 h 2552"/>
                  <a:gd name="T68" fmla="*/ 1422 w 1585"/>
                  <a:gd name="T69" fmla="*/ 36 h 2552"/>
                  <a:gd name="T70" fmla="*/ 1371 w 1585"/>
                  <a:gd name="T71" fmla="*/ 10 h 2552"/>
                  <a:gd name="T72" fmla="*/ 1316 w 1585"/>
                  <a:gd name="T73" fmla="*/ 0 h 255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585"/>
                  <a:gd name="T112" fmla="*/ 0 h 2552"/>
                  <a:gd name="T113" fmla="*/ 1585 w 1585"/>
                  <a:gd name="T114" fmla="*/ 2552 h 2552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585" h="2552">
                    <a:moveTo>
                      <a:pt x="1316" y="0"/>
                    </a:moveTo>
                    <a:lnTo>
                      <a:pt x="271" y="0"/>
                    </a:lnTo>
                    <a:lnTo>
                      <a:pt x="216" y="10"/>
                    </a:lnTo>
                    <a:lnTo>
                      <a:pt x="163" y="36"/>
                    </a:lnTo>
                    <a:lnTo>
                      <a:pt x="118" y="74"/>
                    </a:lnTo>
                    <a:lnTo>
                      <a:pt x="78" y="123"/>
                    </a:lnTo>
                    <a:lnTo>
                      <a:pt x="45" y="176"/>
                    </a:lnTo>
                    <a:lnTo>
                      <a:pt x="21" y="229"/>
                    </a:lnTo>
                    <a:lnTo>
                      <a:pt x="6" y="282"/>
                    </a:lnTo>
                    <a:lnTo>
                      <a:pt x="0" y="327"/>
                    </a:lnTo>
                    <a:lnTo>
                      <a:pt x="0" y="2344"/>
                    </a:lnTo>
                    <a:lnTo>
                      <a:pt x="6" y="2386"/>
                    </a:lnTo>
                    <a:lnTo>
                      <a:pt x="21" y="2425"/>
                    </a:lnTo>
                    <a:lnTo>
                      <a:pt x="45" y="2461"/>
                    </a:lnTo>
                    <a:lnTo>
                      <a:pt x="80" y="2491"/>
                    </a:lnTo>
                    <a:lnTo>
                      <a:pt x="119" y="2516"/>
                    </a:lnTo>
                    <a:lnTo>
                      <a:pt x="165" y="2535"/>
                    </a:lnTo>
                    <a:lnTo>
                      <a:pt x="216" y="2548"/>
                    </a:lnTo>
                    <a:lnTo>
                      <a:pt x="271" y="2552"/>
                    </a:lnTo>
                    <a:lnTo>
                      <a:pt x="1316" y="2552"/>
                    </a:lnTo>
                    <a:lnTo>
                      <a:pt x="1369" y="2548"/>
                    </a:lnTo>
                    <a:lnTo>
                      <a:pt x="1420" y="2535"/>
                    </a:lnTo>
                    <a:lnTo>
                      <a:pt x="1465" y="2516"/>
                    </a:lnTo>
                    <a:lnTo>
                      <a:pt x="1505" y="2491"/>
                    </a:lnTo>
                    <a:lnTo>
                      <a:pt x="1539" y="2461"/>
                    </a:lnTo>
                    <a:lnTo>
                      <a:pt x="1564" y="2425"/>
                    </a:lnTo>
                    <a:lnTo>
                      <a:pt x="1579" y="2386"/>
                    </a:lnTo>
                    <a:lnTo>
                      <a:pt x="1585" y="2344"/>
                    </a:lnTo>
                    <a:lnTo>
                      <a:pt x="1585" y="327"/>
                    </a:lnTo>
                    <a:lnTo>
                      <a:pt x="1579" y="282"/>
                    </a:lnTo>
                    <a:lnTo>
                      <a:pt x="1564" y="229"/>
                    </a:lnTo>
                    <a:lnTo>
                      <a:pt x="1539" y="176"/>
                    </a:lnTo>
                    <a:lnTo>
                      <a:pt x="1507" y="123"/>
                    </a:lnTo>
                    <a:lnTo>
                      <a:pt x="1469" y="74"/>
                    </a:lnTo>
                    <a:lnTo>
                      <a:pt x="1422" y="36"/>
                    </a:lnTo>
                    <a:lnTo>
                      <a:pt x="1371" y="10"/>
                    </a:lnTo>
                    <a:lnTo>
                      <a:pt x="1316" y="0"/>
                    </a:lnTo>
                    <a:close/>
                  </a:path>
                </a:pathLst>
              </a:custGeom>
              <a:solidFill>
                <a:srgbClr val="0070C0">
                  <a:alpha val="43137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nb-NO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30" name="Gruppe 33"/>
          <p:cNvGrpSpPr/>
          <p:nvPr/>
        </p:nvGrpSpPr>
        <p:grpSpPr>
          <a:xfrm>
            <a:off x="5055067" y="4762709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31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885" name="Ellipse 296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472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887" name="Ellipse 298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888" name="Cirkel 299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889" name="Afrundet rektangel 300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884" name="Afrundet rektangel 295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475" name="Gruppe 33"/>
          <p:cNvGrpSpPr/>
          <p:nvPr/>
        </p:nvGrpSpPr>
        <p:grpSpPr>
          <a:xfrm>
            <a:off x="4723978" y="4762709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479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893" name="Ellipse 304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480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895" name="Ellipse 306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896" name="Cirkel 307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897" name="Afrundet rektangel 308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892" name="Afrundet rektangel 303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483" name="Gruppe 33"/>
          <p:cNvGrpSpPr/>
          <p:nvPr/>
        </p:nvGrpSpPr>
        <p:grpSpPr>
          <a:xfrm>
            <a:off x="4841461" y="4463661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487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901" name="Ellipse 312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488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903" name="Ellipse 314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04" name="Cirkel 315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05" name="Afrundet rektangel 316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900" name="Afrundet rektangel 311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491" name="Gruppe 33"/>
          <p:cNvGrpSpPr/>
          <p:nvPr/>
        </p:nvGrpSpPr>
        <p:grpSpPr>
          <a:xfrm>
            <a:off x="4467651" y="4784070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495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909" name="Ellipse 320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496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911" name="Ellipse 322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12" name="Cirkel 323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13" name="Afrundet rektangel 324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908" name="Afrundet rektangel 319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499" name="Gruppe 33"/>
          <p:cNvGrpSpPr/>
          <p:nvPr/>
        </p:nvGrpSpPr>
        <p:grpSpPr>
          <a:xfrm>
            <a:off x="4136563" y="4784070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503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917" name="Ellipse 328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504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919" name="Ellipse 330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20" name="Cirkel 331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21" name="Afrundet rektangel 332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916" name="Afrundet rektangel 327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507" name="Gruppe 33"/>
          <p:cNvGrpSpPr/>
          <p:nvPr/>
        </p:nvGrpSpPr>
        <p:grpSpPr>
          <a:xfrm>
            <a:off x="3805474" y="4773389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511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925" name="Ellipse 336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512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927" name="Ellipse 338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28" name="Cirkel 339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29" name="Afrundet rektangel 340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924" name="Afrundet rektangel 335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515" name="Gruppe 33"/>
          <p:cNvGrpSpPr/>
          <p:nvPr/>
        </p:nvGrpSpPr>
        <p:grpSpPr>
          <a:xfrm>
            <a:off x="4499692" y="4517063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519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933" name="Ellipse 344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520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935" name="Ellipse 346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36" name="Cirkel 347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37" name="Afrundet rektangel 348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932" name="Afrundet rektangel 343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523" name="Gruppe 33"/>
          <p:cNvGrpSpPr/>
          <p:nvPr/>
        </p:nvGrpSpPr>
        <p:grpSpPr>
          <a:xfrm>
            <a:off x="4189964" y="4463661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527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941" name="Ellipse 352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528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943" name="Ellipse 354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44" name="Cirkel 355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45" name="Afrundet rektangel 356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940" name="Afrundet rektangel 351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531" name="Gruppe 33"/>
          <p:cNvGrpSpPr/>
          <p:nvPr/>
        </p:nvGrpSpPr>
        <p:grpSpPr>
          <a:xfrm>
            <a:off x="4553094" y="4207335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535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949" name="Ellipse 360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800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951" name="Ellipse 362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52" name="Cirkel 363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53" name="Afrundet rektangel 364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948" name="Afrundet rektangel 359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801" name="Gruppe 33"/>
          <p:cNvGrpSpPr/>
          <p:nvPr/>
        </p:nvGrpSpPr>
        <p:grpSpPr>
          <a:xfrm>
            <a:off x="3602549" y="4666587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802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957" name="Ellipse 368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803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959" name="Ellipse 370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60" name="Cirkel 371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61" name="Afrundet rektangel 372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956" name="Afrundet rektangel 367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805" name="Gruppe 33"/>
          <p:cNvGrpSpPr/>
          <p:nvPr/>
        </p:nvGrpSpPr>
        <p:grpSpPr>
          <a:xfrm>
            <a:off x="3901596" y="4549104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807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965" name="Ellipse 376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810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967" name="Ellipse 378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68" name="Cirkel 379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69" name="Afrundet rektangel 380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964" name="Afrundet rektangel 375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811" name="Gruppe 33"/>
          <p:cNvGrpSpPr/>
          <p:nvPr/>
        </p:nvGrpSpPr>
        <p:grpSpPr>
          <a:xfrm>
            <a:off x="4820101" y="4292777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814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973" name="Ellipse 384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818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975" name="Ellipse 386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76" name="Cirkel 387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77" name="Afrundet rektangel 388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972" name="Afrundet rektangel 383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819" name="Gruppe 33"/>
          <p:cNvGrpSpPr/>
          <p:nvPr/>
        </p:nvGrpSpPr>
        <p:grpSpPr>
          <a:xfrm>
            <a:off x="5065747" y="4442301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822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981" name="Ellipse 392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826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983" name="Ellipse 394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84" name="Cirkel 395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85" name="Afrundet rektangel 396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980" name="Afrundet rektangel 391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827" name="Gruppe 33"/>
          <p:cNvGrpSpPr/>
          <p:nvPr/>
        </p:nvGrpSpPr>
        <p:grpSpPr>
          <a:xfrm>
            <a:off x="5055067" y="4175294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830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989" name="Ellipse 400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536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991" name="Ellipse 402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92" name="Cirkel 403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993" name="Afrundet rektangel 404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988" name="Afrundet rektangel 399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539" name="Gruppe 33"/>
          <p:cNvGrpSpPr/>
          <p:nvPr/>
        </p:nvGrpSpPr>
        <p:grpSpPr>
          <a:xfrm>
            <a:off x="4350168" y="3961688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543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997" name="Ellipse 408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544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999" name="Ellipse 410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00" name="Cirkel 411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01" name="Afrundet rektangel 412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996" name="Afrundet rektangel 407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547" name="Gruppe 33"/>
          <p:cNvGrpSpPr/>
          <p:nvPr/>
        </p:nvGrpSpPr>
        <p:grpSpPr>
          <a:xfrm>
            <a:off x="4553094" y="3619919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551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005" name="Ellipse 416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552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007" name="Ellipse 418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08" name="Cirkel 419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09" name="Afrundet rektangel 420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004" name="Afrundet rektangel 415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555" name="Gruppe 33"/>
          <p:cNvGrpSpPr/>
          <p:nvPr/>
        </p:nvGrpSpPr>
        <p:grpSpPr>
          <a:xfrm>
            <a:off x="3677311" y="4314137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559" name="Gruppe 165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013" name="Ellipse 424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560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015" name="Ellipse 426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16" name="Cirkel 427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17" name="Afrundet rektangel 428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012" name="Afrundet rektangel 423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563" name="Gruppe 33"/>
          <p:cNvGrpSpPr/>
          <p:nvPr/>
        </p:nvGrpSpPr>
        <p:grpSpPr>
          <a:xfrm>
            <a:off x="4008399" y="4207335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567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021" name="Ellipse 432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96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023" name="Ellipse 434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24" name="Cirkel 435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25" name="Afrundet rektangel 436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020" name="Afrundet rektangel 431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98" name="Gruppe 33"/>
          <p:cNvGrpSpPr/>
          <p:nvPr/>
        </p:nvGrpSpPr>
        <p:grpSpPr>
          <a:xfrm>
            <a:off x="4820101" y="3705361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99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029" name="Ellipse 440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00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031" name="Ellipse 442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32" name="Cirkel 443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33" name="Afrundet rektangel 444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028" name="Afrundet rektangel 439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01" name="Gruppe 33"/>
          <p:cNvGrpSpPr/>
          <p:nvPr/>
        </p:nvGrpSpPr>
        <p:grpSpPr>
          <a:xfrm>
            <a:off x="5065747" y="3854885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02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037" name="Ellipse 448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03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039" name="Ellipse 450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40" name="Cirkel 451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41" name="Afrundet rektangel 452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036" name="Afrundet rektangel 447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04" name="Gruppe 33"/>
          <p:cNvGrpSpPr/>
          <p:nvPr/>
        </p:nvGrpSpPr>
        <p:grpSpPr>
          <a:xfrm>
            <a:off x="4734658" y="3929647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05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045" name="Ellipse 456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06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047" name="Ellipse 458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48" name="Cirkel 459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49" name="Afrundet rektangel 460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044" name="Afrundet rektangel 455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07" name="Gruppe 461"/>
          <p:cNvGrpSpPr/>
          <p:nvPr/>
        </p:nvGrpSpPr>
        <p:grpSpPr>
          <a:xfrm>
            <a:off x="4222005" y="3694681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08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053" name="Ellipse 464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09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055" name="Ellipse 466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56" name="Cirkel 467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57" name="Afrundet rektangel 468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052" name="Afrundet rektangel 463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10" name="Gruppe 33"/>
          <p:cNvGrpSpPr/>
          <p:nvPr/>
        </p:nvGrpSpPr>
        <p:grpSpPr>
          <a:xfrm>
            <a:off x="5087108" y="3481075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11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061" name="Ellipse 472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12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063" name="Ellipse 474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64" name="Cirkel 475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65" name="Afrundet rektangel 476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060" name="Afrundet rektangel 471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13" name="Gruppe 33"/>
          <p:cNvGrpSpPr/>
          <p:nvPr/>
        </p:nvGrpSpPr>
        <p:grpSpPr>
          <a:xfrm>
            <a:off x="4232685" y="4218015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14" name="Gruppe 221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069" name="Ellipse 480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15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071" name="Ellipse 482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72" name="Cirkel 483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73" name="Afrundet rektangel 484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068" name="Afrundet rektangel 479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16" name="Gruppe 33"/>
          <p:cNvGrpSpPr/>
          <p:nvPr/>
        </p:nvGrpSpPr>
        <p:grpSpPr>
          <a:xfrm>
            <a:off x="4008399" y="3940328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17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077" name="Ellipse 488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18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079" name="Ellipse 490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80" name="Cirkel 491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81" name="Afrundet rektangel 492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076" name="Afrundet rektangel 487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19" name="Gruppe 33"/>
          <p:cNvGrpSpPr/>
          <p:nvPr/>
        </p:nvGrpSpPr>
        <p:grpSpPr>
          <a:xfrm>
            <a:off x="4499692" y="3459715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20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085" name="Ellipse 496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21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087" name="Ellipse 498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88" name="Cirkel 499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89" name="Afrundet rektangel 500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084" name="Afrundet rektangel 495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22" name="Gruppe 33"/>
          <p:cNvGrpSpPr/>
          <p:nvPr/>
        </p:nvGrpSpPr>
        <p:grpSpPr>
          <a:xfrm>
            <a:off x="4788060" y="3438354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23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093" name="Ellipse 504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24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095" name="Ellipse 506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96" name="Cirkel 507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097" name="Afrundet rektangel 508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092" name="Afrundet rektangel 503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sp>
        <p:nvSpPr>
          <p:cNvPr id="15410" name="Rektangel 509"/>
          <p:cNvSpPr>
            <a:spLocks noChangeArrowheads="1"/>
          </p:cNvSpPr>
          <p:nvPr/>
        </p:nvSpPr>
        <p:spPr bwMode="auto">
          <a:xfrm>
            <a:off x="3827463" y="1376363"/>
            <a:ext cx="1439862" cy="28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AR" sz="1600" b="1" noProof="1">
                <a:solidFill>
                  <a:srgbClr val="1E1C11"/>
                </a:solidFill>
                <a:latin typeface="Calibri" pitchFamily="34" charset="0"/>
                <a:cs typeface="Arial" pitchFamily="34" charset="0"/>
              </a:rPr>
              <a:t>Example text</a:t>
            </a:r>
          </a:p>
        </p:txBody>
      </p:sp>
      <p:sp>
        <p:nvSpPr>
          <p:cNvPr id="1099" name="Rektangel 510"/>
          <p:cNvSpPr/>
          <p:nvPr/>
        </p:nvSpPr>
        <p:spPr>
          <a:xfrm>
            <a:off x="3771900" y="1687513"/>
            <a:ext cx="1511300" cy="106362"/>
          </a:xfrm>
          <a:prstGeom prst="rect">
            <a:avLst/>
          </a:prstGeom>
          <a:gradFill>
            <a:gsLst>
              <a:gs pos="44000">
                <a:srgbClr val="1F497D">
                  <a:lumMod val="60000"/>
                  <a:lumOff val="40000"/>
                </a:srgbClr>
              </a:gs>
              <a:gs pos="100000">
                <a:srgbClr val="1F497D">
                  <a:lumMod val="75000"/>
                </a:srgbClr>
              </a:gs>
            </a:gsLst>
            <a:lin ang="10800000" scaled="1"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/>
            <a:endParaRPr lang="nb-NO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100" name="Ellipse 513"/>
          <p:cNvSpPr/>
          <p:nvPr/>
        </p:nvSpPr>
        <p:spPr bwMode="auto">
          <a:xfrm>
            <a:off x="5107468" y="5064526"/>
            <a:ext cx="3503132" cy="457017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22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/>
            <a:endParaRPr lang="nb-NO">
              <a:solidFill>
                <a:srgbClr val="FFFFFF"/>
              </a:solidFill>
              <a:latin typeface="Calibri" pitchFamily="34" charset="0"/>
            </a:endParaRPr>
          </a:p>
        </p:txBody>
      </p:sp>
      <p:grpSp>
        <p:nvGrpSpPr>
          <p:cNvPr id="15415" name="Gruppe 255"/>
          <p:cNvGrpSpPr>
            <a:grpSpLocks/>
          </p:cNvGrpSpPr>
          <p:nvPr/>
        </p:nvGrpSpPr>
        <p:grpSpPr bwMode="auto">
          <a:xfrm>
            <a:off x="5907088" y="1323975"/>
            <a:ext cx="2116137" cy="3962400"/>
            <a:chOff x="6145213" y="1600200"/>
            <a:chExt cx="2516187" cy="4711700"/>
          </a:xfrm>
        </p:grpSpPr>
        <p:sp>
          <p:nvSpPr>
            <p:cNvPr id="1102" name="Afrundet rektangel 515"/>
            <p:cNvSpPr/>
            <p:nvPr/>
          </p:nvSpPr>
          <p:spPr>
            <a:xfrm>
              <a:off x="6464219" y="1600200"/>
              <a:ext cx="1815883" cy="800385"/>
            </a:xfrm>
            <a:prstGeom prst="roundRect">
              <a:avLst/>
            </a:prstGeom>
            <a:gradFill flip="none" rotWithShape="1">
              <a:gsLst>
                <a:gs pos="44000">
                  <a:sysClr val="window" lastClr="FFFFFF">
                    <a:lumMod val="95000"/>
                  </a:sysClr>
                </a:gs>
                <a:gs pos="100000">
                  <a:srgbClr val="EEECE1">
                    <a:lumMod val="90000"/>
                  </a:srgbClr>
                </a:gs>
              </a:gsLst>
              <a:lin ang="10800000" scaled="1"/>
              <a:tileRect/>
            </a:gradFill>
            <a:ln w="25400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/>
          </p:spPr>
          <p:txBody>
            <a:bodyPr anchor="ctr"/>
            <a:lstStyle/>
            <a:p>
              <a:pPr algn="ctr"/>
              <a:endParaRPr lang="nb-NO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grpSp>
          <p:nvGrpSpPr>
            <p:cNvPr id="15479" name="Gruppe 28"/>
            <p:cNvGrpSpPr>
              <a:grpSpLocks/>
            </p:cNvGrpSpPr>
            <p:nvPr/>
          </p:nvGrpSpPr>
          <p:grpSpPr bwMode="auto">
            <a:xfrm>
              <a:off x="6145213" y="2260600"/>
              <a:ext cx="2516187" cy="4051300"/>
              <a:chOff x="6386513" y="2260600"/>
              <a:chExt cx="2516187" cy="4051300"/>
            </a:xfrm>
          </p:grpSpPr>
          <p:sp>
            <p:nvSpPr>
              <p:cNvPr id="1104" name="Freeform 5"/>
              <p:cNvSpPr>
                <a:spLocks/>
              </p:cNvSpPr>
              <p:nvPr/>
            </p:nvSpPr>
            <p:spPr bwMode="auto">
              <a:xfrm>
                <a:off x="6386513" y="2260895"/>
                <a:ext cx="2516187" cy="4051005"/>
              </a:xfrm>
              <a:custGeom>
                <a:avLst/>
                <a:gdLst/>
                <a:ahLst/>
                <a:cxnLst>
                  <a:cxn ang="0">
                    <a:pos x="1316" y="0"/>
                  </a:cxn>
                  <a:cxn ang="0">
                    <a:pos x="271" y="0"/>
                  </a:cxn>
                  <a:cxn ang="0">
                    <a:pos x="216" y="10"/>
                  </a:cxn>
                  <a:cxn ang="0">
                    <a:pos x="163" y="36"/>
                  </a:cxn>
                  <a:cxn ang="0">
                    <a:pos x="118" y="74"/>
                  </a:cxn>
                  <a:cxn ang="0">
                    <a:pos x="78" y="123"/>
                  </a:cxn>
                  <a:cxn ang="0">
                    <a:pos x="45" y="176"/>
                  </a:cxn>
                  <a:cxn ang="0">
                    <a:pos x="21" y="229"/>
                  </a:cxn>
                  <a:cxn ang="0">
                    <a:pos x="6" y="282"/>
                  </a:cxn>
                  <a:cxn ang="0">
                    <a:pos x="0" y="327"/>
                  </a:cxn>
                  <a:cxn ang="0">
                    <a:pos x="0" y="2344"/>
                  </a:cxn>
                  <a:cxn ang="0">
                    <a:pos x="6" y="2386"/>
                  </a:cxn>
                  <a:cxn ang="0">
                    <a:pos x="21" y="2425"/>
                  </a:cxn>
                  <a:cxn ang="0">
                    <a:pos x="45" y="2461"/>
                  </a:cxn>
                  <a:cxn ang="0">
                    <a:pos x="80" y="2491"/>
                  </a:cxn>
                  <a:cxn ang="0">
                    <a:pos x="119" y="2516"/>
                  </a:cxn>
                  <a:cxn ang="0">
                    <a:pos x="165" y="2535"/>
                  </a:cxn>
                  <a:cxn ang="0">
                    <a:pos x="216" y="2548"/>
                  </a:cxn>
                  <a:cxn ang="0">
                    <a:pos x="271" y="2552"/>
                  </a:cxn>
                  <a:cxn ang="0">
                    <a:pos x="1316" y="2552"/>
                  </a:cxn>
                  <a:cxn ang="0">
                    <a:pos x="1369" y="2548"/>
                  </a:cxn>
                  <a:cxn ang="0">
                    <a:pos x="1420" y="2535"/>
                  </a:cxn>
                  <a:cxn ang="0">
                    <a:pos x="1465" y="2516"/>
                  </a:cxn>
                  <a:cxn ang="0">
                    <a:pos x="1505" y="2491"/>
                  </a:cxn>
                  <a:cxn ang="0">
                    <a:pos x="1539" y="2461"/>
                  </a:cxn>
                  <a:cxn ang="0">
                    <a:pos x="1564" y="2425"/>
                  </a:cxn>
                  <a:cxn ang="0">
                    <a:pos x="1579" y="2386"/>
                  </a:cxn>
                  <a:cxn ang="0">
                    <a:pos x="1585" y="2344"/>
                  </a:cxn>
                  <a:cxn ang="0">
                    <a:pos x="1585" y="327"/>
                  </a:cxn>
                  <a:cxn ang="0">
                    <a:pos x="1579" y="282"/>
                  </a:cxn>
                  <a:cxn ang="0">
                    <a:pos x="1564" y="229"/>
                  </a:cxn>
                  <a:cxn ang="0">
                    <a:pos x="1539" y="176"/>
                  </a:cxn>
                  <a:cxn ang="0">
                    <a:pos x="1507" y="123"/>
                  </a:cxn>
                  <a:cxn ang="0">
                    <a:pos x="1469" y="74"/>
                  </a:cxn>
                  <a:cxn ang="0">
                    <a:pos x="1422" y="36"/>
                  </a:cxn>
                  <a:cxn ang="0">
                    <a:pos x="1371" y="10"/>
                  </a:cxn>
                  <a:cxn ang="0">
                    <a:pos x="1316" y="0"/>
                  </a:cxn>
                </a:cxnLst>
                <a:rect l="0" t="0" r="r" b="b"/>
                <a:pathLst>
                  <a:path w="1585" h="2552">
                    <a:moveTo>
                      <a:pt x="1316" y="0"/>
                    </a:moveTo>
                    <a:lnTo>
                      <a:pt x="271" y="0"/>
                    </a:lnTo>
                    <a:lnTo>
                      <a:pt x="216" y="10"/>
                    </a:lnTo>
                    <a:lnTo>
                      <a:pt x="163" y="36"/>
                    </a:lnTo>
                    <a:lnTo>
                      <a:pt x="118" y="74"/>
                    </a:lnTo>
                    <a:lnTo>
                      <a:pt x="78" y="123"/>
                    </a:lnTo>
                    <a:lnTo>
                      <a:pt x="45" y="176"/>
                    </a:lnTo>
                    <a:lnTo>
                      <a:pt x="21" y="229"/>
                    </a:lnTo>
                    <a:lnTo>
                      <a:pt x="6" y="282"/>
                    </a:lnTo>
                    <a:lnTo>
                      <a:pt x="0" y="327"/>
                    </a:lnTo>
                    <a:lnTo>
                      <a:pt x="0" y="2344"/>
                    </a:lnTo>
                    <a:lnTo>
                      <a:pt x="6" y="2386"/>
                    </a:lnTo>
                    <a:lnTo>
                      <a:pt x="21" y="2425"/>
                    </a:lnTo>
                    <a:lnTo>
                      <a:pt x="45" y="2461"/>
                    </a:lnTo>
                    <a:lnTo>
                      <a:pt x="80" y="2491"/>
                    </a:lnTo>
                    <a:lnTo>
                      <a:pt x="119" y="2516"/>
                    </a:lnTo>
                    <a:lnTo>
                      <a:pt x="165" y="2535"/>
                    </a:lnTo>
                    <a:lnTo>
                      <a:pt x="216" y="2548"/>
                    </a:lnTo>
                    <a:lnTo>
                      <a:pt x="271" y="2552"/>
                    </a:lnTo>
                    <a:lnTo>
                      <a:pt x="1316" y="2552"/>
                    </a:lnTo>
                    <a:lnTo>
                      <a:pt x="1369" y="2548"/>
                    </a:lnTo>
                    <a:lnTo>
                      <a:pt x="1420" y="2535"/>
                    </a:lnTo>
                    <a:lnTo>
                      <a:pt x="1465" y="2516"/>
                    </a:lnTo>
                    <a:lnTo>
                      <a:pt x="1505" y="2491"/>
                    </a:lnTo>
                    <a:lnTo>
                      <a:pt x="1539" y="2461"/>
                    </a:lnTo>
                    <a:lnTo>
                      <a:pt x="1564" y="2425"/>
                    </a:lnTo>
                    <a:lnTo>
                      <a:pt x="1579" y="2386"/>
                    </a:lnTo>
                    <a:lnTo>
                      <a:pt x="1585" y="2344"/>
                    </a:lnTo>
                    <a:lnTo>
                      <a:pt x="1585" y="327"/>
                    </a:lnTo>
                    <a:lnTo>
                      <a:pt x="1579" y="282"/>
                    </a:lnTo>
                    <a:lnTo>
                      <a:pt x="1564" y="229"/>
                    </a:lnTo>
                    <a:lnTo>
                      <a:pt x="1539" y="176"/>
                    </a:lnTo>
                    <a:lnTo>
                      <a:pt x="1507" y="123"/>
                    </a:lnTo>
                    <a:lnTo>
                      <a:pt x="1469" y="74"/>
                    </a:lnTo>
                    <a:lnTo>
                      <a:pt x="1422" y="36"/>
                    </a:lnTo>
                    <a:lnTo>
                      <a:pt x="1371" y="10"/>
                    </a:lnTo>
                    <a:lnTo>
                      <a:pt x="1316" y="0"/>
                    </a:lnTo>
                    <a:close/>
                  </a:path>
                </a:pathLst>
              </a:custGeom>
              <a:gradFill flip="none" rotWithShape="1">
                <a:gsLst>
                  <a:gs pos="44000">
                    <a:srgbClr val="4BACC6">
                      <a:lumMod val="75000"/>
                    </a:srgbClr>
                  </a:gs>
                  <a:gs pos="100000">
                    <a:srgbClr val="4F81BD">
                      <a:lumMod val="20000"/>
                      <a:lumOff val="80000"/>
                    </a:srgbClr>
                  </a:gs>
                </a:gsLst>
                <a:lin ang="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nb-NO">
                  <a:solidFill>
                    <a:srgbClr val="000000"/>
                  </a:solidFill>
                </a:endParaRPr>
              </a:p>
            </p:txBody>
          </p:sp>
          <p:sp>
            <p:nvSpPr>
              <p:cNvPr id="1105" name="Freeform 5"/>
              <p:cNvSpPr>
                <a:spLocks/>
              </p:cNvSpPr>
              <p:nvPr/>
            </p:nvSpPr>
            <p:spPr bwMode="auto">
              <a:xfrm>
                <a:off x="6495995" y="2387371"/>
                <a:ext cx="2317988" cy="3835807"/>
              </a:xfrm>
              <a:custGeom>
                <a:avLst/>
                <a:gdLst>
                  <a:gd name="T0" fmla="*/ 1316 w 1585"/>
                  <a:gd name="T1" fmla="*/ 0 h 2552"/>
                  <a:gd name="T2" fmla="*/ 271 w 1585"/>
                  <a:gd name="T3" fmla="*/ 0 h 2552"/>
                  <a:gd name="T4" fmla="*/ 216 w 1585"/>
                  <a:gd name="T5" fmla="*/ 10 h 2552"/>
                  <a:gd name="T6" fmla="*/ 163 w 1585"/>
                  <a:gd name="T7" fmla="*/ 36 h 2552"/>
                  <a:gd name="T8" fmla="*/ 118 w 1585"/>
                  <a:gd name="T9" fmla="*/ 74 h 2552"/>
                  <a:gd name="T10" fmla="*/ 78 w 1585"/>
                  <a:gd name="T11" fmla="*/ 123 h 2552"/>
                  <a:gd name="T12" fmla="*/ 45 w 1585"/>
                  <a:gd name="T13" fmla="*/ 176 h 2552"/>
                  <a:gd name="T14" fmla="*/ 21 w 1585"/>
                  <a:gd name="T15" fmla="*/ 229 h 2552"/>
                  <a:gd name="T16" fmla="*/ 6 w 1585"/>
                  <a:gd name="T17" fmla="*/ 282 h 2552"/>
                  <a:gd name="T18" fmla="*/ 0 w 1585"/>
                  <a:gd name="T19" fmla="*/ 327 h 2552"/>
                  <a:gd name="T20" fmla="*/ 0 w 1585"/>
                  <a:gd name="T21" fmla="*/ 2344 h 2552"/>
                  <a:gd name="T22" fmla="*/ 6 w 1585"/>
                  <a:gd name="T23" fmla="*/ 2386 h 2552"/>
                  <a:gd name="T24" fmla="*/ 21 w 1585"/>
                  <a:gd name="T25" fmla="*/ 2425 h 2552"/>
                  <a:gd name="T26" fmla="*/ 45 w 1585"/>
                  <a:gd name="T27" fmla="*/ 2461 h 2552"/>
                  <a:gd name="T28" fmla="*/ 80 w 1585"/>
                  <a:gd name="T29" fmla="*/ 2491 h 2552"/>
                  <a:gd name="T30" fmla="*/ 119 w 1585"/>
                  <a:gd name="T31" fmla="*/ 2516 h 2552"/>
                  <a:gd name="T32" fmla="*/ 165 w 1585"/>
                  <a:gd name="T33" fmla="*/ 2535 h 2552"/>
                  <a:gd name="T34" fmla="*/ 216 w 1585"/>
                  <a:gd name="T35" fmla="*/ 2548 h 2552"/>
                  <a:gd name="T36" fmla="*/ 271 w 1585"/>
                  <a:gd name="T37" fmla="*/ 2552 h 2552"/>
                  <a:gd name="T38" fmla="*/ 1316 w 1585"/>
                  <a:gd name="T39" fmla="*/ 2552 h 2552"/>
                  <a:gd name="T40" fmla="*/ 1369 w 1585"/>
                  <a:gd name="T41" fmla="*/ 2548 h 2552"/>
                  <a:gd name="T42" fmla="*/ 1420 w 1585"/>
                  <a:gd name="T43" fmla="*/ 2535 h 2552"/>
                  <a:gd name="T44" fmla="*/ 1465 w 1585"/>
                  <a:gd name="T45" fmla="*/ 2516 h 2552"/>
                  <a:gd name="T46" fmla="*/ 1505 w 1585"/>
                  <a:gd name="T47" fmla="*/ 2491 h 2552"/>
                  <a:gd name="T48" fmla="*/ 1539 w 1585"/>
                  <a:gd name="T49" fmla="*/ 2461 h 2552"/>
                  <a:gd name="T50" fmla="*/ 1564 w 1585"/>
                  <a:gd name="T51" fmla="*/ 2425 h 2552"/>
                  <a:gd name="T52" fmla="*/ 1579 w 1585"/>
                  <a:gd name="T53" fmla="*/ 2386 h 2552"/>
                  <a:gd name="T54" fmla="*/ 1585 w 1585"/>
                  <a:gd name="T55" fmla="*/ 2344 h 2552"/>
                  <a:gd name="T56" fmla="*/ 1585 w 1585"/>
                  <a:gd name="T57" fmla="*/ 327 h 2552"/>
                  <a:gd name="T58" fmla="*/ 1579 w 1585"/>
                  <a:gd name="T59" fmla="*/ 282 h 2552"/>
                  <a:gd name="T60" fmla="*/ 1564 w 1585"/>
                  <a:gd name="T61" fmla="*/ 229 h 2552"/>
                  <a:gd name="T62" fmla="*/ 1539 w 1585"/>
                  <a:gd name="T63" fmla="*/ 176 h 2552"/>
                  <a:gd name="T64" fmla="*/ 1507 w 1585"/>
                  <a:gd name="T65" fmla="*/ 123 h 2552"/>
                  <a:gd name="T66" fmla="*/ 1469 w 1585"/>
                  <a:gd name="T67" fmla="*/ 74 h 2552"/>
                  <a:gd name="T68" fmla="*/ 1422 w 1585"/>
                  <a:gd name="T69" fmla="*/ 36 h 2552"/>
                  <a:gd name="T70" fmla="*/ 1371 w 1585"/>
                  <a:gd name="T71" fmla="*/ 10 h 2552"/>
                  <a:gd name="T72" fmla="*/ 1316 w 1585"/>
                  <a:gd name="T73" fmla="*/ 0 h 255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585"/>
                  <a:gd name="T112" fmla="*/ 0 h 2552"/>
                  <a:gd name="T113" fmla="*/ 1585 w 1585"/>
                  <a:gd name="T114" fmla="*/ 2552 h 2552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585" h="2552">
                    <a:moveTo>
                      <a:pt x="1316" y="0"/>
                    </a:moveTo>
                    <a:lnTo>
                      <a:pt x="271" y="0"/>
                    </a:lnTo>
                    <a:lnTo>
                      <a:pt x="216" y="10"/>
                    </a:lnTo>
                    <a:lnTo>
                      <a:pt x="163" y="36"/>
                    </a:lnTo>
                    <a:lnTo>
                      <a:pt x="118" y="74"/>
                    </a:lnTo>
                    <a:lnTo>
                      <a:pt x="78" y="123"/>
                    </a:lnTo>
                    <a:lnTo>
                      <a:pt x="45" y="176"/>
                    </a:lnTo>
                    <a:lnTo>
                      <a:pt x="21" y="229"/>
                    </a:lnTo>
                    <a:lnTo>
                      <a:pt x="6" y="282"/>
                    </a:lnTo>
                    <a:lnTo>
                      <a:pt x="0" y="327"/>
                    </a:lnTo>
                    <a:lnTo>
                      <a:pt x="0" y="2344"/>
                    </a:lnTo>
                    <a:lnTo>
                      <a:pt x="6" y="2386"/>
                    </a:lnTo>
                    <a:lnTo>
                      <a:pt x="21" y="2425"/>
                    </a:lnTo>
                    <a:lnTo>
                      <a:pt x="45" y="2461"/>
                    </a:lnTo>
                    <a:lnTo>
                      <a:pt x="80" y="2491"/>
                    </a:lnTo>
                    <a:lnTo>
                      <a:pt x="119" y="2516"/>
                    </a:lnTo>
                    <a:lnTo>
                      <a:pt x="165" y="2535"/>
                    </a:lnTo>
                    <a:lnTo>
                      <a:pt x="216" y="2548"/>
                    </a:lnTo>
                    <a:lnTo>
                      <a:pt x="271" y="2552"/>
                    </a:lnTo>
                    <a:lnTo>
                      <a:pt x="1316" y="2552"/>
                    </a:lnTo>
                    <a:lnTo>
                      <a:pt x="1369" y="2548"/>
                    </a:lnTo>
                    <a:lnTo>
                      <a:pt x="1420" y="2535"/>
                    </a:lnTo>
                    <a:lnTo>
                      <a:pt x="1465" y="2516"/>
                    </a:lnTo>
                    <a:lnTo>
                      <a:pt x="1505" y="2491"/>
                    </a:lnTo>
                    <a:lnTo>
                      <a:pt x="1539" y="2461"/>
                    </a:lnTo>
                    <a:lnTo>
                      <a:pt x="1564" y="2425"/>
                    </a:lnTo>
                    <a:lnTo>
                      <a:pt x="1579" y="2386"/>
                    </a:lnTo>
                    <a:lnTo>
                      <a:pt x="1585" y="2344"/>
                    </a:lnTo>
                    <a:lnTo>
                      <a:pt x="1585" y="327"/>
                    </a:lnTo>
                    <a:lnTo>
                      <a:pt x="1579" y="282"/>
                    </a:lnTo>
                    <a:lnTo>
                      <a:pt x="1564" y="229"/>
                    </a:lnTo>
                    <a:lnTo>
                      <a:pt x="1539" y="176"/>
                    </a:lnTo>
                    <a:lnTo>
                      <a:pt x="1507" y="123"/>
                    </a:lnTo>
                    <a:lnTo>
                      <a:pt x="1469" y="74"/>
                    </a:lnTo>
                    <a:lnTo>
                      <a:pt x="1422" y="36"/>
                    </a:lnTo>
                    <a:lnTo>
                      <a:pt x="1371" y="10"/>
                    </a:lnTo>
                    <a:lnTo>
                      <a:pt x="1316" y="0"/>
                    </a:lnTo>
                    <a:close/>
                  </a:path>
                </a:pathLst>
              </a:custGeom>
              <a:solidFill>
                <a:srgbClr val="0070C0">
                  <a:alpha val="43137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nb-NO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27" name="Gruppe 33"/>
          <p:cNvGrpSpPr/>
          <p:nvPr/>
        </p:nvGrpSpPr>
        <p:grpSpPr>
          <a:xfrm>
            <a:off x="7468810" y="4762709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834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109" name="Ellipse 522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835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111" name="Ellipse 524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112" name="Cirkel 525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113" name="Afrundet rektangel 526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108" name="Afrundet rektangel 521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838" name="Gruppe 33"/>
          <p:cNvGrpSpPr/>
          <p:nvPr/>
        </p:nvGrpSpPr>
        <p:grpSpPr>
          <a:xfrm>
            <a:off x="7137721" y="4762709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842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117" name="Ellipse 530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843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119" name="Ellipse 532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120" name="Cirkel 533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121" name="Afrundet rektangel 534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116" name="Afrundet rektangel 529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846" name="Gruppe 33"/>
          <p:cNvGrpSpPr/>
          <p:nvPr/>
        </p:nvGrpSpPr>
        <p:grpSpPr>
          <a:xfrm>
            <a:off x="7255204" y="4463661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850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125" name="Ellipse 538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851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127" name="Ellipse 540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128" name="Cirkel 541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129" name="Afrundet rektangel 542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124" name="Afrundet rektangel 537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854" name="Gruppe 33"/>
          <p:cNvGrpSpPr/>
          <p:nvPr/>
        </p:nvGrpSpPr>
        <p:grpSpPr>
          <a:xfrm>
            <a:off x="6881395" y="4784070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858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133" name="Ellipse 546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859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135" name="Ellipse 548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136" name="Cirkel 549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137" name="Afrundet rektangel 550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132" name="Afrundet rektangel 545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862" name="Gruppe 33"/>
          <p:cNvGrpSpPr/>
          <p:nvPr/>
        </p:nvGrpSpPr>
        <p:grpSpPr>
          <a:xfrm>
            <a:off x="6550306" y="4784070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28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141" name="Ellipse 554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29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143" name="Ellipse 556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144" name="Cirkel 557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145" name="Afrundet rektangel 558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140" name="Afrundet rektangel 553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30" name="Gruppe 33"/>
          <p:cNvGrpSpPr/>
          <p:nvPr/>
        </p:nvGrpSpPr>
        <p:grpSpPr>
          <a:xfrm>
            <a:off x="6219217" y="4773389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31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149" name="Ellipse 562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32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151" name="Ellipse 564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152" name="Cirkel 565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153" name="Afrundet rektangel 566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148" name="Afrundet rektangel 561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33" name="Gruppe 33"/>
          <p:cNvGrpSpPr/>
          <p:nvPr/>
        </p:nvGrpSpPr>
        <p:grpSpPr>
          <a:xfrm>
            <a:off x="6913435" y="4517063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34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157" name="Ellipse 570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35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159" name="Ellipse 572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160" name="Cirkel 573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161" name="Afrundet rektangel 574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156" name="Afrundet rektangel 569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36" name="Gruppe 33"/>
          <p:cNvGrpSpPr/>
          <p:nvPr/>
        </p:nvGrpSpPr>
        <p:grpSpPr>
          <a:xfrm>
            <a:off x="6603707" y="4463661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37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165" name="Ellipse 578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38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167" name="Ellipse 580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168" name="Cirkel 581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169" name="Afrundet rektangel 582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164" name="Afrundet rektangel 577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39" name="Gruppe 33"/>
          <p:cNvGrpSpPr/>
          <p:nvPr/>
        </p:nvGrpSpPr>
        <p:grpSpPr>
          <a:xfrm>
            <a:off x="6966837" y="4207335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40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173" name="Ellipse 586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41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175" name="Ellipse 588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176" name="Cirkel 589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177" name="Afrundet rektangel 590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172" name="Afrundet rektangel 585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42" name="Gruppe 33"/>
          <p:cNvGrpSpPr/>
          <p:nvPr/>
        </p:nvGrpSpPr>
        <p:grpSpPr>
          <a:xfrm>
            <a:off x="6016292" y="4666587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43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181" name="Ellipse 594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44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183" name="Ellipse 596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184" name="Cirkel 597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185" name="Afrundet rektangel 598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180" name="Afrundet rektangel 593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45" name="Gruppe 33"/>
          <p:cNvGrpSpPr/>
          <p:nvPr/>
        </p:nvGrpSpPr>
        <p:grpSpPr>
          <a:xfrm>
            <a:off x="6315340" y="4549104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46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189" name="Ellipse 602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47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191" name="Ellipse 604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192" name="Cirkel 605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193" name="Afrundet rektangel 606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188" name="Afrundet rektangel 601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48" name="Gruppe 33"/>
          <p:cNvGrpSpPr/>
          <p:nvPr/>
        </p:nvGrpSpPr>
        <p:grpSpPr>
          <a:xfrm>
            <a:off x="7233844" y="4292777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49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197" name="Ellipse 610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50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199" name="Ellipse 612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00" name="Cirkel 613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01" name="Afrundet rektangel 614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196" name="Afrundet rektangel 609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51" name="Gruppe 33"/>
          <p:cNvGrpSpPr/>
          <p:nvPr/>
        </p:nvGrpSpPr>
        <p:grpSpPr>
          <a:xfrm>
            <a:off x="7479490" y="4442301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53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205" name="Ellipse 618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54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207" name="Ellipse 620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08" name="Cirkel 621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09" name="Afrundet rektangel 622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204" name="Afrundet rektangel 617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55" name="Gruppe 33"/>
          <p:cNvGrpSpPr/>
          <p:nvPr/>
        </p:nvGrpSpPr>
        <p:grpSpPr>
          <a:xfrm>
            <a:off x="7468810" y="4175294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56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213" name="Ellipse 626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57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215" name="Ellipse 628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16" name="Cirkel 629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17" name="Afrundet rektangel 630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212" name="Afrundet rektangel 625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58" name="Gruppe 33"/>
          <p:cNvGrpSpPr/>
          <p:nvPr/>
        </p:nvGrpSpPr>
        <p:grpSpPr>
          <a:xfrm>
            <a:off x="6763911" y="3961688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59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221" name="Ellipse 634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866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223" name="Ellipse 636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24" name="Cirkel 637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25" name="Afrundet rektangel 638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220" name="Afrundet rektangel 633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867" name="Gruppe 33"/>
          <p:cNvGrpSpPr/>
          <p:nvPr/>
        </p:nvGrpSpPr>
        <p:grpSpPr>
          <a:xfrm>
            <a:off x="6966837" y="3619919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870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229" name="Ellipse 642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877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231" name="Ellipse 644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32" name="Cirkel 645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33" name="Afrundet rektangel 646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228" name="Afrundet rektangel 641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879" name="Gruppe 33"/>
          <p:cNvGrpSpPr/>
          <p:nvPr/>
        </p:nvGrpSpPr>
        <p:grpSpPr>
          <a:xfrm>
            <a:off x="6091054" y="4314137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882" name="Gruppe 165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237" name="Ellipse 650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883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239" name="Ellipse 652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40" name="Cirkel 653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41" name="Afrundet rektangel 654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236" name="Afrundet rektangel 649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886" name="Gruppe 33"/>
          <p:cNvGrpSpPr/>
          <p:nvPr/>
        </p:nvGrpSpPr>
        <p:grpSpPr>
          <a:xfrm>
            <a:off x="6422143" y="4207335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890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245" name="Ellipse 658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891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247" name="Ellipse 660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48" name="Cirkel 661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49" name="Afrundet rektangel 662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244" name="Afrundet rektangel 657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894" name="Gruppe 33"/>
          <p:cNvGrpSpPr/>
          <p:nvPr/>
        </p:nvGrpSpPr>
        <p:grpSpPr>
          <a:xfrm>
            <a:off x="7233844" y="3705361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898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253" name="Ellipse 666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899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255" name="Ellipse 668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56" name="Cirkel 669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57" name="Afrundet rektangel 670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252" name="Afrundet rektangel 665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902" name="Gruppe 33"/>
          <p:cNvGrpSpPr/>
          <p:nvPr/>
        </p:nvGrpSpPr>
        <p:grpSpPr>
          <a:xfrm>
            <a:off x="7479490" y="3854885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906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261" name="Ellipse 674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907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263" name="Ellipse 676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64" name="Cirkel 677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65" name="Afrundet rektangel 678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260" name="Afrundet rektangel 673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910" name="Gruppe 33"/>
          <p:cNvGrpSpPr/>
          <p:nvPr/>
        </p:nvGrpSpPr>
        <p:grpSpPr>
          <a:xfrm>
            <a:off x="7148402" y="3929647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914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269" name="Ellipse 682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915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271" name="Ellipse 684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72" name="Cirkel 685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73" name="Afrundet rektangel 686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268" name="Afrundet rektangel 681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918" name="Gruppe 687"/>
          <p:cNvGrpSpPr/>
          <p:nvPr/>
        </p:nvGrpSpPr>
        <p:grpSpPr>
          <a:xfrm>
            <a:off x="6635748" y="3694681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922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277" name="Ellipse 690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923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279" name="Ellipse 692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80" name="Cirkel 693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81" name="Afrundet rektangel 694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276" name="Afrundet rektangel 689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926" name="Gruppe 33"/>
          <p:cNvGrpSpPr/>
          <p:nvPr/>
        </p:nvGrpSpPr>
        <p:grpSpPr>
          <a:xfrm>
            <a:off x="7500851" y="3481075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930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285" name="Ellipse 698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931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287" name="Ellipse 700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88" name="Cirkel 701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89" name="Afrundet rektangel 702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284" name="Afrundet rektangel 697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934" name="Gruppe 33"/>
          <p:cNvGrpSpPr/>
          <p:nvPr/>
        </p:nvGrpSpPr>
        <p:grpSpPr>
          <a:xfrm>
            <a:off x="6646428" y="4218015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938" name="Gruppe 221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293" name="Ellipse 706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939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295" name="Ellipse 708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96" name="Cirkel 709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297" name="Afrundet rektangel 710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292" name="Afrundet rektangel 705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942" name="Gruppe 33"/>
          <p:cNvGrpSpPr/>
          <p:nvPr/>
        </p:nvGrpSpPr>
        <p:grpSpPr>
          <a:xfrm>
            <a:off x="6422143" y="3940328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946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301" name="Ellipse 714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947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303" name="Ellipse 716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04" name="Cirkel 717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05" name="Afrundet rektangel 718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300" name="Afrundet rektangel 713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950" name="Gruppe 33"/>
          <p:cNvGrpSpPr/>
          <p:nvPr/>
        </p:nvGrpSpPr>
        <p:grpSpPr>
          <a:xfrm>
            <a:off x="6913435" y="3459715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954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309" name="Ellipse 722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955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311" name="Ellipse 724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12" name="Cirkel 725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13" name="Afrundet rektangel 726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308" name="Afrundet rektangel 721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958" name="Gruppe 33"/>
          <p:cNvGrpSpPr/>
          <p:nvPr/>
        </p:nvGrpSpPr>
        <p:grpSpPr>
          <a:xfrm>
            <a:off x="7201803" y="3438354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962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317" name="Ellipse 730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963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319" name="Ellipse 732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20" name="Cirkel 733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21" name="Afrundet rektangel 734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316" name="Afrundet rektangel 729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sp>
        <p:nvSpPr>
          <p:cNvPr id="15443" name="Rektangel 735"/>
          <p:cNvSpPr>
            <a:spLocks noChangeArrowheads="1"/>
          </p:cNvSpPr>
          <p:nvPr/>
        </p:nvSpPr>
        <p:spPr bwMode="auto">
          <a:xfrm>
            <a:off x="6240463" y="1376363"/>
            <a:ext cx="1441450" cy="28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AR" sz="1600" b="1" noProof="1">
                <a:solidFill>
                  <a:srgbClr val="1E1C11"/>
                </a:solidFill>
                <a:latin typeface="Calibri" pitchFamily="34" charset="0"/>
                <a:cs typeface="Arial" pitchFamily="34" charset="0"/>
              </a:rPr>
              <a:t>Example text</a:t>
            </a:r>
          </a:p>
        </p:txBody>
      </p:sp>
      <p:sp>
        <p:nvSpPr>
          <p:cNvPr id="1323" name="Rektangel 736"/>
          <p:cNvSpPr/>
          <p:nvPr/>
        </p:nvSpPr>
        <p:spPr>
          <a:xfrm>
            <a:off x="6186488" y="1687513"/>
            <a:ext cx="1511300" cy="106362"/>
          </a:xfrm>
          <a:prstGeom prst="rect">
            <a:avLst/>
          </a:prstGeom>
          <a:gradFill>
            <a:gsLst>
              <a:gs pos="44000">
                <a:srgbClr val="1F497D">
                  <a:lumMod val="60000"/>
                  <a:lumOff val="40000"/>
                </a:srgbClr>
              </a:gs>
              <a:gs pos="100000">
                <a:srgbClr val="1F497D">
                  <a:lumMod val="75000"/>
                </a:srgbClr>
              </a:gs>
            </a:gsLst>
            <a:lin ang="10800000" scaled="1"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/>
            <a:endParaRPr lang="nb-NO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5445" name="Tekstboks 739"/>
          <p:cNvSpPr txBox="1">
            <a:spLocks noChangeArrowheads="1"/>
          </p:cNvSpPr>
          <p:nvPr/>
        </p:nvSpPr>
        <p:spPr bwMode="auto">
          <a:xfrm>
            <a:off x="4264025" y="5308600"/>
            <a:ext cx="75247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a-DK" sz="3200">
                <a:solidFill>
                  <a:srgbClr val="0070C0"/>
                </a:solidFill>
                <a:latin typeface="Calibri" pitchFamily="34" charset="0"/>
              </a:rPr>
              <a:t>50%</a:t>
            </a:r>
          </a:p>
        </p:txBody>
      </p:sp>
      <p:grpSp>
        <p:nvGrpSpPr>
          <p:cNvPr id="966" name="Gruppe 33"/>
          <p:cNvGrpSpPr/>
          <p:nvPr/>
        </p:nvGrpSpPr>
        <p:grpSpPr>
          <a:xfrm>
            <a:off x="3987039" y="3908287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970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328" name="Ellipse 743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971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330" name="Ellipse 745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31" name="Cirkel 746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32" name="Afrundet rektangel 747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327" name="Afrundet rektangel 742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974" name="Gruppe 33"/>
          <p:cNvGrpSpPr/>
          <p:nvPr/>
        </p:nvGrpSpPr>
        <p:grpSpPr>
          <a:xfrm>
            <a:off x="3655950" y="3983049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978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336" name="Ellipse 751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979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338" name="Ellipse 753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39" name="Cirkel 754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40" name="Afrundet rektangel 755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335" name="Afrundet rektangel 750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982" name="Gruppe 33"/>
          <p:cNvGrpSpPr/>
          <p:nvPr/>
        </p:nvGrpSpPr>
        <p:grpSpPr>
          <a:xfrm>
            <a:off x="4008399" y="3534477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986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344" name="Ellipse 759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987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346" name="Ellipse 761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47" name="Cirkel 762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48" name="Afrundet rektangel 763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343" name="Afrundet rektangel 758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990" name="Gruppe 33"/>
          <p:cNvGrpSpPr/>
          <p:nvPr/>
        </p:nvGrpSpPr>
        <p:grpSpPr>
          <a:xfrm>
            <a:off x="3730712" y="3684001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994" name="Gruppe 765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352" name="Ellipse 767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995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354" name="Ellipse 769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55" name="Cirkel 770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56" name="Afrundet rektangel 771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351" name="Afrundet rektangel 766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sp>
        <p:nvSpPr>
          <p:cNvPr id="15450" name="Tekstboks 772"/>
          <p:cNvSpPr txBox="1">
            <a:spLocks noChangeArrowheads="1"/>
          </p:cNvSpPr>
          <p:nvPr/>
        </p:nvSpPr>
        <p:spPr bwMode="auto">
          <a:xfrm>
            <a:off x="1700213" y="5308600"/>
            <a:ext cx="75247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a-DK" sz="3200">
                <a:solidFill>
                  <a:srgbClr val="0070C0"/>
                </a:solidFill>
                <a:latin typeface="Calibri" pitchFamily="34" charset="0"/>
              </a:rPr>
              <a:t>17%</a:t>
            </a:r>
          </a:p>
        </p:txBody>
      </p:sp>
      <p:sp>
        <p:nvSpPr>
          <p:cNvPr id="15451" name="Tekstboks 773"/>
          <p:cNvSpPr txBox="1">
            <a:spLocks noChangeArrowheads="1"/>
          </p:cNvSpPr>
          <p:nvPr/>
        </p:nvSpPr>
        <p:spPr bwMode="auto">
          <a:xfrm>
            <a:off x="6634163" y="5308600"/>
            <a:ext cx="754062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a-DK" sz="3200">
                <a:solidFill>
                  <a:srgbClr val="0070C0"/>
                </a:solidFill>
                <a:latin typeface="Calibri" pitchFamily="34" charset="0"/>
              </a:rPr>
              <a:t>70%</a:t>
            </a:r>
          </a:p>
        </p:txBody>
      </p:sp>
      <p:grpSp>
        <p:nvGrpSpPr>
          <p:cNvPr id="998" name="Gruppe 33"/>
          <p:cNvGrpSpPr/>
          <p:nvPr/>
        </p:nvGrpSpPr>
        <p:grpSpPr>
          <a:xfrm>
            <a:off x="7212483" y="3648271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002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362" name="Ellipse 777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003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364" name="Ellipse 779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65" name="Cirkel 780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66" name="Afrundet rektangel 781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361" name="Afrundet rektangel 776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006" name="Gruppe 33"/>
          <p:cNvGrpSpPr/>
          <p:nvPr/>
        </p:nvGrpSpPr>
        <p:grpSpPr>
          <a:xfrm>
            <a:off x="6870714" y="3701673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010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370" name="Ellipse 785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011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372" name="Ellipse 787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73" name="Cirkel 788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74" name="Afrundet rektangel 789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369" name="Afrundet rektangel 784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014" name="Gruppe 33"/>
          <p:cNvGrpSpPr/>
          <p:nvPr/>
        </p:nvGrpSpPr>
        <p:grpSpPr>
          <a:xfrm>
            <a:off x="6560986" y="3648271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018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378" name="Ellipse 793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019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380" name="Ellipse 795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81" name="Cirkel 796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82" name="Afrundet rektangel 797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377" name="Afrundet rektangel 792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022" name="Gruppe 33"/>
          <p:cNvGrpSpPr/>
          <p:nvPr/>
        </p:nvGrpSpPr>
        <p:grpSpPr>
          <a:xfrm>
            <a:off x="6924116" y="3391945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026" name="Gruppe 799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386" name="Ellipse 801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027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388" name="Ellipse 803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89" name="Cirkel 804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90" name="Afrundet rektangel 805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385" name="Afrundet rektangel 800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030" name="Gruppe 33"/>
          <p:cNvGrpSpPr/>
          <p:nvPr/>
        </p:nvGrpSpPr>
        <p:grpSpPr>
          <a:xfrm>
            <a:off x="6272619" y="3733714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034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394" name="Ellipse 809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035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396" name="Ellipse 811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97" name="Cirkel 812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398" name="Afrundet rektangel 813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393" name="Afrundet rektangel 808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038" name="Gruppe 33"/>
          <p:cNvGrpSpPr/>
          <p:nvPr/>
        </p:nvGrpSpPr>
        <p:grpSpPr>
          <a:xfrm>
            <a:off x="6678469" y="2996774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042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402" name="Ellipse 817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043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404" name="Ellipse 819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05" name="Cirkel 820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06" name="Afrundet rektangel 821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401" name="Afrundet rektangel 816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046" name="Gruppe 33"/>
          <p:cNvGrpSpPr/>
          <p:nvPr/>
        </p:nvGrpSpPr>
        <p:grpSpPr>
          <a:xfrm>
            <a:off x="7436769" y="3626911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050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410" name="Ellipse 825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051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412" name="Ellipse 827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13" name="Cirkel 828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14" name="Afrundet rektangel 829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409" name="Afrundet rektangel 824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054" name="Gruppe 33"/>
          <p:cNvGrpSpPr/>
          <p:nvPr/>
        </p:nvGrpSpPr>
        <p:grpSpPr>
          <a:xfrm>
            <a:off x="7426089" y="3359904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058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418" name="Ellipse 833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059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420" name="Ellipse 835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21" name="Cirkel 836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22" name="Afrundet rektangel 837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417" name="Afrundet rektangel 832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062" name="Gruppe 33"/>
          <p:cNvGrpSpPr/>
          <p:nvPr/>
        </p:nvGrpSpPr>
        <p:grpSpPr>
          <a:xfrm>
            <a:off x="6721190" y="3146298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066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426" name="Ellipse 841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067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428" name="Ellipse 843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29" name="Cirkel 844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30" name="Afrundet rektangel 845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425" name="Afrundet rektangel 840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070" name="Gruppe 33"/>
          <p:cNvGrpSpPr/>
          <p:nvPr/>
        </p:nvGrpSpPr>
        <p:grpSpPr>
          <a:xfrm>
            <a:off x="6924116" y="2804529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074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434" name="Ellipse 849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075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436" name="Ellipse 851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37" name="Cirkel 852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38" name="Afrundet rektangel 853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433" name="Afrundet rektangel 848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078" name="Gruppe 33"/>
          <p:cNvGrpSpPr/>
          <p:nvPr/>
        </p:nvGrpSpPr>
        <p:grpSpPr>
          <a:xfrm>
            <a:off x="6379421" y="3391945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082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442" name="Ellipse 857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083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444" name="Ellipse 859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45" name="Cirkel 860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46" name="Afrundet rektangel 861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441" name="Afrundet rektangel 856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086" name="Gruppe 33"/>
          <p:cNvGrpSpPr/>
          <p:nvPr/>
        </p:nvGrpSpPr>
        <p:grpSpPr>
          <a:xfrm>
            <a:off x="7191123" y="2889972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090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450" name="Ellipse 865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091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452" name="Ellipse 867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53" name="Cirkel 868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54" name="Afrundet rektangel 869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449" name="Afrundet rektangel 864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094" name="Gruppe 33"/>
          <p:cNvGrpSpPr/>
          <p:nvPr/>
        </p:nvGrpSpPr>
        <p:grpSpPr>
          <a:xfrm>
            <a:off x="7436769" y="3039495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101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458" name="Ellipse 873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103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460" name="Ellipse 875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61" name="Cirkel 876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62" name="Afrundet rektangel 877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457" name="Afrundet rektangel 872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106" name="Gruppe 33"/>
          <p:cNvGrpSpPr/>
          <p:nvPr/>
        </p:nvGrpSpPr>
        <p:grpSpPr>
          <a:xfrm>
            <a:off x="7105680" y="3114257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107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466" name="Ellipse 881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110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468" name="Ellipse 883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69" name="Cirkel 884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70" name="Afrundet rektangel 885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465" name="Afrundet rektangel 880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114" name="Gruppe 886"/>
          <p:cNvGrpSpPr/>
          <p:nvPr/>
        </p:nvGrpSpPr>
        <p:grpSpPr>
          <a:xfrm>
            <a:off x="6507585" y="2708407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115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474" name="Ellipse 889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118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476" name="Ellipse 891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77" name="Cirkel 892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78" name="Afrundet rektangel 893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473" name="Afrundet rektangel 888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122" name="Gruppe 33"/>
          <p:cNvGrpSpPr/>
          <p:nvPr/>
        </p:nvGrpSpPr>
        <p:grpSpPr>
          <a:xfrm>
            <a:off x="7458130" y="2665686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123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482" name="Ellipse 897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126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484" name="Ellipse 899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85" name="Cirkel 900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86" name="Afrundet rektangel 901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481" name="Afrundet rektangel 896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130" name="Gruppe 33"/>
          <p:cNvGrpSpPr/>
          <p:nvPr/>
        </p:nvGrpSpPr>
        <p:grpSpPr>
          <a:xfrm>
            <a:off x="6603707" y="3402625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131" name="Gruppe 221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490" name="Ellipse 905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134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492" name="Ellipse 907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93" name="Cirkel 908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494" name="Afrundet rektangel 909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489" name="Afrundet rektangel 904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138" name="Gruppe 33"/>
          <p:cNvGrpSpPr/>
          <p:nvPr/>
        </p:nvGrpSpPr>
        <p:grpSpPr>
          <a:xfrm>
            <a:off x="6379421" y="3124938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139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498" name="Ellipse 913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142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500" name="Ellipse 915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501" name="Cirkel 916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502" name="Afrundet rektangel 917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497" name="Afrundet rektangel 912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146" name="Gruppe 33"/>
          <p:cNvGrpSpPr/>
          <p:nvPr/>
        </p:nvGrpSpPr>
        <p:grpSpPr>
          <a:xfrm>
            <a:off x="6870714" y="2644325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147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506" name="Ellipse 921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150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508" name="Ellipse 923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509" name="Cirkel 924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510" name="Afrundet rektangel 925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505" name="Afrundet rektangel 920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154" name="Gruppe 33"/>
          <p:cNvGrpSpPr/>
          <p:nvPr/>
        </p:nvGrpSpPr>
        <p:grpSpPr>
          <a:xfrm>
            <a:off x="7159082" y="2622965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155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514" name="Ellipse 929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158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516" name="Ellipse 931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517" name="Cirkel 932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518" name="Afrundet rektangel 933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513" name="Afrundet rektangel 928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162" name="Gruppe 33"/>
          <p:cNvGrpSpPr/>
          <p:nvPr/>
        </p:nvGrpSpPr>
        <p:grpSpPr>
          <a:xfrm>
            <a:off x="6165816" y="4250056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163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522" name="Ellipse 937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166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524" name="Ellipse 939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525" name="Cirkel 940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526" name="Afrundet rektangel 941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521" name="Afrundet rektangel 936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170" name="Gruppe 33"/>
          <p:cNvGrpSpPr/>
          <p:nvPr/>
        </p:nvGrpSpPr>
        <p:grpSpPr>
          <a:xfrm>
            <a:off x="6080374" y="3886926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171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530" name="Ellipse 945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174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532" name="Ellipse 947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533" name="Cirkel 948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534" name="Afrundet rektangel 949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529" name="Afrundet rektangel 944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178" name="Gruppe 33"/>
          <p:cNvGrpSpPr/>
          <p:nvPr/>
        </p:nvGrpSpPr>
        <p:grpSpPr>
          <a:xfrm>
            <a:off x="6261938" y="2857931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179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538" name="Ellipse 953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182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540" name="Ellipse 955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541" name="Cirkel 956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542" name="Afrundet rektangel 957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537" name="Afrundet rektangel 952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186" name="Gruppe 33"/>
          <p:cNvGrpSpPr/>
          <p:nvPr/>
        </p:nvGrpSpPr>
        <p:grpSpPr>
          <a:xfrm>
            <a:off x="6080374" y="3520108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187" name="Gruppe 959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546" name="Ellipse 961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190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548" name="Ellipse 963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549" name="Cirkel 964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550" name="Afrundet rektangel 965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545" name="Afrundet rektangel 960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194" name="Gruppe 33"/>
          <p:cNvGrpSpPr/>
          <p:nvPr/>
        </p:nvGrpSpPr>
        <p:grpSpPr>
          <a:xfrm>
            <a:off x="6037652" y="3071536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195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554" name="Ellipse 969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198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556" name="Ellipse 971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557" name="Cirkel 972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558" name="Afrundet rektangel 973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553" name="Afrundet rektangel 968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202" name="Gruppe 33"/>
          <p:cNvGrpSpPr/>
          <p:nvPr/>
        </p:nvGrpSpPr>
        <p:grpSpPr>
          <a:xfrm>
            <a:off x="6091054" y="2580243"/>
            <a:ext cx="410716" cy="393527"/>
            <a:chOff x="3036488" y="4085037"/>
            <a:chExt cx="1831666" cy="17550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203" name="Gruppe 26"/>
            <p:cNvGrpSpPr/>
            <p:nvPr/>
          </p:nvGrpSpPr>
          <p:grpSpPr>
            <a:xfrm rot="17100000">
              <a:off x="3074816" y="4046709"/>
              <a:ext cx="1755009" cy="1831666"/>
              <a:chOff x="5822226" y="904672"/>
              <a:chExt cx="1755009" cy="1831666"/>
            </a:xfrm>
          </p:grpSpPr>
          <p:sp>
            <p:nvSpPr>
              <p:cNvPr id="1562" name="Ellipse 977"/>
              <p:cNvSpPr/>
              <p:nvPr/>
            </p:nvSpPr>
            <p:spPr>
              <a:xfrm rot="987532">
                <a:off x="5822226" y="1043726"/>
                <a:ext cx="1692612" cy="1692612"/>
              </a:xfrm>
              <a:prstGeom prst="ellipse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1206" name="Gruppe 10"/>
              <p:cNvGrpSpPr/>
              <p:nvPr/>
            </p:nvGrpSpPr>
            <p:grpSpPr>
              <a:xfrm rot="987532">
                <a:off x="5875506" y="904672"/>
                <a:ext cx="1701729" cy="1692613"/>
                <a:chOff x="5165387" y="2042808"/>
                <a:chExt cx="1701729" cy="1692613"/>
              </a:xfrm>
            </p:grpSpPr>
            <p:sp>
              <p:nvSpPr>
                <p:cNvPr id="1564" name="Ellipse 979"/>
                <p:cNvSpPr/>
                <p:nvPr/>
              </p:nvSpPr>
              <p:spPr>
                <a:xfrm>
                  <a:off x="5165387" y="2042809"/>
                  <a:ext cx="1692612" cy="1692612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565" name="Cirkel 980"/>
                <p:cNvSpPr/>
                <p:nvPr/>
              </p:nvSpPr>
              <p:spPr>
                <a:xfrm rot="16200000">
                  <a:off x="5175116" y="2042808"/>
                  <a:ext cx="1692000" cy="1692000"/>
                </a:xfrm>
                <a:prstGeom prst="pie">
                  <a:avLst>
                    <a:gd name="adj1" fmla="val 0"/>
                    <a:gd name="adj2" fmla="val 10822042"/>
                  </a:avLst>
                </a:prstGeom>
                <a:solidFill>
                  <a:sysClr val="window" lastClr="FFFFFF">
                    <a:lumMod val="85000"/>
                  </a:sysClr>
                </a:solidFill>
                <a:ln w="25400" cap="flat" cmpd="sng" algn="ctr">
                  <a:solidFill>
                    <a:sysClr val="window" lastClr="FFFFFF">
                      <a:lumMod val="85000"/>
                    </a:sysClr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  <p:sp>
              <p:nvSpPr>
                <p:cNvPr id="1566" name="Afrundet rektangel 981"/>
                <p:cNvSpPr/>
                <p:nvPr/>
              </p:nvSpPr>
              <p:spPr>
                <a:xfrm>
                  <a:off x="5879209" y="2095149"/>
                  <a:ext cx="295132" cy="1596001"/>
                </a:xfrm>
                <a:prstGeom prst="roundRect">
                  <a:avLst>
                    <a:gd name="adj" fmla="val 30435"/>
                  </a:avLst>
                </a:prstGeom>
                <a:solidFill>
                  <a:sysClr val="window" lastClr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" lastClr="FFFFFF"/>
                    </a:solidFill>
                    <a:latin typeface="Calibri"/>
                    <a:ea typeface="+mn-ea"/>
                  </a:endParaRPr>
                </a:p>
              </p:txBody>
            </p:sp>
          </p:grpSp>
        </p:grpSp>
        <p:sp>
          <p:nvSpPr>
            <p:cNvPr id="1561" name="Afrundet rektangel 976"/>
            <p:cNvSpPr/>
            <p:nvPr/>
          </p:nvSpPr>
          <p:spPr>
            <a:xfrm rot="18087532">
              <a:off x="3768620" y="4180406"/>
              <a:ext cx="177320" cy="1596001"/>
            </a:xfrm>
            <a:prstGeom prst="roundRect">
              <a:avLst>
                <a:gd name="adj" fmla="val 29719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3140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extBox 54"/>
          <p:cNvSpPr txBox="1">
            <a:spLocks noChangeArrowheads="1"/>
          </p:cNvSpPr>
          <p:nvPr/>
        </p:nvSpPr>
        <p:spPr bwMode="auto">
          <a:xfrm>
            <a:off x="314325" y="377825"/>
            <a:ext cx="58959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nb-NO" sz="1500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ANALYZE USING OUR </a:t>
            </a:r>
            <a:r>
              <a:rPr lang="nb-NO" sz="1500" b="1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RISK MATRIX</a:t>
            </a:r>
            <a:r>
              <a:rPr lang="nb-NO" sz="1500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!</a:t>
            </a:r>
            <a:endParaRPr lang="en-GB" sz="1500">
              <a:solidFill>
                <a:srgbClr val="26262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42" name="Rectangle 141"/>
          <p:cNvSpPr/>
          <p:nvPr/>
        </p:nvSpPr>
        <p:spPr>
          <a:xfrm>
            <a:off x="0" y="2652713"/>
            <a:ext cx="9144000" cy="2308225"/>
          </a:xfrm>
          <a:prstGeom prst="rect">
            <a:avLst/>
          </a:prstGeom>
          <a:gradFill rotWithShape="1">
            <a:gsLst>
              <a:gs pos="50000">
                <a:sysClr val="window" lastClr="FFFFFF"/>
              </a:gs>
              <a:gs pos="100000">
                <a:sysClr val="window" lastClr="FFFFFF">
                  <a:lumMod val="75000"/>
                </a:sysClr>
              </a:gs>
              <a:gs pos="74000">
                <a:sysClr val="window" lastClr="FFFFFF">
                  <a:lumMod val="95000"/>
                </a:sysClr>
              </a:gs>
            </a:gsLst>
            <a:lin ang="16200000" scaled="0"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latin typeface="Calibri" pitchFamily="34" charset="0"/>
            </a:endParaRPr>
          </a:p>
        </p:txBody>
      </p:sp>
      <p:grpSp>
        <p:nvGrpSpPr>
          <p:cNvPr id="2" name="Group 73"/>
          <p:cNvGrpSpPr/>
          <p:nvPr/>
        </p:nvGrpSpPr>
        <p:grpSpPr>
          <a:xfrm>
            <a:off x="4483100" y="1689100"/>
            <a:ext cx="2019300" cy="1612900"/>
            <a:chOff x="4495800" y="1244600"/>
            <a:chExt cx="2019300" cy="1612900"/>
          </a:xfrm>
          <a:effectLst>
            <a:outerShdw blurRad="50800" dist="38100" dir="2700000">
              <a:srgbClr val="000000">
                <a:alpha val="43000"/>
              </a:srgbClr>
            </a:outerShdw>
          </a:effectLst>
        </p:grpSpPr>
        <p:sp>
          <p:nvSpPr>
            <p:cNvPr id="144" name="Rounded Rectangle 143"/>
            <p:cNvSpPr/>
            <p:nvPr/>
          </p:nvSpPr>
          <p:spPr>
            <a:xfrm>
              <a:off x="4521200" y="1270000"/>
              <a:ext cx="1981200" cy="1587500"/>
            </a:xfrm>
            <a:prstGeom prst="roundRect">
              <a:avLst>
                <a:gd name="adj" fmla="val 8667"/>
              </a:avLst>
            </a:prstGeom>
            <a:gradFill rotWithShape="1">
              <a:gsLst>
                <a:gs pos="0">
                  <a:srgbClr val="1F497D">
                    <a:lumMod val="50000"/>
                  </a:srgbClr>
                </a:gs>
                <a:gs pos="80000">
                  <a:srgbClr val="1F497D">
                    <a:lumMod val="75000"/>
                  </a:srgbClr>
                </a:gs>
                <a:gs pos="100000">
                  <a:srgbClr val="1F497D">
                    <a:lumMod val="7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1F497D">
                  <a:lumMod val="50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145" name="Rounded Rectangle 144"/>
            <p:cNvSpPr/>
            <p:nvPr/>
          </p:nvSpPr>
          <p:spPr>
            <a:xfrm>
              <a:off x="4521200" y="1244600"/>
              <a:ext cx="1981200" cy="1587500"/>
            </a:xfrm>
            <a:prstGeom prst="roundRect">
              <a:avLst>
                <a:gd name="adj" fmla="val 8667"/>
              </a:avLst>
            </a:prstGeom>
            <a:gradFill rotWithShape="1">
              <a:gsLst>
                <a:gs pos="19000">
                  <a:srgbClr val="1F497D">
                    <a:lumMod val="50000"/>
                  </a:srgbClr>
                </a:gs>
                <a:gs pos="100000">
                  <a:srgbClr val="1F497D">
                    <a:lumMod val="50000"/>
                  </a:srgbClr>
                </a:gs>
                <a:gs pos="89000">
                  <a:srgbClr val="1F497D">
                    <a:lumMod val="40000"/>
                    <a:lumOff val="6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1F497D">
                  <a:lumMod val="50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  <a:softEdge rad="76200"/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146" name="Rounded Rectangle 145"/>
            <p:cNvSpPr/>
            <p:nvPr/>
          </p:nvSpPr>
          <p:spPr>
            <a:xfrm>
              <a:off x="4495800" y="1270000"/>
              <a:ext cx="2006600" cy="901700"/>
            </a:xfrm>
            <a:prstGeom prst="roundRect">
              <a:avLst/>
            </a:prstGeom>
            <a:gradFill flip="none" rotWithShape="1">
              <a:gsLst>
                <a:gs pos="0">
                  <a:sysClr val="window" lastClr="FFFFFF">
                    <a:alpha val="16000"/>
                  </a:sysClr>
                </a:gs>
                <a:gs pos="100000">
                  <a:srgbClr val="FFFFFF">
                    <a:alpha val="4000"/>
                  </a:srgbClr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147" name="TextBox 146"/>
            <p:cNvSpPr txBox="1"/>
            <p:nvPr/>
          </p:nvSpPr>
          <p:spPr>
            <a:xfrm>
              <a:off x="4508500" y="1828800"/>
              <a:ext cx="2006600" cy="553998"/>
            </a:xfrm>
            <a:prstGeom prst="rect">
              <a:avLst/>
            </a:prstGeom>
            <a:noFill/>
            <a:effectLst>
              <a:outerShdw blurRad="50800" dist="38100" dir="2700000">
                <a:srgbClr val="000000">
                  <a:alpha val="43000"/>
                </a:srgbClr>
              </a:outerShdw>
            </a:effectLst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>
                  <a:solidFill>
                    <a:srgbClr val="FFFFFF"/>
                  </a:solidFill>
                  <a:latin typeface="Calibri"/>
                  <a:ea typeface="ＭＳ Ｐゴシック" pitchFamily="-109" charset="-128"/>
                  <a:cs typeface="Calibri"/>
                </a:rPr>
                <a:t>HIGH IMPACT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b="1" kern="0" dirty="0">
                  <a:solidFill>
                    <a:srgbClr val="FFFFFF"/>
                  </a:solidFill>
                  <a:latin typeface="Calibri"/>
                  <a:ea typeface="ＭＳ Ｐゴシック" pitchFamily="-109" charset="-128"/>
                  <a:cs typeface="Calibri"/>
                </a:rPr>
                <a:t>MEDIUM RISK</a:t>
              </a:r>
            </a:p>
          </p:txBody>
        </p:sp>
      </p:grpSp>
      <p:grpSp>
        <p:nvGrpSpPr>
          <p:cNvPr id="3" name="Group 76"/>
          <p:cNvGrpSpPr/>
          <p:nvPr/>
        </p:nvGrpSpPr>
        <p:grpSpPr>
          <a:xfrm>
            <a:off x="2413000" y="1689100"/>
            <a:ext cx="2070100" cy="1612900"/>
            <a:chOff x="2425700" y="1244600"/>
            <a:chExt cx="2070100" cy="1612900"/>
          </a:xfrm>
          <a:effectLst>
            <a:outerShdw blurRad="50800" dist="38100" dir="2700000">
              <a:srgbClr val="000000">
                <a:alpha val="43000"/>
              </a:srgbClr>
            </a:outerShdw>
          </a:effectLst>
        </p:grpSpPr>
        <p:grpSp>
          <p:nvGrpSpPr>
            <p:cNvPr id="4" name="Group 74"/>
            <p:cNvGrpSpPr/>
            <p:nvPr/>
          </p:nvGrpSpPr>
          <p:grpSpPr>
            <a:xfrm>
              <a:off x="2451100" y="1244600"/>
              <a:ext cx="2006600" cy="1612900"/>
              <a:chOff x="2451100" y="1244600"/>
              <a:chExt cx="2006600" cy="1612900"/>
            </a:xfrm>
          </p:grpSpPr>
          <p:sp>
            <p:nvSpPr>
              <p:cNvPr id="151" name="Rounded Rectangle 150"/>
              <p:cNvSpPr/>
              <p:nvPr/>
            </p:nvSpPr>
            <p:spPr>
              <a:xfrm>
                <a:off x="2463800" y="1270000"/>
                <a:ext cx="1981200" cy="1587500"/>
              </a:xfrm>
              <a:prstGeom prst="roundRect">
                <a:avLst>
                  <a:gd name="adj" fmla="val 8667"/>
                </a:avLst>
              </a:prstGeom>
              <a:gradFill rotWithShape="1">
                <a:gsLst>
                  <a:gs pos="0">
                    <a:srgbClr val="1F497D">
                      <a:lumMod val="75000"/>
                    </a:srgbClr>
                  </a:gs>
                  <a:gs pos="80000">
                    <a:srgbClr val="1F497D">
                      <a:lumMod val="75000"/>
                    </a:srgbClr>
                  </a:gs>
                  <a:gs pos="100000">
                    <a:srgbClr val="1F497D">
                      <a:lumMod val="7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1F497D">
                    <a:lumMod val="50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152" name="Rounded Rectangle 151"/>
              <p:cNvSpPr/>
              <p:nvPr/>
            </p:nvSpPr>
            <p:spPr>
              <a:xfrm>
                <a:off x="2463800" y="1244600"/>
                <a:ext cx="1981200" cy="1587500"/>
              </a:xfrm>
              <a:prstGeom prst="roundRect">
                <a:avLst>
                  <a:gd name="adj" fmla="val 8667"/>
                </a:avLst>
              </a:prstGeom>
              <a:gradFill rotWithShape="1">
                <a:gsLst>
                  <a:gs pos="9000">
                    <a:srgbClr val="1F497D">
                      <a:lumMod val="75000"/>
                    </a:srgbClr>
                  </a:gs>
                  <a:gs pos="90000">
                    <a:srgbClr val="1F497D">
                      <a:lumMod val="40000"/>
                      <a:lumOff val="60000"/>
                    </a:srgbClr>
                  </a:gs>
                  <a:gs pos="100000">
                    <a:srgbClr val="1F497D">
                      <a:lumMod val="50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1F497D">
                    <a:lumMod val="50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  <a:softEdge rad="76200"/>
              </a:effectLst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153" name="TextBox 152"/>
              <p:cNvSpPr txBox="1"/>
              <p:nvPr/>
            </p:nvSpPr>
            <p:spPr>
              <a:xfrm>
                <a:off x="2451100" y="1828800"/>
                <a:ext cx="2006600" cy="553998"/>
              </a:xfrm>
              <a:prstGeom prst="rect">
                <a:avLst/>
              </a:prstGeom>
              <a:noFill/>
              <a:effectLst>
                <a:outerShdw blurRad="50800" dist="38100" dir="2700000">
                  <a:srgbClr val="000000">
                    <a:alpha val="43000"/>
                  </a:srgbClr>
                </a:outerShdw>
              </a:effectLst>
            </p:spPr>
            <p:txBody>
              <a:bodyPr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kern="0" dirty="0">
                    <a:solidFill>
                      <a:srgbClr val="FFFFFF"/>
                    </a:solidFill>
                    <a:latin typeface="Calibri"/>
                    <a:ea typeface="ＭＳ Ｐゴシック" pitchFamily="-109" charset="-128"/>
                    <a:cs typeface="Calibri"/>
                  </a:rPr>
                  <a:t>HIGH IMPACT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b="1" kern="0" dirty="0">
                    <a:solidFill>
                      <a:srgbClr val="FFFFFF"/>
                    </a:solidFill>
                    <a:latin typeface="Calibri"/>
                    <a:ea typeface="ＭＳ Ｐゴシック" pitchFamily="-109" charset="-128"/>
                    <a:cs typeface="Calibri"/>
                  </a:rPr>
                  <a:t>HIGH RISK</a:t>
                </a:r>
              </a:p>
            </p:txBody>
          </p:sp>
        </p:grpSp>
        <p:sp>
          <p:nvSpPr>
            <p:cNvPr id="150" name="Rounded Rectangle 149"/>
            <p:cNvSpPr/>
            <p:nvPr/>
          </p:nvSpPr>
          <p:spPr>
            <a:xfrm>
              <a:off x="2425700" y="1257300"/>
              <a:ext cx="2070100" cy="914400"/>
            </a:xfrm>
            <a:prstGeom prst="roundRect">
              <a:avLst/>
            </a:prstGeom>
            <a:gradFill flip="none" rotWithShape="1">
              <a:gsLst>
                <a:gs pos="0">
                  <a:sysClr val="window" lastClr="FFFFFF">
                    <a:alpha val="16000"/>
                  </a:sysClr>
                </a:gs>
                <a:gs pos="100000">
                  <a:srgbClr val="FFFFFF">
                    <a:alpha val="29000"/>
                  </a:srgbClr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5" name="Group 75"/>
          <p:cNvGrpSpPr/>
          <p:nvPr/>
        </p:nvGrpSpPr>
        <p:grpSpPr>
          <a:xfrm>
            <a:off x="2438400" y="3352800"/>
            <a:ext cx="2006600" cy="1625600"/>
            <a:chOff x="2451100" y="2908300"/>
            <a:chExt cx="2006600" cy="1625600"/>
          </a:xfrm>
          <a:effectLst>
            <a:outerShdw blurRad="50800" dist="38100" dir="2700000">
              <a:srgbClr val="000000">
                <a:alpha val="43000"/>
              </a:srgbClr>
            </a:outerShdw>
          </a:effectLst>
        </p:grpSpPr>
        <p:sp>
          <p:nvSpPr>
            <p:cNvPr id="155" name="Rounded Rectangle 154"/>
            <p:cNvSpPr/>
            <p:nvPr/>
          </p:nvSpPr>
          <p:spPr>
            <a:xfrm>
              <a:off x="2463800" y="2946400"/>
              <a:ext cx="1981200" cy="1587500"/>
            </a:xfrm>
            <a:prstGeom prst="roundRect">
              <a:avLst>
                <a:gd name="adj" fmla="val 8667"/>
              </a:avLst>
            </a:prstGeom>
            <a:gradFill flip="none" rotWithShape="1">
              <a:gsLst>
                <a:gs pos="0">
                  <a:sysClr val="windowText" lastClr="000000">
                    <a:lumMod val="85000"/>
                    <a:lumOff val="15000"/>
                  </a:sysClr>
                </a:gs>
                <a:gs pos="100000">
                  <a:sysClr val="windowText" lastClr="000000">
                    <a:lumMod val="85000"/>
                    <a:lumOff val="15000"/>
                  </a:sysClr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156" name="Rounded Rectangle 155"/>
            <p:cNvSpPr/>
            <p:nvPr/>
          </p:nvSpPr>
          <p:spPr>
            <a:xfrm>
              <a:off x="2463800" y="2908300"/>
              <a:ext cx="1981200" cy="1612900"/>
            </a:xfrm>
            <a:prstGeom prst="roundRect">
              <a:avLst>
                <a:gd name="adj" fmla="val 8667"/>
              </a:avLst>
            </a:prstGeom>
            <a:gradFill flip="none" rotWithShape="1">
              <a:gsLst>
                <a:gs pos="86000">
                  <a:sysClr val="windowText" lastClr="000000">
                    <a:lumMod val="50000"/>
                    <a:lumOff val="50000"/>
                  </a:sysClr>
                </a:gs>
                <a:gs pos="3000">
                  <a:sysClr val="windowText" lastClr="000000">
                    <a:lumMod val="85000"/>
                    <a:lumOff val="15000"/>
                  </a:sysClr>
                </a:gs>
                <a:gs pos="100000">
                  <a:sysClr val="windowText" lastClr="000000">
                    <a:lumMod val="85000"/>
                    <a:lumOff val="15000"/>
                  </a:sysClr>
                </a:gs>
              </a:gsLst>
              <a:lin ang="16200000" scaled="0"/>
              <a:tileRect/>
            </a:gradFill>
            <a:ln w="9525" cap="flat" cmpd="sng" algn="ctr">
              <a:solidFill>
                <a:srgbClr val="1F497D">
                  <a:lumMod val="50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  <a:softEdge rad="50800"/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157" name="Rounded Rectangle 156"/>
            <p:cNvSpPr/>
            <p:nvPr/>
          </p:nvSpPr>
          <p:spPr>
            <a:xfrm>
              <a:off x="2463800" y="2946400"/>
              <a:ext cx="1993899" cy="838200"/>
            </a:xfrm>
            <a:prstGeom prst="roundRect">
              <a:avLst/>
            </a:prstGeom>
            <a:gradFill flip="none" rotWithShape="1">
              <a:gsLst>
                <a:gs pos="0">
                  <a:sysClr val="windowText" lastClr="000000">
                    <a:lumMod val="75000"/>
                    <a:lumOff val="25000"/>
                    <a:alpha val="15000"/>
                  </a:sysClr>
                </a:gs>
                <a:gs pos="100000">
                  <a:srgbClr val="FFFFFF">
                    <a:alpha val="14000"/>
                  </a:srgbClr>
                </a:gs>
              </a:gsLst>
              <a:lin ang="5400000" scaled="0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158" name="TextBox 157"/>
            <p:cNvSpPr txBox="1"/>
            <p:nvPr/>
          </p:nvSpPr>
          <p:spPr>
            <a:xfrm>
              <a:off x="2451100" y="3505200"/>
              <a:ext cx="2006600" cy="553998"/>
            </a:xfrm>
            <a:prstGeom prst="rect">
              <a:avLst/>
            </a:prstGeom>
            <a:noFill/>
            <a:effectLst>
              <a:outerShdw blurRad="50800" dist="38100" dir="2700000">
                <a:srgbClr val="000000">
                  <a:alpha val="43000"/>
                </a:srgbClr>
              </a:outerShdw>
            </a:effectLst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>
                  <a:solidFill>
                    <a:srgbClr val="FFFFFF"/>
                  </a:solidFill>
                  <a:latin typeface="Calibri"/>
                  <a:ea typeface="ＭＳ Ｐゴシック" pitchFamily="-109" charset="-128"/>
                  <a:cs typeface="Calibri"/>
                </a:rPr>
                <a:t>LOW IMPACT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b="1" kern="0" dirty="0">
                  <a:solidFill>
                    <a:srgbClr val="FFFFFF"/>
                  </a:solidFill>
                  <a:latin typeface="Calibri"/>
                  <a:ea typeface="ＭＳ Ｐゴシック" pitchFamily="-109" charset="-128"/>
                  <a:cs typeface="Calibri"/>
                </a:rPr>
                <a:t>MEDIUM RISK</a:t>
              </a:r>
            </a:p>
          </p:txBody>
        </p:sp>
      </p:grpSp>
      <p:grpSp>
        <p:nvGrpSpPr>
          <p:cNvPr id="6" name="Group 72"/>
          <p:cNvGrpSpPr/>
          <p:nvPr/>
        </p:nvGrpSpPr>
        <p:grpSpPr>
          <a:xfrm>
            <a:off x="4508500" y="3365500"/>
            <a:ext cx="2006600" cy="1612900"/>
            <a:chOff x="4521200" y="2921000"/>
            <a:chExt cx="2006600" cy="1612900"/>
          </a:xfrm>
          <a:effectLst>
            <a:outerShdw blurRad="50800" dist="38100" dir="2700000">
              <a:srgbClr val="000000">
                <a:alpha val="43000"/>
              </a:srgbClr>
            </a:outerShdw>
          </a:effectLst>
        </p:grpSpPr>
        <p:sp>
          <p:nvSpPr>
            <p:cNvPr id="160" name="Rounded Rectangle 159"/>
            <p:cNvSpPr/>
            <p:nvPr/>
          </p:nvSpPr>
          <p:spPr>
            <a:xfrm>
              <a:off x="4533900" y="2946400"/>
              <a:ext cx="1981200" cy="1587500"/>
            </a:xfrm>
            <a:prstGeom prst="roundRect">
              <a:avLst>
                <a:gd name="adj" fmla="val 8667"/>
              </a:avLst>
            </a:prstGeom>
            <a:solidFill>
              <a:sysClr val="window" lastClr="FFFFFF">
                <a:lumMod val="50000"/>
              </a:sysClr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161" name="Rounded Rectangle 160"/>
            <p:cNvSpPr/>
            <p:nvPr/>
          </p:nvSpPr>
          <p:spPr>
            <a:xfrm>
              <a:off x="4533900" y="2921000"/>
              <a:ext cx="1981200" cy="1612900"/>
            </a:xfrm>
            <a:prstGeom prst="roundRect">
              <a:avLst>
                <a:gd name="adj" fmla="val 8667"/>
              </a:avLst>
            </a:prstGeom>
            <a:gradFill rotWithShape="1">
              <a:gsLst>
                <a:gs pos="10000">
                  <a:sysClr val="window" lastClr="FFFFFF">
                    <a:lumMod val="50000"/>
                  </a:sysClr>
                </a:gs>
                <a:gs pos="8800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50000"/>
                  </a:sysClr>
                </a:gs>
              </a:gsLst>
              <a:lin ang="16200000" scaled="0"/>
            </a:gradFill>
            <a:ln w="9525" cap="flat" cmpd="sng" algn="ctr">
              <a:solidFill>
                <a:srgbClr val="1F497D">
                  <a:lumMod val="50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  <a:softEdge rad="50800"/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162" name="Rounded Rectangle 161"/>
            <p:cNvSpPr/>
            <p:nvPr/>
          </p:nvSpPr>
          <p:spPr>
            <a:xfrm>
              <a:off x="4533900" y="2933700"/>
              <a:ext cx="1993900" cy="850900"/>
            </a:xfrm>
            <a:prstGeom prst="roundRect">
              <a:avLst/>
            </a:prstGeom>
            <a:gradFill flip="none" rotWithShape="1">
              <a:gsLst>
                <a:gs pos="0">
                  <a:sysClr val="window" lastClr="FFFFFF">
                    <a:alpha val="13000"/>
                  </a:sysClr>
                </a:gs>
                <a:gs pos="100000">
                  <a:srgbClr val="FFFFFF">
                    <a:alpha val="37000"/>
                  </a:srgbClr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163" name="TextBox 162"/>
            <p:cNvSpPr txBox="1"/>
            <p:nvPr/>
          </p:nvSpPr>
          <p:spPr>
            <a:xfrm>
              <a:off x="4521200" y="3505200"/>
              <a:ext cx="2006600" cy="553998"/>
            </a:xfrm>
            <a:prstGeom prst="rect">
              <a:avLst/>
            </a:prstGeom>
            <a:noFill/>
            <a:effectLst>
              <a:outerShdw blurRad="50800" dist="38100" dir="2700000">
                <a:srgbClr val="000000">
                  <a:alpha val="43000"/>
                </a:srgbClr>
              </a:outerShdw>
            </a:effectLst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>
                  <a:solidFill>
                    <a:srgbClr val="262626"/>
                  </a:solidFill>
                  <a:latin typeface="Calibri"/>
                  <a:ea typeface="ＭＳ Ｐゴシック" pitchFamily="-109" charset="-128"/>
                  <a:cs typeface="Calibri"/>
                </a:rPr>
                <a:t>LOW IMPACT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b="1" kern="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Calibri"/>
                  <a:ea typeface="ＭＳ Ｐゴシック" pitchFamily="-109" charset="-128"/>
                  <a:cs typeface="Calibri"/>
                </a:rPr>
                <a:t>LOW RISK</a:t>
              </a:r>
            </a:p>
          </p:txBody>
        </p:sp>
      </p:grpSp>
      <p:sp>
        <p:nvSpPr>
          <p:cNvPr id="16393" name="Tekstboks 35"/>
          <p:cNvSpPr txBox="1">
            <a:spLocks noChangeArrowheads="1"/>
          </p:cNvSpPr>
          <p:nvPr/>
        </p:nvSpPr>
        <p:spPr bwMode="auto">
          <a:xfrm>
            <a:off x="6613525" y="2392363"/>
            <a:ext cx="11477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>
                <a:latin typeface="Calibri" pitchFamily="34" charset="0"/>
              </a:rPr>
              <a:t>Example text</a:t>
            </a:r>
          </a:p>
        </p:txBody>
      </p:sp>
      <p:sp>
        <p:nvSpPr>
          <p:cNvPr id="16394" name="Tekstboks 36"/>
          <p:cNvSpPr txBox="1">
            <a:spLocks noChangeArrowheads="1"/>
          </p:cNvSpPr>
          <p:nvPr/>
        </p:nvSpPr>
        <p:spPr bwMode="auto">
          <a:xfrm>
            <a:off x="6613525" y="4054475"/>
            <a:ext cx="11477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>
                <a:latin typeface="Calibri" pitchFamily="34" charset="0"/>
              </a:rPr>
              <a:t>Example text</a:t>
            </a:r>
          </a:p>
        </p:txBody>
      </p:sp>
      <p:sp>
        <p:nvSpPr>
          <p:cNvPr id="166" name="Rounded Rectangle 165"/>
          <p:cNvSpPr>
            <a:spLocks noChangeArrowheads="1"/>
          </p:cNvSpPr>
          <p:nvPr/>
        </p:nvSpPr>
        <p:spPr bwMode="auto">
          <a:xfrm>
            <a:off x="4533900" y="4965700"/>
            <a:ext cx="1968500" cy="736600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7F7F7F">
                  <a:alpha val="60999"/>
                </a:srgbClr>
              </a:gs>
              <a:gs pos="37000">
                <a:srgbClr val="FFFFFF">
                  <a:alpha val="38429"/>
                </a:srgbClr>
              </a:gs>
              <a:gs pos="100000">
                <a:srgbClr val="FFFFFF">
                  <a:alpha val="0"/>
                </a:srgbClr>
              </a:gs>
            </a:gsLst>
            <a:lin ang="5400000"/>
          </a:gradFill>
          <a:ln w="9525">
            <a:noFill/>
            <a:round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nb-NO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67" name="Rounded Rectangle 166"/>
          <p:cNvSpPr>
            <a:spLocks noChangeArrowheads="1"/>
          </p:cNvSpPr>
          <p:nvPr/>
        </p:nvSpPr>
        <p:spPr bwMode="auto">
          <a:xfrm>
            <a:off x="2476500" y="4965700"/>
            <a:ext cx="1968500" cy="736600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262626">
                  <a:alpha val="60999"/>
                </a:srgbClr>
              </a:gs>
              <a:gs pos="999">
                <a:srgbClr val="262626">
                  <a:alpha val="60389"/>
                </a:srgbClr>
              </a:gs>
              <a:gs pos="100000">
                <a:srgbClr val="FFFFFF">
                  <a:alpha val="0"/>
                </a:srgbClr>
              </a:gs>
            </a:gsLst>
            <a:lin ang="5400000"/>
          </a:gradFill>
          <a:ln w="9525">
            <a:noFill/>
            <a:round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nb-NO">
              <a:solidFill>
                <a:srgbClr val="FFFFFF"/>
              </a:solidFill>
              <a:latin typeface="Calibri" pitchFamily="34" charset="0"/>
            </a:endParaRPr>
          </a:p>
        </p:txBody>
      </p:sp>
      <p:grpSp>
        <p:nvGrpSpPr>
          <p:cNvPr id="7" name="Group 41"/>
          <p:cNvGrpSpPr/>
          <p:nvPr/>
        </p:nvGrpSpPr>
        <p:grpSpPr>
          <a:xfrm>
            <a:off x="1878012" y="1397001"/>
            <a:ext cx="5815544" cy="4135435"/>
            <a:chOff x="938212" y="878945"/>
            <a:chExt cx="6669088" cy="4742391"/>
          </a:xfrm>
          <a:effectLst>
            <a:outerShdw blurRad="50800" dist="25400" dir="2700000">
              <a:srgbClr val="000000">
                <a:alpha val="43000"/>
              </a:srgbClr>
            </a:outerShdw>
          </a:effectLst>
        </p:grpSpPr>
        <p:grpSp>
          <p:nvGrpSpPr>
            <p:cNvPr id="8" name="Gruppe 33"/>
            <p:cNvGrpSpPr>
              <a:grpSpLocks/>
            </p:cNvGrpSpPr>
            <p:nvPr/>
          </p:nvGrpSpPr>
          <p:grpSpPr bwMode="auto">
            <a:xfrm>
              <a:off x="938212" y="878945"/>
              <a:ext cx="5725463" cy="4742391"/>
              <a:chOff x="571473" y="1394869"/>
              <a:chExt cx="5725614" cy="4742408"/>
            </a:xfrm>
          </p:grpSpPr>
          <p:sp>
            <p:nvSpPr>
              <p:cNvPr id="171" name="Højrepil 111"/>
              <p:cNvSpPr/>
              <p:nvPr/>
            </p:nvSpPr>
            <p:spPr bwMode="auto">
              <a:xfrm>
                <a:off x="749279" y="5565776"/>
                <a:ext cx="5547808" cy="571501"/>
              </a:xfrm>
              <a:prstGeom prst="rightArrow">
                <a:avLst>
                  <a:gd name="adj1" fmla="val 36666"/>
                  <a:gd name="adj2" fmla="val 50000"/>
                </a:avLst>
              </a:prstGeom>
              <a:gradFill flip="none" rotWithShape="1">
                <a:gsLst>
                  <a:gs pos="0">
                    <a:sysClr val="windowText" lastClr="000000">
                      <a:lumMod val="50000"/>
                      <a:lumOff val="50000"/>
                    </a:sysClr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0800000" scaled="0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kern="0">
                  <a:solidFill>
                    <a:srgbClr val="FFFFFF"/>
                  </a:solidFill>
                  <a:latin typeface="Calibri" pitchFamily="-109" charset="0"/>
                  <a:ea typeface="ＭＳ Ｐゴシック" pitchFamily="-109" charset="-128"/>
                  <a:cs typeface="ＭＳ Ｐゴシック" pitchFamily="-109" charset="-128"/>
                </a:endParaRPr>
              </a:p>
            </p:txBody>
          </p:sp>
          <p:sp>
            <p:nvSpPr>
              <p:cNvPr id="172" name="Højrepil 111"/>
              <p:cNvSpPr/>
              <p:nvPr/>
            </p:nvSpPr>
            <p:spPr bwMode="auto">
              <a:xfrm rot="16200000">
                <a:off x="-1409992" y="3376334"/>
                <a:ext cx="4534446" cy="571515"/>
              </a:xfrm>
              <a:prstGeom prst="rightArrow">
                <a:avLst>
                  <a:gd name="adj1" fmla="val 36666"/>
                  <a:gd name="adj2" fmla="val 50000"/>
                </a:avLst>
              </a:prstGeom>
              <a:gradFill flip="none" rotWithShape="1">
                <a:gsLst>
                  <a:gs pos="0">
                    <a:sysClr val="windowText" lastClr="000000">
                      <a:lumMod val="50000"/>
                      <a:lumOff val="50000"/>
                    </a:sysClr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0800000" scaled="0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kern="0">
                  <a:solidFill>
                    <a:srgbClr val="FFFFFF"/>
                  </a:solidFill>
                  <a:latin typeface="Calibri" pitchFamily="-109" charset="0"/>
                  <a:ea typeface="ＭＳ Ｐゴシック" pitchFamily="-109" charset="-128"/>
                  <a:cs typeface="ＭＳ Ｐゴシック" pitchFamily="-109" charset="-128"/>
                </a:endParaRPr>
              </a:p>
            </p:txBody>
          </p:sp>
          <p:sp>
            <p:nvSpPr>
              <p:cNvPr id="173" name="Tekstboks 114"/>
              <p:cNvSpPr txBox="1"/>
              <p:nvPr/>
            </p:nvSpPr>
            <p:spPr bwMode="auto">
              <a:xfrm rot="16200000">
                <a:off x="-1110588" y="3857228"/>
                <a:ext cx="3860812" cy="277006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a-DK" sz="1200" b="1" kern="0" dirty="0">
                    <a:solidFill>
                      <a:sysClr val="window" lastClr="FFFFFF"/>
                    </a:solidFill>
                    <a:latin typeface="Calibri" pitchFamily="-109" charset="0"/>
                    <a:ea typeface="ＭＳ Ｐゴシック" pitchFamily="-109" charset="-128"/>
                    <a:cs typeface="ＭＳ Ｐゴシック" pitchFamily="-109" charset="-128"/>
                  </a:rPr>
                  <a:t>LIKELIHOOD</a:t>
                </a:r>
              </a:p>
            </p:txBody>
          </p:sp>
        </p:grpSp>
        <p:sp>
          <p:nvSpPr>
            <p:cNvPr id="170" name="Tekstboks 109"/>
            <p:cNvSpPr txBox="1"/>
            <p:nvPr/>
          </p:nvSpPr>
          <p:spPr bwMode="auto">
            <a:xfrm>
              <a:off x="1587500" y="5162274"/>
              <a:ext cx="6019800" cy="27699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200" b="1" kern="0" dirty="0">
                  <a:solidFill>
                    <a:sysClr val="window" lastClr="FFFFFF"/>
                  </a:solidFill>
                  <a:latin typeface="Calibri" pitchFamily="-109" charset="0"/>
                  <a:ea typeface="ＭＳ Ｐゴシック" pitchFamily="-109" charset="-128"/>
                  <a:cs typeface="ＭＳ Ｐゴシック" pitchFamily="-109" charset="-128"/>
                </a:rPr>
                <a:t>IMAPAC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41433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ectangle 83"/>
          <p:cNvSpPr/>
          <p:nvPr/>
        </p:nvSpPr>
        <p:spPr>
          <a:xfrm>
            <a:off x="0" y="2565400"/>
            <a:ext cx="9144000" cy="4292600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bg1">
                  <a:lumMod val="85000"/>
                </a:schemeClr>
              </a:gs>
              <a:gs pos="74000">
                <a:schemeClr val="bg1">
                  <a:lumMod val="9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8435" name="TextBox 54"/>
          <p:cNvSpPr txBox="1">
            <a:spLocks noChangeArrowheads="1"/>
          </p:cNvSpPr>
          <p:nvPr/>
        </p:nvSpPr>
        <p:spPr bwMode="auto">
          <a:xfrm>
            <a:off x="314325" y="377825"/>
            <a:ext cx="75977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nb-NO" sz="1500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USE THE </a:t>
            </a:r>
            <a:r>
              <a:rPr lang="nb-NO" sz="1500" b="1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SPECIALLY DESIGNED SHAPES </a:t>
            </a:r>
            <a:r>
              <a:rPr lang="nb-NO" sz="1500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TO BETTER YOUR COMMUNICATION!</a:t>
            </a:r>
            <a:endParaRPr lang="en-GB" sz="1500">
              <a:solidFill>
                <a:srgbClr val="26262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0" name="Line 33"/>
          <p:cNvSpPr>
            <a:spLocks noChangeShapeType="1"/>
          </p:cNvSpPr>
          <p:nvPr/>
        </p:nvSpPr>
        <p:spPr bwMode="auto">
          <a:xfrm rot="11460000" flipH="1">
            <a:off x="2189163" y="2898775"/>
            <a:ext cx="762000" cy="128588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Text" lastClr="000000"/>
              </a:solidFill>
              <a:ea typeface="+mn-ea"/>
            </a:endParaRPr>
          </a:p>
        </p:txBody>
      </p:sp>
      <p:sp>
        <p:nvSpPr>
          <p:cNvPr id="31" name="Line 33"/>
          <p:cNvSpPr>
            <a:spLocks noChangeShapeType="1"/>
          </p:cNvSpPr>
          <p:nvPr/>
        </p:nvSpPr>
        <p:spPr bwMode="auto">
          <a:xfrm rot="16200000">
            <a:off x="7841456" y="2232820"/>
            <a:ext cx="142875" cy="169862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Text" lastClr="000000"/>
              </a:solidFill>
              <a:ea typeface="+mn-ea"/>
            </a:endParaRPr>
          </a:p>
        </p:txBody>
      </p:sp>
      <p:sp>
        <p:nvSpPr>
          <p:cNvPr id="32" name="Line 33"/>
          <p:cNvSpPr>
            <a:spLocks noChangeShapeType="1"/>
          </p:cNvSpPr>
          <p:nvPr/>
        </p:nvSpPr>
        <p:spPr bwMode="auto">
          <a:xfrm rot="5400000" flipH="1">
            <a:off x="989806" y="3367882"/>
            <a:ext cx="274637" cy="552450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Text" lastClr="000000"/>
              </a:solidFill>
              <a:ea typeface="+mn-ea"/>
            </a:endParaRPr>
          </a:p>
        </p:txBody>
      </p:sp>
      <p:sp>
        <p:nvSpPr>
          <p:cNvPr id="33" name="Line 33"/>
          <p:cNvSpPr>
            <a:spLocks noChangeShapeType="1"/>
          </p:cNvSpPr>
          <p:nvPr/>
        </p:nvSpPr>
        <p:spPr bwMode="auto">
          <a:xfrm rot="11460000" flipH="1">
            <a:off x="2106613" y="3579813"/>
            <a:ext cx="763587" cy="128587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Text" lastClr="000000"/>
              </a:solidFill>
              <a:ea typeface="+mn-ea"/>
            </a:endParaRPr>
          </a:p>
        </p:txBody>
      </p:sp>
      <p:sp>
        <p:nvSpPr>
          <p:cNvPr id="34" name="Line 33"/>
          <p:cNvSpPr>
            <a:spLocks noChangeShapeType="1"/>
          </p:cNvSpPr>
          <p:nvPr/>
        </p:nvSpPr>
        <p:spPr bwMode="auto">
          <a:xfrm rot="11460000" flipH="1">
            <a:off x="3444875" y="3565525"/>
            <a:ext cx="1006475" cy="184150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Text" lastClr="000000"/>
              </a:solidFill>
              <a:ea typeface="+mn-ea"/>
            </a:endParaRPr>
          </a:p>
        </p:txBody>
      </p:sp>
      <p:sp>
        <p:nvSpPr>
          <p:cNvPr id="35" name="Line 33"/>
          <p:cNvSpPr>
            <a:spLocks noChangeShapeType="1"/>
          </p:cNvSpPr>
          <p:nvPr/>
        </p:nvSpPr>
        <p:spPr bwMode="auto">
          <a:xfrm rot="11460000" flipH="1">
            <a:off x="4811713" y="3565525"/>
            <a:ext cx="1006475" cy="184150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Text" lastClr="000000"/>
              </a:solidFill>
              <a:ea typeface="+mn-ea"/>
            </a:endParaRPr>
          </a:p>
        </p:txBody>
      </p:sp>
      <p:sp>
        <p:nvSpPr>
          <p:cNvPr id="36" name="Line 33"/>
          <p:cNvSpPr>
            <a:spLocks noChangeShapeType="1"/>
          </p:cNvSpPr>
          <p:nvPr/>
        </p:nvSpPr>
        <p:spPr bwMode="auto">
          <a:xfrm rot="11460000" flipH="1">
            <a:off x="3413125" y="2727325"/>
            <a:ext cx="1006475" cy="184150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Text" lastClr="000000"/>
              </a:solidFill>
              <a:ea typeface="+mn-ea"/>
            </a:endParaRPr>
          </a:p>
        </p:txBody>
      </p:sp>
      <p:sp>
        <p:nvSpPr>
          <p:cNvPr id="37" name="Line 33"/>
          <p:cNvSpPr>
            <a:spLocks noChangeShapeType="1"/>
          </p:cNvSpPr>
          <p:nvPr/>
        </p:nvSpPr>
        <p:spPr bwMode="auto">
          <a:xfrm rot="11460000" flipH="1">
            <a:off x="4754563" y="2727325"/>
            <a:ext cx="1004887" cy="184150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Text" lastClr="000000"/>
              </a:solidFill>
              <a:ea typeface="+mn-ea"/>
            </a:endParaRPr>
          </a:p>
        </p:txBody>
      </p:sp>
      <p:sp>
        <p:nvSpPr>
          <p:cNvPr id="18446" name="Rektangel 63"/>
          <p:cNvSpPr>
            <a:spLocks noChangeArrowheads="1"/>
          </p:cNvSpPr>
          <p:nvPr/>
        </p:nvSpPr>
        <p:spPr bwMode="auto">
          <a:xfrm>
            <a:off x="298450" y="2979738"/>
            <a:ext cx="11668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2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This is an example text. </a:t>
            </a:r>
          </a:p>
        </p:txBody>
      </p:sp>
      <p:sp>
        <p:nvSpPr>
          <p:cNvPr id="18447" name="Rektangel 63"/>
          <p:cNvSpPr>
            <a:spLocks noChangeArrowheads="1"/>
          </p:cNvSpPr>
          <p:nvPr/>
        </p:nvSpPr>
        <p:spPr bwMode="auto">
          <a:xfrm>
            <a:off x="7481888" y="1690688"/>
            <a:ext cx="1166812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2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This is an example text. </a:t>
            </a:r>
          </a:p>
        </p:txBody>
      </p:sp>
      <p:sp>
        <p:nvSpPr>
          <p:cNvPr id="18448" name="Rektangel 63"/>
          <p:cNvSpPr>
            <a:spLocks noChangeArrowheads="1"/>
          </p:cNvSpPr>
          <p:nvPr/>
        </p:nvSpPr>
        <p:spPr bwMode="auto">
          <a:xfrm>
            <a:off x="2063750" y="2333625"/>
            <a:ext cx="89376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2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This is an example text. </a:t>
            </a:r>
          </a:p>
        </p:txBody>
      </p:sp>
      <p:sp>
        <p:nvSpPr>
          <p:cNvPr id="18449" name="Rektangel 63"/>
          <p:cNvSpPr>
            <a:spLocks noChangeArrowheads="1"/>
          </p:cNvSpPr>
          <p:nvPr/>
        </p:nvSpPr>
        <p:spPr bwMode="auto">
          <a:xfrm>
            <a:off x="4684713" y="2301875"/>
            <a:ext cx="1166812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2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This is an example text. </a:t>
            </a:r>
          </a:p>
        </p:txBody>
      </p:sp>
      <p:sp>
        <p:nvSpPr>
          <p:cNvPr id="18450" name="Rektangel 63"/>
          <p:cNvSpPr>
            <a:spLocks noChangeArrowheads="1"/>
          </p:cNvSpPr>
          <p:nvPr/>
        </p:nvSpPr>
        <p:spPr bwMode="auto">
          <a:xfrm>
            <a:off x="1898650" y="3698875"/>
            <a:ext cx="93821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2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This is an example text. </a:t>
            </a:r>
          </a:p>
        </p:txBody>
      </p:sp>
      <p:sp>
        <p:nvSpPr>
          <p:cNvPr id="18451" name="Rektangel 63"/>
          <p:cNvSpPr>
            <a:spLocks noChangeArrowheads="1"/>
          </p:cNvSpPr>
          <p:nvPr/>
        </p:nvSpPr>
        <p:spPr bwMode="auto">
          <a:xfrm>
            <a:off x="3316288" y="3670300"/>
            <a:ext cx="1166812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2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This is an example text. </a:t>
            </a:r>
          </a:p>
        </p:txBody>
      </p:sp>
      <p:sp>
        <p:nvSpPr>
          <p:cNvPr id="18452" name="Rektangel 63"/>
          <p:cNvSpPr>
            <a:spLocks noChangeArrowheads="1"/>
          </p:cNvSpPr>
          <p:nvPr/>
        </p:nvSpPr>
        <p:spPr bwMode="auto">
          <a:xfrm>
            <a:off x="4684713" y="3670300"/>
            <a:ext cx="1166812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2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This is an example text. </a:t>
            </a:r>
          </a:p>
        </p:txBody>
      </p:sp>
      <p:sp>
        <p:nvSpPr>
          <p:cNvPr id="62" name="Freeform 47"/>
          <p:cNvSpPr>
            <a:spLocks noEditPoints="1"/>
          </p:cNvSpPr>
          <p:nvPr/>
        </p:nvSpPr>
        <p:spPr bwMode="auto">
          <a:xfrm>
            <a:off x="850900" y="1912938"/>
            <a:ext cx="7797800" cy="2643187"/>
          </a:xfrm>
          <a:custGeom>
            <a:avLst/>
            <a:gdLst>
              <a:gd name="T0" fmla="*/ 3270 w 3426"/>
              <a:gd name="T1" fmla="*/ 372 h 1232"/>
              <a:gd name="T2" fmla="*/ 2940 w 3426"/>
              <a:gd name="T3" fmla="*/ 198 h 1232"/>
              <a:gd name="T4" fmla="*/ 2612 w 3426"/>
              <a:gd name="T5" fmla="*/ 158 h 1232"/>
              <a:gd name="T6" fmla="*/ 2488 w 3426"/>
              <a:gd name="T7" fmla="*/ 202 h 1232"/>
              <a:gd name="T8" fmla="*/ 2576 w 3426"/>
              <a:gd name="T9" fmla="*/ 480 h 1232"/>
              <a:gd name="T10" fmla="*/ 2412 w 3426"/>
              <a:gd name="T11" fmla="*/ 606 h 1232"/>
              <a:gd name="T12" fmla="*/ 2266 w 3426"/>
              <a:gd name="T13" fmla="*/ 512 h 1232"/>
              <a:gd name="T14" fmla="*/ 2212 w 3426"/>
              <a:gd name="T15" fmla="*/ 278 h 1232"/>
              <a:gd name="T16" fmla="*/ 2092 w 3426"/>
              <a:gd name="T17" fmla="*/ 76 h 1232"/>
              <a:gd name="T18" fmla="*/ 2174 w 3426"/>
              <a:gd name="T19" fmla="*/ 390 h 1232"/>
              <a:gd name="T20" fmla="*/ 1680 w 3426"/>
              <a:gd name="T21" fmla="*/ 600 h 1232"/>
              <a:gd name="T22" fmla="*/ 1660 w 3426"/>
              <a:gd name="T23" fmla="*/ 380 h 1232"/>
              <a:gd name="T24" fmla="*/ 1556 w 3426"/>
              <a:gd name="T25" fmla="*/ 114 h 1232"/>
              <a:gd name="T26" fmla="*/ 1512 w 3426"/>
              <a:gd name="T27" fmla="*/ 94 h 1232"/>
              <a:gd name="T28" fmla="*/ 1584 w 3426"/>
              <a:gd name="T29" fmla="*/ 468 h 1232"/>
              <a:gd name="T30" fmla="*/ 958 w 3426"/>
              <a:gd name="T31" fmla="*/ 488 h 1232"/>
              <a:gd name="T32" fmla="*/ 900 w 3426"/>
              <a:gd name="T33" fmla="*/ 266 h 1232"/>
              <a:gd name="T34" fmla="*/ 786 w 3426"/>
              <a:gd name="T35" fmla="*/ 76 h 1232"/>
              <a:gd name="T36" fmla="*/ 872 w 3426"/>
              <a:gd name="T37" fmla="*/ 418 h 1232"/>
              <a:gd name="T38" fmla="*/ 762 w 3426"/>
              <a:gd name="T39" fmla="*/ 572 h 1232"/>
              <a:gd name="T40" fmla="*/ 566 w 3426"/>
              <a:gd name="T41" fmla="*/ 500 h 1232"/>
              <a:gd name="T42" fmla="*/ 362 w 3426"/>
              <a:gd name="T43" fmla="*/ 278 h 1232"/>
              <a:gd name="T44" fmla="*/ 194 w 3426"/>
              <a:gd name="T45" fmla="*/ 134 h 1232"/>
              <a:gd name="T46" fmla="*/ 0 w 3426"/>
              <a:gd name="T47" fmla="*/ 96 h 1232"/>
              <a:gd name="T48" fmla="*/ 192 w 3426"/>
              <a:gd name="T49" fmla="*/ 328 h 1232"/>
              <a:gd name="T50" fmla="*/ 264 w 3426"/>
              <a:gd name="T51" fmla="*/ 608 h 1232"/>
              <a:gd name="T52" fmla="*/ 216 w 3426"/>
              <a:gd name="T53" fmla="*/ 880 h 1232"/>
              <a:gd name="T54" fmla="*/ 92 w 3426"/>
              <a:gd name="T55" fmla="*/ 1208 h 1232"/>
              <a:gd name="T56" fmla="*/ 100 w 3426"/>
              <a:gd name="T57" fmla="*/ 1218 h 1232"/>
              <a:gd name="T58" fmla="*/ 208 w 3426"/>
              <a:gd name="T59" fmla="*/ 1144 h 1232"/>
              <a:gd name="T60" fmla="*/ 394 w 3426"/>
              <a:gd name="T61" fmla="*/ 970 h 1232"/>
              <a:gd name="T62" fmla="*/ 590 w 3426"/>
              <a:gd name="T63" fmla="*/ 726 h 1232"/>
              <a:gd name="T64" fmla="*/ 882 w 3426"/>
              <a:gd name="T65" fmla="*/ 678 h 1232"/>
              <a:gd name="T66" fmla="*/ 808 w 3426"/>
              <a:gd name="T67" fmla="*/ 1092 h 1232"/>
              <a:gd name="T68" fmla="*/ 890 w 3426"/>
              <a:gd name="T69" fmla="*/ 950 h 1232"/>
              <a:gd name="T70" fmla="*/ 958 w 3426"/>
              <a:gd name="T71" fmla="*/ 680 h 1232"/>
              <a:gd name="T72" fmla="*/ 1576 w 3426"/>
              <a:gd name="T73" fmla="*/ 820 h 1232"/>
              <a:gd name="T74" fmla="*/ 1478 w 3426"/>
              <a:gd name="T75" fmla="*/ 1232 h 1232"/>
              <a:gd name="T76" fmla="*/ 1612 w 3426"/>
              <a:gd name="T77" fmla="*/ 958 h 1232"/>
              <a:gd name="T78" fmla="*/ 1794 w 3426"/>
              <a:gd name="T79" fmla="*/ 700 h 1232"/>
              <a:gd name="T80" fmla="*/ 2158 w 3426"/>
              <a:gd name="T81" fmla="*/ 918 h 1232"/>
              <a:gd name="T82" fmla="*/ 2136 w 3426"/>
              <a:gd name="T83" fmla="*/ 1080 h 1232"/>
              <a:gd name="T84" fmla="*/ 2254 w 3426"/>
              <a:gd name="T85" fmla="*/ 748 h 1232"/>
              <a:gd name="T86" fmla="*/ 2604 w 3426"/>
              <a:gd name="T87" fmla="*/ 830 h 1232"/>
              <a:gd name="T88" fmla="*/ 2634 w 3426"/>
              <a:gd name="T89" fmla="*/ 1070 h 1232"/>
              <a:gd name="T90" fmla="*/ 3010 w 3426"/>
              <a:gd name="T91" fmla="*/ 982 h 1232"/>
              <a:gd name="T92" fmla="*/ 3272 w 3426"/>
              <a:gd name="T93" fmla="*/ 772 h 1232"/>
              <a:gd name="T94" fmla="*/ 3068 w 3426"/>
              <a:gd name="T95" fmla="*/ 662 h 1232"/>
              <a:gd name="T96" fmla="*/ 3326 w 3426"/>
              <a:gd name="T97" fmla="*/ 570 h 1232"/>
              <a:gd name="T98" fmla="*/ 2762 w 3426"/>
              <a:gd name="T99" fmla="*/ 438 h 1232"/>
              <a:gd name="T100" fmla="*/ 2722 w 3426"/>
              <a:gd name="T101" fmla="*/ 378 h 1232"/>
              <a:gd name="T102" fmla="*/ 2774 w 3426"/>
              <a:gd name="T103" fmla="*/ 314 h 1232"/>
              <a:gd name="T104" fmla="*/ 2842 w 3426"/>
              <a:gd name="T105" fmla="*/ 342 h 1232"/>
              <a:gd name="T106" fmla="*/ 2842 w 3426"/>
              <a:gd name="T107" fmla="*/ 414 h 123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3426"/>
              <a:gd name="T163" fmla="*/ 0 h 1232"/>
              <a:gd name="T164" fmla="*/ 3426 w 3426"/>
              <a:gd name="T165" fmla="*/ 1232 h 1232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3426" h="1232">
                <a:moveTo>
                  <a:pt x="3426" y="540"/>
                </a:moveTo>
                <a:lnTo>
                  <a:pt x="3426" y="540"/>
                </a:lnTo>
                <a:lnTo>
                  <a:pt x="3400" y="506"/>
                </a:lnTo>
                <a:lnTo>
                  <a:pt x="3372" y="470"/>
                </a:lnTo>
                <a:lnTo>
                  <a:pt x="3342" y="436"/>
                </a:lnTo>
                <a:lnTo>
                  <a:pt x="3308" y="404"/>
                </a:lnTo>
                <a:lnTo>
                  <a:pt x="3270" y="372"/>
                </a:lnTo>
                <a:lnTo>
                  <a:pt x="3230" y="340"/>
                </a:lnTo>
                <a:lnTo>
                  <a:pt x="3188" y="312"/>
                </a:lnTo>
                <a:lnTo>
                  <a:pt x="3142" y="284"/>
                </a:lnTo>
                <a:lnTo>
                  <a:pt x="3094" y="258"/>
                </a:lnTo>
                <a:lnTo>
                  <a:pt x="3046" y="236"/>
                </a:lnTo>
                <a:lnTo>
                  <a:pt x="2994" y="216"/>
                </a:lnTo>
                <a:lnTo>
                  <a:pt x="2940" y="198"/>
                </a:lnTo>
                <a:lnTo>
                  <a:pt x="2884" y="182"/>
                </a:lnTo>
                <a:lnTo>
                  <a:pt x="2828" y="170"/>
                </a:lnTo>
                <a:lnTo>
                  <a:pt x="2770" y="162"/>
                </a:lnTo>
                <a:lnTo>
                  <a:pt x="2710" y="158"/>
                </a:lnTo>
                <a:lnTo>
                  <a:pt x="2646" y="156"/>
                </a:lnTo>
                <a:lnTo>
                  <a:pt x="2612" y="158"/>
                </a:lnTo>
                <a:lnTo>
                  <a:pt x="2580" y="162"/>
                </a:lnTo>
                <a:lnTo>
                  <a:pt x="2550" y="168"/>
                </a:lnTo>
                <a:lnTo>
                  <a:pt x="2536" y="172"/>
                </a:lnTo>
                <a:lnTo>
                  <a:pt x="2522" y="178"/>
                </a:lnTo>
                <a:lnTo>
                  <a:pt x="2510" y="186"/>
                </a:lnTo>
                <a:lnTo>
                  <a:pt x="2498" y="194"/>
                </a:lnTo>
                <a:lnTo>
                  <a:pt x="2488" y="202"/>
                </a:lnTo>
                <a:lnTo>
                  <a:pt x="2480" y="214"/>
                </a:lnTo>
                <a:lnTo>
                  <a:pt x="2516" y="298"/>
                </a:lnTo>
                <a:lnTo>
                  <a:pt x="2534" y="342"/>
                </a:lnTo>
                <a:lnTo>
                  <a:pt x="2548" y="386"/>
                </a:lnTo>
                <a:lnTo>
                  <a:pt x="2562" y="432"/>
                </a:lnTo>
                <a:lnTo>
                  <a:pt x="2576" y="480"/>
                </a:lnTo>
                <a:lnTo>
                  <a:pt x="2586" y="528"/>
                </a:lnTo>
                <a:lnTo>
                  <a:pt x="2592" y="580"/>
                </a:lnTo>
                <a:lnTo>
                  <a:pt x="2546" y="588"/>
                </a:lnTo>
                <a:lnTo>
                  <a:pt x="2496" y="598"/>
                </a:lnTo>
                <a:lnTo>
                  <a:pt x="2412" y="606"/>
                </a:lnTo>
                <a:lnTo>
                  <a:pt x="2358" y="608"/>
                </a:lnTo>
                <a:lnTo>
                  <a:pt x="2268" y="608"/>
                </a:lnTo>
                <a:lnTo>
                  <a:pt x="2270" y="578"/>
                </a:lnTo>
                <a:lnTo>
                  <a:pt x="2268" y="546"/>
                </a:lnTo>
                <a:lnTo>
                  <a:pt x="2266" y="512"/>
                </a:lnTo>
                <a:lnTo>
                  <a:pt x="2264" y="480"/>
                </a:lnTo>
                <a:lnTo>
                  <a:pt x="2258" y="446"/>
                </a:lnTo>
                <a:lnTo>
                  <a:pt x="2252" y="414"/>
                </a:lnTo>
                <a:lnTo>
                  <a:pt x="2244" y="380"/>
                </a:lnTo>
                <a:lnTo>
                  <a:pt x="2236" y="346"/>
                </a:lnTo>
                <a:lnTo>
                  <a:pt x="2224" y="312"/>
                </a:lnTo>
                <a:lnTo>
                  <a:pt x="2212" y="278"/>
                </a:lnTo>
                <a:lnTo>
                  <a:pt x="2196" y="244"/>
                </a:lnTo>
                <a:lnTo>
                  <a:pt x="2180" y="210"/>
                </a:lnTo>
                <a:lnTo>
                  <a:pt x="2160" y="176"/>
                </a:lnTo>
                <a:lnTo>
                  <a:pt x="2140" y="144"/>
                </a:lnTo>
                <a:lnTo>
                  <a:pt x="2116" y="110"/>
                </a:lnTo>
                <a:lnTo>
                  <a:pt x="2092" y="76"/>
                </a:lnTo>
                <a:lnTo>
                  <a:pt x="2106" y="114"/>
                </a:lnTo>
                <a:lnTo>
                  <a:pt x="2122" y="160"/>
                </a:lnTo>
                <a:lnTo>
                  <a:pt x="2140" y="222"/>
                </a:lnTo>
                <a:lnTo>
                  <a:pt x="2150" y="258"/>
                </a:lnTo>
                <a:lnTo>
                  <a:pt x="2158" y="298"/>
                </a:lnTo>
                <a:lnTo>
                  <a:pt x="2166" y="342"/>
                </a:lnTo>
                <a:lnTo>
                  <a:pt x="2174" y="390"/>
                </a:lnTo>
                <a:lnTo>
                  <a:pt x="2180" y="440"/>
                </a:lnTo>
                <a:lnTo>
                  <a:pt x="2186" y="494"/>
                </a:lnTo>
                <a:lnTo>
                  <a:pt x="2188" y="550"/>
                </a:lnTo>
                <a:lnTo>
                  <a:pt x="2190" y="608"/>
                </a:lnTo>
                <a:lnTo>
                  <a:pt x="1954" y="606"/>
                </a:lnTo>
                <a:lnTo>
                  <a:pt x="1680" y="600"/>
                </a:lnTo>
                <a:lnTo>
                  <a:pt x="1680" y="564"/>
                </a:lnTo>
                <a:lnTo>
                  <a:pt x="1680" y="528"/>
                </a:lnTo>
                <a:lnTo>
                  <a:pt x="1676" y="490"/>
                </a:lnTo>
                <a:lnTo>
                  <a:pt x="1672" y="454"/>
                </a:lnTo>
                <a:lnTo>
                  <a:pt x="1668" y="416"/>
                </a:lnTo>
                <a:lnTo>
                  <a:pt x="1660" y="380"/>
                </a:lnTo>
                <a:lnTo>
                  <a:pt x="1650" y="342"/>
                </a:lnTo>
                <a:lnTo>
                  <a:pt x="1640" y="304"/>
                </a:lnTo>
                <a:lnTo>
                  <a:pt x="1628" y="266"/>
                </a:lnTo>
                <a:lnTo>
                  <a:pt x="1612" y="228"/>
                </a:lnTo>
                <a:lnTo>
                  <a:pt x="1596" y="190"/>
                </a:lnTo>
                <a:lnTo>
                  <a:pt x="1576" y="152"/>
                </a:lnTo>
                <a:lnTo>
                  <a:pt x="1556" y="114"/>
                </a:lnTo>
                <a:lnTo>
                  <a:pt x="1532" y="76"/>
                </a:lnTo>
                <a:lnTo>
                  <a:pt x="1506" y="38"/>
                </a:lnTo>
                <a:lnTo>
                  <a:pt x="1478" y="0"/>
                </a:lnTo>
                <a:lnTo>
                  <a:pt x="1482" y="10"/>
                </a:lnTo>
                <a:lnTo>
                  <a:pt x="1494" y="42"/>
                </a:lnTo>
                <a:lnTo>
                  <a:pt x="1512" y="94"/>
                </a:lnTo>
                <a:lnTo>
                  <a:pt x="1532" y="162"/>
                </a:lnTo>
                <a:lnTo>
                  <a:pt x="1544" y="204"/>
                </a:lnTo>
                <a:lnTo>
                  <a:pt x="1554" y="250"/>
                </a:lnTo>
                <a:lnTo>
                  <a:pt x="1562" y="298"/>
                </a:lnTo>
                <a:lnTo>
                  <a:pt x="1572" y="352"/>
                </a:lnTo>
                <a:lnTo>
                  <a:pt x="1578" y="408"/>
                </a:lnTo>
                <a:lnTo>
                  <a:pt x="1584" y="468"/>
                </a:lnTo>
                <a:lnTo>
                  <a:pt x="1588" y="530"/>
                </a:lnTo>
                <a:lnTo>
                  <a:pt x="1588" y="596"/>
                </a:lnTo>
                <a:lnTo>
                  <a:pt x="964" y="580"/>
                </a:lnTo>
                <a:lnTo>
                  <a:pt x="962" y="518"/>
                </a:lnTo>
                <a:lnTo>
                  <a:pt x="958" y="488"/>
                </a:lnTo>
                <a:lnTo>
                  <a:pt x="954" y="456"/>
                </a:lnTo>
                <a:lnTo>
                  <a:pt x="950" y="426"/>
                </a:lnTo>
                <a:lnTo>
                  <a:pt x="942" y="394"/>
                </a:lnTo>
                <a:lnTo>
                  <a:pt x="934" y="362"/>
                </a:lnTo>
                <a:lnTo>
                  <a:pt x="924" y="330"/>
                </a:lnTo>
                <a:lnTo>
                  <a:pt x="914" y="298"/>
                </a:lnTo>
                <a:lnTo>
                  <a:pt x="900" y="266"/>
                </a:lnTo>
                <a:lnTo>
                  <a:pt x="886" y="234"/>
                </a:lnTo>
                <a:lnTo>
                  <a:pt x="870" y="202"/>
                </a:lnTo>
                <a:lnTo>
                  <a:pt x="852" y="172"/>
                </a:lnTo>
                <a:lnTo>
                  <a:pt x="832" y="140"/>
                </a:lnTo>
                <a:lnTo>
                  <a:pt x="810" y="108"/>
                </a:lnTo>
                <a:lnTo>
                  <a:pt x="786" y="76"/>
                </a:lnTo>
                <a:lnTo>
                  <a:pt x="800" y="112"/>
                </a:lnTo>
                <a:lnTo>
                  <a:pt x="816" y="154"/>
                </a:lnTo>
                <a:lnTo>
                  <a:pt x="832" y="212"/>
                </a:lnTo>
                <a:lnTo>
                  <a:pt x="850" y="284"/>
                </a:lnTo>
                <a:lnTo>
                  <a:pt x="858" y="326"/>
                </a:lnTo>
                <a:lnTo>
                  <a:pt x="866" y="370"/>
                </a:lnTo>
                <a:lnTo>
                  <a:pt x="872" y="418"/>
                </a:lnTo>
                <a:lnTo>
                  <a:pt x="878" y="468"/>
                </a:lnTo>
                <a:lnTo>
                  <a:pt x="882" y="522"/>
                </a:lnTo>
                <a:lnTo>
                  <a:pt x="884" y="576"/>
                </a:lnTo>
                <a:lnTo>
                  <a:pt x="762" y="572"/>
                </a:lnTo>
                <a:lnTo>
                  <a:pt x="728" y="568"/>
                </a:lnTo>
                <a:lnTo>
                  <a:pt x="696" y="562"/>
                </a:lnTo>
                <a:lnTo>
                  <a:pt x="666" y="554"/>
                </a:lnTo>
                <a:lnTo>
                  <a:pt x="640" y="542"/>
                </a:lnTo>
                <a:lnTo>
                  <a:pt x="612" y="530"/>
                </a:lnTo>
                <a:lnTo>
                  <a:pt x="588" y="516"/>
                </a:lnTo>
                <a:lnTo>
                  <a:pt x="566" y="500"/>
                </a:lnTo>
                <a:lnTo>
                  <a:pt x="544" y="484"/>
                </a:lnTo>
                <a:lnTo>
                  <a:pt x="524" y="466"/>
                </a:lnTo>
                <a:lnTo>
                  <a:pt x="504" y="446"/>
                </a:lnTo>
                <a:lnTo>
                  <a:pt x="466" y="406"/>
                </a:lnTo>
                <a:lnTo>
                  <a:pt x="432" y="364"/>
                </a:lnTo>
                <a:lnTo>
                  <a:pt x="398" y="320"/>
                </a:lnTo>
                <a:lnTo>
                  <a:pt x="362" y="278"/>
                </a:lnTo>
                <a:lnTo>
                  <a:pt x="326" y="236"/>
                </a:lnTo>
                <a:lnTo>
                  <a:pt x="306" y="216"/>
                </a:lnTo>
                <a:lnTo>
                  <a:pt x="286" y="198"/>
                </a:lnTo>
                <a:lnTo>
                  <a:pt x="266" y="180"/>
                </a:lnTo>
                <a:lnTo>
                  <a:pt x="242" y="164"/>
                </a:lnTo>
                <a:lnTo>
                  <a:pt x="220" y="148"/>
                </a:lnTo>
                <a:lnTo>
                  <a:pt x="194" y="134"/>
                </a:lnTo>
                <a:lnTo>
                  <a:pt x="166" y="122"/>
                </a:lnTo>
                <a:lnTo>
                  <a:pt x="138" y="114"/>
                </a:lnTo>
                <a:lnTo>
                  <a:pt x="106" y="106"/>
                </a:lnTo>
                <a:lnTo>
                  <a:pt x="74" y="100"/>
                </a:lnTo>
                <a:lnTo>
                  <a:pt x="38" y="96"/>
                </a:lnTo>
                <a:lnTo>
                  <a:pt x="0" y="96"/>
                </a:lnTo>
                <a:lnTo>
                  <a:pt x="52" y="146"/>
                </a:lnTo>
                <a:lnTo>
                  <a:pt x="78" y="172"/>
                </a:lnTo>
                <a:lnTo>
                  <a:pt x="102" y="200"/>
                </a:lnTo>
                <a:lnTo>
                  <a:pt x="126" y="230"/>
                </a:lnTo>
                <a:lnTo>
                  <a:pt x="150" y="262"/>
                </a:lnTo>
                <a:lnTo>
                  <a:pt x="172" y="294"/>
                </a:lnTo>
                <a:lnTo>
                  <a:pt x="192" y="328"/>
                </a:lnTo>
                <a:lnTo>
                  <a:pt x="210" y="362"/>
                </a:lnTo>
                <a:lnTo>
                  <a:pt x="226" y="400"/>
                </a:lnTo>
                <a:lnTo>
                  <a:pt x="240" y="438"/>
                </a:lnTo>
                <a:lnTo>
                  <a:pt x="250" y="478"/>
                </a:lnTo>
                <a:lnTo>
                  <a:pt x="258" y="520"/>
                </a:lnTo>
                <a:lnTo>
                  <a:pt x="264" y="562"/>
                </a:lnTo>
                <a:lnTo>
                  <a:pt x="264" y="608"/>
                </a:lnTo>
                <a:lnTo>
                  <a:pt x="262" y="654"/>
                </a:lnTo>
                <a:lnTo>
                  <a:pt x="258" y="694"/>
                </a:lnTo>
                <a:lnTo>
                  <a:pt x="252" y="732"/>
                </a:lnTo>
                <a:lnTo>
                  <a:pt x="244" y="770"/>
                </a:lnTo>
                <a:lnTo>
                  <a:pt x="236" y="806"/>
                </a:lnTo>
                <a:lnTo>
                  <a:pt x="216" y="880"/>
                </a:lnTo>
                <a:lnTo>
                  <a:pt x="192" y="952"/>
                </a:lnTo>
                <a:lnTo>
                  <a:pt x="166" y="1020"/>
                </a:lnTo>
                <a:lnTo>
                  <a:pt x="138" y="1086"/>
                </a:lnTo>
                <a:lnTo>
                  <a:pt x="86" y="1212"/>
                </a:lnTo>
                <a:lnTo>
                  <a:pt x="90" y="1208"/>
                </a:lnTo>
                <a:lnTo>
                  <a:pt x="92" y="1208"/>
                </a:lnTo>
                <a:lnTo>
                  <a:pt x="90" y="1212"/>
                </a:lnTo>
                <a:lnTo>
                  <a:pt x="82" y="1222"/>
                </a:lnTo>
                <a:lnTo>
                  <a:pt x="84" y="1222"/>
                </a:lnTo>
                <a:lnTo>
                  <a:pt x="94" y="1218"/>
                </a:lnTo>
                <a:lnTo>
                  <a:pt x="100" y="1218"/>
                </a:lnTo>
                <a:lnTo>
                  <a:pt x="102" y="1216"/>
                </a:lnTo>
                <a:lnTo>
                  <a:pt x="104" y="1214"/>
                </a:lnTo>
                <a:lnTo>
                  <a:pt x="108" y="1202"/>
                </a:lnTo>
                <a:lnTo>
                  <a:pt x="142" y="1184"/>
                </a:lnTo>
                <a:lnTo>
                  <a:pt x="176" y="1164"/>
                </a:lnTo>
                <a:lnTo>
                  <a:pt x="208" y="1144"/>
                </a:lnTo>
                <a:lnTo>
                  <a:pt x="238" y="1120"/>
                </a:lnTo>
                <a:lnTo>
                  <a:pt x="268" y="1098"/>
                </a:lnTo>
                <a:lnTo>
                  <a:pt x="296" y="1072"/>
                </a:lnTo>
                <a:lnTo>
                  <a:pt x="352" y="1018"/>
                </a:lnTo>
                <a:lnTo>
                  <a:pt x="374" y="994"/>
                </a:lnTo>
                <a:lnTo>
                  <a:pt x="394" y="970"/>
                </a:lnTo>
                <a:lnTo>
                  <a:pt x="434" y="918"/>
                </a:lnTo>
                <a:lnTo>
                  <a:pt x="470" y="866"/>
                </a:lnTo>
                <a:lnTo>
                  <a:pt x="506" y="814"/>
                </a:lnTo>
                <a:lnTo>
                  <a:pt x="526" y="790"/>
                </a:lnTo>
                <a:lnTo>
                  <a:pt x="546" y="766"/>
                </a:lnTo>
                <a:lnTo>
                  <a:pt x="568" y="746"/>
                </a:lnTo>
                <a:lnTo>
                  <a:pt x="590" y="726"/>
                </a:lnTo>
                <a:lnTo>
                  <a:pt x="614" y="710"/>
                </a:lnTo>
                <a:lnTo>
                  <a:pt x="642" y="694"/>
                </a:lnTo>
                <a:lnTo>
                  <a:pt x="670" y="684"/>
                </a:lnTo>
                <a:lnTo>
                  <a:pt x="702" y="676"/>
                </a:lnTo>
                <a:lnTo>
                  <a:pt x="882" y="678"/>
                </a:lnTo>
                <a:lnTo>
                  <a:pt x="878" y="732"/>
                </a:lnTo>
                <a:lnTo>
                  <a:pt x="872" y="788"/>
                </a:lnTo>
                <a:lnTo>
                  <a:pt x="866" y="846"/>
                </a:lnTo>
                <a:lnTo>
                  <a:pt x="854" y="906"/>
                </a:lnTo>
                <a:lnTo>
                  <a:pt x="842" y="966"/>
                </a:lnTo>
                <a:lnTo>
                  <a:pt x="826" y="1028"/>
                </a:lnTo>
                <a:lnTo>
                  <a:pt x="808" y="1092"/>
                </a:lnTo>
                <a:lnTo>
                  <a:pt x="786" y="1156"/>
                </a:lnTo>
                <a:lnTo>
                  <a:pt x="808" y="1120"/>
                </a:lnTo>
                <a:lnTo>
                  <a:pt x="832" y="1076"/>
                </a:lnTo>
                <a:lnTo>
                  <a:pt x="860" y="1020"/>
                </a:lnTo>
                <a:lnTo>
                  <a:pt x="876" y="986"/>
                </a:lnTo>
                <a:lnTo>
                  <a:pt x="890" y="950"/>
                </a:lnTo>
                <a:lnTo>
                  <a:pt x="904" y="910"/>
                </a:lnTo>
                <a:lnTo>
                  <a:pt x="918" y="868"/>
                </a:lnTo>
                <a:lnTo>
                  <a:pt x="932" y="824"/>
                </a:lnTo>
                <a:lnTo>
                  <a:pt x="942" y="778"/>
                </a:lnTo>
                <a:lnTo>
                  <a:pt x="952" y="730"/>
                </a:lnTo>
                <a:lnTo>
                  <a:pt x="958" y="680"/>
                </a:lnTo>
                <a:lnTo>
                  <a:pt x="1258" y="686"/>
                </a:lnTo>
                <a:lnTo>
                  <a:pt x="1582" y="696"/>
                </a:lnTo>
                <a:lnTo>
                  <a:pt x="1586" y="696"/>
                </a:lnTo>
                <a:lnTo>
                  <a:pt x="1582" y="758"/>
                </a:lnTo>
                <a:lnTo>
                  <a:pt x="1576" y="820"/>
                </a:lnTo>
                <a:lnTo>
                  <a:pt x="1566" y="884"/>
                </a:lnTo>
                <a:lnTo>
                  <a:pt x="1556" y="952"/>
                </a:lnTo>
                <a:lnTo>
                  <a:pt x="1540" y="1020"/>
                </a:lnTo>
                <a:lnTo>
                  <a:pt x="1522" y="1088"/>
                </a:lnTo>
                <a:lnTo>
                  <a:pt x="1502" y="1160"/>
                </a:lnTo>
                <a:lnTo>
                  <a:pt x="1478" y="1232"/>
                </a:lnTo>
                <a:lnTo>
                  <a:pt x="1484" y="1222"/>
                </a:lnTo>
                <a:lnTo>
                  <a:pt x="1502" y="1192"/>
                </a:lnTo>
                <a:lnTo>
                  <a:pt x="1530" y="1144"/>
                </a:lnTo>
                <a:lnTo>
                  <a:pt x="1562" y="1080"/>
                </a:lnTo>
                <a:lnTo>
                  <a:pt x="1578" y="1042"/>
                </a:lnTo>
                <a:lnTo>
                  <a:pt x="1594" y="1002"/>
                </a:lnTo>
                <a:lnTo>
                  <a:pt x="1612" y="958"/>
                </a:lnTo>
                <a:lnTo>
                  <a:pt x="1626" y="910"/>
                </a:lnTo>
                <a:lnTo>
                  <a:pt x="1642" y="860"/>
                </a:lnTo>
                <a:lnTo>
                  <a:pt x="1654" y="808"/>
                </a:lnTo>
                <a:lnTo>
                  <a:pt x="1664" y="754"/>
                </a:lnTo>
                <a:lnTo>
                  <a:pt x="1672" y="698"/>
                </a:lnTo>
                <a:lnTo>
                  <a:pt x="1794" y="700"/>
                </a:lnTo>
                <a:lnTo>
                  <a:pt x="1922" y="702"/>
                </a:lnTo>
                <a:lnTo>
                  <a:pt x="2186" y="700"/>
                </a:lnTo>
                <a:lnTo>
                  <a:pt x="2182" y="752"/>
                </a:lnTo>
                <a:lnTo>
                  <a:pt x="2176" y="806"/>
                </a:lnTo>
                <a:lnTo>
                  <a:pt x="2168" y="862"/>
                </a:lnTo>
                <a:lnTo>
                  <a:pt x="2158" y="918"/>
                </a:lnTo>
                <a:lnTo>
                  <a:pt x="2146" y="976"/>
                </a:lnTo>
                <a:lnTo>
                  <a:pt x="2130" y="1034"/>
                </a:lnTo>
                <a:lnTo>
                  <a:pt x="2112" y="1094"/>
                </a:lnTo>
                <a:lnTo>
                  <a:pt x="2092" y="1156"/>
                </a:lnTo>
                <a:lnTo>
                  <a:pt x="2112" y="1122"/>
                </a:lnTo>
                <a:lnTo>
                  <a:pt x="2136" y="1080"/>
                </a:lnTo>
                <a:lnTo>
                  <a:pt x="2164" y="1026"/>
                </a:lnTo>
                <a:lnTo>
                  <a:pt x="2192" y="958"/>
                </a:lnTo>
                <a:lnTo>
                  <a:pt x="2206" y="922"/>
                </a:lnTo>
                <a:lnTo>
                  <a:pt x="2220" y="882"/>
                </a:lnTo>
                <a:lnTo>
                  <a:pt x="2232" y="838"/>
                </a:lnTo>
                <a:lnTo>
                  <a:pt x="2244" y="794"/>
                </a:lnTo>
                <a:lnTo>
                  <a:pt x="2254" y="748"/>
                </a:lnTo>
                <a:lnTo>
                  <a:pt x="2262" y="700"/>
                </a:lnTo>
                <a:lnTo>
                  <a:pt x="2600" y="694"/>
                </a:lnTo>
                <a:lnTo>
                  <a:pt x="2604" y="736"/>
                </a:lnTo>
                <a:lnTo>
                  <a:pt x="2606" y="782"/>
                </a:lnTo>
                <a:lnTo>
                  <a:pt x="2604" y="830"/>
                </a:lnTo>
                <a:lnTo>
                  <a:pt x="2602" y="878"/>
                </a:lnTo>
                <a:lnTo>
                  <a:pt x="2596" y="926"/>
                </a:lnTo>
                <a:lnTo>
                  <a:pt x="2590" y="976"/>
                </a:lnTo>
                <a:lnTo>
                  <a:pt x="2582" y="1022"/>
                </a:lnTo>
                <a:lnTo>
                  <a:pt x="2572" y="1068"/>
                </a:lnTo>
                <a:lnTo>
                  <a:pt x="2634" y="1070"/>
                </a:lnTo>
                <a:lnTo>
                  <a:pt x="2694" y="1066"/>
                </a:lnTo>
                <a:lnTo>
                  <a:pt x="2752" y="1060"/>
                </a:lnTo>
                <a:lnTo>
                  <a:pt x="2808" y="1050"/>
                </a:lnTo>
                <a:lnTo>
                  <a:pt x="2862" y="1038"/>
                </a:lnTo>
                <a:lnTo>
                  <a:pt x="2914" y="1022"/>
                </a:lnTo>
                <a:lnTo>
                  <a:pt x="2962" y="1004"/>
                </a:lnTo>
                <a:lnTo>
                  <a:pt x="3010" y="982"/>
                </a:lnTo>
                <a:lnTo>
                  <a:pt x="3054" y="958"/>
                </a:lnTo>
                <a:lnTo>
                  <a:pt x="3096" y="932"/>
                </a:lnTo>
                <a:lnTo>
                  <a:pt x="3136" y="904"/>
                </a:lnTo>
                <a:lnTo>
                  <a:pt x="3174" y="874"/>
                </a:lnTo>
                <a:lnTo>
                  <a:pt x="3208" y="842"/>
                </a:lnTo>
                <a:lnTo>
                  <a:pt x="3242" y="808"/>
                </a:lnTo>
                <a:lnTo>
                  <a:pt x="3272" y="772"/>
                </a:lnTo>
                <a:lnTo>
                  <a:pt x="3300" y="736"/>
                </a:lnTo>
                <a:lnTo>
                  <a:pt x="3218" y="716"/>
                </a:lnTo>
                <a:lnTo>
                  <a:pt x="3178" y="704"/>
                </a:lnTo>
                <a:lnTo>
                  <a:pt x="3140" y="692"/>
                </a:lnTo>
                <a:lnTo>
                  <a:pt x="3102" y="678"/>
                </a:lnTo>
                <a:lnTo>
                  <a:pt x="3068" y="662"/>
                </a:lnTo>
                <a:lnTo>
                  <a:pt x="3036" y="644"/>
                </a:lnTo>
                <a:lnTo>
                  <a:pt x="3006" y="624"/>
                </a:lnTo>
                <a:lnTo>
                  <a:pt x="3114" y="608"/>
                </a:lnTo>
                <a:lnTo>
                  <a:pt x="3222" y="590"/>
                </a:lnTo>
                <a:lnTo>
                  <a:pt x="3276" y="580"/>
                </a:lnTo>
                <a:lnTo>
                  <a:pt x="3326" y="570"/>
                </a:lnTo>
                <a:lnTo>
                  <a:pt x="3378" y="556"/>
                </a:lnTo>
                <a:lnTo>
                  <a:pt x="3426" y="540"/>
                </a:lnTo>
                <a:close/>
                <a:moveTo>
                  <a:pt x="2788" y="444"/>
                </a:moveTo>
                <a:lnTo>
                  <a:pt x="2788" y="444"/>
                </a:lnTo>
                <a:lnTo>
                  <a:pt x="2774" y="442"/>
                </a:lnTo>
                <a:lnTo>
                  <a:pt x="2762" y="438"/>
                </a:lnTo>
                <a:lnTo>
                  <a:pt x="2752" y="432"/>
                </a:lnTo>
                <a:lnTo>
                  <a:pt x="2742" y="424"/>
                </a:lnTo>
                <a:lnTo>
                  <a:pt x="2734" y="414"/>
                </a:lnTo>
                <a:lnTo>
                  <a:pt x="2728" y="404"/>
                </a:lnTo>
                <a:lnTo>
                  <a:pt x="2724" y="392"/>
                </a:lnTo>
                <a:lnTo>
                  <a:pt x="2722" y="378"/>
                </a:lnTo>
                <a:lnTo>
                  <a:pt x="2724" y="364"/>
                </a:lnTo>
                <a:lnTo>
                  <a:pt x="2728" y="352"/>
                </a:lnTo>
                <a:lnTo>
                  <a:pt x="2734" y="342"/>
                </a:lnTo>
                <a:lnTo>
                  <a:pt x="2742" y="332"/>
                </a:lnTo>
                <a:lnTo>
                  <a:pt x="2752" y="324"/>
                </a:lnTo>
                <a:lnTo>
                  <a:pt x="2762" y="318"/>
                </a:lnTo>
                <a:lnTo>
                  <a:pt x="2774" y="314"/>
                </a:lnTo>
                <a:lnTo>
                  <a:pt x="2788" y="312"/>
                </a:lnTo>
                <a:lnTo>
                  <a:pt x="2802" y="314"/>
                </a:lnTo>
                <a:lnTo>
                  <a:pt x="2814" y="318"/>
                </a:lnTo>
                <a:lnTo>
                  <a:pt x="2824" y="324"/>
                </a:lnTo>
                <a:lnTo>
                  <a:pt x="2834" y="332"/>
                </a:lnTo>
                <a:lnTo>
                  <a:pt x="2842" y="342"/>
                </a:lnTo>
                <a:lnTo>
                  <a:pt x="2848" y="352"/>
                </a:lnTo>
                <a:lnTo>
                  <a:pt x="2852" y="364"/>
                </a:lnTo>
                <a:lnTo>
                  <a:pt x="2854" y="378"/>
                </a:lnTo>
                <a:lnTo>
                  <a:pt x="2852" y="392"/>
                </a:lnTo>
                <a:lnTo>
                  <a:pt x="2848" y="404"/>
                </a:lnTo>
                <a:lnTo>
                  <a:pt x="2842" y="414"/>
                </a:lnTo>
                <a:lnTo>
                  <a:pt x="2834" y="424"/>
                </a:lnTo>
                <a:lnTo>
                  <a:pt x="2824" y="432"/>
                </a:lnTo>
                <a:lnTo>
                  <a:pt x="2814" y="438"/>
                </a:lnTo>
                <a:lnTo>
                  <a:pt x="2802" y="442"/>
                </a:lnTo>
                <a:lnTo>
                  <a:pt x="2788" y="444"/>
                </a:lnTo>
                <a:close/>
              </a:path>
            </a:pathLst>
          </a:custGeom>
          <a:gradFill rotWithShape="1">
            <a:gsLst>
              <a:gs pos="0">
                <a:srgbClr val="7F7F7F"/>
              </a:gs>
              <a:gs pos="100000">
                <a:srgbClr val="404040"/>
              </a:gs>
            </a:gsLst>
            <a:lin ang="5400000"/>
          </a:gradFill>
          <a:ln w="9525">
            <a:solidFill>
              <a:srgbClr val="262626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/>
            <a:endParaRPr lang="nb-NO">
              <a:solidFill>
                <a:srgbClr val="FFFFFF"/>
              </a:solidFill>
              <a:latin typeface="Calibri" pitchFamily="34" charset="0"/>
            </a:endParaRPr>
          </a:p>
        </p:txBody>
      </p:sp>
      <p:grpSp>
        <p:nvGrpSpPr>
          <p:cNvPr id="18454" name="Group 65"/>
          <p:cNvGrpSpPr>
            <a:grpSpLocks/>
          </p:cNvGrpSpPr>
          <p:nvPr/>
        </p:nvGrpSpPr>
        <p:grpSpPr bwMode="auto">
          <a:xfrm>
            <a:off x="1835150" y="1592263"/>
            <a:ext cx="1343025" cy="639762"/>
            <a:chOff x="1512888" y="527050"/>
            <a:chExt cx="1343025" cy="639763"/>
          </a:xfrm>
        </p:grpSpPr>
        <p:sp>
          <p:nvSpPr>
            <p:cNvPr id="64" name="Oval 63"/>
            <p:cNvSpPr>
              <a:spLocks noChangeArrowheads="1"/>
            </p:cNvSpPr>
            <p:nvPr/>
          </p:nvSpPr>
          <p:spPr bwMode="auto">
            <a:xfrm>
              <a:off x="1512888" y="527050"/>
              <a:ext cx="1343025" cy="639763"/>
            </a:xfrm>
            <a:prstGeom prst="ellipse">
              <a:avLst/>
            </a:prstGeom>
            <a:gradFill rotWithShape="1">
              <a:gsLst>
                <a:gs pos="0">
                  <a:srgbClr val="C0FF4D"/>
                </a:gs>
                <a:gs pos="100000">
                  <a:srgbClr val="A4D329"/>
                </a:gs>
              </a:gsLst>
              <a:lin ang="5400000"/>
            </a:gradFill>
            <a:ln w="9525">
              <a:solidFill>
                <a:srgbClr val="8CB522"/>
              </a:solidFill>
              <a:miter lim="800000"/>
              <a:headEnd/>
              <a:tailEnd/>
            </a:ln>
            <a:effectLst>
              <a:outerShdw dist="23000" dir="5400000" rotWithShape="0">
                <a:srgbClr val="808080">
                  <a:alpha val="34998"/>
                </a:srgbClr>
              </a:outerShdw>
            </a:effectLst>
          </p:spPr>
          <p:txBody>
            <a:bodyPr anchor="ctr"/>
            <a:lstStyle/>
            <a:p>
              <a:pPr algn="ctr"/>
              <a:endParaRPr lang="nb-NO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65" name="Oval 64"/>
            <p:cNvSpPr>
              <a:spLocks noChangeArrowheads="1"/>
            </p:cNvSpPr>
            <p:nvPr/>
          </p:nvSpPr>
          <p:spPr bwMode="auto">
            <a:xfrm>
              <a:off x="1563688" y="560387"/>
              <a:ext cx="1243013" cy="592139"/>
            </a:xfrm>
            <a:prstGeom prst="ellipse">
              <a:avLst/>
            </a:prstGeom>
            <a:gradFill rotWithShape="1">
              <a:gsLst>
                <a:gs pos="0">
                  <a:schemeClr val="bg1">
                    <a:alpha val="59000"/>
                  </a:schemeClr>
                </a:gs>
                <a:gs pos="52000">
                  <a:srgbClr val="70AC2E">
                    <a:alpha val="0"/>
                  </a:srgbClr>
                </a:gs>
              </a:gsLst>
              <a:lin ang="5400000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 lang="nb-NO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grpSp>
        <p:nvGrpSpPr>
          <p:cNvPr id="18455" name="Group 27"/>
          <p:cNvGrpSpPr>
            <a:grpSpLocks/>
          </p:cNvGrpSpPr>
          <p:nvPr/>
        </p:nvGrpSpPr>
        <p:grpSpPr bwMode="auto">
          <a:xfrm>
            <a:off x="1898650" y="4281488"/>
            <a:ext cx="1343025" cy="639762"/>
            <a:chOff x="1512888" y="527050"/>
            <a:chExt cx="1343025" cy="639763"/>
          </a:xfrm>
        </p:grpSpPr>
        <p:sp>
          <p:nvSpPr>
            <p:cNvPr id="67" name="Oval 66"/>
            <p:cNvSpPr>
              <a:spLocks noChangeArrowheads="1"/>
            </p:cNvSpPr>
            <p:nvPr/>
          </p:nvSpPr>
          <p:spPr bwMode="auto">
            <a:xfrm>
              <a:off x="1512888" y="527050"/>
              <a:ext cx="1343025" cy="639763"/>
            </a:xfrm>
            <a:prstGeom prst="ellipse">
              <a:avLst/>
            </a:prstGeom>
            <a:gradFill rotWithShape="1">
              <a:gsLst>
                <a:gs pos="0">
                  <a:srgbClr val="C0FF4D"/>
                </a:gs>
                <a:gs pos="100000">
                  <a:srgbClr val="A4D329"/>
                </a:gs>
              </a:gsLst>
              <a:lin ang="5400000"/>
            </a:gradFill>
            <a:ln w="9525">
              <a:solidFill>
                <a:srgbClr val="8CB522"/>
              </a:solidFill>
              <a:miter lim="800000"/>
              <a:headEnd/>
              <a:tailEnd/>
            </a:ln>
            <a:effectLst>
              <a:outerShdw dist="23000" dir="5400000" rotWithShape="0">
                <a:srgbClr val="808080">
                  <a:alpha val="34998"/>
                </a:srgbClr>
              </a:outerShdw>
            </a:effectLst>
          </p:spPr>
          <p:txBody>
            <a:bodyPr anchor="ctr"/>
            <a:lstStyle/>
            <a:p>
              <a:pPr algn="ctr"/>
              <a:endParaRPr lang="nb-NO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68" name="Oval 67"/>
            <p:cNvSpPr>
              <a:spLocks noChangeArrowheads="1"/>
            </p:cNvSpPr>
            <p:nvPr/>
          </p:nvSpPr>
          <p:spPr bwMode="auto">
            <a:xfrm>
              <a:off x="1563688" y="560387"/>
              <a:ext cx="1243013" cy="592139"/>
            </a:xfrm>
            <a:prstGeom prst="ellipse">
              <a:avLst/>
            </a:prstGeom>
            <a:gradFill rotWithShape="1">
              <a:gsLst>
                <a:gs pos="0">
                  <a:schemeClr val="bg1">
                    <a:alpha val="59000"/>
                  </a:schemeClr>
                </a:gs>
                <a:gs pos="52000">
                  <a:srgbClr val="70AC2E">
                    <a:alpha val="0"/>
                  </a:srgbClr>
                </a:gs>
              </a:gsLst>
              <a:lin ang="5400000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 lang="nb-NO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sp>
        <p:nvSpPr>
          <p:cNvPr id="18456" name="Rektangel 63"/>
          <p:cNvSpPr>
            <a:spLocks noChangeArrowheads="1"/>
          </p:cNvSpPr>
          <p:nvPr/>
        </p:nvSpPr>
        <p:spPr bwMode="auto">
          <a:xfrm>
            <a:off x="1984375" y="1725613"/>
            <a:ext cx="11430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400" b="1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Sample Text</a:t>
            </a:r>
          </a:p>
        </p:txBody>
      </p:sp>
      <p:grpSp>
        <p:nvGrpSpPr>
          <p:cNvPr id="18457" name="Group 68"/>
          <p:cNvGrpSpPr>
            <a:grpSpLocks/>
          </p:cNvGrpSpPr>
          <p:nvPr/>
        </p:nvGrpSpPr>
        <p:grpSpPr bwMode="auto">
          <a:xfrm>
            <a:off x="3490913" y="1452563"/>
            <a:ext cx="1343025" cy="639762"/>
            <a:chOff x="1512888" y="527050"/>
            <a:chExt cx="1343025" cy="639763"/>
          </a:xfrm>
        </p:grpSpPr>
        <p:sp>
          <p:nvSpPr>
            <p:cNvPr id="71" name="Oval 70"/>
            <p:cNvSpPr>
              <a:spLocks noChangeArrowheads="1"/>
            </p:cNvSpPr>
            <p:nvPr/>
          </p:nvSpPr>
          <p:spPr bwMode="auto">
            <a:xfrm>
              <a:off x="1512888" y="527050"/>
              <a:ext cx="1343025" cy="639763"/>
            </a:xfrm>
            <a:prstGeom prst="ellipse">
              <a:avLst/>
            </a:prstGeom>
            <a:gradFill rotWithShape="1">
              <a:gsLst>
                <a:gs pos="0">
                  <a:srgbClr val="C0FF4D"/>
                </a:gs>
                <a:gs pos="100000">
                  <a:srgbClr val="A4D329"/>
                </a:gs>
              </a:gsLst>
              <a:lin ang="5400000"/>
            </a:gradFill>
            <a:ln w="9525">
              <a:solidFill>
                <a:srgbClr val="8CB522"/>
              </a:solidFill>
              <a:miter lim="800000"/>
              <a:headEnd/>
              <a:tailEnd/>
            </a:ln>
            <a:effectLst>
              <a:outerShdw dist="23000" dir="5400000" rotWithShape="0">
                <a:srgbClr val="808080">
                  <a:alpha val="34998"/>
                </a:srgbClr>
              </a:outerShdw>
            </a:effectLst>
          </p:spPr>
          <p:txBody>
            <a:bodyPr anchor="ctr"/>
            <a:lstStyle/>
            <a:p>
              <a:pPr algn="ctr"/>
              <a:endParaRPr lang="nb-NO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72" name="Oval 71"/>
            <p:cNvSpPr>
              <a:spLocks noChangeArrowheads="1"/>
            </p:cNvSpPr>
            <p:nvPr/>
          </p:nvSpPr>
          <p:spPr bwMode="auto">
            <a:xfrm>
              <a:off x="1563688" y="560387"/>
              <a:ext cx="1243012" cy="592139"/>
            </a:xfrm>
            <a:prstGeom prst="ellipse">
              <a:avLst/>
            </a:prstGeom>
            <a:gradFill rotWithShape="1">
              <a:gsLst>
                <a:gs pos="0">
                  <a:schemeClr val="bg1">
                    <a:alpha val="59000"/>
                  </a:schemeClr>
                </a:gs>
                <a:gs pos="52000">
                  <a:srgbClr val="70AC2E">
                    <a:alpha val="0"/>
                  </a:srgbClr>
                </a:gs>
              </a:gsLst>
              <a:lin ang="5400000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 lang="nb-NO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sp>
        <p:nvSpPr>
          <p:cNvPr id="18458" name="Rektangel 63"/>
          <p:cNvSpPr>
            <a:spLocks noChangeArrowheads="1"/>
          </p:cNvSpPr>
          <p:nvPr/>
        </p:nvSpPr>
        <p:spPr bwMode="auto">
          <a:xfrm>
            <a:off x="3605213" y="1600200"/>
            <a:ext cx="11430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400" b="1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Sample Text</a:t>
            </a:r>
          </a:p>
        </p:txBody>
      </p:sp>
      <p:grpSp>
        <p:nvGrpSpPr>
          <p:cNvPr id="18459" name="Group 71"/>
          <p:cNvGrpSpPr>
            <a:grpSpLocks/>
          </p:cNvGrpSpPr>
          <p:nvPr/>
        </p:nvGrpSpPr>
        <p:grpSpPr bwMode="auto">
          <a:xfrm>
            <a:off x="4933950" y="1589088"/>
            <a:ext cx="1343025" cy="638175"/>
            <a:chOff x="1512888" y="527050"/>
            <a:chExt cx="1343025" cy="639763"/>
          </a:xfrm>
        </p:grpSpPr>
        <p:sp>
          <p:nvSpPr>
            <p:cNvPr id="75" name="Oval 74"/>
            <p:cNvSpPr>
              <a:spLocks noChangeArrowheads="1"/>
            </p:cNvSpPr>
            <p:nvPr/>
          </p:nvSpPr>
          <p:spPr bwMode="auto">
            <a:xfrm>
              <a:off x="1512888" y="527050"/>
              <a:ext cx="1343025" cy="639763"/>
            </a:xfrm>
            <a:prstGeom prst="ellipse">
              <a:avLst/>
            </a:prstGeom>
            <a:gradFill rotWithShape="1">
              <a:gsLst>
                <a:gs pos="0">
                  <a:srgbClr val="C0FF4D"/>
                </a:gs>
                <a:gs pos="999">
                  <a:srgbClr val="C0FF4D"/>
                </a:gs>
                <a:gs pos="100000">
                  <a:srgbClr val="A4D329"/>
                </a:gs>
              </a:gsLst>
              <a:lin ang="5400000"/>
            </a:gradFill>
            <a:ln w="9525">
              <a:solidFill>
                <a:srgbClr val="8CB522"/>
              </a:solidFill>
              <a:miter lim="800000"/>
              <a:headEnd/>
              <a:tailEnd/>
            </a:ln>
            <a:effectLst>
              <a:outerShdw dist="23000" dir="5400000" rotWithShape="0">
                <a:srgbClr val="808080">
                  <a:alpha val="34998"/>
                </a:srgbClr>
              </a:outerShdw>
            </a:effectLst>
          </p:spPr>
          <p:txBody>
            <a:bodyPr anchor="ctr"/>
            <a:lstStyle/>
            <a:p>
              <a:pPr algn="ctr"/>
              <a:endParaRPr lang="nb-NO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76" name="Oval 75"/>
            <p:cNvSpPr>
              <a:spLocks noChangeArrowheads="1"/>
            </p:cNvSpPr>
            <p:nvPr/>
          </p:nvSpPr>
          <p:spPr bwMode="auto">
            <a:xfrm>
              <a:off x="1563688" y="560470"/>
              <a:ext cx="1243013" cy="592019"/>
            </a:xfrm>
            <a:prstGeom prst="ellipse">
              <a:avLst/>
            </a:prstGeom>
            <a:gradFill rotWithShape="1">
              <a:gsLst>
                <a:gs pos="0">
                  <a:schemeClr val="bg1">
                    <a:alpha val="59000"/>
                  </a:schemeClr>
                </a:gs>
                <a:gs pos="52000">
                  <a:srgbClr val="70AC2E">
                    <a:alpha val="0"/>
                  </a:srgbClr>
                </a:gs>
              </a:gsLst>
              <a:lin ang="5400000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 lang="nb-NO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sp>
        <p:nvSpPr>
          <p:cNvPr id="18460" name="Rektangel 63"/>
          <p:cNvSpPr>
            <a:spLocks noChangeArrowheads="1"/>
          </p:cNvSpPr>
          <p:nvPr/>
        </p:nvSpPr>
        <p:spPr bwMode="auto">
          <a:xfrm>
            <a:off x="5080000" y="1725613"/>
            <a:ext cx="11430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400" b="1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Sample Text</a:t>
            </a:r>
          </a:p>
        </p:txBody>
      </p:sp>
      <p:sp>
        <p:nvSpPr>
          <p:cNvPr id="18461" name="Rektangel 63"/>
          <p:cNvSpPr>
            <a:spLocks noChangeArrowheads="1"/>
          </p:cNvSpPr>
          <p:nvPr/>
        </p:nvSpPr>
        <p:spPr bwMode="auto">
          <a:xfrm>
            <a:off x="2063750" y="4430713"/>
            <a:ext cx="11430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400" b="1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Sample Text</a:t>
            </a:r>
          </a:p>
        </p:txBody>
      </p:sp>
      <p:grpSp>
        <p:nvGrpSpPr>
          <p:cNvPr id="18462" name="Group 30"/>
          <p:cNvGrpSpPr>
            <a:grpSpLocks/>
          </p:cNvGrpSpPr>
          <p:nvPr/>
        </p:nvGrpSpPr>
        <p:grpSpPr bwMode="auto">
          <a:xfrm>
            <a:off x="3490913" y="4373563"/>
            <a:ext cx="1343025" cy="639762"/>
            <a:chOff x="1512888" y="527050"/>
            <a:chExt cx="1343025" cy="639763"/>
          </a:xfrm>
        </p:grpSpPr>
        <p:sp>
          <p:nvSpPr>
            <p:cNvPr id="80" name="Oval 79"/>
            <p:cNvSpPr>
              <a:spLocks noChangeArrowheads="1"/>
            </p:cNvSpPr>
            <p:nvPr/>
          </p:nvSpPr>
          <p:spPr bwMode="auto">
            <a:xfrm>
              <a:off x="1512888" y="527050"/>
              <a:ext cx="1343025" cy="639763"/>
            </a:xfrm>
            <a:prstGeom prst="ellipse">
              <a:avLst/>
            </a:prstGeom>
            <a:gradFill rotWithShape="1">
              <a:gsLst>
                <a:gs pos="0">
                  <a:srgbClr val="C0FF4D"/>
                </a:gs>
                <a:gs pos="100000">
                  <a:srgbClr val="A4D329"/>
                </a:gs>
              </a:gsLst>
              <a:lin ang="5400000"/>
            </a:gradFill>
            <a:ln w="9525">
              <a:solidFill>
                <a:srgbClr val="568424"/>
              </a:solidFill>
              <a:miter lim="800000"/>
              <a:headEnd/>
              <a:tailEnd/>
            </a:ln>
            <a:effectLst>
              <a:outerShdw dist="23000" dir="5400000" rotWithShape="0">
                <a:srgbClr val="808080">
                  <a:alpha val="34998"/>
                </a:srgbClr>
              </a:outerShdw>
            </a:effectLst>
          </p:spPr>
          <p:txBody>
            <a:bodyPr anchor="ctr"/>
            <a:lstStyle/>
            <a:p>
              <a:pPr algn="ctr"/>
              <a:endParaRPr lang="nb-NO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81" name="Oval 80"/>
            <p:cNvSpPr>
              <a:spLocks noChangeArrowheads="1"/>
            </p:cNvSpPr>
            <p:nvPr/>
          </p:nvSpPr>
          <p:spPr bwMode="auto">
            <a:xfrm>
              <a:off x="1563688" y="560387"/>
              <a:ext cx="1243012" cy="592139"/>
            </a:xfrm>
            <a:prstGeom prst="ellipse">
              <a:avLst/>
            </a:prstGeom>
            <a:gradFill rotWithShape="1">
              <a:gsLst>
                <a:gs pos="0">
                  <a:schemeClr val="bg1">
                    <a:alpha val="59000"/>
                  </a:schemeClr>
                </a:gs>
                <a:gs pos="52000">
                  <a:srgbClr val="70AC2E">
                    <a:alpha val="0"/>
                  </a:srgbClr>
                </a:gs>
              </a:gsLst>
              <a:lin ang="5400000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 lang="nb-NO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sp>
        <p:nvSpPr>
          <p:cNvPr id="18463" name="Rektangel 63"/>
          <p:cNvSpPr>
            <a:spLocks noChangeArrowheads="1"/>
          </p:cNvSpPr>
          <p:nvPr/>
        </p:nvSpPr>
        <p:spPr bwMode="auto">
          <a:xfrm>
            <a:off x="3629025" y="4518025"/>
            <a:ext cx="11430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400" b="1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Sample Text</a:t>
            </a:r>
          </a:p>
        </p:txBody>
      </p:sp>
      <p:grpSp>
        <p:nvGrpSpPr>
          <p:cNvPr id="18464" name="Group 33"/>
          <p:cNvGrpSpPr>
            <a:grpSpLocks/>
          </p:cNvGrpSpPr>
          <p:nvPr/>
        </p:nvGrpSpPr>
        <p:grpSpPr bwMode="auto">
          <a:xfrm>
            <a:off x="4933950" y="4235450"/>
            <a:ext cx="1343025" cy="639763"/>
            <a:chOff x="1512888" y="527050"/>
            <a:chExt cx="1343025" cy="639763"/>
          </a:xfrm>
        </p:grpSpPr>
        <p:sp>
          <p:nvSpPr>
            <p:cNvPr id="85" name="Oval 84"/>
            <p:cNvSpPr>
              <a:spLocks noChangeArrowheads="1"/>
            </p:cNvSpPr>
            <p:nvPr/>
          </p:nvSpPr>
          <p:spPr bwMode="auto">
            <a:xfrm>
              <a:off x="1512888" y="527050"/>
              <a:ext cx="1343025" cy="639763"/>
            </a:xfrm>
            <a:prstGeom prst="ellipse">
              <a:avLst/>
            </a:prstGeom>
            <a:gradFill rotWithShape="1">
              <a:gsLst>
                <a:gs pos="0">
                  <a:srgbClr val="C0FF4D"/>
                </a:gs>
                <a:gs pos="100000">
                  <a:srgbClr val="A4D329"/>
                </a:gs>
              </a:gsLst>
              <a:lin ang="5400000"/>
            </a:gradFill>
            <a:ln w="9525">
              <a:solidFill>
                <a:srgbClr val="8CB522"/>
              </a:solidFill>
              <a:miter lim="800000"/>
              <a:headEnd/>
              <a:tailEnd/>
            </a:ln>
            <a:effectLst>
              <a:outerShdw dist="23000" dir="5400000" rotWithShape="0">
                <a:srgbClr val="808080">
                  <a:alpha val="34998"/>
                </a:srgbClr>
              </a:outerShdw>
            </a:effectLst>
          </p:spPr>
          <p:txBody>
            <a:bodyPr anchor="ctr"/>
            <a:lstStyle/>
            <a:p>
              <a:pPr algn="ctr"/>
              <a:endParaRPr lang="nb-NO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86" name="Oval 85"/>
            <p:cNvSpPr>
              <a:spLocks noChangeArrowheads="1"/>
            </p:cNvSpPr>
            <p:nvPr/>
          </p:nvSpPr>
          <p:spPr bwMode="auto">
            <a:xfrm>
              <a:off x="1563688" y="560388"/>
              <a:ext cx="1243013" cy="592137"/>
            </a:xfrm>
            <a:prstGeom prst="ellipse">
              <a:avLst/>
            </a:prstGeom>
            <a:gradFill rotWithShape="1">
              <a:gsLst>
                <a:gs pos="0">
                  <a:schemeClr val="bg1">
                    <a:alpha val="59000"/>
                  </a:schemeClr>
                </a:gs>
                <a:gs pos="52000">
                  <a:srgbClr val="70AC2E">
                    <a:alpha val="0"/>
                  </a:srgbClr>
                </a:gs>
              </a:gsLst>
              <a:lin ang="5400000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 lang="nb-NO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sp>
        <p:nvSpPr>
          <p:cNvPr id="18465" name="Rektangel 63"/>
          <p:cNvSpPr>
            <a:spLocks noChangeArrowheads="1"/>
          </p:cNvSpPr>
          <p:nvPr/>
        </p:nvSpPr>
        <p:spPr bwMode="auto">
          <a:xfrm>
            <a:off x="5080000" y="4406900"/>
            <a:ext cx="11430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400" b="1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Sample Text</a:t>
            </a:r>
          </a:p>
        </p:txBody>
      </p:sp>
      <p:sp>
        <p:nvSpPr>
          <p:cNvPr id="18466" name="Rektangel 63"/>
          <p:cNvSpPr>
            <a:spLocks noChangeArrowheads="1"/>
          </p:cNvSpPr>
          <p:nvPr/>
        </p:nvSpPr>
        <p:spPr bwMode="auto">
          <a:xfrm>
            <a:off x="3192463" y="2301875"/>
            <a:ext cx="1166812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AR" sz="12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This is an example text. </a:t>
            </a:r>
          </a:p>
        </p:txBody>
      </p:sp>
    </p:spTree>
    <p:extLst>
      <p:ext uri="{BB962C8B-B14F-4D97-AF65-F5344CB8AC3E}">
        <p14:creationId xmlns:p14="http://schemas.microsoft.com/office/powerpoint/2010/main" val="3311863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ktangel 72"/>
          <p:cNvSpPr>
            <a:spLocks noChangeArrowheads="1"/>
          </p:cNvSpPr>
          <p:nvPr/>
        </p:nvSpPr>
        <p:spPr bwMode="auto">
          <a:xfrm rot="10800000" flipV="1">
            <a:off x="-1588" y="0"/>
            <a:ext cx="9144001" cy="4689475"/>
          </a:xfrm>
          <a:prstGeom prst="rect">
            <a:avLst/>
          </a:prstGeom>
          <a:gradFill rotWithShape="1">
            <a:gsLst>
              <a:gs pos="0">
                <a:srgbClr val="BFBFBF"/>
              </a:gs>
              <a:gs pos="31000">
                <a:srgbClr val="F3F3F3"/>
              </a:gs>
              <a:gs pos="52000">
                <a:srgbClr val="F3F3F3"/>
              </a:gs>
              <a:gs pos="100000">
                <a:srgbClr val="F3F3F3"/>
              </a:gs>
              <a:gs pos="100000">
                <a:srgbClr val="F3F3F3"/>
              </a:gs>
              <a:gs pos="100000">
                <a:srgbClr val="F3F3F3"/>
              </a:gs>
            </a:gsLst>
            <a:lin ang="162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ctr" eaLnBrk="1" hangingPunct="1"/>
            <a:endParaRPr lang="en-US" altLang="en-US">
              <a:solidFill>
                <a:srgbClr val="FFFFFF"/>
              </a:solidFill>
              <a:latin typeface="Calibri" pitchFamily="-112" charset="0"/>
            </a:endParaRPr>
          </a:p>
        </p:txBody>
      </p:sp>
      <p:sp>
        <p:nvSpPr>
          <p:cNvPr id="72" name="Pentagon 71"/>
          <p:cNvSpPr/>
          <p:nvPr/>
        </p:nvSpPr>
        <p:spPr>
          <a:xfrm>
            <a:off x="269136" y="4714669"/>
            <a:ext cx="8589523" cy="2653186"/>
          </a:xfrm>
          <a:prstGeom prst="homePlate">
            <a:avLst>
              <a:gd name="adj" fmla="val 31841"/>
            </a:avLst>
          </a:prstGeom>
          <a:gradFill flip="none" rotWithShape="1">
            <a:gsLst>
              <a:gs pos="0">
                <a:srgbClr val="020000">
                  <a:alpha val="11000"/>
                </a:srgbClr>
              </a:gs>
              <a:gs pos="60000">
                <a:srgbClr val="FFFFFF">
                  <a:alpha val="0"/>
                </a:srgbClr>
              </a:gs>
            </a:gsLst>
            <a:lin ang="54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noProof="1">
              <a:solidFill>
                <a:srgbClr val="FFFFFF"/>
              </a:solidFill>
              <a:latin typeface="Calibri" pitchFamily="-112" charset="0"/>
            </a:endParaRPr>
          </a:p>
        </p:txBody>
      </p:sp>
      <p:sp>
        <p:nvSpPr>
          <p:cNvPr id="33" name="Tekstboks 32"/>
          <p:cNvSpPr txBox="1"/>
          <p:nvPr/>
        </p:nvSpPr>
        <p:spPr>
          <a:xfrm>
            <a:off x="155643" y="1488325"/>
            <a:ext cx="1223412" cy="707886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4000" b="1" dirty="0" smtClean="0">
                <a:gradFill flip="none" rotWithShape="1">
                  <a:gsLst>
                    <a:gs pos="0">
                      <a:srgbClr val="002060"/>
                    </a:gs>
                    <a:gs pos="50000">
                      <a:srgbClr val="0070C0"/>
                    </a:gs>
                  </a:gsLst>
                  <a:lin ang="13500000" scaled="1"/>
                  <a:tileRect/>
                </a:gradFill>
                <a:latin typeface="+mn-lt"/>
                <a:ea typeface="+mn-ea"/>
              </a:rPr>
              <a:t>2023</a:t>
            </a:r>
            <a:endParaRPr lang="da-DK" sz="4000" b="1" dirty="0">
              <a:gradFill flip="none" rotWithShape="1">
                <a:gsLst>
                  <a:gs pos="0">
                    <a:srgbClr val="002060"/>
                  </a:gs>
                  <a:gs pos="50000">
                    <a:srgbClr val="0070C0"/>
                  </a:gs>
                </a:gsLst>
                <a:lin ang="13500000" scaled="1"/>
                <a:tileRect/>
              </a:gradFill>
              <a:latin typeface="+mn-lt"/>
              <a:ea typeface="+mn-ea"/>
            </a:endParaRPr>
          </a:p>
        </p:txBody>
      </p:sp>
      <p:grpSp>
        <p:nvGrpSpPr>
          <p:cNvPr id="2055" name="Gruppe 40"/>
          <p:cNvGrpSpPr>
            <a:grpSpLocks/>
          </p:cNvGrpSpPr>
          <p:nvPr/>
        </p:nvGrpSpPr>
        <p:grpSpPr bwMode="auto">
          <a:xfrm>
            <a:off x="246063" y="2033588"/>
            <a:ext cx="8596312" cy="2652712"/>
            <a:chOff x="236589" y="2110902"/>
            <a:chExt cx="8596130" cy="2653186"/>
          </a:xfrm>
        </p:grpSpPr>
        <p:sp>
          <p:nvSpPr>
            <p:cNvPr id="2079" name="Pentagon 4"/>
            <p:cNvSpPr>
              <a:spLocks noChangeArrowheads="1"/>
            </p:cNvSpPr>
            <p:nvPr/>
          </p:nvSpPr>
          <p:spPr bwMode="auto">
            <a:xfrm>
              <a:off x="242939" y="2110902"/>
              <a:ext cx="8589780" cy="2653186"/>
            </a:xfrm>
            <a:prstGeom prst="homePlate">
              <a:avLst>
                <a:gd name="adj" fmla="val 31836"/>
              </a:avLst>
            </a:prstGeom>
            <a:gradFill rotWithShape="1">
              <a:gsLst>
                <a:gs pos="0">
                  <a:srgbClr val="FFFFFF"/>
                </a:gs>
                <a:gs pos="100000">
                  <a:srgbClr val="E6E6E6"/>
                </a:gs>
              </a:gsLst>
              <a:lin ang="5400000"/>
            </a:gradFill>
            <a:ln w="9525">
              <a:solidFill>
                <a:srgbClr val="E1E1E1"/>
              </a:solidFill>
              <a:miter lim="800000"/>
              <a:headEnd/>
              <a:tailEnd/>
            </a:ln>
            <a:effectLst>
              <a:outerShdw dist="38100" dir="2700000" algn="tl" rotWithShape="0">
                <a:srgbClr val="808080">
                  <a:alpha val="39998"/>
                </a:srgbClr>
              </a:outerShdw>
            </a:effec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-112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-112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-112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-112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-112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-112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-112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-112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-112" charset="-128"/>
                </a:defRPr>
              </a:lvl9pPr>
            </a:lstStyle>
            <a:p>
              <a:pPr algn="ctr" eaLnBrk="1" hangingPunct="1"/>
              <a:endParaRPr lang="en-US" altLang="en-US">
                <a:solidFill>
                  <a:srgbClr val="FFFFFF"/>
                </a:solidFill>
                <a:latin typeface="Arial Narrow" charset="0"/>
              </a:endParaRPr>
            </a:p>
          </p:txBody>
        </p:sp>
        <p:sp>
          <p:nvSpPr>
            <p:cNvPr id="2080" name="Rektangel 13"/>
            <p:cNvSpPr>
              <a:spLocks noChangeArrowheads="1"/>
            </p:cNvSpPr>
            <p:nvPr/>
          </p:nvSpPr>
          <p:spPr bwMode="auto">
            <a:xfrm>
              <a:off x="236589" y="2122016"/>
              <a:ext cx="7750011" cy="358839"/>
            </a:xfrm>
            <a:prstGeom prst="rect">
              <a:avLst/>
            </a:prstGeom>
            <a:gradFill rotWithShape="1">
              <a:gsLst>
                <a:gs pos="0">
                  <a:srgbClr val="0070C0"/>
                </a:gs>
                <a:gs pos="100000">
                  <a:srgbClr val="002060"/>
                </a:gs>
              </a:gsLst>
              <a:lin ang="5400000" scaled="1"/>
            </a:gradFill>
            <a:ln w="3175">
              <a:solidFill>
                <a:srgbClr val="0070C0"/>
              </a:solidFill>
              <a:round/>
              <a:headEnd/>
              <a:tailEnd/>
            </a:ln>
            <a:effectLst>
              <a:outerShdw dist="38100" dir="2700000" algn="tl" rotWithShape="0">
                <a:srgbClr val="808080">
                  <a:alpha val="39998"/>
                </a:srgbClr>
              </a:outerShdw>
            </a:effec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-112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-112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-112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-112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-112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-112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-112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-112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-112" charset="-128"/>
                </a:defRPr>
              </a:lvl9pPr>
            </a:lstStyle>
            <a:p>
              <a:pPr eaLnBrk="1" hangingPunct="1"/>
              <a:endParaRPr lang="en-US" altLang="en-US">
                <a:solidFill>
                  <a:srgbClr val="0D0D0D"/>
                </a:solidFill>
                <a:latin typeface="Calibri" pitchFamily="-112" charset="0"/>
              </a:endParaRPr>
            </a:p>
          </p:txBody>
        </p:sp>
        <p:grpSp>
          <p:nvGrpSpPr>
            <p:cNvPr id="2081" name="Gruppe 28"/>
            <p:cNvGrpSpPr>
              <a:grpSpLocks/>
            </p:cNvGrpSpPr>
            <p:nvPr/>
          </p:nvGrpSpPr>
          <p:grpSpPr bwMode="auto">
            <a:xfrm>
              <a:off x="872248" y="2130354"/>
              <a:ext cx="7114162" cy="2633734"/>
              <a:chOff x="872248" y="2130354"/>
              <a:chExt cx="7114162" cy="2422187"/>
            </a:xfrm>
          </p:grpSpPr>
          <p:cxnSp>
            <p:nvCxnSpPr>
              <p:cNvPr id="16" name="Lige forbindelse 15"/>
              <p:cNvCxnSpPr/>
              <p:nvPr/>
            </p:nvCxnSpPr>
            <p:spPr>
              <a:xfrm rot="5400000">
                <a:off x="309573" y="3336501"/>
                <a:ext cx="2422554" cy="9525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Lige forbindelse 17"/>
              <p:cNvCxnSpPr/>
              <p:nvPr/>
            </p:nvCxnSpPr>
            <p:spPr>
              <a:xfrm rot="5400000">
                <a:off x="-334938" y="3336501"/>
                <a:ext cx="2422554" cy="9525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Lige forbindelse 18"/>
              <p:cNvCxnSpPr/>
              <p:nvPr/>
            </p:nvCxnSpPr>
            <p:spPr>
              <a:xfrm rot="5400000">
                <a:off x="1600183" y="3336501"/>
                <a:ext cx="2422554" cy="9525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Lige forbindelse 19"/>
              <p:cNvCxnSpPr/>
              <p:nvPr/>
            </p:nvCxnSpPr>
            <p:spPr>
              <a:xfrm rot="5400000">
                <a:off x="955672" y="3336501"/>
                <a:ext cx="2422554" cy="9525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Lige forbindelse 20"/>
              <p:cNvCxnSpPr/>
              <p:nvPr/>
            </p:nvCxnSpPr>
            <p:spPr>
              <a:xfrm rot="5400000">
                <a:off x="2890793" y="3336501"/>
                <a:ext cx="2422554" cy="9525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Lige forbindelse 21"/>
              <p:cNvCxnSpPr/>
              <p:nvPr/>
            </p:nvCxnSpPr>
            <p:spPr>
              <a:xfrm rot="5400000">
                <a:off x="2244694" y="3336501"/>
                <a:ext cx="2422554" cy="9525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Lige forbindelse 22"/>
              <p:cNvCxnSpPr/>
              <p:nvPr/>
            </p:nvCxnSpPr>
            <p:spPr>
              <a:xfrm rot="5400000">
                <a:off x="4180609" y="3335708"/>
                <a:ext cx="2422554" cy="11112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Lige forbindelse 23"/>
              <p:cNvCxnSpPr/>
              <p:nvPr/>
            </p:nvCxnSpPr>
            <p:spPr>
              <a:xfrm rot="5400000">
                <a:off x="3535305" y="3336501"/>
                <a:ext cx="2422554" cy="9525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Lige forbindelse 24"/>
              <p:cNvCxnSpPr/>
              <p:nvPr/>
            </p:nvCxnSpPr>
            <p:spPr>
              <a:xfrm rot="5400000">
                <a:off x="5470426" y="3336501"/>
                <a:ext cx="2422554" cy="9525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Lige forbindelse 25"/>
              <p:cNvCxnSpPr/>
              <p:nvPr/>
            </p:nvCxnSpPr>
            <p:spPr>
              <a:xfrm rot="5400000">
                <a:off x="4825914" y="3336501"/>
                <a:ext cx="2422554" cy="9525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Lige forbindelse 26"/>
              <p:cNvCxnSpPr/>
              <p:nvPr/>
            </p:nvCxnSpPr>
            <p:spPr>
              <a:xfrm rot="5400000">
                <a:off x="6770561" y="3336501"/>
                <a:ext cx="2422554" cy="9525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Lige forbindelse 27"/>
              <p:cNvCxnSpPr/>
              <p:nvPr/>
            </p:nvCxnSpPr>
            <p:spPr>
              <a:xfrm rot="5400000">
                <a:off x="6115731" y="3335707"/>
                <a:ext cx="2422554" cy="11113"/>
              </a:xfrm>
              <a:prstGeom prst="line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056" name="Pentagon 30"/>
          <p:cNvSpPr>
            <a:spLocks noChangeArrowheads="1"/>
          </p:cNvSpPr>
          <p:nvPr/>
        </p:nvSpPr>
        <p:spPr bwMode="auto">
          <a:xfrm>
            <a:off x="258763" y="2444750"/>
            <a:ext cx="2493962" cy="482600"/>
          </a:xfrm>
          <a:prstGeom prst="homePlate">
            <a:avLst>
              <a:gd name="adj" fmla="val 35146"/>
            </a:avLst>
          </a:prstGeom>
          <a:gradFill rotWithShape="1">
            <a:gsLst>
              <a:gs pos="0">
                <a:srgbClr val="D9D9D9"/>
              </a:gs>
              <a:gs pos="100000">
                <a:srgbClr val="BFBFBF"/>
              </a:gs>
            </a:gsLst>
            <a:lin ang="5400000" scaled="1"/>
          </a:gradFill>
          <a:ln w="3175">
            <a:solidFill>
              <a:srgbClr val="BFBFBF"/>
            </a:solidFill>
            <a:round/>
            <a:headEnd/>
            <a:tailEnd/>
          </a:ln>
          <a:effectLst>
            <a:outerShdw dist="38100" dir="2700000" algn="tl" rotWithShape="0">
              <a:srgbClr val="808080">
                <a:alpha val="39998"/>
              </a:srgbClr>
            </a:outerShdw>
          </a:effec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eaLnBrk="1" hangingPunct="1"/>
            <a:endParaRPr lang="en-US" altLang="en-US">
              <a:solidFill>
                <a:srgbClr val="0D0D0D"/>
              </a:solidFill>
              <a:latin typeface="Calibri" pitchFamily="-112" charset="0"/>
            </a:endParaRPr>
          </a:p>
        </p:txBody>
      </p:sp>
      <p:sp>
        <p:nvSpPr>
          <p:cNvPr id="2057" name="Tekstboks 33"/>
          <p:cNvSpPr txBox="1">
            <a:spLocks noChangeArrowheads="1"/>
          </p:cNvSpPr>
          <p:nvPr/>
        </p:nvSpPr>
        <p:spPr bwMode="auto">
          <a:xfrm>
            <a:off x="544513" y="2544763"/>
            <a:ext cx="16002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eaLnBrk="1" hangingPunct="1"/>
            <a:r>
              <a:rPr lang="da-DK" altLang="en-US" sz="1200">
                <a:solidFill>
                  <a:srgbClr val="595959"/>
                </a:solidFill>
                <a:latin typeface="Calibri" pitchFamily="-112" charset="0"/>
              </a:rPr>
              <a:t>This is an example text</a:t>
            </a:r>
          </a:p>
        </p:txBody>
      </p:sp>
      <p:sp>
        <p:nvSpPr>
          <p:cNvPr id="2058" name="Pentagon 34"/>
          <p:cNvSpPr>
            <a:spLocks noChangeArrowheads="1"/>
          </p:cNvSpPr>
          <p:nvPr/>
        </p:nvSpPr>
        <p:spPr bwMode="auto">
          <a:xfrm>
            <a:off x="2211388" y="2997200"/>
            <a:ext cx="1806575" cy="482600"/>
          </a:xfrm>
          <a:prstGeom prst="homePlate">
            <a:avLst>
              <a:gd name="adj" fmla="val 35147"/>
            </a:avLst>
          </a:prstGeom>
          <a:gradFill rotWithShape="1">
            <a:gsLst>
              <a:gs pos="0">
                <a:srgbClr val="D9D9D9"/>
              </a:gs>
              <a:gs pos="100000">
                <a:srgbClr val="BFBFBF"/>
              </a:gs>
            </a:gsLst>
            <a:lin ang="5400000" scaled="1"/>
          </a:gradFill>
          <a:ln w="3175">
            <a:solidFill>
              <a:srgbClr val="BFBFBF"/>
            </a:solidFill>
            <a:round/>
            <a:headEnd/>
            <a:tailEnd/>
          </a:ln>
          <a:effectLst>
            <a:outerShdw dist="38100" dir="2700000" algn="tl" rotWithShape="0">
              <a:srgbClr val="808080">
                <a:alpha val="39998"/>
              </a:srgbClr>
            </a:outerShdw>
          </a:effec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eaLnBrk="1" hangingPunct="1"/>
            <a:endParaRPr lang="en-US" altLang="en-US">
              <a:solidFill>
                <a:srgbClr val="0D0D0D"/>
              </a:solidFill>
              <a:latin typeface="Calibri" pitchFamily="-112" charset="0"/>
            </a:endParaRPr>
          </a:p>
        </p:txBody>
      </p:sp>
      <p:sp>
        <p:nvSpPr>
          <p:cNvPr id="2059" name="Tekstboks 35"/>
          <p:cNvSpPr txBox="1">
            <a:spLocks noChangeArrowheads="1"/>
          </p:cNvSpPr>
          <p:nvPr/>
        </p:nvSpPr>
        <p:spPr bwMode="auto">
          <a:xfrm>
            <a:off x="2254250" y="3095625"/>
            <a:ext cx="1598613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eaLnBrk="1" hangingPunct="1"/>
            <a:r>
              <a:rPr lang="da-DK" altLang="en-US" sz="1200">
                <a:solidFill>
                  <a:srgbClr val="595959"/>
                </a:solidFill>
                <a:latin typeface="Calibri" pitchFamily="-112" charset="0"/>
              </a:rPr>
              <a:t>This is an example text</a:t>
            </a:r>
          </a:p>
        </p:txBody>
      </p:sp>
      <p:sp>
        <p:nvSpPr>
          <p:cNvPr id="2060" name="Pentagon 36"/>
          <p:cNvSpPr>
            <a:spLocks noChangeArrowheads="1"/>
          </p:cNvSpPr>
          <p:nvPr/>
        </p:nvSpPr>
        <p:spPr bwMode="auto">
          <a:xfrm>
            <a:off x="3476625" y="3551238"/>
            <a:ext cx="2427288" cy="482600"/>
          </a:xfrm>
          <a:prstGeom prst="homePlate">
            <a:avLst>
              <a:gd name="adj" fmla="val 35137"/>
            </a:avLst>
          </a:prstGeom>
          <a:gradFill rotWithShape="1">
            <a:gsLst>
              <a:gs pos="0">
                <a:srgbClr val="D9D9D9"/>
              </a:gs>
              <a:gs pos="100000">
                <a:srgbClr val="BFBFBF"/>
              </a:gs>
            </a:gsLst>
            <a:lin ang="5400000" scaled="1"/>
          </a:gradFill>
          <a:ln w="3175">
            <a:solidFill>
              <a:srgbClr val="BFBFBF"/>
            </a:solidFill>
            <a:round/>
            <a:headEnd/>
            <a:tailEnd/>
          </a:ln>
          <a:effectLst>
            <a:outerShdw dist="38100" dir="2700000" algn="tl" rotWithShape="0">
              <a:srgbClr val="808080">
                <a:alpha val="39998"/>
              </a:srgbClr>
            </a:outerShdw>
          </a:effec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eaLnBrk="1" hangingPunct="1"/>
            <a:endParaRPr lang="en-US" altLang="en-US">
              <a:solidFill>
                <a:srgbClr val="0D0D0D"/>
              </a:solidFill>
              <a:latin typeface="Calibri" pitchFamily="-112" charset="0"/>
            </a:endParaRPr>
          </a:p>
        </p:txBody>
      </p:sp>
      <p:sp>
        <p:nvSpPr>
          <p:cNvPr id="2061" name="Tekstboks 37"/>
          <p:cNvSpPr txBox="1">
            <a:spLocks noChangeArrowheads="1"/>
          </p:cNvSpPr>
          <p:nvPr/>
        </p:nvSpPr>
        <p:spPr bwMode="auto">
          <a:xfrm>
            <a:off x="3751263" y="3649663"/>
            <a:ext cx="160020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eaLnBrk="1" hangingPunct="1"/>
            <a:r>
              <a:rPr lang="da-DK" altLang="en-US" sz="1200">
                <a:solidFill>
                  <a:srgbClr val="595959"/>
                </a:solidFill>
                <a:latin typeface="Calibri" pitchFamily="-112" charset="0"/>
              </a:rPr>
              <a:t>This is an example text</a:t>
            </a:r>
          </a:p>
        </p:txBody>
      </p:sp>
      <p:sp>
        <p:nvSpPr>
          <p:cNvPr id="2062" name="Pentagon 38"/>
          <p:cNvSpPr>
            <a:spLocks noChangeArrowheads="1"/>
          </p:cNvSpPr>
          <p:nvPr/>
        </p:nvSpPr>
        <p:spPr bwMode="auto">
          <a:xfrm>
            <a:off x="5622925" y="4102100"/>
            <a:ext cx="2195513" cy="482600"/>
          </a:xfrm>
          <a:prstGeom prst="homePlate">
            <a:avLst>
              <a:gd name="adj" fmla="val 35131"/>
            </a:avLst>
          </a:prstGeom>
          <a:gradFill rotWithShape="1">
            <a:gsLst>
              <a:gs pos="0">
                <a:srgbClr val="D9D9D9"/>
              </a:gs>
              <a:gs pos="100000">
                <a:srgbClr val="BFBFBF"/>
              </a:gs>
            </a:gsLst>
            <a:lin ang="5400000" scaled="1"/>
          </a:gradFill>
          <a:ln w="3175">
            <a:solidFill>
              <a:srgbClr val="BFBFBF"/>
            </a:solidFill>
            <a:round/>
            <a:headEnd/>
            <a:tailEnd/>
          </a:ln>
          <a:effectLst>
            <a:outerShdw dist="38100" dir="2700000" algn="tl" rotWithShape="0">
              <a:srgbClr val="808080">
                <a:alpha val="39998"/>
              </a:srgbClr>
            </a:outerShdw>
          </a:effec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eaLnBrk="1" hangingPunct="1"/>
            <a:endParaRPr lang="en-US" altLang="en-US">
              <a:solidFill>
                <a:srgbClr val="0D0D0D"/>
              </a:solidFill>
              <a:latin typeface="Calibri" pitchFamily="-112" charset="0"/>
            </a:endParaRPr>
          </a:p>
        </p:txBody>
      </p:sp>
      <p:sp>
        <p:nvSpPr>
          <p:cNvPr id="2063" name="Tekstboks 39"/>
          <p:cNvSpPr txBox="1">
            <a:spLocks noChangeArrowheads="1"/>
          </p:cNvSpPr>
          <p:nvPr/>
        </p:nvSpPr>
        <p:spPr bwMode="auto">
          <a:xfrm>
            <a:off x="5840413" y="4202113"/>
            <a:ext cx="159861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eaLnBrk="1" hangingPunct="1"/>
            <a:r>
              <a:rPr lang="da-DK" altLang="en-US" sz="1200">
                <a:solidFill>
                  <a:srgbClr val="595959"/>
                </a:solidFill>
                <a:latin typeface="Calibri" pitchFamily="-112" charset="0"/>
              </a:rPr>
              <a:t>This is an example text</a:t>
            </a:r>
          </a:p>
        </p:txBody>
      </p:sp>
      <p:sp>
        <p:nvSpPr>
          <p:cNvPr id="2064" name="Rectangle 8"/>
          <p:cNvSpPr>
            <a:spLocks noChangeArrowheads="1"/>
          </p:cNvSpPr>
          <p:nvPr/>
        </p:nvSpPr>
        <p:spPr bwMode="gray">
          <a:xfrm>
            <a:off x="314325" y="195263"/>
            <a:ext cx="8520113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eaLnBrk="1" hangingPunct="1"/>
            <a:r>
              <a:rPr lang="de-DE" altLang="en-US" sz="2600" b="1">
                <a:solidFill>
                  <a:srgbClr val="000000"/>
                </a:solidFill>
                <a:latin typeface="Calibri" pitchFamily="-112" charset="0"/>
              </a:rPr>
              <a:t>TIMELINE </a:t>
            </a:r>
            <a:r>
              <a:rPr lang="de-DE" altLang="en-US" sz="2600">
                <a:solidFill>
                  <a:srgbClr val="000000"/>
                </a:solidFill>
                <a:latin typeface="Calibri" pitchFamily="-112" charset="0"/>
              </a:rPr>
              <a:t>PROJECT PLANNING</a:t>
            </a:r>
            <a:endParaRPr lang="de-DE" altLang="en-US" sz="1600">
              <a:solidFill>
                <a:srgbClr val="000000"/>
              </a:solidFill>
              <a:latin typeface="Calibri" pitchFamily="-112" charset="0"/>
            </a:endParaRPr>
          </a:p>
        </p:txBody>
      </p:sp>
      <p:sp>
        <p:nvSpPr>
          <p:cNvPr id="2065" name="Tekstboks 43"/>
          <p:cNvSpPr txBox="1">
            <a:spLocks noChangeArrowheads="1"/>
          </p:cNvSpPr>
          <p:nvPr/>
        </p:nvSpPr>
        <p:spPr bwMode="auto">
          <a:xfrm>
            <a:off x="7439025" y="2047875"/>
            <a:ext cx="4603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ctr" eaLnBrk="1" hangingPunct="1"/>
            <a:r>
              <a:rPr lang="da-DK" altLang="en-US" sz="1400">
                <a:solidFill>
                  <a:schemeClr val="bg1"/>
                </a:solidFill>
                <a:latin typeface="Calibri" pitchFamily="-112" charset="0"/>
              </a:rPr>
              <a:t>Dec</a:t>
            </a:r>
          </a:p>
        </p:txBody>
      </p:sp>
      <p:sp>
        <p:nvSpPr>
          <p:cNvPr id="2066" name="Tekstboks 44"/>
          <p:cNvSpPr txBox="1">
            <a:spLocks noChangeArrowheads="1"/>
          </p:cNvSpPr>
          <p:nvPr/>
        </p:nvSpPr>
        <p:spPr bwMode="auto">
          <a:xfrm>
            <a:off x="6164263" y="2047875"/>
            <a:ext cx="4397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ctr" eaLnBrk="1" hangingPunct="1"/>
            <a:r>
              <a:rPr lang="da-DK" altLang="en-US" sz="1400">
                <a:solidFill>
                  <a:schemeClr val="bg1"/>
                </a:solidFill>
                <a:latin typeface="Calibri" pitchFamily="-112" charset="0"/>
              </a:rPr>
              <a:t>Oct</a:t>
            </a:r>
          </a:p>
        </p:txBody>
      </p:sp>
      <p:sp>
        <p:nvSpPr>
          <p:cNvPr id="2067" name="Tekstboks 45"/>
          <p:cNvSpPr txBox="1">
            <a:spLocks noChangeArrowheads="1"/>
          </p:cNvSpPr>
          <p:nvPr/>
        </p:nvSpPr>
        <p:spPr bwMode="auto">
          <a:xfrm>
            <a:off x="5508625" y="2047875"/>
            <a:ext cx="450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ctr" eaLnBrk="1" hangingPunct="1"/>
            <a:r>
              <a:rPr lang="da-DK" altLang="en-US" sz="1400">
                <a:solidFill>
                  <a:schemeClr val="bg1"/>
                </a:solidFill>
                <a:latin typeface="Calibri" pitchFamily="-112" charset="0"/>
              </a:rPr>
              <a:t>Sep</a:t>
            </a:r>
          </a:p>
        </p:txBody>
      </p:sp>
      <p:sp>
        <p:nvSpPr>
          <p:cNvPr id="2068" name="Tekstboks 46"/>
          <p:cNvSpPr txBox="1">
            <a:spLocks noChangeArrowheads="1"/>
          </p:cNvSpPr>
          <p:nvPr/>
        </p:nvSpPr>
        <p:spPr bwMode="auto">
          <a:xfrm>
            <a:off x="4857750" y="2047875"/>
            <a:ext cx="4683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ctr" eaLnBrk="1" hangingPunct="1"/>
            <a:r>
              <a:rPr lang="da-DK" altLang="en-US" sz="1400">
                <a:solidFill>
                  <a:schemeClr val="bg1"/>
                </a:solidFill>
                <a:latin typeface="Calibri" pitchFamily="-112" charset="0"/>
              </a:rPr>
              <a:t>Aug</a:t>
            </a:r>
          </a:p>
        </p:txBody>
      </p:sp>
      <p:sp>
        <p:nvSpPr>
          <p:cNvPr id="2069" name="Tekstboks 47"/>
          <p:cNvSpPr txBox="1">
            <a:spLocks noChangeArrowheads="1"/>
          </p:cNvSpPr>
          <p:nvPr/>
        </p:nvSpPr>
        <p:spPr bwMode="auto">
          <a:xfrm>
            <a:off x="4211638" y="2047875"/>
            <a:ext cx="4603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ctr" eaLnBrk="1" hangingPunct="1"/>
            <a:r>
              <a:rPr lang="da-DK" altLang="en-US" sz="1400">
                <a:solidFill>
                  <a:schemeClr val="bg1"/>
                </a:solidFill>
                <a:latin typeface="Calibri" pitchFamily="-112" charset="0"/>
              </a:rPr>
              <a:t>July</a:t>
            </a:r>
          </a:p>
        </p:txBody>
      </p:sp>
      <p:sp>
        <p:nvSpPr>
          <p:cNvPr id="2070" name="Tekstboks 48"/>
          <p:cNvSpPr txBox="1">
            <a:spLocks noChangeArrowheads="1"/>
          </p:cNvSpPr>
          <p:nvPr/>
        </p:nvSpPr>
        <p:spPr bwMode="auto">
          <a:xfrm>
            <a:off x="3525838" y="2047875"/>
            <a:ext cx="52228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ctr" eaLnBrk="1" hangingPunct="1"/>
            <a:r>
              <a:rPr lang="da-DK" altLang="en-US" sz="1400">
                <a:solidFill>
                  <a:schemeClr val="bg1"/>
                </a:solidFill>
                <a:latin typeface="Calibri" pitchFamily="-112" charset="0"/>
              </a:rPr>
              <a:t>June</a:t>
            </a:r>
          </a:p>
        </p:txBody>
      </p:sp>
      <p:sp>
        <p:nvSpPr>
          <p:cNvPr id="2071" name="Tekstboks 49"/>
          <p:cNvSpPr txBox="1">
            <a:spLocks noChangeArrowheads="1"/>
          </p:cNvSpPr>
          <p:nvPr/>
        </p:nvSpPr>
        <p:spPr bwMode="auto">
          <a:xfrm>
            <a:off x="2265363" y="2047875"/>
            <a:ext cx="5286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ctr" eaLnBrk="1" hangingPunct="1"/>
            <a:r>
              <a:rPr lang="da-DK" altLang="en-US" sz="1400">
                <a:solidFill>
                  <a:schemeClr val="bg1"/>
                </a:solidFill>
                <a:latin typeface="Calibri" pitchFamily="-112" charset="0"/>
              </a:rPr>
              <a:t>April</a:t>
            </a:r>
          </a:p>
        </p:txBody>
      </p:sp>
      <p:sp>
        <p:nvSpPr>
          <p:cNvPr id="2072" name="Tekstboks 50"/>
          <p:cNvSpPr txBox="1">
            <a:spLocks noChangeArrowheads="1"/>
          </p:cNvSpPr>
          <p:nvPr/>
        </p:nvSpPr>
        <p:spPr bwMode="auto">
          <a:xfrm>
            <a:off x="1525588" y="2047875"/>
            <a:ext cx="6556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ctr" eaLnBrk="1" hangingPunct="1"/>
            <a:r>
              <a:rPr lang="da-DK" altLang="en-US" sz="1400">
                <a:solidFill>
                  <a:schemeClr val="bg1"/>
                </a:solidFill>
                <a:latin typeface="Calibri" pitchFamily="-112" charset="0"/>
              </a:rPr>
              <a:t>March</a:t>
            </a:r>
          </a:p>
        </p:txBody>
      </p:sp>
      <p:sp>
        <p:nvSpPr>
          <p:cNvPr id="2073" name="Tekstboks 51"/>
          <p:cNvSpPr txBox="1">
            <a:spLocks noChangeArrowheads="1"/>
          </p:cNvSpPr>
          <p:nvPr/>
        </p:nvSpPr>
        <p:spPr bwMode="auto">
          <a:xfrm>
            <a:off x="973138" y="2047875"/>
            <a:ext cx="4492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ctr" eaLnBrk="1" hangingPunct="1"/>
            <a:r>
              <a:rPr lang="da-DK" altLang="en-US" sz="1400">
                <a:solidFill>
                  <a:schemeClr val="bg1"/>
                </a:solidFill>
                <a:latin typeface="Calibri" pitchFamily="-112" charset="0"/>
              </a:rPr>
              <a:t>Feb</a:t>
            </a:r>
          </a:p>
        </p:txBody>
      </p:sp>
      <p:sp>
        <p:nvSpPr>
          <p:cNvPr id="2074" name="Tekstboks 52"/>
          <p:cNvSpPr txBox="1">
            <a:spLocks noChangeArrowheads="1"/>
          </p:cNvSpPr>
          <p:nvPr/>
        </p:nvSpPr>
        <p:spPr bwMode="auto">
          <a:xfrm>
            <a:off x="330200" y="2047875"/>
            <a:ext cx="4238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ctr" eaLnBrk="1" hangingPunct="1"/>
            <a:r>
              <a:rPr lang="da-DK" altLang="en-US" sz="1400">
                <a:solidFill>
                  <a:schemeClr val="bg1"/>
                </a:solidFill>
                <a:latin typeface="Calibri" pitchFamily="-112" charset="0"/>
              </a:rPr>
              <a:t>Jan</a:t>
            </a:r>
          </a:p>
        </p:txBody>
      </p:sp>
      <p:sp>
        <p:nvSpPr>
          <p:cNvPr id="2075" name="Tekstboks 53"/>
          <p:cNvSpPr txBox="1">
            <a:spLocks noChangeArrowheads="1"/>
          </p:cNvSpPr>
          <p:nvPr/>
        </p:nvSpPr>
        <p:spPr bwMode="auto">
          <a:xfrm>
            <a:off x="2908300" y="2047875"/>
            <a:ext cx="5032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ctr" eaLnBrk="1" hangingPunct="1"/>
            <a:r>
              <a:rPr lang="da-DK" altLang="en-US" sz="1400">
                <a:solidFill>
                  <a:schemeClr val="bg1"/>
                </a:solidFill>
                <a:latin typeface="Calibri" pitchFamily="-112" charset="0"/>
              </a:rPr>
              <a:t>May</a:t>
            </a:r>
          </a:p>
        </p:txBody>
      </p:sp>
      <p:sp>
        <p:nvSpPr>
          <p:cNvPr id="2076" name="Tekstboks 54"/>
          <p:cNvSpPr txBox="1">
            <a:spLocks noChangeArrowheads="1"/>
          </p:cNvSpPr>
          <p:nvPr/>
        </p:nvSpPr>
        <p:spPr bwMode="auto">
          <a:xfrm>
            <a:off x="6784975" y="2047875"/>
            <a:ext cx="4762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algn="ctr" eaLnBrk="1" hangingPunct="1"/>
            <a:r>
              <a:rPr lang="da-DK" altLang="en-US" sz="1400">
                <a:solidFill>
                  <a:schemeClr val="bg1"/>
                </a:solidFill>
                <a:latin typeface="Calibri" pitchFamily="-112" charset="0"/>
              </a:rPr>
              <a:t>Nov</a:t>
            </a:r>
          </a:p>
        </p:txBody>
      </p:sp>
      <p:sp>
        <p:nvSpPr>
          <p:cNvPr id="2077" name="Rektangel 79"/>
          <p:cNvSpPr>
            <a:spLocks noChangeArrowheads="1"/>
          </p:cNvSpPr>
          <p:nvPr/>
        </p:nvSpPr>
        <p:spPr bwMode="auto">
          <a:xfrm>
            <a:off x="249238" y="636588"/>
            <a:ext cx="11334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eaLnBrk="1" hangingPunct="1"/>
            <a:r>
              <a:rPr lang="de-DE" altLang="en-US" sz="1600">
                <a:solidFill>
                  <a:srgbClr val="000000"/>
                </a:solidFill>
                <a:latin typeface="Calibri" pitchFamily="-112" charset="0"/>
              </a:rPr>
              <a:t>12 Months </a:t>
            </a:r>
            <a:endParaRPr lang="da-DK" altLang="en-US">
              <a:latin typeface="Calibri" pitchFamily="-112" charset="0"/>
            </a:endParaRPr>
          </a:p>
        </p:txBody>
      </p:sp>
      <p:sp>
        <p:nvSpPr>
          <p:cNvPr id="2078" name="Rektangel 89"/>
          <p:cNvSpPr>
            <a:spLocks noChangeArrowheads="1"/>
          </p:cNvSpPr>
          <p:nvPr/>
        </p:nvSpPr>
        <p:spPr bwMode="auto">
          <a:xfrm>
            <a:off x="6472238" y="5262563"/>
            <a:ext cx="2428875" cy="147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 eaLnBrk="1" hangingPunct="1"/>
            <a:r>
              <a:rPr lang="en-US" altLang="en-US" sz="1600" b="1" noProof="1">
                <a:solidFill>
                  <a:srgbClr val="1E1C11"/>
                </a:solidFill>
                <a:latin typeface="Calibri" pitchFamily="-112" charset="0"/>
                <a:cs typeface="Arial" charset="0"/>
              </a:rPr>
              <a:t>Example text</a:t>
            </a:r>
          </a:p>
          <a:p>
            <a:pPr eaLnBrk="1" hangingPunct="1"/>
            <a:r>
              <a:rPr lang="en-US" altLang="en-US" sz="1400" noProof="1">
                <a:latin typeface="Calibri" pitchFamily="-112" charset="0"/>
                <a:cs typeface="Arial" charset="0"/>
              </a:rPr>
              <a:t>Go ahead and replace it with your own text. This is an example text. Go ahead and replace it with your own text</a:t>
            </a:r>
            <a:endParaRPr lang="da-DK" altLang="en-US" sz="1400">
              <a:latin typeface="Calibri" pitchFamily="-112" charset="0"/>
            </a:endParaRPr>
          </a:p>
          <a:p>
            <a:pPr eaLnBrk="1" hangingPunct="1"/>
            <a:endParaRPr lang="da-DK" altLang="en-US">
              <a:solidFill>
                <a:srgbClr val="1E1C11"/>
              </a:solidFill>
              <a:latin typeface="Calibri" pitchFamily="-112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63681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Rectangle 211"/>
          <p:cNvSpPr/>
          <p:nvPr/>
        </p:nvSpPr>
        <p:spPr>
          <a:xfrm>
            <a:off x="0" y="2565400"/>
            <a:ext cx="9144000" cy="4292600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bg1">
                  <a:lumMod val="85000"/>
                </a:schemeClr>
              </a:gs>
              <a:gs pos="74000">
                <a:schemeClr val="bg1">
                  <a:lumMod val="9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213" name="TextBox 54"/>
          <p:cNvSpPr txBox="1">
            <a:spLocks noChangeArrowheads="1"/>
          </p:cNvSpPr>
          <p:nvPr/>
        </p:nvSpPr>
        <p:spPr bwMode="auto">
          <a:xfrm>
            <a:off x="314325" y="377825"/>
            <a:ext cx="75977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nb-NO" sz="1500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IMPRESS YOUR AUDIENCE WITH CREATIVE AND UNIQUE SHAPES LIKE THE </a:t>
            </a:r>
            <a:r>
              <a:rPr lang="nb-NO" sz="1500" b="1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SPEEDOMETER</a:t>
            </a:r>
            <a:r>
              <a:rPr lang="nb-NO" sz="1500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!</a:t>
            </a:r>
            <a:endParaRPr lang="en-GB" sz="1500">
              <a:solidFill>
                <a:srgbClr val="262626"/>
              </a:solidFill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2" name="Grupper 33"/>
          <p:cNvGrpSpPr/>
          <p:nvPr/>
        </p:nvGrpSpPr>
        <p:grpSpPr bwMode="auto">
          <a:xfrm>
            <a:off x="1335089" y="2046667"/>
            <a:ext cx="3260971" cy="3261933"/>
            <a:chOff x="3138971" y="2743575"/>
            <a:chExt cx="2868129" cy="2869862"/>
          </a:xfrm>
          <a:effectLst>
            <a:reflection stA="19000" endPos="40000" dist="12700" dir="5400000" sy="-100000" algn="bl" rotWithShape="0"/>
          </a:effectLst>
        </p:grpSpPr>
        <p:sp>
          <p:nvSpPr>
            <p:cNvPr id="460" name="Ellipse 4"/>
            <p:cNvSpPr/>
            <p:nvPr/>
          </p:nvSpPr>
          <p:spPr>
            <a:xfrm>
              <a:off x="3378200" y="2984500"/>
              <a:ext cx="2400300" cy="240030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pic>
          <p:nvPicPr>
            <p:cNvPr id="461" name="Billede 32" descr="tachometer2.emf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138971" y="2743575"/>
              <a:ext cx="2868129" cy="2869862"/>
            </a:xfrm>
            <a:prstGeom prst="rect">
              <a:avLst/>
            </a:prstGeom>
          </p:spPr>
        </p:pic>
        <p:grpSp>
          <p:nvGrpSpPr>
            <p:cNvPr id="3" name="Grupper 23"/>
            <p:cNvGrpSpPr/>
            <p:nvPr/>
          </p:nvGrpSpPr>
          <p:grpSpPr>
            <a:xfrm>
              <a:off x="3473237" y="3065659"/>
              <a:ext cx="2197525" cy="2029963"/>
              <a:chOff x="1983535" y="732368"/>
              <a:chExt cx="5250729" cy="4850354"/>
            </a:xfrm>
          </p:grpSpPr>
          <p:sp>
            <p:nvSpPr>
              <p:cNvPr id="468" name="Kombinationstegning 9"/>
              <p:cNvSpPr/>
              <p:nvPr/>
            </p:nvSpPr>
            <p:spPr>
              <a:xfrm>
                <a:off x="2629619" y="3596909"/>
                <a:ext cx="1756834" cy="1947332"/>
              </a:xfrm>
              <a:custGeom>
                <a:avLst/>
                <a:gdLst>
                  <a:gd name="connsiteX0" fmla="*/ 1756833 w 1756833"/>
                  <a:gd name="connsiteY0" fmla="*/ 76200 h 1947333"/>
                  <a:gd name="connsiteX1" fmla="*/ 643466 w 1756833"/>
                  <a:gd name="connsiteY1" fmla="*/ 1947333 h 1947333"/>
                  <a:gd name="connsiteX2" fmla="*/ 474133 w 1756833"/>
                  <a:gd name="connsiteY2" fmla="*/ 1849967 h 1947333"/>
                  <a:gd name="connsiteX3" fmla="*/ 249766 w 1756833"/>
                  <a:gd name="connsiteY3" fmla="*/ 1667933 h 1947333"/>
                  <a:gd name="connsiteX4" fmla="*/ 38100 w 1756833"/>
                  <a:gd name="connsiteY4" fmla="*/ 1456267 h 1947333"/>
                  <a:gd name="connsiteX5" fmla="*/ 0 w 1756833"/>
                  <a:gd name="connsiteY5" fmla="*/ 1418167 h 1947333"/>
                  <a:gd name="connsiteX6" fmla="*/ 1672166 w 1756833"/>
                  <a:gd name="connsiteY6" fmla="*/ 0 h 1947333"/>
                  <a:gd name="connsiteX7" fmla="*/ 1697566 w 1756833"/>
                  <a:gd name="connsiteY7" fmla="*/ 29633 h 1947333"/>
                  <a:gd name="connsiteX8" fmla="*/ 1756833 w 1756833"/>
                  <a:gd name="connsiteY8" fmla="*/ 76200 h 1947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56833" h="1947333">
                    <a:moveTo>
                      <a:pt x="1756833" y="76200"/>
                    </a:moveTo>
                    <a:lnTo>
                      <a:pt x="643466" y="1947333"/>
                    </a:lnTo>
                    <a:lnTo>
                      <a:pt x="474133" y="1849967"/>
                    </a:lnTo>
                    <a:lnTo>
                      <a:pt x="249766" y="1667933"/>
                    </a:lnTo>
                    <a:lnTo>
                      <a:pt x="38100" y="1456267"/>
                    </a:lnTo>
                    <a:lnTo>
                      <a:pt x="0" y="1418167"/>
                    </a:lnTo>
                    <a:lnTo>
                      <a:pt x="1672166" y="0"/>
                    </a:lnTo>
                    <a:lnTo>
                      <a:pt x="1697566" y="29633"/>
                    </a:lnTo>
                    <a:lnTo>
                      <a:pt x="1756833" y="7620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81BE"/>
                  </a:gs>
                  <a:gs pos="100000">
                    <a:srgbClr val="78C5DD"/>
                  </a:gs>
                </a:gsLst>
                <a:lin ang="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69" name="Kombinationstegning 10"/>
              <p:cNvSpPr/>
              <p:nvPr/>
            </p:nvSpPr>
            <p:spPr>
              <a:xfrm rot="1210489">
                <a:off x="2269788" y="3161588"/>
                <a:ext cx="1756834" cy="1947332"/>
              </a:xfrm>
              <a:custGeom>
                <a:avLst/>
                <a:gdLst>
                  <a:gd name="connsiteX0" fmla="*/ 1756833 w 1756833"/>
                  <a:gd name="connsiteY0" fmla="*/ 76200 h 1947333"/>
                  <a:gd name="connsiteX1" fmla="*/ 643466 w 1756833"/>
                  <a:gd name="connsiteY1" fmla="*/ 1947333 h 1947333"/>
                  <a:gd name="connsiteX2" fmla="*/ 474133 w 1756833"/>
                  <a:gd name="connsiteY2" fmla="*/ 1849967 h 1947333"/>
                  <a:gd name="connsiteX3" fmla="*/ 249766 w 1756833"/>
                  <a:gd name="connsiteY3" fmla="*/ 1667933 h 1947333"/>
                  <a:gd name="connsiteX4" fmla="*/ 38100 w 1756833"/>
                  <a:gd name="connsiteY4" fmla="*/ 1456267 h 1947333"/>
                  <a:gd name="connsiteX5" fmla="*/ 0 w 1756833"/>
                  <a:gd name="connsiteY5" fmla="*/ 1418167 h 1947333"/>
                  <a:gd name="connsiteX6" fmla="*/ 1672166 w 1756833"/>
                  <a:gd name="connsiteY6" fmla="*/ 0 h 1947333"/>
                  <a:gd name="connsiteX7" fmla="*/ 1697566 w 1756833"/>
                  <a:gd name="connsiteY7" fmla="*/ 29633 h 1947333"/>
                  <a:gd name="connsiteX8" fmla="*/ 1756833 w 1756833"/>
                  <a:gd name="connsiteY8" fmla="*/ 76200 h 1947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56833" h="1947333">
                    <a:moveTo>
                      <a:pt x="1756833" y="76200"/>
                    </a:moveTo>
                    <a:lnTo>
                      <a:pt x="643466" y="1947333"/>
                    </a:lnTo>
                    <a:lnTo>
                      <a:pt x="474133" y="1849967"/>
                    </a:lnTo>
                    <a:lnTo>
                      <a:pt x="249766" y="1667933"/>
                    </a:lnTo>
                    <a:lnTo>
                      <a:pt x="38100" y="1456267"/>
                    </a:lnTo>
                    <a:lnTo>
                      <a:pt x="0" y="1418167"/>
                    </a:lnTo>
                    <a:lnTo>
                      <a:pt x="1672166" y="0"/>
                    </a:lnTo>
                    <a:lnTo>
                      <a:pt x="1697566" y="29633"/>
                    </a:lnTo>
                    <a:lnTo>
                      <a:pt x="1756833" y="7620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81BE"/>
                  </a:gs>
                  <a:gs pos="100000">
                    <a:srgbClr val="78C5DD"/>
                  </a:gs>
                </a:gsLst>
                <a:lin ang="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70" name="Kombinationstegning 11"/>
              <p:cNvSpPr/>
              <p:nvPr/>
            </p:nvSpPr>
            <p:spPr>
              <a:xfrm rot="2402244">
                <a:off x="2080558" y="2625406"/>
                <a:ext cx="1773041" cy="1957191"/>
              </a:xfrm>
              <a:custGeom>
                <a:avLst/>
                <a:gdLst>
                  <a:gd name="connsiteX0" fmla="*/ 1756833 w 1756833"/>
                  <a:gd name="connsiteY0" fmla="*/ 76200 h 1947333"/>
                  <a:gd name="connsiteX1" fmla="*/ 643466 w 1756833"/>
                  <a:gd name="connsiteY1" fmla="*/ 1947333 h 1947333"/>
                  <a:gd name="connsiteX2" fmla="*/ 474133 w 1756833"/>
                  <a:gd name="connsiteY2" fmla="*/ 1849967 h 1947333"/>
                  <a:gd name="connsiteX3" fmla="*/ 249766 w 1756833"/>
                  <a:gd name="connsiteY3" fmla="*/ 1667933 h 1947333"/>
                  <a:gd name="connsiteX4" fmla="*/ 38100 w 1756833"/>
                  <a:gd name="connsiteY4" fmla="*/ 1456267 h 1947333"/>
                  <a:gd name="connsiteX5" fmla="*/ 0 w 1756833"/>
                  <a:gd name="connsiteY5" fmla="*/ 1418167 h 1947333"/>
                  <a:gd name="connsiteX6" fmla="*/ 1672166 w 1756833"/>
                  <a:gd name="connsiteY6" fmla="*/ 0 h 1947333"/>
                  <a:gd name="connsiteX7" fmla="*/ 1697566 w 1756833"/>
                  <a:gd name="connsiteY7" fmla="*/ 29633 h 1947333"/>
                  <a:gd name="connsiteX8" fmla="*/ 1756833 w 1756833"/>
                  <a:gd name="connsiteY8" fmla="*/ 76200 h 1947333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697566 w 1756833"/>
                  <a:gd name="connsiteY7" fmla="*/ 39491 h 1957191"/>
                  <a:gd name="connsiteX8" fmla="*/ 1756833 w 1756833"/>
                  <a:gd name="connsiteY8" fmla="*/ 86058 h 1957191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736594 w 1756833"/>
                  <a:gd name="connsiteY7" fmla="*/ 39875 h 1957191"/>
                  <a:gd name="connsiteX8" fmla="*/ 1756833 w 1756833"/>
                  <a:gd name="connsiteY8" fmla="*/ 86058 h 1957191"/>
                  <a:gd name="connsiteX0" fmla="*/ 1773039 w 1773039"/>
                  <a:gd name="connsiteY0" fmla="*/ 72441 h 1957191"/>
                  <a:gd name="connsiteX1" fmla="*/ 643466 w 1773039"/>
                  <a:gd name="connsiteY1" fmla="*/ 1957191 h 1957191"/>
                  <a:gd name="connsiteX2" fmla="*/ 474133 w 1773039"/>
                  <a:gd name="connsiteY2" fmla="*/ 1859825 h 1957191"/>
                  <a:gd name="connsiteX3" fmla="*/ 249766 w 1773039"/>
                  <a:gd name="connsiteY3" fmla="*/ 1677791 h 1957191"/>
                  <a:gd name="connsiteX4" fmla="*/ 38100 w 1773039"/>
                  <a:gd name="connsiteY4" fmla="*/ 1466125 h 1957191"/>
                  <a:gd name="connsiteX5" fmla="*/ 0 w 1773039"/>
                  <a:gd name="connsiteY5" fmla="*/ 1428025 h 1957191"/>
                  <a:gd name="connsiteX6" fmla="*/ 1697059 w 1773039"/>
                  <a:gd name="connsiteY6" fmla="*/ 0 h 1957191"/>
                  <a:gd name="connsiteX7" fmla="*/ 1736594 w 1773039"/>
                  <a:gd name="connsiteY7" fmla="*/ 39875 h 1957191"/>
                  <a:gd name="connsiteX8" fmla="*/ 1773039 w 1773039"/>
                  <a:gd name="connsiteY8" fmla="*/ 72441 h 1957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73039" h="1957191">
                    <a:moveTo>
                      <a:pt x="1773039" y="72441"/>
                    </a:moveTo>
                    <a:lnTo>
                      <a:pt x="643466" y="1957191"/>
                    </a:lnTo>
                    <a:lnTo>
                      <a:pt x="474133" y="1859825"/>
                    </a:lnTo>
                    <a:lnTo>
                      <a:pt x="249766" y="1677791"/>
                    </a:lnTo>
                    <a:lnTo>
                      <a:pt x="38100" y="1466125"/>
                    </a:lnTo>
                    <a:lnTo>
                      <a:pt x="0" y="1428025"/>
                    </a:lnTo>
                    <a:lnTo>
                      <a:pt x="1697059" y="0"/>
                    </a:lnTo>
                    <a:lnTo>
                      <a:pt x="1736594" y="39875"/>
                    </a:lnTo>
                    <a:lnTo>
                      <a:pt x="1773039" y="72441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81BE"/>
                  </a:gs>
                  <a:gs pos="100000">
                    <a:srgbClr val="78C5DD"/>
                  </a:gs>
                </a:gsLst>
                <a:lin ang="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71" name="Kombinationstegning 12"/>
              <p:cNvSpPr/>
              <p:nvPr/>
            </p:nvSpPr>
            <p:spPr>
              <a:xfrm rot="3600000">
                <a:off x="2075612" y="2032739"/>
                <a:ext cx="1773039" cy="1957193"/>
              </a:xfrm>
              <a:custGeom>
                <a:avLst/>
                <a:gdLst>
                  <a:gd name="connsiteX0" fmla="*/ 1756833 w 1756833"/>
                  <a:gd name="connsiteY0" fmla="*/ 76200 h 1947333"/>
                  <a:gd name="connsiteX1" fmla="*/ 643466 w 1756833"/>
                  <a:gd name="connsiteY1" fmla="*/ 1947333 h 1947333"/>
                  <a:gd name="connsiteX2" fmla="*/ 474133 w 1756833"/>
                  <a:gd name="connsiteY2" fmla="*/ 1849967 h 1947333"/>
                  <a:gd name="connsiteX3" fmla="*/ 249766 w 1756833"/>
                  <a:gd name="connsiteY3" fmla="*/ 1667933 h 1947333"/>
                  <a:gd name="connsiteX4" fmla="*/ 38100 w 1756833"/>
                  <a:gd name="connsiteY4" fmla="*/ 1456267 h 1947333"/>
                  <a:gd name="connsiteX5" fmla="*/ 0 w 1756833"/>
                  <a:gd name="connsiteY5" fmla="*/ 1418167 h 1947333"/>
                  <a:gd name="connsiteX6" fmla="*/ 1672166 w 1756833"/>
                  <a:gd name="connsiteY6" fmla="*/ 0 h 1947333"/>
                  <a:gd name="connsiteX7" fmla="*/ 1697566 w 1756833"/>
                  <a:gd name="connsiteY7" fmla="*/ 29633 h 1947333"/>
                  <a:gd name="connsiteX8" fmla="*/ 1756833 w 1756833"/>
                  <a:gd name="connsiteY8" fmla="*/ 76200 h 1947333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697566 w 1756833"/>
                  <a:gd name="connsiteY7" fmla="*/ 39491 h 1957191"/>
                  <a:gd name="connsiteX8" fmla="*/ 1756833 w 1756833"/>
                  <a:gd name="connsiteY8" fmla="*/ 86058 h 1957191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736594 w 1756833"/>
                  <a:gd name="connsiteY7" fmla="*/ 39875 h 1957191"/>
                  <a:gd name="connsiteX8" fmla="*/ 1756833 w 1756833"/>
                  <a:gd name="connsiteY8" fmla="*/ 86058 h 1957191"/>
                  <a:gd name="connsiteX0" fmla="*/ 1773039 w 1773039"/>
                  <a:gd name="connsiteY0" fmla="*/ 72441 h 1957191"/>
                  <a:gd name="connsiteX1" fmla="*/ 643466 w 1773039"/>
                  <a:gd name="connsiteY1" fmla="*/ 1957191 h 1957191"/>
                  <a:gd name="connsiteX2" fmla="*/ 474133 w 1773039"/>
                  <a:gd name="connsiteY2" fmla="*/ 1859825 h 1957191"/>
                  <a:gd name="connsiteX3" fmla="*/ 249766 w 1773039"/>
                  <a:gd name="connsiteY3" fmla="*/ 1677791 h 1957191"/>
                  <a:gd name="connsiteX4" fmla="*/ 38100 w 1773039"/>
                  <a:gd name="connsiteY4" fmla="*/ 1466125 h 1957191"/>
                  <a:gd name="connsiteX5" fmla="*/ 0 w 1773039"/>
                  <a:gd name="connsiteY5" fmla="*/ 1428025 h 1957191"/>
                  <a:gd name="connsiteX6" fmla="*/ 1697059 w 1773039"/>
                  <a:gd name="connsiteY6" fmla="*/ 0 h 1957191"/>
                  <a:gd name="connsiteX7" fmla="*/ 1736594 w 1773039"/>
                  <a:gd name="connsiteY7" fmla="*/ 39875 h 1957191"/>
                  <a:gd name="connsiteX8" fmla="*/ 1773039 w 1773039"/>
                  <a:gd name="connsiteY8" fmla="*/ 72441 h 1957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73039" h="1957191">
                    <a:moveTo>
                      <a:pt x="1773039" y="72441"/>
                    </a:moveTo>
                    <a:lnTo>
                      <a:pt x="643466" y="1957191"/>
                    </a:lnTo>
                    <a:lnTo>
                      <a:pt x="474133" y="1859825"/>
                    </a:lnTo>
                    <a:lnTo>
                      <a:pt x="249766" y="1677791"/>
                    </a:lnTo>
                    <a:lnTo>
                      <a:pt x="38100" y="1466125"/>
                    </a:lnTo>
                    <a:lnTo>
                      <a:pt x="0" y="1428025"/>
                    </a:lnTo>
                    <a:lnTo>
                      <a:pt x="1697059" y="0"/>
                    </a:lnTo>
                    <a:lnTo>
                      <a:pt x="1736594" y="39875"/>
                    </a:lnTo>
                    <a:lnTo>
                      <a:pt x="1773039" y="72441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81BE"/>
                  </a:gs>
                  <a:gs pos="100000">
                    <a:srgbClr val="78C5DD"/>
                  </a:gs>
                </a:gsLst>
                <a:lin ang="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72" name="Kombinationstegning 13"/>
              <p:cNvSpPr/>
              <p:nvPr/>
            </p:nvSpPr>
            <p:spPr>
              <a:xfrm rot="4780901">
                <a:off x="2295748" y="1503573"/>
                <a:ext cx="1773039" cy="1957192"/>
              </a:xfrm>
              <a:custGeom>
                <a:avLst/>
                <a:gdLst>
                  <a:gd name="connsiteX0" fmla="*/ 1756833 w 1756833"/>
                  <a:gd name="connsiteY0" fmla="*/ 76200 h 1947333"/>
                  <a:gd name="connsiteX1" fmla="*/ 643466 w 1756833"/>
                  <a:gd name="connsiteY1" fmla="*/ 1947333 h 1947333"/>
                  <a:gd name="connsiteX2" fmla="*/ 474133 w 1756833"/>
                  <a:gd name="connsiteY2" fmla="*/ 1849967 h 1947333"/>
                  <a:gd name="connsiteX3" fmla="*/ 249766 w 1756833"/>
                  <a:gd name="connsiteY3" fmla="*/ 1667933 h 1947333"/>
                  <a:gd name="connsiteX4" fmla="*/ 38100 w 1756833"/>
                  <a:gd name="connsiteY4" fmla="*/ 1456267 h 1947333"/>
                  <a:gd name="connsiteX5" fmla="*/ 0 w 1756833"/>
                  <a:gd name="connsiteY5" fmla="*/ 1418167 h 1947333"/>
                  <a:gd name="connsiteX6" fmla="*/ 1672166 w 1756833"/>
                  <a:gd name="connsiteY6" fmla="*/ 0 h 1947333"/>
                  <a:gd name="connsiteX7" fmla="*/ 1697566 w 1756833"/>
                  <a:gd name="connsiteY7" fmla="*/ 29633 h 1947333"/>
                  <a:gd name="connsiteX8" fmla="*/ 1756833 w 1756833"/>
                  <a:gd name="connsiteY8" fmla="*/ 76200 h 1947333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697566 w 1756833"/>
                  <a:gd name="connsiteY7" fmla="*/ 39491 h 1957191"/>
                  <a:gd name="connsiteX8" fmla="*/ 1756833 w 1756833"/>
                  <a:gd name="connsiteY8" fmla="*/ 86058 h 1957191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736594 w 1756833"/>
                  <a:gd name="connsiteY7" fmla="*/ 39875 h 1957191"/>
                  <a:gd name="connsiteX8" fmla="*/ 1756833 w 1756833"/>
                  <a:gd name="connsiteY8" fmla="*/ 86058 h 1957191"/>
                  <a:gd name="connsiteX0" fmla="*/ 1773039 w 1773039"/>
                  <a:gd name="connsiteY0" fmla="*/ 72441 h 1957191"/>
                  <a:gd name="connsiteX1" fmla="*/ 643466 w 1773039"/>
                  <a:gd name="connsiteY1" fmla="*/ 1957191 h 1957191"/>
                  <a:gd name="connsiteX2" fmla="*/ 474133 w 1773039"/>
                  <a:gd name="connsiteY2" fmla="*/ 1859825 h 1957191"/>
                  <a:gd name="connsiteX3" fmla="*/ 249766 w 1773039"/>
                  <a:gd name="connsiteY3" fmla="*/ 1677791 h 1957191"/>
                  <a:gd name="connsiteX4" fmla="*/ 38100 w 1773039"/>
                  <a:gd name="connsiteY4" fmla="*/ 1466125 h 1957191"/>
                  <a:gd name="connsiteX5" fmla="*/ 0 w 1773039"/>
                  <a:gd name="connsiteY5" fmla="*/ 1428025 h 1957191"/>
                  <a:gd name="connsiteX6" fmla="*/ 1697059 w 1773039"/>
                  <a:gd name="connsiteY6" fmla="*/ 0 h 1957191"/>
                  <a:gd name="connsiteX7" fmla="*/ 1736594 w 1773039"/>
                  <a:gd name="connsiteY7" fmla="*/ 39875 h 1957191"/>
                  <a:gd name="connsiteX8" fmla="*/ 1773039 w 1773039"/>
                  <a:gd name="connsiteY8" fmla="*/ 72441 h 1957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73039" h="1957191">
                    <a:moveTo>
                      <a:pt x="1773039" y="72441"/>
                    </a:moveTo>
                    <a:lnTo>
                      <a:pt x="643466" y="1957191"/>
                    </a:lnTo>
                    <a:lnTo>
                      <a:pt x="474133" y="1859825"/>
                    </a:lnTo>
                    <a:lnTo>
                      <a:pt x="249766" y="1677791"/>
                    </a:lnTo>
                    <a:lnTo>
                      <a:pt x="38100" y="1466125"/>
                    </a:lnTo>
                    <a:lnTo>
                      <a:pt x="0" y="1428025"/>
                    </a:lnTo>
                    <a:lnTo>
                      <a:pt x="1697059" y="0"/>
                    </a:lnTo>
                    <a:lnTo>
                      <a:pt x="1736594" y="39875"/>
                    </a:lnTo>
                    <a:lnTo>
                      <a:pt x="1773039" y="72441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81BE"/>
                  </a:gs>
                  <a:gs pos="100000">
                    <a:srgbClr val="78C5DD"/>
                  </a:gs>
                </a:gsLst>
                <a:lin ang="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73" name="Kombinationstegning 14"/>
              <p:cNvSpPr/>
              <p:nvPr/>
            </p:nvSpPr>
            <p:spPr>
              <a:xfrm rot="5998282">
                <a:off x="2685213" y="1063308"/>
                <a:ext cx="1773039" cy="1957192"/>
              </a:xfrm>
              <a:custGeom>
                <a:avLst/>
                <a:gdLst>
                  <a:gd name="connsiteX0" fmla="*/ 1756833 w 1756833"/>
                  <a:gd name="connsiteY0" fmla="*/ 76200 h 1947333"/>
                  <a:gd name="connsiteX1" fmla="*/ 643466 w 1756833"/>
                  <a:gd name="connsiteY1" fmla="*/ 1947333 h 1947333"/>
                  <a:gd name="connsiteX2" fmla="*/ 474133 w 1756833"/>
                  <a:gd name="connsiteY2" fmla="*/ 1849967 h 1947333"/>
                  <a:gd name="connsiteX3" fmla="*/ 249766 w 1756833"/>
                  <a:gd name="connsiteY3" fmla="*/ 1667933 h 1947333"/>
                  <a:gd name="connsiteX4" fmla="*/ 38100 w 1756833"/>
                  <a:gd name="connsiteY4" fmla="*/ 1456267 h 1947333"/>
                  <a:gd name="connsiteX5" fmla="*/ 0 w 1756833"/>
                  <a:gd name="connsiteY5" fmla="*/ 1418167 h 1947333"/>
                  <a:gd name="connsiteX6" fmla="*/ 1672166 w 1756833"/>
                  <a:gd name="connsiteY6" fmla="*/ 0 h 1947333"/>
                  <a:gd name="connsiteX7" fmla="*/ 1697566 w 1756833"/>
                  <a:gd name="connsiteY7" fmla="*/ 29633 h 1947333"/>
                  <a:gd name="connsiteX8" fmla="*/ 1756833 w 1756833"/>
                  <a:gd name="connsiteY8" fmla="*/ 76200 h 1947333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697566 w 1756833"/>
                  <a:gd name="connsiteY7" fmla="*/ 39491 h 1957191"/>
                  <a:gd name="connsiteX8" fmla="*/ 1756833 w 1756833"/>
                  <a:gd name="connsiteY8" fmla="*/ 86058 h 1957191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736594 w 1756833"/>
                  <a:gd name="connsiteY7" fmla="*/ 39875 h 1957191"/>
                  <a:gd name="connsiteX8" fmla="*/ 1756833 w 1756833"/>
                  <a:gd name="connsiteY8" fmla="*/ 86058 h 1957191"/>
                  <a:gd name="connsiteX0" fmla="*/ 1773039 w 1773039"/>
                  <a:gd name="connsiteY0" fmla="*/ 72441 h 1957191"/>
                  <a:gd name="connsiteX1" fmla="*/ 643466 w 1773039"/>
                  <a:gd name="connsiteY1" fmla="*/ 1957191 h 1957191"/>
                  <a:gd name="connsiteX2" fmla="*/ 474133 w 1773039"/>
                  <a:gd name="connsiteY2" fmla="*/ 1859825 h 1957191"/>
                  <a:gd name="connsiteX3" fmla="*/ 249766 w 1773039"/>
                  <a:gd name="connsiteY3" fmla="*/ 1677791 h 1957191"/>
                  <a:gd name="connsiteX4" fmla="*/ 38100 w 1773039"/>
                  <a:gd name="connsiteY4" fmla="*/ 1466125 h 1957191"/>
                  <a:gd name="connsiteX5" fmla="*/ 0 w 1773039"/>
                  <a:gd name="connsiteY5" fmla="*/ 1428025 h 1957191"/>
                  <a:gd name="connsiteX6" fmla="*/ 1697059 w 1773039"/>
                  <a:gd name="connsiteY6" fmla="*/ 0 h 1957191"/>
                  <a:gd name="connsiteX7" fmla="*/ 1736594 w 1773039"/>
                  <a:gd name="connsiteY7" fmla="*/ 39875 h 1957191"/>
                  <a:gd name="connsiteX8" fmla="*/ 1773039 w 1773039"/>
                  <a:gd name="connsiteY8" fmla="*/ 72441 h 1957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73039" h="1957191">
                    <a:moveTo>
                      <a:pt x="1773039" y="72441"/>
                    </a:moveTo>
                    <a:lnTo>
                      <a:pt x="643466" y="1957191"/>
                    </a:lnTo>
                    <a:lnTo>
                      <a:pt x="474133" y="1859825"/>
                    </a:lnTo>
                    <a:lnTo>
                      <a:pt x="249766" y="1677791"/>
                    </a:lnTo>
                    <a:lnTo>
                      <a:pt x="38100" y="1466125"/>
                    </a:lnTo>
                    <a:lnTo>
                      <a:pt x="0" y="1428025"/>
                    </a:lnTo>
                    <a:lnTo>
                      <a:pt x="1697059" y="0"/>
                    </a:lnTo>
                    <a:lnTo>
                      <a:pt x="1736594" y="39875"/>
                    </a:lnTo>
                    <a:lnTo>
                      <a:pt x="1773039" y="72441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81BE"/>
                  </a:gs>
                  <a:gs pos="100000">
                    <a:srgbClr val="78C5DD"/>
                  </a:gs>
                </a:gsLst>
                <a:lin ang="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dirty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74" name="Kombinationstegning 15"/>
              <p:cNvSpPr/>
              <p:nvPr/>
            </p:nvSpPr>
            <p:spPr>
              <a:xfrm rot="7200000">
                <a:off x="3197447" y="779675"/>
                <a:ext cx="1773039" cy="1957192"/>
              </a:xfrm>
              <a:custGeom>
                <a:avLst/>
                <a:gdLst>
                  <a:gd name="connsiteX0" fmla="*/ 1756833 w 1756833"/>
                  <a:gd name="connsiteY0" fmla="*/ 76200 h 1947333"/>
                  <a:gd name="connsiteX1" fmla="*/ 643466 w 1756833"/>
                  <a:gd name="connsiteY1" fmla="*/ 1947333 h 1947333"/>
                  <a:gd name="connsiteX2" fmla="*/ 474133 w 1756833"/>
                  <a:gd name="connsiteY2" fmla="*/ 1849967 h 1947333"/>
                  <a:gd name="connsiteX3" fmla="*/ 249766 w 1756833"/>
                  <a:gd name="connsiteY3" fmla="*/ 1667933 h 1947333"/>
                  <a:gd name="connsiteX4" fmla="*/ 38100 w 1756833"/>
                  <a:gd name="connsiteY4" fmla="*/ 1456267 h 1947333"/>
                  <a:gd name="connsiteX5" fmla="*/ 0 w 1756833"/>
                  <a:gd name="connsiteY5" fmla="*/ 1418167 h 1947333"/>
                  <a:gd name="connsiteX6" fmla="*/ 1672166 w 1756833"/>
                  <a:gd name="connsiteY6" fmla="*/ 0 h 1947333"/>
                  <a:gd name="connsiteX7" fmla="*/ 1697566 w 1756833"/>
                  <a:gd name="connsiteY7" fmla="*/ 29633 h 1947333"/>
                  <a:gd name="connsiteX8" fmla="*/ 1756833 w 1756833"/>
                  <a:gd name="connsiteY8" fmla="*/ 76200 h 1947333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697566 w 1756833"/>
                  <a:gd name="connsiteY7" fmla="*/ 39491 h 1957191"/>
                  <a:gd name="connsiteX8" fmla="*/ 1756833 w 1756833"/>
                  <a:gd name="connsiteY8" fmla="*/ 86058 h 1957191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736594 w 1756833"/>
                  <a:gd name="connsiteY7" fmla="*/ 39875 h 1957191"/>
                  <a:gd name="connsiteX8" fmla="*/ 1756833 w 1756833"/>
                  <a:gd name="connsiteY8" fmla="*/ 86058 h 1957191"/>
                  <a:gd name="connsiteX0" fmla="*/ 1773039 w 1773039"/>
                  <a:gd name="connsiteY0" fmla="*/ 72441 h 1957191"/>
                  <a:gd name="connsiteX1" fmla="*/ 643466 w 1773039"/>
                  <a:gd name="connsiteY1" fmla="*/ 1957191 h 1957191"/>
                  <a:gd name="connsiteX2" fmla="*/ 474133 w 1773039"/>
                  <a:gd name="connsiteY2" fmla="*/ 1859825 h 1957191"/>
                  <a:gd name="connsiteX3" fmla="*/ 249766 w 1773039"/>
                  <a:gd name="connsiteY3" fmla="*/ 1677791 h 1957191"/>
                  <a:gd name="connsiteX4" fmla="*/ 38100 w 1773039"/>
                  <a:gd name="connsiteY4" fmla="*/ 1466125 h 1957191"/>
                  <a:gd name="connsiteX5" fmla="*/ 0 w 1773039"/>
                  <a:gd name="connsiteY5" fmla="*/ 1428025 h 1957191"/>
                  <a:gd name="connsiteX6" fmla="*/ 1697059 w 1773039"/>
                  <a:gd name="connsiteY6" fmla="*/ 0 h 1957191"/>
                  <a:gd name="connsiteX7" fmla="*/ 1736594 w 1773039"/>
                  <a:gd name="connsiteY7" fmla="*/ 39875 h 1957191"/>
                  <a:gd name="connsiteX8" fmla="*/ 1773039 w 1773039"/>
                  <a:gd name="connsiteY8" fmla="*/ 72441 h 1957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73039" h="1957191">
                    <a:moveTo>
                      <a:pt x="1773039" y="72441"/>
                    </a:moveTo>
                    <a:lnTo>
                      <a:pt x="643466" y="1957191"/>
                    </a:lnTo>
                    <a:lnTo>
                      <a:pt x="474133" y="1859825"/>
                    </a:lnTo>
                    <a:lnTo>
                      <a:pt x="249766" y="1677791"/>
                    </a:lnTo>
                    <a:lnTo>
                      <a:pt x="38100" y="1466125"/>
                    </a:lnTo>
                    <a:lnTo>
                      <a:pt x="0" y="1428025"/>
                    </a:lnTo>
                    <a:lnTo>
                      <a:pt x="1697059" y="0"/>
                    </a:lnTo>
                    <a:lnTo>
                      <a:pt x="1736594" y="39875"/>
                    </a:lnTo>
                    <a:lnTo>
                      <a:pt x="1773039" y="72441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81BE"/>
                  </a:gs>
                  <a:gs pos="100000">
                    <a:srgbClr val="78C5DD"/>
                  </a:gs>
                </a:gsLst>
                <a:lin ang="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dirty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75" name="Kombinationstegning 16"/>
              <p:cNvSpPr/>
              <p:nvPr/>
            </p:nvSpPr>
            <p:spPr>
              <a:xfrm>
                <a:off x="4212169" y="732368"/>
                <a:ext cx="846665" cy="2235200"/>
              </a:xfrm>
              <a:custGeom>
                <a:avLst/>
                <a:gdLst>
                  <a:gd name="connsiteX0" fmla="*/ 359833 w 846666"/>
                  <a:gd name="connsiteY0" fmla="*/ 2235200 h 2235200"/>
                  <a:gd name="connsiteX1" fmla="*/ 0 w 846666"/>
                  <a:gd name="connsiteY1" fmla="*/ 29633 h 2235200"/>
                  <a:gd name="connsiteX2" fmla="*/ 67733 w 846666"/>
                  <a:gd name="connsiteY2" fmla="*/ 25400 h 2235200"/>
                  <a:gd name="connsiteX3" fmla="*/ 309033 w 846666"/>
                  <a:gd name="connsiteY3" fmla="*/ 4233 h 2235200"/>
                  <a:gd name="connsiteX4" fmla="*/ 524933 w 846666"/>
                  <a:gd name="connsiteY4" fmla="*/ 0 h 2235200"/>
                  <a:gd name="connsiteX5" fmla="*/ 821266 w 846666"/>
                  <a:gd name="connsiteY5" fmla="*/ 29633 h 2235200"/>
                  <a:gd name="connsiteX6" fmla="*/ 846666 w 846666"/>
                  <a:gd name="connsiteY6" fmla="*/ 33866 h 2235200"/>
                  <a:gd name="connsiteX7" fmla="*/ 469900 w 846666"/>
                  <a:gd name="connsiteY7" fmla="*/ 2226733 h 2235200"/>
                  <a:gd name="connsiteX8" fmla="*/ 419100 w 846666"/>
                  <a:gd name="connsiteY8" fmla="*/ 2222500 h 2235200"/>
                  <a:gd name="connsiteX9" fmla="*/ 359833 w 846666"/>
                  <a:gd name="connsiteY9" fmla="*/ 2235200 h 223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46666" h="2235200">
                    <a:moveTo>
                      <a:pt x="359833" y="2235200"/>
                    </a:moveTo>
                    <a:lnTo>
                      <a:pt x="0" y="29633"/>
                    </a:lnTo>
                    <a:lnTo>
                      <a:pt x="67733" y="25400"/>
                    </a:lnTo>
                    <a:lnTo>
                      <a:pt x="309033" y="4233"/>
                    </a:lnTo>
                    <a:lnTo>
                      <a:pt x="524933" y="0"/>
                    </a:lnTo>
                    <a:lnTo>
                      <a:pt x="821266" y="29633"/>
                    </a:lnTo>
                    <a:lnTo>
                      <a:pt x="846666" y="33866"/>
                    </a:lnTo>
                    <a:lnTo>
                      <a:pt x="469900" y="2226733"/>
                    </a:lnTo>
                    <a:lnTo>
                      <a:pt x="419100" y="2222500"/>
                    </a:lnTo>
                    <a:lnTo>
                      <a:pt x="359833" y="223520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81BE"/>
                  </a:gs>
                  <a:gs pos="100000">
                    <a:srgbClr val="78C5DD"/>
                  </a:gs>
                </a:gsLst>
                <a:lin ang="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76" name="Kombinationstegning 17"/>
              <p:cNvSpPr/>
              <p:nvPr/>
            </p:nvSpPr>
            <p:spPr>
              <a:xfrm rot="1191548">
                <a:off x="4720168" y="833967"/>
                <a:ext cx="846665" cy="2235200"/>
              </a:xfrm>
              <a:custGeom>
                <a:avLst/>
                <a:gdLst>
                  <a:gd name="connsiteX0" fmla="*/ 359833 w 846666"/>
                  <a:gd name="connsiteY0" fmla="*/ 2235200 h 2235200"/>
                  <a:gd name="connsiteX1" fmla="*/ 0 w 846666"/>
                  <a:gd name="connsiteY1" fmla="*/ 29633 h 2235200"/>
                  <a:gd name="connsiteX2" fmla="*/ 67733 w 846666"/>
                  <a:gd name="connsiteY2" fmla="*/ 25400 h 2235200"/>
                  <a:gd name="connsiteX3" fmla="*/ 309033 w 846666"/>
                  <a:gd name="connsiteY3" fmla="*/ 4233 h 2235200"/>
                  <a:gd name="connsiteX4" fmla="*/ 524933 w 846666"/>
                  <a:gd name="connsiteY4" fmla="*/ 0 h 2235200"/>
                  <a:gd name="connsiteX5" fmla="*/ 821266 w 846666"/>
                  <a:gd name="connsiteY5" fmla="*/ 29633 h 2235200"/>
                  <a:gd name="connsiteX6" fmla="*/ 846666 w 846666"/>
                  <a:gd name="connsiteY6" fmla="*/ 33866 h 2235200"/>
                  <a:gd name="connsiteX7" fmla="*/ 469900 w 846666"/>
                  <a:gd name="connsiteY7" fmla="*/ 2226733 h 2235200"/>
                  <a:gd name="connsiteX8" fmla="*/ 419100 w 846666"/>
                  <a:gd name="connsiteY8" fmla="*/ 2222500 h 2235200"/>
                  <a:gd name="connsiteX9" fmla="*/ 359833 w 846666"/>
                  <a:gd name="connsiteY9" fmla="*/ 2235200 h 223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46666" h="2235200">
                    <a:moveTo>
                      <a:pt x="359833" y="2235200"/>
                    </a:moveTo>
                    <a:lnTo>
                      <a:pt x="0" y="29633"/>
                    </a:lnTo>
                    <a:lnTo>
                      <a:pt x="67733" y="25400"/>
                    </a:lnTo>
                    <a:lnTo>
                      <a:pt x="309033" y="4233"/>
                    </a:lnTo>
                    <a:lnTo>
                      <a:pt x="524933" y="0"/>
                    </a:lnTo>
                    <a:lnTo>
                      <a:pt x="821266" y="29633"/>
                    </a:lnTo>
                    <a:lnTo>
                      <a:pt x="846666" y="33866"/>
                    </a:lnTo>
                    <a:lnTo>
                      <a:pt x="469900" y="2226733"/>
                    </a:lnTo>
                    <a:lnTo>
                      <a:pt x="419100" y="2222500"/>
                    </a:lnTo>
                    <a:lnTo>
                      <a:pt x="359833" y="2235200"/>
                    </a:lnTo>
                    <a:close/>
                  </a:path>
                </a:pathLst>
              </a:custGeom>
              <a:solidFill>
                <a:srgbClr val="D7D8D9">
                  <a:lumMod val="9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77" name="Kombinationstegning 18"/>
              <p:cNvSpPr/>
              <p:nvPr/>
            </p:nvSpPr>
            <p:spPr>
              <a:xfrm rot="2389753">
                <a:off x="5194302" y="1096433"/>
                <a:ext cx="846665" cy="2235200"/>
              </a:xfrm>
              <a:custGeom>
                <a:avLst/>
                <a:gdLst>
                  <a:gd name="connsiteX0" fmla="*/ 359833 w 846666"/>
                  <a:gd name="connsiteY0" fmla="*/ 2235200 h 2235200"/>
                  <a:gd name="connsiteX1" fmla="*/ 0 w 846666"/>
                  <a:gd name="connsiteY1" fmla="*/ 29633 h 2235200"/>
                  <a:gd name="connsiteX2" fmla="*/ 67733 w 846666"/>
                  <a:gd name="connsiteY2" fmla="*/ 25400 h 2235200"/>
                  <a:gd name="connsiteX3" fmla="*/ 309033 w 846666"/>
                  <a:gd name="connsiteY3" fmla="*/ 4233 h 2235200"/>
                  <a:gd name="connsiteX4" fmla="*/ 524933 w 846666"/>
                  <a:gd name="connsiteY4" fmla="*/ 0 h 2235200"/>
                  <a:gd name="connsiteX5" fmla="*/ 821266 w 846666"/>
                  <a:gd name="connsiteY5" fmla="*/ 29633 h 2235200"/>
                  <a:gd name="connsiteX6" fmla="*/ 846666 w 846666"/>
                  <a:gd name="connsiteY6" fmla="*/ 33866 h 2235200"/>
                  <a:gd name="connsiteX7" fmla="*/ 469900 w 846666"/>
                  <a:gd name="connsiteY7" fmla="*/ 2226733 h 2235200"/>
                  <a:gd name="connsiteX8" fmla="*/ 419100 w 846666"/>
                  <a:gd name="connsiteY8" fmla="*/ 2222500 h 2235200"/>
                  <a:gd name="connsiteX9" fmla="*/ 359833 w 846666"/>
                  <a:gd name="connsiteY9" fmla="*/ 2235200 h 223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46666" h="2235200">
                    <a:moveTo>
                      <a:pt x="359833" y="2235200"/>
                    </a:moveTo>
                    <a:lnTo>
                      <a:pt x="0" y="29633"/>
                    </a:lnTo>
                    <a:lnTo>
                      <a:pt x="67733" y="25400"/>
                    </a:lnTo>
                    <a:lnTo>
                      <a:pt x="309033" y="4233"/>
                    </a:lnTo>
                    <a:lnTo>
                      <a:pt x="524933" y="0"/>
                    </a:lnTo>
                    <a:lnTo>
                      <a:pt x="821266" y="29633"/>
                    </a:lnTo>
                    <a:lnTo>
                      <a:pt x="846666" y="33866"/>
                    </a:lnTo>
                    <a:lnTo>
                      <a:pt x="469900" y="2226733"/>
                    </a:lnTo>
                    <a:lnTo>
                      <a:pt x="419100" y="2222500"/>
                    </a:lnTo>
                    <a:lnTo>
                      <a:pt x="359833" y="2235200"/>
                    </a:lnTo>
                    <a:close/>
                  </a:path>
                </a:pathLst>
              </a:custGeom>
              <a:solidFill>
                <a:srgbClr val="D7D8D9">
                  <a:lumMod val="9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78" name="Kombinationstegning 19"/>
              <p:cNvSpPr/>
              <p:nvPr/>
            </p:nvSpPr>
            <p:spPr>
              <a:xfrm rot="3635334">
                <a:off x="5520268" y="1507064"/>
                <a:ext cx="846665" cy="2235198"/>
              </a:xfrm>
              <a:custGeom>
                <a:avLst/>
                <a:gdLst>
                  <a:gd name="connsiteX0" fmla="*/ 359833 w 846666"/>
                  <a:gd name="connsiteY0" fmla="*/ 2235200 h 2235200"/>
                  <a:gd name="connsiteX1" fmla="*/ 0 w 846666"/>
                  <a:gd name="connsiteY1" fmla="*/ 29633 h 2235200"/>
                  <a:gd name="connsiteX2" fmla="*/ 67733 w 846666"/>
                  <a:gd name="connsiteY2" fmla="*/ 25400 h 2235200"/>
                  <a:gd name="connsiteX3" fmla="*/ 309033 w 846666"/>
                  <a:gd name="connsiteY3" fmla="*/ 4233 h 2235200"/>
                  <a:gd name="connsiteX4" fmla="*/ 524933 w 846666"/>
                  <a:gd name="connsiteY4" fmla="*/ 0 h 2235200"/>
                  <a:gd name="connsiteX5" fmla="*/ 821266 w 846666"/>
                  <a:gd name="connsiteY5" fmla="*/ 29633 h 2235200"/>
                  <a:gd name="connsiteX6" fmla="*/ 846666 w 846666"/>
                  <a:gd name="connsiteY6" fmla="*/ 33866 h 2235200"/>
                  <a:gd name="connsiteX7" fmla="*/ 469900 w 846666"/>
                  <a:gd name="connsiteY7" fmla="*/ 2226733 h 2235200"/>
                  <a:gd name="connsiteX8" fmla="*/ 419100 w 846666"/>
                  <a:gd name="connsiteY8" fmla="*/ 2222500 h 2235200"/>
                  <a:gd name="connsiteX9" fmla="*/ 359833 w 846666"/>
                  <a:gd name="connsiteY9" fmla="*/ 2235200 h 223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46666" h="2235200">
                    <a:moveTo>
                      <a:pt x="359833" y="2235200"/>
                    </a:moveTo>
                    <a:lnTo>
                      <a:pt x="0" y="29633"/>
                    </a:lnTo>
                    <a:lnTo>
                      <a:pt x="67733" y="25400"/>
                    </a:lnTo>
                    <a:lnTo>
                      <a:pt x="309033" y="4233"/>
                    </a:lnTo>
                    <a:lnTo>
                      <a:pt x="524933" y="0"/>
                    </a:lnTo>
                    <a:lnTo>
                      <a:pt x="821266" y="29633"/>
                    </a:lnTo>
                    <a:lnTo>
                      <a:pt x="846666" y="33866"/>
                    </a:lnTo>
                    <a:lnTo>
                      <a:pt x="469900" y="2226733"/>
                    </a:lnTo>
                    <a:lnTo>
                      <a:pt x="419100" y="2222500"/>
                    </a:lnTo>
                    <a:lnTo>
                      <a:pt x="359833" y="2235200"/>
                    </a:lnTo>
                    <a:close/>
                  </a:path>
                </a:pathLst>
              </a:custGeom>
              <a:solidFill>
                <a:srgbClr val="D7D8D9">
                  <a:lumMod val="9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79" name="Kombinationstegning 20"/>
              <p:cNvSpPr/>
              <p:nvPr/>
            </p:nvSpPr>
            <p:spPr>
              <a:xfrm rot="13206660">
                <a:off x="5398780" y="2142809"/>
                <a:ext cx="1773040" cy="1957191"/>
              </a:xfrm>
              <a:custGeom>
                <a:avLst/>
                <a:gdLst>
                  <a:gd name="connsiteX0" fmla="*/ 1756833 w 1756833"/>
                  <a:gd name="connsiteY0" fmla="*/ 76200 h 1947333"/>
                  <a:gd name="connsiteX1" fmla="*/ 643466 w 1756833"/>
                  <a:gd name="connsiteY1" fmla="*/ 1947333 h 1947333"/>
                  <a:gd name="connsiteX2" fmla="*/ 474133 w 1756833"/>
                  <a:gd name="connsiteY2" fmla="*/ 1849967 h 1947333"/>
                  <a:gd name="connsiteX3" fmla="*/ 249766 w 1756833"/>
                  <a:gd name="connsiteY3" fmla="*/ 1667933 h 1947333"/>
                  <a:gd name="connsiteX4" fmla="*/ 38100 w 1756833"/>
                  <a:gd name="connsiteY4" fmla="*/ 1456267 h 1947333"/>
                  <a:gd name="connsiteX5" fmla="*/ 0 w 1756833"/>
                  <a:gd name="connsiteY5" fmla="*/ 1418167 h 1947333"/>
                  <a:gd name="connsiteX6" fmla="*/ 1672166 w 1756833"/>
                  <a:gd name="connsiteY6" fmla="*/ 0 h 1947333"/>
                  <a:gd name="connsiteX7" fmla="*/ 1697566 w 1756833"/>
                  <a:gd name="connsiteY7" fmla="*/ 29633 h 1947333"/>
                  <a:gd name="connsiteX8" fmla="*/ 1756833 w 1756833"/>
                  <a:gd name="connsiteY8" fmla="*/ 76200 h 1947333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697566 w 1756833"/>
                  <a:gd name="connsiteY7" fmla="*/ 39491 h 1957191"/>
                  <a:gd name="connsiteX8" fmla="*/ 1756833 w 1756833"/>
                  <a:gd name="connsiteY8" fmla="*/ 86058 h 1957191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736594 w 1756833"/>
                  <a:gd name="connsiteY7" fmla="*/ 39875 h 1957191"/>
                  <a:gd name="connsiteX8" fmla="*/ 1756833 w 1756833"/>
                  <a:gd name="connsiteY8" fmla="*/ 86058 h 1957191"/>
                  <a:gd name="connsiteX0" fmla="*/ 1773039 w 1773039"/>
                  <a:gd name="connsiteY0" fmla="*/ 72441 h 1957191"/>
                  <a:gd name="connsiteX1" fmla="*/ 643466 w 1773039"/>
                  <a:gd name="connsiteY1" fmla="*/ 1957191 h 1957191"/>
                  <a:gd name="connsiteX2" fmla="*/ 474133 w 1773039"/>
                  <a:gd name="connsiteY2" fmla="*/ 1859825 h 1957191"/>
                  <a:gd name="connsiteX3" fmla="*/ 249766 w 1773039"/>
                  <a:gd name="connsiteY3" fmla="*/ 1677791 h 1957191"/>
                  <a:gd name="connsiteX4" fmla="*/ 38100 w 1773039"/>
                  <a:gd name="connsiteY4" fmla="*/ 1466125 h 1957191"/>
                  <a:gd name="connsiteX5" fmla="*/ 0 w 1773039"/>
                  <a:gd name="connsiteY5" fmla="*/ 1428025 h 1957191"/>
                  <a:gd name="connsiteX6" fmla="*/ 1697059 w 1773039"/>
                  <a:gd name="connsiteY6" fmla="*/ 0 h 1957191"/>
                  <a:gd name="connsiteX7" fmla="*/ 1736594 w 1773039"/>
                  <a:gd name="connsiteY7" fmla="*/ 39875 h 1957191"/>
                  <a:gd name="connsiteX8" fmla="*/ 1773039 w 1773039"/>
                  <a:gd name="connsiteY8" fmla="*/ 72441 h 1957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73039" h="1957191">
                    <a:moveTo>
                      <a:pt x="1773039" y="72441"/>
                    </a:moveTo>
                    <a:lnTo>
                      <a:pt x="643466" y="1957191"/>
                    </a:lnTo>
                    <a:lnTo>
                      <a:pt x="474133" y="1859825"/>
                    </a:lnTo>
                    <a:lnTo>
                      <a:pt x="249766" y="1677791"/>
                    </a:lnTo>
                    <a:lnTo>
                      <a:pt x="38100" y="1466125"/>
                    </a:lnTo>
                    <a:lnTo>
                      <a:pt x="0" y="1428025"/>
                    </a:lnTo>
                    <a:lnTo>
                      <a:pt x="1697059" y="0"/>
                    </a:lnTo>
                    <a:lnTo>
                      <a:pt x="1736594" y="39875"/>
                    </a:lnTo>
                    <a:lnTo>
                      <a:pt x="1773039" y="72441"/>
                    </a:lnTo>
                    <a:close/>
                  </a:path>
                </a:pathLst>
              </a:custGeom>
              <a:solidFill>
                <a:srgbClr val="D7D8D9">
                  <a:lumMod val="9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80" name="Kombinationstegning 21"/>
              <p:cNvSpPr/>
              <p:nvPr/>
            </p:nvSpPr>
            <p:spPr>
              <a:xfrm rot="14344187">
                <a:off x="5369148" y="2731241"/>
                <a:ext cx="1773039" cy="1957192"/>
              </a:xfrm>
              <a:custGeom>
                <a:avLst/>
                <a:gdLst>
                  <a:gd name="connsiteX0" fmla="*/ 1756833 w 1756833"/>
                  <a:gd name="connsiteY0" fmla="*/ 76200 h 1947333"/>
                  <a:gd name="connsiteX1" fmla="*/ 643466 w 1756833"/>
                  <a:gd name="connsiteY1" fmla="*/ 1947333 h 1947333"/>
                  <a:gd name="connsiteX2" fmla="*/ 474133 w 1756833"/>
                  <a:gd name="connsiteY2" fmla="*/ 1849967 h 1947333"/>
                  <a:gd name="connsiteX3" fmla="*/ 249766 w 1756833"/>
                  <a:gd name="connsiteY3" fmla="*/ 1667933 h 1947333"/>
                  <a:gd name="connsiteX4" fmla="*/ 38100 w 1756833"/>
                  <a:gd name="connsiteY4" fmla="*/ 1456267 h 1947333"/>
                  <a:gd name="connsiteX5" fmla="*/ 0 w 1756833"/>
                  <a:gd name="connsiteY5" fmla="*/ 1418167 h 1947333"/>
                  <a:gd name="connsiteX6" fmla="*/ 1672166 w 1756833"/>
                  <a:gd name="connsiteY6" fmla="*/ 0 h 1947333"/>
                  <a:gd name="connsiteX7" fmla="*/ 1697566 w 1756833"/>
                  <a:gd name="connsiteY7" fmla="*/ 29633 h 1947333"/>
                  <a:gd name="connsiteX8" fmla="*/ 1756833 w 1756833"/>
                  <a:gd name="connsiteY8" fmla="*/ 76200 h 1947333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697566 w 1756833"/>
                  <a:gd name="connsiteY7" fmla="*/ 39491 h 1957191"/>
                  <a:gd name="connsiteX8" fmla="*/ 1756833 w 1756833"/>
                  <a:gd name="connsiteY8" fmla="*/ 86058 h 1957191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736594 w 1756833"/>
                  <a:gd name="connsiteY7" fmla="*/ 39875 h 1957191"/>
                  <a:gd name="connsiteX8" fmla="*/ 1756833 w 1756833"/>
                  <a:gd name="connsiteY8" fmla="*/ 86058 h 1957191"/>
                  <a:gd name="connsiteX0" fmla="*/ 1773039 w 1773039"/>
                  <a:gd name="connsiteY0" fmla="*/ 72441 h 1957191"/>
                  <a:gd name="connsiteX1" fmla="*/ 643466 w 1773039"/>
                  <a:gd name="connsiteY1" fmla="*/ 1957191 h 1957191"/>
                  <a:gd name="connsiteX2" fmla="*/ 474133 w 1773039"/>
                  <a:gd name="connsiteY2" fmla="*/ 1859825 h 1957191"/>
                  <a:gd name="connsiteX3" fmla="*/ 249766 w 1773039"/>
                  <a:gd name="connsiteY3" fmla="*/ 1677791 h 1957191"/>
                  <a:gd name="connsiteX4" fmla="*/ 38100 w 1773039"/>
                  <a:gd name="connsiteY4" fmla="*/ 1466125 h 1957191"/>
                  <a:gd name="connsiteX5" fmla="*/ 0 w 1773039"/>
                  <a:gd name="connsiteY5" fmla="*/ 1428025 h 1957191"/>
                  <a:gd name="connsiteX6" fmla="*/ 1697059 w 1773039"/>
                  <a:gd name="connsiteY6" fmla="*/ 0 h 1957191"/>
                  <a:gd name="connsiteX7" fmla="*/ 1736594 w 1773039"/>
                  <a:gd name="connsiteY7" fmla="*/ 39875 h 1957191"/>
                  <a:gd name="connsiteX8" fmla="*/ 1773039 w 1773039"/>
                  <a:gd name="connsiteY8" fmla="*/ 72441 h 1957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73039" h="1957191">
                    <a:moveTo>
                      <a:pt x="1773039" y="72441"/>
                    </a:moveTo>
                    <a:lnTo>
                      <a:pt x="643466" y="1957191"/>
                    </a:lnTo>
                    <a:lnTo>
                      <a:pt x="474133" y="1859825"/>
                    </a:lnTo>
                    <a:lnTo>
                      <a:pt x="249766" y="1677791"/>
                    </a:lnTo>
                    <a:lnTo>
                      <a:pt x="38100" y="1466125"/>
                    </a:lnTo>
                    <a:lnTo>
                      <a:pt x="0" y="1428025"/>
                    </a:lnTo>
                    <a:lnTo>
                      <a:pt x="1697059" y="0"/>
                    </a:lnTo>
                    <a:lnTo>
                      <a:pt x="1736594" y="39875"/>
                    </a:lnTo>
                    <a:lnTo>
                      <a:pt x="1773039" y="72441"/>
                    </a:lnTo>
                    <a:close/>
                  </a:path>
                </a:pathLst>
              </a:custGeom>
              <a:solidFill>
                <a:srgbClr val="D7D8D9">
                  <a:lumMod val="9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81" name="Kombinationstegning 22"/>
              <p:cNvSpPr/>
              <p:nvPr/>
            </p:nvSpPr>
            <p:spPr>
              <a:xfrm rot="15590630">
                <a:off x="5165942" y="3285807"/>
                <a:ext cx="1773039" cy="1957191"/>
              </a:xfrm>
              <a:custGeom>
                <a:avLst/>
                <a:gdLst>
                  <a:gd name="connsiteX0" fmla="*/ 1756833 w 1756833"/>
                  <a:gd name="connsiteY0" fmla="*/ 76200 h 1947333"/>
                  <a:gd name="connsiteX1" fmla="*/ 643466 w 1756833"/>
                  <a:gd name="connsiteY1" fmla="*/ 1947333 h 1947333"/>
                  <a:gd name="connsiteX2" fmla="*/ 474133 w 1756833"/>
                  <a:gd name="connsiteY2" fmla="*/ 1849967 h 1947333"/>
                  <a:gd name="connsiteX3" fmla="*/ 249766 w 1756833"/>
                  <a:gd name="connsiteY3" fmla="*/ 1667933 h 1947333"/>
                  <a:gd name="connsiteX4" fmla="*/ 38100 w 1756833"/>
                  <a:gd name="connsiteY4" fmla="*/ 1456267 h 1947333"/>
                  <a:gd name="connsiteX5" fmla="*/ 0 w 1756833"/>
                  <a:gd name="connsiteY5" fmla="*/ 1418167 h 1947333"/>
                  <a:gd name="connsiteX6" fmla="*/ 1672166 w 1756833"/>
                  <a:gd name="connsiteY6" fmla="*/ 0 h 1947333"/>
                  <a:gd name="connsiteX7" fmla="*/ 1697566 w 1756833"/>
                  <a:gd name="connsiteY7" fmla="*/ 29633 h 1947333"/>
                  <a:gd name="connsiteX8" fmla="*/ 1756833 w 1756833"/>
                  <a:gd name="connsiteY8" fmla="*/ 76200 h 1947333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697566 w 1756833"/>
                  <a:gd name="connsiteY7" fmla="*/ 39491 h 1957191"/>
                  <a:gd name="connsiteX8" fmla="*/ 1756833 w 1756833"/>
                  <a:gd name="connsiteY8" fmla="*/ 86058 h 1957191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736594 w 1756833"/>
                  <a:gd name="connsiteY7" fmla="*/ 39875 h 1957191"/>
                  <a:gd name="connsiteX8" fmla="*/ 1756833 w 1756833"/>
                  <a:gd name="connsiteY8" fmla="*/ 86058 h 1957191"/>
                  <a:gd name="connsiteX0" fmla="*/ 1773039 w 1773039"/>
                  <a:gd name="connsiteY0" fmla="*/ 72441 h 1957191"/>
                  <a:gd name="connsiteX1" fmla="*/ 643466 w 1773039"/>
                  <a:gd name="connsiteY1" fmla="*/ 1957191 h 1957191"/>
                  <a:gd name="connsiteX2" fmla="*/ 474133 w 1773039"/>
                  <a:gd name="connsiteY2" fmla="*/ 1859825 h 1957191"/>
                  <a:gd name="connsiteX3" fmla="*/ 249766 w 1773039"/>
                  <a:gd name="connsiteY3" fmla="*/ 1677791 h 1957191"/>
                  <a:gd name="connsiteX4" fmla="*/ 38100 w 1773039"/>
                  <a:gd name="connsiteY4" fmla="*/ 1466125 h 1957191"/>
                  <a:gd name="connsiteX5" fmla="*/ 0 w 1773039"/>
                  <a:gd name="connsiteY5" fmla="*/ 1428025 h 1957191"/>
                  <a:gd name="connsiteX6" fmla="*/ 1697059 w 1773039"/>
                  <a:gd name="connsiteY6" fmla="*/ 0 h 1957191"/>
                  <a:gd name="connsiteX7" fmla="*/ 1736594 w 1773039"/>
                  <a:gd name="connsiteY7" fmla="*/ 39875 h 1957191"/>
                  <a:gd name="connsiteX8" fmla="*/ 1773039 w 1773039"/>
                  <a:gd name="connsiteY8" fmla="*/ 72441 h 1957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73039" h="1957191">
                    <a:moveTo>
                      <a:pt x="1773039" y="72441"/>
                    </a:moveTo>
                    <a:lnTo>
                      <a:pt x="643466" y="1957191"/>
                    </a:lnTo>
                    <a:lnTo>
                      <a:pt x="474133" y="1859825"/>
                    </a:lnTo>
                    <a:lnTo>
                      <a:pt x="249766" y="1677791"/>
                    </a:lnTo>
                    <a:lnTo>
                      <a:pt x="38100" y="1466125"/>
                    </a:lnTo>
                    <a:lnTo>
                      <a:pt x="0" y="1428025"/>
                    </a:lnTo>
                    <a:lnTo>
                      <a:pt x="1697059" y="0"/>
                    </a:lnTo>
                    <a:lnTo>
                      <a:pt x="1736594" y="39875"/>
                    </a:lnTo>
                    <a:lnTo>
                      <a:pt x="1773039" y="72441"/>
                    </a:lnTo>
                    <a:close/>
                  </a:path>
                </a:pathLst>
              </a:custGeom>
              <a:solidFill>
                <a:srgbClr val="D7D8D9">
                  <a:lumMod val="9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82" name="Kombinationstegning 23"/>
              <p:cNvSpPr/>
              <p:nvPr/>
            </p:nvSpPr>
            <p:spPr>
              <a:xfrm rot="16788421">
                <a:off x="4776476" y="3717606"/>
                <a:ext cx="1773040" cy="1957192"/>
              </a:xfrm>
              <a:custGeom>
                <a:avLst/>
                <a:gdLst>
                  <a:gd name="connsiteX0" fmla="*/ 1756833 w 1756833"/>
                  <a:gd name="connsiteY0" fmla="*/ 76200 h 1947333"/>
                  <a:gd name="connsiteX1" fmla="*/ 643466 w 1756833"/>
                  <a:gd name="connsiteY1" fmla="*/ 1947333 h 1947333"/>
                  <a:gd name="connsiteX2" fmla="*/ 474133 w 1756833"/>
                  <a:gd name="connsiteY2" fmla="*/ 1849967 h 1947333"/>
                  <a:gd name="connsiteX3" fmla="*/ 249766 w 1756833"/>
                  <a:gd name="connsiteY3" fmla="*/ 1667933 h 1947333"/>
                  <a:gd name="connsiteX4" fmla="*/ 38100 w 1756833"/>
                  <a:gd name="connsiteY4" fmla="*/ 1456267 h 1947333"/>
                  <a:gd name="connsiteX5" fmla="*/ 0 w 1756833"/>
                  <a:gd name="connsiteY5" fmla="*/ 1418167 h 1947333"/>
                  <a:gd name="connsiteX6" fmla="*/ 1672166 w 1756833"/>
                  <a:gd name="connsiteY6" fmla="*/ 0 h 1947333"/>
                  <a:gd name="connsiteX7" fmla="*/ 1697566 w 1756833"/>
                  <a:gd name="connsiteY7" fmla="*/ 29633 h 1947333"/>
                  <a:gd name="connsiteX8" fmla="*/ 1756833 w 1756833"/>
                  <a:gd name="connsiteY8" fmla="*/ 76200 h 1947333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697566 w 1756833"/>
                  <a:gd name="connsiteY7" fmla="*/ 39491 h 1957191"/>
                  <a:gd name="connsiteX8" fmla="*/ 1756833 w 1756833"/>
                  <a:gd name="connsiteY8" fmla="*/ 86058 h 1957191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736594 w 1756833"/>
                  <a:gd name="connsiteY7" fmla="*/ 39875 h 1957191"/>
                  <a:gd name="connsiteX8" fmla="*/ 1756833 w 1756833"/>
                  <a:gd name="connsiteY8" fmla="*/ 86058 h 1957191"/>
                  <a:gd name="connsiteX0" fmla="*/ 1773039 w 1773039"/>
                  <a:gd name="connsiteY0" fmla="*/ 72441 h 1957191"/>
                  <a:gd name="connsiteX1" fmla="*/ 643466 w 1773039"/>
                  <a:gd name="connsiteY1" fmla="*/ 1957191 h 1957191"/>
                  <a:gd name="connsiteX2" fmla="*/ 474133 w 1773039"/>
                  <a:gd name="connsiteY2" fmla="*/ 1859825 h 1957191"/>
                  <a:gd name="connsiteX3" fmla="*/ 249766 w 1773039"/>
                  <a:gd name="connsiteY3" fmla="*/ 1677791 h 1957191"/>
                  <a:gd name="connsiteX4" fmla="*/ 38100 w 1773039"/>
                  <a:gd name="connsiteY4" fmla="*/ 1466125 h 1957191"/>
                  <a:gd name="connsiteX5" fmla="*/ 0 w 1773039"/>
                  <a:gd name="connsiteY5" fmla="*/ 1428025 h 1957191"/>
                  <a:gd name="connsiteX6" fmla="*/ 1697059 w 1773039"/>
                  <a:gd name="connsiteY6" fmla="*/ 0 h 1957191"/>
                  <a:gd name="connsiteX7" fmla="*/ 1736594 w 1773039"/>
                  <a:gd name="connsiteY7" fmla="*/ 39875 h 1957191"/>
                  <a:gd name="connsiteX8" fmla="*/ 1773039 w 1773039"/>
                  <a:gd name="connsiteY8" fmla="*/ 72441 h 1957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73039" h="1957191">
                    <a:moveTo>
                      <a:pt x="1773039" y="72441"/>
                    </a:moveTo>
                    <a:lnTo>
                      <a:pt x="643466" y="1957191"/>
                    </a:lnTo>
                    <a:lnTo>
                      <a:pt x="474133" y="1859825"/>
                    </a:lnTo>
                    <a:lnTo>
                      <a:pt x="249766" y="1677791"/>
                    </a:lnTo>
                    <a:lnTo>
                      <a:pt x="38100" y="1466125"/>
                    </a:lnTo>
                    <a:lnTo>
                      <a:pt x="0" y="1428025"/>
                    </a:lnTo>
                    <a:lnTo>
                      <a:pt x="1697059" y="0"/>
                    </a:lnTo>
                    <a:lnTo>
                      <a:pt x="1736594" y="39875"/>
                    </a:lnTo>
                    <a:lnTo>
                      <a:pt x="1773039" y="72441"/>
                    </a:lnTo>
                    <a:close/>
                  </a:path>
                </a:pathLst>
              </a:custGeom>
              <a:solidFill>
                <a:srgbClr val="D7D8D9">
                  <a:lumMod val="9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83" name="Ellipse 24"/>
              <p:cNvSpPr/>
              <p:nvPr/>
            </p:nvSpPr>
            <p:spPr>
              <a:xfrm>
                <a:off x="4152900" y="2819400"/>
                <a:ext cx="1054099" cy="1054099"/>
              </a:xfrm>
              <a:prstGeom prst="ellipse">
                <a:avLst/>
              </a:prstGeom>
              <a:solidFill>
                <a:sysClr val="window" lastClr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</p:grpSp>
        <p:sp>
          <p:nvSpPr>
            <p:cNvPr id="463" name="Ellipse 7"/>
            <p:cNvSpPr/>
            <p:nvPr/>
          </p:nvSpPr>
          <p:spPr>
            <a:xfrm>
              <a:off x="3760430" y="3150316"/>
              <a:ext cx="1648541" cy="1218484"/>
            </a:xfrm>
            <a:prstGeom prst="ellipse">
              <a:avLst/>
            </a:prstGeom>
            <a:gradFill flip="none" rotWithShape="1">
              <a:gsLst>
                <a:gs pos="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7000"/>
                  </a:srgbClr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464" name="Tekstboks 7"/>
            <p:cNvSpPr txBox="1"/>
            <p:nvPr/>
          </p:nvSpPr>
          <p:spPr>
            <a:xfrm>
              <a:off x="4076341" y="4761065"/>
              <a:ext cx="1003657" cy="54160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2000" kern="0" dirty="0">
                  <a:ln w="3175">
                    <a:noFill/>
                  </a:ln>
                  <a:solidFill>
                    <a:srgbClr val="1F88C8"/>
                  </a:solidFill>
                  <a:effectLst>
                    <a:outerShdw blurRad="66675" dir="2700000" algn="tl" rotWithShape="0">
                      <a:srgbClr val="000000">
                        <a:alpha val="5000"/>
                      </a:srgbClr>
                    </a:outerShdw>
                  </a:effectLst>
                  <a:latin typeface="Calibri"/>
                  <a:ea typeface="+mn-ea"/>
                </a:rPr>
                <a:t>55%</a:t>
              </a:r>
            </a:p>
          </p:txBody>
        </p:sp>
        <p:grpSp>
          <p:nvGrpSpPr>
            <p:cNvPr id="4" name="Grupper 30"/>
            <p:cNvGrpSpPr/>
            <p:nvPr/>
          </p:nvGrpSpPr>
          <p:grpSpPr>
            <a:xfrm rot="16778878">
              <a:off x="4000501" y="3479799"/>
              <a:ext cx="1371601" cy="295275"/>
              <a:chOff x="4445000" y="4016375"/>
              <a:chExt cx="1371601" cy="295275"/>
            </a:xfrm>
          </p:grpSpPr>
          <p:sp>
            <p:nvSpPr>
              <p:cNvPr id="466" name="Kombinationstegning 27"/>
              <p:cNvSpPr/>
              <p:nvPr/>
            </p:nvSpPr>
            <p:spPr>
              <a:xfrm>
                <a:off x="4759326" y="4086225"/>
                <a:ext cx="1057275" cy="142875"/>
              </a:xfrm>
              <a:custGeom>
                <a:avLst/>
                <a:gdLst>
                  <a:gd name="connsiteX0" fmla="*/ 0 w 1050925"/>
                  <a:gd name="connsiteY0" fmla="*/ 0 h 114300"/>
                  <a:gd name="connsiteX1" fmla="*/ 1012825 w 1050925"/>
                  <a:gd name="connsiteY1" fmla="*/ 25400 h 114300"/>
                  <a:gd name="connsiteX2" fmla="*/ 1050925 w 1050925"/>
                  <a:gd name="connsiteY2" fmla="*/ 41275 h 114300"/>
                  <a:gd name="connsiteX3" fmla="*/ 1050925 w 1050925"/>
                  <a:gd name="connsiteY3" fmla="*/ 69850 h 114300"/>
                  <a:gd name="connsiteX4" fmla="*/ 1022350 w 1050925"/>
                  <a:gd name="connsiteY4" fmla="*/ 88900 h 114300"/>
                  <a:gd name="connsiteX5" fmla="*/ 6350 w 1050925"/>
                  <a:gd name="connsiteY5" fmla="*/ 114300 h 114300"/>
                  <a:gd name="connsiteX6" fmla="*/ 15875 w 1050925"/>
                  <a:gd name="connsiteY6" fmla="*/ 57150 h 114300"/>
                  <a:gd name="connsiteX7" fmla="*/ 0 w 1050925"/>
                  <a:gd name="connsiteY7" fmla="*/ 0 h 114300"/>
                  <a:gd name="connsiteX0" fmla="*/ 0 w 1050925"/>
                  <a:gd name="connsiteY0" fmla="*/ 25400 h 139700"/>
                  <a:gd name="connsiteX1" fmla="*/ 1012825 w 1050925"/>
                  <a:gd name="connsiteY1" fmla="*/ 50800 h 139700"/>
                  <a:gd name="connsiteX2" fmla="*/ 1050925 w 1050925"/>
                  <a:gd name="connsiteY2" fmla="*/ 66675 h 139700"/>
                  <a:gd name="connsiteX3" fmla="*/ 1050925 w 1050925"/>
                  <a:gd name="connsiteY3" fmla="*/ 95250 h 139700"/>
                  <a:gd name="connsiteX4" fmla="*/ 1022350 w 1050925"/>
                  <a:gd name="connsiteY4" fmla="*/ 114300 h 139700"/>
                  <a:gd name="connsiteX5" fmla="*/ 6350 w 1050925"/>
                  <a:gd name="connsiteY5" fmla="*/ 139700 h 139700"/>
                  <a:gd name="connsiteX6" fmla="*/ 15875 w 1050925"/>
                  <a:gd name="connsiteY6" fmla="*/ 82550 h 139700"/>
                  <a:gd name="connsiteX7" fmla="*/ 0 w 1050925"/>
                  <a:gd name="connsiteY7" fmla="*/ 25400 h 139700"/>
                  <a:gd name="connsiteX0" fmla="*/ 0 w 1050925"/>
                  <a:gd name="connsiteY0" fmla="*/ 25400 h 142875"/>
                  <a:gd name="connsiteX1" fmla="*/ 1012825 w 1050925"/>
                  <a:gd name="connsiteY1" fmla="*/ 50800 h 142875"/>
                  <a:gd name="connsiteX2" fmla="*/ 1050925 w 1050925"/>
                  <a:gd name="connsiteY2" fmla="*/ 66675 h 142875"/>
                  <a:gd name="connsiteX3" fmla="*/ 1050925 w 1050925"/>
                  <a:gd name="connsiteY3" fmla="*/ 95250 h 142875"/>
                  <a:gd name="connsiteX4" fmla="*/ 1022350 w 1050925"/>
                  <a:gd name="connsiteY4" fmla="*/ 114300 h 142875"/>
                  <a:gd name="connsiteX5" fmla="*/ 6350 w 1050925"/>
                  <a:gd name="connsiteY5" fmla="*/ 139700 h 142875"/>
                  <a:gd name="connsiteX6" fmla="*/ 15875 w 1050925"/>
                  <a:gd name="connsiteY6" fmla="*/ 82550 h 142875"/>
                  <a:gd name="connsiteX7" fmla="*/ 0 w 1050925"/>
                  <a:gd name="connsiteY7" fmla="*/ 25400 h 142875"/>
                  <a:gd name="connsiteX0" fmla="*/ 0 w 1054100"/>
                  <a:gd name="connsiteY0" fmla="*/ 25400 h 142875"/>
                  <a:gd name="connsiteX1" fmla="*/ 1012825 w 1054100"/>
                  <a:gd name="connsiteY1" fmla="*/ 50800 h 142875"/>
                  <a:gd name="connsiteX2" fmla="*/ 1050925 w 1054100"/>
                  <a:gd name="connsiteY2" fmla="*/ 66675 h 142875"/>
                  <a:gd name="connsiteX3" fmla="*/ 1050925 w 1054100"/>
                  <a:gd name="connsiteY3" fmla="*/ 95250 h 142875"/>
                  <a:gd name="connsiteX4" fmla="*/ 1022350 w 1054100"/>
                  <a:gd name="connsiteY4" fmla="*/ 114300 h 142875"/>
                  <a:gd name="connsiteX5" fmla="*/ 6350 w 1054100"/>
                  <a:gd name="connsiteY5" fmla="*/ 139700 h 142875"/>
                  <a:gd name="connsiteX6" fmla="*/ 15875 w 1054100"/>
                  <a:gd name="connsiteY6" fmla="*/ 82550 h 142875"/>
                  <a:gd name="connsiteX7" fmla="*/ 0 w 1054100"/>
                  <a:gd name="connsiteY7" fmla="*/ 25400 h 142875"/>
                  <a:gd name="connsiteX0" fmla="*/ 0 w 1057275"/>
                  <a:gd name="connsiteY0" fmla="*/ 25400 h 142875"/>
                  <a:gd name="connsiteX1" fmla="*/ 1012825 w 1057275"/>
                  <a:gd name="connsiteY1" fmla="*/ 50800 h 142875"/>
                  <a:gd name="connsiteX2" fmla="*/ 1050925 w 1057275"/>
                  <a:gd name="connsiteY2" fmla="*/ 66675 h 142875"/>
                  <a:gd name="connsiteX3" fmla="*/ 1050925 w 1057275"/>
                  <a:gd name="connsiteY3" fmla="*/ 95250 h 142875"/>
                  <a:gd name="connsiteX4" fmla="*/ 1022350 w 1057275"/>
                  <a:gd name="connsiteY4" fmla="*/ 114300 h 142875"/>
                  <a:gd name="connsiteX5" fmla="*/ 6350 w 1057275"/>
                  <a:gd name="connsiteY5" fmla="*/ 139700 h 142875"/>
                  <a:gd name="connsiteX6" fmla="*/ 15875 w 1057275"/>
                  <a:gd name="connsiteY6" fmla="*/ 82550 h 142875"/>
                  <a:gd name="connsiteX7" fmla="*/ 0 w 1057275"/>
                  <a:gd name="connsiteY7" fmla="*/ 25400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57275" h="142875">
                    <a:moveTo>
                      <a:pt x="0" y="25400"/>
                    </a:moveTo>
                    <a:lnTo>
                      <a:pt x="1012825" y="50800"/>
                    </a:lnTo>
                    <a:cubicBezTo>
                      <a:pt x="1054100" y="46567"/>
                      <a:pt x="1038225" y="61383"/>
                      <a:pt x="1050925" y="66675"/>
                    </a:cubicBezTo>
                    <a:lnTo>
                      <a:pt x="1050925" y="95250"/>
                    </a:lnTo>
                    <a:cubicBezTo>
                      <a:pt x="1041400" y="101600"/>
                      <a:pt x="1057275" y="120650"/>
                      <a:pt x="1022350" y="114300"/>
                    </a:cubicBezTo>
                    <a:lnTo>
                      <a:pt x="6350" y="139700"/>
                    </a:lnTo>
                    <a:cubicBezTo>
                      <a:pt x="9525" y="120650"/>
                      <a:pt x="15875" y="142875"/>
                      <a:pt x="15875" y="82550"/>
                    </a:cubicBezTo>
                    <a:cubicBezTo>
                      <a:pt x="13758" y="0"/>
                      <a:pt x="5292" y="44450"/>
                      <a:pt x="0" y="2540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E6E6E6">
                      <a:lumMod val="10000"/>
                    </a:srgbClr>
                  </a:gs>
                  <a:gs pos="100000">
                    <a:srgbClr val="E6E6E6">
                      <a:lumMod val="25000"/>
                    </a:srgbClr>
                  </a:gs>
                </a:gsLst>
                <a:lin ang="16200000" scaled="0"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67" name="Ellipse 28"/>
              <p:cNvSpPr/>
              <p:nvPr/>
            </p:nvSpPr>
            <p:spPr>
              <a:xfrm>
                <a:off x="4445000" y="4016375"/>
                <a:ext cx="295275" cy="295275"/>
              </a:xfrm>
              <a:prstGeom prst="ellipse">
                <a:avLst/>
              </a:prstGeom>
              <a:gradFill rotWithShape="1">
                <a:gsLst>
                  <a:gs pos="0">
                    <a:srgbClr val="E6E6E6">
                      <a:lumMod val="10000"/>
                    </a:srgbClr>
                  </a:gs>
                  <a:gs pos="100000">
                    <a:srgbClr val="E6E6E6">
                      <a:lumMod val="25000"/>
                    </a:srgbClr>
                  </a:gs>
                </a:gsLst>
                <a:lin ang="16200000" scaled="0"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</p:grpSp>
      </p:grpSp>
      <p:grpSp>
        <p:nvGrpSpPr>
          <p:cNvPr id="5" name="Grupper 59"/>
          <p:cNvGrpSpPr/>
          <p:nvPr/>
        </p:nvGrpSpPr>
        <p:grpSpPr bwMode="auto">
          <a:xfrm>
            <a:off x="5079348" y="1754088"/>
            <a:ext cx="2400952" cy="2401661"/>
            <a:chOff x="3761271" y="3328564"/>
            <a:chExt cx="1560029" cy="1560971"/>
          </a:xfrm>
          <a:effectLst>
            <a:reflection stA="85000" endPos="38000" dir="5400000" sy="-100000" algn="bl" rotWithShape="0"/>
          </a:effectLst>
        </p:grpSpPr>
        <p:sp>
          <p:nvSpPr>
            <p:cNvPr id="436" name="Ellipse 35"/>
            <p:cNvSpPr/>
            <p:nvPr/>
          </p:nvSpPr>
          <p:spPr>
            <a:xfrm>
              <a:off x="3891392" y="3459608"/>
              <a:ext cx="1305568" cy="1305568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pic>
          <p:nvPicPr>
            <p:cNvPr id="437" name="Billede 36" descr="tachometer2.emf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761271" y="3328564"/>
              <a:ext cx="1560029" cy="1560971"/>
            </a:xfrm>
            <a:prstGeom prst="rect">
              <a:avLst/>
            </a:prstGeom>
          </p:spPr>
        </p:pic>
        <p:grpSp>
          <p:nvGrpSpPr>
            <p:cNvPr id="6" name="Grupper 23"/>
            <p:cNvGrpSpPr/>
            <p:nvPr/>
          </p:nvGrpSpPr>
          <p:grpSpPr>
            <a:xfrm>
              <a:off x="3943083" y="3503751"/>
              <a:ext cx="1195277" cy="1104132"/>
              <a:chOff x="1983535" y="732368"/>
              <a:chExt cx="5250729" cy="4850354"/>
            </a:xfrm>
          </p:grpSpPr>
          <p:sp>
            <p:nvSpPr>
              <p:cNvPr id="444" name="Kombinationstegning 43"/>
              <p:cNvSpPr/>
              <p:nvPr/>
            </p:nvSpPr>
            <p:spPr>
              <a:xfrm>
                <a:off x="2629619" y="3596909"/>
                <a:ext cx="1756834" cy="1947332"/>
              </a:xfrm>
              <a:custGeom>
                <a:avLst/>
                <a:gdLst>
                  <a:gd name="connsiteX0" fmla="*/ 1756833 w 1756833"/>
                  <a:gd name="connsiteY0" fmla="*/ 76200 h 1947333"/>
                  <a:gd name="connsiteX1" fmla="*/ 643466 w 1756833"/>
                  <a:gd name="connsiteY1" fmla="*/ 1947333 h 1947333"/>
                  <a:gd name="connsiteX2" fmla="*/ 474133 w 1756833"/>
                  <a:gd name="connsiteY2" fmla="*/ 1849967 h 1947333"/>
                  <a:gd name="connsiteX3" fmla="*/ 249766 w 1756833"/>
                  <a:gd name="connsiteY3" fmla="*/ 1667933 h 1947333"/>
                  <a:gd name="connsiteX4" fmla="*/ 38100 w 1756833"/>
                  <a:gd name="connsiteY4" fmla="*/ 1456267 h 1947333"/>
                  <a:gd name="connsiteX5" fmla="*/ 0 w 1756833"/>
                  <a:gd name="connsiteY5" fmla="*/ 1418167 h 1947333"/>
                  <a:gd name="connsiteX6" fmla="*/ 1672166 w 1756833"/>
                  <a:gd name="connsiteY6" fmla="*/ 0 h 1947333"/>
                  <a:gd name="connsiteX7" fmla="*/ 1697566 w 1756833"/>
                  <a:gd name="connsiteY7" fmla="*/ 29633 h 1947333"/>
                  <a:gd name="connsiteX8" fmla="*/ 1756833 w 1756833"/>
                  <a:gd name="connsiteY8" fmla="*/ 76200 h 1947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56833" h="1947333">
                    <a:moveTo>
                      <a:pt x="1756833" y="76200"/>
                    </a:moveTo>
                    <a:lnTo>
                      <a:pt x="643466" y="1947333"/>
                    </a:lnTo>
                    <a:lnTo>
                      <a:pt x="474133" y="1849967"/>
                    </a:lnTo>
                    <a:lnTo>
                      <a:pt x="249766" y="1667933"/>
                    </a:lnTo>
                    <a:lnTo>
                      <a:pt x="38100" y="1456267"/>
                    </a:lnTo>
                    <a:lnTo>
                      <a:pt x="0" y="1418167"/>
                    </a:lnTo>
                    <a:lnTo>
                      <a:pt x="1672166" y="0"/>
                    </a:lnTo>
                    <a:lnTo>
                      <a:pt x="1697566" y="29633"/>
                    </a:lnTo>
                    <a:lnTo>
                      <a:pt x="1756833" y="7620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81BE"/>
                  </a:gs>
                  <a:gs pos="100000">
                    <a:srgbClr val="78C5DD"/>
                  </a:gs>
                </a:gsLst>
                <a:lin ang="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45" name="Kombinationstegning 44"/>
              <p:cNvSpPr/>
              <p:nvPr/>
            </p:nvSpPr>
            <p:spPr>
              <a:xfrm rot="1210489">
                <a:off x="2269788" y="3161588"/>
                <a:ext cx="1756834" cy="1947332"/>
              </a:xfrm>
              <a:custGeom>
                <a:avLst/>
                <a:gdLst>
                  <a:gd name="connsiteX0" fmla="*/ 1756833 w 1756833"/>
                  <a:gd name="connsiteY0" fmla="*/ 76200 h 1947333"/>
                  <a:gd name="connsiteX1" fmla="*/ 643466 w 1756833"/>
                  <a:gd name="connsiteY1" fmla="*/ 1947333 h 1947333"/>
                  <a:gd name="connsiteX2" fmla="*/ 474133 w 1756833"/>
                  <a:gd name="connsiteY2" fmla="*/ 1849967 h 1947333"/>
                  <a:gd name="connsiteX3" fmla="*/ 249766 w 1756833"/>
                  <a:gd name="connsiteY3" fmla="*/ 1667933 h 1947333"/>
                  <a:gd name="connsiteX4" fmla="*/ 38100 w 1756833"/>
                  <a:gd name="connsiteY4" fmla="*/ 1456267 h 1947333"/>
                  <a:gd name="connsiteX5" fmla="*/ 0 w 1756833"/>
                  <a:gd name="connsiteY5" fmla="*/ 1418167 h 1947333"/>
                  <a:gd name="connsiteX6" fmla="*/ 1672166 w 1756833"/>
                  <a:gd name="connsiteY6" fmla="*/ 0 h 1947333"/>
                  <a:gd name="connsiteX7" fmla="*/ 1697566 w 1756833"/>
                  <a:gd name="connsiteY7" fmla="*/ 29633 h 1947333"/>
                  <a:gd name="connsiteX8" fmla="*/ 1756833 w 1756833"/>
                  <a:gd name="connsiteY8" fmla="*/ 76200 h 1947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56833" h="1947333">
                    <a:moveTo>
                      <a:pt x="1756833" y="76200"/>
                    </a:moveTo>
                    <a:lnTo>
                      <a:pt x="643466" y="1947333"/>
                    </a:lnTo>
                    <a:lnTo>
                      <a:pt x="474133" y="1849967"/>
                    </a:lnTo>
                    <a:lnTo>
                      <a:pt x="249766" y="1667933"/>
                    </a:lnTo>
                    <a:lnTo>
                      <a:pt x="38100" y="1456267"/>
                    </a:lnTo>
                    <a:lnTo>
                      <a:pt x="0" y="1418167"/>
                    </a:lnTo>
                    <a:lnTo>
                      <a:pt x="1672166" y="0"/>
                    </a:lnTo>
                    <a:lnTo>
                      <a:pt x="1697566" y="29633"/>
                    </a:lnTo>
                    <a:lnTo>
                      <a:pt x="1756833" y="7620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81BE"/>
                  </a:gs>
                  <a:gs pos="100000">
                    <a:srgbClr val="78C5DD"/>
                  </a:gs>
                </a:gsLst>
                <a:lin ang="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46" name="Kombinationstegning 45"/>
              <p:cNvSpPr/>
              <p:nvPr/>
            </p:nvSpPr>
            <p:spPr>
              <a:xfrm rot="2402244">
                <a:off x="2080558" y="2625406"/>
                <a:ext cx="1773041" cy="1957191"/>
              </a:xfrm>
              <a:custGeom>
                <a:avLst/>
                <a:gdLst>
                  <a:gd name="connsiteX0" fmla="*/ 1756833 w 1756833"/>
                  <a:gd name="connsiteY0" fmla="*/ 76200 h 1947333"/>
                  <a:gd name="connsiteX1" fmla="*/ 643466 w 1756833"/>
                  <a:gd name="connsiteY1" fmla="*/ 1947333 h 1947333"/>
                  <a:gd name="connsiteX2" fmla="*/ 474133 w 1756833"/>
                  <a:gd name="connsiteY2" fmla="*/ 1849967 h 1947333"/>
                  <a:gd name="connsiteX3" fmla="*/ 249766 w 1756833"/>
                  <a:gd name="connsiteY3" fmla="*/ 1667933 h 1947333"/>
                  <a:gd name="connsiteX4" fmla="*/ 38100 w 1756833"/>
                  <a:gd name="connsiteY4" fmla="*/ 1456267 h 1947333"/>
                  <a:gd name="connsiteX5" fmla="*/ 0 w 1756833"/>
                  <a:gd name="connsiteY5" fmla="*/ 1418167 h 1947333"/>
                  <a:gd name="connsiteX6" fmla="*/ 1672166 w 1756833"/>
                  <a:gd name="connsiteY6" fmla="*/ 0 h 1947333"/>
                  <a:gd name="connsiteX7" fmla="*/ 1697566 w 1756833"/>
                  <a:gd name="connsiteY7" fmla="*/ 29633 h 1947333"/>
                  <a:gd name="connsiteX8" fmla="*/ 1756833 w 1756833"/>
                  <a:gd name="connsiteY8" fmla="*/ 76200 h 1947333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697566 w 1756833"/>
                  <a:gd name="connsiteY7" fmla="*/ 39491 h 1957191"/>
                  <a:gd name="connsiteX8" fmla="*/ 1756833 w 1756833"/>
                  <a:gd name="connsiteY8" fmla="*/ 86058 h 1957191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736594 w 1756833"/>
                  <a:gd name="connsiteY7" fmla="*/ 39875 h 1957191"/>
                  <a:gd name="connsiteX8" fmla="*/ 1756833 w 1756833"/>
                  <a:gd name="connsiteY8" fmla="*/ 86058 h 1957191"/>
                  <a:gd name="connsiteX0" fmla="*/ 1773039 w 1773039"/>
                  <a:gd name="connsiteY0" fmla="*/ 72441 h 1957191"/>
                  <a:gd name="connsiteX1" fmla="*/ 643466 w 1773039"/>
                  <a:gd name="connsiteY1" fmla="*/ 1957191 h 1957191"/>
                  <a:gd name="connsiteX2" fmla="*/ 474133 w 1773039"/>
                  <a:gd name="connsiteY2" fmla="*/ 1859825 h 1957191"/>
                  <a:gd name="connsiteX3" fmla="*/ 249766 w 1773039"/>
                  <a:gd name="connsiteY3" fmla="*/ 1677791 h 1957191"/>
                  <a:gd name="connsiteX4" fmla="*/ 38100 w 1773039"/>
                  <a:gd name="connsiteY4" fmla="*/ 1466125 h 1957191"/>
                  <a:gd name="connsiteX5" fmla="*/ 0 w 1773039"/>
                  <a:gd name="connsiteY5" fmla="*/ 1428025 h 1957191"/>
                  <a:gd name="connsiteX6" fmla="*/ 1697059 w 1773039"/>
                  <a:gd name="connsiteY6" fmla="*/ 0 h 1957191"/>
                  <a:gd name="connsiteX7" fmla="*/ 1736594 w 1773039"/>
                  <a:gd name="connsiteY7" fmla="*/ 39875 h 1957191"/>
                  <a:gd name="connsiteX8" fmla="*/ 1773039 w 1773039"/>
                  <a:gd name="connsiteY8" fmla="*/ 72441 h 1957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73039" h="1957191">
                    <a:moveTo>
                      <a:pt x="1773039" y="72441"/>
                    </a:moveTo>
                    <a:lnTo>
                      <a:pt x="643466" y="1957191"/>
                    </a:lnTo>
                    <a:lnTo>
                      <a:pt x="474133" y="1859825"/>
                    </a:lnTo>
                    <a:lnTo>
                      <a:pt x="249766" y="1677791"/>
                    </a:lnTo>
                    <a:lnTo>
                      <a:pt x="38100" y="1466125"/>
                    </a:lnTo>
                    <a:lnTo>
                      <a:pt x="0" y="1428025"/>
                    </a:lnTo>
                    <a:lnTo>
                      <a:pt x="1697059" y="0"/>
                    </a:lnTo>
                    <a:lnTo>
                      <a:pt x="1736594" y="39875"/>
                    </a:lnTo>
                    <a:lnTo>
                      <a:pt x="1773039" y="72441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81BE"/>
                  </a:gs>
                  <a:gs pos="100000">
                    <a:srgbClr val="78C5DD"/>
                  </a:gs>
                </a:gsLst>
                <a:lin ang="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47" name="Kombinationstegning 46"/>
              <p:cNvSpPr/>
              <p:nvPr/>
            </p:nvSpPr>
            <p:spPr>
              <a:xfrm rot="3600000">
                <a:off x="2075612" y="2032739"/>
                <a:ext cx="1773039" cy="1957193"/>
              </a:xfrm>
              <a:custGeom>
                <a:avLst/>
                <a:gdLst>
                  <a:gd name="connsiteX0" fmla="*/ 1756833 w 1756833"/>
                  <a:gd name="connsiteY0" fmla="*/ 76200 h 1947333"/>
                  <a:gd name="connsiteX1" fmla="*/ 643466 w 1756833"/>
                  <a:gd name="connsiteY1" fmla="*/ 1947333 h 1947333"/>
                  <a:gd name="connsiteX2" fmla="*/ 474133 w 1756833"/>
                  <a:gd name="connsiteY2" fmla="*/ 1849967 h 1947333"/>
                  <a:gd name="connsiteX3" fmla="*/ 249766 w 1756833"/>
                  <a:gd name="connsiteY3" fmla="*/ 1667933 h 1947333"/>
                  <a:gd name="connsiteX4" fmla="*/ 38100 w 1756833"/>
                  <a:gd name="connsiteY4" fmla="*/ 1456267 h 1947333"/>
                  <a:gd name="connsiteX5" fmla="*/ 0 w 1756833"/>
                  <a:gd name="connsiteY5" fmla="*/ 1418167 h 1947333"/>
                  <a:gd name="connsiteX6" fmla="*/ 1672166 w 1756833"/>
                  <a:gd name="connsiteY6" fmla="*/ 0 h 1947333"/>
                  <a:gd name="connsiteX7" fmla="*/ 1697566 w 1756833"/>
                  <a:gd name="connsiteY7" fmla="*/ 29633 h 1947333"/>
                  <a:gd name="connsiteX8" fmla="*/ 1756833 w 1756833"/>
                  <a:gd name="connsiteY8" fmla="*/ 76200 h 1947333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697566 w 1756833"/>
                  <a:gd name="connsiteY7" fmla="*/ 39491 h 1957191"/>
                  <a:gd name="connsiteX8" fmla="*/ 1756833 w 1756833"/>
                  <a:gd name="connsiteY8" fmla="*/ 86058 h 1957191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736594 w 1756833"/>
                  <a:gd name="connsiteY7" fmla="*/ 39875 h 1957191"/>
                  <a:gd name="connsiteX8" fmla="*/ 1756833 w 1756833"/>
                  <a:gd name="connsiteY8" fmla="*/ 86058 h 1957191"/>
                  <a:gd name="connsiteX0" fmla="*/ 1773039 w 1773039"/>
                  <a:gd name="connsiteY0" fmla="*/ 72441 h 1957191"/>
                  <a:gd name="connsiteX1" fmla="*/ 643466 w 1773039"/>
                  <a:gd name="connsiteY1" fmla="*/ 1957191 h 1957191"/>
                  <a:gd name="connsiteX2" fmla="*/ 474133 w 1773039"/>
                  <a:gd name="connsiteY2" fmla="*/ 1859825 h 1957191"/>
                  <a:gd name="connsiteX3" fmla="*/ 249766 w 1773039"/>
                  <a:gd name="connsiteY3" fmla="*/ 1677791 h 1957191"/>
                  <a:gd name="connsiteX4" fmla="*/ 38100 w 1773039"/>
                  <a:gd name="connsiteY4" fmla="*/ 1466125 h 1957191"/>
                  <a:gd name="connsiteX5" fmla="*/ 0 w 1773039"/>
                  <a:gd name="connsiteY5" fmla="*/ 1428025 h 1957191"/>
                  <a:gd name="connsiteX6" fmla="*/ 1697059 w 1773039"/>
                  <a:gd name="connsiteY6" fmla="*/ 0 h 1957191"/>
                  <a:gd name="connsiteX7" fmla="*/ 1736594 w 1773039"/>
                  <a:gd name="connsiteY7" fmla="*/ 39875 h 1957191"/>
                  <a:gd name="connsiteX8" fmla="*/ 1773039 w 1773039"/>
                  <a:gd name="connsiteY8" fmla="*/ 72441 h 1957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73039" h="1957191">
                    <a:moveTo>
                      <a:pt x="1773039" y="72441"/>
                    </a:moveTo>
                    <a:lnTo>
                      <a:pt x="643466" y="1957191"/>
                    </a:lnTo>
                    <a:lnTo>
                      <a:pt x="474133" y="1859825"/>
                    </a:lnTo>
                    <a:lnTo>
                      <a:pt x="249766" y="1677791"/>
                    </a:lnTo>
                    <a:lnTo>
                      <a:pt x="38100" y="1466125"/>
                    </a:lnTo>
                    <a:lnTo>
                      <a:pt x="0" y="1428025"/>
                    </a:lnTo>
                    <a:lnTo>
                      <a:pt x="1697059" y="0"/>
                    </a:lnTo>
                    <a:lnTo>
                      <a:pt x="1736594" y="39875"/>
                    </a:lnTo>
                    <a:lnTo>
                      <a:pt x="1773039" y="72441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81BE"/>
                  </a:gs>
                  <a:gs pos="100000">
                    <a:srgbClr val="78C5DD"/>
                  </a:gs>
                </a:gsLst>
                <a:lin ang="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48" name="Kombinationstegning 47"/>
              <p:cNvSpPr/>
              <p:nvPr/>
            </p:nvSpPr>
            <p:spPr>
              <a:xfrm rot="4780901">
                <a:off x="2295748" y="1503573"/>
                <a:ext cx="1773039" cy="1957192"/>
              </a:xfrm>
              <a:custGeom>
                <a:avLst/>
                <a:gdLst>
                  <a:gd name="connsiteX0" fmla="*/ 1756833 w 1756833"/>
                  <a:gd name="connsiteY0" fmla="*/ 76200 h 1947333"/>
                  <a:gd name="connsiteX1" fmla="*/ 643466 w 1756833"/>
                  <a:gd name="connsiteY1" fmla="*/ 1947333 h 1947333"/>
                  <a:gd name="connsiteX2" fmla="*/ 474133 w 1756833"/>
                  <a:gd name="connsiteY2" fmla="*/ 1849967 h 1947333"/>
                  <a:gd name="connsiteX3" fmla="*/ 249766 w 1756833"/>
                  <a:gd name="connsiteY3" fmla="*/ 1667933 h 1947333"/>
                  <a:gd name="connsiteX4" fmla="*/ 38100 w 1756833"/>
                  <a:gd name="connsiteY4" fmla="*/ 1456267 h 1947333"/>
                  <a:gd name="connsiteX5" fmla="*/ 0 w 1756833"/>
                  <a:gd name="connsiteY5" fmla="*/ 1418167 h 1947333"/>
                  <a:gd name="connsiteX6" fmla="*/ 1672166 w 1756833"/>
                  <a:gd name="connsiteY6" fmla="*/ 0 h 1947333"/>
                  <a:gd name="connsiteX7" fmla="*/ 1697566 w 1756833"/>
                  <a:gd name="connsiteY7" fmla="*/ 29633 h 1947333"/>
                  <a:gd name="connsiteX8" fmla="*/ 1756833 w 1756833"/>
                  <a:gd name="connsiteY8" fmla="*/ 76200 h 1947333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697566 w 1756833"/>
                  <a:gd name="connsiteY7" fmla="*/ 39491 h 1957191"/>
                  <a:gd name="connsiteX8" fmla="*/ 1756833 w 1756833"/>
                  <a:gd name="connsiteY8" fmla="*/ 86058 h 1957191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736594 w 1756833"/>
                  <a:gd name="connsiteY7" fmla="*/ 39875 h 1957191"/>
                  <a:gd name="connsiteX8" fmla="*/ 1756833 w 1756833"/>
                  <a:gd name="connsiteY8" fmla="*/ 86058 h 1957191"/>
                  <a:gd name="connsiteX0" fmla="*/ 1773039 w 1773039"/>
                  <a:gd name="connsiteY0" fmla="*/ 72441 h 1957191"/>
                  <a:gd name="connsiteX1" fmla="*/ 643466 w 1773039"/>
                  <a:gd name="connsiteY1" fmla="*/ 1957191 h 1957191"/>
                  <a:gd name="connsiteX2" fmla="*/ 474133 w 1773039"/>
                  <a:gd name="connsiteY2" fmla="*/ 1859825 h 1957191"/>
                  <a:gd name="connsiteX3" fmla="*/ 249766 w 1773039"/>
                  <a:gd name="connsiteY3" fmla="*/ 1677791 h 1957191"/>
                  <a:gd name="connsiteX4" fmla="*/ 38100 w 1773039"/>
                  <a:gd name="connsiteY4" fmla="*/ 1466125 h 1957191"/>
                  <a:gd name="connsiteX5" fmla="*/ 0 w 1773039"/>
                  <a:gd name="connsiteY5" fmla="*/ 1428025 h 1957191"/>
                  <a:gd name="connsiteX6" fmla="*/ 1697059 w 1773039"/>
                  <a:gd name="connsiteY6" fmla="*/ 0 h 1957191"/>
                  <a:gd name="connsiteX7" fmla="*/ 1736594 w 1773039"/>
                  <a:gd name="connsiteY7" fmla="*/ 39875 h 1957191"/>
                  <a:gd name="connsiteX8" fmla="*/ 1773039 w 1773039"/>
                  <a:gd name="connsiteY8" fmla="*/ 72441 h 1957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73039" h="1957191">
                    <a:moveTo>
                      <a:pt x="1773039" y="72441"/>
                    </a:moveTo>
                    <a:lnTo>
                      <a:pt x="643466" y="1957191"/>
                    </a:lnTo>
                    <a:lnTo>
                      <a:pt x="474133" y="1859825"/>
                    </a:lnTo>
                    <a:lnTo>
                      <a:pt x="249766" y="1677791"/>
                    </a:lnTo>
                    <a:lnTo>
                      <a:pt x="38100" y="1466125"/>
                    </a:lnTo>
                    <a:lnTo>
                      <a:pt x="0" y="1428025"/>
                    </a:lnTo>
                    <a:lnTo>
                      <a:pt x="1697059" y="0"/>
                    </a:lnTo>
                    <a:lnTo>
                      <a:pt x="1736594" y="39875"/>
                    </a:lnTo>
                    <a:lnTo>
                      <a:pt x="1773039" y="72441"/>
                    </a:lnTo>
                    <a:close/>
                  </a:path>
                </a:pathLst>
              </a:custGeom>
              <a:solidFill>
                <a:srgbClr val="D7D8D9">
                  <a:lumMod val="9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49" name="Kombinationstegning 48"/>
              <p:cNvSpPr/>
              <p:nvPr/>
            </p:nvSpPr>
            <p:spPr>
              <a:xfrm rot="5998282">
                <a:off x="2685213" y="1063308"/>
                <a:ext cx="1773039" cy="1957192"/>
              </a:xfrm>
              <a:custGeom>
                <a:avLst/>
                <a:gdLst>
                  <a:gd name="connsiteX0" fmla="*/ 1756833 w 1756833"/>
                  <a:gd name="connsiteY0" fmla="*/ 76200 h 1947333"/>
                  <a:gd name="connsiteX1" fmla="*/ 643466 w 1756833"/>
                  <a:gd name="connsiteY1" fmla="*/ 1947333 h 1947333"/>
                  <a:gd name="connsiteX2" fmla="*/ 474133 w 1756833"/>
                  <a:gd name="connsiteY2" fmla="*/ 1849967 h 1947333"/>
                  <a:gd name="connsiteX3" fmla="*/ 249766 w 1756833"/>
                  <a:gd name="connsiteY3" fmla="*/ 1667933 h 1947333"/>
                  <a:gd name="connsiteX4" fmla="*/ 38100 w 1756833"/>
                  <a:gd name="connsiteY4" fmla="*/ 1456267 h 1947333"/>
                  <a:gd name="connsiteX5" fmla="*/ 0 w 1756833"/>
                  <a:gd name="connsiteY5" fmla="*/ 1418167 h 1947333"/>
                  <a:gd name="connsiteX6" fmla="*/ 1672166 w 1756833"/>
                  <a:gd name="connsiteY6" fmla="*/ 0 h 1947333"/>
                  <a:gd name="connsiteX7" fmla="*/ 1697566 w 1756833"/>
                  <a:gd name="connsiteY7" fmla="*/ 29633 h 1947333"/>
                  <a:gd name="connsiteX8" fmla="*/ 1756833 w 1756833"/>
                  <a:gd name="connsiteY8" fmla="*/ 76200 h 1947333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697566 w 1756833"/>
                  <a:gd name="connsiteY7" fmla="*/ 39491 h 1957191"/>
                  <a:gd name="connsiteX8" fmla="*/ 1756833 w 1756833"/>
                  <a:gd name="connsiteY8" fmla="*/ 86058 h 1957191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736594 w 1756833"/>
                  <a:gd name="connsiteY7" fmla="*/ 39875 h 1957191"/>
                  <a:gd name="connsiteX8" fmla="*/ 1756833 w 1756833"/>
                  <a:gd name="connsiteY8" fmla="*/ 86058 h 1957191"/>
                  <a:gd name="connsiteX0" fmla="*/ 1773039 w 1773039"/>
                  <a:gd name="connsiteY0" fmla="*/ 72441 h 1957191"/>
                  <a:gd name="connsiteX1" fmla="*/ 643466 w 1773039"/>
                  <a:gd name="connsiteY1" fmla="*/ 1957191 h 1957191"/>
                  <a:gd name="connsiteX2" fmla="*/ 474133 w 1773039"/>
                  <a:gd name="connsiteY2" fmla="*/ 1859825 h 1957191"/>
                  <a:gd name="connsiteX3" fmla="*/ 249766 w 1773039"/>
                  <a:gd name="connsiteY3" fmla="*/ 1677791 h 1957191"/>
                  <a:gd name="connsiteX4" fmla="*/ 38100 w 1773039"/>
                  <a:gd name="connsiteY4" fmla="*/ 1466125 h 1957191"/>
                  <a:gd name="connsiteX5" fmla="*/ 0 w 1773039"/>
                  <a:gd name="connsiteY5" fmla="*/ 1428025 h 1957191"/>
                  <a:gd name="connsiteX6" fmla="*/ 1697059 w 1773039"/>
                  <a:gd name="connsiteY6" fmla="*/ 0 h 1957191"/>
                  <a:gd name="connsiteX7" fmla="*/ 1736594 w 1773039"/>
                  <a:gd name="connsiteY7" fmla="*/ 39875 h 1957191"/>
                  <a:gd name="connsiteX8" fmla="*/ 1773039 w 1773039"/>
                  <a:gd name="connsiteY8" fmla="*/ 72441 h 1957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73039" h="1957191">
                    <a:moveTo>
                      <a:pt x="1773039" y="72441"/>
                    </a:moveTo>
                    <a:lnTo>
                      <a:pt x="643466" y="1957191"/>
                    </a:lnTo>
                    <a:lnTo>
                      <a:pt x="474133" y="1859825"/>
                    </a:lnTo>
                    <a:lnTo>
                      <a:pt x="249766" y="1677791"/>
                    </a:lnTo>
                    <a:lnTo>
                      <a:pt x="38100" y="1466125"/>
                    </a:lnTo>
                    <a:lnTo>
                      <a:pt x="0" y="1428025"/>
                    </a:lnTo>
                    <a:lnTo>
                      <a:pt x="1697059" y="0"/>
                    </a:lnTo>
                    <a:lnTo>
                      <a:pt x="1736594" y="39875"/>
                    </a:lnTo>
                    <a:lnTo>
                      <a:pt x="1773039" y="72441"/>
                    </a:lnTo>
                    <a:close/>
                  </a:path>
                </a:pathLst>
              </a:custGeom>
              <a:solidFill>
                <a:srgbClr val="D7D8D9">
                  <a:lumMod val="9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dirty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50" name="Kombinationstegning 49"/>
              <p:cNvSpPr/>
              <p:nvPr/>
            </p:nvSpPr>
            <p:spPr>
              <a:xfrm rot="7200000">
                <a:off x="3197447" y="779675"/>
                <a:ext cx="1773039" cy="1957192"/>
              </a:xfrm>
              <a:custGeom>
                <a:avLst/>
                <a:gdLst>
                  <a:gd name="connsiteX0" fmla="*/ 1756833 w 1756833"/>
                  <a:gd name="connsiteY0" fmla="*/ 76200 h 1947333"/>
                  <a:gd name="connsiteX1" fmla="*/ 643466 w 1756833"/>
                  <a:gd name="connsiteY1" fmla="*/ 1947333 h 1947333"/>
                  <a:gd name="connsiteX2" fmla="*/ 474133 w 1756833"/>
                  <a:gd name="connsiteY2" fmla="*/ 1849967 h 1947333"/>
                  <a:gd name="connsiteX3" fmla="*/ 249766 w 1756833"/>
                  <a:gd name="connsiteY3" fmla="*/ 1667933 h 1947333"/>
                  <a:gd name="connsiteX4" fmla="*/ 38100 w 1756833"/>
                  <a:gd name="connsiteY4" fmla="*/ 1456267 h 1947333"/>
                  <a:gd name="connsiteX5" fmla="*/ 0 w 1756833"/>
                  <a:gd name="connsiteY5" fmla="*/ 1418167 h 1947333"/>
                  <a:gd name="connsiteX6" fmla="*/ 1672166 w 1756833"/>
                  <a:gd name="connsiteY6" fmla="*/ 0 h 1947333"/>
                  <a:gd name="connsiteX7" fmla="*/ 1697566 w 1756833"/>
                  <a:gd name="connsiteY7" fmla="*/ 29633 h 1947333"/>
                  <a:gd name="connsiteX8" fmla="*/ 1756833 w 1756833"/>
                  <a:gd name="connsiteY8" fmla="*/ 76200 h 1947333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697566 w 1756833"/>
                  <a:gd name="connsiteY7" fmla="*/ 39491 h 1957191"/>
                  <a:gd name="connsiteX8" fmla="*/ 1756833 w 1756833"/>
                  <a:gd name="connsiteY8" fmla="*/ 86058 h 1957191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736594 w 1756833"/>
                  <a:gd name="connsiteY7" fmla="*/ 39875 h 1957191"/>
                  <a:gd name="connsiteX8" fmla="*/ 1756833 w 1756833"/>
                  <a:gd name="connsiteY8" fmla="*/ 86058 h 1957191"/>
                  <a:gd name="connsiteX0" fmla="*/ 1773039 w 1773039"/>
                  <a:gd name="connsiteY0" fmla="*/ 72441 h 1957191"/>
                  <a:gd name="connsiteX1" fmla="*/ 643466 w 1773039"/>
                  <a:gd name="connsiteY1" fmla="*/ 1957191 h 1957191"/>
                  <a:gd name="connsiteX2" fmla="*/ 474133 w 1773039"/>
                  <a:gd name="connsiteY2" fmla="*/ 1859825 h 1957191"/>
                  <a:gd name="connsiteX3" fmla="*/ 249766 w 1773039"/>
                  <a:gd name="connsiteY3" fmla="*/ 1677791 h 1957191"/>
                  <a:gd name="connsiteX4" fmla="*/ 38100 w 1773039"/>
                  <a:gd name="connsiteY4" fmla="*/ 1466125 h 1957191"/>
                  <a:gd name="connsiteX5" fmla="*/ 0 w 1773039"/>
                  <a:gd name="connsiteY5" fmla="*/ 1428025 h 1957191"/>
                  <a:gd name="connsiteX6" fmla="*/ 1697059 w 1773039"/>
                  <a:gd name="connsiteY6" fmla="*/ 0 h 1957191"/>
                  <a:gd name="connsiteX7" fmla="*/ 1736594 w 1773039"/>
                  <a:gd name="connsiteY7" fmla="*/ 39875 h 1957191"/>
                  <a:gd name="connsiteX8" fmla="*/ 1773039 w 1773039"/>
                  <a:gd name="connsiteY8" fmla="*/ 72441 h 1957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73039" h="1957191">
                    <a:moveTo>
                      <a:pt x="1773039" y="72441"/>
                    </a:moveTo>
                    <a:lnTo>
                      <a:pt x="643466" y="1957191"/>
                    </a:lnTo>
                    <a:lnTo>
                      <a:pt x="474133" y="1859825"/>
                    </a:lnTo>
                    <a:lnTo>
                      <a:pt x="249766" y="1677791"/>
                    </a:lnTo>
                    <a:lnTo>
                      <a:pt x="38100" y="1466125"/>
                    </a:lnTo>
                    <a:lnTo>
                      <a:pt x="0" y="1428025"/>
                    </a:lnTo>
                    <a:lnTo>
                      <a:pt x="1697059" y="0"/>
                    </a:lnTo>
                    <a:lnTo>
                      <a:pt x="1736594" y="39875"/>
                    </a:lnTo>
                    <a:lnTo>
                      <a:pt x="1773039" y="72441"/>
                    </a:lnTo>
                    <a:close/>
                  </a:path>
                </a:pathLst>
              </a:custGeom>
              <a:solidFill>
                <a:srgbClr val="D7D8D9">
                  <a:lumMod val="9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dirty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51" name="Kombinationstegning 50"/>
              <p:cNvSpPr/>
              <p:nvPr/>
            </p:nvSpPr>
            <p:spPr>
              <a:xfrm>
                <a:off x="4212169" y="732368"/>
                <a:ext cx="846665" cy="2235200"/>
              </a:xfrm>
              <a:custGeom>
                <a:avLst/>
                <a:gdLst>
                  <a:gd name="connsiteX0" fmla="*/ 359833 w 846666"/>
                  <a:gd name="connsiteY0" fmla="*/ 2235200 h 2235200"/>
                  <a:gd name="connsiteX1" fmla="*/ 0 w 846666"/>
                  <a:gd name="connsiteY1" fmla="*/ 29633 h 2235200"/>
                  <a:gd name="connsiteX2" fmla="*/ 67733 w 846666"/>
                  <a:gd name="connsiteY2" fmla="*/ 25400 h 2235200"/>
                  <a:gd name="connsiteX3" fmla="*/ 309033 w 846666"/>
                  <a:gd name="connsiteY3" fmla="*/ 4233 h 2235200"/>
                  <a:gd name="connsiteX4" fmla="*/ 524933 w 846666"/>
                  <a:gd name="connsiteY4" fmla="*/ 0 h 2235200"/>
                  <a:gd name="connsiteX5" fmla="*/ 821266 w 846666"/>
                  <a:gd name="connsiteY5" fmla="*/ 29633 h 2235200"/>
                  <a:gd name="connsiteX6" fmla="*/ 846666 w 846666"/>
                  <a:gd name="connsiteY6" fmla="*/ 33866 h 2235200"/>
                  <a:gd name="connsiteX7" fmla="*/ 469900 w 846666"/>
                  <a:gd name="connsiteY7" fmla="*/ 2226733 h 2235200"/>
                  <a:gd name="connsiteX8" fmla="*/ 419100 w 846666"/>
                  <a:gd name="connsiteY8" fmla="*/ 2222500 h 2235200"/>
                  <a:gd name="connsiteX9" fmla="*/ 359833 w 846666"/>
                  <a:gd name="connsiteY9" fmla="*/ 2235200 h 223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46666" h="2235200">
                    <a:moveTo>
                      <a:pt x="359833" y="2235200"/>
                    </a:moveTo>
                    <a:lnTo>
                      <a:pt x="0" y="29633"/>
                    </a:lnTo>
                    <a:lnTo>
                      <a:pt x="67733" y="25400"/>
                    </a:lnTo>
                    <a:lnTo>
                      <a:pt x="309033" y="4233"/>
                    </a:lnTo>
                    <a:lnTo>
                      <a:pt x="524933" y="0"/>
                    </a:lnTo>
                    <a:lnTo>
                      <a:pt x="821266" y="29633"/>
                    </a:lnTo>
                    <a:lnTo>
                      <a:pt x="846666" y="33866"/>
                    </a:lnTo>
                    <a:lnTo>
                      <a:pt x="469900" y="2226733"/>
                    </a:lnTo>
                    <a:lnTo>
                      <a:pt x="419100" y="2222500"/>
                    </a:lnTo>
                    <a:lnTo>
                      <a:pt x="359833" y="2235200"/>
                    </a:lnTo>
                    <a:close/>
                  </a:path>
                </a:pathLst>
              </a:custGeom>
              <a:solidFill>
                <a:srgbClr val="D7D8D9">
                  <a:lumMod val="9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52" name="Kombinationstegning 51"/>
              <p:cNvSpPr/>
              <p:nvPr/>
            </p:nvSpPr>
            <p:spPr>
              <a:xfrm rot="1191548">
                <a:off x="4720168" y="833967"/>
                <a:ext cx="846665" cy="2235200"/>
              </a:xfrm>
              <a:custGeom>
                <a:avLst/>
                <a:gdLst>
                  <a:gd name="connsiteX0" fmla="*/ 359833 w 846666"/>
                  <a:gd name="connsiteY0" fmla="*/ 2235200 h 2235200"/>
                  <a:gd name="connsiteX1" fmla="*/ 0 w 846666"/>
                  <a:gd name="connsiteY1" fmla="*/ 29633 h 2235200"/>
                  <a:gd name="connsiteX2" fmla="*/ 67733 w 846666"/>
                  <a:gd name="connsiteY2" fmla="*/ 25400 h 2235200"/>
                  <a:gd name="connsiteX3" fmla="*/ 309033 w 846666"/>
                  <a:gd name="connsiteY3" fmla="*/ 4233 h 2235200"/>
                  <a:gd name="connsiteX4" fmla="*/ 524933 w 846666"/>
                  <a:gd name="connsiteY4" fmla="*/ 0 h 2235200"/>
                  <a:gd name="connsiteX5" fmla="*/ 821266 w 846666"/>
                  <a:gd name="connsiteY5" fmla="*/ 29633 h 2235200"/>
                  <a:gd name="connsiteX6" fmla="*/ 846666 w 846666"/>
                  <a:gd name="connsiteY6" fmla="*/ 33866 h 2235200"/>
                  <a:gd name="connsiteX7" fmla="*/ 469900 w 846666"/>
                  <a:gd name="connsiteY7" fmla="*/ 2226733 h 2235200"/>
                  <a:gd name="connsiteX8" fmla="*/ 419100 w 846666"/>
                  <a:gd name="connsiteY8" fmla="*/ 2222500 h 2235200"/>
                  <a:gd name="connsiteX9" fmla="*/ 359833 w 846666"/>
                  <a:gd name="connsiteY9" fmla="*/ 2235200 h 223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46666" h="2235200">
                    <a:moveTo>
                      <a:pt x="359833" y="2235200"/>
                    </a:moveTo>
                    <a:lnTo>
                      <a:pt x="0" y="29633"/>
                    </a:lnTo>
                    <a:lnTo>
                      <a:pt x="67733" y="25400"/>
                    </a:lnTo>
                    <a:lnTo>
                      <a:pt x="309033" y="4233"/>
                    </a:lnTo>
                    <a:lnTo>
                      <a:pt x="524933" y="0"/>
                    </a:lnTo>
                    <a:lnTo>
                      <a:pt x="821266" y="29633"/>
                    </a:lnTo>
                    <a:lnTo>
                      <a:pt x="846666" y="33866"/>
                    </a:lnTo>
                    <a:lnTo>
                      <a:pt x="469900" y="2226733"/>
                    </a:lnTo>
                    <a:lnTo>
                      <a:pt x="419100" y="2222500"/>
                    </a:lnTo>
                    <a:lnTo>
                      <a:pt x="359833" y="2235200"/>
                    </a:lnTo>
                    <a:close/>
                  </a:path>
                </a:pathLst>
              </a:custGeom>
              <a:solidFill>
                <a:srgbClr val="D7D8D9">
                  <a:lumMod val="9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53" name="Kombinationstegning 52"/>
              <p:cNvSpPr/>
              <p:nvPr/>
            </p:nvSpPr>
            <p:spPr>
              <a:xfrm rot="2389753">
                <a:off x="5194302" y="1096433"/>
                <a:ext cx="846665" cy="2235200"/>
              </a:xfrm>
              <a:custGeom>
                <a:avLst/>
                <a:gdLst>
                  <a:gd name="connsiteX0" fmla="*/ 359833 w 846666"/>
                  <a:gd name="connsiteY0" fmla="*/ 2235200 h 2235200"/>
                  <a:gd name="connsiteX1" fmla="*/ 0 w 846666"/>
                  <a:gd name="connsiteY1" fmla="*/ 29633 h 2235200"/>
                  <a:gd name="connsiteX2" fmla="*/ 67733 w 846666"/>
                  <a:gd name="connsiteY2" fmla="*/ 25400 h 2235200"/>
                  <a:gd name="connsiteX3" fmla="*/ 309033 w 846666"/>
                  <a:gd name="connsiteY3" fmla="*/ 4233 h 2235200"/>
                  <a:gd name="connsiteX4" fmla="*/ 524933 w 846666"/>
                  <a:gd name="connsiteY4" fmla="*/ 0 h 2235200"/>
                  <a:gd name="connsiteX5" fmla="*/ 821266 w 846666"/>
                  <a:gd name="connsiteY5" fmla="*/ 29633 h 2235200"/>
                  <a:gd name="connsiteX6" fmla="*/ 846666 w 846666"/>
                  <a:gd name="connsiteY6" fmla="*/ 33866 h 2235200"/>
                  <a:gd name="connsiteX7" fmla="*/ 469900 w 846666"/>
                  <a:gd name="connsiteY7" fmla="*/ 2226733 h 2235200"/>
                  <a:gd name="connsiteX8" fmla="*/ 419100 w 846666"/>
                  <a:gd name="connsiteY8" fmla="*/ 2222500 h 2235200"/>
                  <a:gd name="connsiteX9" fmla="*/ 359833 w 846666"/>
                  <a:gd name="connsiteY9" fmla="*/ 2235200 h 223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46666" h="2235200">
                    <a:moveTo>
                      <a:pt x="359833" y="2235200"/>
                    </a:moveTo>
                    <a:lnTo>
                      <a:pt x="0" y="29633"/>
                    </a:lnTo>
                    <a:lnTo>
                      <a:pt x="67733" y="25400"/>
                    </a:lnTo>
                    <a:lnTo>
                      <a:pt x="309033" y="4233"/>
                    </a:lnTo>
                    <a:lnTo>
                      <a:pt x="524933" y="0"/>
                    </a:lnTo>
                    <a:lnTo>
                      <a:pt x="821266" y="29633"/>
                    </a:lnTo>
                    <a:lnTo>
                      <a:pt x="846666" y="33866"/>
                    </a:lnTo>
                    <a:lnTo>
                      <a:pt x="469900" y="2226733"/>
                    </a:lnTo>
                    <a:lnTo>
                      <a:pt x="419100" y="2222500"/>
                    </a:lnTo>
                    <a:lnTo>
                      <a:pt x="359833" y="2235200"/>
                    </a:lnTo>
                    <a:close/>
                  </a:path>
                </a:pathLst>
              </a:custGeom>
              <a:solidFill>
                <a:srgbClr val="D7D8D9">
                  <a:lumMod val="9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54" name="Kombinationstegning 53"/>
              <p:cNvSpPr/>
              <p:nvPr/>
            </p:nvSpPr>
            <p:spPr>
              <a:xfrm rot="3635334">
                <a:off x="5520268" y="1507064"/>
                <a:ext cx="846665" cy="2235198"/>
              </a:xfrm>
              <a:custGeom>
                <a:avLst/>
                <a:gdLst>
                  <a:gd name="connsiteX0" fmla="*/ 359833 w 846666"/>
                  <a:gd name="connsiteY0" fmla="*/ 2235200 h 2235200"/>
                  <a:gd name="connsiteX1" fmla="*/ 0 w 846666"/>
                  <a:gd name="connsiteY1" fmla="*/ 29633 h 2235200"/>
                  <a:gd name="connsiteX2" fmla="*/ 67733 w 846666"/>
                  <a:gd name="connsiteY2" fmla="*/ 25400 h 2235200"/>
                  <a:gd name="connsiteX3" fmla="*/ 309033 w 846666"/>
                  <a:gd name="connsiteY3" fmla="*/ 4233 h 2235200"/>
                  <a:gd name="connsiteX4" fmla="*/ 524933 w 846666"/>
                  <a:gd name="connsiteY4" fmla="*/ 0 h 2235200"/>
                  <a:gd name="connsiteX5" fmla="*/ 821266 w 846666"/>
                  <a:gd name="connsiteY5" fmla="*/ 29633 h 2235200"/>
                  <a:gd name="connsiteX6" fmla="*/ 846666 w 846666"/>
                  <a:gd name="connsiteY6" fmla="*/ 33866 h 2235200"/>
                  <a:gd name="connsiteX7" fmla="*/ 469900 w 846666"/>
                  <a:gd name="connsiteY7" fmla="*/ 2226733 h 2235200"/>
                  <a:gd name="connsiteX8" fmla="*/ 419100 w 846666"/>
                  <a:gd name="connsiteY8" fmla="*/ 2222500 h 2235200"/>
                  <a:gd name="connsiteX9" fmla="*/ 359833 w 846666"/>
                  <a:gd name="connsiteY9" fmla="*/ 2235200 h 223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46666" h="2235200">
                    <a:moveTo>
                      <a:pt x="359833" y="2235200"/>
                    </a:moveTo>
                    <a:lnTo>
                      <a:pt x="0" y="29633"/>
                    </a:lnTo>
                    <a:lnTo>
                      <a:pt x="67733" y="25400"/>
                    </a:lnTo>
                    <a:lnTo>
                      <a:pt x="309033" y="4233"/>
                    </a:lnTo>
                    <a:lnTo>
                      <a:pt x="524933" y="0"/>
                    </a:lnTo>
                    <a:lnTo>
                      <a:pt x="821266" y="29633"/>
                    </a:lnTo>
                    <a:lnTo>
                      <a:pt x="846666" y="33866"/>
                    </a:lnTo>
                    <a:lnTo>
                      <a:pt x="469900" y="2226733"/>
                    </a:lnTo>
                    <a:lnTo>
                      <a:pt x="419100" y="2222500"/>
                    </a:lnTo>
                    <a:lnTo>
                      <a:pt x="359833" y="2235200"/>
                    </a:lnTo>
                    <a:close/>
                  </a:path>
                </a:pathLst>
              </a:custGeom>
              <a:solidFill>
                <a:srgbClr val="D7D8D9">
                  <a:lumMod val="9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55" name="Kombinationstegning 54"/>
              <p:cNvSpPr/>
              <p:nvPr/>
            </p:nvSpPr>
            <p:spPr>
              <a:xfrm rot="13206660">
                <a:off x="5398780" y="2142809"/>
                <a:ext cx="1773040" cy="1957191"/>
              </a:xfrm>
              <a:custGeom>
                <a:avLst/>
                <a:gdLst>
                  <a:gd name="connsiteX0" fmla="*/ 1756833 w 1756833"/>
                  <a:gd name="connsiteY0" fmla="*/ 76200 h 1947333"/>
                  <a:gd name="connsiteX1" fmla="*/ 643466 w 1756833"/>
                  <a:gd name="connsiteY1" fmla="*/ 1947333 h 1947333"/>
                  <a:gd name="connsiteX2" fmla="*/ 474133 w 1756833"/>
                  <a:gd name="connsiteY2" fmla="*/ 1849967 h 1947333"/>
                  <a:gd name="connsiteX3" fmla="*/ 249766 w 1756833"/>
                  <a:gd name="connsiteY3" fmla="*/ 1667933 h 1947333"/>
                  <a:gd name="connsiteX4" fmla="*/ 38100 w 1756833"/>
                  <a:gd name="connsiteY4" fmla="*/ 1456267 h 1947333"/>
                  <a:gd name="connsiteX5" fmla="*/ 0 w 1756833"/>
                  <a:gd name="connsiteY5" fmla="*/ 1418167 h 1947333"/>
                  <a:gd name="connsiteX6" fmla="*/ 1672166 w 1756833"/>
                  <a:gd name="connsiteY6" fmla="*/ 0 h 1947333"/>
                  <a:gd name="connsiteX7" fmla="*/ 1697566 w 1756833"/>
                  <a:gd name="connsiteY7" fmla="*/ 29633 h 1947333"/>
                  <a:gd name="connsiteX8" fmla="*/ 1756833 w 1756833"/>
                  <a:gd name="connsiteY8" fmla="*/ 76200 h 1947333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697566 w 1756833"/>
                  <a:gd name="connsiteY7" fmla="*/ 39491 h 1957191"/>
                  <a:gd name="connsiteX8" fmla="*/ 1756833 w 1756833"/>
                  <a:gd name="connsiteY8" fmla="*/ 86058 h 1957191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736594 w 1756833"/>
                  <a:gd name="connsiteY7" fmla="*/ 39875 h 1957191"/>
                  <a:gd name="connsiteX8" fmla="*/ 1756833 w 1756833"/>
                  <a:gd name="connsiteY8" fmla="*/ 86058 h 1957191"/>
                  <a:gd name="connsiteX0" fmla="*/ 1773039 w 1773039"/>
                  <a:gd name="connsiteY0" fmla="*/ 72441 h 1957191"/>
                  <a:gd name="connsiteX1" fmla="*/ 643466 w 1773039"/>
                  <a:gd name="connsiteY1" fmla="*/ 1957191 h 1957191"/>
                  <a:gd name="connsiteX2" fmla="*/ 474133 w 1773039"/>
                  <a:gd name="connsiteY2" fmla="*/ 1859825 h 1957191"/>
                  <a:gd name="connsiteX3" fmla="*/ 249766 w 1773039"/>
                  <a:gd name="connsiteY3" fmla="*/ 1677791 h 1957191"/>
                  <a:gd name="connsiteX4" fmla="*/ 38100 w 1773039"/>
                  <a:gd name="connsiteY4" fmla="*/ 1466125 h 1957191"/>
                  <a:gd name="connsiteX5" fmla="*/ 0 w 1773039"/>
                  <a:gd name="connsiteY5" fmla="*/ 1428025 h 1957191"/>
                  <a:gd name="connsiteX6" fmla="*/ 1697059 w 1773039"/>
                  <a:gd name="connsiteY6" fmla="*/ 0 h 1957191"/>
                  <a:gd name="connsiteX7" fmla="*/ 1736594 w 1773039"/>
                  <a:gd name="connsiteY7" fmla="*/ 39875 h 1957191"/>
                  <a:gd name="connsiteX8" fmla="*/ 1773039 w 1773039"/>
                  <a:gd name="connsiteY8" fmla="*/ 72441 h 1957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73039" h="1957191">
                    <a:moveTo>
                      <a:pt x="1773039" y="72441"/>
                    </a:moveTo>
                    <a:lnTo>
                      <a:pt x="643466" y="1957191"/>
                    </a:lnTo>
                    <a:lnTo>
                      <a:pt x="474133" y="1859825"/>
                    </a:lnTo>
                    <a:lnTo>
                      <a:pt x="249766" y="1677791"/>
                    </a:lnTo>
                    <a:lnTo>
                      <a:pt x="38100" y="1466125"/>
                    </a:lnTo>
                    <a:lnTo>
                      <a:pt x="0" y="1428025"/>
                    </a:lnTo>
                    <a:lnTo>
                      <a:pt x="1697059" y="0"/>
                    </a:lnTo>
                    <a:lnTo>
                      <a:pt x="1736594" y="39875"/>
                    </a:lnTo>
                    <a:lnTo>
                      <a:pt x="1773039" y="72441"/>
                    </a:lnTo>
                    <a:close/>
                  </a:path>
                </a:pathLst>
              </a:custGeom>
              <a:solidFill>
                <a:srgbClr val="D7D8D9">
                  <a:lumMod val="9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56" name="Kombinationstegning 55"/>
              <p:cNvSpPr/>
              <p:nvPr/>
            </p:nvSpPr>
            <p:spPr>
              <a:xfrm rot="14344187">
                <a:off x="5369148" y="2731241"/>
                <a:ext cx="1773039" cy="1957192"/>
              </a:xfrm>
              <a:custGeom>
                <a:avLst/>
                <a:gdLst>
                  <a:gd name="connsiteX0" fmla="*/ 1756833 w 1756833"/>
                  <a:gd name="connsiteY0" fmla="*/ 76200 h 1947333"/>
                  <a:gd name="connsiteX1" fmla="*/ 643466 w 1756833"/>
                  <a:gd name="connsiteY1" fmla="*/ 1947333 h 1947333"/>
                  <a:gd name="connsiteX2" fmla="*/ 474133 w 1756833"/>
                  <a:gd name="connsiteY2" fmla="*/ 1849967 h 1947333"/>
                  <a:gd name="connsiteX3" fmla="*/ 249766 w 1756833"/>
                  <a:gd name="connsiteY3" fmla="*/ 1667933 h 1947333"/>
                  <a:gd name="connsiteX4" fmla="*/ 38100 w 1756833"/>
                  <a:gd name="connsiteY4" fmla="*/ 1456267 h 1947333"/>
                  <a:gd name="connsiteX5" fmla="*/ 0 w 1756833"/>
                  <a:gd name="connsiteY5" fmla="*/ 1418167 h 1947333"/>
                  <a:gd name="connsiteX6" fmla="*/ 1672166 w 1756833"/>
                  <a:gd name="connsiteY6" fmla="*/ 0 h 1947333"/>
                  <a:gd name="connsiteX7" fmla="*/ 1697566 w 1756833"/>
                  <a:gd name="connsiteY7" fmla="*/ 29633 h 1947333"/>
                  <a:gd name="connsiteX8" fmla="*/ 1756833 w 1756833"/>
                  <a:gd name="connsiteY8" fmla="*/ 76200 h 1947333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697566 w 1756833"/>
                  <a:gd name="connsiteY7" fmla="*/ 39491 h 1957191"/>
                  <a:gd name="connsiteX8" fmla="*/ 1756833 w 1756833"/>
                  <a:gd name="connsiteY8" fmla="*/ 86058 h 1957191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736594 w 1756833"/>
                  <a:gd name="connsiteY7" fmla="*/ 39875 h 1957191"/>
                  <a:gd name="connsiteX8" fmla="*/ 1756833 w 1756833"/>
                  <a:gd name="connsiteY8" fmla="*/ 86058 h 1957191"/>
                  <a:gd name="connsiteX0" fmla="*/ 1773039 w 1773039"/>
                  <a:gd name="connsiteY0" fmla="*/ 72441 h 1957191"/>
                  <a:gd name="connsiteX1" fmla="*/ 643466 w 1773039"/>
                  <a:gd name="connsiteY1" fmla="*/ 1957191 h 1957191"/>
                  <a:gd name="connsiteX2" fmla="*/ 474133 w 1773039"/>
                  <a:gd name="connsiteY2" fmla="*/ 1859825 h 1957191"/>
                  <a:gd name="connsiteX3" fmla="*/ 249766 w 1773039"/>
                  <a:gd name="connsiteY3" fmla="*/ 1677791 h 1957191"/>
                  <a:gd name="connsiteX4" fmla="*/ 38100 w 1773039"/>
                  <a:gd name="connsiteY4" fmla="*/ 1466125 h 1957191"/>
                  <a:gd name="connsiteX5" fmla="*/ 0 w 1773039"/>
                  <a:gd name="connsiteY5" fmla="*/ 1428025 h 1957191"/>
                  <a:gd name="connsiteX6" fmla="*/ 1697059 w 1773039"/>
                  <a:gd name="connsiteY6" fmla="*/ 0 h 1957191"/>
                  <a:gd name="connsiteX7" fmla="*/ 1736594 w 1773039"/>
                  <a:gd name="connsiteY7" fmla="*/ 39875 h 1957191"/>
                  <a:gd name="connsiteX8" fmla="*/ 1773039 w 1773039"/>
                  <a:gd name="connsiteY8" fmla="*/ 72441 h 1957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73039" h="1957191">
                    <a:moveTo>
                      <a:pt x="1773039" y="72441"/>
                    </a:moveTo>
                    <a:lnTo>
                      <a:pt x="643466" y="1957191"/>
                    </a:lnTo>
                    <a:lnTo>
                      <a:pt x="474133" y="1859825"/>
                    </a:lnTo>
                    <a:lnTo>
                      <a:pt x="249766" y="1677791"/>
                    </a:lnTo>
                    <a:lnTo>
                      <a:pt x="38100" y="1466125"/>
                    </a:lnTo>
                    <a:lnTo>
                      <a:pt x="0" y="1428025"/>
                    </a:lnTo>
                    <a:lnTo>
                      <a:pt x="1697059" y="0"/>
                    </a:lnTo>
                    <a:lnTo>
                      <a:pt x="1736594" y="39875"/>
                    </a:lnTo>
                    <a:lnTo>
                      <a:pt x="1773039" y="72441"/>
                    </a:lnTo>
                    <a:close/>
                  </a:path>
                </a:pathLst>
              </a:custGeom>
              <a:solidFill>
                <a:srgbClr val="D7D8D9">
                  <a:lumMod val="9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57" name="Kombinationstegning 56"/>
              <p:cNvSpPr/>
              <p:nvPr/>
            </p:nvSpPr>
            <p:spPr>
              <a:xfrm rot="15590630">
                <a:off x="5165942" y="3285807"/>
                <a:ext cx="1773039" cy="1957191"/>
              </a:xfrm>
              <a:custGeom>
                <a:avLst/>
                <a:gdLst>
                  <a:gd name="connsiteX0" fmla="*/ 1756833 w 1756833"/>
                  <a:gd name="connsiteY0" fmla="*/ 76200 h 1947333"/>
                  <a:gd name="connsiteX1" fmla="*/ 643466 w 1756833"/>
                  <a:gd name="connsiteY1" fmla="*/ 1947333 h 1947333"/>
                  <a:gd name="connsiteX2" fmla="*/ 474133 w 1756833"/>
                  <a:gd name="connsiteY2" fmla="*/ 1849967 h 1947333"/>
                  <a:gd name="connsiteX3" fmla="*/ 249766 w 1756833"/>
                  <a:gd name="connsiteY3" fmla="*/ 1667933 h 1947333"/>
                  <a:gd name="connsiteX4" fmla="*/ 38100 w 1756833"/>
                  <a:gd name="connsiteY4" fmla="*/ 1456267 h 1947333"/>
                  <a:gd name="connsiteX5" fmla="*/ 0 w 1756833"/>
                  <a:gd name="connsiteY5" fmla="*/ 1418167 h 1947333"/>
                  <a:gd name="connsiteX6" fmla="*/ 1672166 w 1756833"/>
                  <a:gd name="connsiteY6" fmla="*/ 0 h 1947333"/>
                  <a:gd name="connsiteX7" fmla="*/ 1697566 w 1756833"/>
                  <a:gd name="connsiteY7" fmla="*/ 29633 h 1947333"/>
                  <a:gd name="connsiteX8" fmla="*/ 1756833 w 1756833"/>
                  <a:gd name="connsiteY8" fmla="*/ 76200 h 1947333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697566 w 1756833"/>
                  <a:gd name="connsiteY7" fmla="*/ 39491 h 1957191"/>
                  <a:gd name="connsiteX8" fmla="*/ 1756833 w 1756833"/>
                  <a:gd name="connsiteY8" fmla="*/ 86058 h 1957191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736594 w 1756833"/>
                  <a:gd name="connsiteY7" fmla="*/ 39875 h 1957191"/>
                  <a:gd name="connsiteX8" fmla="*/ 1756833 w 1756833"/>
                  <a:gd name="connsiteY8" fmla="*/ 86058 h 1957191"/>
                  <a:gd name="connsiteX0" fmla="*/ 1773039 w 1773039"/>
                  <a:gd name="connsiteY0" fmla="*/ 72441 h 1957191"/>
                  <a:gd name="connsiteX1" fmla="*/ 643466 w 1773039"/>
                  <a:gd name="connsiteY1" fmla="*/ 1957191 h 1957191"/>
                  <a:gd name="connsiteX2" fmla="*/ 474133 w 1773039"/>
                  <a:gd name="connsiteY2" fmla="*/ 1859825 h 1957191"/>
                  <a:gd name="connsiteX3" fmla="*/ 249766 w 1773039"/>
                  <a:gd name="connsiteY3" fmla="*/ 1677791 h 1957191"/>
                  <a:gd name="connsiteX4" fmla="*/ 38100 w 1773039"/>
                  <a:gd name="connsiteY4" fmla="*/ 1466125 h 1957191"/>
                  <a:gd name="connsiteX5" fmla="*/ 0 w 1773039"/>
                  <a:gd name="connsiteY5" fmla="*/ 1428025 h 1957191"/>
                  <a:gd name="connsiteX6" fmla="*/ 1697059 w 1773039"/>
                  <a:gd name="connsiteY6" fmla="*/ 0 h 1957191"/>
                  <a:gd name="connsiteX7" fmla="*/ 1736594 w 1773039"/>
                  <a:gd name="connsiteY7" fmla="*/ 39875 h 1957191"/>
                  <a:gd name="connsiteX8" fmla="*/ 1773039 w 1773039"/>
                  <a:gd name="connsiteY8" fmla="*/ 72441 h 1957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73039" h="1957191">
                    <a:moveTo>
                      <a:pt x="1773039" y="72441"/>
                    </a:moveTo>
                    <a:lnTo>
                      <a:pt x="643466" y="1957191"/>
                    </a:lnTo>
                    <a:lnTo>
                      <a:pt x="474133" y="1859825"/>
                    </a:lnTo>
                    <a:lnTo>
                      <a:pt x="249766" y="1677791"/>
                    </a:lnTo>
                    <a:lnTo>
                      <a:pt x="38100" y="1466125"/>
                    </a:lnTo>
                    <a:lnTo>
                      <a:pt x="0" y="1428025"/>
                    </a:lnTo>
                    <a:lnTo>
                      <a:pt x="1697059" y="0"/>
                    </a:lnTo>
                    <a:lnTo>
                      <a:pt x="1736594" y="39875"/>
                    </a:lnTo>
                    <a:lnTo>
                      <a:pt x="1773039" y="72441"/>
                    </a:lnTo>
                    <a:close/>
                  </a:path>
                </a:pathLst>
              </a:custGeom>
              <a:solidFill>
                <a:srgbClr val="D7D8D9">
                  <a:lumMod val="9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58" name="Kombinationstegning 57"/>
              <p:cNvSpPr/>
              <p:nvPr/>
            </p:nvSpPr>
            <p:spPr>
              <a:xfrm rot="16788421">
                <a:off x="4776476" y="3717606"/>
                <a:ext cx="1773040" cy="1957192"/>
              </a:xfrm>
              <a:custGeom>
                <a:avLst/>
                <a:gdLst>
                  <a:gd name="connsiteX0" fmla="*/ 1756833 w 1756833"/>
                  <a:gd name="connsiteY0" fmla="*/ 76200 h 1947333"/>
                  <a:gd name="connsiteX1" fmla="*/ 643466 w 1756833"/>
                  <a:gd name="connsiteY1" fmla="*/ 1947333 h 1947333"/>
                  <a:gd name="connsiteX2" fmla="*/ 474133 w 1756833"/>
                  <a:gd name="connsiteY2" fmla="*/ 1849967 h 1947333"/>
                  <a:gd name="connsiteX3" fmla="*/ 249766 w 1756833"/>
                  <a:gd name="connsiteY3" fmla="*/ 1667933 h 1947333"/>
                  <a:gd name="connsiteX4" fmla="*/ 38100 w 1756833"/>
                  <a:gd name="connsiteY4" fmla="*/ 1456267 h 1947333"/>
                  <a:gd name="connsiteX5" fmla="*/ 0 w 1756833"/>
                  <a:gd name="connsiteY5" fmla="*/ 1418167 h 1947333"/>
                  <a:gd name="connsiteX6" fmla="*/ 1672166 w 1756833"/>
                  <a:gd name="connsiteY6" fmla="*/ 0 h 1947333"/>
                  <a:gd name="connsiteX7" fmla="*/ 1697566 w 1756833"/>
                  <a:gd name="connsiteY7" fmla="*/ 29633 h 1947333"/>
                  <a:gd name="connsiteX8" fmla="*/ 1756833 w 1756833"/>
                  <a:gd name="connsiteY8" fmla="*/ 76200 h 1947333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697566 w 1756833"/>
                  <a:gd name="connsiteY7" fmla="*/ 39491 h 1957191"/>
                  <a:gd name="connsiteX8" fmla="*/ 1756833 w 1756833"/>
                  <a:gd name="connsiteY8" fmla="*/ 86058 h 1957191"/>
                  <a:gd name="connsiteX0" fmla="*/ 1756833 w 1756833"/>
                  <a:gd name="connsiteY0" fmla="*/ 86058 h 1957191"/>
                  <a:gd name="connsiteX1" fmla="*/ 643466 w 1756833"/>
                  <a:gd name="connsiteY1" fmla="*/ 1957191 h 1957191"/>
                  <a:gd name="connsiteX2" fmla="*/ 474133 w 1756833"/>
                  <a:gd name="connsiteY2" fmla="*/ 1859825 h 1957191"/>
                  <a:gd name="connsiteX3" fmla="*/ 249766 w 1756833"/>
                  <a:gd name="connsiteY3" fmla="*/ 1677791 h 1957191"/>
                  <a:gd name="connsiteX4" fmla="*/ 38100 w 1756833"/>
                  <a:gd name="connsiteY4" fmla="*/ 1466125 h 1957191"/>
                  <a:gd name="connsiteX5" fmla="*/ 0 w 1756833"/>
                  <a:gd name="connsiteY5" fmla="*/ 1428025 h 1957191"/>
                  <a:gd name="connsiteX6" fmla="*/ 1697059 w 1756833"/>
                  <a:gd name="connsiteY6" fmla="*/ 0 h 1957191"/>
                  <a:gd name="connsiteX7" fmla="*/ 1736594 w 1756833"/>
                  <a:gd name="connsiteY7" fmla="*/ 39875 h 1957191"/>
                  <a:gd name="connsiteX8" fmla="*/ 1756833 w 1756833"/>
                  <a:gd name="connsiteY8" fmla="*/ 86058 h 1957191"/>
                  <a:gd name="connsiteX0" fmla="*/ 1773039 w 1773039"/>
                  <a:gd name="connsiteY0" fmla="*/ 72441 h 1957191"/>
                  <a:gd name="connsiteX1" fmla="*/ 643466 w 1773039"/>
                  <a:gd name="connsiteY1" fmla="*/ 1957191 h 1957191"/>
                  <a:gd name="connsiteX2" fmla="*/ 474133 w 1773039"/>
                  <a:gd name="connsiteY2" fmla="*/ 1859825 h 1957191"/>
                  <a:gd name="connsiteX3" fmla="*/ 249766 w 1773039"/>
                  <a:gd name="connsiteY3" fmla="*/ 1677791 h 1957191"/>
                  <a:gd name="connsiteX4" fmla="*/ 38100 w 1773039"/>
                  <a:gd name="connsiteY4" fmla="*/ 1466125 h 1957191"/>
                  <a:gd name="connsiteX5" fmla="*/ 0 w 1773039"/>
                  <a:gd name="connsiteY5" fmla="*/ 1428025 h 1957191"/>
                  <a:gd name="connsiteX6" fmla="*/ 1697059 w 1773039"/>
                  <a:gd name="connsiteY6" fmla="*/ 0 h 1957191"/>
                  <a:gd name="connsiteX7" fmla="*/ 1736594 w 1773039"/>
                  <a:gd name="connsiteY7" fmla="*/ 39875 h 1957191"/>
                  <a:gd name="connsiteX8" fmla="*/ 1773039 w 1773039"/>
                  <a:gd name="connsiteY8" fmla="*/ 72441 h 1957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73039" h="1957191">
                    <a:moveTo>
                      <a:pt x="1773039" y="72441"/>
                    </a:moveTo>
                    <a:lnTo>
                      <a:pt x="643466" y="1957191"/>
                    </a:lnTo>
                    <a:lnTo>
                      <a:pt x="474133" y="1859825"/>
                    </a:lnTo>
                    <a:lnTo>
                      <a:pt x="249766" y="1677791"/>
                    </a:lnTo>
                    <a:lnTo>
                      <a:pt x="38100" y="1466125"/>
                    </a:lnTo>
                    <a:lnTo>
                      <a:pt x="0" y="1428025"/>
                    </a:lnTo>
                    <a:lnTo>
                      <a:pt x="1697059" y="0"/>
                    </a:lnTo>
                    <a:lnTo>
                      <a:pt x="1736594" y="39875"/>
                    </a:lnTo>
                    <a:lnTo>
                      <a:pt x="1773039" y="72441"/>
                    </a:lnTo>
                    <a:close/>
                  </a:path>
                </a:pathLst>
              </a:custGeom>
              <a:solidFill>
                <a:srgbClr val="D7D8D9">
                  <a:lumMod val="9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59" name="Ellipse 58"/>
              <p:cNvSpPr/>
              <p:nvPr/>
            </p:nvSpPr>
            <p:spPr>
              <a:xfrm>
                <a:off x="4152900" y="2819400"/>
                <a:ext cx="1054099" cy="1054099"/>
              </a:xfrm>
              <a:prstGeom prst="ellipse">
                <a:avLst/>
              </a:prstGeom>
              <a:solidFill>
                <a:sysClr val="window" lastClr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</p:grpSp>
        <p:sp>
          <p:nvSpPr>
            <p:cNvPr id="439" name="Ellipse 7"/>
            <p:cNvSpPr/>
            <p:nvPr/>
          </p:nvSpPr>
          <p:spPr>
            <a:xfrm>
              <a:off x="4099294" y="3549798"/>
              <a:ext cx="896672" cy="662756"/>
            </a:xfrm>
            <a:prstGeom prst="ellipse">
              <a:avLst/>
            </a:prstGeom>
            <a:gradFill flip="none" rotWithShape="1">
              <a:gsLst>
                <a:gs pos="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7000"/>
                  </a:srgbClr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440" name="Tekstboks 39"/>
            <p:cNvSpPr txBox="1"/>
            <p:nvPr/>
          </p:nvSpPr>
          <p:spPr>
            <a:xfrm>
              <a:off x="4271124" y="4273514"/>
              <a:ext cx="545908" cy="40011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sz="1400" kern="0" dirty="0">
                  <a:ln w="3175">
                    <a:noFill/>
                  </a:ln>
                  <a:solidFill>
                    <a:srgbClr val="1F88C8"/>
                  </a:solidFill>
                  <a:effectLst>
                    <a:outerShdw blurRad="66675" dir="2700000" algn="tl" rotWithShape="0">
                      <a:srgbClr val="000000">
                        <a:alpha val="5000"/>
                      </a:srgbClr>
                    </a:outerShdw>
                  </a:effectLst>
                  <a:latin typeface="Calibri"/>
                  <a:ea typeface="+mn-ea"/>
                </a:rPr>
                <a:t>20</a:t>
              </a:r>
              <a:r>
                <a:rPr lang="da-DK" sz="2000" kern="0" dirty="0">
                  <a:ln w="3175">
                    <a:noFill/>
                  </a:ln>
                  <a:solidFill>
                    <a:srgbClr val="1F88C8"/>
                  </a:solidFill>
                  <a:effectLst>
                    <a:outerShdw blurRad="66675" dir="2700000" algn="tl" rotWithShape="0">
                      <a:srgbClr val="000000">
                        <a:alpha val="5000"/>
                      </a:srgbClr>
                    </a:outerShdw>
                  </a:effectLst>
                  <a:latin typeface="Calibri"/>
                  <a:ea typeface="+mn-ea"/>
                </a:rPr>
                <a:t>%</a:t>
              </a:r>
            </a:p>
          </p:txBody>
        </p:sp>
        <p:grpSp>
          <p:nvGrpSpPr>
            <p:cNvPr id="7" name="Grupper 30"/>
            <p:cNvGrpSpPr/>
            <p:nvPr/>
          </p:nvGrpSpPr>
          <p:grpSpPr>
            <a:xfrm rot="12138997">
              <a:off x="3912373" y="3906810"/>
              <a:ext cx="746039" cy="160606"/>
              <a:chOff x="4444998" y="4016375"/>
              <a:chExt cx="1371601" cy="295275"/>
            </a:xfrm>
          </p:grpSpPr>
          <p:sp>
            <p:nvSpPr>
              <p:cNvPr id="442" name="Kombinationstegning 41"/>
              <p:cNvSpPr/>
              <p:nvPr/>
            </p:nvSpPr>
            <p:spPr>
              <a:xfrm>
                <a:off x="4759325" y="4086224"/>
                <a:ext cx="1057274" cy="142876"/>
              </a:xfrm>
              <a:custGeom>
                <a:avLst/>
                <a:gdLst>
                  <a:gd name="connsiteX0" fmla="*/ 0 w 1050925"/>
                  <a:gd name="connsiteY0" fmla="*/ 0 h 114300"/>
                  <a:gd name="connsiteX1" fmla="*/ 1012825 w 1050925"/>
                  <a:gd name="connsiteY1" fmla="*/ 25400 h 114300"/>
                  <a:gd name="connsiteX2" fmla="*/ 1050925 w 1050925"/>
                  <a:gd name="connsiteY2" fmla="*/ 41275 h 114300"/>
                  <a:gd name="connsiteX3" fmla="*/ 1050925 w 1050925"/>
                  <a:gd name="connsiteY3" fmla="*/ 69850 h 114300"/>
                  <a:gd name="connsiteX4" fmla="*/ 1022350 w 1050925"/>
                  <a:gd name="connsiteY4" fmla="*/ 88900 h 114300"/>
                  <a:gd name="connsiteX5" fmla="*/ 6350 w 1050925"/>
                  <a:gd name="connsiteY5" fmla="*/ 114300 h 114300"/>
                  <a:gd name="connsiteX6" fmla="*/ 15875 w 1050925"/>
                  <a:gd name="connsiteY6" fmla="*/ 57150 h 114300"/>
                  <a:gd name="connsiteX7" fmla="*/ 0 w 1050925"/>
                  <a:gd name="connsiteY7" fmla="*/ 0 h 114300"/>
                  <a:gd name="connsiteX0" fmla="*/ 0 w 1050925"/>
                  <a:gd name="connsiteY0" fmla="*/ 25400 h 139700"/>
                  <a:gd name="connsiteX1" fmla="*/ 1012825 w 1050925"/>
                  <a:gd name="connsiteY1" fmla="*/ 50800 h 139700"/>
                  <a:gd name="connsiteX2" fmla="*/ 1050925 w 1050925"/>
                  <a:gd name="connsiteY2" fmla="*/ 66675 h 139700"/>
                  <a:gd name="connsiteX3" fmla="*/ 1050925 w 1050925"/>
                  <a:gd name="connsiteY3" fmla="*/ 95250 h 139700"/>
                  <a:gd name="connsiteX4" fmla="*/ 1022350 w 1050925"/>
                  <a:gd name="connsiteY4" fmla="*/ 114300 h 139700"/>
                  <a:gd name="connsiteX5" fmla="*/ 6350 w 1050925"/>
                  <a:gd name="connsiteY5" fmla="*/ 139700 h 139700"/>
                  <a:gd name="connsiteX6" fmla="*/ 15875 w 1050925"/>
                  <a:gd name="connsiteY6" fmla="*/ 82550 h 139700"/>
                  <a:gd name="connsiteX7" fmla="*/ 0 w 1050925"/>
                  <a:gd name="connsiteY7" fmla="*/ 25400 h 139700"/>
                  <a:gd name="connsiteX0" fmla="*/ 0 w 1050925"/>
                  <a:gd name="connsiteY0" fmla="*/ 25400 h 142875"/>
                  <a:gd name="connsiteX1" fmla="*/ 1012825 w 1050925"/>
                  <a:gd name="connsiteY1" fmla="*/ 50800 h 142875"/>
                  <a:gd name="connsiteX2" fmla="*/ 1050925 w 1050925"/>
                  <a:gd name="connsiteY2" fmla="*/ 66675 h 142875"/>
                  <a:gd name="connsiteX3" fmla="*/ 1050925 w 1050925"/>
                  <a:gd name="connsiteY3" fmla="*/ 95250 h 142875"/>
                  <a:gd name="connsiteX4" fmla="*/ 1022350 w 1050925"/>
                  <a:gd name="connsiteY4" fmla="*/ 114300 h 142875"/>
                  <a:gd name="connsiteX5" fmla="*/ 6350 w 1050925"/>
                  <a:gd name="connsiteY5" fmla="*/ 139700 h 142875"/>
                  <a:gd name="connsiteX6" fmla="*/ 15875 w 1050925"/>
                  <a:gd name="connsiteY6" fmla="*/ 82550 h 142875"/>
                  <a:gd name="connsiteX7" fmla="*/ 0 w 1050925"/>
                  <a:gd name="connsiteY7" fmla="*/ 25400 h 142875"/>
                  <a:gd name="connsiteX0" fmla="*/ 0 w 1054100"/>
                  <a:gd name="connsiteY0" fmla="*/ 25400 h 142875"/>
                  <a:gd name="connsiteX1" fmla="*/ 1012825 w 1054100"/>
                  <a:gd name="connsiteY1" fmla="*/ 50800 h 142875"/>
                  <a:gd name="connsiteX2" fmla="*/ 1050925 w 1054100"/>
                  <a:gd name="connsiteY2" fmla="*/ 66675 h 142875"/>
                  <a:gd name="connsiteX3" fmla="*/ 1050925 w 1054100"/>
                  <a:gd name="connsiteY3" fmla="*/ 95250 h 142875"/>
                  <a:gd name="connsiteX4" fmla="*/ 1022350 w 1054100"/>
                  <a:gd name="connsiteY4" fmla="*/ 114300 h 142875"/>
                  <a:gd name="connsiteX5" fmla="*/ 6350 w 1054100"/>
                  <a:gd name="connsiteY5" fmla="*/ 139700 h 142875"/>
                  <a:gd name="connsiteX6" fmla="*/ 15875 w 1054100"/>
                  <a:gd name="connsiteY6" fmla="*/ 82550 h 142875"/>
                  <a:gd name="connsiteX7" fmla="*/ 0 w 1054100"/>
                  <a:gd name="connsiteY7" fmla="*/ 25400 h 142875"/>
                  <a:gd name="connsiteX0" fmla="*/ 0 w 1057275"/>
                  <a:gd name="connsiteY0" fmla="*/ 25400 h 142875"/>
                  <a:gd name="connsiteX1" fmla="*/ 1012825 w 1057275"/>
                  <a:gd name="connsiteY1" fmla="*/ 50800 h 142875"/>
                  <a:gd name="connsiteX2" fmla="*/ 1050925 w 1057275"/>
                  <a:gd name="connsiteY2" fmla="*/ 66675 h 142875"/>
                  <a:gd name="connsiteX3" fmla="*/ 1050925 w 1057275"/>
                  <a:gd name="connsiteY3" fmla="*/ 95250 h 142875"/>
                  <a:gd name="connsiteX4" fmla="*/ 1022350 w 1057275"/>
                  <a:gd name="connsiteY4" fmla="*/ 114300 h 142875"/>
                  <a:gd name="connsiteX5" fmla="*/ 6350 w 1057275"/>
                  <a:gd name="connsiteY5" fmla="*/ 139700 h 142875"/>
                  <a:gd name="connsiteX6" fmla="*/ 15875 w 1057275"/>
                  <a:gd name="connsiteY6" fmla="*/ 82550 h 142875"/>
                  <a:gd name="connsiteX7" fmla="*/ 0 w 1057275"/>
                  <a:gd name="connsiteY7" fmla="*/ 25400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57275" h="142875">
                    <a:moveTo>
                      <a:pt x="0" y="25400"/>
                    </a:moveTo>
                    <a:lnTo>
                      <a:pt x="1012825" y="50800"/>
                    </a:lnTo>
                    <a:cubicBezTo>
                      <a:pt x="1054100" y="46567"/>
                      <a:pt x="1038225" y="61383"/>
                      <a:pt x="1050925" y="66675"/>
                    </a:cubicBezTo>
                    <a:lnTo>
                      <a:pt x="1050925" y="95250"/>
                    </a:lnTo>
                    <a:cubicBezTo>
                      <a:pt x="1041400" y="101600"/>
                      <a:pt x="1057275" y="120650"/>
                      <a:pt x="1022350" y="114300"/>
                    </a:cubicBezTo>
                    <a:lnTo>
                      <a:pt x="6350" y="139700"/>
                    </a:lnTo>
                    <a:cubicBezTo>
                      <a:pt x="9525" y="120650"/>
                      <a:pt x="15875" y="142875"/>
                      <a:pt x="15875" y="82550"/>
                    </a:cubicBezTo>
                    <a:cubicBezTo>
                      <a:pt x="13758" y="0"/>
                      <a:pt x="5292" y="44450"/>
                      <a:pt x="0" y="2540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E6E6E6">
                      <a:lumMod val="10000"/>
                    </a:srgbClr>
                  </a:gs>
                  <a:gs pos="100000">
                    <a:srgbClr val="E6E6E6">
                      <a:lumMod val="25000"/>
                    </a:srgbClr>
                  </a:gs>
                </a:gsLst>
                <a:lin ang="16200000" scaled="0"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43" name="Ellipse 42"/>
              <p:cNvSpPr/>
              <p:nvPr/>
            </p:nvSpPr>
            <p:spPr>
              <a:xfrm>
                <a:off x="4444998" y="4016375"/>
                <a:ext cx="295276" cy="295275"/>
              </a:xfrm>
              <a:prstGeom prst="ellipse">
                <a:avLst/>
              </a:prstGeom>
              <a:gradFill rotWithShape="1">
                <a:gsLst>
                  <a:gs pos="0">
                    <a:srgbClr val="E6E6E6">
                      <a:lumMod val="10000"/>
                    </a:srgbClr>
                  </a:gs>
                  <a:gs pos="100000">
                    <a:srgbClr val="E6E6E6">
                      <a:lumMod val="25000"/>
                    </a:srgbClr>
                  </a:gs>
                </a:gsLst>
                <a:lin ang="16200000" scaled="0"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71030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59"/>
          <p:cNvSpPr/>
          <p:nvPr/>
        </p:nvSpPr>
        <p:spPr>
          <a:xfrm>
            <a:off x="0" y="2538413"/>
            <a:ext cx="9144000" cy="2308225"/>
          </a:xfrm>
          <a:prstGeom prst="rect">
            <a:avLst/>
          </a:prstGeom>
          <a:gradFill>
            <a:gsLst>
              <a:gs pos="50000">
                <a:schemeClr val="bg1"/>
              </a:gs>
              <a:gs pos="100000">
                <a:schemeClr val="bg1">
                  <a:lumMod val="75000"/>
                </a:schemeClr>
              </a:gs>
              <a:gs pos="74000">
                <a:schemeClr val="bg1">
                  <a:lumMod val="9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49" name="TextBox 54"/>
          <p:cNvSpPr txBox="1">
            <a:spLocks noChangeArrowheads="1"/>
          </p:cNvSpPr>
          <p:nvPr/>
        </p:nvSpPr>
        <p:spPr bwMode="auto">
          <a:xfrm>
            <a:off x="314325" y="377825"/>
            <a:ext cx="37338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nb-NO" sz="1500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ILLUSTRATE YOUR POINT WITH </a:t>
            </a:r>
            <a:r>
              <a:rPr lang="nb-NO" sz="1500" b="1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SPHERES!</a:t>
            </a:r>
            <a:endParaRPr lang="en-GB" sz="1500">
              <a:solidFill>
                <a:srgbClr val="26262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8" name="Ellipse 58"/>
          <p:cNvSpPr/>
          <p:nvPr/>
        </p:nvSpPr>
        <p:spPr>
          <a:xfrm>
            <a:off x="2018806" y="1551217"/>
            <a:ext cx="3565341" cy="3565341"/>
          </a:xfrm>
          <a:prstGeom prst="ellipse">
            <a:avLst/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indent="-342900" algn="ctr">
              <a:buFont typeface="Calibri" pitchFamily="34" charset="0"/>
              <a:buAutoNum type="arabicPeriod"/>
            </a:pPr>
            <a:endParaRPr lang="en-US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59" name="Ellipse 6"/>
          <p:cNvSpPr/>
          <p:nvPr/>
        </p:nvSpPr>
        <p:spPr>
          <a:xfrm>
            <a:off x="2114550" y="1628775"/>
            <a:ext cx="3359150" cy="3359150"/>
          </a:xfrm>
          <a:prstGeom prst="ellipse">
            <a:avLst/>
          </a:prstGeom>
          <a:gradFill flip="none" rotWithShape="1">
            <a:gsLst>
              <a:gs pos="25000">
                <a:srgbClr val="4BACC6">
                  <a:lumMod val="40000"/>
                  <a:lumOff val="60000"/>
                </a:srgbClr>
              </a:gs>
              <a:gs pos="100000">
                <a:srgbClr val="046D86"/>
              </a:gs>
            </a:gsLst>
            <a:lin ang="27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indent="-342900" algn="ctr">
              <a:buFont typeface="Calibri" pitchFamily="34" charset="0"/>
              <a:buAutoNum type="arabicPeriod"/>
            </a:pPr>
            <a:endParaRPr lang="en-US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1" name="Ellipse 4"/>
          <p:cNvSpPr/>
          <p:nvPr/>
        </p:nvSpPr>
        <p:spPr>
          <a:xfrm>
            <a:off x="2601912" y="2151721"/>
            <a:ext cx="2375927" cy="2375927"/>
          </a:xfrm>
          <a:prstGeom prst="ellipse">
            <a:avLst/>
          </a:prstGeom>
          <a:gradFill flip="none" rotWithShape="1">
            <a:gsLst>
              <a:gs pos="58000">
                <a:srgbClr val="00577E"/>
              </a:gs>
              <a:gs pos="100000">
                <a:srgbClr val="78C5DD">
                  <a:lumMod val="75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2" name="Ellipse 53"/>
          <p:cNvSpPr/>
          <p:nvPr/>
        </p:nvSpPr>
        <p:spPr bwMode="auto">
          <a:xfrm>
            <a:off x="1927425" y="5075279"/>
            <a:ext cx="3844714" cy="558653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44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/>
            <a:endParaRPr lang="es-AR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3" name="Ellipse 56"/>
          <p:cNvSpPr/>
          <p:nvPr/>
        </p:nvSpPr>
        <p:spPr>
          <a:xfrm rot="14934367">
            <a:off x="3163887" y="2941638"/>
            <a:ext cx="1343025" cy="1009650"/>
          </a:xfrm>
          <a:prstGeom prst="ellipse">
            <a:avLst/>
          </a:prstGeom>
          <a:solidFill>
            <a:srgbClr val="002060">
              <a:alpha val="28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4" name="Ellipse 57"/>
          <p:cNvSpPr/>
          <p:nvPr/>
        </p:nvSpPr>
        <p:spPr>
          <a:xfrm>
            <a:off x="3267690" y="2782695"/>
            <a:ext cx="1053067" cy="1053067"/>
          </a:xfrm>
          <a:prstGeom prst="ellipse">
            <a:avLst/>
          </a:prstGeom>
          <a:gradFill flip="none" rotWithShape="1">
            <a:gsLst>
              <a:gs pos="0">
                <a:srgbClr val="FFFFFF">
                  <a:lumMod val="95000"/>
                </a:srgbClr>
              </a:gs>
              <a:gs pos="72000">
                <a:srgbClr val="FFFFFF">
                  <a:lumMod val="50000"/>
                </a:srgbClr>
              </a:gs>
              <a:gs pos="100000">
                <a:sysClr val="window" lastClr="FFFFFF">
                  <a:lumMod val="65000"/>
                  <a:shade val="100000"/>
                  <a:satMod val="115000"/>
                </a:sysClr>
              </a:gs>
            </a:gsLst>
            <a:path path="circle">
              <a:fillToRect l="50000" t="50000" r="50000" b="50000"/>
            </a:path>
            <a:tileRect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indent="-342900" algn="ctr">
              <a:buFont typeface="Calibri" pitchFamily="34" charset="0"/>
              <a:buAutoNum type="arabicPeriod"/>
            </a:pPr>
            <a:endParaRPr lang="en-US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5" name="Rektangulær billedforklaring 15"/>
          <p:cNvSpPr>
            <a:spLocks noChangeArrowheads="1"/>
          </p:cNvSpPr>
          <p:nvPr/>
        </p:nvSpPr>
        <p:spPr bwMode="auto">
          <a:xfrm>
            <a:off x="5321300" y="838200"/>
            <a:ext cx="1866900" cy="1066800"/>
          </a:xfrm>
          <a:prstGeom prst="wedgeRectCallout">
            <a:avLst>
              <a:gd name="adj1" fmla="val -52486"/>
              <a:gd name="adj2" fmla="val 86569"/>
            </a:avLst>
          </a:prstGeom>
          <a:gradFill rotWithShape="1">
            <a:gsLst>
              <a:gs pos="0">
                <a:srgbClr val="F3F3F3"/>
              </a:gs>
              <a:gs pos="100000">
                <a:srgbClr val="E6E6E6"/>
              </a:gs>
            </a:gsLst>
            <a:lin ang="5400000"/>
          </a:gradFill>
          <a:ln w="9525">
            <a:solidFill>
              <a:srgbClr val="E1E1E1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es-AR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6" name="Tekstboks 16"/>
          <p:cNvSpPr txBox="1"/>
          <p:nvPr/>
        </p:nvSpPr>
        <p:spPr>
          <a:xfrm>
            <a:off x="5380038" y="904875"/>
            <a:ext cx="1800225" cy="877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r>
              <a:rPr lang="en-US" sz="1300" b="1">
                <a:solidFill>
                  <a:srgbClr val="321900"/>
                </a:solidFill>
                <a:latin typeface="Calibri" pitchFamily="34" charset="0"/>
              </a:rPr>
              <a:t>Example Text</a:t>
            </a:r>
          </a:p>
          <a:p>
            <a:r>
              <a:rPr lang="en-US" sz="1100">
                <a:solidFill>
                  <a:srgbClr val="321900"/>
                </a:solidFill>
                <a:latin typeface="Calibri" pitchFamily="34" charset="0"/>
              </a:rPr>
              <a:t>This is an example text</a:t>
            </a:r>
            <a:r>
              <a:rPr lang="en-US" sz="1600">
                <a:solidFill>
                  <a:srgbClr val="321900"/>
                </a:solidFill>
                <a:latin typeface="Calibri" pitchFamily="34" charset="0"/>
              </a:rPr>
              <a:t>.</a:t>
            </a:r>
          </a:p>
          <a:p>
            <a:r>
              <a:rPr lang="en-US" sz="1100">
                <a:solidFill>
                  <a:srgbClr val="321900"/>
                </a:solidFill>
                <a:latin typeface="Calibri" pitchFamily="34" charset="0"/>
              </a:rPr>
              <a:t>Please place your own </a:t>
            </a:r>
          </a:p>
          <a:p>
            <a:r>
              <a:rPr lang="en-US" sz="1100">
                <a:solidFill>
                  <a:srgbClr val="321900"/>
                </a:solidFill>
                <a:latin typeface="Calibri" pitchFamily="34" charset="0"/>
              </a:rPr>
              <a:t>Text. </a:t>
            </a:r>
          </a:p>
        </p:txBody>
      </p:sp>
      <p:sp>
        <p:nvSpPr>
          <p:cNvPr id="69" name="Rektangulær billedforklaring 18"/>
          <p:cNvSpPr>
            <a:spLocks noChangeArrowheads="1"/>
          </p:cNvSpPr>
          <p:nvPr/>
        </p:nvSpPr>
        <p:spPr bwMode="auto">
          <a:xfrm>
            <a:off x="5386388" y="4286250"/>
            <a:ext cx="2132012" cy="1263650"/>
          </a:xfrm>
          <a:prstGeom prst="wedgeRectCallout">
            <a:avLst>
              <a:gd name="adj1" fmla="val -86528"/>
              <a:gd name="adj2" fmla="val -73338"/>
            </a:avLst>
          </a:prstGeom>
          <a:gradFill rotWithShape="1">
            <a:gsLst>
              <a:gs pos="0">
                <a:srgbClr val="F3F3F3"/>
              </a:gs>
              <a:gs pos="100000">
                <a:srgbClr val="E6E6E6"/>
              </a:gs>
            </a:gsLst>
            <a:lin ang="5400000"/>
          </a:gradFill>
          <a:ln w="9525">
            <a:solidFill>
              <a:srgbClr val="E1E1E1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es-AR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72" name="Rektangel 20"/>
          <p:cNvSpPr/>
          <p:nvPr/>
        </p:nvSpPr>
        <p:spPr bwMode="auto">
          <a:xfrm>
            <a:off x="3435350" y="3178175"/>
            <a:ext cx="688975" cy="5508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s-AR" sz="1600" b="1" noProof="1">
                <a:solidFill>
                  <a:srgbClr val="31859C"/>
                </a:solidFill>
                <a:latin typeface="Calibri" pitchFamily="34" charset="0"/>
                <a:cs typeface="Arial" pitchFamily="34" charset="0"/>
              </a:rPr>
              <a:t>TEXT</a:t>
            </a:r>
          </a:p>
          <a:p>
            <a:pPr algn="ctr"/>
            <a:endParaRPr lang="da-DK">
              <a:solidFill>
                <a:srgbClr val="31859C"/>
              </a:solidFill>
            </a:endParaRPr>
          </a:p>
        </p:txBody>
      </p:sp>
      <p:sp>
        <p:nvSpPr>
          <p:cNvPr id="76" name="Tekstboks 16"/>
          <p:cNvSpPr txBox="1"/>
          <p:nvPr/>
        </p:nvSpPr>
        <p:spPr>
          <a:xfrm>
            <a:off x="5494338" y="4397375"/>
            <a:ext cx="2125662" cy="9540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r>
              <a:rPr lang="en-US" sz="1300" b="1">
                <a:solidFill>
                  <a:srgbClr val="321900"/>
                </a:solidFill>
                <a:latin typeface="Calibri" pitchFamily="34" charset="0"/>
              </a:rPr>
              <a:t>Example Text</a:t>
            </a:r>
          </a:p>
          <a:p>
            <a:r>
              <a:rPr lang="en-US" sz="1100">
                <a:solidFill>
                  <a:srgbClr val="321900"/>
                </a:solidFill>
                <a:latin typeface="Calibri" pitchFamily="34" charset="0"/>
              </a:rPr>
              <a:t>This is an example text</a:t>
            </a:r>
            <a:r>
              <a:rPr lang="en-US" sz="1600">
                <a:solidFill>
                  <a:srgbClr val="321900"/>
                </a:solidFill>
                <a:latin typeface="Calibri" pitchFamily="34" charset="0"/>
              </a:rPr>
              <a:t>.</a:t>
            </a:r>
          </a:p>
          <a:p>
            <a:r>
              <a:rPr lang="en-US" sz="1100">
                <a:solidFill>
                  <a:srgbClr val="321900"/>
                </a:solidFill>
                <a:latin typeface="Calibri" pitchFamily="34" charset="0"/>
              </a:rPr>
              <a:t>Please place your own text. </a:t>
            </a:r>
          </a:p>
          <a:p>
            <a:r>
              <a:rPr lang="en-US" sz="1100">
                <a:solidFill>
                  <a:srgbClr val="321900"/>
                </a:solidFill>
                <a:latin typeface="Calibri" pitchFamily="34" charset="0"/>
              </a:rPr>
              <a:t>This is an example text</a:t>
            </a:r>
            <a:r>
              <a:rPr lang="en-US" sz="1600">
                <a:solidFill>
                  <a:srgbClr val="321900"/>
                </a:solidFill>
                <a:latin typeface="Calibri" pitchFamily="34" charset="0"/>
              </a:rPr>
              <a:t>.</a:t>
            </a:r>
            <a:r>
              <a:rPr lang="en-US" sz="1100">
                <a:solidFill>
                  <a:srgbClr val="321900"/>
                </a:solidFill>
                <a:latin typeface="Calibri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85881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/>
          <p:cNvSpPr/>
          <p:nvPr/>
        </p:nvSpPr>
        <p:spPr bwMode="auto">
          <a:xfrm>
            <a:off x="0" y="2768600"/>
            <a:ext cx="9144000" cy="3443288"/>
          </a:xfrm>
          <a:prstGeom prst="rect">
            <a:avLst/>
          </a:prstGeom>
          <a:gradFill>
            <a:gsLst>
              <a:gs pos="16000">
                <a:schemeClr val="bg1">
                  <a:alpha val="0"/>
                </a:schemeClr>
              </a:gs>
              <a:gs pos="65000">
                <a:schemeClr val="bg1">
                  <a:lumMod val="85000"/>
                  <a:alpha val="37000"/>
                </a:schemeClr>
              </a:gs>
              <a:gs pos="100000">
                <a:schemeClr val="bg1">
                  <a:lumMod val="75000"/>
                  <a:alpha val="62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MS PGothic" pitchFamily="34" charset="-128"/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520700" y="1016000"/>
            <a:ext cx="2514600" cy="2057400"/>
            <a:chOff x="609600" y="838200"/>
            <a:chExt cx="2514600" cy="2057400"/>
          </a:xfrm>
        </p:grpSpPr>
        <p:sp>
          <p:nvSpPr>
            <p:cNvPr id="96" name="Rectangle 95"/>
            <p:cNvSpPr/>
            <p:nvPr/>
          </p:nvSpPr>
          <p:spPr>
            <a:xfrm>
              <a:off x="609600" y="838200"/>
              <a:ext cx="2514600" cy="2057400"/>
            </a:xfrm>
            <a:prstGeom prst="rect">
              <a:avLst/>
            </a:prstGeom>
            <a:gradFill rotWithShape="1">
              <a:gsLst>
                <a:gs pos="0">
                  <a:sysClr val="window" lastClr="FFFFFF"/>
                </a:gs>
                <a:gs pos="100000">
                  <a:sysClr val="windowText" lastClr="000000">
                    <a:lumMod val="50000"/>
                    <a:lumOff val="50000"/>
                  </a:sysClr>
                </a:gs>
                <a:gs pos="74000">
                  <a:sysClr val="window" lastClr="FFFFFF">
                    <a:lumMod val="8500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/>
              <a:endParaRPr lang="nb-NO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97" name="Text Box 52"/>
            <p:cNvSpPr txBox="1">
              <a:spLocks noChangeArrowheads="1"/>
            </p:cNvSpPr>
            <p:nvPr/>
          </p:nvSpPr>
          <p:spPr bwMode="gray">
            <a:xfrm>
              <a:off x="847725" y="1066800"/>
              <a:ext cx="2093913" cy="1428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801688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s-AR" sz="1400" noProof="1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rPr>
                <a:t>This is an example text. Go ahead an replace it with your own text. This is an example text.</a:t>
              </a:r>
            </a:p>
            <a:p>
              <a:pPr defTabSz="801688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s-AR" sz="1400" noProof="1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rPr>
                <a:t> Go ahead and replace it with your own text.</a:t>
              </a:r>
            </a:p>
          </p:txBody>
        </p:sp>
      </p:grpSp>
      <p:grpSp>
        <p:nvGrpSpPr>
          <p:cNvPr id="3" name="Group 25"/>
          <p:cNvGrpSpPr>
            <a:grpSpLocks/>
          </p:cNvGrpSpPr>
          <p:nvPr/>
        </p:nvGrpSpPr>
        <p:grpSpPr bwMode="auto">
          <a:xfrm>
            <a:off x="3187700" y="1016000"/>
            <a:ext cx="2514600" cy="2057400"/>
            <a:chOff x="3276600" y="838200"/>
            <a:chExt cx="2514600" cy="2057400"/>
          </a:xfrm>
        </p:grpSpPr>
        <p:sp>
          <p:nvSpPr>
            <p:cNvPr id="99" name="Rectangle 98"/>
            <p:cNvSpPr/>
            <p:nvPr/>
          </p:nvSpPr>
          <p:spPr>
            <a:xfrm>
              <a:off x="3276600" y="838200"/>
              <a:ext cx="2514600" cy="2057400"/>
            </a:xfrm>
            <a:prstGeom prst="rect">
              <a:avLst/>
            </a:prstGeom>
            <a:gradFill rotWithShape="1">
              <a:gsLst>
                <a:gs pos="0">
                  <a:sysClr val="window" lastClr="FFFFFF"/>
                </a:gs>
                <a:gs pos="100000">
                  <a:sysClr val="windowText" lastClr="000000">
                    <a:lumMod val="50000"/>
                    <a:lumOff val="50000"/>
                  </a:sysClr>
                </a:gs>
                <a:gs pos="74000">
                  <a:sysClr val="window" lastClr="FFFFFF">
                    <a:lumMod val="8500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/>
              <a:endParaRPr lang="nb-NO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00" name="Text Box 52"/>
            <p:cNvSpPr txBox="1">
              <a:spLocks noChangeArrowheads="1"/>
            </p:cNvSpPr>
            <p:nvPr/>
          </p:nvSpPr>
          <p:spPr bwMode="gray">
            <a:xfrm>
              <a:off x="3514725" y="1066800"/>
              <a:ext cx="2093913" cy="1428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801688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s-AR" sz="1400" noProof="1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rPr>
                <a:t>This is an example text. Go ahead an replace it with your own text. This is an example text.</a:t>
              </a:r>
            </a:p>
            <a:p>
              <a:pPr defTabSz="801688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s-AR" sz="1400" noProof="1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rPr>
                <a:t> Go ahead and replace it with your own text.</a:t>
              </a:r>
            </a:p>
          </p:txBody>
        </p:sp>
      </p:grpSp>
      <p:grpSp>
        <p:nvGrpSpPr>
          <p:cNvPr id="4" name="Group 23"/>
          <p:cNvGrpSpPr>
            <a:grpSpLocks/>
          </p:cNvGrpSpPr>
          <p:nvPr/>
        </p:nvGrpSpPr>
        <p:grpSpPr bwMode="auto">
          <a:xfrm>
            <a:off x="5854700" y="1016000"/>
            <a:ext cx="2514600" cy="2057400"/>
            <a:chOff x="5943600" y="838200"/>
            <a:chExt cx="2514600" cy="2057400"/>
          </a:xfrm>
        </p:grpSpPr>
        <p:sp>
          <p:nvSpPr>
            <p:cNvPr id="102" name="Rectangle 101"/>
            <p:cNvSpPr/>
            <p:nvPr/>
          </p:nvSpPr>
          <p:spPr>
            <a:xfrm>
              <a:off x="5943600" y="838200"/>
              <a:ext cx="2514600" cy="2057400"/>
            </a:xfrm>
            <a:prstGeom prst="rect">
              <a:avLst/>
            </a:prstGeom>
            <a:gradFill rotWithShape="1">
              <a:gsLst>
                <a:gs pos="0">
                  <a:sysClr val="window" lastClr="FFFFFF"/>
                </a:gs>
                <a:gs pos="100000">
                  <a:sysClr val="windowText" lastClr="000000">
                    <a:lumMod val="50000"/>
                    <a:lumOff val="50000"/>
                  </a:sysClr>
                </a:gs>
                <a:gs pos="74000">
                  <a:sysClr val="window" lastClr="FFFFFF">
                    <a:lumMod val="8500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/>
              <a:endParaRPr lang="nb-NO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03" name="Text Box 52"/>
            <p:cNvSpPr txBox="1">
              <a:spLocks noChangeArrowheads="1"/>
            </p:cNvSpPr>
            <p:nvPr/>
          </p:nvSpPr>
          <p:spPr bwMode="gray">
            <a:xfrm>
              <a:off x="6181725" y="1066800"/>
              <a:ext cx="2093913" cy="1428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801688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s-AR" sz="1400" noProof="1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rPr>
                <a:t>This is an example text. Go ahead an replace it with your own text. This is an example text.</a:t>
              </a:r>
            </a:p>
            <a:p>
              <a:pPr defTabSz="801688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s-AR" sz="1400" noProof="1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rPr>
                <a:t> Go ahead and replace it with your own text.</a:t>
              </a:r>
            </a:p>
          </p:txBody>
        </p:sp>
      </p:grpSp>
      <p:grpSp>
        <p:nvGrpSpPr>
          <p:cNvPr id="5" name="Group 24"/>
          <p:cNvGrpSpPr>
            <a:grpSpLocks/>
          </p:cNvGrpSpPr>
          <p:nvPr/>
        </p:nvGrpSpPr>
        <p:grpSpPr bwMode="auto">
          <a:xfrm>
            <a:off x="3176588" y="3073400"/>
            <a:ext cx="2871787" cy="3784600"/>
            <a:chOff x="3265669" y="2895600"/>
            <a:chExt cx="2871425" cy="3962400"/>
          </a:xfrm>
        </p:grpSpPr>
        <p:sp>
          <p:nvSpPr>
            <p:cNvPr id="105" name="Freeform 8"/>
            <p:cNvSpPr>
              <a:spLocks/>
            </p:cNvSpPr>
            <p:nvPr/>
          </p:nvSpPr>
          <p:spPr bwMode="auto">
            <a:xfrm>
              <a:off x="3265669" y="4876800"/>
              <a:ext cx="2871425" cy="1981200"/>
            </a:xfrm>
            <a:custGeom>
              <a:avLst/>
              <a:gdLst>
                <a:gd name="T0" fmla="*/ 552450 w 400"/>
                <a:gd name="T1" fmla="*/ 0 h 207"/>
                <a:gd name="T2" fmla="*/ 301625 w 400"/>
                <a:gd name="T3" fmla="*/ 0 h 207"/>
                <a:gd name="T4" fmla="*/ 0 w 400"/>
                <a:gd name="T5" fmla="*/ 0 h 207"/>
                <a:gd name="T6" fmla="*/ 0 w 400"/>
                <a:gd name="T7" fmla="*/ 0 h 207"/>
                <a:gd name="T8" fmla="*/ 19050 w 400"/>
                <a:gd name="T9" fmla="*/ 14288 h 207"/>
                <a:gd name="T10" fmla="*/ 34925 w 400"/>
                <a:gd name="T11" fmla="*/ 31750 h 207"/>
                <a:gd name="T12" fmla="*/ 47625 w 400"/>
                <a:gd name="T13" fmla="*/ 52388 h 207"/>
                <a:gd name="T14" fmla="*/ 58738 w 400"/>
                <a:gd name="T15" fmla="*/ 71438 h 207"/>
                <a:gd name="T16" fmla="*/ 68263 w 400"/>
                <a:gd name="T17" fmla="*/ 92075 h 207"/>
                <a:gd name="T18" fmla="*/ 74613 w 400"/>
                <a:gd name="T19" fmla="*/ 115888 h 207"/>
                <a:gd name="T20" fmla="*/ 79375 w 400"/>
                <a:gd name="T21" fmla="*/ 138113 h 207"/>
                <a:gd name="T22" fmla="*/ 80963 w 400"/>
                <a:gd name="T23" fmla="*/ 163513 h 207"/>
                <a:gd name="T24" fmla="*/ 80963 w 400"/>
                <a:gd name="T25" fmla="*/ 163513 h 207"/>
                <a:gd name="T26" fmla="*/ 79375 w 400"/>
                <a:gd name="T27" fmla="*/ 188913 h 207"/>
                <a:gd name="T28" fmla="*/ 74613 w 400"/>
                <a:gd name="T29" fmla="*/ 212725 h 207"/>
                <a:gd name="T30" fmla="*/ 68263 w 400"/>
                <a:gd name="T31" fmla="*/ 234950 h 207"/>
                <a:gd name="T32" fmla="*/ 58738 w 400"/>
                <a:gd name="T33" fmla="*/ 257175 h 207"/>
                <a:gd name="T34" fmla="*/ 47625 w 400"/>
                <a:gd name="T35" fmla="*/ 276225 h 207"/>
                <a:gd name="T36" fmla="*/ 34925 w 400"/>
                <a:gd name="T37" fmla="*/ 295275 h 207"/>
                <a:gd name="T38" fmla="*/ 19050 w 400"/>
                <a:gd name="T39" fmla="*/ 312738 h 207"/>
                <a:gd name="T40" fmla="*/ 0 w 400"/>
                <a:gd name="T41" fmla="*/ 328613 h 207"/>
                <a:gd name="T42" fmla="*/ 301625 w 400"/>
                <a:gd name="T43" fmla="*/ 328613 h 207"/>
                <a:gd name="T44" fmla="*/ 552450 w 400"/>
                <a:gd name="T45" fmla="*/ 328613 h 207"/>
                <a:gd name="T46" fmla="*/ 552450 w 400"/>
                <a:gd name="T47" fmla="*/ 328613 h 207"/>
                <a:gd name="T48" fmla="*/ 569913 w 400"/>
                <a:gd name="T49" fmla="*/ 312738 h 207"/>
                <a:gd name="T50" fmla="*/ 587375 w 400"/>
                <a:gd name="T51" fmla="*/ 295275 h 207"/>
                <a:gd name="T52" fmla="*/ 601663 w 400"/>
                <a:gd name="T53" fmla="*/ 276225 h 207"/>
                <a:gd name="T54" fmla="*/ 612775 w 400"/>
                <a:gd name="T55" fmla="*/ 257175 h 207"/>
                <a:gd name="T56" fmla="*/ 620713 w 400"/>
                <a:gd name="T57" fmla="*/ 234950 h 207"/>
                <a:gd name="T58" fmla="*/ 628650 w 400"/>
                <a:gd name="T59" fmla="*/ 212725 h 207"/>
                <a:gd name="T60" fmla="*/ 631825 w 400"/>
                <a:gd name="T61" fmla="*/ 188913 h 207"/>
                <a:gd name="T62" fmla="*/ 635000 w 400"/>
                <a:gd name="T63" fmla="*/ 163513 h 207"/>
                <a:gd name="T64" fmla="*/ 635000 w 400"/>
                <a:gd name="T65" fmla="*/ 163513 h 207"/>
                <a:gd name="T66" fmla="*/ 631825 w 400"/>
                <a:gd name="T67" fmla="*/ 138113 h 207"/>
                <a:gd name="T68" fmla="*/ 628650 w 400"/>
                <a:gd name="T69" fmla="*/ 115888 h 207"/>
                <a:gd name="T70" fmla="*/ 620713 w 400"/>
                <a:gd name="T71" fmla="*/ 92075 h 207"/>
                <a:gd name="T72" fmla="*/ 612775 w 400"/>
                <a:gd name="T73" fmla="*/ 71438 h 207"/>
                <a:gd name="T74" fmla="*/ 601663 w 400"/>
                <a:gd name="T75" fmla="*/ 52388 h 207"/>
                <a:gd name="T76" fmla="*/ 587375 w 400"/>
                <a:gd name="T77" fmla="*/ 31750 h 207"/>
                <a:gd name="T78" fmla="*/ 569913 w 400"/>
                <a:gd name="T79" fmla="*/ 14288 h 207"/>
                <a:gd name="T80" fmla="*/ 552450 w 400"/>
                <a:gd name="T81" fmla="*/ 0 h 207"/>
                <a:gd name="T82" fmla="*/ 552450 w 400"/>
                <a:gd name="T83" fmla="*/ 0 h 20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00"/>
                <a:gd name="T127" fmla="*/ 0 h 207"/>
                <a:gd name="T128" fmla="*/ 400 w 400"/>
                <a:gd name="T129" fmla="*/ 207 h 207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00" h="207">
                  <a:moveTo>
                    <a:pt x="348" y="0"/>
                  </a:moveTo>
                  <a:lnTo>
                    <a:pt x="190" y="0"/>
                  </a:lnTo>
                  <a:lnTo>
                    <a:pt x="0" y="0"/>
                  </a:lnTo>
                  <a:lnTo>
                    <a:pt x="12" y="9"/>
                  </a:lnTo>
                  <a:lnTo>
                    <a:pt x="22" y="20"/>
                  </a:lnTo>
                  <a:lnTo>
                    <a:pt x="30" y="33"/>
                  </a:lnTo>
                  <a:lnTo>
                    <a:pt x="37" y="45"/>
                  </a:lnTo>
                  <a:lnTo>
                    <a:pt x="43" y="58"/>
                  </a:lnTo>
                  <a:lnTo>
                    <a:pt x="47" y="73"/>
                  </a:lnTo>
                  <a:lnTo>
                    <a:pt x="50" y="87"/>
                  </a:lnTo>
                  <a:lnTo>
                    <a:pt x="51" y="103"/>
                  </a:lnTo>
                  <a:lnTo>
                    <a:pt x="50" y="119"/>
                  </a:lnTo>
                  <a:lnTo>
                    <a:pt x="47" y="134"/>
                  </a:lnTo>
                  <a:lnTo>
                    <a:pt x="43" y="148"/>
                  </a:lnTo>
                  <a:lnTo>
                    <a:pt x="37" y="162"/>
                  </a:lnTo>
                  <a:lnTo>
                    <a:pt x="30" y="174"/>
                  </a:lnTo>
                  <a:lnTo>
                    <a:pt x="22" y="186"/>
                  </a:lnTo>
                  <a:lnTo>
                    <a:pt x="12" y="197"/>
                  </a:lnTo>
                  <a:lnTo>
                    <a:pt x="0" y="207"/>
                  </a:lnTo>
                  <a:lnTo>
                    <a:pt x="190" y="207"/>
                  </a:lnTo>
                  <a:lnTo>
                    <a:pt x="348" y="207"/>
                  </a:lnTo>
                  <a:lnTo>
                    <a:pt x="359" y="197"/>
                  </a:lnTo>
                  <a:lnTo>
                    <a:pt x="370" y="186"/>
                  </a:lnTo>
                  <a:lnTo>
                    <a:pt x="379" y="174"/>
                  </a:lnTo>
                  <a:lnTo>
                    <a:pt x="386" y="162"/>
                  </a:lnTo>
                  <a:lnTo>
                    <a:pt x="391" y="148"/>
                  </a:lnTo>
                  <a:lnTo>
                    <a:pt x="396" y="134"/>
                  </a:lnTo>
                  <a:lnTo>
                    <a:pt x="398" y="119"/>
                  </a:lnTo>
                  <a:lnTo>
                    <a:pt x="400" y="103"/>
                  </a:lnTo>
                  <a:lnTo>
                    <a:pt x="398" y="87"/>
                  </a:lnTo>
                  <a:lnTo>
                    <a:pt x="396" y="73"/>
                  </a:lnTo>
                  <a:lnTo>
                    <a:pt x="391" y="58"/>
                  </a:lnTo>
                  <a:lnTo>
                    <a:pt x="386" y="45"/>
                  </a:lnTo>
                  <a:lnTo>
                    <a:pt x="379" y="33"/>
                  </a:lnTo>
                  <a:lnTo>
                    <a:pt x="370" y="20"/>
                  </a:lnTo>
                  <a:lnTo>
                    <a:pt x="359" y="9"/>
                  </a:lnTo>
                  <a:lnTo>
                    <a:pt x="348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5F8B25">
                    <a:alpha val="70000"/>
                  </a:srgbClr>
                </a:gs>
                <a:gs pos="55000">
                  <a:sysClr val="window" lastClr="FFFFFF"/>
                </a:gs>
              </a:gsLst>
              <a:lin ang="5400000" scaled="0"/>
              <a:tileRect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nb-NO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06" name="Freeform 8"/>
            <p:cNvSpPr>
              <a:spLocks/>
            </p:cNvSpPr>
            <p:nvPr/>
          </p:nvSpPr>
          <p:spPr bwMode="auto">
            <a:xfrm>
              <a:off x="3265669" y="2895600"/>
              <a:ext cx="2871425" cy="1981200"/>
            </a:xfrm>
            <a:custGeom>
              <a:avLst/>
              <a:gdLst>
                <a:gd name="T0" fmla="*/ 2147483647 w 400"/>
                <a:gd name="T1" fmla="*/ 0 h 207"/>
                <a:gd name="T2" fmla="*/ 2147483647 w 400"/>
                <a:gd name="T3" fmla="*/ 0 h 207"/>
                <a:gd name="T4" fmla="*/ 0 w 400"/>
                <a:gd name="T5" fmla="*/ 0 h 207"/>
                <a:gd name="T6" fmla="*/ 0 w 400"/>
                <a:gd name="T7" fmla="*/ 0 h 207"/>
                <a:gd name="T8" fmla="*/ 2147483647 w 400"/>
                <a:gd name="T9" fmla="*/ 2147483647 h 207"/>
                <a:gd name="T10" fmla="*/ 2147483647 w 400"/>
                <a:gd name="T11" fmla="*/ 2147483647 h 207"/>
                <a:gd name="T12" fmla="*/ 2147483647 w 400"/>
                <a:gd name="T13" fmla="*/ 2147483647 h 207"/>
                <a:gd name="T14" fmla="*/ 2147483647 w 400"/>
                <a:gd name="T15" fmla="*/ 2147483647 h 207"/>
                <a:gd name="T16" fmla="*/ 2147483647 w 400"/>
                <a:gd name="T17" fmla="*/ 2147483647 h 207"/>
                <a:gd name="T18" fmla="*/ 2147483647 w 400"/>
                <a:gd name="T19" fmla="*/ 2147483647 h 207"/>
                <a:gd name="T20" fmla="*/ 2147483647 w 400"/>
                <a:gd name="T21" fmla="*/ 2147483647 h 207"/>
                <a:gd name="T22" fmla="*/ 2147483647 w 400"/>
                <a:gd name="T23" fmla="*/ 2147483647 h 207"/>
                <a:gd name="T24" fmla="*/ 2147483647 w 400"/>
                <a:gd name="T25" fmla="*/ 2147483647 h 207"/>
                <a:gd name="T26" fmla="*/ 2147483647 w 400"/>
                <a:gd name="T27" fmla="*/ 2147483647 h 207"/>
                <a:gd name="T28" fmla="*/ 2147483647 w 400"/>
                <a:gd name="T29" fmla="*/ 2147483647 h 207"/>
                <a:gd name="T30" fmla="*/ 2147483647 w 400"/>
                <a:gd name="T31" fmla="*/ 2147483647 h 207"/>
                <a:gd name="T32" fmla="*/ 2147483647 w 400"/>
                <a:gd name="T33" fmla="*/ 2147483647 h 207"/>
                <a:gd name="T34" fmla="*/ 2147483647 w 400"/>
                <a:gd name="T35" fmla="*/ 2147483647 h 207"/>
                <a:gd name="T36" fmla="*/ 2147483647 w 400"/>
                <a:gd name="T37" fmla="*/ 2147483647 h 207"/>
                <a:gd name="T38" fmla="*/ 2147483647 w 400"/>
                <a:gd name="T39" fmla="*/ 2147483647 h 207"/>
                <a:gd name="T40" fmla="*/ 0 w 400"/>
                <a:gd name="T41" fmla="*/ 2147483647 h 207"/>
                <a:gd name="T42" fmla="*/ 2147483647 w 400"/>
                <a:gd name="T43" fmla="*/ 2147483647 h 207"/>
                <a:gd name="T44" fmla="*/ 2147483647 w 400"/>
                <a:gd name="T45" fmla="*/ 2147483647 h 207"/>
                <a:gd name="T46" fmla="*/ 2147483647 w 400"/>
                <a:gd name="T47" fmla="*/ 2147483647 h 207"/>
                <a:gd name="T48" fmla="*/ 2147483647 w 400"/>
                <a:gd name="T49" fmla="*/ 2147483647 h 207"/>
                <a:gd name="T50" fmla="*/ 2147483647 w 400"/>
                <a:gd name="T51" fmla="*/ 2147483647 h 207"/>
                <a:gd name="T52" fmla="*/ 2147483647 w 400"/>
                <a:gd name="T53" fmla="*/ 2147483647 h 207"/>
                <a:gd name="T54" fmla="*/ 2147483647 w 400"/>
                <a:gd name="T55" fmla="*/ 2147483647 h 207"/>
                <a:gd name="T56" fmla="*/ 2147483647 w 400"/>
                <a:gd name="T57" fmla="*/ 2147483647 h 207"/>
                <a:gd name="T58" fmla="*/ 2147483647 w 400"/>
                <a:gd name="T59" fmla="*/ 2147483647 h 207"/>
                <a:gd name="T60" fmla="*/ 2147483647 w 400"/>
                <a:gd name="T61" fmla="*/ 2147483647 h 207"/>
                <a:gd name="T62" fmla="*/ 2147483647 w 400"/>
                <a:gd name="T63" fmla="*/ 2147483647 h 207"/>
                <a:gd name="T64" fmla="*/ 2147483647 w 400"/>
                <a:gd name="T65" fmla="*/ 2147483647 h 207"/>
                <a:gd name="T66" fmla="*/ 2147483647 w 400"/>
                <a:gd name="T67" fmla="*/ 2147483647 h 207"/>
                <a:gd name="T68" fmla="*/ 2147483647 w 400"/>
                <a:gd name="T69" fmla="*/ 2147483647 h 207"/>
                <a:gd name="T70" fmla="*/ 2147483647 w 400"/>
                <a:gd name="T71" fmla="*/ 2147483647 h 207"/>
                <a:gd name="T72" fmla="*/ 2147483647 w 400"/>
                <a:gd name="T73" fmla="*/ 2147483647 h 207"/>
                <a:gd name="T74" fmla="*/ 2147483647 w 400"/>
                <a:gd name="T75" fmla="*/ 2147483647 h 207"/>
                <a:gd name="T76" fmla="*/ 2147483647 w 400"/>
                <a:gd name="T77" fmla="*/ 2147483647 h 207"/>
                <a:gd name="T78" fmla="*/ 2147483647 w 400"/>
                <a:gd name="T79" fmla="*/ 2147483647 h 207"/>
                <a:gd name="T80" fmla="*/ 2147483647 w 400"/>
                <a:gd name="T81" fmla="*/ 0 h 207"/>
                <a:gd name="T82" fmla="*/ 2147483647 w 400"/>
                <a:gd name="T83" fmla="*/ 0 h 20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00"/>
                <a:gd name="T127" fmla="*/ 0 h 207"/>
                <a:gd name="T128" fmla="*/ 400 w 400"/>
                <a:gd name="T129" fmla="*/ 207 h 207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00" h="207">
                  <a:moveTo>
                    <a:pt x="348" y="0"/>
                  </a:moveTo>
                  <a:lnTo>
                    <a:pt x="190" y="0"/>
                  </a:lnTo>
                  <a:lnTo>
                    <a:pt x="0" y="0"/>
                  </a:lnTo>
                  <a:lnTo>
                    <a:pt x="12" y="9"/>
                  </a:lnTo>
                  <a:lnTo>
                    <a:pt x="22" y="20"/>
                  </a:lnTo>
                  <a:lnTo>
                    <a:pt x="30" y="33"/>
                  </a:lnTo>
                  <a:lnTo>
                    <a:pt x="37" y="45"/>
                  </a:lnTo>
                  <a:lnTo>
                    <a:pt x="43" y="58"/>
                  </a:lnTo>
                  <a:lnTo>
                    <a:pt x="47" y="73"/>
                  </a:lnTo>
                  <a:lnTo>
                    <a:pt x="50" y="87"/>
                  </a:lnTo>
                  <a:lnTo>
                    <a:pt x="51" y="103"/>
                  </a:lnTo>
                  <a:lnTo>
                    <a:pt x="50" y="119"/>
                  </a:lnTo>
                  <a:lnTo>
                    <a:pt x="47" y="134"/>
                  </a:lnTo>
                  <a:lnTo>
                    <a:pt x="43" y="148"/>
                  </a:lnTo>
                  <a:lnTo>
                    <a:pt x="37" y="162"/>
                  </a:lnTo>
                  <a:lnTo>
                    <a:pt x="30" y="174"/>
                  </a:lnTo>
                  <a:lnTo>
                    <a:pt x="22" y="186"/>
                  </a:lnTo>
                  <a:lnTo>
                    <a:pt x="12" y="197"/>
                  </a:lnTo>
                  <a:lnTo>
                    <a:pt x="0" y="207"/>
                  </a:lnTo>
                  <a:lnTo>
                    <a:pt x="190" y="207"/>
                  </a:lnTo>
                  <a:lnTo>
                    <a:pt x="348" y="207"/>
                  </a:lnTo>
                  <a:lnTo>
                    <a:pt x="359" y="197"/>
                  </a:lnTo>
                  <a:lnTo>
                    <a:pt x="370" y="186"/>
                  </a:lnTo>
                  <a:lnTo>
                    <a:pt x="379" y="174"/>
                  </a:lnTo>
                  <a:lnTo>
                    <a:pt x="386" y="162"/>
                  </a:lnTo>
                  <a:lnTo>
                    <a:pt x="391" y="148"/>
                  </a:lnTo>
                  <a:lnTo>
                    <a:pt x="396" y="134"/>
                  </a:lnTo>
                  <a:lnTo>
                    <a:pt x="398" y="119"/>
                  </a:lnTo>
                  <a:lnTo>
                    <a:pt x="400" y="103"/>
                  </a:lnTo>
                  <a:lnTo>
                    <a:pt x="398" y="87"/>
                  </a:lnTo>
                  <a:lnTo>
                    <a:pt x="396" y="73"/>
                  </a:lnTo>
                  <a:lnTo>
                    <a:pt x="391" y="58"/>
                  </a:lnTo>
                  <a:lnTo>
                    <a:pt x="386" y="45"/>
                  </a:lnTo>
                  <a:lnTo>
                    <a:pt x="379" y="33"/>
                  </a:lnTo>
                  <a:lnTo>
                    <a:pt x="370" y="20"/>
                  </a:lnTo>
                  <a:lnTo>
                    <a:pt x="359" y="9"/>
                  </a:lnTo>
                  <a:lnTo>
                    <a:pt x="348" y="0"/>
                  </a:lnTo>
                  <a:close/>
                </a:path>
              </a:pathLst>
            </a:custGeom>
            <a:gradFill rotWithShape="1">
              <a:gsLst>
                <a:gs pos="0">
                  <a:srgbClr val="98D25F"/>
                </a:gs>
                <a:gs pos="50000">
                  <a:srgbClr val="A6ED43"/>
                </a:gs>
                <a:gs pos="100000">
                  <a:srgbClr val="5F8B25"/>
                </a:gs>
              </a:gsLst>
              <a:lin ang="5400000"/>
            </a:gradFill>
            <a:ln w="9525">
              <a:solidFill>
                <a:srgbClr val="5F8B25"/>
              </a:solidFill>
              <a:round/>
              <a:headEnd/>
              <a:tailEnd/>
            </a:ln>
          </p:spPr>
          <p:txBody>
            <a:bodyPr/>
            <a:lstStyle/>
            <a:p>
              <a:endParaRPr lang="nb-NO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grpSp>
        <p:nvGrpSpPr>
          <p:cNvPr id="6" name="Group 26"/>
          <p:cNvGrpSpPr>
            <a:grpSpLocks/>
          </p:cNvGrpSpPr>
          <p:nvPr/>
        </p:nvGrpSpPr>
        <p:grpSpPr bwMode="auto">
          <a:xfrm>
            <a:off x="520700" y="3073400"/>
            <a:ext cx="2863850" cy="3784600"/>
            <a:chOff x="609600" y="2895600"/>
            <a:chExt cx="2864249" cy="3962400"/>
          </a:xfrm>
        </p:grpSpPr>
        <p:sp>
          <p:nvSpPr>
            <p:cNvPr id="108" name="Freeform 9"/>
            <p:cNvSpPr>
              <a:spLocks/>
            </p:cNvSpPr>
            <p:nvPr/>
          </p:nvSpPr>
          <p:spPr bwMode="auto">
            <a:xfrm>
              <a:off x="609600" y="4876800"/>
              <a:ext cx="2864249" cy="1981200"/>
            </a:xfrm>
            <a:custGeom>
              <a:avLst/>
              <a:gdLst>
                <a:gd name="T0" fmla="*/ 552450 w 399"/>
                <a:gd name="T1" fmla="*/ 0 h 207"/>
                <a:gd name="T2" fmla="*/ 300038 w 399"/>
                <a:gd name="T3" fmla="*/ 0 h 207"/>
                <a:gd name="T4" fmla="*/ 88900 w 399"/>
                <a:gd name="T5" fmla="*/ 0 h 207"/>
                <a:gd name="T6" fmla="*/ 0 w 399"/>
                <a:gd name="T7" fmla="*/ 0 h 207"/>
                <a:gd name="T8" fmla="*/ 0 w 399"/>
                <a:gd name="T9" fmla="*/ 328613 h 207"/>
                <a:gd name="T10" fmla="*/ 0 w 399"/>
                <a:gd name="T11" fmla="*/ 328613 h 207"/>
                <a:gd name="T12" fmla="*/ 0 w 399"/>
                <a:gd name="T13" fmla="*/ 328613 h 207"/>
                <a:gd name="T14" fmla="*/ 0 w 399"/>
                <a:gd name="T15" fmla="*/ 328613 h 207"/>
                <a:gd name="T16" fmla="*/ 88900 w 399"/>
                <a:gd name="T17" fmla="*/ 328613 h 207"/>
                <a:gd name="T18" fmla="*/ 300038 w 399"/>
                <a:gd name="T19" fmla="*/ 328613 h 207"/>
                <a:gd name="T20" fmla="*/ 552450 w 399"/>
                <a:gd name="T21" fmla="*/ 328613 h 207"/>
                <a:gd name="T22" fmla="*/ 552450 w 399"/>
                <a:gd name="T23" fmla="*/ 328613 h 207"/>
                <a:gd name="T24" fmla="*/ 571500 w 399"/>
                <a:gd name="T25" fmla="*/ 312738 h 207"/>
                <a:gd name="T26" fmla="*/ 587375 w 399"/>
                <a:gd name="T27" fmla="*/ 295275 h 207"/>
                <a:gd name="T28" fmla="*/ 600075 w 399"/>
                <a:gd name="T29" fmla="*/ 276225 h 207"/>
                <a:gd name="T30" fmla="*/ 611188 w 399"/>
                <a:gd name="T31" fmla="*/ 257175 h 207"/>
                <a:gd name="T32" fmla="*/ 622300 w 399"/>
                <a:gd name="T33" fmla="*/ 234950 h 207"/>
                <a:gd name="T34" fmla="*/ 627063 w 399"/>
                <a:gd name="T35" fmla="*/ 212725 h 207"/>
                <a:gd name="T36" fmla="*/ 631825 w 399"/>
                <a:gd name="T37" fmla="*/ 188913 h 207"/>
                <a:gd name="T38" fmla="*/ 633413 w 399"/>
                <a:gd name="T39" fmla="*/ 163513 h 207"/>
                <a:gd name="T40" fmla="*/ 633413 w 399"/>
                <a:gd name="T41" fmla="*/ 163513 h 207"/>
                <a:gd name="T42" fmla="*/ 631825 w 399"/>
                <a:gd name="T43" fmla="*/ 138113 h 207"/>
                <a:gd name="T44" fmla="*/ 627063 w 399"/>
                <a:gd name="T45" fmla="*/ 115888 h 207"/>
                <a:gd name="T46" fmla="*/ 622300 w 399"/>
                <a:gd name="T47" fmla="*/ 92075 h 207"/>
                <a:gd name="T48" fmla="*/ 611188 w 399"/>
                <a:gd name="T49" fmla="*/ 71438 h 207"/>
                <a:gd name="T50" fmla="*/ 600075 w 399"/>
                <a:gd name="T51" fmla="*/ 52388 h 207"/>
                <a:gd name="T52" fmla="*/ 587375 w 399"/>
                <a:gd name="T53" fmla="*/ 31750 h 207"/>
                <a:gd name="T54" fmla="*/ 571500 w 399"/>
                <a:gd name="T55" fmla="*/ 14288 h 207"/>
                <a:gd name="T56" fmla="*/ 552450 w 399"/>
                <a:gd name="T57" fmla="*/ 0 h 207"/>
                <a:gd name="T58" fmla="*/ 552450 w 399"/>
                <a:gd name="T59" fmla="*/ 0 h 20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99"/>
                <a:gd name="T91" fmla="*/ 0 h 207"/>
                <a:gd name="T92" fmla="*/ 399 w 399"/>
                <a:gd name="T93" fmla="*/ 207 h 20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99" h="207">
                  <a:moveTo>
                    <a:pt x="348" y="0"/>
                  </a:moveTo>
                  <a:lnTo>
                    <a:pt x="189" y="0"/>
                  </a:lnTo>
                  <a:lnTo>
                    <a:pt x="56" y="0"/>
                  </a:lnTo>
                  <a:lnTo>
                    <a:pt x="0" y="0"/>
                  </a:lnTo>
                  <a:lnTo>
                    <a:pt x="0" y="207"/>
                  </a:lnTo>
                  <a:lnTo>
                    <a:pt x="56" y="207"/>
                  </a:lnTo>
                  <a:lnTo>
                    <a:pt x="189" y="207"/>
                  </a:lnTo>
                  <a:lnTo>
                    <a:pt x="348" y="207"/>
                  </a:lnTo>
                  <a:lnTo>
                    <a:pt x="360" y="197"/>
                  </a:lnTo>
                  <a:lnTo>
                    <a:pt x="370" y="186"/>
                  </a:lnTo>
                  <a:lnTo>
                    <a:pt x="378" y="174"/>
                  </a:lnTo>
                  <a:lnTo>
                    <a:pt x="385" y="162"/>
                  </a:lnTo>
                  <a:lnTo>
                    <a:pt x="392" y="148"/>
                  </a:lnTo>
                  <a:lnTo>
                    <a:pt x="395" y="134"/>
                  </a:lnTo>
                  <a:lnTo>
                    <a:pt x="398" y="119"/>
                  </a:lnTo>
                  <a:lnTo>
                    <a:pt x="399" y="103"/>
                  </a:lnTo>
                  <a:lnTo>
                    <a:pt x="398" y="87"/>
                  </a:lnTo>
                  <a:lnTo>
                    <a:pt x="395" y="73"/>
                  </a:lnTo>
                  <a:lnTo>
                    <a:pt x="392" y="58"/>
                  </a:lnTo>
                  <a:lnTo>
                    <a:pt x="385" y="45"/>
                  </a:lnTo>
                  <a:lnTo>
                    <a:pt x="378" y="33"/>
                  </a:lnTo>
                  <a:lnTo>
                    <a:pt x="370" y="20"/>
                  </a:lnTo>
                  <a:lnTo>
                    <a:pt x="360" y="9"/>
                  </a:lnTo>
                  <a:lnTo>
                    <a:pt x="348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6B8B4B">
                    <a:alpha val="70000"/>
                  </a:srgbClr>
                </a:gs>
                <a:gs pos="55000">
                  <a:sysClr val="window" lastClr="FFFFFF"/>
                </a:gs>
              </a:gsLst>
              <a:lin ang="5400000" scaled="0"/>
              <a:tileRect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nb-NO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09" name="Freeform 9"/>
            <p:cNvSpPr>
              <a:spLocks/>
            </p:cNvSpPr>
            <p:nvPr/>
          </p:nvSpPr>
          <p:spPr bwMode="auto">
            <a:xfrm>
              <a:off x="609600" y="2895600"/>
              <a:ext cx="2864249" cy="1981200"/>
            </a:xfrm>
            <a:custGeom>
              <a:avLst/>
              <a:gdLst>
                <a:gd name="T0" fmla="*/ 2147483647 w 399"/>
                <a:gd name="T1" fmla="*/ 0 h 207"/>
                <a:gd name="T2" fmla="*/ 2147483647 w 399"/>
                <a:gd name="T3" fmla="*/ 0 h 207"/>
                <a:gd name="T4" fmla="*/ 2147483647 w 399"/>
                <a:gd name="T5" fmla="*/ 0 h 207"/>
                <a:gd name="T6" fmla="*/ 0 w 399"/>
                <a:gd name="T7" fmla="*/ 0 h 207"/>
                <a:gd name="T8" fmla="*/ 0 w 399"/>
                <a:gd name="T9" fmla="*/ 2147483647 h 207"/>
                <a:gd name="T10" fmla="*/ 0 w 399"/>
                <a:gd name="T11" fmla="*/ 2147483647 h 207"/>
                <a:gd name="T12" fmla="*/ 0 w 399"/>
                <a:gd name="T13" fmla="*/ 2147483647 h 207"/>
                <a:gd name="T14" fmla="*/ 0 w 399"/>
                <a:gd name="T15" fmla="*/ 2147483647 h 207"/>
                <a:gd name="T16" fmla="*/ 2147483647 w 399"/>
                <a:gd name="T17" fmla="*/ 2147483647 h 207"/>
                <a:gd name="T18" fmla="*/ 2147483647 w 399"/>
                <a:gd name="T19" fmla="*/ 2147483647 h 207"/>
                <a:gd name="T20" fmla="*/ 2147483647 w 399"/>
                <a:gd name="T21" fmla="*/ 2147483647 h 207"/>
                <a:gd name="T22" fmla="*/ 2147483647 w 399"/>
                <a:gd name="T23" fmla="*/ 2147483647 h 207"/>
                <a:gd name="T24" fmla="*/ 2147483647 w 399"/>
                <a:gd name="T25" fmla="*/ 2147483647 h 207"/>
                <a:gd name="T26" fmla="*/ 2147483647 w 399"/>
                <a:gd name="T27" fmla="*/ 2147483647 h 207"/>
                <a:gd name="T28" fmla="*/ 2147483647 w 399"/>
                <a:gd name="T29" fmla="*/ 2147483647 h 207"/>
                <a:gd name="T30" fmla="*/ 2147483647 w 399"/>
                <a:gd name="T31" fmla="*/ 2147483647 h 207"/>
                <a:gd name="T32" fmla="*/ 2147483647 w 399"/>
                <a:gd name="T33" fmla="*/ 2147483647 h 207"/>
                <a:gd name="T34" fmla="*/ 2147483647 w 399"/>
                <a:gd name="T35" fmla="*/ 2147483647 h 207"/>
                <a:gd name="T36" fmla="*/ 2147483647 w 399"/>
                <a:gd name="T37" fmla="*/ 2147483647 h 207"/>
                <a:gd name="T38" fmla="*/ 2147483647 w 399"/>
                <a:gd name="T39" fmla="*/ 2147483647 h 207"/>
                <a:gd name="T40" fmla="*/ 2147483647 w 399"/>
                <a:gd name="T41" fmla="*/ 2147483647 h 207"/>
                <a:gd name="T42" fmla="*/ 2147483647 w 399"/>
                <a:gd name="T43" fmla="*/ 2147483647 h 207"/>
                <a:gd name="T44" fmla="*/ 2147483647 w 399"/>
                <a:gd name="T45" fmla="*/ 2147483647 h 207"/>
                <a:gd name="T46" fmla="*/ 2147483647 w 399"/>
                <a:gd name="T47" fmla="*/ 2147483647 h 207"/>
                <a:gd name="T48" fmla="*/ 2147483647 w 399"/>
                <a:gd name="T49" fmla="*/ 2147483647 h 207"/>
                <a:gd name="T50" fmla="*/ 2147483647 w 399"/>
                <a:gd name="T51" fmla="*/ 2147483647 h 207"/>
                <a:gd name="T52" fmla="*/ 2147483647 w 399"/>
                <a:gd name="T53" fmla="*/ 2147483647 h 207"/>
                <a:gd name="T54" fmla="*/ 2147483647 w 399"/>
                <a:gd name="T55" fmla="*/ 2147483647 h 207"/>
                <a:gd name="T56" fmla="*/ 2147483647 w 399"/>
                <a:gd name="T57" fmla="*/ 0 h 207"/>
                <a:gd name="T58" fmla="*/ 2147483647 w 399"/>
                <a:gd name="T59" fmla="*/ 0 h 20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99"/>
                <a:gd name="T91" fmla="*/ 0 h 207"/>
                <a:gd name="T92" fmla="*/ 399 w 399"/>
                <a:gd name="T93" fmla="*/ 207 h 20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99" h="207">
                  <a:moveTo>
                    <a:pt x="348" y="0"/>
                  </a:moveTo>
                  <a:lnTo>
                    <a:pt x="189" y="0"/>
                  </a:lnTo>
                  <a:lnTo>
                    <a:pt x="56" y="0"/>
                  </a:lnTo>
                  <a:lnTo>
                    <a:pt x="0" y="0"/>
                  </a:lnTo>
                  <a:lnTo>
                    <a:pt x="0" y="207"/>
                  </a:lnTo>
                  <a:lnTo>
                    <a:pt x="56" y="207"/>
                  </a:lnTo>
                  <a:lnTo>
                    <a:pt x="189" y="207"/>
                  </a:lnTo>
                  <a:lnTo>
                    <a:pt x="348" y="207"/>
                  </a:lnTo>
                  <a:lnTo>
                    <a:pt x="360" y="197"/>
                  </a:lnTo>
                  <a:lnTo>
                    <a:pt x="370" y="186"/>
                  </a:lnTo>
                  <a:lnTo>
                    <a:pt x="378" y="174"/>
                  </a:lnTo>
                  <a:lnTo>
                    <a:pt x="385" y="162"/>
                  </a:lnTo>
                  <a:lnTo>
                    <a:pt x="392" y="148"/>
                  </a:lnTo>
                  <a:lnTo>
                    <a:pt x="395" y="134"/>
                  </a:lnTo>
                  <a:lnTo>
                    <a:pt x="398" y="119"/>
                  </a:lnTo>
                  <a:lnTo>
                    <a:pt x="399" y="103"/>
                  </a:lnTo>
                  <a:lnTo>
                    <a:pt x="398" y="87"/>
                  </a:lnTo>
                  <a:lnTo>
                    <a:pt x="395" y="73"/>
                  </a:lnTo>
                  <a:lnTo>
                    <a:pt x="392" y="58"/>
                  </a:lnTo>
                  <a:lnTo>
                    <a:pt x="385" y="45"/>
                  </a:lnTo>
                  <a:lnTo>
                    <a:pt x="378" y="33"/>
                  </a:lnTo>
                  <a:lnTo>
                    <a:pt x="370" y="20"/>
                  </a:lnTo>
                  <a:lnTo>
                    <a:pt x="360" y="9"/>
                  </a:lnTo>
                  <a:lnTo>
                    <a:pt x="348" y="0"/>
                  </a:lnTo>
                  <a:close/>
                </a:path>
              </a:pathLst>
            </a:custGeom>
            <a:gradFill rotWithShape="1">
              <a:gsLst>
                <a:gs pos="0">
                  <a:srgbClr val="B2D28D"/>
                </a:gs>
                <a:gs pos="50000">
                  <a:srgbClr val="D0EDA9"/>
                </a:gs>
                <a:gs pos="100000">
                  <a:srgbClr val="6B8B4B"/>
                </a:gs>
              </a:gsLst>
              <a:lin ang="5400000"/>
            </a:gradFill>
            <a:ln w="9525">
              <a:solidFill>
                <a:srgbClr val="6B8B4B"/>
              </a:solidFill>
              <a:round/>
              <a:headEnd/>
              <a:tailEnd/>
            </a:ln>
          </p:spPr>
          <p:txBody>
            <a:bodyPr/>
            <a:lstStyle/>
            <a:p>
              <a:endParaRPr lang="nb-NO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grpSp>
        <p:nvGrpSpPr>
          <p:cNvPr id="7" name="Group 21"/>
          <p:cNvGrpSpPr>
            <a:grpSpLocks/>
          </p:cNvGrpSpPr>
          <p:nvPr/>
        </p:nvGrpSpPr>
        <p:grpSpPr bwMode="auto">
          <a:xfrm>
            <a:off x="5832475" y="3073400"/>
            <a:ext cx="2871788" cy="3784600"/>
            <a:chOff x="5921738" y="2895600"/>
            <a:chExt cx="2871425" cy="3962400"/>
          </a:xfrm>
        </p:grpSpPr>
        <p:sp>
          <p:nvSpPr>
            <p:cNvPr id="111" name="Freeform 10"/>
            <p:cNvSpPr>
              <a:spLocks/>
            </p:cNvSpPr>
            <p:nvPr/>
          </p:nvSpPr>
          <p:spPr bwMode="auto">
            <a:xfrm>
              <a:off x="5921738" y="4876800"/>
              <a:ext cx="2871425" cy="1981200"/>
            </a:xfrm>
            <a:custGeom>
              <a:avLst/>
              <a:gdLst>
                <a:gd name="T0" fmla="*/ 554038 w 400"/>
                <a:gd name="T1" fmla="*/ 0 h 207"/>
                <a:gd name="T2" fmla="*/ 301625 w 400"/>
                <a:gd name="T3" fmla="*/ 0 h 207"/>
                <a:gd name="T4" fmla="*/ 0 w 400"/>
                <a:gd name="T5" fmla="*/ 0 h 207"/>
                <a:gd name="T6" fmla="*/ 0 w 400"/>
                <a:gd name="T7" fmla="*/ 0 h 207"/>
                <a:gd name="T8" fmla="*/ 17463 w 400"/>
                <a:gd name="T9" fmla="*/ 14288 h 207"/>
                <a:gd name="T10" fmla="*/ 33338 w 400"/>
                <a:gd name="T11" fmla="*/ 31750 h 207"/>
                <a:gd name="T12" fmla="*/ 49213 w 400"/>
                <a:gd name="T13" fmla="*/ 52388 h 207"/>
                <a:gd name="T14" fmla="*/ 60325 w 400"/>
                <a:gd name="T15" fmla="*/ 71438 h 207"/>
                <a:gd name="T16" fmla="*/ 68263 w 400"/>
                <a:gd name="T17" fmla="*/ 92075 h 207"/>
                <a:gd name="T18" fmla="*/ 76200 w 400"/>
                <a:gd name="T19" fmla="*/ 115888 h 207"/>
                <a:gd name="T20" fmla="*/ 79375 w 400"/>
                <a:gd name="T21" fmla="*/ 138113 h 207"/>
                <a:gd name="T22" fmla="*/ 80963 w 400"/>
                <a:gd name="T23" fmla="*/ 163513 h 207"/>
                <a:gd name="T24" fmla="*/ 80963 w 400"/>
                <a:gd name="T25" fmla="*/ 163513 h 207"/>
                <a:gd name="T26" fmla="*/ 79375 w 400"/>
                <a:gd name="T27" fmla="*/ 188913 h 207"/>
                <a:gd name="T28" fmla="*/ 76200 w 400"/>
                <a:gd name="T29" fmla="*/ 212725 h 207"/>
                <a:gd name="T30" fmla="*/ 68263 w 400"/>
                <a:gd name="T31" fmla="*/ 234950 h 207"/>
                <a:gd name="T32" fmla="*/ 60325 w 400"/>
                <a:gd name="T33" fmla="*/ 257175 h 207"/>
                <a:gd name="T34" fmla="*/ 49213 w 400"/>
                <a:gd name="T35" fmla="*/ 276225 h 207"/>
                <a:gd name="T36" fmla="*/ 33338 w 400"/>
                <a:gd name="T37" fmla="*/ 295275 h 207"/>
                <a:gd name="T38" fmla="*/ 17463 w 400"/>
                <a:gd name="T39" fmla="*/ 312738 h 207"/>
                <a:gd name="T40" fmla="*/ 0 w 400"/>
                <a:gd name="T41" fmla="*/ 328613 h 207"/>
                <a:gd name="T42" fmla="*/ 301625 w 400"/>
                <a:gd name="T43" fmla="*/ 328613 h 207"/>
                <a:gd name="T44" fmla="*/ 554038 w 400"/>
                <a:gd name="T45" fmla="*/ 328613 h 207"/>
                <a:gd name="T46" fmla="*/ 554038 w 400"/>
                <a:gd name="T47" fmla="*/ 328613 h 207"/>
                <a:gd name="T48" fmla="*/ 571500 w 400"/>
                <a:gd name="T49" fmla="*/ 312738 h 207"/>
                <a:gd name="T50" fmla="*/ 587375 w 400"/>
                <a:gd name="T51" fmla="*/ 295275 h 207"/>
                <a:gd name="T52" fmla="*/ 600075 w 400"/>
                <a:gd name="T53" fmla="*/ 276225 h 207"/>
                <a:gd name="T54" fmla="*/ 612775 w 400"/>
                <a:gd name="T55" fmla="*/ 257175 h 207"/>
                <a:gd name="T56" fmla="*/ 622300 w 400"/>
                <a:gd name="T57" fmla="*/ 234950 h 207"/>
                <a:gd name="T58" fmla="*/ 630238 w 400"/>
                <a:gd name="T59" fmla="*/ 212725 h 207"/>
                <a:gd name="T60" fmla="*/ 633413 w 400"/>
                <a:gd name="T61" fmla="*/ 188913 h 207"/>
                <a:gd name="T62" fmla="*/ 635000 w 400"/>
                <a:gd name="T63" fmla="*/ 163513 h 207"/>
                <a:gd name="T64" fmla="*/ 635000 w 400"/>
                <a:gd name="T65" fmla="*/ 163513 h 207"/>
                <a:gd name="T66" fmla="*/ 633413 w 400"/>
                <a:gd name="T67" fmla="*/ 138113 h 207"/>
                <a:gd name="T68" fmla="*/ 630238 w 400"/>
                <a:gd name="T69" fmla="*/ 115888 h 207"/>
                <a:gd name="T70" fmla="*/ 622300 w 400"/>
                <a:gd name="T71" fmla="*/ 92075 h 207"/>
                <a:gd name="T72" fmla="*/ 612775 w 400"/>
                <a:gd name="T73" fmla="*/ 71438 h 207"/>
                <a:gd name="T74" fmla="*/ 600075 w 400"/>
                <a:gd name="T75" fmla="*/ 52388 h 207"/>
                <a:gd name="T76" fmla="*/ 587375 w 400"/>
                <a:gd name="T77" fmla="*/ 31750 h 207"/>
                <a:gd name="T78" fmla="*/ 571500 w 400"/>
                <a:gd name="T79" fmla="*/ 14288 h 207"/>
                <a:gd name="T80" fmla="*/ 554038 w 400"/>
                <a:gd name="T81" fmla="*/ 0 h 207"/>
                <a:gd name="T82" fmla="*/ 554038 w 400"/>
                <a:gd name="T83" fmla="*/ 0 h 20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00"/>
                <a:gd name="T127" fmla="*/ 0 h 207"/>
                <a:gd name="T128" fmla="*/ 400 w 400"/>
                <a:gd name="T129" fmla="*/ 207 h 207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00" h="207">
                  <a:moveTo>
                    <a:pt x="349" y="0"/>
                  </a:moveTo>
                  <a:lnTo>
                    <a:pt x="190" y="0"/>
                  </a:lnTo>
                  <a:lnTo>
                    <a:pt x="0" y="0"/>
                  </a:lnTo>
                  <a:lnTo>
                    <a:pt x="11" y="9"/>
                  </a:lnTo>
                  <a:lnTo>
                    <a:pt x="21" y="20"/>
                  </a:lnTo>
                  <a:lnTo>
                    <a:pt x="31" y="33"/>
                  </a:lnTo>
                  <a:lnTo>
                    <a:pt x="38" y="45"/>
                  </a:lnTo>
                  <a:lnTo>
                    <a:pt x="43" y="58"/>
                  </a:lnTo>
                  <a:lnTo>
                    <a:pt x="48" y="73"/>
                  </a:lnTo>
                  <a:lnTo>
                    <a:pt x="50" y="87"/>
                  </a:lnTo>
                  <a:lnTo>
                    <a:pt x="51" y="103"/>
                  </a:lnTo>
                  <a:lnTo>
                    <a:pt x="50" y="119"/>
                  </a:lnTo>
                  <a:lnTo>
                    <a:pt x="48" y="134"/>
                  </a:lnTo>
                  <a:lnTo>
                    <a:pt x="43" y="148"/>
                  </a:lnTo>
                  <a:lnTo>
                    <a:pt x="38" y="162"/>
                  </a:lnTo>
                  <a:lnTo>
                    <a:pt x="31" y="174"/>
                  </a:lnTo>
                  <a:lnTo>
                    <a:pt x="21" y="186"/>
                  </a:lnTo>
                  <a:lnTo>
                    <a:pt x="11" y="197"/>
                  </a:lnTo>
                  <a:lnTo>
                    <a:pt x="0" y="207"/>
                  </a:lnTo>
                  <a:lnTo>
                    <a:pt x="190" y="207"/>
                  </a:lnTo>
                  <a:lnTo>
                    <a:pt x="349" y="207"/>
                  </a:lnTo>
                  <a:lnTo>
                    <a:pt x="360" y="197"/>
                  </a:lnTo>
                  <a:lnTo>
                    <a:pt x="370" y="186"/>
                  </a:lnTo>
                  <a:lnTo>
                    <a:pt x="378" y="174"/>
                  </a:lnTo>
                  <a:lnTo>
                    <a:pt x="386" y="162"/>
                  </a:lnTo>
                  <a:lnTo>
                    <a:pt x="392" y="148"/>
                  </a:lnTo>
                  <a:lnTo>
                    <a:pt x="397" y="134"/>
                  </a:lnTo>
                  <a:lnTo>
                    <a:pt x="399" y="119"/>
                  </a:lnTo>
                  <a:lnTo>
                    <a:pt x="400" y="103"/>
                  </a:lnTo>
                  <a:lnTo>
                    <a:pt x="399" y="87"/>
                  </a:lnTo>
                  <a:lnTo>
                    <a:pt x="397" y="73"/>
                  </a:lnTo>
                  <a:lnTo>
                    <a:pt x="392" y="58"/>
                  </a:lnTo>
                  <a:lnTo>
                    <a:pt x="386" y="45"/>
                  </a:lnTo>
                  <a:lnTo>
                    <a:pt x="378" y="33"/>
                  </a:lnTo>
                  <a:lnTo>
                    <a:pt x="370" y="20"/>
                  </a:lnTo>
                  <a:lnTo>
                    <a:pt x="360" y="9"/>
                  </a:lnTo>
                  <a:lnTo>
                    <a:pt x="349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497F13">
                    <a:alpha val="70000"/>
                  </a:srgbClr>
                </a:gs>
                <a:gs pos="55000">
                  <a:sysClr val="window" lastClr="FFFFFF"/>
                </a:gs>
              </a:gsLst>
              <a:lin ang="5400000" scaled="0"/>
              <a:tileRect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nb-NO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12" name="Freeform 10"/>
            <p:cNvSpPr>
              <a:spLocks/>
            </p:cNvSpPr>
            <p:nvPr/>
          </p:nvSpPr>
          <p:spPr bwMode="auto">
            <a:xfrm>
              <a:off x="5921738" y="2895600"/>
              <a:ext cx="2871425" cy="1981200"/>
            </a:xfrm>
            <a:custGeom>
              <a:avLst/>
              <a:gdLst>
                <a:gd name="T0" fmla="*/ 2147483647 w 400"/>
                <a:gd name="T1" fmla="*/ 0 h 207"/>
                <a:gd name="T2" fmla="*/ 2147483647 w 400"/>
                <a:gd name="T3" fmla="*/ 0 h 207"/>
                <a:gd name="T4" fmla="*/ 0 w 400"/>
                <a:gd name="T5" fmla="*/ 0 h 207"/>
                <a:gd name="T6" fmla="*/ 0 w 400"/>
                <a:gd name="T7" fmla="*/ 0 h 207"/>
                <a:gd name="T8" fmla="*/ 2147483647 w 400"/>
                <a:gd name="T9" fmla="*/ 2147483647 h 207"/>
                <a:gd name="T10" fmla="*/ 2147483647 w 400"/>
                <a:gd name="T11" fmla="*/ 2147483647 h 207"/>
                <a:gd name="T12" fmla="*/ 2147483647 w 400"/>
                <a:gd name="T13" fmla="*/ 2147483647 h 207"/>
                <a:gd name="T14" fmla="*/ 2147483647 w 400"/>
                <a:gd name="T15" fmla="*/ 2147483647 h 207"/>
                <a:gd name="T16" fmla="*/ 2147483647 w 400"/>
                <a:gd name="T17" fmla="*/ 2147483647 h 207"/>
                <a:gd name="T18" fmla="*/ 2147483647 w 400"/>
                <a:gd name="T19" fmla="*/ 2147483647 h 207"/>
                <a:gd name="T20" fmla="*/ 2147483647 w 400"/>
                <a:gd name="T21" fmla="*/ 2147483647 h 207"/>
                <a:gd name="T22" fmla="*/ 2147483647 w 400"/>
                <a:gd name="T23" fmla="*/ 2147483647 h 207"/>
                <a:gd name="T24" fmla="*/ 2147483647 w 400"/>
                <a:gd name="T25" fmla="*/ 2147483647 h 207"/>
                <a:gd name="T26" fmla="*/ 2147483647 w 400"/>
                <a:gd name="T27" fmla="*/ 2147483647 h 207"/>
                <a:gd name="T28" fmla="*/ 2147483647 w 400"/>
                <a:gd name="T29" fmla="*/ 2147483647 h 207"/>
                <a:gd name="T30" fmla="*/ 2147483647 w 400"/>
                <a:gd name="T31" fmla="*/ 2147483647 h 207"/>
                <a:gd name="T32" fmla="*/ 2147483647 w 400"/>
                <a:gd name="T33" fmla="*/ 2147483647 h 207"/>
                <a:gd name="T34" fmla="*/ 2147483647 w 400"/>
                <a:gd name="T35" fmla="*/ 2147483647 h 207"/>
                <a:gd name="T36" fmla="*/ 2147483647 w 400"/>
                <a:gd name="T37" fmla="*/ 2147483647 h 207"/>
                <a:gd name="T38" fmla="*/ 2147483647 w 400"/>
                <a:gd name="T39" fmla="*/ 2147483647 h 207"/>
                <a:gd name="T40" fmla="*/ 0 w 400"/>
                <a:gd name="T41" fmla="*/ 2147483647 h 207"/>
                <a:gd name="T42" fmla="*/ 2147483647 w 400"/>
                <a:gd name="T43" fmla="*/ 2147483647 h 207"/>
                <a:gd name="T44" fmla="*/ 2147483647 w 400"/>
                <a:gd name="T45" fmla="*/ 2147483647 h 207"/>
                <a:gd name="T46" fmla="*/ 2147483647 w 400"/>
                <a:gd name="T47" fmla="*/ 2147483647 h 207"/>
                <a:gd name="T48" fmla="*/ 2147483647 w 400"/>
                <a:gd name="T49" fmla="*/ 2147483647 h 207"/>
                <a:gd name="T50" fmla="*/ 2147483647 w 400"/>
                <a:gd name="T51" fmla="*/ 2147483647 h 207"/>
                <a:gd name="T52" fmla="*/ 2147483647 w 400"/>
                <a:gd name="T53" fmla="*/ 2147483647 h 207"/>
                <a:gd name="T54" fmla="*/ 2147483647 w 400"/>
                <a:gd name="T55" fmla="*/ 2147483647 h 207"/>
                <a:gd name="T56" fmla="*/ 2147483647 w 400"/>
                <a:gd name="T57" fmla="*/ 2147483647 h 207"/>
                <a:gd name="T58" fmla="*/ 2147483647 w 400"/>
                <a:gd name="T59" fmla="*/ 2147483647 h 207"/>
                <a:gd name="T60" fmla="*/ 2147483647 w 400"/>
                <a:gd name="T61" fmla="*/ 2147483647 h 207"/>
                <a:gd name="T62" fmla="*/ 2147483647 w 400"/>
                <a:gd name="T63" fmla="*/ 2147483647 h 207"/>
                <a:gd name="T64" fmla="*/ 2147483647 w 400"/>
                <a:gd name="T65" fmla="*/ 2147483647 h 207"/>
                <a:gd name="T66" fmla="*/ 2147483647 w 400"/>
                <a:gd name="T67" fmla="*/ 2147483647 h 207"/>
                <a:gd name="T68" fmla="*/ 2147483647 w 400"/>
                <a:gd name="T69" fmla="*/ 2147483647 h 207"/>
                <a:gd name="T70" fmla="*/ 2147483647 w 400"/>
                <a:gd name="T71" fmla="*/ 2147483647 h 207"/>
                <a:gd name="T72" fmla="*/ 2147483647 w 400"/>
                <a:gd name="T73" fmla="*/ 2147483647 h 207"/>
                <a:gd name="T74" fmla="*/ 2147483647 w 400"/>
                <a:gd name="T75" fmla="*/ 2147483647 h 207"/>
                <a:gd name="T76" fmla="*/ 2147483647 w 400"/>
                <a:gd name="T77" fmla="*/ 2147483647 h 207"/>
                <a:gd name="T78" fmla="*/ 2147483647 w 400"/>
                <a:gd name="T79" fmla="*/ 2147483647 h 207"/>
                <a:gd name="T80" fmla="*/ 2147483647 w 400"/>
                <a:gd name="T81" fmla="*/ 0 h 207"/>
                <a:gd name="T82" fmla="*/ 2147483647 w 400"/>
                <a:gd name="T83" fmla="*/ 0 h 20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00"/>
                <a:gd name="T127" fmla="*/ 0 h 207"/>
                <a:gd name="T128" fmla="*/ 400 w 400"/>
                <a:gd name="T129" fmla="*/ 207 h 207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00" h="207">
                  <a:moveTo>
                    <a:pt x="349" y="0"/>
                  </a:moveTo>
                  <a:lnTo>
                    <a:pt x="190" y="0"/>
                  </a:lnTo>
                  <a:lnTo>
                    <a:pt x="0" y="0"/>
                  </a:lnTo>
                  <a:lnTo>
                    <a:pt x="11" y="9"/>
                  </a:lnTo>
                  <a:lnTo>
                    <a:pt x="21" y="20"/>
                  </a:lnTo>
                  <a:lnTo>
                    <a:pt x="31" y="33"/>
                  </a:lnTo>
                  <a:lnTo>
                    <a:pt x="38" y="45"/>
                  </a:lnTo>
                  <a:lnTo>
                    <a:pt x="43" y="58"/>
                  </a:lnTo>
                  <a:lnTo>
                    <a:pt x="48" y="73"/>
                  </a:lnTo>
                  <a:lnTo>
                    <a:pt x="50" y="87"/>
                  </a:lnTo>
                  <a:lnTo>
                    <a:pt x="51" y="103"/>
                  </a:lnTo>
                  <a:lnTo>
                    <a:pt x="50" y="119"/>
                  </a:lnTo>
                  <a:lnTo>
                    <a:pt x="48" y="134"/>
                  </a:lnTo>
                  <a:lnTo>
                    <a:pt x="43" y="148"/>
                  </a:lnTo>
                  <a:lnTo>
                    <a:pt x="38" y="162"/>
                  </a:lnTo>
                  <a:lnTo>
                    <a:pt x="31" y="174"/>
                  </a:lnTo>
                  <a:lnTo>
                    <a:pt x="21" y="186"/>
                  </a:lnTo>
                  <a:lnTo>
                    <a:pt x="11" y="197"/>
                  </a:lnTo>
                  <a:lnTo>
                    <a:pt x="0" y="207"/>
                  </a:lnTo>
                  <a:lnTo>
                    <a:pt x="190" y="207"/>
                  </a:lnTo>
                  <a:lnTo>
                    <a:pt x="349" y="207"/>
                  </a:lnTo>
                  <a:lnTo>
                    <a:pt x="360" y="197"/>
                  </a:lnTo>
                  <a:lnTo>
                    <a:pt x="370" y="186"/>
                  </a:lnTo>
                  <a:lnTo>
                    <a:pt x="378" y="174"/>
                  </a:lnTo>
                  <a:lnTo>
                    <a:pt x="386" y="162"/>
                  </a:lnTo>
                  <a:lnTo>
                    <a:pt x="392" y="148"/>
                  </a:lnTo>
                  <a:lnTo>
                    <a:pt x="397" y="134"/>
                  </a:lnTo>
                  <a:lnTo>
                    <a:pt x="399" y="119"/>
                  </a:lnTo>
                  <a:lnTo>
                    <a:pt x="400" y="103"/>
                  </a:lnTo>
                  <a:lnTo>
                    <a:pt x="399" y="87"/>
                  </a:lnTo>
                  <a:lnTo>
                    <a:pt x="397" y="73"/>
                  </a:lnTo>
                  <a:lnTo>
                    <a:pt x="392" y="58"/>
                  </a:lnTo>
                  <a:lnTo>
                    <a:pt x="386" y="45"/>
                  </a:lnTo>
                  <a:lnTo>
                    <a:pt x="378" y="33"/>
                  </a:lnTo>
                  <a:lnTo>
                    <a:pt x="370" y="20"/>
                  </a:lnTo>
                  <a:lnTo>
                    <a:pt x="360" y="9"/>
                  </a:lnTo>
                  <a:lnTo>
                    <a:pt x="349" y="0"/>
                  </a:lnTo>
                  <a:close/>
                </a:path>
              </a:pathLst>
            </a:custGeom>
            <a:gradFill rotWithShape="1">
              <a:gsLst>
                <a:gs pos="0">
                  <a:srgbClr val="497F13"/>
                </a:gs>
                <a:gs pos="50000">
                  <a:srgbClr val="80DB25"/>
                </a:gs>
                <a:gs pos="100000">
                  <a:srgbClr val="26420A"/>
                </a:gs>
              </a:gsLst>
              <a:lin ang="5400000"/>
            </a:gradFill>
            <a:ln w="9525">
              <a:solidFill>
                <a:srgbClr val="26420A"/>
              </a:solidFill>
              <a:round/>
              <a:headEnd/>
              <a:tailEnd/>
            </a:ln>
          </p:spPr>
          <p:txBody>
            <a:bodyPr/>
            <a:lstStyle/>
            <a:p>
              <a:endParaRPr lang="nb-NO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sp>
        <p:nvSpPr>
          <p:cNvPr id="113" name="Rektangel 33"/>
          <p:cNvSpPr>
            <a:spLocks noChangeArrowheads="1"/>
          </p:cNvSpPr>
          <p:nvPr/>
        </p:nvSpPr>
        <p:spPr bwMode="auto">
          <a:xfrm>
            <a:off x="1282700" y="3683000"/>
            <a:ext cx="140335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da-DK" sz="1600" b="1">
                <a:latin typeface="Calibri" pitchFamily="34" charset="0"/>
              </a:rPr>
              <a:t> Example text</a:t>
            </a:r>
          </a:p>
          <a:p>
            <a:pPr>
              <a:buFont typeface="Arial" pitchFamily="34" charset="0"/>
              <a:buChar char="•"/>
            </a:pPr>
            <a:r>
              <a:rPr lang="da-DK" sz="1400">
                <a:latin typeface="Calibri" pitchFamily="34" charset="0"/>
              </a:rPr>
              <a:t> Example text</a:t>
            </a:r>
          </a:p>
          <a:p>
            <a:pPr>
              <a:buFont typeface="Arial" pitchFamily="34" charset="0"/>
              <a:buChar char="•"/>
            </a:pPr>
            <a:endParaRPr lang="da-DK" sz="1200">
              <a:latin typeface="Calibri" pitchFamily="34" charset="0"/>
            </a:endParaRPr>
          </a:p>
        </p:txBody>
      </p:sp>
      <p:sp>
        <p:nvSpPr>
          <p:cNvPr id="114" name="Rektangel 33"/>
          <p:cNvSpPr>
            <a:spLocks noChangeArrowheads="1"/>
          </p:cNvSpPr>
          <p:nvPr/>
        </p:nvSpPr>
        <p:spPr bwMode="auto">
          <a:xfrm>
            <a:off x="3994150" y="3683000"/>
            <a:ext cx="140335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da-DK" sz="1600" b="1">
                <a:latin typeface="Calibri" pitchFamily="34" charset="0"/>
              </a:rPr>
              <a:t> Example text</a:t>
            </a:r>
          </a:p>
          <a:p>
            <a:pPr>
              <a:buFont typeface="Arial" pitchFamily="34" charset="0"/>
              <a:buChar char="•"/>
            </a:pPr>
            <a:r>
              <a:rPr lang="da-DK" sz="1400">
                <a:latin typeface="Calibri" pitchFamily="34" charset="0"/>
              </a:rPr>
              <a:t> Example text</a:t>
            </a:r>
          </a:p>
          <a:p>
            <a:pPr>
              <a:buFont typeface="Arial" pitchFamily="34" charset="0"/>
              <a:buChar char="•"/>
            </a:pPr>
            <a:endParaRPr lang="da-DK" sz="1200">
              <a:latin typeface="Calibri" pitchFamily="34" charset="0"/>
            </a:endParaRPr>
          </a:p>
        </p:txBody>
      </p:sp>
      <p:sp>
        <p:nvSpPr>
          <p:cNvPr id="115" name="Rektangel 33"/>
          <p:cNvSpPr>
            <a:spLocks noChangeArrowheads="1"/>
          </p:cNvSpPr>
          <p:nvPr/>
        </p:nvSpPr>
        <p:spPr bwMode="auto">
          <a:xfrm>
            <a:off x="6692900" y="3683000"/>
            <a:ext cx="140335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da-DK" sz="1600" b="1">
                <a:latin typeface="Calibri" pitchFamily="34" charset="0"/>
              </a:rPr>
              <a:t> Example text</a:t>
            </a:r>
          </a:p>
          <a:p>
            <a:pPr>
              <a:buFont typeface="Arial" pitchFamily="34" charset="0"/>
              <a:buChar char="•"/>
            </a:pPr>
            <a:r>
              <a:rPr lang="da-DK" sz="1400">
                <a:latin typeface="Calibri" pitchFamily="34" charset="0"/>
              </a:rPr>
              <a:t> Example text</a:t>
            </a:r>
          </a:p>
          <a:p>
            <a:pPr>
              <a:buFont typeface="Arial" pitchFamily="34" charset="0"/>
              <a:buChar char="•"/>
            </a:pPr>
            <a:endParaRPr lang="da-DK" sz="1200">
              <a:latin typeface="Calibri" pitchFamily="34" charset="0"/>
            </a:endParaRPr>
          </a:p>
        </p:txBody>
      </p:sp>
      <p:sp>
        <p:nvSpPr>
          <p:cNvPr id="26639" name="TextBox 54"/>
          <p:cNvSpPr txBox="1">
            <a:spLocks noChangeArrowheads="1"/>
          </p:cNvSpPr>
          <p:nvPr/>
        </p:nvSpPr>
        <p:spPr bwMode="auto">
          <a:xfrm>
            <a:off x="314325" y="377825"/>
            <a:ext cx="69246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nb-NO" sz="1500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GIVE YOUR PRESENTATIONS AN </a:t>
            </a:r>
            <a:r>
              <a:rPr lang="nb-NO" sz="1500" b="1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EXTRA DIMENSION </a:t>
            </a:r>
            <a:r>
              <a:rPr lang="nb-NO" sz="1500">
                <a:solidFill>
                  <a:srgbClr val="262626"/>
                </a:solidFill>
                <a:latin typeface="Calibri" pitchFamily="34" charset="0"/>
                <a:cs typeface="Calibri" pitchFamily="34" charset="0"/>
              </a:rPr>
              <a:t>WITH ANIMATIONS!</a:t>
            </a:r>
            <a:endParaRPr lang="en-GB" sz="1500">
              <a:solidFill>
                <a:srgbClr val="262626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8105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0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000"/>
                            </p:stCondLst>
                            <p:childTnLst>
                              <p:par>
                                <p:cTn id="20" presetID="2" presetClass="entr" presetSubtype="8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900" decel="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7000"/>
                            </p:stCondLst>
                            <p:childTnLst>
                              <p:par>
                                <p:cTn id="35" presetID="2" presetClass="entr" presetSubtype="8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7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900" decel="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3" grpId="0"/>
      <p:bldP spid="114" grpId="0"/>
      <p:bldP spid="115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7" name="TextBox 54"/>
          <p:cNvSpPr txBox="1">
            <a:spLocks noChangeArrowheads="1"/>
          </p:cNvSpPr>
          <p:nvPr/>
        </p:nvSpPr>
        <p:spPr bwMode="auto">
          <a:xfrm>
            <a:off x="314325" y="377825"/>
            <a:ext cx="51339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nb-NO" sz="150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FIND</a:t>
            </a:r>
            <a:r>
              <a:rPr lang="nb-NO" sz="1500" b="1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YOUR COUNTRY </a:t>
            </a:r>
            <a:r>
              <a:rPr lang="nb-NO" sz="150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OF CHOICE!</a:t>
            </a:r>
            <a:endParaRPr lang="en-GB" sz="150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9700" name="Rectangle 118"/>
          <p:cNvSpPr>
            <a:spLocks noChangeArrowheads="1"/>
          </p:cNvSpPr>
          <p:nvPr/>
        </p:nvSpPr>
        <p:spPr bwMode="auto">
          <a:xfrm>
            <a:off x="0" y="4357688"/>
            <a:ext cx="9144000" cy="2308225"/>
          </a:xfrm>
          <a:prstGeom prst="rect">
            <a:avLst/>
          </a:prstGeom>
          <a:gradFill rotWithShape="1">
            <a:gsLst>
              <a:gs pos="0">
                <a:srgbClr val="BFBFBF"/>
              </a:gs>
              <a:gs pos="25999">
                <a:srgbClr val="F2F2F2"/>
              </a:gs>
              <a:gs pos="50000">
                <a:srgbClr val="FFFFFF"/>
              </a:gs>
              <a:gs pos="100000">
                <a:srgbClr val="FFFFFF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nb-NO">
              <a:solidFill>
                <a:srgbClr val="FFFFFF"/>
              </a:solidFill>
              <a:latin typeface="Calibri" pitchFamily="34" charset="0"/>
            </a:endParaRPr>
          </a:p>
        </p:txBody>
      </p:sp>
      <p:grpSp>
        <p:nvGrpSpPr>
          <p:cNvPr id="2" name="Group 5"/>
          <p:cNvGrpSpPr/>
          <p:nvPr/>
        </p:nvGrpSpPr>
        <p:grpSpPr>
          <a:xfrm>
            <a:off x="3088386" y="1285860"/>
            <a:ext cx="5841332" cy="3743340"/>
            <a:chOff x="2362200" y="1282700"/>
            <a:chExt cx="6678613" cy="4279900"/>
          </a:xfrm>
          <a:solidFill>
            <a:sysClr val="window" lastClr="FFFFFF">
              <a:lumMod val="75000"/>
            </a:sysClr>
          </a:solidFill>
          <a:effectLst>
            <a:outerShdw blurRad="76200" dist="38100" dir="2700000" algn="tl" rotWithShape="0">
              <a:prstClr val="black">
                <a:alpha val="51000"/>
              </a:prstClr>
            </a:outerShdw>
          </a:effectLst>
        </p:grpSpPr>
        <p:sp>
          <p:nvSpPr>
            <p:cNvPr id="619" name="Line 9"/>
            <p:cNvSpPr>
              <a:spLocks noChangeShapeType="1"/>
            </p:cNvSpPr>
            <p:nvPr/>
          </p:nvSpPr>
          <p:spPr bwMode="auto">
            <a:xfrm>
              <a:off x="3954463" y="3082925"/>
              <a:ext cx="20637" cy="4763"/>
            </a:xfrm>
            <a:prstGeom prst="line">
              <a:avLst/>
            </a:pr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0" name="Freeform 20"/>
            <p:cNvSpPr>
              <a:spLocks noEditPoints="1"/>
            </p:cNvSpPr>
            <p:nvPr/>
          </p:nvSpPr>
          <p:spPr bwMode="auto">
            <a:xfrm>
              <a:off x="4375150" y="1811338"/>
              <a:ext cx="931863" cy="493712"/>
            </a:xfrm>
            <a:custGeom>
              <a:avLst/>
              <a:gdLst/>
              <a:ahLst/>
              <a:cxnLst>
                <a:cxn ang="0">
                  <a:pos x="114" y="870"/>
                </a:cxn>
                <a:cxn ang="0">
                  <a:pos x="98" y="849"/>
                </a:cxn>
                <a:cxn ang="0">
                  <a:pos x="56" y="814"/>
                </a:cxn>
                <a:cxn ang="0">
                  <a:pos x="29" y="743"/>
                </a:cxn>
                <a:cxn ang="0">
                  <a:pos x="1649" y="198"/>
                </a:cxn>
                <a:cxn ang="0">
                  <a:pos x="1865" y="361"/>
                </a:cxn>
                <a:cxn ang="0">
                  <a:pos x="1917" y="408"/>
                </a:cxn>
                <a:cxn ang="0">
                  <a:pos x="2047" y="212"/>
                </a:cxn>
                <a:cxn ang="0">
                  <a:pos x="2161" y="258"/>
                </a:cxn>
                <a:cxn ang="0">
                  <a:pos x="2242" y="331"/>
                </a:cxn>
                <a:cxn ang="0">
                  <a:pos x="2340" y="479"/>
                </a:cxn>
                <a:cxn ang="0">
                  <a:pos x="2493" y="467"/>
                </a:cxn>
                <a:cxn ang="0">
                  <a:pos x="2459" y="604"/>
                </a:cxn>
                <a:cxn ang="0">
                  <a:pos x="2532" y="676"/>
                </a:cxn>
                <a:cxn ang="0">
                  <a:pos x="2509" y="713"/>
                </a:cxn>
                <a:cxn ang="0">
                  <a:pos x="2507" y="771"/>
                </a:cxn>
                <a:cxn ang="0">
                  <a:pos x="2522" y="882"/>
                </a:cxn>
                <a:cxn ang="0">
                  <a:pos x="2407" y="967"/>
                </a:cxn>
                <a:cxn ang="0">
                  <a:pos x="2250" y="945"/>
                </a:cxn>
                <a:cxn ang="0">
                  <a:pos x="2061" y="1129"/>
                </a:cxn>
                <a:cxn ang="0">
                  <a:pos x="1891" y="1252"/>
                </a:cxn>
                <a:cxn ang="0">
                  <a:pos x="1703" y="1289"/>
                </a:cxn>
                <a:cxn ang="0">
                  <a:pos x="1568" y="1141"/>
                </a:cxn>
                <a:cxn ang="0">
                  <a:pos x="1267" y="1124"/>
                </a:cxn>
                <a:cxn ang="0">
                  <a:pos x="1397" y="900"/>
                </a:cxn>
                <a:cxn ang="0">
                  <a:pos x="1465" y="659"/>
                </a:cxn>
                <a:cxn ang="0">
                  <a:pos x="1418" y="485"/>
                </a:cxn>
                <a:cxn ang="0">
                  <a:pos x="1327" y="410"/>
                </a:cxn>
                <a:cxn ang="0">
                  <a:pos x="1214" y="467"/>
                </a:cxn>
                <a:cxn ang="0">
                  <a:pos x="1156" y="568"/>
                </a:cxn>
                <a:cxn ang="0">
                  <a:pos x="1151" y="774"/>
                </a:cxn>
                <a:cxn ang="0">
                  <a:pos x="1012" y="765"/>
                </a:cxn>
                <a:cxn ang="0">
                  <a:pos x="994" y="856"/>
                </a:cxn>
                <a:cxn ang="0">
                  <a:pos x="909" y="888"/>
                </a:cxn>
                <a:cxn ang="0">
                  <a:pos x="762" y="1045"/>
                </a:cxn>
                <a:cxn ang="0">
                  <a:pos x="616" y="1018"/>
                </a:cxn>
                <a:cxn ang="0">
                  <a:pos x="463" y="981"/>
                </a:cxn>
                <a:cxn ang="0">
                  <a:pos x="341" y="1010"/>
                </a:cxn>
                <a:cxn ang="0">
                  <a:pos x="378" y="917"/>
                </a:cxn>
                <a:cxn ang="0">
                  <a:pos x="511" y="825"/>
                </a:cxn>
                <a:cxn ang="0">
                  <a:pos x="411" y="710"/>
                </a:cxn>
                <a:cxn ang="0">
                  <a:pos x="483" y="607"/>
                </a:cxn>
                <a:cxn ang="0">
                  <a:pos x="599" y="652"/>
                </a:cxn>
                <a:cxn ang="0">
                  <a:pos x="832" y="608"/>
                </a:cxn>
                <a:cxn ang="0">
                  <a:pos x="840" y="419"/>
                </a:cxn>
                <a:cxn ang="0">
                  <a:pos x="731" y="324"/>
                </a:cxn>
                <a:cxn ang="0">
                  <a:pos x="721" y="254"/>
                </a:cxn>
                <a:cxn ang="0">
                  <a:pos x="795" y="300"/>
                </a:cxn>
                <a:cxn ang="0">
                  <a:pos x="823" y="203"/>
                </a:cxn>
                <a:cxn ang="0">
                  <a:pos x="764" y="199"/>
                </a:cxn>
                <a:cxn ang="0">
                  <a:pos x="698" y="207"/>
                </a:cxn>
                <a:cxn ang="0">
                  <a:pos x="717" y="127"/>
                </a:cxn>
                <a:cxn ang="0">
                  <a:pos x="806" y="80"/>
                </a:cxn>
                <a:cxn ang="0">
                  <a:pos x="879" y="35"/>
                </a:cxn>
                <a:cxn ang="0">
                  <a:pos x="910" y="8"/>
                </a:cxn>
                <a:cxn ang="0">
                  <a:pos x="944" y="58"/>
                </a:cxn>
                <a:cxn ang="0">
                  <a:pos x="1036" y="123"/>
                </a:cxn>
                <a:cxn ang="0">
                  <a:pos x="1063" y="281"/>
                </a:cxn>
                <a:cxn ang="0">
                  <a:pos x="1101" y="262"/>
                </a:cxn>
                <a:cxn ang="0">
                  <a:pos x="1125" y="215"/>
                </a:cxn>
                <a:cxn ang="0">
                  <a:pos x="1155" y="26"/>
                </a:cxn>
                <a:cxn ang="0">
                  <a:pos x="1282" y="71"/>
                </a:cxn>
                <a:cxn ang="0">
                  <a:pos x="1444" y="198"/>
                </a:cxn>
              </a:cxnLst>
              <a:rect l="0" t="0" r="r" b="b"/>
              <a:pathLst>
                <a:path w="2537" h="1341">
                  <a:moveTo>
                    <a:pt x="212" y="773"/>
                  </a:moveTo>
                  <a:lnTo>
                    <a:pt x="218" y="811"/>
                  </a:lnTo>
                  <a:lnTo>
                    <a:pt x="205" y="896"/>
                  </a:lnTo>
                  <a:lnTo>
                    <a:pt x="152" y="890"/>
                  </a:lnTo>
                  <a:lnTo>
                    <a:pt x="144" y="887"/>
                  </a:lnTo>
                  <a:lnTo>
                    <a:pt x="136" y="884"/>
                  </a:lnTo>
                  <a:lnTo>
                    <a:pt x="135" y="883"/>
                  </a:lnTo>
                  <a:lnTo>
                    <a:pt x="135" y="883"/>
                  </a:lnTo>
                  <a:lnTo>
                    <a:pt x="133" y="883"/>
                  </a:lnTo>
                  <a:lnTo>
                    <a:pt x="133" y="882"/>
                  </a:lnTo>
                  <a:lnTo>
                    <a:pt x="132" y="882"/>
                  </a:lnTo>
                  <a:lnTo>
                    <a:pt x="131" y="882"/>
                  </a:lnTo>
                  <a:lnTo>
                    <a:pt x="127" y="880"/>
                  </a:lnTo>
                  <a:lnTo>
                    <a:pt x="124" y="879"/>
                  </a:lnTo>
                  <a:lnTo>
                    <a:pt x="123" y="879"/>
                  </a:lnTo>
                  <a:lnTo>
                    <a:pt x="122" y="878"/>
                  </a:lnTo>
                  <a:lnTo>
                    <a:pt x="120" y="878"/>
                  </a:lnTo>
                  <a:lnTo>
                    <a:pt x="116" y="874"/>
                  </a:lnTo>
                  <a:lnTo>
                    <a:pt x="114" y="870"/>
                  </a:lnTo>
                  <a:lnTo>
                    <a:pt x="112" y="869"/>
                  </a:lnTo>
                  <a:lnTo>
                    <a:pt x="112" y="867"/>
                  </a:lnTo>
                  <a:lnTo>
                    <a:pt x="111" y="867"/>
                  </a:lnTo>
                  <a:lnTo>
                    <a:pt x="111" y="867"/>
                  </a:lnTo>
                  <a:lnTo>
                    <a:pt x="110" y="866"/>
                  </a:lnTo>
                  <a:lnTo>
                    <a:pt x="110" y="865"/>
                  </a:lnTo>
                  <a:lnTo>
                    <a:pt x="108" y="863"/>
                  </a:lnTo>
                  <a:lnTo>
                    <a:pt x="107" y="862"/>
                  </a:lnTo>
                  <a:lnTo>
                    <a:pt x="107" y="861"/>
                  </a:lnTo>
                  <a:lnTo>
                    <a:pt x="107" y="861"/>
                  </a:lnTo>
                  <a:lnTo>
                    <a:pt x="106" y="858"/>
                  </a:lnTo>
                  <a:lnTo>
                    <a:pt x="105" y="857"/>
                  </a:lnTo>
                  <a:lnTo>
                    <a:pt x="103" y="856"/>
                  </a:lnTo>
                  <a:lnTo>
                    <a:pt x="103" y="854"/>
                  </a:lnTo>
                  <a:lnTo>
                    <a:pt x="103" y="853"/>
                  </a:lnTo>
                  <a:lnTo>
                    <a:pt x="103" y="852"/>
                  </a:lnTo>
                  <a:lnTo>
                    <a:pt x="101" y="852"/>
                  </a:lnTo>
                  <a:lnTo>
                    <a:pt x="99" y="850"/>
                  </a:lnTo>
                  <a:lnTo>
                    <a:pt x="98" y="849"/>
                  </a:lnTo>
                  <a:lnTo>
                    <a:pt x="97" y="845"/>
                  </a:lnTo>
                  <a:lnTo>
                    <a:pt x="94" y="842"/>
                  </a:lnTo>
                  <a:lnTo>
                    <a:pt x="93" y="841"/>
                  </a:lnTo>
                  <a:lnTo>
                    <a:pt x="91" y="839"/>
                  </a:lnTo>
                  <a:lnTo>
                    <a:pt x="89" y="836"/>
                  </a:lnTo>
                  <a:lnTo>
                    <a:pt x="87" y="835"/>
                  </a:lnTo>
                  <a:lnTo>
                    <a:pt x="86" y="835"/>
                  </a:lnTo>
                  <a:lnTo>
                    <a:pt x="86" y="833"/>
                  </a:lnTo>
                  <a:lnTo>
                    <a:pt x="84" y="831"/>
                  </a:lnTo>
                  <a:lnTo>
                    <a:pt x="81" y="829"/>
                  </a:lnTo>
                  <a:lnTo>
                    <a:pt x="76" y="825"/>
                  </a:lnTo>
                  <a:lnTo>
                    <a:pt x="72" y="823"/>
                  </a:lnTo>
                  <a:lnTo>
                    <a:pt x="69" y="820"/>
                  </a:lnTo>
                  <a:lnTo>
                    <a:pt x="67" y="819"/>
                  </a:lnTo>
                  <a:lnTo>
                    <a:pt x="65" y="819"/>
                  </a:lnTo>
                  <a:lnTo>
                    <a:pt x="64" y="818"/>
                  </a:lnTo>
                  <a:lnTo>
                    <a:pt x="61" y="816"/>
                  </a:lnTo>
                  <a:lnTo>
                    <a:pt x="59" y="815"/>
                  </a:lnTo>
                  <a:lnTo>
                    <a:pt x="56" y="814"/>
                  </a:lnTo>
                  <a:lnTo>
                    <a:pt x="53" y="814"/>
                  </a:lnTo>
                  <a:lnTo>
                    <a:pt x="50" y="811"/>
                  </a:lnTo>
                  <a:lnTo>
                    <a:pt x="47" y="808"/>
                  </a:lnTo>
                  <a:lnTo>
                    <a:pt x="44" y="808"/>
                  </a:lnTo>
                  <a:lnTo>
                    <a:pt x="42" y="807"/>
                  </a:lnTo>
                  <a:lnTo>
                    <a:pt x="40" y="806"/>
                  </a:lnTo>
                  <a:lnTo>
                    <a:pt x="40" y="805"/>
                  </a:lnTo>
                  <a:lnTo>
                    <a:pt x="39" y="803"/>
                  </a:lnTo>
                  <a:lnTo>
                    <a:pt x="38" y="803"/>
                  </a:lnTo>
                  <a:lnTo>
                    <a:pt x="36" y="802"/>
                  </a:lnTo>
                  <a:lnTo>
                    <a:pt x="36" y="802"/>
                  </a:lnTo>
                  <a:lnTo>
                    <a:pt x="33" y="799"/>
                  </a:lnTo>
                  <a:lnTo>
                    <a:pt x="30" y="797"/>
                  </a:lnTo>
                  <a:lnTo>
                    <a:pt x="27" y="791"/>
                  </a:lnTo>
                  <a:lnTo>
                    <a:pt x="23" y="788"/>
                  </a:lnTo>
                  <a:lnTo>
                    <a:pt x="0" y="754"/>
                  </a:lnTo>
                  <a:lnTo>
                    <a:pt x="12" y="750"/>
                  </a:lnTo>
                  <a:lnTo>
                    <a:pt x="22" y="746"/>
                  </a:lnTo>
                  <a:lnTo>
                    <a:pt x="29" y="743"/>
                  </a:lnTo>
                  <a:lnTo>
                    <a:pt x="35" y="740"/>
                  </a:lnTo>
                  <a:lnTo>
                    <a:pt x="42" y="739"/>
                  </a:lnTo>
                  <a:lnTo>
                    <a:pt x="47" y="739"/>
                  </a:lnTo>
                  <a:lnTo>
                    <a:pt x="57" y="742"/>
                  </a:lnTo>
                  <a:lnTo>
                    <a:pt x="67" y="746"/>
                  </a:lnTo>
                  <a:lnTo>
                    <a:pt x="77" y="752"/>
                  </a:lnTo>
                  <a:lnTo>
                    <a:pt x="87" y="759"/>
                  </a:lnTo>
                  <a:lnTo>
                    <a:pt x="101" y="765"/>
                  </a:lnTo>
                  <a:lnTo>
                    <a:pt x="115" y="771"/>
                  </a:lnTo>
                  <a:lnTo>
                    <a:pt x="125" y="772"/>
                  </a:lnTo>
                  <a:lnTo>
                    <a:pt x="137" y="773"/>
                  </a:lnTo>
                  <a:lnTo>
                    <a:pt x="149" y="774"/>
                  </a:lnTo>
                  <a:lnTo>
                    <a:pt x="161" y="774"/>
                  </a:lnTo>
                  <a:lnTo>
                    <a:pt x="187" y="774"/>
                  </a:lnTo>
                  <a:lnTo>
                    <a:pt x="212" y="773"/>
                  </a:lnTo>
                  <a:close/>
                  <a:moveTo>
                    <a:pt x="1564" y="154"/>
                  </a:moveTo>
                  <a:lnTo>
                    <a:pt x="1613" y="182"/>
                  </a:lnTo>
                  <a:lnTo>
                    <a:pt x="1631" y="190"/>
                  </a:lnTo>
                  <a:lnTo>
                    <a:pt x="1649" y="198"/>
                  </a:lnTo>
                  <a:lnTo>
                    <a:pt x="1670" y="203"/>
                  </a:lnTo>
                  <a:lnTo>
                    <a:pt x="1690" y="208"/>
                  </a:lnTo>
                  <a:lnTo>
                    <a:pt x="1733" y="219"/>
                  </a:lnTo>
                  <a:lnTo>
                    <a:pt x="1774" y="230"/>
                  </a:lnTo>
                  <a:lnTo>
                    <a:pt x="1793" y="238"/>
                  </a:lnTo>
                  <a:lnTo>
                    <a:pt x="1810" y="246"/>
                  </a:lnTo>
                  <a:lnTo>
                    <a:pt x="1818" y="251"/>
                  </a:lnTo>
                  <a:lnTo>
                    <a:pt x="1826" y="256"/>
                  </a:lnTo>
                  <a:lnTo>
                    <a:pt x="1834" y="263"/>
                  </a:lnTo>
                  <a:lnTo>
                    <a:pt x="1840" y="270"/>
                  </a:lnTo>
                  <a:lnTo>
                    <a:pt x="1847" y="276"/>
                  </a:lnTo>
                  <a:lnTo>
                    <a:pt x="1852" y="284"/>
                  </a:lnTo>
                  <a:lnTo>
                    <a:pt x="1856" y="293"/>
                  </a:lnTo>
                  <a:lnTo>
                    <a:pt x="1860" y="302"/>
                  </a:lnTo>
                  <a:lnTo>
                    <a:pt x="1864" y="311"/>
                  </a:lnTo>
                  <a:lnTo>
                    <a:pt x="1865" y="323"/>
                  </a:lnTo>
                  <a:lnTo>
                    <a:pt x="1866" y="335"/>
                  </a:lnTo>
                  <a:lnTo>
                    <a:pt x="1868" y="347"/>
                  </a:lnTo>
                  <a:lnTo>
                    <a:pt x="1865" y="361"/>
                  </a:lnTo>
                  <a:lnTo>
                    <a:pt x="1862" y="373"/>
                  </a:lnTo>
                  <a:lnTo>
                    <a:pt x="1859" y="386"/>
                  </a:lnTo>
                  <a:lnTo>
                    <a:pt x="1856" y="399"/>
                  </a:lnTo>
                  <a:lnTo>
                    <a:pt x="1857" y="408"/>
                  </a:lnTo>
                  <a:lnTo>
                    <a:pt x="1857" y="415"/>
                  </a:lnTo>
                  <a:lnTo>
                    <a:pt x="1859" y="420"/>
                  </a:lnTo>
                  <a:lnTo>
                    <a:pt x="1860" y="421"/>
                  </a:lnTo>
                  <a:lnTo>
                    <a:pt x="1862" y="421"/>
                  </a:lnTo>
                  <a:lnTo>
                    <a:pt x="1865" y="420"/>
                  </a:lnTo>
                  <a:lnTo>
                    <a:pt x="1868" y="419"/>
                  </a:lnTo>
                  <a:lnTo>
                    <a:pt x="1870" y="415"/>
                  </a:lnTo>
                  <a:lnTo>
                    <a:pt x="1879" y="408"/>
                  </a:lnTo>
                  <a:lnTo>
                    <a:pt x="1889" y="403"/>
                  </a:lnTo>
                  <a:lnTo>
                    <a:pt x="1894" y="402"/>
                  </a:lnTo>
                  <a:lnTo>
                    <a:pt x="1899" y="402"/>
                  </a:lnTo>
                  <a:lnTo>
                    <a:pt x="1906" y="404"/>
                  </a:lnTo>
                  <a:lnTo>
                    <a:pt x="1912" y="408"/>
                  </a:lnTo>
                  <a:lnTo>
                    <a:pt x="1915" y="408"/>
                  </a:lnTo>
                  <a:lnTo>
                    <a:pt x="1917" y="408"/>
                  </a:lnTo>
                  <a:lnTo>
                    <a:pt x="1923" y="406"/>
                  </a:lnTo>
                  <a:lnTo>
                    <a:pt x="1927" y="402"/>
                  </a:lnTo>
                  <a:lnTo>
                    <a:pt x="1938" y="391"/>
                  </a:lnTo>
                  <a:lnTo>
                    <a:pt x="1951" y="379"/>
                  </a:lnTo>
                  <a:lnTo>
                    <a:pt x="1976" y="353"/>
                  </a:lnTo>
                  <a:lnTo>
                    <a:pt x="1995" y="338"/>
                  </a:lnTo>
                  <a:lnTo>
                    <a:pt x="2002" y="332"/>
                  </a:lnTo>
                  <a:lnTo>
                    <a:pt x="2009" y="327"/>
                  </a:lnTo>
                  <a:lnTo>
                    <a:pt x="2015" y="322"/>
                  </a:lnTo>
                  <a:lnTo>
                    <a:pt x="2021" y="317"/>
                  </a:lnTo>
                  <a:lnTo>
                    <a:pt x="2029" y="306"/>
                  </a:lnTo>
                  <a:lnTo>
                    <a:pt x="2034" y="293"/>
                  </a:lnTo>
                  <a:lnTo>
                    <a:pt x="2038" y="281"/>
                  </a:lnTo>
                  <a:lnTo>
                    <a:pt x="2039" y="268"/>
                  </a:lnTo>
                  <a:lnTo>
                    <a:pt x="2040" y="256"/>
                  </a:lnTo>
                  <a:lnTo>
                    <a:pt x="2040" y="245"/>
                  </a:lnTo>
                  <a:lnTo>
                    <a:pt x="2042" y="233"/>
                  </a:lnTo>
                  <a:lnTo>
                    <a:pt x="2043" y="222"/>
                  </a:lnTo>
                  <a:lnTo>
                    <a:pt x="2047" y="212"/>
                  </a:lnTo>
                  <a:lnTo>
                    <a:pt x="2052" y="204"/>
                  </a:lnTo>
                  <a:lnTo>
                    <a:pt x="2056" y="200"/>
                  </a:lnTo>
                  <a:lnTo>
                    <a:pt x="2060" y="196"/>
                  </a:lnTo>
                  <a:lnTo>
                    <a:pt x="2065" y="194"/>
                  </a:lnTo>
                  <a:lnTo>
                    <a:pt x="2070" y="191"/>
                  </a:lnTo>
                  <a:lnTo>
                    <a:pt x="2078" y="190"/>
                  </a:lnTo>
                  <a:lnTo>
                    <a:pt x="2086" y="188"/>
                  </a:lnTo>
                  <a:lnTo>
                    <a:pt x="2094" y="187"/>
                  </a:lnTo>
                  <a:lnTo>
                    <a:pt x="2104" y="187"/>
                  </a:lnTo>
                  <a:lnTo>
                    <a:pt x="2119" y="188"/>
                  </a:lnTo>
                  <a:lnTo>
                    <a:pt x="2131" y="191"/>
                  </a:lnTo>
                  <a:lnTo>
                    <a:pt x="2140" y="195"/>
                  </a:lnTo>
                  <a:lnTo>
                    <a:pt x="2146" y="200"/>
                  </a:lnTo>
                  <a:lnTo>
                    <a:pt x="2152" y="207"/>
                  </a:lnTo>
                  <a:lnTo>
                    <a:pt x="2154" y="215"/>
                  </a:lnTo>
                  <a:lnTo>
                    <a:pt x="2157" y="222"/>
                  </a:lnTo>
                  <a:lnTo>
                    <a:pt x="2158" y="230"/>
                  </a:lnTo>
                  <a:lnTo>
                    <a:pt x="2159" y="245"/>
                  </a:lnTo>
                  <a:lnTo>
                    <a:pt x="2161" y="258"/>
                  </a:lnTo>
                  <a:lnTo>
                    <a:pt x="2163" y="262"/>
                  </a:lnTo>
                  <a:lnTo>
                    <a:pt x="2167" y="264"/>
                  </a:lnTo>
                  <a:lnTo>
                    <a:pt x="2172" y="266"/>
                  </a:lnTo>
                  <a:lnTo>
                    <a:pt x="2179" y="266"/>
                  </a:lnTo>
                  <a:lnTo>
                    <a:pt x="2195" y="262"/>
                  </a:lnTo>
                  <a:lnTo>
                    <a:pt x="2205" y="260"/>
                  </a:lnTo>
                  <a:lnTo>
                    <a:pt x="2208" y="259"/>
                  </a:lnTo>
                  <a:lnTo>
                    <a:pt x="2210" y="259"/>
                  </a:lnTo>
                  <a:lnTo>
                    <a:pt x="2213" y="260"/>
                  </a:lnTo>
                  <a:lnTo>
                    <a:pt x="2214" y="262"/>
                  </a:lnTo>
                  <a:lnTo>
                    <a:pt x="2214" y="277"/>
                  </a:lnTo>
                  <a:lnTo>
                    <a:pt x="2213" y="311"/>
                  </a:lnTo>
                  <a:lnTo>
                    <a:pt x="2213" y="317"/>
                  </a:lnTo>
                  <a:lnTo>
                    <a:pt x="2214" y="322"/>
                  </a:lnTo>
                  <a:lnTo>
                    <a:pt x="2216" y="326"/>
                  </a:lnTo>
                  <a:lnTo>
                    <a:pt x="2218" y="328"/>
                  </a:lnTo>
                  <a:lnTo>
                    <a:pt x="2225" y="331"/>
                  </a:lnTo>
                  <a:lnTo>
                    <a:pt x="2233" y="331"/>
                  </a:lnTo>
                  <a:lnTo>
                    <a:pt x="2242" y="331"/>
                  </a:lnTo>
                  <a:lnTo>
                    <a:pt x="2250" y="332"/>
                  </a:lnTo>
                  <a:lnTo>
                    <a:pt x="2254" y="334"/>
                  </a:lnTo>
                  <a:lnTo>
                    <a:pt x="2257" y="336"/>
                  </a:lnTo>
                  <a:lnTo>
                    <a:pt x="2261" y="339"/>
                  </a:lnTo>
                  <a:lnTo>
                    <a:pt x="2264" y="343"/>
                  </a:lnTo>
                  <a:lnTo>
                    <a:pt x="2280" y="365"/>
                  </a:lnTo>
                  <a:lnTo>
                    <a:pt x="2299" y="393"/>
                  </a:lnTo>
                  <a:lnTo>
                    <a:pt x="2307" y="407"/>
                  </a:lnTo>
                  <a:lnTo>
                    <a:pt x="2314" y="423"/>
                  </a:lnTo>
                  <a:lnTo>
                    <a:pt x="2316" y="429"/>
                  </a:lnTo>
                  <a:lnTo>
                    <a:pt x="2318" y="437"/>
                  </a:lnTo>
                  <a:lnTo>
                    <a:pt x="2318" y="444"/>
                  </a:lnTo>
                  <a:lnTo>
                    <a:pt x="2316" y="450"/>
                  </a:lnTo>
                  <a:lnTo>
                    <a:pt x="2315" y="457"/>
                  </a:lnTo>
                  <a:lnTo>
                    <a:pt x="2316" y="463"/>
                  </a:lnTo>
                  <a:lnTo>
                    <a:pt x="2320" y="467"/>
                  </a:lnTo>
                  <a:lnTo>
                    <a:pt x="2325" y="472"/>
                  </a:lnTo>
                  <a:lnTo>
                    <a:pt x="2332" y="475"/>
                  </a:lnTo>
                  <a:lnTo>
                    <a:pt x="2340" y="479"/>
                  </a:lnTo>
                  <a:lnTo>
                    <a:pt x="2349" y="480"/>
                  </a:lnTo>
                  <a:lnTo>
                    <a:pt x="2359" y="483"/>
                  </a:lnTo>
                  <a:lnTo>
                    <a:pt x="2399" y="488"/>
                  </a:lnTo>
                  <a:lnTo>
                    <a:pt x="2426" y="489"/>
                  </a:lnTo>
                  <a:lnTo>
                    <a:pt x="2430" y="491"/>
                  </a:lnTo>
                  <a:lnTo>
                    <a:pt x="2433" y="489"/>
                  </a:lnTo>
                  <a:lnTo>
                    <a:pt x="2434" y="488"/>
                  </a:lnTo>
                  <a:lnTo>
                    <a:pt x="2437" y="488"/>
                  </a:lnTo>
                  <a:lnTo>
                    <a:pt x="2441" y="484"/>
                  </a:lnTo>
                  <a:lnTo>
                    <a:pt x="2446" y="481"/>
                  </a:lnTo>
                  <a:lnTo>
                    <a:pt x="2456" y="478"/>
                  </a:lnTo>
                  <a:lnTo>
                    <a:pt x="2467" y="471"/>
                  </a:lnTo>
                  <a:lnTo>
                    <a:pt x="2473" y="467"/>
                  </a:lnTo>
                  <a:lnTo>
                    <a:pt x="2479" y="464"/>
                  </a:lnTo>
                  <a:lnTo>
                    <a:pt x="2484" y="463"/>
                  </a:lnTo>
                  <a:lnTo>
                    <a:pt x="2490" y="463"/>
                  </a:lnTo>
                  <a:lnTo>
                    <a:pt x="2492" y="464"/>
                  </a:lnTo>
                  <a:lnTo>
                    <a:pt x="2492" y="467"/>
                  </a:lnTo>
                  <a:lnTo>
                    <a:pt x="2493" y="467"/>
                  </a:lnTo>
                  <a:lnTo>
                    <a:pt x="2493" y="468"/>
                  </a:lnTo>
                  <a:lnTo>
                    <a:pt x="2494" y="479"/>
                  </a:lnTo>
                  <a:lnTo>
                    <a:pt x="2494" y="489"/>
                  </a:lnTo>
                  <a:lnTo>
                    <a:pt x="2494" y="501"/>
                  </a:lnTo>
                  <a:lnTo>
                    <a:pt x="2492" y="512"/>
                  </a:lnTo>
                  <a:lnTo>
                    <a:pt x="2490" y="519"/>
                  </a:lnTo>
                  <a:lnTo>
                    <a:pt x="2488" y="531"/>
                  </a:lnTo>
                  <a:lnTo>
                    <a:pt x="2486" y="543"/>
                  </a:lnTo>
                  <a:lnTo>
                    <a:pt x="2484" y="551"/>
                  </a:lnTo>
                  <a:lnTo>
                    <a:pt x="2476" y="563"/>
                  </a:lnTo>
                  <a:lnTo>
                    <a:pt x="2469" y="576"/>
                  </a:lnTo>
                  <a:lnTo>
                    <a:pt x="2469" y="578"/>
                  </a:lnTo>
                  <a:lnTo>
                    <a:pt x="2468" y="581"/>
                  </a:lnTo>
                  <a:lnTo>
                    <a:pt x="2465" y="583"/>
                  </a:lnTo>
                  <a:lnTo>
                    <a:pt x="2465" y="589"/>
                  </a:lnTo>
                  <a:lnTo>
                    <a:pt x="2463" y="594"/>
                  </a:lnTo>
                  <a:lnTo>
                    <a:pt x="2460" y="597"/>
                  </a:lnTo>
                  <a:lnTo>
                    <a:pt x="2459" y="601"/>
                  </a:lnTo>
                  <a:lnTo>
                    <a:pt x="2459" y="604"/>
                  </a:lnTo>
                  <a:lnTo>
                    <a:pt x="2462" y="608"/>
                  </a:lnTo>
                  <a:lnTo>
                    <a:pt x="2464" y="612"/>
                  </a:lnTo>
                  <a:lnTo>
                    <a:pt x="2468" y="616"/>
                  </a:lnTo>
                  <a:lnTo>
                    <a:pt x="2472" y="618"/>
                  </a:lnTo>
                  <a:lnTo>
                    <a:pt x="2477" y="619"/>
                  </a:lnTo>
                  <a:lnTo>
                    <a:pt x="2481" y="616"/>
                  </a:lnTo>
                  <a:lnTo>
                    <a:pt x="2486" y="614"/>
                  </a:lnTo>
                  <a:lnTo>
                    <a:pt x="2486" y="612"/>
                  </a:lnTo>
                  <a:lnTo>
                    <a:pt x="2488" y="612"/>
                  </a:lnTo>
                  <a:lnTo>
                    <a:pt x="2488" y="611"/>
                  </a:lnTo>
                  <a:lnTo>
                    <a:pt x="2489" y="611"/>
                  </a:lnTo>
                  <a:lnTo>
                    <a:pt x="2493" y="610"/>
                  </a:lnTo>
                  <a:lnTo>
                    <a:pt x="2496" y="608"/>
                  </a:lnTo>
                  <a:lnTo>
                    <a:pt x="2501" y="607"/>
                  </a:lnTo>
                  <a:lnTo>
                    <a:pt x="2506" y="607"/>
                  </a:lnTo>
                  <a:lnTo>
                    <a:pt x="2513" y="607"/>
                  </a:lnTo>
                  <a:lnTo>
                    <a:pt x="2518" y="608"/>
                  </a:lnTo>
                  <a:lnTo>
                    <a:pt x="2537" y="621"/>
                  </a:lnTo>
                  <a:lnTo>
                    <a:pt x="2532" y="676"/>
                  </a:lnTo>
                  <a:lnTo>
                    <a:pt x="2532" y="678"/>
                  </a:lnTo>
                  <a:lnTo>
                    <a:pt x="2531" y="678"/>
                  </a:lnTo>
                  <a:lnTo>
                    <a:pt x="2530" y="680"/>
                  </a:lnTo>
                  <a:lnTo>
                    <a:pt x="2530" y="683"/>
                  </a:lnTo>
                  <a:lnTo>
                    <a:pt x="2528" y="688"/>
                  </a:lnTo>
                  <a:lnTo>
                    <a:pt x="2527" y="693"/>
                  </a:lnTo>
                  <a:lnTo>
                    <a:pt x="2526" y="695"/>
                  </a:lnTo>
                  <a:lnTo>
                    <a:pt x="2526" y="696"/>
                  </a:lnTo>
                  <a:lnTo>
                    <a:pt x="2524" y="696"/>
                  </a:lnTo>
                  <a:lnTo>
                    <a:pt x="2523" y="697"/>
                  </a:lnTo>
                  <a:lnTo>
                    <a:pt x="2522" y="701"/>
                  </a:lnTo>
                  <a:lnTo>
                    <a:pt x="2520" y="704"/>
                  </a:lnTo>
                  <a:lnTo>
                    <a:pt x="2518" y="708"/>
                  </a:lnTo>
                  <a:lnTo>
                    <a:pt x="2515" y="709"/>
                  </a:lnTo>
                  <a:lnTo>
                    <a:pt x="2514" y="709"/>
                  </a:lnTo>
                  <a:lnTo>
                    <a:pt x="2513" y="709"/>
                  </a:lnTo>
                  <a:lnTo>
                    <a:pt x="2511" y="712"/>
                  </a:lnTo>
                  <a:lnTo>
                    <a:pt x="2510" y="713"/>
                  </a:lnTo>
                  <a:lnTo>
                    <a:pt x="2509" y="713"/>
                  </a:lnTo>
                  <a:lnTo>
                    <a:pt x="2506" y="716"/>
                  </a:lnTo>
                  <a:lnTo>
                    <a:pt x="2505" y="718"/>
                  </a:lnTo>
                  <a:lnTo>
                    <a:pt x="2502" y="720"/>
                  </a:lnTo>
                  <a:lnTo>
                    <a:pt x="2501" y="721"/>
                  </a:lnTo>
                  <a:lnTo>
                    <a:pt x="2498" y="721"/>
                  </a:lnTo>
                  <a:lnTo>
                    <a:pt x="2498" y="721"/>
                  </a:lnTo>
                  <a:lnTo>
                    <a:pt x="2497" y="723"/>
                  </a:lnTo>
                  <a:lnTo>
                    <a:pt x="2494" y="723"/>
                  </a:lnTo>
                  <a:lnTo>
                    <a:pt x="2493" y="723"/>
                  </a:lnTo>
                  <a:lnTo>
                    <a:pt x="2492" y="725"/>
                  </a:lnTo>
                  <a:lnTo>
                    <a:pt x="2492" y="727"/>
                  </a:lnTo>
                  <a:lnTo>
                    <a:pt x="2493" y="731"/>
                  </a:lnTo>
                  <a:lnTo>
                    <a:pt x="2494" y="734"/>
                  </a:lnTo>
                  <a:lnTo>
                    <a:pt x="2494" y="735"/>
                  </a:lnTo>
                  <a:lnTo>
                    <a:pt x="2494" y="739"/>
                  </a:lnTo>
                  <a:lnTo>
                    <a:pt x="2496" y="743"/>
                  </a:lnTo>
                  <a:lnTo>
                    <a:pt x="2501" y="752"/>
                  </a:lnTo>
                  <a:lnTo>
                    <a:pt x="2505" y="763"/>
                  </a:lnTo>
                  <a:lnTo>
                    <a:pt x="2507" y="771"/>
                  </a:lnTo>
                  <a:lnTo>
                    <a:pt x="2513" y="784"/>
                  </a:lnTo>
                  <a:lnTo>
                    <a:pt x="2516" y="797"/>
                  </a:lnTo>
                  <a:lnTo>
                    <a:pt x="2519" y="803"/>
                  </a:lnTo>
                  <a:lnTo>
                    <a:pt x="2524" y="811"/>
                  </a:lnTo>
                  <a:lnTo>
                    <a:pt x="2528" y="819"/>
                  </a:lnTo>
                  <a:lnTo>
                    <a:pt x="2531" y="828"/>
                  </a:lnTo>
                  <a:lnTo>
                    <a:pt x="2535" y="845"/>
                  </a:lnTo>
                  <a:lnTo>
                    <a:pt x="2536" y="853"/>
                  </a:lnTo>
                  <a:lnTo>
                    <a:pt x="2535" y="861"/>
                  </a:lnTo>
                  <a:lnTo>
                    <a:pt x="2535" y="865"/>
                  </a:lnTo>
                  <a:lnTo>
                    <a:pt x="2533" y="867"/>
                  </a:lnTo>
                  <a:lnTo>
                    <a:pt x="2532" y="869"/>
                  </a:lnTo>
                  <a:lnTo>
                    <a:pt x="2531" y="870"/>
                  </a:lnTo>
                  <a:lnTo>
                    <a:pt x="2530" y="871"/>
                  </a:lnTo>
                  <a:lnTo>
                    <a:pt x="2530" y="873"/>
                  </a:lnTo>
                  <a:lnTo>
                    <a:pt x="2527" y="877"/>
                  </a:lnTo>
                  <a:lnTo>
                    <a:pt x="2524" y="880"/>
                  </a:lnTo>
                  <a:lnTo>
                    <a:pt x="2524" y="882"/>
                  </a:lnTo>
                  <a:lnTo>
                    <a:pt x="2522" y="882"/>
                  </a:lnTo>
                  <a:lnTo>
                    <a:pt x="2522" y="883"/>
                  </a:lnTo>
                  <a:lnTo>
                    <a:pt x="2520" y="884"/>
                  </a:lnTo>
                  <a:lnTo>
                    <a:pt x="2519" y="886"/>
                  </a:lnTo>
                  <a:lnTo>
                    <a:pt x="2518" y="887"/>
                  </a:lnTo>
                  <a:lnTo>
                    <a:pt x="2516" y="887"/>
                  </a:lnTo>
                  <a:lnTo>
                    <a:pt x="2514" y="887"/>
                  </a:lnTo>
                  <a:lnTo>
                    <a:pt x="2506" y="891"/>
                  </a:lnTo>
                  <a:lnTo>
                    <a:pt x="2498" y="895"/>
                  </a:lnTo>
                  <a:lnTo>
                    <a:pt x="2489" y="896"/>
                  </a:lnTo>
                  <a:lnTo>
                    <a:pt x="2481" y="899"/>
                  </a:lnTo>
                  <a:lnTo>
                    <a:pt x="2481" y="899"/>
                  </a:lnTo>
                  <a:lnTo>
                    <a:pt x="2480" y="899"/>
                  </a:lnTo>
                  <a:lnTo>
                    <a:pt x="2475" y="899"/>
                  </a:lnTo>
                  <a:lnTo>
                    <a:pt x="2469" y="901"/>
                  </a:lnTo>
                  <a:lnTo>
                    <a:pt x="2455" y="913"/>
                  </a:lnTo>
                  <a:lnTo>
                    <a:pt x="2442" y="928"/>
                  </a:lnTo>
                  <a:lnTo>
                    <a:pt x="2429" y="943"/>
                  </a:lnTo>
                  <a:lnTo>
                    <a:pt x="2414" y="959"/>
                  </a:lnTo>
                  <a:lnTo>
                    <a:pt x="2407" y="967"/>
                  </a:lnTo>
                  <a:lnTo>
                    <a:pt x="2399" y="973"/>
                  </a:lnTo>
                  <a:lnTo>
                    <a:pt x="2390" y="980"/>
                  </a:lnTo>
                  <a:lnTo>
                    <a:pt x="2380" y="985"/>
                  </a:lnTo>
                  <a:lnTo>
                    <a:pt x="2370" y="990"/>
                  </a:lnTo>
                  <a:lnTo>
                    <a:pt x="2358" y="993"/>
                  </a:lnTo>
                  <a:lnTo>
                    <a:pt x="2346" y="996"/>
                  </a:lnTo>
                  <a:lnTo>
                    <a:pt x="2333" y="997"/>
                  </a:lnTo>
                  <a:lnTo>
                    <a:pt x="2324" y="996"/>
                  </a:lnTo>
                  <a:lnTo>
                    <a:pt x="2316" y="992"/>
                  </a:lnTo>
                  <a:lnTo>
                    <a:pt x="2310" y="986"/>
                  </a:lnTo>
                  <a:lnTo>
                    <a:pt x="2305" y="980"/>
                  </a:lnTo>
                  <a:lnTo>
                    <a:pt x="2294" y="964"/>
                  </a:lnTo>
                  <a:lnTo>
                    <a:pt x="2285" y="950"/>
                  </a:lnTo>
                  <a:lnTo>
                    <a:pt x="2281" y="943"/>
                  </a:lnTo>
                  <a:lnTo>
                    <a:pt x="2276" y="938"/>
                  </a:lnTo>
                  <a:lnTo>
                    <a:pt x="2271" y="935"/>
                  </a:lnTo>
                  <a:lnTo>
                    <a:pt x="2264" y="935"/>
                  </a:lnTo>
                  <a:lnTo>
                    <a:pt x="2257" y="938"/>
                  </a:lnTo>
                  <a:lnTo>
                    <a:pt x="2250" y="945"/>
                  </a:lnTo>
                  <a:lnTo>
                    <a:pt x="2240" y="954"/>
                  </a:lnTo>
                  <a:lnTo>
                    <a:pt x="2230" y="968"/>
                  </a:lnTo>
                  <a:lnTo>
                    <a:pt x="2223" y="980"/>
                  </a:lnTo>
                  <a:lnTo>
                    <a:pt x="2218" y="994"/>
                  </a:lnTo>
                  <a:lnTo>
                    <a:pt x="2214" y="1010"/>
                  </a:lnTo>
                  <a:lnTo>
                    <a:pt x="2210" y="1027"/>
                  </a:lnTo>
                  <a:lnTo>
                    <a:pt x="2204" y="1054"/>
                  </a:lnTo>
                  <a:lnTo>
                    <a:pt x="2199" y="1071"/>
                  </a:lnTo>
                  <a:lnTo>
                    <a:pt x="2195" y="1075"/>
                  </a:lnTo>
                  <a:lnTo>
                    <a:pt x="2189" y="1079"/>
                  </a:lnTo>
                  <a:lnTo>
                    <a:pt x="2183" y="1083"/>
                  </a:lnTo>
                  <a:lnTo>
                    <a:pt x="2175" y="1086"/>
                  </a:lnTo>
                  <a:lnTo>
                    <a:pt x="2158" y="1092"/>
                  </a:lnTo>
                  <a:lnTo>
                    <a:pt x="2140" y="1099"/>
                  </a:lnTo>
                  <a:lnTo>
                    <a:pt x="2120" y="1104"/>
                  </a:lnTo>
                  <a:lnTo>
                    <a:pt x="2101" y="1109"/>
                  </a:lnTo>
                  <a:lnTo>
                    <a:pt x="2084" y="1116"/>
                  </a:lnTo>
                  <a:lnTo>
                    <a:pt x="2069" y="1122"/>
                  </a:lnTo>
                  <a:lnTo>
                    <a:pt x="2061" y="1129"/>
                  </a:lnTo>
                  <a:lnTo>
                    <a:pt x="2055" y="1139"/>
                  </a:lnTo>
                  <a:lnTo>
                    <a:pt x="2048" y="1150"/>
                  </a:lnTo>
                  <a:lnTo>
                    <a:pt x="2042" y="1162"/>
                  </a:lnTo>
                  <a:lnTo>
                    <a:pt x="2035" y="1172"/>
                  </a:lnTo>
                  <a:lnTo>
                    <a:pt x="2027" y="1181"/>
                  </a:lnTo>
                  <a:lnTo>
                    <a:pt x="2025" y="1185"/>
                  </a:lnTo>
                  <a:lnTo>
                    <a:pt x="2019" y="1188"/>
                  </a:lnTo>
                  <a:lnTo>
                    <a:pt x="2015" y="1190"/>
                  </a:lnTo>
                  <a:lnTo>
                    <a:pt x="2012" y="1192"/>
                  </a:lnTo>
                  <a:lnTo>
                    <a:pt x="1988" y="1193"/>
                  </a:lnTo>
                  <a:lnTo>
                    <a:pt x="1955" y="1198"/>
                  </a:lnTo>
                  <a:lnTo>
                    <a:pt x="1940" y="1201"/>
                  </a:lnTo>
                  <a:lnTo>
                    <a:pt x="1925" y="1205"/>
                  </a:lnTo>
                  <a:lnTo>
                    <a:pt x="1920" y="1207"/>
                  </a:lnTo>
                  <a:lnTo>
                    <a:pt x="1915" y="1209"/>
                  </a:lnTo>
                  <a:lnTo>
                    <a:pt x="1911" y="1211"/>
                  </a:lnTo>
                  <a:lnTo>
                    <a:pt x="1908" y="1215"/>
                  </a:lnTo>
                  <a:lnTo>
                    <a:pt x="1898" y="1234"/>
                  </a:lnTo>
                  <a:lnTo>
                    <a:pt x="1891" y="1252"/>
                  </a:lnTo>
                  <a:lnTo>
                    <a:pt x="1886" y="1269"/>
                  </a:lnTo>
                  <a:lnTo>
                    <a:pt x="1883" y="1283"/>
                  </a:lnTo>
                  <a:lnTo>
                    <a:pt x="1879" y="1309"/>
                  </a:lnTo>
                  <a:lnTo>
                    <a:pt x="1877" y="1328"/>
                  </a:lnTo>
                  <a:lnTo>
                    <a:pt x="1876" y="1332"/>
                  </a:lnTo>
                  <a:lnTo>
                    <a:pt x="1873" y="1334"/>
                  </a:lnTo>
                  <a:lnTo>
                    <a:pt x="1870" y="1337"/>
                  </a:lnTo>
                  <a:lnTo>
                    <a:pt x="1868" y="1338"/>
                  </a:lnTo>
                  <a:lnTo>
                    <a:pt x="1860" y="1341"/>
                  </a:lnTo>
                  <a:lnTo>
                    <a:pt x="1849" y="1341"/>
                  </a:lnTo>
                  <a:lnTo>
                    <a:pt x="1834" y="1338"/>
                  </a:lnTo>
                  <a:lnTo>
                    <a:pt x="1815" y="1334"/>
                  </a:lnTo>
                  <a:lnTo>
                    <a:pt x="1791" y="1326"/>
                  </a:lnTo>
                  <a:lnTo>
                    <a:pt x="1760" y="1317"/>
                  </a:lnTo>
                  <a:lnTo>
                    <a:pt x="1747" y="1312"/>
                  </a:lnTo>
                  <a:lnTo>
                    <a:pt x="1736" y="1307"/>
                  </a:lnTo>
                  <a:lnTo>
                    <a:pt x="1724" y="1302"/>
                  </a:lnTo>
                  <a:lnTo>
                    <a:pt x="1713" y="1295"/>
                  </a:lnTo>
                  <a:lnTo>
                    <a:pt x="1703" y="1289"/>
                  </a:lnTo>
                  <a:lnTo>
                    <a:pt x="1692" y="1282"/>
                  </a:lnTo>
                  <a:lnTo>
                    <a:pt x="1683" y="1274"/>
                  </a:lnTo>
                  <a:lnTo>
                    <a:pt x="1675" y="1266"/>
                  </a:lnTo>
                  <a:lnTo>
                    <a:pt x="1666" y="1258"/>
                  </a:lnTo>
                  <a:lnTo>
                    <a:pt x="1660" y="1249"/>
                  </a:lnTo>
                  <a:lnTo>
                    <a:pt x="1653" y="1239"/>
                  </a:lnTo>
                  <a:lnTo>
                    <a:pt x="1647" y="1230"/>
                  </a:lnTo>
                  <a:lnTo>
                    <a:pt x="1641" y="1218"/>
                  </a:lnTo>
                  <a:lnTo>
                    <a:pt x="1636" y="1207"/>
                  </a:lnTo>
                  <a:lnTo>
                    <a:pt x="1631" y="1196"/>
                  </a:lnTo>
                  <a:lnTo>
                    <a:pt x="1627" y="1183"/>
                  </a:lnTo>
                  <a:lnTo>
                    <a:pt x="1626" y="1177"/>
                  </a:lnTo>
                  <a:lnTo>
                    <a:pt x="1623" y="1172"/>
                  </a:lnTo>
                  <a:lnTo>
                    <a:pt x="1619" y="1167"/>
                  </a:lnTo>
                  <a:lnTo>
                    <a:pt x="1615" y="1163"/>
                  </a:lnTo>
                  <a:lnTo>
                    <a:pt x="1606" y="1155"/>
                  </a:lnTo>
                  <a:lnTo>
                    <a:pt x="1596" y="1149"/>
                  </a:lnTo>
                  <a:lnTo>
                    <a:pt x="1583" y="1145"/>
                  </a:lnTo>
                  <a:lnTo>
                    <a:pt x="1568" y="1141"/>
                  </a:lnTo>
                  <a:lnTo>
                    <a:pt x="1554" y="1139"/>
                  </a:lnTo>
                  <a:lnTo>
                    <a:pt x="1537" y="1138"/>
                  </a:lnTo>
                  <a:lnTo>
                    <a:pt x="1521" y="1138"/>
                  </a:lnTo>
                  <a:lnTo>
                    <a:pt x="1505" y="1139"/>
                  </a:lnTo>
                  <a:lnTo>
                    <a:pt x="1488" y="1141"/>
                  </a:lnTo>
                  <a:lnTo>
                    <a:pt x="1473" y="1143"/>
                  </a:lnTo>
                  <a:lnTo>
                    <a:pt x="1444" y="1149"/>
                  </a:lnTo>
                  <a:lnTo>
                    <a:pt x="1420" y="1155"/>
                  </a:lnTo>
                  <a:lnTo>
                    <a:pt x="1390" y="1163"/>
                  </a:lnTo>
                  <a:lnTo>
                    <a:pt x="1347" y="1172"/>
                  </a:lnTo>
                  <a:lnTo>
                    <a:pt x="1326" y="1175"/>
                  </a:lnTo>
                  <a:lnTo>
                    <a:pt x="1305" y="1176"/>
                  </a:lnTo>
                  <a:lnTo>
                    <a:pt x="1296" y="1176"/>
                  </a:lnTo>
                  <a:lnTo>
                    <a:pt x="1288" y="1175"/>
                  </a:lnTo>
                  <a:lnTo>
                    <a:pt x="1282" y="1173"/>
                  </a:lnTo>
                  <a:lnTo>
                    <a:pt x="1278" y="1172"/>
                  </a:lnTo>
                  <a:lnTo>
                    <a:pt x="1274" y="1164"/>
                  </a:lnTo>
                  <a:lnTo>
                    <a:pt x="1271" y="1147"/>
                  </a:lnTo>
                  <a:lnTo>
                    <a:pt x="1267" y="1124"/>
                  </a:lnTo>
                  <a:lnTo>
                    <a:pt x="1263" y="1096"/>
                  </a:lnTo>
                  <a:lnTo>
                    <a:pt x="1257" y="1041"/>
                  </a:lnTo>
                  <a:lnTo>
                    <a:pt x="1252" y="1009"/>
                  </a:lnTo>
                  <a:lnTo>
                    <a:pt x="1246" y="988"/>
                  </a:lnTo>
                  <a:lnTo>
                    <a:pt x="1242" y="954"/>
                  </a:lnTo>
                  <a:lnTo>
                    <a:pt x="1240" y="938"/>
                  </a:lnTo>
                  <a:lnTo>
                    <a:pt x="1240" y="924"/>
                  </a:lnTo>
                  <a:lnTo>
                    <a:pt x="1240" y="918"/>
                  </a:lnTo>
                  <a:lnTo>
                    <a:pt x="1240" y="914"/>
                  </a:lnTo>
                  <a:lnTo>
                    <a:pt x="1241" y="912"/>
                  </a:lnTo>
                  <a:lnTo>
                    <a:pt x="1242" y="911"/>
                  </a:lnTo>
                  <a:lnTo>
                    <a:pt x="1347" y="914"/>
                  </a:lnTo>
                  <a:lnTo>
                    <a:pt x="1356" y="914"/>
                  </a:lnTo>
                  <a:lnTo>
                    <a:pt x="1364" y="913"/>
                  </a:lnTo>
                  <a:lnTo>
                    <a:pt x="1371" y="912"/>
                  </a:lnTo>
                  <a:lnTo>
                    <a:pt x="1378" y="911"/>
                  </a:lnTo>
                  <a:lnTo>
                    <a:pt x="1385" y="908"/>
                  </a:lnTo>
                  <a:lnTo>
                    <a:pt x="1392" y="904"/>
                  </a:lnTo>
                  <a:lnTo>
                    <a:pt x="1397" y="900"/>
                  </a:lnTo>
                  <a:lnTo>
                    <a:pt x="1402" y="896"/>
                  </a:lnTo>
                  <a:lnTo>
                    <a:pt x="1413" y="886"/>
                  </a:lnTo>
                  <a:lnTo>
                    <a:pt x="1420" y="875"/>
                  </a:lnTo>
                  <a:lnTo>
                    <a:pt x="1428" y="861"/>
                  </a:lnTo>
                  <a:lnTo>
                    <a:pt x="1433" y="846"/>
                  </a:lnTo>
                  <a:lnTo>
                    <a:pt x="1437" y="836"/>
                  </a:lnTo>
                  <a:lnTo>
                    <a:pt x="1440" y="825"/>
                  </a:lnTo>
                  <a:lnTo>
                    <a:pt x="1441" y="815"/>
                  </a:lnTo>
                  <a:lnTo>
                    <a:pt x="1441" y="805"/>
                  </a:lnTo>
                  <a:lnTo>
                    <a:pt x="1441" y="784"/>
                  </a:lnTo>
                  <a:lnTo>
                    <a:pt x="1440" y="764"/>
                  </a:lnTo>
                  <a:lnTo>
                    <a:pt x="1437" y="744"/>
                  </a:lnTo>
                  <a:lnTo>
                    <a:pt x="1437" y="725"/>
                  </a:lnTo>
                  <a:lnTo>
                    <a:pt x="1439" y="716"/>
                  </a:lnTo>
                  <a:lnTo>
                    <a:pt x="1440" y="706"/>
                  </a:lnTo>
                  <a:lnTo>
                    <a:pt x="1443" y="697"/>
                  </a:lnTo>
                  <a:lnTo>
                    <a:pt x="1445" y="689"/>
                  </a:lnTo>
                  <a:lnTo>
                    <a:pt x="1454" y="675"/>
                  </a:lnTo>
                  <a:lnTo>
                    <a:pt x="1465" y="659"/>
                  </a:lnTo>
                  <a:lnTo>
                    <a:pt x="1477" y="645"/>
                  </a:lnTo>
                  <a:lnTo>
                    <a:pt x="1490" y="631"/>
                  </a:lnTo>
                  <a:lnTo>
                    <a:pt x="1516" y="602"/>
                  </a:lnTo>
                  <a:lnTo>
                    <a:pt x="1538" y="573"/>
                  </a:lnTo>
                  <a:lnTo>
                    <a:pt x="1538" y="570"/>
                  </a:lnTo>
                  <a:lnTo>
                    <a:pt x="1539" y="568"/>
                  </a:lnTo>
                  <a:lnTo>
                    <a:pt x="1538" y="565"/>
                  </a:lnTo>
                  <a:lnTo>
                    <a:pt x="1537" y="561"/>
                  </a:lnTo>
                  <a:lnTo>
                    <a:pt x="1533" y="552"/>
                  </a:lnTo>
                  <a:lnTo>
                    <a:pt x="1526" y="543"/>
                  </a:lnTo>
                  <a:lnTo>
                    <a:pt x="1512" y="525"/>
                  </a:lnTo>
                  <a:lnTo>
                    <a:pt x="1499" y="508"/>
                  </a:lnTo>
                  <a:lnTo>
                    <a:pt x="1494" y="502"/>
                  </a:lnTo>
                  <a:lnTo>
                    <a:pt x="1487" y="498"/>
                  </a:lnTo>
                  <a:lnTo>
                    <a:pt x="1479" y="495"/>
                  </a:lnTo>
                  <a:lnTo>
                    <a:pt x="1471" y="492"/>
                  </a:lnTo>
                  <a:lnTo>
                    <a:pt x="1454" y="489"/>
                  </a:lnTo>
                  <a:lnTo>
                    <a:pt x="1435" y="487"/>
                  </a:lnTo>
                  <a:lnTo>
                    <a:pt x="1418" y="485"/>
                  </a:lnTo>
                  <a:lnTo>
                    <a:pt x="1401" y="481"/>
                  </a:lnTo>
                  <a:lnTo>
                    <a:pt x="1394" y="479"/>
                  </a:lnTo>
                  <a:lnTo>
                    <a:pt x="1388" y="475"/>
                  </a:lnTo>
                  <a:lnTo>
                    <a:pt x="1382" y="471"/>
                  </a:lnTo>
                  <a:lnTo>
                    <a:pt x="1378" y="464"/>
                  </a:lnTo>
                  <a:lnTo>
                    <a:pt x="1377" y="458"/>
                  </a:lnTo>
                  <a:lnTo>
                    <a:pt x="1376" y="449"/>
                  </a:lnTo>
                  <a:lnTo>
                    <a:pt x="1376" y="440"/>
                  </a:lnTo>
                  <a:lnTo>
                    <a:pt x="1376" y="429"/>
                  </a:lnTo>
                  <a:lnTo>
                    <a:pt x="1376" y="419"/>
                  </a:lnTo>
                  <a:lnTo>
                    <a:pt x="1375" y="411"/>
                  </a:lnTo>
                  <a:lnTo>
                    <a:pt x="1373" y="408"/>
                  </a:lnTo>
                  <a:lnTo>
                    <a:pt x="1372" y="406"/>
                  </a:lnTo>
                  <a:lnTo>
                    <a:pt x="1369" y="404"/>
                  </a:lnTo>
                  <a:lnTo>
                    <a:pt x="1368" y="404"/>
                  </a:lnTo>
                  <a:lnTo>
                    <a:pt x="1348" y="406"/>
                  </a:lnTo>
                  <a:lnTo>
                    <a:pt x="1335" y="407"/>
                  </a:lnTo>
                  <a:lnTo>
                    <a:pt x="1331" y="408"/>
                  </a:lnTo>
                  <a:lnTo>
                    <a:pt x="1327" y="410"/>
                  </a:lnTo>
                  <a:lnTo>
                    <a:pt x="1325" y="411"/>
                  </a:lnTo>
                  <a:lnTo>
                    <a:pt x="1324" y="413"/>
                  </a:lnTo>
                  <a:lnTo>
                    <a:pt x="1322" y="419"/>
                  </a:lnTo>
                  <a:lnTo>
                    <a:pt x="1322" y="427"/>
                  </a:lnTo>
                  <a:lnTo>
                    <a:pt x="1324" y="437"/>
                  </a:lnTo>
                  <a:lnTo>
                    <a:pt x="1324" y="451"/>
                  </a:lnTo>
                  <a:lnTo>
                    <a:pt x="1324" y="461"/>
                  </a:lnTo>
                  <a:lnTo>
                    <a:pt x="1322" y="467"/>
                  </a:lnTo>
                  <a:lnTo>
                    <a:pt x="1320" y="474"/>
                  </a:lnTo>
                  <a:lnTo>
                    <a:pt x="1316" y="478"/>
                  </a:lnTo>
                  <a:lnTo>
                    <a:pt x="1312" y="481"/>
                  </a:lnTo>
                  <a:lnTo>
                    <a:pt x="1307" y="484"/>
                  </a:lnTo>
                  <a:lnTo>
                    <a:pt x="1301" y="485"/>
                  </a:lnTo>
                  <a:lnTo>
                    <a:pt x="1295" y="487"/>
                  </a:lnTo>
                  <a:lnTo>
                    <a:pt x="1280" y="485"/>
                  </a:lnTo>
                  <a:lnTo>
                    <a:pt x="1266" y="483"/>
                  </a:lnTo>
                  <a:lnTo>
                    <a:pt x="1249" y="479"/>
                  </a:lnTo>
                  <a:lnTo>
                    <a:pt x="1232" y="474"/>
                  </a:lnTo>
                  <a:lnTo>
                    <a:pt x="1214" y="467"/>
                  </a:lnTo>
                  <a:lnTo>
                    <a:pt x="1198" y="463"/>
                  </a:lnTo>
                  <a:lnTo>
                    <a:pt x="1182" y="459"/>
                  </a:lnTo>
                  <a:lnTo>
                    <a:pt x="1168" y="457"/>
                  </a:lnTo>
                  <a:lnTo>
                    <a:pt x="1161" y="457"/>
                  </a:lnTo>
                  <a:lnTo>
                    <a:pt x="1156" y="457"/>
                  </a:lnTo>
                  <a:lnTo>
                    <a:pt x="1151" y="458"/>
                  </a:lnTo>
                  <a:lnTo>
                    <a:pt x="1147" y="461"/>
                  </a:lnTo>
                  <a:lnTo>
                    <a:pt x="1144" y="463"/>
                  </a:lnTo>
                  <a:lnTo>
                    <a:pt x="1142" y="468"/>
                  </a:lnTo>
                  <a:lnTo>
                    <a:pt x="1140" y="474"/>
                  </a:lnTo>
                  <a:lnTo>
                    <a:pt x="1139" y="480"/>
                  </a:lnTo>
                  <a:lnTo>
                    <a:pt x="1137" y="515"/>
                  </a:lnTo>
                  <a:lnTo>
                    <a:pt x="1135" y="540"/>
                  </a:lnTo>
                  <a:lnTo>
                    <a:pt x="1135" y="546"/>
                  </a:lnTo>
                  <a:lnTo>
                    <a:pt x="1138" y="551"/>
                  </a:lnTo>
                  <a:lnTo>
                    <a:pt x="1140" y="555"/>
                  </a:lnTo>
                  <a:lnTo>
                    <a:pt x="1144" y="560"/>
                  </a:lnTo>
                  <a:lnTo>
                    <a:pt x="1150" y="564"/>
                  </a:lnTo>
                  <a:lnTo>
                    <a:pt x="1156" y="568"/>
                  </a:lnTo>
                  <a:lnTo>
                    <a:pt x="1165" y="572"/>
                  </a:lnTo>
                  <a:lnTo>
                    <a:pt x="1176" y="576"/>
                  </a:lnTo>
                  <a:lnTo>
                    <a:pt x="1184" y="580"/>
                  </a:lnTo>
                  <a:lnTo>
                    <a:pt x="1190" y="585"/>
                  </a:lnTo>
                  <a:lnTo>
                    <a:pt x="1194" y="591"/>
                  </a:lnTo>
                  <a:lnTo>
                    <a:pt x="1198" y="598"/>
                  </a:lnTo>
                  <a:lnTo>
                    <a:pt x="1199" y="606"/>
                  </a:lnTo>
                  <a:lnTo>
                    <a:pt x="1201" y="614"/>
                  </a:lnTo>
                  <a:lnTo>
                    <a:pt x="1201" y="623"/>
                  </a:lnTo>
                  <a:lnTo>
                    <a:pt x="1199" y="632"/>
                  </a:lnTo>
                  <a:lnTo>
                    <a:pt x="1195" y="652"/>
                  </a:lnTo>
                  <a:lnTo>
                    <a:pt x="1189" y="671"/>
                  </a:lnTo>
                  <a:lnTo>
                    <a:pt x="1182" y="688"/>
                  </a:lnTo>
                  <a:lnTo>
                    <a:pt x="1176" y="704"/>
                  </a:lnTo>
                  <a:lnTo>
                    <a:pt x="1165" y="734"/>
                  </a:lnTo>
                  <a:lnTo>
                    <a:pt x="1159" y="756"/>
                  </a:lnTo>
                  <a:lnTo>
                    <a:pt x="1156" y="764"/>
                  </a:lnTo>
                  <a:lnTo>
                    <a:pt x="1154" y="769"/>
                  </a:lnTo>
                  <a:lnTo>
                    <a:pt x="1151" y="774"/>
                  </a:lnTo>
                  <a:lnTo>
                    <a:pt x="1148" y="778"/>
                  </a:lnTo>
                  <a:lnTo>
                    <a:pt x="1144" y="781"/>
                  </a:lnTo>
                  <a:lnTo>
                    <a:pt x="1139" y="784"/>
                  </a:lnTo>
                  <a:lnTo>
                    <a:pt x="1134" y="785"/>
                  </a:lnTo>
                  <a:lnTo>
                    <a:pt x="1126" y="785"/>
                  </a:lnTo>
                  <a:lnTo>
                    <a:pt x="1104" y="786"/>
                  </a:lnTo>
                  <a:lnTo>
                    <a:pt x="1072" y="789"/>
                  </a:lnTo>
                  <a:lnTo>
                    <a:pt x="1063" y="794"/>
                  </a:lnTo>
                  <a:lnTo>
                    <a:pt x="1050" y="803"/>
                  </a:lnTo>
                  <a:lnTo>
                    <a:pt x="1042" y="807"/>
                  </a:lnTo>
                  <a:lnTo>
                    <a:pt x="1036" y="808"/>
                  </a:lnTo>
                  <a:lnTo>
                    <a:pt x="1032" y="808"/>
                  </a:lnTo>
                  <a:lnTo>
                    <a:pt x="1029" y="808"/>
                  </a:lnTo>
                  <a:lnTo>
                    <a:pt x="1027" y="806"/>
                  </a:lnTo>
                  <a:lnTo>
                    <a:pt x="1024" y="803"/>
                  </a:lnTo>
                  <a:lnTo>
                    <a:pt x="1020" y="791"/>
                  </a:lnTo>
                  <a:lnTo>
                    <a:pt x="1016" y="778"/>
                  </a:lnTo>
                  <a:lnTo>
                    <a:pt x="1015" y="772"/>
                  </a:lnTo>
                  <a:lnTo>
                    <a:pt x="1012" y="765"/>
                  </a:lnTo>
                  <a:lnTo>
                    <a:pt x="1010" y="764"/>
                  </a:lnTo>
                  <a:lnTo>
                    <a:pt x="1008" y="763"/>
                  </a:lnTo>
                  <a:lnTo>
                    <a:pt x="1006" y="761"/>
                  </a:lnTo>
                  <a:lnTo>
                    <a:pt x="1003" y="761"/>
                  </a:lnTo>
                  <a:lnTo>
                    <a:pt x="995" y="761"/>
                  </a:lnTo>
                  <a:lnTo>
                    <a:pt x="989" y="763"/>
                  </a:lnTo>
                  <a:lnTo>
                    <a:pt x="983" y="765"/>
                  </a:lnTo>
                  <a:lnTo>
                    <a:pt x="980" y="768"/>
                  </a:lnTo>
                  <a:lnTo>
                    <a:pt x="977" y="772"/>
                  </a:lnTo>
                  <a:lnTo>
                    <a:pt x="976" y="776"/>
                  </a:lnTo>
                  <a:lnTo>
                    <a:pt x="974" y="781"/>
                  </a:lnTo>
                  <a:lnTo>
                    <a:pt x="974" y="786"/>
                  </a:lnTo>
                  <a:lnTo>
                    <a:pt x="977" y="811"/>
                  </a:lnTo>
                  <a:lnTo>
                    <a:pt x="981" y="837"/>
                  </a:lnTo>
                  <a:lnTo>
                    <a:pt x="981" y="842"/>
                  </a:lnTo>
                  <a:lnTo>
                    <a:pt x="982" y="846"/>
                  </a:lnTo>
                  <a:lnTo>
                    <a:pt x="985" y="850"/>
                  </a:lnTo>
                  <a:lnTo>
                    <a:pt x="987" y="853"/>
                  </a:lnTo>
                  <a:lnTo>
                    <a:pt x="994" y="856"/>
                  </a:lnTo>
                  <a:lnTo>
                    <a:pt x="1002" y="858"/>
                  </a:lnTo>
                  <a:lnTo>
                    <a:pt x="1010" y="861"/>
                  </a:lnTo>
                  <a:lnTo>
                    <a:pt x="1016" y="865"/>
                  </a:lnTo>
                  <a:lnTo>
                    <a:pt x="1020" y="867"/>
                  </a:lnTo>
                  <a:lnTo>
                    <a:pt x="1023" y="870"/>
                  </a:lnTo>
                  <a:lnTo>
                    <a:pt x="1024" y="875"/>
                  </a:lnTo>
                  <a:lnTo>
                    <a:pt x="1025" y="880"/>
                  </a:lnTo>
                  <a:lnTo>
                    <a:pt x="1024" y="884"/>
                  </a:lnTo>
                  <a:lnTo>
                    <a:pt x="1023" y="888"/>
                  </a:lnTo>
                  <a:lnTo>
                    <a:pt x="1019" y="891"/>
                  </a:lnTo>
                  <a:lnTo>
                    <a:pt x="1014" y="894"/>
                  </a:lnTo>
                  <a:lnTo>
                    <a:pt x="1002" y="896"/>
                  </a:lnTo>
                  <a:lnTo>
                    <a:pt x="987" y="896"/>
                  </a:lnTo>
                  <a:lnTo>
                    <a:pt x="970" y="895"/>
                  </a:lnTo>
                  <a:lnTo>
                    <a:pt x="956" y="894"/>
                  </a:lnTo>
                  <a:lnTo>
                    <a:pt x="943" y="891"/>
                  </a:lnTo>
                  <a:lnTo>
                    <a:pt x="935" y="890"/>
                  </a:lnTo>
                  <a:lnTo>
                    <a:pt x="925" y="888"/>
                  </a:lnTo>
                  <a:lnTo>
                    <a:pt x="909" y="888"/>
                  </a:lnTo>
                  <a:lnTo>
                    <a:pt x="891" y="891"/>
                  </a:lnTo>
                  <a:lnTo>
                    <a:pt x="870" y="894"/>
                  </a:lnTo>
                  <a:lnTo>
                    <a:pt x="850" y="897"/>
                  </a:lnTo>
                  <a:lnTo>
                    <a:pt x="833" y="901"/>
                  </a:lnTo>
                  <a:lnTo>
                    <a:pt x="821" y="905"/>
                  </a:lnTo>
                  <a:lnTo>
                    <a:pt x="817" y="909"/>
                  </a:lnTo>
                  <a:lnTo>
                    <a:pt x="816" y="946"/>
                  </a:lnTo>
                  <a:lnTo>
                    <a:pt x="811" y="997"/>
                  </a:lnTo>
                  <a:lnTo>
                    <a:pt x="808" y="1009"/>
                  </a:lnTo>
                  <a:lnTo>
                    <a:pt x="804" y="1019"/>
                  </a:lnTo>
                  <a:lnTo>
                    <a:pt x="800" y="1030"/>
                  </a:lnTo>
                  <a:lnTo>
                    <a:pt x="794" y="1037"/>
                  </a:lnTo>
                  <a:lnTo>
                    <a:pt x="791" y="1040"/>
                  </a:lnTo>
                  <a:lnTo>
                    <a:pt x="787" y="1043"/>
                  </a:lnTo>
                  <a:lnTo>
                    <a:pt x="782" y="1044"/>
                  </a:lnTo>
                  <a:lnTo>
                    <a:pt x="778" y="1045"/>
                  </a:lnTo>
                  <a:lnTo>
                    <a:pt x="773" y="1047"/>
                  </a:lnTo>
                  <a:lnTo>
                    <a:pt x="768" y="1045"/>
                  </a:lnTo>
                  <a:lnTo>
                    <a:pt x="762" y="1045"/>
                  </a:lnTo>
                  <a:lnTo>
                    <a:pt x="756" y="1043"/>
                  </a:lnTo>
                  <a:lnTo>
                    <a:pt x="749" y="1041"/>
                  </a:lnTo>
                  <a:lnTo>
                    <a:pt x="744" y="1040"/>
                  </a:lnTo>
                  <a:lnTo>
                    <a:pt x="739" y="1041"/>
                  </a:lnTo>
                  <a:lnTo>
                    <a:pt x="734" y="1043"/>
                  </a:lnTo>
                  <a:lnTo>
                    <a:pt x="724" y="1047"/>
                  </a:lnTo>
                  <a:lnTo>
                    <a:pt x="715" y="1053"/>
                  </a:lnTo>
                  <a:lnTo>
                    <a:pt x="707" y="1060"/>
                  </a:lnTo>
                  <a:lnTo>
                    <a:pt x="697" y="1066"/>
                  </a:lnTo>
                  <a:lnTo>
                    <a:pt x="692" y="1067"/>
                  </a:lnTo>
                  <a:lnTo>
                    <a:pt x="687" y="1069"/>
                  </a:lnTo>
                  <a:lnTo>
                    <a:pt x="680" y="1069"/>
                  </a:lnTo>
                  <a:lnTo>
                    <a:pt x="673" y="1067"/>
                  </a:lnTo>
                  <a:lnTo>
                    <a:pt x="662" y="1064"/>
                  </a:lnTo>
                  <a:lnTo>
                    <a:pt x="650" y="1057"/>
                  </a:lnTo>
                  <a:lnTo>
                    <a:pt x="641" y="1049"/>
                  </a:lnTo>
                  <a:lnTo>
                    <a:pt x="632" y="1039"/>
                  </a:lnTo>
                  <a:lnTo>
                    <a:pt x="624" y="1028"/>
                  </a:lnTo>
                  <a:lnTo>
                    <a:pt x="616" y="1018"/>
                  </a:lnTo>
                  <a:lnTo>
                    <a:pt x="611" y="1007"/>
                  </a:lnTo>
                  <a:lnTo>
                    <a:pt x="605" y="997"/>
                  </a:lnTo>
                  <a:lnTo>
                    <a:pt x="600" y="988"/>
                  </a:lnTo>
                  <a:lnTo>
                    <a:pt x="595" y="980"/>
                  </a:lnTo>
                  <a:lnTo>
                    <a:pt x="591" y="973"/>
                  </a:lnTo>
                  <a:lnTo>
                    <a:pt x="586" y="969"/>
                  </a:lnTo>
                  <a:lnTo>
                    <a:pt x="582" y="967"/>
                  </a:lnTo>
                  <a:lnTo>
                    <a:pt x="577" y="964"/>
                  </a:lnTo>
                  <a:lnTo>
                    <a:pt x="573" y="963"/>
                  </a:lnTo>
                  <a:lnTo>
                    <a:pt x="568" y="963"/>
                  </a:lnTo>
                  <a:lnTo>
                    <a:pt x="544" y="965"/>
                  </a:lnTo>
                  <a:lnTo>
                    <a:pt x="510" y="965"/>
                  </a:lnTo>
                  <a:lnTo>
                    <a:pt x="498" y="964"/>
                  </a:lnTo>
                  <a:lnTo>
                    <a:pt x="488" y="964"/>
                  </a:lnTo>
                  <a:lnTo>
                    <a:pt x="480" y="965"/>
                  </a:lnTo>
                  <a:lnTo>
                    <a:pt x="473" y="968"/>
                  </a:lnTo>
                  <a:lnTo>
                    <a:pt x="469" y="972"/>
                  </a:lnTo>
                  <a:lnTo>
                    <a:pt x="466" y="976"/>
                  </a:lnTo>
                  <a:lnTo>
                    <a:pt x="463" y="981"/>
                  </a:lnTo>
                  <a:lnTo>
                    <a:pt x="462" y="986"/>
                  </a:lnTo>
                  <a:lnTo>
                    <a:pt x="463" y="1016"/>
                  </a:lnTo>
                  <a:lnTo>
                    <a:pt x="463" y="1054"/>
                  </a:lnTo>
                  <a:lnTo>
                    <a:pt x="460" y="1098"/>
                  </a:lnTo>
                  <a:lnTo>
                    <a:pt x="425" y="1099"/>
                  </a:lnTo>
                  <a:lnTo>
                    <a:pt x="407" y="1100"/>
                  </a:lnTo>
                  <a:lnTo>
                    <a:pt x="388" y="1100"/>
                  </a:lnTo>
                  <a:lnTo>
                    <a:pt x="371" y="1099"/>
                  </a:lnTo>
                  <a:lnTo>
                    <a:pt x="356" y="1096"/>
                  </a:lnTo>
                  <a:lnTo>
                    <a:pt x="354" y="1088"/>
                  </a:lnTo>
                  <a:lnTo>
                    <a:pt x="356" y="1070"/>
                  </a:lnTo>
                  <a:lnTo>
                    <a:pt x="358" y="1052"/>
                  </a:lnTo>
                  <a:lnTo>
                    <a:pt x="360" y="1039"/>
                  </a:lnTo>
                  <a:lnTo>
                    <a:pt x="361" y="1031"/>
                  </a:lnTo>
                  <a:lnTo>
                    <a:pt x="362" y="1024"/>
                  </a:lnTo>
                  <a:lnTo>
                    <a:pt x="361" y="1019"/>
                  </a:lnTo>
                  <a:lnTo>
                    <a:pt x="360" y="1016"/>
                  </a:lnTo>
                  <a:lnTo>
                    <a:pt x="353" y="1013"/>
                  </a:lnTo>
                  <a:lnTo>
                    <a:pt x="341" y="1010"/>
                  </a:lnTo>
                  <a:lnTo>
                    <a:pt x="327" y="1006"/>
                  </a:lnTo>
                  <a:lnTo>
                    <a:pt x="316" y="1001"/>
                  </a:lnTo>
                  <a:lnTo>
                    <a:pt x="309" y="993"/>
                  </a:lnTo>
                  <a:lnTo>
                    <a:pt x="299" y="984"/>
                  </a:lnTo>
                  <a:lnTo>
                    <a:pt x="289" y="973"/>
                  </a:lnTo>
                  <a:lnTo>
                    <a:pt x="276" y="960"/>
                  </a:lnTo>
                  <a:lnTo>
                    <a:pt x="261" y="947"/>
                  </a:lnTo>
                  <a:lnTo>
                    <a:pt x="250" y="938"/>
                  </a:lnTo>
                  <a:lnTo>
                    <a:pt x="205" y="896"/>
                  </a:lnTo>
                  <a:lnTo>
                    <a:pt x="284" y="900"/>
                  </a:lnTo>
                  <a:lnTo>
                    <a:pt x="297" y="901"/>
                  </a:lnTo>
                  <a:lnTo>
                    <a:pt x="311" y="907"/>
                  </a:lnTo>
                  <a:lnTo>
                    <a:pt x="327" y="912"/>
                  </a:lnTo>
                  <a:lnTo>
                    <a:pt x="341" y="917"/>
                  </a:lnTo>
                  <a:lnTo>
                    <a:pt x="349" y="918"/>
                  </a:lnTo>
                  <a:lnTo>
                    <a:pt x="357" y="920"/>
                  </a:lnTo>
                  <a:lnTo>
                    <a:pt x="363" y="920"/>
                  </a:lnTo>
                  <a:lnTo>
                    <a:pt x="371" y="918"/>
                  </a:lnTo>
                  <a:lnTo>
                    <a:pt x="378" y="917"/>
                  </a:lnTo>
                  <a:lnTo>
                    <a:pt x="386" y="913"/>
                  </a:lnTo>
                  <a:lnTo>
                    <a:pt x="392" y="907"/>
                  </a:lnTo>
                  <a:lnTo>
                    <a:pt x="397" y="899"/>
                  </a:lnTo>
                  <a:lnTo>
                    <a:pt x="403" y="895"/>
                  </a:lnTo>
                  <a:lnTo>
                    <a:pt x="407" y="891"/>
                  </a:lnTo>
                  <a:lnTo>
                    <a:pt x="412" y="890"/>
                  </a:lnTo>
                  <a:lnTo>
                    <a:pt x="417" y="888"/>
                  </a:lnTo>
                  <a:lnTo>
                    <a:pt x="428" y="891"/>
                  </a:lnTo>
                  <a:lnTo>
                    <a:pt x="439" y="895"/>
                  </a:lnTo>
                  <a:lnTo>
                    <a:pt x="450" y="899"/>
                  </a:lnTo>
                  <a:lnTo>
                    <a:pt x="460" y="901"/>
                  </a:lnTo>
                  <a:lnTo>
                    <a:pt x="464" y="901"/>
                  </a:lnTo>
                  <a:lnTo>
                    <a:pt x="469" y="900"/>
                  </a:lnTo>
                  <a:lnTo>
                    <a:pt x="473" y="899"/>
                  </a:lnTo>
                  <a:lnTo>
                    <a:pt x="477" y="894"/>
                  </a:lnTo>
                  <a:lnTo>
                    <a:pt x="486" y="878"/>
                  </a:lnTo>
                  <a:lnTo>
                    <a:pt x="496" y="861"/>
                  </a:lnTo>
                  <a:lnTo>
                    <a:pt x="502" y="842"/>
                  </a:lnTo>
                  <a:lnTo>
                    <a:pt x="511" y="825"/>
                  </a:lnTo>
                  <a:lnTo>
                    <a:pt x="514" y="818"/>
                  </a:lnTo>
                  <a:lnTo>
                    <a:pt x="515" y="811"/>
                  </a:lnTo>
                  <a:lnTo>
                    <a:pt x="515" y="805"/>
                  </a:lnTo>
                  <a:lnTo>
                    <a:pt x="514" y="799"/>
                  </a:lnTo>
                  <a:lnTo>
                    <a:pt x="513" y="793"/>
                  </a:lnTo>
                  <a:lnTo>
                    <a:pt x="510" y="788"/>
                  </a:lnTo>
                  <a:lnTo>
                    <a:pt x="506" y="782"/>
                  </a:lnTo>
                  <a:lnTo>
                    <a:pt x="502" y="777"/>
                  </a:lnTo>
                  <a:lnTo>
                    <a:pt x="498" y="769"/>
                  </a:lnTo>
                  <a:lnTo>
                    <a:pt x="494" y="761"/>
                  </a:lnTo>
                  <a:lnTo>
                    <a:pt x="490" y="752"/>
                  </a:lnTo>
                  <a:lnTo>
                    <a:pt x="486" y="743"/>
                  </a:lnTo>
                  <a:lnTo>
                    <a:pt x="484" y="734"/>
                  </a:lnTo>
                  <a:lnTo>
                    <a:pt x="480" y="725"/>
                  </a:lnTo>
                  <a:lnTo>
                    <a:pt x="475" y="718"/>
                  </a:lnTo>
                  <a:lnTo>
                    <a:pt x="469" y="712"/>
                  </a:lnTo>
                  <a:lnTo>
                    <a:pt x="458" y="712"/>
                  </a:lnTo>
                  <a:lnTo>
                    <a:pt x="434" y="710"/>
                  </a:lnTo>
                  <a:lnTo>
                    <a:pt x="411" y="710"/>
                  </a:lnTo>
                  <a:lnTo>
                    <a:pt x="397" y="710"/>
                  </a:lnTo>
                  <a:lnTo>
                    <a:pt x="380" y="705"/>
                  </a:lnTo>
                  <a:lnTo>
                    <a:pt x="388" y="695"/>
                  </a:lnTo>
                  <a:lnTo>
                    <a:pt x="395" y="684"/>
                  </a:lnTo>
                  <a:lnTo>
                    <a:pt x="401" y="672"/>
                  </a:lnTo>
                  <a:lnTo>
                    <a:pt x="404" y="663"/>
                  </a:lnTo>
                  <a:lnTo>
                    <a:pt x="407" y="659"/>
                  </a:lnTo>
                  <a:lnTo>
                    <a:pt x="409" y="655"/>
                  </a:lnTo>
                  <a:lnTo>
                    <a:pt x="411" y="645"/>
                  </a:lnTo>
                  <a:lnTo>
                    <a:pt x="413" y="637"/>
                  </a:lnTo>
                  <a:lnTo>
                    <a:pt x="417" y="631"/>
                  </a:lnTo>
                  <a:lnTo>
                    <a:pt x="422" y="627"/>
                  </a:lnTo>
                  <a:lnTo>
                    <a:pt x="428" y="623"/>
                  </a:lnTo>
                  <a:lnTo>
                    <a:pt x="435" y="621"/>
                  </a:lnTo>
                  <a:lnTo>
                    <a:pt x="443" y="619"/>
                  </a:lnTo>
                  <a:lnTo>
                    <a:pt x="451" y="619"/>
                  </a:lnTo>
                  <a:lnTo>
                    <a:pt x="463" y="616"/>
                  </a:lnTo>
                  <a:lnTo>
                    <a:pt x="473" y="612"/>
                  </a:lnTo>
                  <a:lnTo>
                    <a:pt x="483" y="607"/>
                  </a:lnTo>
                  <a:lnTo>
                    <a:pt x="490" y="602"/>
                  </a:lnTo>
                  <a:lnTo>
                    <a:pt x="501" y="646"/>
                  </a:lnTo>
                  <a:lnTo>
                    <a:pt x="502" y="658"/>
                  </a:lnTo>
                  <a:lnTo>
                    <a:pt x="506" y="670"/>
                  </a:lnTo>
                  <a:lnTo>
                    <a:pt x="510" y="680"/>
                  </a:lnTo>
                  <a:lnTo>
                    <a:pt x="515" y="689"/>
                  </a:lnTo>
                  <a:lnTo>
                    <a:pt x="518" y="692"/>
                  </a:lnTo>
                  <a:lnTo>
                    <a:pt x="522" y="695"/>
                  </a:lnTo>
                  <a:lnTo>
                    <a:pt x="526" y="695"/>
                  </a:lnTo>
                  <a:lnTo>
                    <a:pt x="531" y="695"/>
                  </a:lnTo>
                  <a:lnTo>
                    <a:pt x="535" y="692"/>
                  </a:lnTo>
                  <a:lnTo>
                    <a:pt x="541" y="689"/>
                  </a:lnTo>
                  <a:lnTo>
                    <a:pt x="547" y="683"/>
                  </a:lnTo>
                  <a:lnTo>
                    <a:pt x="553" y="675"/>
                  </a:lnTo>
                  <a:lnTo>
                    <a:pt x="557" y="672"/>
                  </a:lnTo>
                  <a:lnTo>
                    <a:pt x="562" y="669"/>
                  </a:lnTo>
                  <a:lnTo>
                    <a:pt x="570" y="665"/>
                  </a:lnTo>
                  <a:lnTo>
                    <a:pt x="578" y="659"/>
                  </a:lnTo>
                  <a:lnTo>
                    <a:pt x="599" y="652"/>
                  </a:lnTo>
                  <a:lnTo>
                    <a:pt x="621" y="644"/>
                  </a:lnTo>
                  <a:lnTo>
                    <a:pt x="645" y="636"/>
                  </a:lnTo>
                  <a:lnTo>
                    <a:pt x="666" y="631"/>
                  </a:lnTo>
                  <a:lnTo>
                    <a:pt x="684" y="627"/>
                  </a:lnTo>
                  <a:lnTo>
                    <a:pt x="696" y="625"/>
                  </a:lnTo>
                  <a:lnTo>
                    <a:pt x="710" y="627"/>
                  </a:lnTo>
                  <a:lnTo>
                    <a:pt x="721" y="629"/>
                  </a:lnTo>
                  <a:lnTo>
                    <a:pt x="726" y="629"/>
                  </a:lnTo>
                  <a:lnTo>
                    <a:pt x="731" y="629"/>
                  </a:lnTo>
                  <a:lnTo>
                    <a:pt x="738" y="627"/>
                  </a:lnTo>
                  <a:lnTo>
                    <a:pt x="744" y="623"/>
                  </a:lnTo>
                  <a:lnTo>
                    <a:pt x="764" y="621"/>
                  </a:lnTo>
                  <a:lnTo>
                    <a:pt x="795" y="620"/>
                  </a:lnTo>
                  <a:lnTo>
                    <a:pt x="811" y="619"/>
                  </a:lnTo>
                  <a:lnTo>
                    <a:pt x="823" y="618"/>
                  </a:lnTo>
                  <a:lnTo>
                    <a:pt x="828" y="616"/>
                  </a:lnTo>
                  <a:lnTo>
                    <a:pt x="830" y="614"/>
                  </a:lnTo>
                  <a:lnTo>
                    <a:pt x="832" y="612"/>
                  </a:lnTo>
                  <a:lnTo>
                    <a:pt x="832" y="608"/>
                  </a:lnTo>
                  <a:lnTo>
                    <a:pt x="827" y="594"/>
                  </a:lnTo>
                  <a:lnTo>
                    <a:pt x="824" y="582"/>
                  </a:lnTo>
                  <a:lnTo>
                    <a:pt x="823" y="570"/>
                  </a:lnTo>
                  <a:lnTo>
                    <a:pt x="821" y="561"/>
                  </a:lnTo>
                  <a:lnTo>
                    <a:pt x="823" y="553"/>
                  </a:lnTo>
                  <a:lnTo>
                    <a:pt x="824" y="546"/>
                  </a:lnTo>
                  <a:lnTo>
                    <a:pt x="827" y="539"/>
                  </a:lnTo>
                  <a:lnTo>
                    <a:pt x="829" y="532"/>
                  </a:lnTo>
                  <a:lnTo>
                    <a:pt x="837" y="521"/>
                  </a:lnTo>
                  <a:lnTo>
                    <a:pt x="844" y="506"/>
                  </a:lnTo>
                  <a:lnTo>
                    <a:pt x="846" y="498"/>
                  </a:lnTo>
                  <a:lnTo>
                    <a:pt x="849" y="488"/>
                  </a:lnTo>
                  <a:lnTo>
                    <a:pt x="850" y="478"/>
                  </a:lnTo>
                  <a:lnTo>
                    <a:pt x="850" y="466"/>
                  </a:lnTo>
                  <a:lnTo>
                    <a:pt x="850" y="457"/>
                  </a:lnTo>
                  <a:lnTo>
                    <a:pt x="849" y="447"/>
                  </a:lnTo>
                  <a:lnTo>
                    <a:pt x="847" y="437"/>
                  </a:lnTo>
                  <a:lnTo>
                    <a:pt x="844" y="428"/>
                  </a:lnTo>
                  <a:lnTo>
                    <a:pt x="840" y="419"/>
                  </a:lnTo>
                  <a:lnTo>
                    <a:pt x="834" y="412"/>
                  </a:lnTo>
                  <a:lnTo>
                    <a:pt x="832" y="410"/>
                  </a:lnTo>
                  <a:lnTo>
                    <a:pt x="828" y="407"/>
                  </a:lnTo>
                  <a:lnTo>
                    <a:pt x="824" y="406"/>
                  </a:lnTo>
                  <a:lnTo>
                    <a:pt x="820" y="406"/>
                  </a:lnTo>
                  <a:lnTo>
                    <a:pt x="810" y="406"/>
                  </a:lnTo>
                  <a:lnTo>
                    <a:pt x="800" y="403"/>
                  </a:lnTo>
                  <a:lnTo>
                    <a:pt x="791" y="402"/>
                  </a:lnTo>
                  <a:lnTo>
                    <a:pt x="782" y="399"/>
                  </a:lnTo>
                  <a:lnTo>
                    <a:pt x="766" y="394"/>
                  </a:lnTo>
                  <a:lnTo>
                    <a:pt x="752" y="390"/>
                  </a:lnTo>
                  <a:lnTo>
                    <a:pt x="735" y="386"/>
                  </a:lnTo>
                  <a:lnTo>
                    <a:pt x="735" y="386"/>
                  </a:lnTo>
                  <a:lnTo>
                    <a:pt x="735" y="373"/>
                  </a:lnTo>
                  <a:lnTo>
                    <a:pt x="735" y="359"/>
                  </a:lnTo>
                  <a:lnTo>
                    <a:pt x="735" y="328"/>
                  </a:lnTo>
                  <a:lnTo>
                    <a:pt x="734" y="327"/>
                  </a:lnTo>
                  <a:lnTo>
                    <a:pt x="732" y="326"/>
                  </a:lnTo>
                  <a:lnTo>
                    <a:pt x="731" y="324"/>
                  </a:lnTo>
                  <a:lnTo>
                    <a:pt x="730" y="323"/>
                  </a:lnTo>
                  <a:lnTo>
                    <a:pt x="730" y="321"/>
                  </a:lnTo>
                  <a:lnTo>
                    <a:pt x="728" y="319"/>
                  </a:lnTo>
                  <a:lnTo>
                    <a:pt x="728" y="319"/>
                  </a:lnTo>
                  <a:lnTo>
                    <a:pt x="722" y="309"/>
                  </a:lnTo>
                  <a:lnTo>
                    <a:pt x="717" y="297"/>
                  </a:lnTo>
                  <a:lnTo>
                    <a:pt x="715" y="296"/>
                  </a:lnTo>
                  <a:lnTo>
                    <a:pt x="714" y="294"/>
                  </a:lnTo>
                  <a:lnTo>
                    <a:pt x="707" y="292"/>
                  </a:lnTo>
                  <a:lnTo>
                    <a:pt x="704" y="288"/>
                  </a:lnTo>
                  <a:lnTo>
                    <a:pt x="700" y="283"/>
                  </a:lnTo>
                  <a:lnTo>
                    <a:pt x="698" y="277"/>
                  </a:lnTo>
                  <a:lnTo>
                    <a:pt x="697" y="272"/>
                  </a:lnTo>
                  <a:lnTo>
                    <a:pt x="697" y="267"/>
                  </a:lnTo>
                  <a:lnTo>
                    <a:pt x="697" y="262"/>
                  </a:lnTo>
                  <a:lnTo>
                    <a:pt x="698" y="256"/>
                  </a:lnTo>
                  <a:lnTo>
                    <a:pt x="704" y="255"/>
                  </a:lnTo>
                  <a:lnTo>
                    <a:pt x="710" y="254"/>
                  </a:lnTo>
                  <a:lnTo>
                    <a:pt x="721" y="254"/>
                  </a:lnTo>
                  <a:lnTo>
                    <a:pt x="728" y="254"/>
                  </a:lnTo>
                  <a:lnTo>
                    <a:pt x="736" y="255"/>
                  </a:lnTo>
                  <a:lnTo>
                    <a:pt x="745" y="259"/>
                  </a:lnTo>
                  <a:lnTo>
                    <a:pt x="747" y="260"/>
                  </a:lnTo>
                  <a:lnTo>
                    <a:pt x="747" y="262"/>
                  </a:lnTo>
                  <a:lnTo>
                    <a:pt x="749" y="263"/>
                  </a:lnTo>
                  <a:lnTo>
                    <a:pt x="752" y="266"/>
                  </a:lnTo>
                  <a:lnTo>
                    <a:pt x="759" y="270"/>
                  </a:lnTo>
                  <a:lnTo>
                    <a:pt x="765" y="273"/>
                  </a:lnTo>
                  <a:lnTo>
                    <a:pt x="770" y="277"/>
                  </a:lnTo>
                  <a:lnTo>
                    <a:pt x="776" y="283"/>
                  </a:lnTo>
                  <a:lnTo>
                    <a:pt x="781" y="289"/>
                  </a:lnTo>
                  <a:lnTo>
                    <a:pt x="785" y="294"/>
                  </a:lnTo>
                  <a:lnTo>
                    <a:pt x="786" y="297"/>
                  </a:lnTo>
                  <a:lnTo>
                    <a:pt x="787" y="298"/>
                  </a:lnTo>
                  <a:lnTo>
                    <a:pt x="787" y="300"/>
                  </a:lnTo>
                  <a:lnTo>
                    <a:pt x="789" y="300"/>
                  </a:lnTo>
                  <a:lnTo>
                    <a:pt x="793" y="300"/>
                  </a:lnTo>
                  <a:lnTo>
                    <a:pt x="795" y="300"/>
                  </a:lnTo>
                  <a:lnTo>
                    <a:pt x="796" y="298"/>
                  </a:lnTo>
                  <a:lnTo>
                    <a:pt x="799" y="296"/>
                  </a:lnTo>
                  <a:lnTo>
                    <a:pt x="802" y="292"/>
                  </a:lnTo>
                  <a:lnTo>
                    <a:pt x="806" y="289"/>
                  </a:lnTo>
                  <a:lnTo>
                    <a:pt x="808" y="284"/>
                  </a:lnTo>
                  <a:lnTo>
                    <a:pt x="810" y="279"/>
                  </a:lnTo>
                  <a:lnTo>
                    <a:pt x="811" y="276"/>
                  </a:lnTo>
                  <a:lnTo>
                    <a:pt x="811" y="273"/>
                  </a:lnTo>
                  <a:lnTo>
                    <a:pt x="815" y="266"/>
                  </a:lnTo>
                  <a:lnTo>
                    <a:pt x="820" y="254"/>
                  </a:lnTo>
                  <a:lnTo>
                    <a:pt x="825" y="241"/>
                  </a:lnTo>
                  <a:lnTo>
                    <a:pt x="828" y="233"/>
                  </a:lnTo>
                  <a:lnTo>
                    <a:pt x="828" y="230"/>
                  </a:lnTo>
                  <a:lnTo>
                    <a:pt x="828" y="225"/>
                  </a:lnTo>
                  <a:lnTo>
                    <a:pt x="828" y="217"/>
                  </a:lnTo>
                  <a:lnTo>
                    <a:pt x="827" y="211"/>
                  </a:lnTo>
                  <a:lnTo>
                    <a:pt x="825" y="207"/>
                  </a:lnTo>
                  <a:lnTo>
                    <a:pt x="823" y="204"/>
                  </a:lnTo>
                  <a:lnTo>
                    <a:pt x="823" y="203"/>
                  </a:lnTo>
                  <a:lnTo>
                    <a:pt x="820" y="200"/>
                  </a:lnTo>
                  <a:lnTo>
                    <a:pt x="817" y="199"/>
                  </a:lnTo>
                  <a:lnTo>
                    <a:pt x="816" y="198"/>
                  </a:lnTo>
                  <a:lnTo>
                    <a:pt x="815" y="196"/>
                  </a:lnTo>
                  <a:lnTo>
                    <a:pt x="811" y="192"/>
                  </a:lnTo>
                  <a:lnTo>
                    <a:pt x="806" y="190"/>
                  </a:lnTo>
                  <a:lnTo>
                    <a:pt x="806" y="188"/>
                  </a:lnTo>
                  <a:lnTo>
                    <a:pt x="804" y="188"/>
                  </a:lnTo>
                  <a:lnTo>
                    <a:pt x="803" y="188"/>
                  </a:lnTo>
                  <a:lnTo>
                    <a:pt x="800" y="187"/>
                  </a:lnTo>
                  <a:lnTo>
                    <a:pt x="799" y="186"/>
                  </a:lnTo>
                  <a:lnTo>
                    <a:pt x="791" y="186"/>
                  </a:lnTo>
                  <a:lnTo>
                    <a:pt x="786" y="187"/>
                  </a:lnTo>
                  <a:lnTo>
                    <a:pt x="779" y="191"/>
                  </a:lnTo>
                  <a:lnTo>
                    <a:pt x="773" y="192"/>
                  </a:lnTo>
                  <a:lnTo>
                    <a:pt x="769" y="195"/>
                  </a:lnTo>
                  <a:lnTo>
                    <a:pt x="766" y="198"/>
                  </a:lnTo>
                  <a:lnTo>
                    <a:pt x="765" y="199"/>
                  </a:lnTo>
                  <a:lnTo>
                    <a:pt x="764" y="199"/>
                  </a:lnTo>
                  <a:lnTo>
                    <a:pt x="764" y="200"/>
                  </a:lnTo>
                  <a:lnTo>
                    <a:pt x="764" y="200"/>
                  </a:lnTo>
                  <a:lnTo>
                    <a:pt x="759" y="203"/>
                  </a:lnTo>
                  <a:lnTo>
                    <a:pt x="755" y="205"/>
                  </a:lnTo>
                  <a:lnTo>
                    <a:pt x="752" y="205"/>
                  </a:lnTo>
                  <a:lnTo>
                    <a:pt x="749" y="207"/>
                  </a:lnTo>
                  <a:lnTo>
                    <a:pt x="743" y="211"/>
                  </a:lnTo>
                  <a:lnTo>
                    <a:pt x="730" y="215"/>
                  </a:lnTo>
                  <a:lnTo>
                    <a:pt x="723" y="216"/>
                  </a:lnTo>
                  <a:lnTo>
                    <a:pt x="717" y="217"/>
                  </a:lnTo>
                  <a:lnTo>
                    <a:pt x="711" y="217"/>
                  </a:lnTo>
                  <a:lnTo>
                    <a:pt x="709" y="216"/>
                  </a:lnTo>
                  <a:lnTo>
                    <a:pt x="707" y="215"/>
                  </a:lnTo>
                  <a:lnTo>
                    <a:pt x="706" y="213"/>
                  </a:lnTo>
                  <a:lnTo>
                    <a:pt x="704" y="211"/>
                  </a:lnTo>
                  <a:lnTo>
                    <a:pt x="701" y="209"/>
                  </a:lnTo>
                  <a:lnTo>
                    <a:pt x="700" y="208"/>
                  </a:lnTo>
                  <a:lnTo>
                    <a:pt x="700" y="207"/>
                  </a:lnTo>
                  <a:lnTo>
                    <a:pt x="698" y="207"/>
                  </a:lnTo>
                  <a:lnTo>
                    <a:pt x="698" y="205"/>
                  </a:lnTo>
                  <a:lnTo>
                    <a:pt x="698" y="204"/>
                  </a:lnTo>
                  <a:lnTo>
                    <a:pt x="697" y="204"/>
                  </a:lnTo>
                  <a:lnTo>
                    <a:pt x="697" y="203"/>
                  </a:lnTo>
                  <a:lnTo>
                    <a:pt x="697" y="202"/>
                  </a:lnTo>
                  <a:lnTo>
                    <a:pt x="697" y="183"/>
                  </a:lnTo>
                  <a:lnTo>
                    <a:pt x="700" y="166"/>
                  </a:lnTo>
                  <a:lnTo>
                    <a:pt x="700" y="164"/>
                  </a:lnTo>
                  <a:lnTo>
                    <a:pt x="701" y="162"/>
                  </a:lnTo>
                  <a:lnTo>
                    <a:pt x="704" y="156"/>
                  </a:lnTo>
                  <a:lnTo>
                    <a:pt x="706" y="149"/>
                  </a:lnTo>
                  <a:lnTo>
                    <a:pt x="707" y="148"/>
                  </a:lnTo>
                  <a:lnTo>
                    <a:pt x="707" y="145"/>
                  </a:lnTo>
                  <a:lnTo>
                    <a:pt x="709" y="144"/>
                  </a:lnTo>
                  <a:lnTo>
                    <a:pt x="709" y="143"/>
                  </a:lnTo>
                  <a:lnTo>
                    <a:pt x="711" y="139"/>
                  </a:lnTo>
                  <a:lnTo>
                    <a:pt x="714" y="135"/>
                  </a:lnTo>
                  <a:lnTo>
                    <a:pt x="714" y="134"/>
                  </a:lnTo>
                  <a:lnTo>
                    <a:pt x="717" y="127"/>
                  </a:lnTo>
                  <a:lnTo>
                    <a:pt x="721" y="122"/>
                  </a:lnTo>
                  <a:lnTo>
                    <a:pt x="730" y="119"/>
                  </a:lnTo>
                  <a:lnTo>
                    <a:pt x="739" y="118"/>
                  </a:lnTo>
                  <a:lnTo>
                    <a:pt x="748" y="117"/>
                  </a:lnTo>
                  <a:lnTo>
                    <a:pt x="756" y="115"/>
                  </a:lnTo>
                  <a:lnTo>
                    <a:pt x="759" y="115"/>
                  </a:lnTo>
                  <a:lnTo>
                    <a:pt x="761" y="114"/>
                  </a:lnTo>
                  <a:lnTo>
                    <a:pt x="765" y="114"/>
                  </a:lnTo>
                  <a:lnTo>
                    <a:pt x="768" y="113"/>
                  </a:lnTo>
                  <a:lnTo>
                    <a:pt x="779" y="109"/>
                  </a:lnTo>
                  <a:lnTo>
                    <a:pt x="789" y="102"/>
                  </a:lnTo>
                  <a:lnTo>
                    <a:pt x="793" y="98"/>
                  </a:lnTo>
                  <a:lnTo>
                    <a:pt x="796" y="93"/>
                  </a:lnTo>
                  <a:lnTo>
                    <a:pt x="799" y="89"/>
                  </a:lnTo>
                  <a:lnTo>
                    <a:pt x="802" y="86"/>
                  </a:lnTo>
                  <a:lnTo>
                    <a:pt x="802" y="85"/>
                  </a:lnTo>
                  <a:lnTo>
                    <a:pt x="803" y="84"/>
                  </a:lnTo>
                  <a:lnTo>
                    <a:pt x="804" y="81"/>
                  </a:lnTo>
                  <a:lnTo>
                    <a:pt x="806" y="80"/>
                  </a:lnTo>
                  <a:lnTo>
                    <a:pt x="806" y="79"/>
                  </a:lnTo>
                  <a:lnTo>
                    <a:pt x="806" y="79"/>
                  </a:lnTo>
                  <a:lnTo>
                    <a:pt x="807" y="76"/>
                  </a:lnTo>
                  <a:lnTo>
                    <a:pt x="808" y="73"/>
                  </a:lnTo>
                  <a:lnTo>
                    <a:pt x="810" y="71"/>
                  </a:lnTo>
                  <a:lnTo>
                    <a:pt x="812" y="67"/>
                  </a:lnTo>
                  <a:lnTo>
                    <a:pt x="813" y="67"/>
                  </a:lnTo>
                  <a:lnTo>
                    <a:pt x="815" y="67"/>
                  </a:lnTo>
                  <a:lnTo>
                    <a:pt x="815" y="65"/>
                  </a:lnTo>
                  <a:lnTo>
                    <a:pt x="816" y="64"/>
                  </a:lnTo>
                  <a:lnTo>
                    <a:pt x="829" y="60"/>
                  </a:lnTo>
                  <a:lnTo>
                    <a:pt x="841" y="55"/>
                  </a:lnTo>
                  <a:lnTo>
                    <a:pt x="849" y="52"/>
                  </a:lnTo>
                  <a:lnTo>
                    <a:pt x="857" y="51"/>
                  </a:lnTo>
                  <a:lnTo>
                    <a:pt x="862" y="50"/>
                  </a:lnTo>
                  <a:lnTo>
                    <a:pt x="867" y="47"/>
                  </a:lnTo>
                  <a:lnTo>
                    <a:pt x="872" y="42"/>
                  </a:lnTo>
                  <a:lnTo>
                    <a:pt x="879" y="37"/>
                  </a:lnTo>
                  <a:lnTo>
                    <a:pt x="879" y="35"/>
                  </a:lnTo>
                  <a:lnTo>
                    <a:pt x="880" y="35"/>
                  </a:lnTo>
                  <a:lnTo>
                    <a:pt x="881" y="34"/>
                  </a:lnTo>
                  <a:lnTo>
                    <a:pt x="883" y="33"/>
                  </a:lnTo>
                  <a:lnTo>
                    <a:pt x="884" y="33"/>
                  </a:lnTo>
                  <a:lnTo>
                    <a:pt x="885" y="30"/>
                  </a:lnTo>
                  <a:lnTo>
                    <a:pt x="887" y="29"/>
                  </a:lnTo>
                  <a:lnTo>
                    <a:pt x="888" y="28"/>
                  </a:lnTo>
                  <a:lnTo>
                    <a:pt x="888" y="26"/>
                  </a:lnTo>
                  <a:lnTo>
                    <a:pt x="891" y="24"/>
                  </a:lnTo>
                  <a:lnTo>
                    <a:pt x="893" y="21"/>
                  </a:lnTo>
                  <a:lnTo>
                    <a:pt x="893" y="21"/>
                  </a:lnTo>
                  <a:lnTo>
                    <a:pt x="895" y="20"/>
                  </a:lnTo>
                  <a:lnTo>
                    <a:pt x="896" y="18"/>
                  </a:lnTo>
                  <a:lnTo>
                    <a:pt x="897" y="17"/>
                  </a:lnTo>
                  <a:lnTo>
                    <a:pt x="900" y="14"/>
                  </a:lnTo>
                  <a:lnTo>
                    <a:pt x="902" y="12"/>
                  </a:lnTo>
                  <a:lnTo>
                    <a:pt x="905" y="9"/>
                  </a:lnTo>
                  <a:lnTo>
                    <a:pt x="909" y="8"/>
                  </a:lnTo>
                  <a:lnTo>
                    <a:pt x="910" y="8"/>
                  </a:lnTo>
                  <a:lnTo>
                    <a:pt x="912" y="7"/>
                  </a:lnTo>
                  <a:lnTo>
                    <a:pt x="912" y="5"/>
                  </a:lnTo>
                  <a:lnTo>
                    <a:pt x="917" y="4"/>
                  </a:lnTo>
                  <a:lnTo>
                    <a:pt x="921" y="1"/>
                  </a:lnTo>
                  <a:lnTo>
                    <a:pt x="922" y="0"/>
                  </a:lnTo>
                  <a:lnTo>
                    <a:pt x="925" y="0"/>
                  </a:lnTo>
                  <a:lnTo>
                    <a:pt x="938" y="17"/>
                  </a:lnTo>
                  <a:lnTo>
                    <a:pt x="942" y="22"/>
                  </a:lnTo>
                  <a:lnTo>
                    <a:pt x="943" y="26"/>
                  </a:lnTo>
                  <a:lnTo>
                    <a:pt x="944" y="28"/>
                  </a:lnTo>
                  <a:lnTo>
                    <a:pt x="946" y="29"/>
                  </a:lnTo>
                  <a:lnTo>
                    <a:pt x="947" y="29"/>
                  </a:lnTo>
                  <a:lnTo>
                    <a:pt x="947" y="30"/>
                  </a:lnTo>
                  <a:lnTo>
                    <a:pt x="947" y="31"/>
                  </a:lnTo>
                  <a:lnTo>
                    <a:pt x="948" y="39"/>
                  </a:lnTo>
                  <a:lnTo>
                    <a:pt x="948" y="47"/>
                  </a:lnTo>
                  <a:lnTo>
                    <a:pt x="948" y="50"/>
                  </a:lnTo>
                  <a:lnTo>
                    <a:pt x="947" y="54"/>
                  </a:lnTo>
                  <a:lnTo>
                    <a:pt x="944" y="58"/>
                  </a:lnTo>
                  <a:lnTo>
                    <a:pt x="943" y="62"/>
                  </a:lnTo>
                  <a:lnTo>
                    <a:pt x="942" y="65"/>
                  </a:lnTo>
                  <a:lnTo>
                    <a:pt x="940" y="69"/>
                  </a:lnTo>
                  <a:lnTo>
                    <a:pt x="939" y="71"/>
                  </a:lnTo>
                  <a:lnTo>
                    <a:pt x="938" y="72"/>
                  </a:lnTo>
                  <a:lnTo>
                    <a:pt x="936" y="73"/>
                  </a:lnTo>
                  <a:lnTo>
                    <a:pt x="936" y="75"/>
                  </a:lnTo>
                  <a:lnTo>
                    <a:pt x="936" y="77"/>
                  </a:lnTo>
                  <a:lnTo>
                    <a:pt x="932" y="89"/>
                  </a:lnTo>
                  <a:lnTo>
                    <a:pt x="929" y="102"/>
                  </a:lnTo>
                  <a:lnTo>
                    <a:pt x="929" y="105"/>
                  </a:lnTo>
                  <a:lnTo>
                    <a:pt x="927" y="110"/>
                  </a:lnTo>
                  <a:lnTo>
                    <a:pt x="926" y="117"/>
                  </a:lnTo>
                  <a:lnTo>
                    <a:pt x="927" y="117"/>
                  </a:lnTo>
                  <a:lnTo>
                    <a:pt x="927" y="118"/>
                  </a:lnTo>
                  <a:lnTo>
                    <a:pt x="929" y="119"/>
                  </a:lnTo>
                  <a:lnTo>
                    <a:pt x="1032" y="119"/>
                  </a:lnTo>
                  <a:lnTo>
                    <a:pt x="1032" y="119"/>
                  </a:lnTo>
                  <a:lnTo>
                    <a:pt x="1036" y="123"/>
                  </a:lnTo>
                  <a:lnTo>
                    <a:pt x="1037" y="128"/>
                  </a:lnTo>
                  <a:lnTo>
                    <a:pt x="1038" y="134"/>
                  </a:lnTo>
                  <a:lnTo>
                    <a:pt x="1038" y="140"/>
                  </a:lnTo>
                  <a:lnTo>
                    <a:pt x="1037" y="153"/>
                  </a:lnTo>
                  <a:lnTo>
                    <a:pt x="1037" y="164"/>
                  </a:lnTo>
                  <a:lnTo>
                    <a:pt x="1037" y="173"/>
                  </a:lnTo>
                  <a:lnTo>
                    <a:pt x="1037" y="186"/>
                  </a:lnTo>
                  <a:lnTo>
                    <a:pt x="1037" y="198"/>
                  </a:lnTo>
                  <a:lnTo>
                    <a:pt x="1037" y="205"/>
                  </a:lnTo>
                  <a:lnTo>
                    <a:pt x="1041" y="217"/>
                  </a:lnTo>
                  <a:lnTo>
                    <a:pt x="1045" y="232"/>
                  </a:lnTo>
                  <a:lnTo>
                    <a:pt x="1049" y="245"/>
                  </a:lnTo>
                  <a:lnTo>
                    <a:pt x="1053" y="256"/>
                  </a:lnTo>
                  <a:lnTo>
                    <a:pt x="1055" y="263"/>
                  </a:lnTo>
                  <a:lnTo>
                    <a:pt x="1058" y="270"/>
                  </a:lnTo>
                  <a:lnTo>
                    <a:pt x="1059" y="271"/>
                  </a:lnTo>
                  <a:lnTo>
                    <a:pt x="1061" y="273"/>
                  </a:lnTo>
                  <a:lnTo>
                    <a:pt x="1062" y="277"/>
                  </a:lnTo>
                  <a:lnTo>
                    <a:pt x="1063" y="281"/>
                  </a:lnTo>
                  <a:lnTo>
                    <a:pt x="1063" y="283"/>
                  </a:lnTo>
                  <a:lnTo>
                    <a:pt x="1065" y="283"/>
                  </a:lnTo>
                  <a:lnTo>
                    <a:pt x="1066" y="284"/>
                  </a:lnTo>
                  <a:lnTo>
                    <a:pt x="1067" y="285"/>
                  </a:lnTo>
                  <a:lnTo>
                    <a:pt x="1070" y="285"/>
                  </a:lnTo>
                  <a:lnTo>
                    <a:pt x="1072" y="285"/>
                  </a:lnTo>
                  <a:lnTo>
                    <a:pt x="1076" y="284"/>
                  </a:lnTo>
                  <a:lnTo>
                    <a:pt x="1082" y="280"/>
                  </a:lnTo>
                  <a:lnTo>
                    <a:pt x="1087" y="279"/>
                  </a:lnTo>
                  <a:lnTo>
                    <a:pt x="1088" y="277"/>
                  </a:lnTo>
                  <a:lnTo>
                    <a:pt x="1089" y="276"/>
                  </a:lnTo>
                  <a:lnTo>
                    <a:pt x="1089" y="276"/>
                  </a:lnTo>
                  <a:lnTo>
                    <a:pt x="1091" y="275"/>
                  </a:lnTo>
                  <a:lnTo>
                    <a:pt x="1091" y="273"/>
                  </a:lnTo>
                  <a:lnTo>
                    <a:pt x="1092" y="273"/>
                  </a:lnTo>
                  <a:lnTo>
                    <a:pt x="1093" y="272"/>
                  </a:lnTo>
                  <a:lnTo>
                    <a:pt x="1095" y="271"/>
                  </a:lnTo>
                  <a:lnTo>
                    <a:pt x="1097" y="267"/>
                  </a:lnTo>
                  <a:lnTo>
                    <a:pt x="1101" y="262"/>
                  </a:lnTo>
                  <a:lnTo>
                    <a:pt x="1101" y="262"/>
                  </a:lnTo>
                  <a:lnTo>
                    <a:pt x="1104" y="260"/>
                  </a:lnTo>
                  <a:lnTo>
                    <a:pt x="1105" y="258"/>
                  </a:lnTo>
                  <a:lnTo>
                    <a:pt x="1106" y="255"/>
                  </a:lnTo>
                  <a:lnTo>
                    <a:pt x="1106" y="253"/>
                  </a:lnTo>
                  <a:lnTo>
                    <a:pt x="1108" y="253"/>
                  </a:lnTo>
                  <a:lnTo>
                    <a:pt x="1108" y="253"/>
                  </a:lnTo>
                  <a:lnTo>
                    <a:pt x="1108" y="250"/>
                  </a:lnTo>
                  <a:lnTo>
                    <a:pt x="1109" y="247"/>
                  </a:lnTo>
                  <a:lnTo>
                    <a:pt x="1112" y="245"/>
                  </a:lnTo>
                  <a:lnTo>
                    <a:pt x="1114" y="239"/>
                  </a:lnTo>
                  <a:lnTo>
                    <a:pt x="1117" y="233"/>
                  </a:lnTo>
                  <a:lnTo>
                    <a:pt x="1117" y="233"/>
                  </a:lnTo>
                  <a:lnTo>
                    <a:pt x="1117" y="232"/>
                  </a:lnTo>
                  <a:lnTo>
                    <a:pt x="1120" y="230"/>
                  </a:lnTo>
                  <a:lnTo>
                    <a:pt x="1120" y="230"/>
                  </a:lnTo>
                  <a:lnTo>
                    <a:pt x="1122" y="224"/>
                  </a:lnTo>
                  <a:lnTo>
                    <a:pt x="1125" y="219"/>
                  </a:lnTo>
                  <a:lnTo>
                    <a:pt x="1125" y="215"/>
                  </a:lnTo>
                  <a:lnTo>
                    <a:pt x="1127" y="212"/>
                  </a:lnTo>
                  <a:lnTo>
                    <a:pt x="1127" y="211"/>
                  </a:lnTo>
                  <a:lnTo>
                    <a:pt x="1127" y="209"/>
                  </a:lnTo>
                  <a:lnTo>
                    <a:pt x="1133" y="198"/>
                  </a:lnTo>
                  <a:lnTo>
                    <a:pt x="1138" y="183"/>
                  </a:lnTo>
                  <a:lnTo>
                    <a:pt x="1138" y="183"/>
                  </a:lnTo>
                  <a:lnTo>
                    <a:pt x="1139" y="182"/>
                  </a:lnTo>
                  <a:lnTo>
                    <a:pt x="1140" y="179"/>
                  </a:lnTo>
                  <a:lnTo>
                    <a:pt x="1142" y="175"/>
                  </a:lnTo>
                  <a:lnTo>
                    <a:pt x="1143" y="173"/>
                  </a:lnTo>
                  <a:lnTo>
                    <a:pt x="1146" y="171"/>
                  </a:lnTo>
                  <a:lnTo>
                    <a:pt x="1147" y="168"/>
                  </a:lnTo>
                  <a:lnTo>
                    <a:pt x="1148" y="164"/>
                  </a:lnTo>
                  <a:lnTo>
                    <a:pt x="1150" y="161"/>
                  </a:lnTo>
                  <a:lnTo>
                    <a:pt x="1151" y="157"/>
                  </a:lnTo>
                  <a:lnTo>
                    <a:pt x="1151" y="124"/>
                  </a:lnTo>
                  <a:lnTo>
                    <a:pt x="1152" y="92"/>
                  </a:lnTo>
                  <a:lnTo>
                    <a:pt x="1154" y="59"/>
                  </a:lnTo>
                  <a:lnTo>
                    <a:pt x="1155" y="26"/>
                  </a:lnTo>
                  <a:lnTo>
                    <a:pt x="1156" y="25"/>
                  </a:lnTo>
                  <a:lnTo>
                    <a:pt x="1163" y="24"/>
                  </a:lnTo>
                  <a:lnTo>
                    <a:pt x="1171" y="22"/>
                  </a:lnTo>
                  <a:lnTo>
                    <a:pt x="1181" y="22"/>
                  </a:lnTo>
                  <a:lnTo>
                    <a:pt x="1201" y="22"/>
                  </a:lnTo>
                  <a:lnTo>
                    <a:pt x="1214" y="24"/>
                  </a:lnTo>
                  <a:lnTo>
                    <a:pt x="1227" y="28"/>
                  </a:lnTo>
                  <a:lnTo>
                    <a:pt x="1240" y="29"/>
                  </a:lnTo>
                  <a:lnTo>
                    <a:pt x="1246" y="30"/>
                  </a:lnTo>
                  <a:lnTo>
                    <a:pt x="1253" y="33"/>
                  </a:lnTo>
                  <a:lnTo>
                    <a:pt x="1258" y="35"/>
                  </a:lnTo>
                  <a:lnTo>
                    <a:pt x="1263" y="39"/>
                  </a:lnTo>
                  <a:lnTo>
                    <a:pt x="1278" y="51"/>
                  </a:lnTo>
                  <a:lnTo>
                    <a:pt x="1276" y="52"/>
                  </a:lnTo>
                  <a:lnTo>
                    <a:pt x="1276" y="54"/>
                  </a:lnTo>
                  <a:lnTo>
                    <a:pt x="1275" y="55"/>
                  </a:lnTo>
                  <a:lnTo>
                    <a:pt x="1276" y="58"/>
                  </a:lnTo>
                  <a:lnTo>
                    <a:pt x="1279" y="63"/>
                  </a:lnTo>
                  <a:lnTo>
                    <a:pt x="1282" y="71"/>
                  </a:lnTo>
                  <a:lnTo>
                    <a:pt x="1291" y="85"/>
                  </a:lnTo>
                  <a:lnTo>
                    <a:pt x="1297" y="96"/>
                  </a:lnTo>
                  <a:lnTo>
                    <a:pt x="1303" y="102"/>
                  </a:lnTo>
                  <a:lnTo>
                    <a:pt x="1308" y="106"/>
                  </a:lnTo>
                  <a:lnTo>
                    <a:pt x="1314" y="110"/>
                  </a:lnTo>
                  <a:lnTo>
                    <a:pt x="1321" y="113"/>
                  </a:lnTo>
                  <a:lnTo>
                    <a:pt x="1334" y="117"/>
                  </a:lnTo>
                  <a:lnTo>
                    <a:pt x="1347" y="122"/>
                  </a:lnTo>
                  <a:lnTo>
                    <a:pt x="1355" y="127"/>
                  </a:lnTo>
                  <a:lnTo>
                    <a:pt x="1361" y="134"/>
                  </a:lnTo>
                  <a:lnTo>
                    <a:pt x="1368" y="143"/>
                  </a:lnTo>
                  <a:lnTo>
                    <a:pt x="1375" y="152"/>
                  </a:lnTo>
                  <a:lnTo>
                    <a:pt x="1382" y="162"/>
                  </a:lnTo>
                  <a:lnTo>
                    <a:pt x="1393" y="173"/>
                  </a:lnTo>
                  <a:lnTo>
                    <a:pt x="1403" y="182"/>
                  </a:lnTo>
                  <a:lnTo>
                    <a:pt x="1416" y="190"/>
                  </a:lnTo>
                  <a:lnTo>
                    <a:pt x="1426" y="194"/>
                  </a:lnTo>
                  <a:lnTo>
                    <a:pt x="1435" y="196"/>
                  </a:lnTo>
                  <a:lnTo>
                    <a:pt x="1444" y="198"/>
                  </a:lnTo>
                  <a:lnTo>
                    <a:pt x="1453" y="198"/>
                  </a:lnTo>
                  <a:lnTo>
                    <a:pt x="1461" y="198"/>
                  </a:lnTo>
                  <a:lnTo>
                    <a:pt x="1469" y="196"/>
                  </a:lnTo>
                  <a:lnTo>
                    <a:pt x="1477" y="194"/>
                  </a:lnTo>
                  <a:lnTo>
                    <a:pt x="1484" y="190"/>
                  </a:lnTo>
                  <a:lnTo>
                    <a:pt x="1504" y="182"/>
                  </a:lnTo>
                  <a:lnTo>
                    <a:pt x="1524" y="173"/>
                  </a:lnTo>
                  <a:lnTo>
                    <a:pt x="1545" y="164"/>
                  </a:lnTo>
                  <a:lnTo>
                    <a:pt x="1564" y="154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1" name="Freeform 23"/>
            <p:cNvSpPr>
              <a:spLocks/>
            </p:cNvSpPr>
            <p:nvPr/>
          </p:nvSpPr>
          <p:spPr bwMode="auto">
            <a:xfrm>
              <a:off x="4714875" y="1735138"/>
              <a:ext cx="198438" cy="180975"/>
            </a:xfrm>
            <a:custGeom>
              <a:avLst/>
              <a:gdLst/>
              <a:ahLst/>
              <a:cxnLst>
                <a:cxn ang="0">
                  <a:pos x="328" y="238"/>
                </a:cxn>
                <a:cxn ang="0">
                  <a:pos x="289" y="229"/>
                </a:cxn>
                <a:cxn ang="0">
                  <a:pos x="238" y="229"/>
                </a:cxn>
                <a:cxn ang="0">
                  <a:pos x="227" y="297"/>
                </a:cxn>
                <a:cxn ang="0">
                  <a:pos x="223" y="369"/>
                </a:cxn>
                <a:cxn ang="0">
                  <a:pos x="217" y="380"/>
                </a:cxn>
                <a:cxn ang="0">
                  <a:pos x="213" y="388"/>
                </a:cxn>
                <a:cxn ang="0">
                  <a:pos x="202" y="417"/>
                </a:cxn>
                <a:cxn ang="0">
                  <a:pos x="195" y="435"/>
                </a:cxn>
                <a:cxn ang="0">
                  <a:pos x="192" y="438"/>
                </a:cxn>
                <a:cxn ang="0">
                  <a:pos x="183" y="455"/>
                </a:cxn>
                <a:cxn ang="0">
                  <a:pos x="181" y="460"/>
                </a:cxn>
                <a:cxn ang="0">
                  <a:pos x="176" y="467"/>
                </a:cxn>
                <a:cxn ang="0">
                  <a:pos x="167" y="478"/>
                </a:cxn>
                <a:cxn ang="0">
                  <a:pos x="164" y="481"/>
                </a:cxn>
                <a:cxn ang="0">
                  <a:pos x="151" y="489"/>
                </a:cxn>
                <a:cxn ang="0">
                  <a:pos x="141" y="489"/>
                </a:cxn>
                <a:cxn ang="0">
                  <a:pos x="137" y="482"/>
                </a:cxn>
                <a:cxn ang="0">
                  <a:pos x="130" y="468"/>
                </a:cxn>
                <a:cxn ang="0">
                  <a:pos x="116" y="422"/>
                </a:cxn>
                <a:cxn ang="0">
                  <a:pos x="112" y="378"/>
                </a:cxn>
                <a:cxn ang="0">
                  <a:pos x="113" y="339"/>
                </a:cxn>
                <a:cxn ang="0">
                  <a:pos x="107" y="324"/>
                </a:cxn>
                <a:cxn ang="0">
                  <a:pos x="1" y="322"/>
                </a:cxn>
                <a:cxn ang="0">
                  <a:pos x="7" y="294"/>
                </a:cxn>
                <a:cxn ang="0">
                  <a:pos x="13" y="277"/>
                </a:cxn>
                <a:cxn ang="0">
                  <a:pos x="18" y="267"/>
                </a:cxn>
                <a:cxn ang="0">
                  <a:pos x="23" y="252"/>
                </a:cxn>
                <a:cxn ang="0">
                  <a:pos x="22" y="234"/>
                </a:cxn>
                <a:cxn ang="0">
                  <a:pos x="17" y="227"/>
                </a:cxn>
                <a:cxn ang="0">
                  <a:pos x="5" y="199"/>
                </a:cxn>
                <a:cxn ang="0">
                  <a:pos x="14" y="166"/>
                </a:cxn>
                <a:cxn ang="0">
                  <a:pos x="19" y="155"/>
                </a:cxn>
                <a:cxn ang="0">
                  <a:pos x="51" y="150"/>
                </a:cxn>
                <a:cxn ang="0">
                  <a:pos x="57" y="148"/>
                </a:cxn>
                <a:cxn ang="0">
                  <a:pos x="180" y="132"/>
                </a:cxn>
                <a:cxn ang="0">
                  <a:pos x="206" y="128"/>
                </a:cxn>
                <a:cxn ang="0">
                  <a:pos x="229" y="137"/>
                </a:cxn>
                <a:cxn ang="0">
                  <a:pos x="249" y="142"/>
                </a:cxn>
                <a:cxn ang="0">
                  <a:pos x="276" y="128"/>
                </a:cxn>
                <a:cxn ang="0">
                  <a:pos x="320" y="73"/>
                </a:cxn>
                <a:cxn ang="0">
                  <a:pos x="354" y="53"/>
                </a:cxn>
                <a:cxn ang="0">
                  <a:pos x="422" y="48"/>
                </a:cxn>
                <a:cxn ang="0">
                  <a:pos x="480" y="22"/>
                </a:cxn>
                <a:cxn ang="0">
                  <a:pos x="523" y="0"/>
                </a:cxn>
                <a:cxn ang="0">
                  <a:pos x="515" y="17"/>
                </a:cxn>
                <a:cxn ang="0">
                  <a:pos x="481" y="55"/>
                </a:cxn>
                <a:cxn ang="0">
                  <a:pos x="478" y="76"/>
                </a:cxn>
                <a:cxn ang="0">
                  <a:pos x="498" y="103"/>
                </a:cxn>
                <a:cxn ang="0">
                  <a:pos x="533" y="137"/>
                </a:cxn>
                <a:cxn ang="0">
                  <a:pos x="541" y="163"/>
                </a:cxn>
                <a:cxn ang="0">
                  <a:pos x="525" y="182"/>
                </a:cxn>
                <a:cxn ang="0">
                  <a:pos x="434" y="230"/>
                </a:cxn>
                <a:cxn ang="0">
                  <a:pos x="371" y="255"/>
                </a:cxn>
              </a:cxnLst>
              <a:rect l="0" t="0" r="r" b="b"/>
              <a:pathLst>
                <a:path w="541" h="490">
                  <a:moveTo>
                    <a:pt x="353" y="256"/>
                  </a:moveTo>
                  <a:lnTo>
                    <a:pt x="338" y="244"/>
                  </a:lnTo>
                  <a:lnTo>
                    <a:pt x="333" y="240"/>
                  </a:lnTo>
                  <a:lnTo>
                    <a:pt x="328" y="238"/>
                  </a:lnTo>
                  <a:lnTo>
                    <a:pt x="321" y="235"/>
                  </a:lnTo>
                  <a:lnTo>
                    <a:pt x="315" y="234"/>
                  </a:lnTo>
                  <a:lnTo>
                    <a:pt x="302" y="233"/>
                  </a:lnTo>
                  <a:lnTo>
                    <a:pt x="289" y="229"/>
                  </a:lnTo>
                  <a:lnTo>
                    <a:pt x="276" y="227"/>
                  </a:lnTo>
                  <a:lnTo>
                    <a:pt x="256" y="227"/>
                  </a:lnTo>
                  <a:lnTo>
                    <a:pt x="246" y="227"/>
                  </a:lnTo>
                  <a:lnTo>
                    <a:pt x="238" y="229"/>
                  </a:lnTo>
                  <a:lnTo>
                    <a:pt x="231" y="230"/>
                  </a:lnTo>
                  <a:lnTo>
                    <a:pt x="230" y="231"/>
                  </a:lnTo>
                  <a:lnTo>
                    <a:pt x="229" y="264"/>
                  </a:lnTo>
                  <a:lnTo>
                    <a:pt x="227" y="297"/>
                  </a:lnTo>
                  <a:lnTo>
                    <a:pt x="226" y="329"/>
                  </a:lnTo>
                  <a:lnTo>
                    <a:pt x="226" y="362"/>
                  </a:lnTo>
                  <a:lnTo>
                    <a:pt x="225" y="366"/>
                  </a:lnTo>
                  <a:lnTo>
                    <a:pt x="223" y="369"/>
                  </a:lnTo>
                  <a:lnTo>
                    <a:pt x="222" y="373"/>
                  </a:lnTo>
                  <a:lnTo>
                    <a:pt x="221" y="376"/>
                  </a:lnTo>
                  <a:lnTo>
                    <a:pt x="218" y="378"/>
                  </a:lnTo>
                  <a:lnTo>
                    <a:pt x="217" y="380"/>
                  </a:lnTo>
                  <a:lnTo>
                    <a:pt x="215" y="384"/>
                  </a:lnTo>
                  <a:lnTo>
                    <a:pt x="214" y="387"/>
                  </a:lnTo>
                  <a:lnTo>
                    <a:pt x="213" y="388"/>
                  </a:lnTo>
                  <a:lnTo>
                    <a:pt x="213" y="388"/>
                  </a:lnTo>
                  <a:lnTo>
                    <a:pt x="208" y="403"/>
                  </a:lnTo>
                  <a:lnTo>
                    <a:pt x="202" y="414"/>
                  </a:lnTo>
                  <a:lnTo>
                    <a:pt x="202" y="416"/>
                  </a:lnTo>
                  <a:lnTo>
                    <a:pt x="202" y="417"/>
                  </a:lnTo>
                  <a:lnTo>
                    <a:pt x="200" y="420"/>
                  </a:lnTo>
                  <a:lnTo>
                    <a:pt x="200" y="424"/>
                  </a:lnTo>
                  <a:lnTo>
                    <a:pt x="197" y="429"/>
                  </a:lnTo>
                  <a:lnTo>
                    <a:pt x="195" y="435"/>
                  </a:lnTo>
                  <a:lnTo>
                    <a:pt x="195" y="435"/>
                  </a:lnTo>
                  <a:lnTo>
                    <a:pt x="192" y="437"/>
                  </a:lnTo>
                  <a:lnTo>
                    <a:pt x="192" y="438"/>
                  </a:lnTo>
                  <a:lnTo>
                    <a:pt x="192" y="438"/>
                  </a:lnTo>
                  <a:lnTo>
                    <a:pt x="189" y="444"/>
                  </a:lnTo>
                  <a:lnTo>
                    <a:pt x="187" y="450"/>
                  </a:lnTo>
                  <a:lnTo>
                    <a:pt x="184" y="452"/>
                  </a:lnTo>
                  <a:lnTo>
                    <a:pt x="183" y="455"/>
                  </a:lnTo>
                  <a:lnTo>
                    <a:pt x="183" y="458"/>
                  </a:lnTo>
                  <a:lnTo>
                    <a:pt x="183" y="458"/>
                  </a:lnTo>
                  <a:lnTo>
                    <a:pt x="181" y="458"/>
                  </a:lnTo>
                  <a:lnTo>
                    <a:pt x="181" y="460"/>
                  </a:lnTo>
                  <a:lnTo>
                    <a:pt x="180" y="463"/>
                  </a:lnTo>
                  <a:lnTo>
                    <a:pt x="179" y="465"/>
                  </a:lnTo>
                  <a:lnTo>
                    <a:pt x="176" y="467"/>
                  </a:lnTo>
                  <a:lnTo>
                    <a:pt x="176" y="467"/>
                  </a:lnTo>
                  <a:lnTo>
                    <a:pt x="172" y="472"/>
                  </a:lnTo>
                  <a:lnTo>
                    <a:pt x="170" y="476"/>
                  </a:lnTo>
                  <a:lnTo>
                    <a:pt x="168" y="477"/>
                  </a:lnTo>
                  <a:lnTo>
                    <a:pt x="167" y="478"/>
                  </a:lnTo>
                  <a:lnTo>
                    <a:pt x="166" y="478"/>
                  </a:lnTo>
                  <a:lnTo>
                    <a:pt x="166" y="480"/>
                  </a:lnTo>
                  <a:lnTo>
                    <a:pt x="164" y="481"/>
                  </a:lnTo>
                  <a:lnTo>
                    <a:pt x="164" y="481"/>
                  </a:lnTo>
                  <a:lnTo>
                    <a:pt x="163" y="482"/>
                  </a:lnTo>
                  <a:lnTo>
                    <a:pt x="162" y="484"/>
                  </a:lnTo>
                  <a:lnTo>
                    <a:pt x="157" y="485"/>
                  </a:lnTo>
                  <a:lnTo>
                    <a:pt x="151" y="489"/>
                  </a:lnTo>
                  <a:lnTo>
                    <a:pt x="147" y="490"/>
                  </a:lnTo>
                  <a:lnTo>
                    <a:pt x="145" y="490"/>
                  </a:lnTo>
                  <a:lnTo>
                    <a:pt x="142" y="490"/>
                  </a:lnTo>
                  <a:lnTo>
                    <a:pt x="141" y="489"/>
                  </a:lnTo>
                  <a:lnTo>
                    <a:pt x="140" y="488"/>
                  </a:lnTo>
                  <a:lnTo>
                    <a:pt x="138" y="488"/>
                  </a:lnTo>
                  <a:lnTo>
                    <a:pt x="138" y="486"/>
                  </a:lnTo>
                  <a:lnTo>
                    <a:pt x="137" y="482"/>
                  </a:lnTo>
                  <a:lnTo>
                    <a:pt x="136" y="478"/>
                  </a:lnTo>
                  <a:lnTo>
                    <a:pt x="134" y="476"/>
                  </a:lnTo>
                  <a:lnTo>
                    <a:pt x="133" y="475"/>
                  </a:lnTo>
                  <a:lnTo>
                    <a:pt x="130" y="468"/>
                  </a:lnTo>
                  <a:lnTo>
                    <a:pt x="128" y="461"/>
                  </a:lnTo>
                  <a:lnTo>
                    <a:pt x="124" y="450"/>
                  </a:lnTo>
                  <a:lnTo>
                    <a:pt x="120" y="437"/>
                  </a:lnTo>
                  <a:lnTo>
                    <a:pt x="116" y="422"/>
                  </a:lnTo>
                  <a:lnTo>
                    <a:pt x="112" y="410"/>
                  </a:lnTo>
                  <a:lnTo>
                    <a:pt x="112" y="403"/>
                  </a:lnTo>
                  <a:lnTo>
                    <a:pt x="112" y="391"/>
                  </a:lnTo>
                  <a:lnTo>
                    <a:pt x="112" y="378"/>
                  </a:lnTo>
                  <a:lnTo>
                    <a:pt x="112" y="369"/>
                  </a:lnTo>
                  <a:lnTo>
                    <a:pt x="112" y="358"/>
                  </a:lnTo>
                  <a:lnTo>
                    <a:pt x="113" y="345"/>
                  </a:lnTo>
                  <a:lnTo>
                    <a:pt x="113" y="339"/>
                  </a:lnTo>
                  <a:lnTo>
                    <a:pt x="112" y="333"/>
                  </a:lnTo>
                  <a:lnTo>
                    <a:pt x="111" y="328"/>
                  </a:lnTo>
                  <a:lnTo>
                    <a:pt x="107" y="324"/>
                  </a:lnTo>
                  <a:lnTo>
                    <a:pt x="107" y="324"/>
                  </a:lnTo>
                  <a:lnTo>
                    <a:pt x="4" y="324"/>
                  </a:lnTo>
                  <a:lnTo>
                    <a:pt x="2" y="323"/>
                  </a:lnTo>
                  <a:lnTo>
                    <a:pt x="2" y="322"/>
                  </a:lnTo>
                  <a:lnTo>
                    <a:pt x="1" y="322"/>
                  </a:lnTo>
                  <a:lnTo>
                    <a:pt x="2" y="315"/>
                  </a:lnTo>
                  <a:lnTo>
                    <a:pt x="4" y="310"/>
                  </a:lnTo>
                  <a:lnTo>
                    <a:pt x="4" y="307"/>
                  </a:lnTo>
                  <a:lnTo>
                    <a:pt x="7" y="294"/>
                  </a:lnTo>
                  <a:lnTo>
                    <a:pt x="11" y="282"/>
                  </a:lnTo>
                  <a:lnTo>
                    <a:pt x="11" y="280"/>
                  </a:lnTo>
                  <a:lnTo>
                    <a:pt x="11" y="278"/>
                  </a:lnTo>
                  <a:lnTo>
                    <a:pt x="13" y="277"/>
                  </a:lnTo>
                  <a:lnTo>
                    <a:pt x="14" y="276"/>
                  </a:lnTo>
                  <a:lnTo>
                    <a:pt x="15" y="274"/>
                  </a:lnTo>
                  <a:lnTo>
                    <a:pt x="17" y="270"/>
                  </a:lnTo>
                  <a:lnTo>
                    <a:pt x="18" y="267"/>
                  </a:lnTo>
                  <a:lnTo>
                    <a:pt x="19" y="263"/>
                  </a:lnTo>
                  <a:lnTo>
                    <a:pt x="22" y="259"/>
                  </a:lnTo>
                  <a:lnTo>
                    <a:pt x="23" y="255"/>
                  </a:lnTo>
                  <a:lnTo>
                    <a:pt x="23" y="252"/>
                  </a:lnTo>
                  <a:lnTo>
                    <a:pt x="23" y="244"/>
                  </a:lnTo>
                  <a:lnTo>
                    <a:pt x="22" y="236"/>
                  </a:lnTo>
                  <a:lnTo>
                    <a:pt x="22" y="235"/>
                  </a:lnTo>
                  <a:lnTo>
                    <a:pt x="22" y="234"/>
                  </a:lnTo>
                  <a:lnTo>
                    <a:pt x="21" y="234"/>
                  </a:lnTo>
                  <a:lnTo>
                    <a:pt x="19" y="233"/>
                  </a:lnTo>
                  <a:lnTo>
                    <a:pt x="18" y="231"/>
                  </a:lnTo>
                  <a:lnTo>
                    <a:pt x="17" y="227"/>
                  </a:lnTo>
                  <a:lnTo>
                    <a:pt x="13" y="222"/>
                  </a:lnTo>
                  <a:lnTo>
                    <a:pt x="0" y="205"/>
                  </a:lnTo>
                  <a:lnTo>
                    <a:pt x="2" y="202"/>
                  </a:lnTo>
                  <a:lnTo>
                    <a:pt x="5" y="199"/>
                  </a:lnTo>
                  <a:lnTo>
                    <a:pt x="6" y="199"/>
                  </a:lnTo>
                  <a:lnTo>
                    <a:pt x="6" y="199"/>
                  </a:lnTo>
                  <a:lnTo>
                    <a:pt x="11" y="182"/>
                  </a:lnTo>
                  <a:lnTo>
                    <a:pt x="14" y="166"/>
                  </a:lnTo>
                  <a:lnTo>
                    <a:pt x="14" y="165"/>
                  </a:lnTo>
                  <a:lnTo>
                    <a:pt x="15" y="162"/>
                  </a:lnTo>
                  <a:lnTo>
                    <a:pt x="17" y="158"/>
                  </a:lnTo>
                  <a:lnTo>
                    <a:pt x="19" y="155"/>
                  </a:lnTo>
                  <a:lnTo>
                    <a:pt x="22" y="153"/>
                  </a:lnTo>
                  <a:lnTo>
                    <a:pt x="24" y="153"/>
                  </a:lnTo>
                  <a:lnTo>
                    <a:pt x="39" y="151"/>
                  </a:lnTo>
                  <a:lnTo>
                    <a:pt x="51" y="150"/>
                  </a:lnTo>
                  <a:lnTo>
                    <a:pt x="52" y="150"/>
                  </a:lnTo>
                  <a:lnTo>
                    <a:pt x="53" y="150"/>
                  </a:lnTo>
                  <a:lnTo>
                    <a:pt x="56" y="149"/>
                  </a:lnTo>
                  <a:lnTo>
                    <a:pt x="57" y="148"/>
                  </a:lnTo>
                  <a:lnTo>
                    <a:pt x="64" y="144"/>
                  </a:lnTo>
                  <a:lnTo>
                    <a:pt x="70" y="141"/>
                  </a:lnTo>
                  <a:lnTo>
                    <a:pt x="120" y="136"/>
                  </a:lnTo>
                  <a:lnTo>
                    <a:pt x="180" y="132"/>
                  </a:lnTo>
                  <a:lnTo>
                    <a:pt x="188" y="129"/>
                  </a:lnTo>
                  <a:lnTo>
                    <a:pt x="195" y="127"/>
                  </a:lnTo>
                  <a:lnTo>
                    <a:pt x="200" y="128"/>
                  </a:lnTo>
                  <a:lnTo>
                    <a:pt x="206" y="128"/>
                  </a:lnTo>
                  <a:lnTo>
                    <a:pt x="212" y="128"/>
                  </a:lnTo>
                  <a:lnTo>
                    <a:pt x="217" y="129"/>
                  </a:lnTo>
                  <a:lnTo>
                    <a:pt x="222" y="134"/>
                  </a:lnTo>
                  <a:lnTo>
                    <a:pt x="229" y="137"/>
                  </a:lnTo>
                  <a:lnTo>
                    <a:pt x="234" y="140"/>
                  </a:lnTo>
                  <a:lnTo>
                    <a:pt x="239" y="141"/>
                  </a:lnTo>
                  <a:lnTo>
                    <a:pt x="244" y="142"/>
                  </a:lnTo>
                  <a:lnTo>
                    <a:pt x="249" y="142"/>
                  </a:lnTo>
                  <a:lnTo>
                    <a:pt x="253" y="141"/>
                  </a:lnTo>
                  <a:lnTo>
                    <a:pt x="259" y="140"/>
                  </a:lnTo>
                  <a:lnTo>
                    <a:pt x="266" y="134"/>
                  </a:lnTo>
                  <a:lnTo>
                    <a:pt x="276" y="128"/>
                  </a:lnTo>
                  <a:lnTo>
                    <a:pt x="283" y="120"/>
                  </a:lnTo>
                  <a:lnTo>
                    <a:pt x="291" y="111"/>
                  </a:lnTo>
                  <a:lnTo>
                    <a:pt x="306" y="91"/>
                  </a:lnTo>
                  <a:lnTo>
                    <a:pt x="320" y="73"/>
                  </a:lnTo>
                  <a:lnTo>
                    <a:pt x="328" y="65"/>
                  </a:lnTo>
                  <a:lnTo>
                    <a:pt x="336" y="59"/>
                  </a:lnTo>
                  <a:lnTo>
                    <a:pt x="345" y="55"/>
                  </a:lnTo>
                  <a:lnTo>
                    <a:pt x="354" y="53"/>
                  </a:lnTo>
                  <a:lnTo>
                    <a:pt x="375" y="53"/>
                  </a:lnTo>
                  <a:lnTo>
                    <a:pt x="393" y="53"/>
                  </a:lnTo>
                  <a:lnTo>
                    <a:pt x="408" y="51"/>
                  </a:lnTo>
                  <a:lnTo>
                    <a:pt x="422" y="48"/>
                  </a:lnTo>
                  <a:lnTo>
                    <a:pt x="435" y="44"/>
                  </a:lnTo>
                  <a:lnTo>
                    <a:pt x="448" y="39"/>
                  </a:lnTo>
                  <a:lnTo>
                    <a:pt x="463" y="31"/>
                  </a:lnTo>
                  <a:lnTo>
                    <a:pt x="480" y="22"/>
                  </a:lnTo>
                  <a:lnTo>
                    <a:pt x="501" y="9"/>
                  </a:lnTo>
                  <a:lnTo>
                    <a:pt x="515" y="2"/>
                  </a:lnTo>
                  <a:lnTo>
                    <a:pt x="519" y="0"/>
                  </a:lnTo>
                  <a:lnTo>
                    <a:pt x="523" y="0"/>
                  </a:lnTo>
                  <a:lnTo>
                    <a:pt x="524" y="0"/>
                  </a:lnTo>
                  <a:lnTo>
                    <a:pt x="525" y="2"/>
                  </a:lnTo>
                  <a:lnTo>
                    <a:pt x="523" y="8"/>
                  </a:lnTo>
                  <a:lnTo>
                    <a:pt x="515" y="17"/>
                  </a:lnTo>
                  <a:lnTo>
                    <a:pt x="505" y="30"/>
                  </a:lnTo>
                  <a:lnTo>
                    <a:pt x="490" y="44"/>
                  </a:lnTo>
                  <a:lnTo>
                    <a:pt x="485" y="49"/>
                  </a:lnTo>
                  <a:lnTo>
                    <a:pt x="481" y="55"/>
                  </a:lnTo>
                  <a:lnTo>
                    <a:pt x="480" y="60"/>
                  </a:lnTo>
                  <a:lnTo>
                    <a:pt x="478" y="65"/>
                  </a:lnTo>
                  <a:lnTo>
                    <a:pt x="478" y="70"/>
                  </a:lnTo>
                  <a:lnTo>
                    <a:pt x="478" y="76"/>
                  </a:lnTo>
                  <a:lnTo>
                    <a:pt x="481" y="80"/>
                  </a:lnTo>
                  <a:lnTo>
                    <a:pt x="482" y="85"/>
                  </a:lnTo>
                  <a:lnTo>
                    <a:pt x="489" y="94"/>
                  </a:lnTo>
                  <a:lnTo>
                    <a:pt x="498" y="103"/>
                  </a:lnTo>
                  <a:lnTo>
                    <a:pt x="507" y="111"/>
                  </a:lnTo>
                  <a:lnTo>
                    <a:pt x="516" y="120"/>
                  </a:lnTo>
                  <a:lnTo>
                    <a:pt x="525" y="129"/>
                  </a:lnTo>
                  <a:lnTo>
                    <a:pt x="533" y="137"/>
                  </a:lnTo>
                  <a:lnTo>
                    <a:pt x="539" y="146"/>
                  </a:lnTo>
                  <a:lnTo>
                    <a:pt x="541" y="154"/>
                  </a:lnTo>
                  <a:lnTo>
                    <a:pt x="541" y="159"/>
                  </a:lnTo>
                  <a:lnTo>
                    <a:pt x="541" y="163"/>
                  </a:lnTo>
                  <a:lnTo>
                    <a:pt x="539" y="167"/>
                  </a:lnTo>
                  <a:lnTo>
                    <a:pt x="536" y="172"/>
                  </a:lnTo>
                  <a:lnTo>
                    <a:pt x="532" y="176"/>
                  </a:lnTo>
                  <a:lnTo>
                    <a:pt x="525" y="182"/>
                  </a:lnTo>
                  <a:lnTo>
                    <a:pt x="519" y="185"/>
                  </a:lnTo>
                  <a:lnTo>
                    <a:pt x="510" y="191"/>
                  </a:lnTo>
                  <a:lnTo>
                    <a:pt x="476" y="209"/>
                  </a:lnTo>
                  <a:lnTo>
                    <a:pt x="434" y="230"/>
                  </a:lnTo>
                  <a:lnTo>
                    <a:pt x="412" y="240"/>
                  </a:lnTo>
                  <a:lnTo>
                    <a:pt x="391" y="250"/>
                  </a:lnTo>
                  <a:lnTo>
                    <a:pt x="380" y="252"/>
                  </a:lnTo>
                  <a:lnTo>
                    <a:pt x="371" y="255"/>
                  </a:lnTo>
                  <a:lnTo>
                    <a:pt x="362" y="256"/>
                  </a:lnTo>
                  <a:lnTo>
                    <a:pt x="353" y="25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2" name="Freeform 25"/>
            <p:cNvSpPr>
              <a:spLocks/>
            </p:cNvSpPr>
            <p:nvPr/>
          </p:nvSpPr>
          <p:spPr bwMode="auto">
            <a:xfrm>
              <a:off x="4949825" y="1685925"/>
              <a:ext cx="1090613" cy="1055688"/>
            </a:xfrm>
            <a:custGeom>
              <a:avLst/>
              <a:gdLst/>
              <a:ahLst/>
              <a:cxnLst>
                <a:cxn ang="0">
                  <a:pos x="577" y="2304"/>
                </a:cxn>
                <a:cxn ang="0">
                  <a:pos x="869" y="2282"/>
                </a:cxn>
                <a:cxn ang="0">
                  <a:pos x="938" y="2075"/>
                </a:cxn>
                <a:cxn ang="0">
                  <a:pos x="1130" y="2034"/>
                </a:cxn>
                <a:cxn ang="0">
                  <a:pos x="1200" y="2240"/>
                </a:cxn>
                <a:cxn ang="0">
                  <a:pos x="1379" y="2169"/>
                </a:cxn>
                <a:cxn ang="0">
                  <a:pos x="1477" y="2138"/>
                </a:cxn>
                <a:cxn ang="0">
                  <a:pos x="1612" y="2265"/>
                </a:cxn>
                <a:cxn ang="0">
                  <a:pos x="1855" y="2254"/>
                </a:cxn>
                <a:cxn ang="0">
                  <a:pos x="1828" y="2355"/>
                </a:cxn>
                <a:cxn ang="0">
                  <a:pos x="1966" y="2280"/>
                </a:cxn>
                <a:cxn ang="0">
                  <a:pos x="2089" y="2074"/>
                </a:cxn>
                <a:cxn ang="0">
                  <a:pos x="2191" y="2003"/>
                </a:cxn>
                <a:cxn ang="0">
                  <a:pos x="2345" y="2082"/>
                </a:cxn>
                <a:cxn ang="0">
                  <a:pos x="2417" y="2360"/>
                </a:cxn>
                <a:cxn ang="0">
                  <a:pos x="2590" y="2811"/>
                </a:cxn>
                <a:cxn ang="0">
                  <a:pos x="2815" y="2703"/>
                </a:cxn>
                <a:cxn ang="0">
                  <a:pos x="2763" y="2491"/>
                </a:cxn>
                <a:cxn ang="0">
                  <a:pos x="2757" y="2147"/>
                </a:cxn>
                <a:cxn ang="0">
                  <a:pos x="2747" y="1964"/>
                </a:cxn>
                <a:cxn ang="0">
                  <a:pos x="2954" y="1743"/>
                </a:cxn>
                <a:cxn ang="0">
                  <a:pos x="2819" y="1738"/>
                </a:cxn>
                <a:cxn ang="0">
                  <a:pos x="2781" y="1501"/>
                </a:cxn>
                <a:cxn ang="0">
                  <a:pos x="2684" y="1359"/>
                </a:cxn>
                <a:cxn ang="0">
                  <a:pos x="2705" y="1183"/>
                </a:cxn>
                <a:cxn ang="0">
                  <a:pos x="2655" y="972"/>
                </a:cxn>
                <a:cxn ang="0">
                  <a:pos x="2590" y="821"/>
                </a:cxn>
                <a:cxn ang="0">
                  <a:pos x="2671" y="630"/>
                </a:cxn>
                <a:cxn ang="0">
                  <a:pos x="2754" y="501"/>
                </a:cxn>
                <a:cxn ang="0">
                  <a:pos x="2722" y="282"/>
                </a:cxn>
                <a:cxn ang="0">
                  <a:pos x="2522" y="303"/>
                </a:cxn>
                <a:cxn ang="0">
                  <a:pos x="2331" y="105"/>
                </a:cxn>
                <a:cxn ang="0">
                  <a:pos x="2190" y="58"/>
                </a:cxn>
                <a:cxn ang="0">
                  <a:pos x="2059" y="85"/>
                </a:cxn>
                <a:cxn ang="0">
                  <a:pos x="1948" y="10"/>
                </a:cxn>
                <a:cxn ang="0">
                  <a:pos x="1758" y="153"/>
                </a:cxn>
                <a:cxn ang="0">
                  <a:pos x="1570" y="252"/>
                </a:cxn>
                <a:cxn ang="0">
                  <a:pos x="1372" y="365"/>
                </a:cxn>
                <a:cxn ang="0">
                  <a:pos x="1092" y="457"/>
                </a:cxn>
                <a:cxn ang="0">
                  <a:pos x="951" y="403"/>
                </a:cxn>
                <a:cxn ang="0">
                  <a:pos x="775" y="388"/>
                </a:cxn>
                <a:cxn ang="0">
                  <a:pos x="657" y="193"/>
                </a:cxn>
                <a:cxn ang="0">
                  <a:pos x="471" y="210"/>
                </a:cxn>
                <a:cxn ang="0">
                  <a:pos x="255" y="415"/>
                </a:cxn>
                <a:cxn ang="0">
                  <a:pos x="254" y="594"/>
                </a:cxn>
                <a:cxn ang="0">
                  <a:pos x="298" y="764"/>
                </a:cxn>
                <a:cxn ang="0">
                  <a:pos x="451" y="665"/>
                </a:cxn>
                <a:cxn ang="0">
                  <a:pos x="555" y="531"/>
                </a:cxn>
                <a:cxn ang="0">
                  <a:pos x="650" y="620"/>
                </a:cxn>
                <a:cxn ang="0">
                  <a:pos x="754" y="787"/>
                </a:cxn>
                <a:cxn ang="0">
                  <a:pos x="909" y="810"/>
                </a:cxn>
                <a:cxn ang="0">
                  <a:pos x="901" y="926"/>
                </a:cxn>
                <a:cxn ang="0">
                  <a:pos x="942" y="950"/>
                </a:cxn>
                <a:cxn ang="0">
                  <a:pos x="1085" y="1138"/>
                </a:cxn>
                <a:cxn ang="0">
                  <a:pos x="1079" y="1237"/>
                </a:cxn>
                <a:cxn ang="0">
                  <a:pos x="1223" y="1350"/>
                </a:cxn>
                <a:cxn ang="0">
                  <a:pos x="1259" y="1488"/>
                </a:cxn>
                <a:cxn ang="0">
                  <a:pos x="1129" y="1717"/>
                </a:cxn>
                <a:cxn ang="0">
                  <a:pos x="942" y="1741"/>
                </a:cxn>
                <a:cxn ang="0">
                  <a:pos x="761" y="1689"/>
                </a:cxn>
                <a:cxn ang="0">
                  <a:pos x="624" y="1836"/>
                </a:cxn>
                <a:cxn ang="0">
                  <a:pos x="501" y="2075"/>
                </a:cxn>
              </a:cxnLst>
              <a:rect l="0" t="0" r="r" b="b"/>
              <a:pathLst>
                <a:path w="2971" h="2873">
                  <a:moveTo>
                    <a:pt x="459" y="2126"/>
                  </a:moveTo>
                  <a:lnTo>
                    <a:pt x="457" y="2172"/>
                  </a:lnTo>
                  <a:lnTo>
                    <a:pt x="454" y="2181"/>
                  </a:lnTo>
                  <a:lnTo>
                    <a:pt x="453" y="2190"/>
                  </a:lnTo>
                  <a:lnTo>
                    <a:pt x="451" y="2194"/>
                  </a:lnTo>
                  <a:lnTo>
                    <a:pt x="450" y="2197"/>
                  </a:lnTo>
                  <a:lnTo>
                    <a:pt x="450" y="2202"/>
                  </a:lnTo>
                  <a:lnTo>
                    <a:pt x="448" y="2207"/>
                  </a:lnTo>
                  <a:lnTo>
                    <a:pt x="448" y="2215"/>
                  </a:lnTo>
                  <a:lnTo>
                    <a:pt x="450" y="2224"/>
                  </a:lnTo>
                  <a:lnTo>
                    <a:pt x="451" y="2229"/>
                  </a:lnTo>
                  <a:lnTo>
                    <a:pt x="454" y="2236"/>
                  </a:lnTo>
                  <a:lnTo>
                    <a:pt x="454" y="2239"/>
                  </a:lnTo>
                  <a:lnTo>
                    <a:pt x="455" y="2240"/>
                  </a:lnTo>
                  <a:lnTo>
                    <a:pt x="458" y="2246"/>
                  </a:lnTo>
                  <a:lnTo>
                    <a:pt x="462" y="2253"/>
                  </a:lnTo>
                  <a:lnTo>
                    <a:pt x="463" y="2254"/>
                  </a:lnTo>
                  <a:lnTo>
                    <a:pt x="463" y="2256"/>
                  </a:lnTo>
                  <a:lnTo>
                    <a:pt x="501" y="2304"/>
                  </a:lnTo>
                  <a:lnTo>
                    <a:pt x="577" y="2304"/>
                  </a:lnTo>
                  <a:lnTo>
                    <a:pt x="597" y="2303"/>
                  </a:lnTo>
                  <a:lnTo>
                    <a:pt x="615" y="2300"/>
                  </a:lnTo>
                  <a:lnTo>
                    <a:pt x="632" y="2293"/>
                  </a:lnTo>
                  <a:lnTo>
                    <a:pt x="650" y="2287"/>
                  </a:lnTo>
                  <a:lnTo>
                    <a:pt x="684" y="2271"/>
                  </a:lnTo>
                  <a:lnTo>
                    <a:pt x="720" y="2256"/>
                  </a:lnTo>
                  <a:lnTo>
                    <a:pt x="729" y="2253"/>
                  </a:lnTo>
                  <a:lnTo>
                    <a:pt x="738" y="2250"/>
                  </a:lnTo>
                  <a:lnTo>
                    <a:pt x="746" y="2249"/>
                  </a:lnTo>
                  <a:lnTo>
                    <a:pt x="754" y="2248"/>
                  </a:lnTo>
                  <a:lnTo>
                    <a:pt x="769" y="2248"/>
                  </a:lnTo>
                  <a:lnTo>
                    <a:pt x="782" y="2250"/>
                  </a:lnTo>
                  <a:lnTo>
                    <a:pt x="794" y="2256"/>
                  </a:lnTo>
                  <a:lnTo>
                    <a:pt x="806" y="2261"/>
                  </a:lnTo>
                  <a:lnTo>
                    <a:pt x="816" y="2266"/>
                  </a:lnTo>
                  <a:lnTo>
                    <a:pt x="827" y="2271"/>
                  </a:lnTo>
                  <a:lnTo>
                    <a:pt x="837" y="2276"/>
                  </a:lnTo>
                  <a:lnTo>
                    <a:pt x="848" y="2280"/>
                  </a:lnTo>
                  <a:lnTo>
                    <a:pt x="858" y="2282"/>
                  </a:lnTo>
                  <a:lnTo>
                    <a:pt x="869" y="2282"/>
                  </a:lnTo>
                  <a:lnTo>
                    <a:pt x="875" y="2280"/>
                  </a:lnTo>
                  <a:lnTo>
                    <a:pt x="881" y="2278"/>
                  </a:lnTo>
                  <a:lnTo>
                    <a:pt x="887" y="2275"/>
                  </a:lnTo>
                  <a:lnTo>
                    <a:pt x="894" y="2271"/>
                  </a:lnTo>
                  <a:lnTo>
                    <a:pt x="908" y="2259"/>
                  </a:lnTo>
                  <a:lnTo>
                    <a:pt x="924" y="2242"/>
                  </a:lnTo>
                  <a:lnTo>
                    <a:pt x="947" y="2216"/>
                  </a:lnTo>
                  <a:lnTo>
                    <a:pt x="963" y="2197"/>
                  </a:lnTo>
                  <a:lnTo>
                    <a:pt x="968" y="2189"/>
                  </a:lnTo>
                  <a:lnTo>
                    <a:pt x="972" y="2182"/>
                  </a:lnTo>
                  <a:lnTo>
                    <a:pt x="975" y="2176"/>
                  </a:lnTo>
                  <a:lnTo>
                    <a:pt x="975" y="2169"/>
                  </a:lnTo>
                  <a:lnTo>
                    <a:pt x="975" y="2163"/>
                  </a:lnTo>
                  <a:lnTo>
                    <a:pt x="972" y="2156"/>
                  </a:lnTo>
                  <a:lnTo>
                    <a:pt x="969" y="2148"/>
                  </a:lnTo>
                  <a:lnTo>
                    <a:pt x="966" y="2139"/>
                  </a:lnTo>
                  <a:lnTo>
                    <a:pt x="954" y="2117"/>
                  </a:lnTo>
                  <a:lnTo>
                    <a:pt x="941" y="2084"/>
                  </a:lnTo>
                  <a:lnTo>
                    <a:pt x="939" y="2079"/>
                  </a:lnTo>
                  <a:lnTo>
                    <a:pt x="938" y="2075"/>
                  </a:lnTo>
                  <a:lnTo>
                    <a:pt x="938" y="2071"/>
                  </a:lnTo>
                  <a:lnTo>
                    <a:pt x="939" y="2067"/>
                  </a:lnTo>
                  <a:lnTo>
                    <a:pt x="941" y="2065"/>
                  </a:lnTo>
                  <a:lnTo>
                    <a:pt x="942" y="2062"/>
                  </a:lnTo>
                  <a:lnTo>
                    <a:pt x="945" y="2059"/>
                  </a:lnTo>
                  <a:lnTo>
                    <a:pt x="949" y="2058"/>
                  </a:lnTo>
                  <a:lnTo>
                    <a:pt x="956" y="2055"/>
                  </a:lnTo>
                  <a:lnTo>
                    <a:pt x="966" y="2053"/>
                  </a:lnTo>
                  <a:lnTo>
                    <a:pt x="977" y="2053"/>
                  </a:lnTo>
                  <a:lnTo>
                    <a:pt x="989" y="2053"/>
                  </a:lnTo>
                  <a:lnTo>
                    <a:pt x="1014" y="2054"/>
                  </a:lnTo>
                  <a:lnTo>
                    <a:pt x="1037" y="2057"/>
                  </a:lnTo>
                  <a:lnTo>
                    <a:pt x="1057" y="2058"/>
                  </a:lnTo>
                  <a:lnTo>
                    <a:pt x="1069" y="2057"/>
                  </a:lnTo>
                  <a:lnTo>
                    <a:pt x="1095" y="2044"/>
                  </a:lnTo>
                  <a:lnTo>
                    <a:pt x="1113" y="2032"/>
                  </a:lnTo>
                  <a:lnTo>
                    <a:pt x="1117" y="2031"/>
                  </a:lnTo>
                  <a:lnTo>
                    <a:pt x="1121" y="2031"/>
                  </a:lnTo>
                  <a:lnTo>
                    <a:pt x="1126" y="2032"/>
                  </a:lnTo>
                  <a:lnTo>
                    <a:pt x="1130" y="2034"/>
                  </a:lnTo>
                  <a:lnTo>
                    <a:pt x="1136" y="2038"/>
                  </a:lnTo>
                  <a:lnTo>
                    <a:pt x="1141" y="2044"/>
                  </a:lnTo>
                  <a:lnTo>
                    <a:pt x="1146" y="2050"/>
                  </a:lnTo>
                  <a:lnTo>
                    <a:pt x="1151" y="2059"/>
                  </a:lnTo>
                  <a:lnTo>
                    <a:pt x="1159" y="2072"/>
                  </a:lnTo>
                  <a:lnTo>
                    <a:pt x="1168" y="2089"/>
                  </a:lnTo>
                  <a:lnTo>
                    <a:pt x="1177" y="2110"/>
                  </a:lnTo>
                  <a:lnTo>
                    <a:pt x="1187" y="2131"/>
                  </a:lnTo>
                  <a:lnTo>
                    <a:pt x="1194" y="2153"/>
                  </a:lnTo>
                  <a:lnTo>
                    <a:pt x="1198" y="2176"/>
                  </a:lnTo>
                  <a:lnTo>
                    <a:pt x="1200" y="2185"/>
                  </a:lnTo>
                  <a:lnTo>
                    <a:pt x="1200" y="2195"/>
                  </a:lnTo>
                  <a:lnTo>
                    <a:pt x="1200" y="2203"/>
                  </a:lnTo>
                  <a:lnTo>
                    <a:pt x="1197" y="2212"/>
                  </a:lnTo>
                  <a:lnTo>
                    <a:pt x="1196" y="2218"/>
                  </a:lnTo>
                  <a:lnTo>
                    <a:pt x="1194" y="2223"/>
                  </a:lnTo>
                  <a:lnTo>
                    <a:pt x="1194" y="2228"/>
                  </a:lnTo>
                  <a:lnTo>
                    <a:pt x="1196" y="2233"/>
                  </a:lnTo>
                  <a:lnTo>
                    <a:pt x="1197" y="2237"/>
                  </a:lnTo>
                  <a:lnTo>
                    <a:pt x="1200" y="2240"/>
                  </a:lnTo>
                  <a:lnTo>
                    <a:pt x="1204" y="2242"/>
                  </a:lnTo>
                  <a:lnTo>
                    <a:pt x="1208" y="2245"/>
                  </a:lnTo>
                  <a:lnTo>
                    <a:pt x="1217" y="2249"/>
                  </a:lnTo>
                  <a:lnTo>
                    <a:pt x="1228" y="2250"/>
                  </a:lnTo>
                  <a:lnTo>
                    <a:pt x="1242" y="2252"/>
                  </a:lnTo>
                  <a:lnTo>
                    <a:pt x="1256" y="2252"/>
                  </a:lnTo>
                  <a:lnTo>
                    <a:pt x="1286" y="2249"/>
                  </a:lnTo>
                  <a:lnTo>
                    <a:pt x="1313" y="2245"/>
                  </a:lnTo>
                  <a:lnTo>
                    <a:pt x="1336" y="2241"/>
                  </a:lnTo>
                  <a:lnTo>
                    <a:pt x="1349" y="2240"/>
                  </a:lnTo>
                  <a:lnTo>
                    <a:pt x="1361" y="2240"/>
                  </a:lnTo>
                  <a:lnTo>
                    <a:pt x="1371" y="2240"/>
                  </a:lnTo>
                  <a:lnTo>
                    <a:pt x="1378" y="2239"/>
                  </a:lnTo>
                  <a:lnTo>
                    <a:pt x="1383" y="2236"/>
                  </a:lnTo>
                  <a:lnTo>
                    <a:pt x="1387" y="2232"/>
                  </a:lnTo>
                  <a:lnTo>
                    <a:pt x="1387" y="2227"/>
                  </a:lnTo>
                  <a:lnTo>
                    <a:pt x="1387" y="2219"/>
                  </a:lnTo>
                  <a:lnTo>
                    <a:pt x="1384" y="2207"/>
                  </a:lnTo>
                  <a:lnTo>
                    <a:pt x="1381" y="2193"/>
                  </a:lnTo>
                  <a:lnTo>
                    <a:pt x="1379" y="2169"/>
                  </a:lnTo>
                  <a:lnTo>
                    <a:pt x="1379" y="2164"/>
                  </a:lnTo>
                  <a:lnTo>
                    <a:pt x="1379" y="2160"/>
                  </a:lnTo>
                  <a:lnTo>
                    <a:pt x="1380" y="2156"/>
                  </a:lnTo>
                  <a:lnTo>
                    <a:pt x="1381" y="2153"/>
                  </a:lnTo>
                  <a:lnTo>
                    <a:pt x="1384" y="2152"/>
                  </a:lnTo>
                  <a:lnTo>
                    <a:pt x="1387" y="2152"/>
                  </a:lnTo>
                  <a:lnTo>
                    <a:pt x="1391" y="2153"/>
                  </a:lnTo>
                  <a:lnTo>
                    <a:pt x="1396" y="2157"/>
                  </a:lnTo>
                  <a:lnTo>
                    <a:pt x="1405" y="2165"/>
                  </a:lnTo>
                  <a:lnTo>
                    <a:pt x="1414" y="2170"/>
                  </a:lnTo>
                  <a:lnTo>
                    <a:pt x="1422" y="2174"/>
                  </a:lnTo>
                  <a:lnTo>
                    <a:pt x="1429" y="2176"/>
                  </a:lnTo>
                  <a:lnTo>
                    <a:pt x="1435" y="2174"/>
                  </a:lnTo>
                  <a:lnTo>
                    <a:pt x="1440" y="2173"/>
                  </a:lnTo>
                  <a:lnTo>
                    <a:pt x="1444" y="2169"/>
                  </a:lnTo>
                  <a:lnTo>
                    <a:pt x="1449" y="2165"/>
                  </a:lnTo>
                  <a:lnTo>
                    <a:pt x="1457" y="2155"/>
                  </a:lnTo>
                  <a:lnTo>
                    <a:pt x="1466" y="2146"/>
                  </a:lnTo>
                  <a:lnTo>
                    <a:pt x="1472" y="2140"/>
                  </a:lnTo>
                  <a:lnTo>
                    <a:pt x="1477" y="2138"/>
                  </a:lnTo>
                  <a:lnTo>
                    <a:pt x="1484" y="2135"/>
                  </a:lnTo>
                  <a:lnTo>
                    <a:pt x="1490" y="2134"/>
                  </a:lnTo>
                  <a:lnTo>
                    <a:pt x="1498" y="2134"/>
                  </a:lnTo>
                  <a:lnTo>
                    <a:pt x="1504" y="2136"/>
                  </a:lnTo>
                  <a:lnTo>
                    <a:pt x="1512" y="2140"/>
                  </a:lnTo>
                  <a:lnTo>
                    <a:pt x="1520" y="2144"/>
                  </a:lnTo>
                  <a:lnTo>
                    <a:pt x="1535" y="2156"/>
                  </a:lnTo>
                  <a:lnTo>
                    <a:pt x="1548" y="2165"/>
                  </a:lnTo>
                  <a:lnTo>
                    <a:pt x="1554" y="2172"/>
                  </a:lnTo>
                  <a:lnTo>
                    <a:pt x="1559" y="2181"/>
                  </a:lnTo>
                  <a:lnTo>
                    <a:pt x="1565" y="2194"/>
                  </a:lnTo>
                  <a:lnTo>
                    <a:pt x="1570" y="2207"/>
                  </a:lnTo>
                  <a:lnTo>
                    <a:pt x="1575" y="2221"/>
                  </a:lnTo>
                  <a:lnTo>
                    <a:pt x="1582" y="2236"/>
                  </a:lnTo>
                  <a:lnTo>
                    <a:pt x="1584" y="2242"/>
                  </a:lnTo>
                  <a:lnTo>
                    <a:pt x="1588" y="2248"/>
                  </a:lnTo>
                  <a:lnTo>
                    <a:pt x="1592" y="2253"/>
                  </a:lnTo>
                  <a:lnTo>
                    <a:pt x="1597" y="2257"/>
                  </a:lnTo>
                  <a:lnTo>
                    <a:pt x="1604" y="2262"/>
                  </a:lnTo>
                  <a:lnTo>
                    <a:pt x="1612" y="2265"/>
                  </a:lnTo>
                  <a:lnTo>
                    <a:pt x="1620" y="2266"/>
                  </a:lnTo>
                  <a:lnTo>
                    <a:pt x="1626" y="2266"/>
                  </a:lnTo>
                  <a:lnTo>
                    <a:pt x="1640" y="2263"/>
                  </a:lnTo>
                  <a:lnTo>
                    <a:pt x="1656" y="2257"/>
                  </a:lnTo>
                  <a:lnTo>
                    <a:pt x="1699" y="2240"/>
                  </a:lnTo>
                  <a:lnTo>
                    <a:pt x="1744" y="2224"/>
                  </a:lnTo>
                  <a:lnTo>
                    <a:pt x="1787" y="2208"/>
                  </a:lnTo>
                  <a:lnTo>
                    <a:pt x="1831" y="2190"/>
                  </a:lnTo>
                  <a:lnTo>
                    <a:pt x="1838" y="2187"/>
                  </a:lnTo>
                  <a:lnTo>
                    <a:pt x="1845" y="2187"/>
                  </a:lnTo>
                  <a:lnTo>
                    <a:pt x="1850" y="2187"/>
                  </a:lnTo>
                  <a:lnTo>
                    <a:pt x="1854" y="2189"/>
                  </a:lnTo>
                  <a:lnTo>
                    <a:pt x="1858" y="2191"/>
                  </a:lnTo>
                  <a:lnTo>
                    <a:pt x="1860" y="2195"/>
                  </a:lnTo>
                  <a:lnTo>
                    <a:pt x="1863" y="2201"/>
                  </a:lnTo>
                  <a:lnTo>
                    <a:pt x="1864" y="2204"/>
                  </a:lnTo>
                  <a:lnTo>
                    <a:pt x="1865" y="2218"/>
                  </a:lnTo>
                  <a:lnTo>
                    <a:pt x="1864" y="2229"/>
                  </a:lnTo>
                  <a:lnTo>
                    <a:pt x="1860" y="2242"/>
                  </a:lnTo>
                  <a:lnTo>
                    <a:pt x="1855" y="2254"/>
                  </a:lnTo>
                  <a:lnTo>
                    <a:pt x="1852" y="2258"/>
                  </a:lnTo>
                  <a:lnTo>
                    <a:pt x="1848" y="2262"/>
                  </a:lnTo>
                  <a:lnTo>
                    <a:pt x="1845" y="2265"/>
                  </a:lnTo>
                  <a:lnTo>
                    <a:pt x="1839" y="2267"/>
                  </a:lnTo>
                  <a:lnTo>
                    <a:pt x="1829" y="2273"/>
                  </a:lnTo>
                  <a:lnTo>
                    <a:pt x="1817" y="2278"/>
                  </a:lnTo>
                  <a:lnTo>
                    <a:pt x="1807" y="2282"/>
                  </a:lnTo>
                  <a:lnTo>
                    <a:pt x="1797" y="2287"/>
                  </a:lnTo>
                  <a:lnTo>
                    <a:pt x="1793" y="2290"/>
                  </a:lnTo>
                  <a:lnTo>
                    <a:pt x="1791" y="2293"/>
                  </a:lnTo>
                  <a:lnTo>
                    <a:pt x="1790" y="2297"/>
                  </a:lnTo>
                  <a:lnTo>
                    <a:pt x="1788" y="2301"/>
                  </a:lnTo>
                  <a:lnTo>
                    <a:pt x="1790" y="2309"/>
                  </a:lnTo>
                  <a:lnTo>
                    <a:pt x="1792" y="2316"/>
                  </a:lnTo>
                  <a:lnTo>
                    <a:pt x="1795" y="2324"/>
                  </a:lnTo>
                  <a:lnTo>
                    <a:pt x="1800" y="2330"/>
                  </a:lnTo>
                  <a:lnTo>
                    <a:pt x="1805" y="2337"/>
                  </a:lnTo>
                  <a:lnTo>
                    <a:pt x="1812" y="2343"/>
                  </a:lnTo>
                  <a:lnTo>
                    <a:pt x="1820" y="2350"/>
                  </a:lnTo>
                  <a:lnTo>
                    <a:pt x="1828" y="2355"/>
                  </a:lnTo>
                  <a:lnTo>
                    <a:pt x="1835" y="2359"/>
                  </a:lnTo>
                  <a:lnTo>
                    <a:pt x="1845" y="2364"/>
                  </a:lnTo>
                  <a:lnTo>
                    <a:pt x="1852" y="2367"/>
                  </a:lnTo>
                  <a:lnTo>
                    <a:pt x="1862" y="2369"/>
                  </a:lnTo>
                  <a:lnTo>
                    <a:pt x="1871" y="2369"/>
                  </a:lnTo>
                  <a:lnTo>
                    <a:pt x="1879" y="2369"/>
                  </a:lnTo>
                  <a:lnTo>
                    <a:pt x="1886" y="2368"/>
                  </a:lnTo>
                  <a:lnTo>
                    <a:pt x="1894" y="2367"/>
                  </a:lnTo>
                  <a:lnTo>
                    <a:pt x="1924" y="2359"/>
                  </a:lnTo>
                  <a:lnTo>
                    <a:pt x="1953" y="2354"/>
                  </a:lnTo>
                  <a:lnTo>
                    <a:pt x="1958" y="2352"/>
                  </a:lnTo>
                  <a:lnTo>
                    <a:pt x="1964" y="2350"/>
                  </a:lnTo>
                  <a:lnTo>
                    <a:pt x="1967" y="2346"/>
                  </a:lnTo>
                  <a:lnTo>
                    <a:pt x="1971" y="2341"/>
                  </a:lnTo>
                  <a:lnTo>
                    <a:pt x="1973" y="2334"/>
                  </a:lnTo>
                  <a:lnTo>
                    <a:pt x="1973" y="2326"/>
                  </a:lnTo>
                  <a:lnTo>
                    <a:pt x="1973" y="2317"/>
                  </a:lnTo>
                  <a:lnTo>
                    <a:pt x="1970" y="2307"/>
                  </a:lnTo>
                  <a:lnTo>
                    <a:pt x="1967" y="2292"/>
                  </a:lnTo>
                  <a:lnTo>
                    <a:pt x="1966" y="2280"/>
                  </a:lnTo>
                  <a:lnTo>
                    <a:pt x="1966" y="2269"/>
                  </a:lnTo>
                  <a:lnTo>
                    <a:pt x="1967" y="2258"/>
                  </a:lnTo>
                  <a:lnTo>
                    <a:pt x="1970" y="2249"/>
                  </a:lnTo>
                  <a:lnTo>
                    <a:pt x="1974" y="2239"/>
                  </a:lnTo>
                  <a:lnTo>
                    <a:pt x="1979" y="2231"/>
                  </a:lnTo>
                  <a:lnTo>
                    <a:pt x="1986" y="2221"/>
                  </a:lnTo>
                  <a:lnTo>
                    <a:pt x="1999" y="2204"/>
                  </a:lnTo>
                  <a:lnTo>
                    <a:pt x="2013" y="2187"/>
                  </a:lnTo>
                  <a:lnTo>
                    <a:pt x="2028" y="2169"/>
                  </a:lnTo>
                  <a:lnTo>
                    <a:pt x="2042" y="2148"/>
                  </a:lnTo>
                  <a:lnTo>
                    <a:pt x="2050" y="2126"/>
                  </a:lnTo>
                  <a:lnTo>
                    <a:pt x="2056" y="2100"/>
                  </a:lnTo>
                  <a:lnTo>
                    <a:pt x="2060" y="2088"/>
                  </a:lnTo>
                  <a:lnTo>
                    <a:pt x="2066" y="2078"/>
                  </a:lnTo>
                  <a:lnTo>
                    <a:pt x="2068" y="2075"/>
                  </a:lnTo>
                  <a:lnTo>
                    <a:pt x="2072" y="2071"/>
                  </a:lnTo>
                  <a:lnTo>
                    <a:pt x="2076" y="2070"/>
                  </a:lnTo>
                  <a:lnTo>
                    <a:pt x="2080" y="2068"/>
                  </a:lnTo>
                  <a:lnTo>
                    <a:pt x="2085" y="2071"/>
                  </a:lnTo>
                  <a:lnTo>
                    <a:pt x="2089" y="2074"/>
                  </a:lnTo>
                  <a:lnTo>
                    <a:pt x="2093" y="2079"/>
                  </a:lnTo>
                  <a:lnTo>
                    <a:pt x="2097" y="2083"/>
                  </a:lnTo>
                  <a:lnTo>
                    <a:pt x="2101" y="2085"/>
                  </a:lnTo>
                  <a:lnTo>
                    <a:pt x="2105" y="2085"/>
                  </a:lnTo>
                  <a:lnTo>
                    <a:pt x="2109" y="2083"/>
                  </a:lnTo>
                  <a:lnTo>
                    <a:pt x="2114" y="2075"/>
                  </a:lnTo>
                  <a:lnTo>
                    <a:pt x="2119" y="2065"/>
                  </a:lnTo>
                  <a:lnTo>
                    <a:pt x="2127" y="2050"/>
                  </a:lnTo>
                  <a:lnTo>
                    <a:pt x="2134" y="2037"/>
                  </a:lnTo>
                  <a:lnTo>
                    <a:pt x="2139" y="2029"/>
                  </a:lnTo>
                  <a:lnTo>
                    <a:pt x="2149" y="2012"/>
                  </a:lnTo>
                  <a:lnTo>
                    <a:pt x="2161" y="1994"/>
                  </a:lnTo>
                  <a:lnTo>
                    <a:pt x="2165" y="1991"/>
                  </a:lnTo>
                  <a:lnTo>
                    <a:pt x="2168" y="1989"/>
                  </a:lnTo>
                  <a:lnTo>
                    <a:pt x="2172" y="1987"/>
                  </a:lnTo>
                  <a:lnTo>
                    <a:pt x="2175" y="1987"/>
                  </a:lnTo>
                  <a:lnTo>
                    <a:pt x="2179" y="1989"/>
                  </a:lnTo>
                  <a:lnTo>
                    <a:pt x="2183" y="1991"/>
                  </a:lnTo>
                  <a:lnTo>
                    <a:pt x="2187" y="1995"/>
                  </a:lnTo>
                  <a:lnTo>
                    <a:pt x="2191" y="2003"/>
                  </a:lnTo>
                  <a:lnTo>
                    <a:pt x="2194" y="2007"/>
                  </a:lnTo>
                  <a:lnTo>
                    <a:pt x="2198" y="2010"/>
                  </a:lnTo>
                  <a:lnTo>
                    <a:pt x="2200" y="2012"/>
                  </a:lnTo>
                  <a:lnTo>
                    <a:pt x="2206" y="2014"/>
                  </a:lnTo>
                  <a:lnTo>
                    <a:pt x="2215" y="2015"/>
                  </a:lnTo>
                  <a:lnTo>
                    <a:pt x="2224" y="2015"/>
                  </a:lnTo>
                  <a:lnTo>
                    <a:pt x="2234" y="2015"/>
                  </a:lnTo>
                  <a:lnTo>
                    <a:pt x="2245" y="2014"/>
                  </a:lnTo>
                  <a:lnTo>
                    <a:pt x="2255" y="2014"/>
                  </a:lnTo>
                  <a:lnTo>
                    <a:pt x="2266" y="2015"/>
                  </a:lnTo>
                  <a:lnTo>
                    <a:pt x="2277" y="2019"/>
                  </a:lnTo>
                  <a:lnTo>
                    <a:pt x="2292" y="2027"/>
                  </a:lnTo>
                  <a:lnTo>
                    <a:pt x="2306" y="2034"/>
                  </a:lnTo>
                  <a:lnTo>
                    <a:pt x="2321" y="2045"/>
                  </a:lnTo>
                  <a:lnTo>
                    <a:pt x="2327" y="2050"/>
                  </a:lnTo>
                  <a:lnTo>
                    <a:pt x="2332" y="2057"/>
                  </a:lnTo>
                  <a:lnTo>
                    <a:pt x="2338" y="2062"/>
                  </a:lnTo>
                  <a:lnTo>
                    <a:pt x="2342" y="2068"/>
                  </a:lnTo>
                  <a:lnTo>
                    <a:pt x="2344" y="2075"/>
                  </a:lnTo>
                  <a:lnTo>
                    <a:pt x="2345" y="2082"/>
                  </a:lnTo>
                  <a:lnTo>
                    <a:pt x="2345" y="2087"/>
                  </a:lnTo>
                  <a:lnTo>
                    <a:pt x="2344" y="2093"/>
                  </a:lnTo>
                  <a:lnTo>
                    <a:pt x="2340" y="2108"/>
                  </a:lnTo>
                  <a:lnTo>
                    <a:pt x="2338" y="2121"/>
                  </a:lnTo>
                  <a:lnTo>
                    <a:pt x="2338" y="2133"/>
                  </a:lnTo>
                  <a:lnTo>
                    <a:pt x="2340" y="2143"/>
                  </a:lnTo>
                  <a:lnTo>
                    <a:pt x="2343" y="2153"/>
                  </a:lnTo>
                  <a:lnTo>
                    <a:pt x="2348" y="2163"/>
                  </a:lnTo>
                  <a:lnTo>
                    <a:pt x="2353" y="2172"/>
                  </a:lnTo>
                  <a:lnTo>
                    <a:pt x="2359" y="2180"/>
                  </a:lnTo>
                  <a:lnTo>
                    <a:pt x="2372" y="2195"/>
                  </a:lnTo>
                  <a:lnTo>
                    <a:pt x="2385" y="2212"/>
                  </a:lnTo>
                  <a:lnTo>
                    <a:pt x="2390" y="2221"/>
                  </a:lnTo>
                  <a:lnTo>
                    <a:pt x="2394" y="2231"/>
                  </a:lnTo>
                  <a:lnTo>
                    <a:pt x="2398" y="2241"/>
                  </a:lnTo>
                  <a:lnTo>
                    <a:pt x="2399" y="2253"/>
                  </a:lnTo>
                  <a:lnTo>
                    <a:pt x="2402" y="2283"/>
                  </a:lnTo>
                  <a:lnTo>
                    <a:pt x="2407" y="2310"/>
                  </a:lnTo>
                  <a:lnTo>
                    <a:pt x="2412" y="2335"/>
                  </a:lnTo>
                  <a:lnTo>
                    <a:pt x="2417" y="2360"/>
                  </a:lnTo>
                  <a:lnTo>
                    <a:pt x="2425" y="2385"/>
                  </a:lnTo>
                  <a:lnTo>
                    <a:pt x="2433" y="2411"/>
                  </a:lnTo>
                  <a:lnTo>
                    <a:pt x="2442" y="2437"/>
                  </a:lnTo>
                  <a:lnTo>
                    <a:pt x="2451" y="2466"/>
                  </a:lnTo>
                  <a:lnTo>
                    <a:pt x="2461" y="2498"/>
                  </a:lnTo>
                  <a:lnTo>
                    <a:pt x="2470" y="2532"/>
                  </a:lnTo>
                  <a:lnTo>
                    <a:pt x="2478" y="2566"/>
                  </a:lnTo>
                  <a:lnTo>
                    <a:pt x="2485" y="2597"/>
                  </a:lnTo>
                  <a:lnTo>
                    <a:pt x="2493" y="2624"/>
                  </a:lnTo>
                  <a:lnTo>
                    <a:pt x="2502" y="2645"/>
                  </a:lnTo>
                  <a:lnTo>
                    <a:pt x="2513" y="2666"/>
                  </a:lnTo>
                  <a:lnTo>
                    <a:pt x="2527" y="2691"/>
                  </a:lnTo>
                  <a:lnTo>
                    <a:pt x="2536" y="2705"/>
                  </a:lnTo>
                  <a:lnTo>
                    <a:pt x="2547" y="2720"/>
                  </a:lnTo>
                  <a:lnTo>
                    <a:pt x="2557" y="2734"/>
                  </a:lnTo>
                  <a:lnTo>
                    <a:pt x="2567" y="2749"/>
                  </a:lnTo>
                  <a:lnTo>
                    <a:pt x="2576" y="2774"/>
                  </a:lnTo>
                  <a:lnTo>
                    <a:pt x="2582" y="2793"/>
                  </a:lnTo>
                  <a:lnTo>
                    <a:pt x="2585" y="2802"/>
                  </a:lnTo>
                  <a:lnTo>
                    <a:pt x="2590" y="2811"/>
                  </a:lnTo>
                  <a:lnTo>
                    <a:pt x="2597" y="2821"/>
                  </a:lnTo>
                  <a:lnTo>
                    <a:pt x="2607" y="2830"/>
                  </a:lnTo>
                  <a:lnTo>
                    <a:pt x="2615" y="2839"/>
                  </a:lnTo>
                  <a:lnTo>
                    <a:pt x="2624" y="2848"/>
                  </a:lnTo>
                  <a:lnTo>
                    <a:pt x="2628" y="2853"/>
                  </a:lnTo>
                  <a:lnTo>
                    <a:pt x="2633" y="2857"/>
                  </a:lnTo>
                  <a:lnTo>
                    <a:pt x="2638" y="2860"/>
                  </a:lnTo>
                  <a:lnTo>
                    <a:pt x="2644" y="2861"/>
                  </a:lnTo>
                  <a:lnTo>
                    <a:pt x="2659" y="2864"/>
                  </a:lnTo>
                  <a:lnTo>
                    <a:pt x="2675" y="2866"/>
                  </a:lnTo>
                  <a:lnTo>
                    <a:pt x="2691" y="2869"/>
                  </a:lnTo>
                  <a:lnTo>
                    <a:pt x="2705" y="2870"/>
                  </a:lnTo>
                  <a:lnTo>
                    <a:pt x="2767" y="2873"/>
                  </a:lnTo>
                  <a:lnTo>
                    <a:pt x="2799" y="2784"/>
                  </a:lnTo>
                  <a:lnTo>
                    <a:pt x="2806" y="2766"/>
                  </a:lnTo>
                  <a:lnTo>
                    <a:pt x="2811" y="2749"/>
                  </a:lnTo>
                  <a:lnTo>
                    <a:pt x="2815" y="2733"/>
                  </a:lnTo>
                  <a:lnTo>
                    <a:pt x="2816" y="2717"/>
                  </a:lnTo>
                  <a:lnTo>
                    <a:pt x="2816" y="2711"/>
                  </a:lnTo>
                  <a:lnTo>
                    <a:pt x="2815" y="2703"/>
                  </a:lnTo>
                  <a:lnTo>
                    <a:pt x="2814" y="2696"/>
                  </a:lnTo>
                  <a:lnTo>
                    <a:pt x="2811" y="2688"/>
                  </a:lnTo>
                  <a:lnTo>
                    <a:pt x="2803" y="2671"/>
                  </a:lnTo>
                  <a:lnTo>
                    <a:pt x="2792" y="2654"/>
                  </a:lnTo>
                  <a:lnTo>
                    <a:pt x="2785" y="2645"/>
                  </a:lnTo>
                  <a:lnTo>
                    <a:pt x="2776" y="2639"/>
                  </a:lnTo>
                  <a:lnTo>
                    <a:pt x="2768" y="2632"/>
                  </a:lnTo>
                  <a:lnTo>
                    <a:pt x="2760" y="2627"/>
                  </a:lnTo>
                  <a:lnTo>
                    <a:pt x="2756" y="2623"/>
                  </a:lnTo>
                  <a:lnTo>
                    <a:pt x="2754" y="2619"/>
                  </a:lnTo>
                  <a:lnTo>
                    <a:pt x="2751" y="2615"/>
                  </a:lnTo>
                  <a:lnTo>
                    <a:pt x="2750" y="2610"/>
                  </a:lnTo>
                  <a:lnTo>
                    <a:pt x="2748" y="2605"/>
                  </a:lnTo>
                  <a:lnTo>
                    <a:pt x="2748" y="2598"/>
                  </a:lnTo>
                  <a:lnTo>
                    <a:pt x="2750" y="2589"/>
                  </a:lnTo>
                  <a:lnTo>
                    <a:pt x="2752" y="2580"/>
                  </a:lnTo>
                  <a:lnTo>
                    <a:pt x="2756" y="2559"/>
                  </a:lnTo>
                  <a:lnTo>
                    <a:pt x="2760" y="2537"/>
                  </a:lnTo>
                  <a:lnTo>
                    <a:pt x="2761" y="2513"/>
                  </a:lnTo>
                  <a:lnTo>
                    <a:pt x="2763" y="2491"/>
                  </a:lnTo>
                  <a:lnTo>
                    <a:pt x="2761" y="2469"/>
                  </a:lnTo>
                  <a:lnTo>
                    <a:pt x="2760" y="2446"/>
                  </a:lnTo>
                  <a:lnTo>
                    <a:pt x="2756" y="2424"/>
                  </a:lnTo>
                  <a:lnTo>
                    <a:pt x="2751" y="2403"/>
                  </a:lnTo>
                  <a:lnTo>
                    <a:pt x="2746" y="2388"/>
                  </a:lnTo>
                  <a:lnTo>
                    <a:pt x="2740" y="2368"/>
                  </a:lnTo>
                  <a:lnTo>
                    <a:pt x="2739" y="2358"/>
                  </a:lnTo>
                  <a:lnTo>
                    <a:pt x="2738" y="2348"/>
                  </a:lnTo>
                  <a:lnTo>
                    <a:pt x="2738" y="2339"/>
                  </a:lnTo>
                  <a:lnTo>
                    <a:pt x="2739" y="2331"/>
                  </a:lnTo>
                  <a:lnTo>
                    <a:pt x="2746" y="2314"/>
                  </a:lnTo>
                  <a:lnTo>
                    <a:pt x="2754" y="2301"/>
                  </a:lnTo>
                  <a:lnTo>
                    <a:pt x="2763" y="2287"/>
                  </a:lnTo>
                  <a:lnTo>
                    <a:pt x="2773" y="2269"/>
                  </a:lnTo>
                  <a:lnTo>
                    <a:pt x="2794" y="2229"/>
                  </a:lnTo>
                  <a:lnTo>
                    <a:pt x="2773" y="2198"/>
                  </a:lnTo>
                  <a:lnTo>
                    <a:pt x="2768" y="2187"/>
                  </a:lnTo>
                  <a:lnTo>
                    <a:pt x="2763" y="2174"/>
                  </a:lnTo>
                  <a:lnTo>
                    <a:pt x="2760" y="2160"/>
                  </a:lnTo>
                  <a:lnTo>
                    <a:pt x="2757" y="2147"/>
                  </a:lnTo>
                  <a:lnTo>
                    <a:pt x="2757" y="2131"/>
                  </a:lnTo>
                  <a:lnTo>
                    <a:pt x="2757" y="2114"/>
                  </a:lnTo>
                  <a:lnTo>
                    <a:pt x="2757" y="2097"/>
                  </a:lnTo>
                  <a:lnTo>
                    <a:pt x="2755" y="2083"/>
                  </a:lnTo>
                  <a:lnTo>
                    <a:pt x="2750" y="2068"/>
                  </a:lnTo>
                  <a:lnTo>
                    <a:pt x="2744" y="2054"/>
                  </a:lnTo>
                  <a:lnTo>
                    <a:pt x="2737" y="2041"/>
                  </a:lnTo>
                  <a:lnTo>
                    <a:pt x="2729" y="2027"/>
                  </a:lnTo>
                  <a:lnTo>
                    <a:pt x="2722" y="2014"/>
                  </a:lnTo>
                  <a:lnTo>
                    <a:pt x="2714" y="1999"/>
                  </a:lnTo>
                  <a:lnTo>
                    <a:pt x="2709" y="1985"/>
                  </a:lnTo>
                  <a:lnTo>
                    <a:pt x="2705" y="1969"/>
                  </a:lnTo>
                  <a:lnTo>
                    <a:pt x="2704" y="1964"/>
                  </a:lnTo>
                  <a:lnTo>
                    <a:pt x="2704" y="1961"/>
                  </a:lnTo>
                  <a:lnTo>
                    <a:pt x="2706" y="1959"/>
                  </a:lnTo>
                  <a:lnTo>
                    <a:pt x="2709" y="1956"/>
                  </a:lnTo>
                  <a:lnTo>
                    <a:pt x="2716" y="1956"/>
                  </a:lnTo>
                  <a:lnTo>
                    <a:pt x="2726" y="1957"/>
                  </a:lnTo>
                  <a:lnTo>
                    <a:pt x="2737" y="1961"/>
                  </a:lnTo>
                  <a:lnTo>
                    <a:pt x="2747" y="1964"/>
                  </a:lnTo>
                  <a:lnTo>
                    <a:pt x="2756" y="1966"/>
                  </a:lnTo>
                  <a:lnTo>
                    <a:pt x="2764" y="1966"/>
                  </a:lnTo>
                  <a:lnTo>
                    <a:pt x="2777" y="1962"/>
                  </a:lnTo>
                  <a:lnTo>
                    <a:pt x="2789" y="1957"/>
                  </a:lnTo>
                  <a:lnTo>
                    <a:pt x="2801" y="1953"/>
                  </a:lnTo>
                  <a:lnTo>
                    <a:pt x="2812" y="1948"/>
                  </a:lnTo>
                  <a:lnTo>
                    <a:pt x="2826" y="1942"/>
                  </a:lnTo>
                  <a:lnTo>
                    <a:pt x="2837" y="1932"/>
                  </a:lnTo>
                  <a:lnTo>
                    <a:pt x="2849" y="1922"/>
                  </a:lnTo>
                  <a:lnTo>
                    <a:pt x="2860" y="1910"/>
                  </a:lnTo>
                  <a:lnTo>
                    <a:pt x="2869" y="1897"/>
                  </a:lnTo>
                  <a:lnTo>
                    <a:pt x="2877" y="1883"/>
                  </a:lnTo>
                  <a:lnTo>
                    <a:pt x="2884" y="1868"/>
                  </a:lnTo>
                  <a:lnTo>
                    <a:pt x="2892" y="1853"/>
                  </a:lnTo>
                  <a:lnTo>
                    <a:pt x="2905" y="1823"/>
                  </a:lnTo>
                  <a:lnTo>
                    <a:pt x="2920" y="1792"/>
                  </a:lnTo>
                  <a:lnTo>
                    <a:pt x="2928" y="1778"/>
                  </a:lnTo>
                  <a:lnTo>
                    <a:pt x="2935" y="1765"/>
                  </a:lnTo>
                  <a:lnTo>
                    <a:pt x="2945" y="1753"/>
                  </a:lnTo>
                  <a:lnTo>
                    <a:pt x="2954" y="1743"/>
                  </a:lnTo>
                  <a:lnTo>
                    <a:pt x="2964" y="1731"/>
                  </a:lnTo>
                  <a:lnTo>
                    <a:pt x="2969" y="1724"/>
                  </a:lnTo>
                  <a:lnTo>
                    <a:pt x="2971" y="1722"/>
                  </a:lnTo>
                  <a:lnTo>
                    <a:pt x="2969" y="1721"/>
                  </a:lnTo>
                  <a:lnTo>
                    <a:pt x="2969" y="1719"/>
                  </a:lnTo>
                  <a:lnTo>
                    <a:pt x="2967" y="1719"/>
                  </a:lnTo>
                  <a:lnTo>
                    <a:pt x="2954" y="1724"/>
                  </a:lnTo>
                  <a:lnTo>
                    <a:pt x="2935" y="1732"/>
                  </a:lnTo>
                  <a:lnTo>
                    <a:pt x="2914" y="1743"/>
                  </a:lnTo>
                  <a:lnTo>
                    <a:pt x="2890" y="1753"/>
                  </a:lnTo>
                  <a:lnTo>
                    <a:pt x="2877" y="1756"/>
                  </a:lnTo>
                  <a:lnTo>
                    <a:pt x="2863" y="1758"/>
                  </a:lnTo>
                  <a:lnTo>
                    <a:pt x="2857" y="1758"/>
                  </a:lnTo>
                  <a:lnTo>
                    <a:pt x="2850" y="1758"/>
                  </a:lnTo>
                  <a:lnTo>
                    <a:pt x="2845" y="1757"/>
                  </a:lnTo>
                  <a:lnTo>
                    <a:pt x="2839" y="1756"/>
                  </a:lnTo>
                  <a:lnTo>
                    <a:pt x="2832" y="1752"/>
                  </a:lnTo>
                  <a:lnTo>
                    <a:pt x="2827" y="1748"/>
                  </a:lnTo>
                  <a:lnTo>
                    <a:pt x="2822" y="1743"/>
                  </a:lnTo>
                  <a:lnTo>
                    <a:pt x="2819" y="1738"/>
                  </a:lnTo>
                  <a:lnTo>
                    <a:pt x="2815" y="1726"/>
                  </a:lnTo>
                  <a:lnTo>
                    <a:pt x="2812" y="1711"/>
                  </a:lnTo>
                  <a:lnTo>
                    <a:pt x="2809" y="1697"/>
                  </a:lnTo>
                  <a:lnTo>
                    <a:pt x="2805" y="1681"/>
                  </a:lnTo>
                  <a:lnTo>
                    <a:pt x="2801" y="1673"/>
                  </a:lnTo>
                  <a:lnTo>
                    <a:pt x="2797" y="1667"/>
                  </a:lnTo>
                  <a:lnTo>
                    <a:pt x="2792" y="1659"/>
                  </a:lnTo>
                  <a:lnTo>
                    <a:pt x="2785" y="1652"/>
                  </a:lnTo>
                  <a:lnTo>
                    <a:pt x="2781" y="1649"/>
                  </a:lnTo>
                  <a:lnTo>
                    <a:pt x="2777" y="1645"/>
                  </a:lnTo>
                  <a:lnTo>
                    <a:pt x="2774" y="1639"/>
                  </a:lnTo>
                  <a:lnTo>
                    <a:pt x="2773" y="1634"/>
                  </a:lnTo>
                  <a:lnTo>
                    <a:pt x="2771" y="1624"/>
                  </a:lnTo>
                  <a:lnTo>
                    <a:pt x="2771" y="1613"/>
                  </a:lnTo>
                  <a:lnTo>
                    <a:pt x="2773" y="1588"/>
                  </a:lnTo>
                  <a:lnTo>
                    <a:pt x="2778" y="1564"/>
                  </a:lnTo>
                  <a:lnTo>
                    <a:pt x="2784" y="1540"/>
                  </a:lnTo>
                  <a:lnTo>
                    <a:pt x="2785" y="1518"/>
                  </a:lnTo>
                  <a:lnTo>
                    <a:pt x="2784" y="1509"/>
                  </a:lnTo>
                  <a:lnTo>
                    <a:pt x="2781" y="1501"/>
                  </a:lnTo>
                  <a:lnTo>
                    <a:pt x="2778" y="1498"/>
                  </a:lnTo>
                  <a:lnTo>
                    <a:pt x="2776" y="1494"/>
                  </a:lnTo>
                  <a:lnTo>
                    <a:pt x="2773" y="1493"/>
                  </a:lnTo>
                  <a:lnTo>
                    <a:pt x="2768" y="1490"/>
                  </a:lnTo>
                  <a:lnTo>
                    <a:pt x="2756" y="1485"/>
                  </a:lnTo>
                  <a:lnTo>
                    <a:pt x="2746" y="1477"/>
                  </a:lnTo>
                  <a:lnTo>
                    <a:pt x="2738" y="1469"/>
                  </a:lnTo>
                  <a:lnTo>
                    <a:pt x="2730" y="1460"/>
                  </a:lnTo>
                  <a:lnTo>
                    <a:pt x="2725" y="1448"/>
                  </a:lnTo>
                  <a:lnTo>
                    <a:pt x="2721" y="1437"/>
                  </a:lnTo>
                  <a:lnTo>
                    <a:pt x="2718" y="1422"/>
                  </a:lnTo>
                  <a:lnTo>
                    <a:pt x="2717" y="1408"/>
                  </a:lnTo>
                  <a:lnTo>
                    <a:pt x="2716" y="1399"/>
                  </a:lnTo>
                  <a:lnTo>
                    <a:pt x="2714" y="1391"/>
                  </a:lnTo>
                  <a:lnTo>
                    <a:pt x="2710" y="1384"/>
                  </a:lnTo>
                  <a:lnTo>
                    <a:pt x="2706" y="1378"/>
                  </a:lnTo>
                  <a:lnTo>
                    <a:pt x="2703" y="1373"/>
                  </a:lnTo>
                  <a:lnTo>
                    <a:pt x="2696" y="1367"/>
                  </a:lnTo>
                  <a:lnTo>
                    <a:pt x="2691" y="1363"/>
                  </a:lnTo>
                  <a:lnTo>
                    <a:pt x="2684" y="1359"/>
                  </a:lnTo>
                  <a:lnTo>
                    <a:pt x="2655" y="1345"/>
                  </a:lnTo>
                  <a:lnTo>
                    <a:pt x="2627" y="1333"/>
                  </a:lnTo>
                  <a:lnTo>
                    <a:pt x="2618" y="1328"/>
                  </a:lnTo>
                  <a:lnTo>
                    <a:pt x="2612" y="1323"/>
                  </a:lnTo>
                  <a:lnTo>
                    <a:pt x="2610" y="1322"/>
                  </a:lnTo>
                  <a:lnTo>
                    <a:pt x="2610" y="1319"/>
                  </a:lnTo>
                  <a:lnTo>
                    <a:pt x="2608" y="1316"/>
                  </a:lnTo>
                  <a:lnTo>
                    <a:pt x="2610" y="1315"/>
                  </a:lnTo>
                  <a:lnTo>
                    <a:pt x="2612" y="1312"/>
                  </a:lnTo>
                  <a:lnTo>
                    <a:pt x="2618" y="1308"/>
                  </a:lnTo>
                  <a:lnTo>
                    <a:pt x="2623" y="1306"/>
                  </a:lnTo>
                  <a:lnTo>
                    <a:pt x="2631" y="1303"/>
                  </a:lnTo>
                  <a:lnTo>
                    <a:pt x="2648" y="1298"/>
                  </a:lnTo>
                  <a:lnTo>
                    <a:pt x="2665" y="1293"/>
                  </a:lnTo>
                  <a:lnTo>
                    <a:pt x="2672" y="1289"/>
                  </a:lnTo>
                  <a:lnTo>
                    <a:pt x="2679" y="1286"/>
                  </a:lnTo>
                  <a:lnTo>
                    <a:pt x="2683" y="1282"/>
                  </a:lnTo>
                  <a:lnTo>
                    <a:pt x="2686" y="1277"/>
                  </a:lnTo>
                  <a:lnTo>
                    <a:pt x="2705" y="1189"/>
                  </a:lnTo>
                  <a:lnTo>
                    <a:pt x="2705" y="1183"/>
                  </a:lnTo>
                  <a:lnTo>
                    <a:pt x="2704" y="1176"/>
                  </a:lnTo>
                  <a:lnTo>
                    <a:pt x="2701" y="1170"/>
                  </a:lnTo>
                  <a:lnTo>
                    <a:pt x="2697" y="1163"/>
                  </a:lnTo>
                  <a:lnTo>
                    <a:pt x="2687" y="1150"/>
                  </a:lnTo>
                  <a:lnTo>
                    <a:pt x="2675" y="1137"/>
                  </a:lnTo>
                  <a:lnTo>
                    <a:pt x="2663" y="1125"/>
                  </a:lnTo>
                  <a:lnTo>
                    <a:pt x="2653" y="1112"/>
                  </a:lnTo>
                  <a:lnTo>
                    <a:pt x="2650" y="1106"/>
                  </a:lnTo>
                  <a:lnTo>
                    <a:pt x="2649" y="1098"/>
                  </a:lnTo>
                  <a:lnTo>
                    <a:pt x="2648" y="1091"/>
                  </a:lnTo>
                  <a:lnTo>
                    <a:pt x="2650" y="1085"/>
                  </a:lnTo>
                  <a:lnTo>
                    <a:pt x="2671" y="1046"/>
                  </a:lnTo>
                  <a:lnTo>
                    <a:pt x="2687" y="1018"/>
                  </a:lnTo>
                  <a:lnTo>
                    <a:pt x="2688" y="1013"/>
                  </a:lnTo>
                  <a:lnTo>
                    <a:pt x="2687" y="1006"/>
                  </a:lnTo>
                  <a:lnTo>
                    <a:pt x="2686" y="1000"/>
                  </a:lnTo>
                  <a:lnTo>
                    <a:pt x="2682" y="995"/>
                  </a:lnTo>
                  <a:lnTo>
                    <a:pt x="2675" y="987"/>
                  </a:lnTo>
                  <a:lnTo>
                    <a:pt x="2667" y="980"/>
                  </a:lnTo>
                  <a:lnTo>
                    <a:pt x="2655" y="972"/>
                  </a:lnTo>
                  <a:lnTo>
                    <a:pt x="2641" y="963"/>
                  </a:lnTo>
                  <a:lnTo>
                    <a:pt x="2633" y="959"/>
                  </a:lnTo>
                  <a:lnTo>
                    <a:pt x="2628" y="954"/>
                  </a:lnTo>
                  <a:lnTo>
                    <a:pt x="2625" y="950"/>
                  </a:lnTo>
                  <a:lnTo>
                    <a:pt x="2623" y="945"/>
                  </a:lnTo>
                  <a:lnTo>
                    <a:pt x="2621" y="940"/>
                  </a:lnTo>
                  <a:lnTo>
                    <a:pt x="2623" y="933"/>
                  </a:lnTo>
                  <a:lnTo>
                    <a:pt x="2623" y="928"/>
                  </a:lnTo>
                  <a:lnTo>
                    <a:pt x="2625" y="923"/>
                  </a:lnTo>
                  <a:lnTo>
                    <a:pt x="2629" y="911"/>
                  </a:lnTo>
                  <a:lnTo>
                    <a:pt x="2635" y="899"/>
                  </a:lnTo>
                  <a:lnTo>
                    <a:pt x="2638" y="887"/>
                  </a:lnTo>
                  <a:lnTo>
                    <a:pt x="2640" y="875"/>
                  </a:lnTo>
                  <a:lnTo>
                    <a:pt x="2638" y="861"/>
                  </a:lnTo>
                  <a:lnTo>
                    <a:pt x="2636" y="851"/>
                  </a:lnTo>
                  <a:lnTo>
                    <a:pt x="2632" y="844"/>
                  </a:lnTo>
                  <a:lnTo>
                    <a:pt x="2625" y="839"/>
                  </a:lnTo>
                  <a:lnTo>
                    <a:pt x="2611" y="834"/>
                  </a:lnTo>
                  <a:lnTo>
                    <a:pt x="2593" y="824"/>
                  </a:lnTo>
                  <a:lnTo>
                    <a:pt x="2590" y="821"/>
                  </a:lnTo>
                  <a:lnTo>
                    <a:pt x="2589" y="811"/>
                  </a:lnTo>
                  <a:lnTo>
                    <a:pt x="2587" y="801"/>
                  </a:lnTo>
                  <a:lnTo>
                    <a:pt x="2587" y="788"/>
                  </a:lnTo>
                  <a:lnTo>
                    <a:pt x="2586" y="762"/>
                  </a:lnTo>
                  <a:lnTo>
                    <a:pt x="2585" y="745"/>
                  </a:lnTo>
                  <a:lnTo>
                    <a:pt x="2582" y="737"/>
                  </a:lnTo>
                  <a:lnTo>
                    <a:pt x="2580" y="729"/>
                  </a:lnTo>
                  <a:lnTo>
                    <a:pt x="2578" y="722"/>
                  </a:lnTo>
                  <a:lnTo>
                    <a:pt x="2578" y="716"/>
                  </a:lnTo>
                  <a:lnTo>
                    <a:pt x="2580" y="705"/>
                  </a:lnTo>
                  <a:lnTo>
                    <a:pt x="2584" y="695"/>
                  </a:lnTo>
                  <a:lnTo>
                    <a:pt x="2589" y="686"/>
                  </a:lnTo>
                  <a:lnTo>
                    <a:pt x="2597" y="678"/>
                  </a:lnTo>
                  <a:lnTo>
                    <a:pt x="2604" y="671"/>
                  </a:lnTo>
                  <a:lnTo>
                    <a:pt x="2614" y="665"/>
                  </a:lnTo>
                  <a:lnTo>
                    <a:pt x="2633" y="654"/>
                  </a:lnTo>
                  <a:lnTo>
                    <a:pt x="2652" y="645"/>
                  </a:lnTo>
                  <a:lnTo>
                    <a:pt x="2659" y="640"/>
                  </a:lnTo>
                  <a:lnTo>
                    <a:pt x="2666" y="635"/>
                  </a:lnTo>
                  <a:lnTo>
                    <a:pt x="2671" y="630"/>
                  </a:lnTo>
                  <a:lnTo>
                    <a:pt x="2674" y="624"/>
                  </a:lnTo>
                  <a:lnTo>
                    <a:pt x="2675" y="610"/>
                  </a:lnTo>
                  <a:lnTo>
                    <a:pt x="2676" y="596"/>
                  </a:lnTo>
                  <a:lnTo>
                    <a:pt x="2678" y="582"/>
                  </a:lnTo>
                  <a:lnTo>
                    <a:pt x="2679" y="569"/>
                  </a:lnTo>
                  <a:lnTo>
                    <a:pt x="2683" y="562"/>
                  </a:lnTo>
                  <a:lnTo>
                    <a:pt x="2687" y="558"/>
                  </a:lnTo>
                  <a:lnTo>
                    <a:pt x="2691" y="555"/>
                  </a:lnTo>
                  <a:lnTo>
                    <a:pt x="2696" y="554"/>
                  </a:lnTo>
                  <a:lnTo>
                    <a:pt x="2709" y="556"/>
                  </a:lnTo>
                  <a:lnTo>
                    <a:pt x="2721" y="560"/>
                  </a:lnTo>
                  <a:lnTo>
                    <a:pt x="2727" y="562"/>
                  </a:lnTo>
                  <a:lnTo>
                    <a:pt x="2733" y="563"/>
                  </a:lnTo>
                  <a:lnTo>
                    <a:pt x="2738" y="562"/>
                  </a:lnTo>
                  <a:lnTo>
                    <a:pt x="2743" y="558"/>
                  </a:lnTo>
                  <a:lnTo>
                    <a:pt x="2747" y="551"/>
                  </a:lnTo>
                  <a:lnTo>
                    <a:pt x="2750" y="542"/>
                  </a:lnTo>
                  <a:lnTo>
                    <a:pt x="2752" y="529"/>
                  </a:lnTo>
                  <a:lnTo>
                    <a:pt x="2752" y="512"/>
                  </a:lnTo>
                  <a:lnTo>
                    <a:pt x="2754" y="501"/>
                  </a:lnTo>
                  <a:lnTo>
                    <a:pt x="2755" y="492"/>
                  </a:lnTo>
                  <a:lnTo>
                    <a:pt x="2757" y="483"/>
                  </a:lnTo>
                  <a:lnTo>
                    <a:pt x="2761" y="474"/>
                  </a:lnTo>
                  <a:lnTo>
                    <a:pt x="2769" y="456"/>
                  </a:lnTo>
                  <a:lnTo>
                    <a:pt x="2781" y="437"/>
                  </a:lnTo>
                  <a:lnTo>
                    <a:pt x="2793" y="419"/>
                  </a:lnTo>
                  <a:lnTo>
                    <a:pt x="2803" y="399"/>
                  </a:lnTo>
                  <a:lnTo>
                    <a:pt x="2814" y="380"/>
                  </a:lnTo>
                  <a:lnTo>
                    <a:pt x="2822" y="357"/>
                  </a:lnTo>
                  <a:lnTo>
                    <a:pt x="2833" y="318"/>
                  </a:lnTo>
                  <a:lnTo>
                    <a:pt x="2818" y="309"/>
                  </a:lnTo>
                  <a:lnTo>
                    <a:pt x="2801" y="299"/>
                  </a:lnTo>
                  <a:lnTo>
                    <a:pt x="2786" y="288"/>
                  </a:lnTo>
                  <a:lnTo>
                    <a:pt x="2773" y="282"/>
                  </a:lnTo>
                  <a:lnTo>
                    <a:pt x="2761" y="276"/>
                  </a:lnTo>
                  <a:lnTo>
                    <a:pt x="2752" y="274"/>
                  </a:lnTo>
                  <a:lnTo>
                    <a:pt x="2743" y="274"/>
                  </a:lnTo>
                  <a:lnTo>
                    <a:pt x="2735" y="275"/>
                  </a:lnTo>
                  <a:lnTo>
                    <a:pt x="2729" y="278"/>
                  </a:lnTo>
                  <a:lnTo>
                    <a:pt x="2722" y="282"/>
                  </a:lnTo>
                  <a:lnTo>
                    <a:pt x="2717" y="287"/>
                  </a:lnTo>
                  <a:lnTo>
                    <a:pt x="2712" y="293"/>
                  </a:lnTo>
                  <a:lnTo>
                    <a:pt x="2701" y="306"/>
                  </a:lnTo>
                  <a:lnTo>
                    <a:pt x="2691" y="321"/>
                  </a:lnTo>
                  <a:lnTo>
                    <a:pt x="2686" y="327"/>
                  </a:lnTo>
                  <a:lnTo>
                    <a:pt x="2679" y="333"/>
                  </a:lnTo>
                  <a:lnTo>
                    <a:pt x="2672" y="338"/>
                  </a:lnTo>
                  <a:lnTo>
                    <a:pt x="2665" y="342"/>
                  </a:lnTo>
                  <a:lnTo>
                    <a:pt x="2661" y="343"/>
                  </a:lnTo>
                  <a:lnTo>
                    <a:pt x="2654" y="343"/>
                  </a:lnTo>
                  <a:lnTo>
                    <a:pt x="2646" y="342"/>
                  </a:lnTo>
                  <a:lnTo>
                    <a:pt x="2638" y="339"/>
                  </a:lnTo>
                  <a:lnTo>
                    <a:pt x="2620" y="334"/>
                  </a:lnTo>
                  <a:lnTo>
                    <a:pt x="2599" y="326"/>
                  </a:lnTo>
                  <a:lnTo>
                    <a:pt x="2578" y="317"/>
                  </a:lnTo>
                  <a:lnTo>
                    <a:pt x="2557" y="310"/>
                  </a:lnTo>
                  <a:lnTo>
                    <a:pt x="2548" y="306"/>
                  </a:lnTo>
                  <a:lnTo>
                    <a:pt x="2539" y="304"/>
                  </a:lnTo>
                  <a:lnTo>
                    <a:pt x="2530" y="303"/>
                  </a:lnTo>
                  <a:lnTo>
                    <a:pt x="2522" y="303"/>
                  </a:lnTo>
                  <a:lnTo>
                    <a:pt x="2491" y="301"/>
                  </a:lnTo>
                  <a:lnTo>
                    <a:pt x="2467" y="299"/>
                  </a:lnTo>
                  <a:lnTo>
                    <a:pt x="2458" y="296"/>
                  </a:lnTo>
                  <a:lnTo>
                    <a:pt x="2451" y="293"/>
                  </a:lnTo>
                  <a:lnTo>
                    <a:pt x="2444" y="289"/>
                  </a:lnTo>
                  <a:lnTo>
                    <a:pt x="2438" y="286"/>
                  </a:lnTo>
                  <a:lnTo>
                    <a:pt x="2417" y="261"/>
                  </a:lnTo>
                  <a:lnTo>
                    <a:pt x="2387" y="224"/>
                  </a:lnTo>
                  <a:lnTo>
                    <a:pt x="2370" y="207"/>
                  </a:lnTo>
                  <a:lnTo>
                    <a:pt x="2357" y="197"/>
                  </a:lnTo>
                  <a:lnTo>
                    <a:pt x="2348" y="189"/>
                  </a:lnTo>
                  <a:lnTo>
                    <a:pt x="2342" y="184"/>
                  </a:lnTo>
                  <a:lnTo>
                    <a:pt x="2339" y="180"/>
                  </a:lnTo>
                  <a:lnTo>
                    <a:pt x="2336" y="176"/>
                  </a:lnTo>
                  <a:lnTo>
                    <a:pt x="2335" y="172"/>
                  </a:lnTo>
                  <a:lnTo>
                    <a:pt x="2334" y="165"/>
                  </a:lnTo>
                  <a:lnTo>
                    <a:pt x="2332" y="147"/>
                  </a:lnTo>
                  <a:lnTo>
                    <a:pt x="2331" y="121"/>
                  </a:lnTo>
                  <a:lnTo>
                    <a:pt x="2331" y="113"/>
                  </a:lnTo>
                  <a:lnTo>
                    <a:pt x="2331" y="105"/>
                  </a:lnTo>
                  <a:lnTo>
                    <a:pt x="2330" y="100"/>
                  </a:lnTo>
                  <a:lnTo>
                    <a:pt x="2327" y="95"/>
                  </a:lnTo>
                  <a:lnTo>
                    <a:pt x="2326" y="91"/>
                  </a:lnTo>
                  <a:lnTo>
                    <a:pt x="2323" y="87"/>
                  </a:lnTo>
                  <a:lnTo>
                    <a:pt x="2319" y="84"/>
                  </a:lnTo>
                  <a:lnTo>
                    <a:pt x="2317" y="81"/>
                  </a:lnTo>
                  <a:lnTo>
                    <a:pt x="2298" y="75"/>
                  </a:lnTo>
                  <a:lnTo>
                    <a:pt x="2276" y="66"/>
                  </a:lnTo>
                  <a:lnTo>
                    <a:pt x="2267" y="62"/>
                  </a:lnTo>
                  <a:lnTo>
                    <a:pt x="2259" y="61"/>
                  </a:lnTo>
                  <a:lnTo>
                    <a:pt x="2253" y="59"/>
                  </a:lnTo>
                  <a:lnTo>
                    <a:pt x="2246" y="59"/>
                  </a:lnTo>
                  <a:lnTo>
                    <a:pt x="2236" y="62"/>
                  </a:lnTo>
                  <a:lnTo>
                    <a:pt x="2225" y="64"/>
                  </a:lnTo>
                  <a:lnTo>
                    <a:pt x="2220" y="66"/>
                  </a:lnTo>
                  <a:lnTo>
                    <a:pt x="2215" y="66"/>
                  </a:lnTo>
                  <a:lnTo>
                    <a:pt x="2209" y="66"/>
                  </a:lnTo>
                  <a:lnTo>
                    <a:pt x="2204" y="64"/>
                  </a:lnTo>
                  <a:lnTo>
                    <a:pt x="2198" y="62"/>
                  </a:lnTo>
                  <a:lnTo>
                    <a:pt x="2190" y="58"/>
                  </a:lnTo>
                  <a:lnTo>
                    <a:pt x="2182" y="51"/>
                  </a:lnTo>
                  <a:lnTo>
                    <a:pt x="2173" y="42"/>
                  </a:lnTo>
                  <a:lnTo>
                    <a:pt x="2168" y="37"/>
                  </a:lnTo>
                  <a:lnTo>
                    <a:pt x="2162" y="33"/>
                  </a:lnTo>
                  <a:lnTo>
                    <a:pt x="2157" y="30"/>
                  </a:lnTo>
                  <a:lnTo>
                    <a:pt x="2152" y="29"/>
                  </a:lnTo>
                  <a:lnTo>
                    <a:pt x="2148" y="28"/>
                  </a:lnTo>
                  <a:lnTo>
                    <a:pt x="2143" y="28"/>
                  </a:lnTo>
                  <a:lnTo>
                    <a:pt x="2138" y="29"/>
                  </a:lnTo>
                  <a:lnTo>
                    <a:pt x="2134" y="30"/>
                  </a:lnTo>
                  <a:lnTo>
                    <a:pt x="2124" y="34"/>
                  </a:lnTo>
                  <a:lnTo>
                    <a:pt x="2117" y="41"/>
                  </a:lnTo>
                  <a:lnTo>
                    <a:pt x="2107" y="47"/>
                  </a:lnTo>
                  <a:lnTo>
                    <a:pt x="2100" y="55"/>
                  </a:lnTo>
                  <a:lnTo>
                    <a:pt x="2092" y="64"/>
                  </a:lnTo>
                  <a:lnTo>
                    <a:pt x="2084" y="71"/>
                  </a:lnTo>
                  <a:lnTo>
                    <a:pt x="2076" y="78"/>
                  </a:lnTo>
                  <a:lnTo>
                    <a:pt x="2067" y="83"/>
                  </a:lnTo>
                  <a:lnTo>
                    <a:pt x="2063" y="84"/>
                  </a:lnTo>
                  <a:lnTo>
                    <a:pt x="2059" y="85"/>
                  </a:lnTo>
                  <a:lnTo>
                    <a:pt x="2055" y="85"/>
                  </a:lnTo>
                  <a:lnTo>
                    <a:pt x="2050" y="85"/>
                  </a:lnTo>
                  <a:lnTo>
                    <a:pt x="2046" y="84"/>
                  </a:lnTo>
                  <a:lnTo>
                    <a:pt x="2042" y="81"/>
                  </a:lnTo>
                  <a:lnTo>
                    <a:pt x="2037" y="79"/>
                  </a:lnTo>
                  <a:lnTo>
                    <a:pt x="2032" y="75"/>
                  </a:lnTo>
                  <a:lnTo>
                    <a:pt x="2026" y="66"/>
                  </a:lnTo>
                  <a:lnTo>
                    <a:pt x="2021" y="55"/>
                  </a:lnTo>
                  <a:lnTo>
                    <a:pt x="2016" y="44"/>
                  </a:lnTo>
                  <a:lnTo>
                    <a:pt x="2011" y="32"/>
                  </a:lnTo>
                  <a:lnTo>
                    <a:pt x="2005" y="20"/>
                  </a:lnTo>
                  <a:lnTo>
                    <a:pt x="1998" y="10"/>
                  </a:lnTo>
                  <a:lnTo>
                    <a:pt x="1994" y="7"/>
                  </a:lnTo>
                  <a:lnTo>
                    <a:pt x="1990" y="3"/>
                  </a:lnTo>
                  <a:lnTo>
                    <a:pt x="1984" y="2"/>
                  </a:lnTo>
                  <a:lnTo>
                    <a:pt x="1979" y="0"/>
                  </a:lnTo>
                  <a:lnTo>
                    <a:pt x="1970" y="2"/>
                  </a:lnTo>
                  <a:lnTo>
                    <a:pt x="1962" y="3"/>
                  </a:lnTo>
                  <a:lnTo>
                    <a:pt x="1954" y="7"/>
                  </a:lnTo>
                  <a:lnTo>
                    <a:pt x="1948" y="10"/>
                  </a:lnTo>
                  <a:lnTo>
                    <a:pt x="1940" y="15"/>
                  </a:lnTo>
                  <a:lnTo>
                    <a:pt x="1933" y="20"/>
                  </a:lnTo>
                  <a:lnTo>
                    <a:pt x="1928" y="27"/>
                  </a:lnTo>
                  <a:lnTo>
                    <a:pt x="1922" y="33"/>
                  </a:lnTo>
                  <a:lnTo>
                    <a:pt x="1899" y="66"/>
                  </a:lnTo>
                  <a:lnTo>
                    <a:pt x="1880" y="101"/>
                  </a:lnTo>
                  <a:lnTo>
                    <a:pt x="1869" y="118"/>
                  </a:lnTo>
                  <a:lnTo>
                    <a:pt x="1858" y="132"/>
                  </a:lnTo>
                  <a:lnTo>
                    <a:pt x="1851" y="140"/>
                  </a:lnTo>
                  <a:lnTo>
                    <a:pt x="1846" y="146"/>
                  </a:lnTo>
                  <a:lnTo>
                    <a:pt x="1838" y="152"/>
                  </a:lnTo>
                  <a:lnTo>
                    <a:pt x="1831" y="156"/>
                  </a:lnTo>
                  <a:lnTo>
                    <a:pt x="1825" y="160"/>
                  </a:lnTo>
                  <a:lnTo>
                    <a:pt x="1817" y="163"/>
                  </a:lnTo>
                  <a:lnTo>
                    <a:pt x="1808" y="164"/>
                  </a:lnTo>
                  <a:lnTo>
                    <a:pt x="1800" y="165"/>
                  </a:lnTo>
                  <a:lnTo>
                    <a:pt x="1790" y="164"/>
                  </a:lnTo>
                  <a:lnTo>
                    <a:pt x="1780" y="161"/>
                  </a:lnTo>
                  <a:lnTo>
                    <a:pt x="1770" y="159"/>
                  </a:lnTo>
                  <a:lnTo>
                    <a:pt x="1758" y="153"/>
                  </a:lnTo>
                  <a:lnTo>
                    <a:pt x="1754" y="152"/>
                  </a:lnTo>
                  <a:lnTo>
                    <a:pt x="1749" y="152"/>
                  </a:lnTo>
                  <a:lnTo>
                    <a:pt x="1742" y="153"/>
                  </a:lnTo>
                  <a:lnTo>
                    <a:pt x="1736" y="157"/>
                  </a:lnTo>
                  <a:lnTo>
                    <a:pt x="1720" y="165"/>
                  </a:lnTo>
                  <a:lnTo>
                    <a:pt x="1705" y="177"/>
                  </a:lnTo>
                  <a:lnTo>
                    <a:pt x="1674" y="203"/>
                  </a:lnTo>
                  <a:lnTo>
                    <a:pt x="1655" y="221"/>
                  </a:lnTo>
                  <a:lnTo>
                    <a:pt x="1650" y="225"/>
                  </a:lnTo>
                  <a:lnTo>
                    <a:pt x="1644" y="228"/>
                  </a:lnTo>
                  <a:lnTo>
                    <a:pt x="1638" y="229"/>
                  </a:lnTo>
                  <a:lnTo>
                    <a:pt x="1633" y="231"/>
                  </a:lnTo>
                  <a:lnTo>
                    <a:pt x="1621" y="232"/>
                  </a:lnTo>
                  <a:lnTo>
                    <a:pt x="1609" y="233"/>
                  </a:lnTo>
                  <a:lnTo>
                    <a:pt x="1597" y="235"/>
                  </a:lnTo>
                  <a:lnTo>
                    <a:pt x="1587" y="237"/>
                  </a:lnTo>
                  <a:lnTo>
                    <a:pt x="1582" y="238"/>
                  </a:lnTo>
                  <a:lnTo>
                    <a:pt x="1576" y="242"/>
                  </a:lnTo>
                  <a:lnTo>
                    <a:pt x="1572" y="246"/>
                  </a:lnTo>
                  <a:lnTo>
                    <a:pt x="1570" y="252"/>
                  </a:lnTo>
                  <a:lnTo>
                    <a:pt x="1554" y="282"/>
                  </a:lnTo>
                  <a:lnTo>
                    <a:pt x="1541" y="310"/>
                  </a:lnTo>
                  <a:lnTo>
                    <a:pt x="1535" y="323"/>
                  </a:lnTo>
                  <a:lnTo>
                    <a:pt x="1528" y="334"/>
                  </a:lnTo>
                  <a:lnTo>
                    <a:pt x="1521" y="344"/>
                  </a:lnTo>
                  <a:lnTo>
                    <a:pt x="1515" y="354"/>
                  </a:lnTo>
                  <a:lnTo>
                    <a:pt x="1508" y="361"/>
                  </a:lnTo>
                  <a:lnTo>
                    <a:pt x="1499" y="367"/>
                  </a:lnTo>
                  <a:lnTo>
                    <a:pt x="1491" y="371"/>
                  </a:lnTo>
                  <a:lnTo>
                    <a:pt x="1481" y="373"/>
                  </a:lnTo>
                  <a:lnTo>
                    <a:pt x="1469" y="373"/>
                  </a:lnTo>
                  <a:lnTo>
                    <a:pt x="1456" y="371"/>
                  </a:lnTo>
                  <a:lnTo>
                    <a:pt x="1442" y="365"/>
                  </a:lnTo>
                  <a:lnTo>
                    <a:pt x="1425" y="357"/>
                  </a:lnTo>
                  <a:lnTo>
                    <a:pt x="1415" y="354"/>
                  </a:lnTo>
                  <a:lnTo>
                    <a:pt x="1405" y="352"/>
                  </a:lnTo>
                  <a:lnTo>
                    <a:pt x="1396" y="354"/>
                  </a:lnTo>
                  <a:lnTo>
                    <a:pt x="1388" y="356"/>
                  </a:lnTo>
                  <a:lnTo>
                    <a:pt x="1380" y="360"/>
                  </a:lnTo>
                  <a:lnTo>
                    <a:pt x="1372" y="365"/>
                  </a:lnTo>
                  <a:lnTo>
                    <a:pt x="1364" y="372"/>
                  </a:lnTo>
                  <a:lnTo>
                    <a:pt x="1357" y="378"/>
                  </a:lnTo>
                  <a:lnTo>
                    <a:pt x="1341" y="394"/>
                  </a:lnTo>
                  <a:lnTo>
                    <a:pt x="1325" y="407"/>
                  </a:lnTo>
                  <a:lnTo>
                    <a:pt x="1316" y="412"/>
                  </a:lnTo>
                  <a:lnTo>
                    <a:pt x="1307" y="418"/>
                  </a:lnTo>
                  <a:lnTo>
                    <a:pt x="1296" y="420"/>
                  </a:lnTo>
                  <a:lnTo>
                    <a:pt x="1286" y="422"/>
                  </a:lnTo>
                  <a:lnTo>
                    <a:pt x="1272" y="422"/>
                  </a:lnTo>
                  <a:lnTo>
                    <a:pt x="1257" y="424"/>
                  </a:lnTo>
                  <a:lnTo>
                    <a:pt x="1242" y="428"/>
                  </a:lnTo>
                  <a:lnTo>
                    <a:pt x="1225" y="432"/>
                  </a:lnTo>
                  <a:lnTo>
                    <a:pt x="1193" y="443"/>
                  </a:lnTo>
                  <a:lnTo>
                    <a:pt x="1160" y="452"/>
                  </a:lnTo>
                  <a:lnTo>
                    <a:pt x="1145" y="456"/>
                  </a:lnTo>
                  <a:lnTo>
                    <a:pt x="1130" y="458"/>
                  </a:lnTo>
                  <a:lnTo>
                    <a:pt x="1117" y="460"/>
                  </a:lnTo>
                  <a:lnTo>
                    <a:pt x="1104" y="460"/>
                  </a:lnTo>
                  <a:lnTo>
                    <a:pt x="1098" y="458"/>
                  </a:lnTo>
                  <a:lnTo>
                    <a:pt x="1092" y="457"/>
                  </a:lnTo>
                  <a:lnTo>
                    <a:pt x="1087" y="456"/>
                  </a:lnTo>
                  <a:lnTo>
                    <a:pt x="1082" y="453"/>
                  </a:lnTo>
                  <a:lnTo>
                    <a:pt x="1078" y="449"/>
                  </a:lnTo>
                  <a:lnTo>
                    <a:pt x="1074" y="445"/>
                  </a:lnTo>
                  <a:lnTo>
                    <a:pt x="1070" y="441"/>
                  </a:lnTo>
                  <a:lnTo>
                    <a:pt x="1066" y="436"/>
                  </a:lnTo>
                  <a:lnTo>
                    <a:pt x="1058" y="420"/>
                  </a:lnTo>
                  <a:lnTo>
                    <a:pt x="1051" y="408"/>
                  </a:lnTo>
                  <a:lnTo>
                    <a:pt x="1043" y="398"/>
                  </a:lnTo>
                  <a:lnTo>
                    <a:pt x="1035" y="389"/>
                  </a:lnTo>
                  <a:lnTo>
                    <a:pt x="1027" y="384"/>
                  </a:lnTo>
                  <a:lnTo>
                    <a:pt x="1020" y="378"/>
                  </a:lnTo>
                  <a:lnTo>
                    <a:pt x="1013" y="376"/>
                  </a:lnTo>
                  <a:lnTo>
                    <a:pt x="1005" y="374"/>
                  </a:lnTo>
                  <a:lnTo>
                    <a:pt x="998" y="374"/>
                  </a:lnTo>
                  <a:lnTo>
                    <a:pt x="990" y="376"/>
                  </a:lnTo>
                  <a:lnTo>
                    <a:pt x="984" y="377"/>
                  </a:lnTo>
                  <a:lnTo>
                    <a:pt x="977" y="381"/>
                  </a:lnTo>
                  <a:lnTo>
                    <a:pt x="964" y="390"/>
                  </a:lnTo>
                  <a:lnTo>
                    <a:pt x="951" y="403"/>
                  </a:lnTo>
                  <a:lnTo>
                    <a:pt x="928" y="431"/>
                  </a:lnTo>
                  <a:lnTo>
                    <a:pt x="907" y="458"/>
                  </a:lnTo>
                  <a:lnTo>
                    <a:pt x="898" y="469"/>
                  </a:lnTo>
                  <a:lnTo>
                    <a:pt x="890" y="475"/>
                  </a:lnTo>
                  <a:lnTo>
                    <a:pt x="886" y="477"/>
                  </a:lnTo>
                  <a:lnTo>
                    <a:pt x="882" y="478"/>
                  </a:lnTo>
                  <a:lnTo>
                    <a:pt x="878" y="478"/>
                  </a:lnTo>
                  <a:lnTo>
                    <a:pt x="875" y="475"/>
                  </a:lnTo>
                  <a:lnTo>
                    <a:pt x="866" y="467"/>
                  </a:lnTo>
                  <a:lnTo>
                    <a:pt x="856" y="462"/>
                  </a:lnTo>
                  <a:lnTo>
                    <a:pt x="845" y="456"/>
                  </a:lnTo>
                  <a:lnTo>
                    <a:pt x="835" y="450"/>
                  </a:lnTo>
                  <a:lnTo>
                    <a:pt x="814" y="440"/>
                  </a:lnTo>
                  <a:lnTo>
                    <a:pt x="795" y="429"/>
                  </a:lnTo>
                  <a:lnTo>
                    <a:pt x="788" y="422"/>
                  </a:lnTo>
                  <a:lnTo>
                    <a:pt x="782" y="415"/>
                  </a:lnTo>
                  <a:lnTo>
                    <a:pt x="778" y="408"/>
                  </a:lnTo>
                  <a:lnTo>
                    <a:pt x="776" y="402"/>
                  </a:lnTo>
                  <a:lnTo>
                    <a:pt x="775" y="394"/>
                  </a:lnTo>
                  <a:lnTo>
                    <a:pt x="775" y="388"/>
                  </a:lnTo>
                  <a:lnTo>
                    <a:pt x="775" y="380"/>
                  </a:lnTo>
                  <a:lnTo>
                    <a:pt x="776" y="373"/>
                  </a:lnTo>
                  <a:lnTo>
                    <a:pt x="780" y="359"/>
                  </a:lnTo>
                  <a:lnTo>
                    <a:pt x="785" y="344"/>
                  </a:lnTo>
                  <a:lnTo>
                    <a:pt x="788" y="329"/>
                  </a:lnTo>
                  <a:lnTo>
                    <a:pt x="790" y="314"/>
                  </a:lnTo>
                  <a:lnTo>
                    <a:pt x="789" y="303"/>
                  </a:lnTo>
                  <a:lnTo>
                    <a:pt x="786" y="292"/>
                  </a:lnTo>
                  <a:lnTo>
                    <a:pt x="782" y="283"/>
                  </a:lnTo>
                  <a:lnTo>
                    <a:pt x="778" y="274"/>
                  </a:lnTo>
                  <a:lnTo>
                    <a:pt x="772" y="266"/>
                  </a:lnTo>
                  <a:lnTo>
                    <a:pt x="765" y="257"/>
                  </a:lnTo>
                  <a:lnTo>
                    <a:pt x="758" y="250"/>
                  </a:lnTo>
                  <a:lnTo>
                    <a:pt x="748" y="242"/>
                  </a:lnTo>
                  <a:lnTo>
                    <a:pt x="730" y="229"/>
                  </a:lnTo>
                  <a:lnTo>
                    <a:pt x="710" y="219"/>
                  </a:lnTo>
                  <a:lnTo>
                    <a:pt x="692" y="208"/>
                  </a:lnTo>
                  <a:lnTo>
                    <a:pt x="674" y="199"/>
                  </a:lnTo>
                  <a:lnTo>
                    <a:pt x="665" y="195"/>
                  </a:lnTo>
                  <a:lnTo>
                    <a:pt x="657" y="193"/>
                  </a:lnTo>
                  <a:lnTo>
                    <a:pt x="649" y="190"/>
                  </a:lnTo>
                  <a:lnTo>
                    <a:pt x="641" y="189"/>
                  </a:lnTo>
                  <a:lnTo>
                    <a:pt x="627" y="189"/>
                  </a:lnTo>
                  <a:lnTo>
                    <a:pt x="614" y="191"/>
                  </a:lnTo>
                  <a:lnTo>
                    <a:pt x="601" y="195"/>
                  </a:lnTo>
                  <a:lnTo>
                    <a:pt x="589" y="201"/>
                  </a:lnTo>
                  <a:lnTo>
                    <a:pt x="578" y="207"/>
                  </a:lnTo>
                  <a:lnTo>
                    <a:pt x="567" y="214"/>
                  </a:lnTo>
                  <a:lnTo>
                    <a:pt x="556" y="219"/>
                  </a:lnTo>
                  <a:lnTo>
                    <a:pt x="546" y="225"/>
                  </a:lnTo>
                  <a:lnTo>
                    <a:pt x="534" y="229"/>
                  </a:lnTo>
                  <a:lnTo>
                    <a:pt x="523" y="231"/>
                  </a:lnTo>
                  <a:lnTo>
                    <a:pt x="517" y="232"/>
                  </a:lnTo>
                  <a:lnTo>
                    <a:pt x="512" y="231"/>
                  </a:lnTo>
                  <a:lnTo>
                    <a:pt x="505" y="229"/>
                  </a:lnTo>
                  <a:lnTo>
                    <a:pt x="499" y="228"/>
                  </a:lnTo>
                  <a:lnTo>
                    <a:pt x="492" y="225"/>
                  </a:lnTo>
                  <a:lnTo>
                    <a:pt x="485" y="221"/>
                  </a:lnTo>
                  <a:lnTo>
                    <a:pt x="478" y="216"/>
                  </a:lnTo>
                  <a:lnTo>
                    <a:pt x="471" y="210"/>
                  </a:lnTo>
                  <a:lnTo>
                    <a:pt x="461" y="203"/>
                  </a:lnTo>
                  <a:lnTo>
                    <a:pt x="453" y="199"/>
                  </a:lnTo>
                  <a:lnTo>
                    <a:pt x="445" y="198"/>
                  </a:lnTo>
                  <a:lnTo>
                    <a:pt x="437" y="199"/>
                  </a:lnTo>
                  <a:lnTo>
                    <a:pt x="431" y="203"/>
                  </a:lnTo>
                  <a:lnTo>
                    <a:pt x="425" y="208"/>
                  </a:lnTo>
                  <a:lnTo>
                    <a:pt x="419" y="215"/>
                  </a:lnTo>
                  <a:lnTo>
                    <a:pt x="415" y="224"/>
                  </a:lnTo>
                  <a:lnTo>
                    <a:pt x="398" y="267"/>
                  </a:lnTo>
                  <a:lnTo>
                    <a:pt x="383" y="308"/>
                  </a:lnTo>
                  <a:lnTo>
                    <a:pt x="380" y="314"/>
                  </a:lnTo>
                  <a:lnTo>
                    <a:pt x="376" y="321"/>
                  </a:lnTo>
                  <a:lnTo>
                    <a:pt x="369" y="329"/>
                  </a:lnTo>
                  <a:lnTo>
                    <a:pt x="360" y="337"/>
                  </a:lnTo>
                  <a:lnTo>
                    <a:pt x="342" y="355"/>
                  </a:lnTo>
                  <a:lnTo>
                    <a:pt x="319" y="373"/>
                  </a:lnTo>
                  <a:lnTo>
                    <a:pt x="297" y="390"/>
                  </a:lnTo>
                  <a:lnTo>
                    <a:pt x="275" y="405"/>
                  </a:lnTo>
                  <a:lnTo>
                    <a:pt x="264" y="411"/>
                  </a:lnTo>
                  <a:lnTo>
                    <a:pt x="255" y="415"/>
                  </a:lnTo>
                  <a:lnTo>
                    <a:pt x="247" y="418"/>
                  </a:lnTo>
                  <a:lnTo>
                    <a:pt x="241" y="419"/>
                  </a:lnTo>
                  <a:lnTo>
                    <a:pt x="211" y="423"/>
                  </a:lnTo>
                  <a:lnTo>
                    <a:pt x="181" y="429"/>
                  </a:lnTo>
                  <a:lnTo>
                    <a:pt x="151" y="437"/>
                  </a:lnTo>
                  <a:lnTo>
                    <a:pt x="121" y="448"/>
                  </a:lnTo>
                  <a:lnTo>
                    <a:pt x="89" y="460"/>
                  </a:lnTo>
                  <a:lnTo>
                    <a:pt x="59" y="471"/>
                  </a:lnTo>
                  <a:lnTo>
                    <a:pt x="30" y="484"/>
                  </a:lnTo>
                  <a:lnTo>
                    <a:pt x="0" y="497"/>
                  </a:lnTo>
                  <a:lnTo>
                    <a:pt x="49" y="525"/>
                  </a:lnTo>
                  <a:lnTo>
                    <a:pt x="67" y="533"/>
                  </a:lnTo>
                  <a:lnTo>
                    <a:pt x="85" y="541"/>
                  </a:lnTo>
                  <a:lnTo>
                    <a:pt x="106" y="546"/>
                  </a:lnTo>
                  <a:lnTo>
                    <a:pt x="126" y="551"/>
                  </a:lnTo>
                  <a:lnTo>
                    <a:pt x="169" y="562"/>
                  </a:lnTo>
                  <a:lnTo>
                    <a:pt x="210" y="573"/>
                  </a:lnTo>
                  <a:lnTo>
                    <a:pt x="229" y="581"/>
                  </a:lnTo>
                  <a:lnTo>
                    <a:pt x="246" y="589"/>
                  </a:lnTo>
                  <a:lnTo>
                    <a:pt x="254" y="594"/>
                  </a:lnTo>
                  <a:lnTo>
                    <a:pt x="262" y="599"/>
                  </a:lnTo>
                  <a:lnTo>
                    <a:pt x="270" y="606"/>
                  </a:lnTo>
                  <a:lnTo>
                    <a:pt x="276" y="613"/>
                  </a:lnTo>
                  <a:lnTo>
                    <a:pt x="283" y="619"/>
                  </a:lnTo>
                  <a:lnTo>
                    <a:pt x="288" y="627"/>
                  </a:lnTo>
                  <a:lnTo>
                    <a:pt x="292" y="636"/>
                  </a:lnTo>
                  <a:lnTo>
                    <a:pt x="296" y="645"/>
                  </a:lnTo>
                  <a:lnTo>
                    <a:pt x="300" y="654"/>
                  </a:lnTo>
                  <a:lnTo>
                    <a:pt x="301" y="666"/>
                  </a:lnTo>
                  <a:lnTo>
                    <a:pt x="302" y="678"/>
                  </a:lnTo>
                  <a:lnTo>
                    <a:pt x="304" y="690"/>
                  </a:lnTo>
                  <a:lnTo>
                    <a:pt x="301" y="704"/>
                  </a:lnTo>
                  <a:lnTo>
                    <a:pt x="298" y="716"/>
                  </a:lnTo>
                  <a:lnTo>
                    <a:pt x="295" y="729"/>
                  </a:lnTo>
                  <a:lnTo>
                    <a:pt x="292" y="742"/>
                  </a:lnTo>
                  <a:lnTo>
                    <a:pt x="293" y="751"/>
                  </a:lnTo>
                  <a:lnTo>
                    <a:pt x="293" y="758"/>
                  </a:lnTo>
                  <a:lnTo>
                    <a:pt x="295" y="763"/>
                  </a:lnTo>
                  <a:lnTo>
                    <a:pt x="296" y="764"/>
                  </a:lnTo>
                  <a:lnTo>
                    <a:pt x="298" y="764"/>
                  </a:lnTo>
                  <a:lnTo>
                    <a:pt x="301" y="763"/>
                  </a:lnTo>
                  <a:lnTo>
                    <a:pt x="304" y="762"/>
                  </a:lnTo>
                  <a:lnTo>
                    <a:pt x="306" y="758"/>
                  </a:lnTo>
                  <a:lnTo>
                    <a:pt x="315" y="751"/>
                  </a:lnTo>
                  <a:lnTo>
                    <a:pt x="325" y="746"/>
                  </a:lnTo>
                  <a:lnTo>
                    <a:pt x="330" y="745"/>
                  </a:lnTo>
                  <a:lnTo>
                    <a:pt x="335" y="745"/>
                  </a:lnTo>
                  <a:lnTo>
                    <a:pt x="342" y="747"/>
                  </a:lnTo>
                  <a:lnTo>
                    <a:pt x="348" y="751"/>
                  </a:lnTo>
                  <a:lnTo>
                    <a:pt x="351" y="751"/>
                  </a:lnTo>
                  <a:lnTo>
                    <a:pt x="353" y="751"/>
                  </a:lnTo>
                  <a:lnTo>
                    <a:pt x="359" y="749"/>
                  </a:lnTo>
                  <a:lnTo>
                    <a:pt x="363" y="745"/>
                  </a:lnTo>
                  <a:lnTo>
                    <a:pt x="374" y="734"/>
                  </a:lnTo>
                  <a:lnTo>
                    <a:pt x="387" y="722"/>
                  </a:lnTo>
                  <a:lnTo>
                    <a:pt x="412" y="696"/>
                  </a:lnTo>
                  <a:lnTo>
                    <a:pt x="431" y="681"/>
                  </a:lnTo>
                  <a:lnTo>
                    <a:pt x="438" y="675"/>
                  </a:lnTo>
                  <a:lnTo>
                    <a:pt x="445" y="670"/>
                  </a:lnTo>
                  <a:lnTo>
                    <a:pt x="451" y="665"/>
                  </a:lnTo>
                  <a:lnTo>
                    <a:pt x="457" y="660"/>
                  </a:lnTo>
                  <a:lnTo>
                    <a:pt x="465" y="649"/>
                  </a:lnTo>
                  <a:lnTo>
                    <a:pt x="470" y="636"/>
                  </a:lnTo>
                  <a:lnTo>
                    <a:pt x="474" y="624"/>
                  </a:lnTo>
                  <a:lnTo>
                    <a:pt x="475" y="611"/>
                  </a:lnTo>
                  <a:lnTo>
                    <a:pt x="476" y="599"/>
                  </a:lnTo>
                  <a:lnTo>
                    <a:pt x="476" y="588"/>
                  </a:lnTo>
                  <a:lnTo>
                    <a:pt x="478" y="576"/>
                  </a:lnTo>
                  <a:lnTo>
                    <a:pt x="479" y="565"/>
                  </a:lnTo>
                  <a:lnTo>
                    <a:pt x="483" y="555"/>
                  </a:lnTo>
                  <a:lnTo>
                    <a:pt x="488" y="547"/>
                  </a:lnTo>
                  <a:lnTo>
                    <a:pt x="492" y="543"/>
                  </a:lnTo>
                  <a:lnTo>
                    <a:pt x="496" y="539"/>
                  </a:lnTo>
                  <a:lnTo>
                    <a:pt x="501" y="537"/>
                  </a:lnTo>
                  <a:lnTo>
                    <a:pt x="506" y="534"/>
                  </a:lnTo>
                  <a:lnTo>
                    <a:pt x="514" y="533"/>
                  </a:lnTo>
                  <a:lnTo>
                    <a:pt x="522" y="531"/>
                  </a:lnTo>
                  <a:lnTo>
                    <a:pt x="530" y="530"/>
                  </a:lnTo>
                  <a:lnTo>
                    <a:pt x="540" y="530"/>
                  </a:lnTo>
                  <a:lnTo>
                    <a:pt x="555" y="531"/>
                  </a:lnTo>
                  <a:lnTo>
                    <a:pt x="567" y="534"/>
                  </a:lnTo>
                  <a:lnTo>
                    <a:pt x="576" y="538"/>
                  </a:lnTo>
                  <a:lnTo>
                    <a:pt x="582" y="543"/>
                  </a:lnTo>
                  <a:lnTo>
                    <a:pt x="588" y="550"/>
                  </a:lnTo>
                  <a:lnTo>
                    <a:pt x="590" y="558"/>
                  </a:lnTo>
                  <a:lnTo>
                    <a:pt x="593" y="565"/>
                  </a:lnTo>
                  <a:lnTo>
                    <a:pt x="594" y="573"/>
                  </a:lnTo>
                  <a:lnTo>
                    <a:pt x="595" y="588"/>
                  </a:lnTo>
                  <a:lnTo>
                    <a:pt x="597" y="601"/>
                  </a:lnTo>
                  <a:lnTo>
                    <a:pt x="599" y="605"/>
                  </a:lnTo>
                  <a:lnTo>
                    <a:pt x="603" y="607"/>
                  </a:lnTo>
                  <a:lnTo>
                    <a:pt x="608" y="609"/>
                  </a:lnTo>
                  <a:lnTo>
                    <a:pt x="615" y="609"/>
                  </a:lnTo>
                  <a:lnTo>
                    <a:pt x="631" y="605"/>
                  </a:lnTo>
                  <a:lnTo>
                    <a:pt x="641" y="603"/>
                  </a:lnTo>
                  <a:lnTo>
                    <a:pt x="644" y="602"/>
                  </a:lnTo>
                  <a:lnTo>
                    <a:pt x="646" y="602"/>
                  </a:lnTo>
                  <a:lnTo>
                    <a:pt x="649" y="603"/>
                  </a:lnTo>
                  <a:lnTo>
                    <a:pt x="650" y="605"/>
                  </a:lnTo>
                  <a:lnTo>
                    <a:pt x="650" y="620"/>
                  </a:lnTo>
                  <a:lnTo>
                    <a:pt x="649" y="654"/>
                  </a:lnTo>
                  <a:lnTo>
                    <a:pt x="649" y="660"/>
                  </a:lnTo>
                  <a:lnTo>
                    <a:pt x="650" y="665"/>
                  </a:lnTo>
                  <a:lnTo>
                    <a:pt x="652" y="669"/>
                  </a:lnTo>
                  <a:lnTo>
                    <a:pt x="654" y="671"/>
                  </a:lnTo>
                  <a:lnTo>
                    <a:pt x="661" y="674"/>
                  </a:lnTo>
                  <a:lnTo>
                    <a:pt x="669" y="674"/>
                  </a:lnTo>
                  <a:lnTo>
                    <a:pt x="678" y="674"/>
                  </a:lnTo>
                  <a:lnTo>
                    <a:pt x="686" y="675"/>
                  </a:lnTo>
                  <a:lnTo>
                    <a:pt x="690" y="677"/>
                  </a:lnTo>
                  <a:lnTo>
                    <a:pt x="693" y="679"/>
                  </a:lnTo>
                  <a:lnTo>
                    <a:pt x="697" y="682"/>
                  </a:lnTo>
                  <a:lnTo>
                    <a:pt x="700" y="686"/>
                  </a:lnTo>
                  <a:lnTo>
                    <a:pt x="716" y="708"/>
                  </a:lnTo>
                  <a:lnTo>
                    <a:pt x="735" y="736"/>
                  </a:lnTo>
                  <a:lnTo>
                    <a:pt x="743" y="750"/>
                  </a:lnTo>
                  <a:lnTo>
                    <a:pt x="750" y="766"/>
                  </a:lnTo>
                  <a:lnTo>
                    <a:pt x="752" y="772"/>
                  </a:lnTo>
                  <a:lnTo>
                    <a:pt x="754" y="780"/>
                  </a:lnTo>
                  <a:lnTo>
                    <a:pt x="754" y="787"/>
                  </a:lnTo>
                  <a:lnTo>
                    <a:pt x="752" y="793"/>
                  </a:lnTo>
                  <a:lnTo>
                    <a:pt x="751" y="800"/>
                  </a:lnTo>
                  <a:lnTo>
                    <a:pt x="752" y="806"/>
                  </a:lnTo>
                  <a:lnTo>
                    <a:pt x="756" y="810"/>
                  </a:lnTo>
                  <a:lnTo>
                    <a:pt x="761" y="815"/>
                  </a:lnTo>
                  <a:lnTo>
                    <a:pt x="768" y="818"/>
                  </a:lnTo>
                  <a:lnTo>
                    <a:pt x="776" y="822"/>
                  </a:lnTo>
                  <a:lnTo>
                    <a:pt x="785" y="823"/>
                  </a:lnTo>
                  <a:lnTo>
                    <a:pt x="795" y="826"/>
                  </a:lnTo>
                  <a:lnTo>
                    <a:pt x="835" y="831"/>
                  </a:lnTo>
                  <a:lnTo>
                    <a:pt x="862" y="832"/>
                  </a:lnTo>
                  <a:lnTo>
                    <a:pt x="866" y="834"/>
                  </a:lnTo>
                  <a:lnTo>
                    <a:pt x="869" y="832"/>
                  </a:lnTo>
                  <a:lnTo>
                    <a:pt x="870" y="831"/>
                  </a:lnTo>
                  <a:lnTo>
                    <a:pt x="873" y="831"/>
                  </a:lnTo>
                  <a:lnTo>
                    <a:pt x="877" y="827"/>
                  </a:lnTo>
                  <a:lnTo>
                    <a:pt x="882" y="824"/>
                  </a:lnTo>
                  <a:lnTo>
                    <a:pt x="892" y="821"/>
                  </a:lnTo>
                  <a:lnTo>
                    <a:pt x="903" y="814"/>
                  </a:lnTo>
                  <a:lnTo>
                    <a:pt x="909" y="810"/>
                  </a:lnTo>
                  <a:lnTo>
                    <a:pt x="915" y="807"/>
                  </a:lnTo>
                  <a:lnTo>
                    <a:pt x="920" y="806"/>
                  </a:lnTo>
                  <a:lnTo>
                    <a:pt x="926" y="806"/>
                  </a:lnTo>
                  <a:lnTo>
                    <a:pt x="928" y="807"/>
                  </a:lnTo>
                  <a:lnTo>
                    <a:pt x="928" y="810"/>
                  </a:lnTo>
                  <a:lnTo>
                    <a:pt x="929" y="810"/>
                  </a:lnTo>
                  <a:lnTo>
                    <a:pt x="929" y="811"/>
                  </a:lnTo>
                  <a:lnTo>
                    <a:pt x="930" y="822"/>
                  </a:lnTo>
                  <a:lnTo>
                    <a:pt x="930" y="832"/>
                  </a:lnTo>
                  <a:lnTo>
                    <a:pt x="930" y="844"/>
                  </a:lnTo>
                  <a:lnTo>
                    <a:pt x="928" y="855"/>
                  </a:lnTo>
                  <a:lnTo>
                    <a:pt x="926" y="862"/>
                  </a:lnTo>
                  <a:lnTo>
                    <a:pt x="924" y="874"/>
                  </a:lnTo>
                  <a:lnTo>
                    <a:pt x="922" y="886"/>
                  </a:lnTo>
                  <a:lnTo>
                    <a:pt x="920" y="894"/>
                  </a:lnTo>
                  <a:lnTo>
                    <a:pt x="912" y="906"/>
                  </a:lnTo>
                  <a:lnTo>
                    <a:pt x="905" y="919"/>
                  </a:lnTo>
                  <a:lnTo>
                    <a:pt x="905" y="921"/>
                  </a:lnTo>
                  <a:lnTo>
                    <a:pt x="904" y="924"/>
                  </a:lnTo>
                  <a:lnTo>
                    <a:pt x="901" y="926"/>
                  </a:lnTo>
                  <a:lnTo>
                    <a:pt x="901" y="932"/>
                  </a:lnTo>
                  <a:lnTo>
                    <a:pt x="899" y="937"/>
                  </a:lnTo>
                  <a:lnTo>
                    <a:pt x="896" y="940"/>
                  </a:lnTo>
                  <a:lnTo>
                    <a:pt x="895" y="944"/>
                  </a:lnTo>
                  <a:lnTo>
                    <a:pt x="895" y="947"/>
                  </a:lnTo>
                  <a:lnTo>
                    <a:pt x="898" y="951"/>
                  </a:lnTo>
                  <a:lnTo>
                    <a:pt x="900" y="955"/>
                  </a:lnTo>
                  <a:lnTo>
                    <a:pt x="904" y="959"/>
                  </a:lnTo>
                  <a:lnTo>
                    <a:pt x="908" y="961"/>
                  </a:lnTo>
                  <a:lnTo>
                    <a:pt x="913" y="962"/>
                  </a:lnTo>
                  <a:lnTo>
                    <a:pt x="917" y="959"/>
                  </a:lnTo>
                  <a:lnTo>
                    <a:pt x="922" y="957"/>
                  </a:lnTo>
                  <a:lnTo>
                    <a:pt x="922" y="955"/>
                  </a:lnTo>
                  <a:lnTo>
                    <a:pt x="924" y="955"/>
                  </a:lnTo>
                  <a:lnTo>
                    <a:pt x="924" y="954"/>
                  </a:lnTo>
                  <a:lnTo>
                    <a:pt x="925" y="954"/>
                  </a:lnTo>
                  <a:lnTo>
                    <a:pt x="929" y="953"/>
                  </a:lnTo>
                  <a:lnTo>
                    <a:pt x="932" y="951"/>
                  </a:lnTo>
                  <a:lnTo>
                    <a:pt x="937" y="950"/>
                  </a:lnTo>
                  <a:lnTo>
                    <a:pt x="942" y="950"/>
                  </a:lnTo>
                  <a:lnTo>
                    <a:pt x="949" y="950"/>
                  </a:lnTo>
                  <a:lnTo>
                    <a:pt x="954" y="951"/>
                  </a:lnTo>
                  <a:lnTo>
                    <a:pt x="973" y="964"/>
                  </a:lnTo>
                  <a:lnTo>
                    <a:pt x="1024" y="953"/>
                  </a:lnTo>
                  <a:lnTo>
                    <a:pt x="1028" y="953"/>
                  </a:lnTo>
                  <a:lnTo>
                    <a:pt x="1032" y="953"/>
                  </a:lnTo>
                  <a:lnTo>
                    <a:pt x="1035" y="953"/>
                  </a:lnTo>
                  <a:lnTo>
                    <a:pt x="1039" y="955"/>
                  </a:lnTo>
                  <a:lnTo>
                    <a:pt x="1044" y="961"/>
                  </a:lnTo>
                  <a:lnTo>
                    <a:pt x="1049" y="967"/>
                  </a:lnTo>
                  <a:lnTo>
                    <a:pt x="1053" y="978"/>
                  </a:lnTo>
                  <a:lnTo>
                    <a:pt x="1057" y="988"/>
                  </a:lnTo>
                  <a:lnTo>
                    <a:pt x="1060" y="1001"/>
                  </a:lnTo>
                  <a:lnTo>
                    <a:pt x="1062" y="1014"/>
                  </a:lnTo>
                  <a:lnTo>
                    <a:pt x="1068" y="1043"/>
                  </a:lnTo>
                  <a:lnTo>
                    <a:pt x="1071" y="1072"/>
                  </a:lnTo>
                  <a:lnTo>
                    <a:pt x="1075" y="1098"/>
                  </a:lnTo>
                  <a:lnTo>
                    <a:pt x="1081" y="1119"/>
                  </a:lnTo>
                  <a:lnTo>
                    <a:pt x="1085" y="1129"/>
                  </a:lnTo>
                  <a:lnTo>
                    <a:pt x="1085" y="1138"/>
                  </a:lnTo>
                  <a:lnTo>
                    <a:pt x="1083" y="1145"/>
                  </a:lnTo>
                  <a:lnTo>
                    <a:pt x="1081" y="1150"/>
                  </a:lnTo>
                  <a:lnTo>
                    <a:pt x="1075" y="1154"/>
                  </a:lnTo>
                  <a:lnTo>
                    <a:pt x="1070" y="1158"/>
                  </a:lnTo>
                  <a:lnTo>
                    <a:pt x="1062" y="1159"/>
                  </a:lnTo>
                  <a:lnTo>
                    <a:pt x="1056" y="1162"/>
                  </a:lnTo>
                  <a:lnTo>
                    <a:pt x="1041" y="1165"/>
                  </a:lnTo>
                  <a:lnTo>
                    <a:pt x="1030" y="1168"/>
                  </a:lnTo>
                  <a:lnTo>
                    <a:pt x="1024" y="1171"/>
                  </a:lnTo>
                  <a:lnTo>
                    <a:pt x="1022" y="1175"/>
                  </a:lnTo>
                  <a:lnTo>
                    <a:pt x="1022" y="1182"/>
                  </a:lnTo>
                  <a:lnTo>
                    <a:pt x="1023" y="1188"/>
                  </a:lnTo>
                  <a:lnTo>
                    <a:pt x="1026" y="1195"/>
                  </a:lnTo>
                  <a:lnTo>
                    <a:pt x="1030" y="1201"/>
                  </a:lnTo>
                  <a:lnTo>
                    <a:pt x="1032" y="1208"/>
                  </a:lnTo>
                  <a:lnTo>
                    <a:pt x="1037" y="1212"/>
                  </a:lnTo>
                  <a:lnTo>
                    <a:pt x="1047" y="1221"/>
                  </a:lnTo>
                  <a:lnTo>
                    <a:pt x="1056" y="1227"/>
                  </a:lnTo>
                  <a:lnTo>
                    <a:pt x="1068" y="1233"/>
                  </a:lnTo>
                  <a:lnTo>
                    <a:pt x="1079" y="1237"/>
                  </a:lnTo>
                  <a:lnTo>
                    <a:pt x="1091" y="1240"/>
                  </a:lnTo>
                  <a:lnTo>
                    <a:pt x="1104" y="1243"/>
                  </a:lnTo>
                  <a:lnTo>
                    <a:pt x="1116" y="1246"/>
                  </a:lnTo>
                  <a:lnTo>
                    <a:pt x="1128" y="1250"/>
                  </a:lnTo>
                  <a:lnTo>
                    <a:pt x="1139" y="1252"/>
                  </a:lnTo>
                  <a:lnTo>
                    <a:pt x="1150" y="1257"/>
                  </a:lnTo>
                  <a:lnTo>
                    <a:pt x="1159" y="1264"/>
                  </a:lnTo>
                  <a:lnTo>
                    <a:pt x="1167" y="1271"/>
                  </a:lnTo>
                  <a:lnTo>
                    <a:pt x="1171" y="1276"/>
                  </a:lnTo>
                  <a:lnTo>
                    <a:pt x="1174" y="1281"/>
                  </a:lnTo>
                  <a:lnTo>
                    <a:pt x="1176" y="1286"/>
                  </a:lnTo>
                  <a:lnTo>
                    <a:pt x="1179" y="1293"/>
                  </a:lnTo>
                  <a:lnTo>
                    <a:pt x="1183" y="1322"/>
                  </a:lnTo>
                  <a:lnTo>
                    <a:pt x="1183" y="1339"/>
                  </a:lnTo>
                  <a:lnTo>
                    <a:pt x="1184" y="1341"/>
                  </a:lnTo>
                  <a:lnTo>
                    <a:pt x="1187" y="1344"/>
                  </a:lnTo>
                  <a:lnTo>
                    <a:pt x="1189" y="1346"/>
                  </a:lnTo>
                  <a:lnTo>
                    <a:pt x="1193" y="1348"/>
                  </a:lnTo>
                  <a:lnTo>
                    <a:pt x="1205" y="1349"/>
                  </a:lnTo>
                  <a:lnTo>
                    <a:pt x="1223" y="1350"/>
                  </a:lnTo>
                  <a:lnTo>
                    <a:pt x="1236" y="1350"/>
                  </a:lnTo>
                  <a:lnTo>
                    <a:pt x="1245" y="1352"/>
                  </a:lnTo>
                  <a:lnTo>
                    <a:pt x="1253" y="1354"/>
                  </a:lnTo>
                  <a:lnTo>
                    <a:pt x="1259" y="1357"/>
                  </a:lnTo>
                  <a:lnTo>
                    <a:pt x="1262" y="1361"/>
                  </a:lnTo>
                  <a:lnTo>
                    <a:pt x="1264" y="1366"/>
                  </a:lnTo>
                  <a:lnTo>
                    <a:pt x="1265" y="1370"/>
                  </a:lnTo>
                  <a:lnTo>
                    <a:pt x="1265" y="1376"/>
                  </a:lnTo>
                  <a:lnTo>
                    <a:pt x="1262" y="1390"/>
                  </a:lnTo>
                  <a:lnTo>
                    <a:pt x="1261" y="1404"/>
                  </a:lnTo>
                  <a:lnTo>
                    <a:pt x="1260" y="1410"/>
                  </a:lnTo>
                  <a:lnTo>
                    <a:pt x="1261" y="1420"/>
                  </a:lnTo>
                  <a:lnTo>
                    <a:pt x="1262" y="1427"/>
                  </a:lnTo>
                  <a:lnTo>
                    <a:pt x="1265" y="1435"/>
                  </a:lnTo>
                  <a:lnTo>
                    <a:pt x="1268" y="1446"/>
                  </a:lnTo>
                  <a:lnTo>
                    <a:pt x="1269" y="1455"/>
                  </a:lnTo>
                  <a:lnTo>
                    <a:pt x="1268" y="1463"/>
                  </a:lnTo>
                  <a:lnTo>
                    <a:pt x="1266" y="1472"/>
                  </a:lnTo>
                  <a:lnTo>
                    <a:pt x="1264" y="1480"/>
                  </a:lnTo>
                  <a:lnTo>
                    <a:pt x="1259" y="1488"/>
                  </a:lnTo>
                  <a:lnTo>
                    <a:pt x="1253" y="1496"/>
                  </a:lnTo>
                  <a:lnTo>
                    <a:pt x="1248" y="1502"/>
                  </a:lnTo>
                  <a:lnTo>
                    <a:pt x="1235" y="1516"/>
                  </a:lnTo>
                  <a:lnTo>
                    <a:pt x="1223" y="1530"/>
                  </a:lnTo>
                  <a:lnTo>
                    <a:pt x="1211" y="1541"/>
                  </a:lnTo>
                  <a:lnTo>
                    <a:pt x="1204" y="1554"/>
                  </a:lnTo>
                  <a:lnTo>
                    <a:pt x="1193" y="1577"/>
                  </a:lnTo>
                  <a:lnTo>
                    <a:pt x="1183" y="1604"/>
                  </a:lnTo>
                  <a:lnTo>
                    <a:pt x="1177" y="1618"/>
                  </a:lnTo>
                  <a:lnTo>
                    <a:pt x="1175" y="1633"/>
                  </a:lnTo>
                  <a:lnTo>
                    <a:pt x="1172" y="1645"/>
                  </a:lnTo>
                  <a:lnTo>
                    <a:pt x="1172" y="1656"/>
                  </a:lnTo>
                  <a:lnTo>
                    <a:pt x="1174" y="1660"/>
                  </a:lnTo>
                  <a:lnTo>
                    <a:pt x="1172" y="1666"/>
                  </a:lnTo>
                  <a:lnTo>
                    <a:pt x="1171" y="1671"/>
                  </a:lnTo>
                  <a:lnTo>
                    <a:pt x="1168" y="1675"/>
                  </a:lnTo>
                  <a:lnTo>
                    <a:pt x="1162" y="1685"/>
                  </a:lnTo>
                  <a:lnTo>
                    <a:pt x="1153" y="1696"/>
                  </a:lnTo>
                  <a:lnTo>
                    <a:pt x="1141" y="1706"/>
                  </a:lnTo>
                  <a:lnTo>
                    <a:pt x="1129" y="1717"/>
                  </a:lnTo>
                  <a:lnTo>
                    <a:pt x="1115" y="1727"/>
                  </a:lnTo>
                  <a:lnTo>
                    <a:pt x="1099" y="1738"/>
                  </a:lnTo>
                  <a:lnTo>
                    <a:pt x="1068" y="1757"/>
                  </a:lnTo>
                  <a:lnTo>
                    <a:pt x="1037" y="1773"/>
                  </a:lnTo>
                  <a:lnTo>
                    <a:pt x="1010" y="1786"/>
                  </a:lnTo>
                  <a:lnTo>
                    <a:pt x="990" y="1794"/>
                  </a:lnTo>
                  <a:lnTo>
                    <a:pt x="973" y="1802"/>
                  </a:lnTo>
                  <a:lnTo>
                    <a:pt x="954" y="1808"/>
                  </a:lnTo>
                  <a:lnTo>
                    <a:pt x="950" y="1809"/>
                  </a:lnTo>
                  <a:lnTo>
                    <a:pt x="946" y="1809"/>
                  </a:lnTo>
                  <a:lnTo>
                    <a:pt x="942" y="1808"/>
                  </a:lnTo>
                  <a:lnTo>
                    <a:pt x="939" y="1807"/>
                  </a:lnTo>
                  <a:lnTo>
                    <a:pt x="938" y="1804"/>
                  </a:lnTo>
                  <a:lnTo>
                    <a:pt x="937" y="1799"/>
                  </a:lnTo>
                  <a:lnTo>
                    <a:pt x="937" y="1794"/>
                  </a:lnTo>
                  <a:lnTo>
                    <a:pt x="939" y="1786"/>
                  </a:lnTo>
                  <a:lnTo>
                    <a:pt x="942" y="1773"/>
                  </a:lnTo>
                  <a:lnTo>
                    <a:pt x="943" y="1761"/>
                  </a:lnTo>
                  <a:lnTo>
                    <a:pt x="943" y="1751"/>
                  </a:lnTo>
                  <a:lnTo>
                    <a:pt x="942" y="1741"/>
                  </a:lnTo>
                  <a:lnTo>
                    <a:pt x="939" y="1735"/>
                  </a:lnTo>
                  <a:lnTo>
                    <a:pt x="935" y="1730"/>
                  </a:lnTo>
                  <a:lnTo>
                    <a:pt x="930" y="1726"/>
                  </a:lnTo>
                  <a:lnTo>
                    <a:pt x="924" y="1722"/>
                  </a:lnTo>
                  <a:lnTo>
                    <a:pt x="908" y="1718"/>
                  </a:lnTo>
                  <a:lnTo>
                    <a:pt x="888" y="1717"/>
                  </a:lnTo>
                  <a:lnTo>
                    <a:pt x="867" y="1715"/>
                  </a:lnTo>
                  <a:lnTo>
                    <a:pt x="845" y="1713"/>
                  </a:lnTo>
                  <a:lnTo>
                    <a:pt x="839" y="1711"/>
                  </a:lnTo>
                  <a:lnTo>
                    <a:pt x="831" y="1709"/>
                  </a:lnTo>
                  <a:lnTo>
                    <a:pt x="824" y="1706"/>
                  </a:lnTo>
                  <a:lnTo>
                    <a:pt x="818" y="1702"/>
                  </a:lnTo>
                  <a:lnTo>
                    <a:pt x="806" y="1694"/>
                  </a:lnTo>
                  <a:lnTo>
                    <a:pt x="794" y="1686"/>
                  </a:lnTo>
                  <a:lnTo>
                    <a:pt x="788" y="1684"/>
                  </a:lnTo>
                  <a:lnTo>
                    <a:pt x="782" y="1681"/>
                  </a:lnTo>
                  <a:lnTo>
                    <a:pt x="777" y="1681"/>
                  </a:lnTo>
                  <a:lnTo>
                    <a:pt x="772" y="1681"/>
                  </a:lnTo>
                  <a:lnTo>
                    <a:pt x="767" y="1684"/>
                  </a:lnTo>
                  <a:lnTo>
                    <a:pt x="761" y="1689"/>
                  </a:lnTo>
                  <a:lnTo>
                    <a:pt x="756" y="1694"/>
                  </a:lnTo>
                  <a:lnTo>
                    <a:pt x="751" y="1703"/>
                  </a:lnTo>
                  <a:lnTo>
                    <a:pt x="747" y="1713"/>
                  </a:lnTo>
                  <a:lnTo>
                    <a:pt x="744" y="1722"/>
                  </a:lnTo>
                  <a:lnTo>
                    <a:pt x="742" y="1732"/>
                  </a:lnTo>
                  <a:lnTo>
                    <a:pt x="739" y="1741"/>
                  </a:lnTo>
                  <a:lnTo>
                    <a:pt x="737" y="1761"/>
                  </a:lnTo>
                  <a:lnTo>
                    <a:pt x="733" y="1779"/>
                  </a:lnTo>
                  <a:lnTo>
                    <a:pt x="730" y="1789"/>
                  </a:lnTo>
                  <a:lnTo>
                    <a:pt x="726" y="1796"/>
                  </a:lnTo>
                  <a:lnTo>
                    <a:pt x="721" y="1803"/>
                  </a:lnTo>
                  <a:lnTo>
                    <a:pt x="716" y="1809"/>
                  </a:lnTo>
                  <a:lnTo>
                    <a:pt x="708" y="1815"/>
                  </a:lnTo>
                  <a:lnTo>
                    <a:pt x="699" y="1820"/>
                  </a:lnTo>
                  <a:lnTo>
                    <a:pt x="688" y="1823"/>
                  </a:lnTo>
                  <a:lnTo>
                    <a:pt x="675" y="1824"/>
                  </a:lnTo>
                  <a:lnTo>
                    <a:pt x="659" y="1826"/>
                  </a:lnTo>
                  <a:lnTo>
                    <a:pt x="645" y="1829"/>
                  </a:lnTo>
                  <a:lnTo>
                    <a:pt x="635" y="1832"/>
                  </a:lnTo>
                  <a:lnTo>
                    <a:pt x="624" y="1836"/>
                  </a:lnTo>
                  <a:lnTo>
                    <a:pt x="616" y="1841"/>
                  </a:lnTo>
                  <a:lnTo>
                    <a:pt x="610" y="1846"/>
                  </a:lnTo>
                  <a:lnTo>
                    <a:pt x="605" y="1853"/>
                  </a:lnTo>
                  <a:lnTo>
                    <a:pt x="599" y="1859"/>
                  </a:lnTo>
                  <a:lnTo>
                    <a:pt x="586" y="1893"/>
                  </a:lnTo>
                  <a:lnTo>
                    <a:pt x="567" y="1936"/>
                  </a:lnTo>
                  <a:lnTo>
                    <a:pt x="557" y="1956"/>
                  </a:lnTo>
                  <a:lnTo>
                    <a:pt x="544" y="1987"/>
                  </a:lnTo>
                  <a:lnTo>
                    <a:pt x="531" y="2017"/>
                  </a:lnTo>
                  <a:lnTo>
                    <a:pt x="525" y="2033"/>
                  </a:lnTo>
                  <a:lnTo>
                    <a:pt x="517" y="2046"/>
                  </a:lnTo>
                  <a:lnTo>
                    <a:pt x="510" y="2061"/>
                  </a:lnTo>
                  <a:lnTo>
                    <a:pt x="509" y="2061"/>
                  </a:lnTo>
                  <a:lnTo>
                    <a:pt x="509" y="2062"/>
                  </a:lnTo>
                  <a:lnTo>
                    <a:pt x="509" y="2063"/>
                  </a:lnTo>
                  <a:lnTo>
                    <a:pt x="509" y="2065"/>
                  </a:lnTo>
                  <a:lnTo>
                    <a:pt x="508" y="2065"/>
                  </a:lnTo>
                  <a:lnTo>
                    <a:pt x="506" y="2068"/>
                  </a:lnTo>
                  <a:lnTo>
                    <a:pt x="504" y="2074"/>
                  </a:lnTo>
                  <a:lnTo>
                    <a:pt x="501" y="2075"/>
                  </a:lnTo>
                  <a:lnTo>
                    <a:pt x="500" y="2079"/>
                  </a:lnTo>
                  <a:lnTo>
                    <a:pt x="500" y="2080"/>
                  </a:lnTo>
                  <a:lnTo>
                    <a:pt x="497" y="2082"/>
                  </a:lnTo>
                  <a:lnTo>
                    <a:pt x="496" y="2083"/>
                  </a:lnTo>
                  <a:lnTo>
                    <a:pt x="496" y="2085"/>
                  </a:lnTo>
                  <a:lnTo>
                    <a:pt x="495" y="2085"/>
                  </a:lnTo>
                  <a:lnTo>
                    <a:pt x="495" y="2085"/>
                  </a:lnTo>
                  <a:lnTo>
                    <a:pt x="495" y="2088"/>
                  </a:lnTo>
                  <a:lnTo>
                    <a:pt x="493" y="2089"/>
                  </a:lnTo>
                  <a:lnTo>
                    <a:pt x="491" y="2091"/>
                  </a:lnTo>
                  <a:lnTo>
                    <a:pt x="459" y="212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3" name="Freeform 27"/>
            <p:cNvSpPr>
              <a:spLocks noEditPoints="1"/>
            </p:cNvSpPr>
            <p:nvPr/>
          </p:nvSpPr>
          <p:spPr bwMode="auto">
            <a:xfrm>
              <a:off x="5129213" y="2416175"/>
              <a:ext cx="1000125" cy="1108075"/>
            </a:xfrm>
            <a:custGeom>
              <a:avLst/>
              <a:gdLst>
                <a:gd name="T0" fmla="*/ 897944 w 2721"/>
                <a:gd name="T1" fmla="*/ 342670 h 3017"/>
                <a:gd name="T2" fmla="*/ 856410 w 2721"/>
                <a:gd name="T3" fmla="*/ 355157 h 3017"/>
                <a:gd name="T4" fmla="*/ 803849 w 2721"/>
                <a:gd name="T5" fmla="*/ 322837 h 3017"/>
                <a:gd name="T6" fmla="*/ 744305 w 2721"/>
                <a:gd name="T7" fmla="*/ 249381 h 3017"/>
                <a:gd name="T8" fmla="*/ 697257 w 2721"/>
                <a:gd name="T9" fmla="*/ 82637 h 3017"/>
                <a:gd name="T10" fmla="*/ 668220 w 2721"/>
                <a:gd name="T11" fmla="*/ 17262 h 3017"/>
                <a:gd name="T12" fmla="*/ 617497 w 2721"/>
                <a:gd name="T13" fmla="*/ 735 h 3017"/>
                <a:gd name="T14" fmla="*/ 580741 w 2721"/>
                <a:gd name="T15" fmla="*/ 32320 h 3017"/>
                <a:gd name="T16" fmla="*/ 545823 w 2721"/>
                <a:gd name="T17" fmla="*/ 124507 h 3017"/>
                <a:gd name="T18" fmla="*/ 484074 w 2721"/>
                <a:gd name="T19" fmla="*/ 128547 h 3017"/>
                <a:gd name="T20" fmla="*/ 505760 w 2721"/>
                <a:gd name="T21" fmla="*/ 88881 h 3017"/>
                <a:gd name="T22" fmla="*/ 410195 w 2721"/>
                <a:gd name="T23" fmla="*/ 101001 h 3017"/>
                <a:gd name="T24" fmla="*/ 363515 w 2721"/>
                <a:gd name="T25" fmla="*/ 55459 h 3017"/>
                <a:gd name="T26" fmla="*/ 327494 w 2721"/>
                <a:gd name="T27" fmla="*/ 65008 h 3017"/>
                <a:gd name="T28" fmla="*/ 264642 w 2721"/>
                <a:gd name="T29" fmla="*/ 94758 h 3017"/>
                <a:gd name="T30" fmla="*/ 241853 w 2721"/>
                <a:gd name="T31" fmla="*/ 23138 h 3017"/>
                <a:gd name="T32" fmla="*/ 166871 w 2721"/>
                <a:gd name="T33" fmla="*/ 27546 h 3017"/>
                <a:gd name="T34" fmla="*/ 154374 w 2721"/>
                <a:gd name="T35" fmla="*/ 99899 h 3017"/>
                <a:gd name="T36" fmla="*/ 85273 w 2721"/>
                <a:gd name="T37" fmla="*/ 98798 h 3017"/>
                <a:gd name="T38" fmla="*/ 8086 w 2721"/>
                <a:gd name="T39" fmla="*/ 147645 h 3017"/>
                <a:gd name="T40" fmla="*/ 18378 w 2721"/>
                <a:gd name="T41" fmla="*/ 167478 h 3017"/>
                <a:gd name="T42" fmla="*/ 34550 w 2721"/>
                <a:gd name="T43" fmla="*/ 207144 h 3017"/>
                <a:gd name="T44" fmla="*/ 48518 w 2721"/>
                <a:gd name="T45" fmla="*/ 219999 h 3017"/>
                <a:gd name="T46" fmla="*/ 64323 w 2721"/>
                <a:gd name="T47" fmla="*/ 235425 h 3017"/>
                <a:gd name="T48" fmla="*/ 62117 w 2721"/>
                <a:gd name="T49" fmla="*/ 262603 h 3017"/>
                <a:gd name="T50" fmla="*/ 69101 w 2721"/>
                <a:gd name="T51" fmla="*/ 303738 h 3017"/>
                <a:gd name="T52" fmla="*/ 67998 w 2721"/>
                <a:gd name="T53" fmla="*/ 347444 h 3017"/>
                <a:gd name="T54" fmla="*/ 55501 w 2721"/>
                <a:gd name="T55" fmla="*/ 401434 h 3017"/>
                <a:gd name="T56" fmla="*/ 47047 w 2721"/>
                <a:gd name="T57" fmla="*/ 503537 h 3017"/>
                <a:gd name="T58" fmla="*/ 93727 w 2721"/>
                <a:gd name="T59" fmla="*/ 600131 h 3017"/>
                <a:gd name="T60" fmla="*/ 137467 w 2721"/>
                <a:gd name="T61" fmla="*/ 610415 h 3017"/>
                <a:gd name="T62" fmla="*/ 167974 w 2721"/>
                <a:gd name="T63" fmla="*/ 637226 h 3017"/>
                <a:gd name="T64" fmla="*/ 148493 w 2721"/>
                <a:gd name="T65" fmla="*/ 700765 h 3017"/>
                <a:gd name="T66" fmla="*/ 123499 w 2721"/>
                <a:gd name="T67" fmla="*/ 741900 h 3017"/>
                <a:gd name="T68" fmla="*/ 63588 w 2721"/>
                <a:gd name="T69" fmla="*/ 778995 h 3017"/>
                <a:gd name="T70" fmla="*/ 67263 w 2721"/>
                <a:gd name="T71" fmla="*/ 822701 h 3017"/>
                <a:gd name="T72" fmla="*/ 31610 w 2721"/>
                <a:gd name="T73" fmla="*/ 873018 h 3017"/>
                <a:gd name="T74" fmla="*/ 51091 w 2721"/>
                <a:gd name="T75" fmla="*/ 945739 h 3017"/>
                <a:gd name="T76" fmla="*/ 73512 w 2721"/>
                <a:gd name="T77" fmla="*/ 977324 h 3017"/>
                <a:gd name="T78" fmla="*/ 107694 w 2721"/>
                <a:gd name="T79" fmla="*/ 1000830 h 3017"/>
                <a:gd name="T80" fmla="*/ 157682 w 2721"/>
                <a:gd name="T81" fmla="*/ 1039394 h 3017"/>
                <a:gd name="T82" fmla="*/ 178266 w 2721"/>
                <a:gd name="T83" fmla="*/ 1075020 h 3017"/>
                <a:gd name="T84" fmla="*/ 211713 w 2721"/>
                <a:gd name="T85" fmla="*/ 1106606 h 3017"/>
                <a:gd name="T86" fmla="*/ 271993 w 2721"/>
                <a:gd name="T87" fmla="*/ 1077224 h 3017"/>
                <a:gd name="T88" fmla="*/ 293311 w 2721"/>
                <a:gd name="T89" fmla="*/ 1080162 h 3017"/>
                <a:gd name="T90" fmla="*/ 309116 w 2721"/>
                <a:gd name="T91" fmla="*/ 987241 h 3017"/>
                <a:gd name="T92" fmla="*/ 330802 w 2721"/>
                <a:gd name="T93" fmla="*/ 933986 h 3017"/>
                <a:gd name="T94" fmla="*/ 344402 w 2721"/>
                <a:gd name="T95" fmla="*/ 845839 h 3017"/>
                <a:gd name="T96" fmla="*/ 398065 w 2721"/>
                <a:gd name="T97" fmla="*/ 827475 h 3017"/>
                <a:gd name="T98" fmla="*/ 443642 w 2721"/>
                <a:gd name="T99" fmla="*/ 790380 h 3017"/>
                <a:gd name="T100" fmla="*/ 476355 w 2721"/>
                <a:gd name="T101" fmla="*/ 706274 h 3017"/>
                <a:gd name="T102" fmla="*/ 538472 w 2721"/>
                <a:gd name="T103" fmla="*/ 694521 h 3017"/>
                <a:gd name="T104" fmla="*/ 580374 w 2721"/>
                <a:gd name="T105" fmla="*/ 682768 h 3017"/>
                <a:gd name="T106" fmla="*/ 600590 w 2721"/>
                <a:gd name="T107" fmla="*/ 648244 h 3017"/>
                <a:gd name="T108" fmla="*/ 667853 w 2721"/>
                <a:gd name="T109" fmla="*/ 635389 h 3017"/>
                <a:gd name="T110" fmla="*/ 809730 w 2721"/>
                <a:gd name="T111" fmla="*/ 586174 h 3017"/>
                <a:gd name="T112" fmla="*/ 839135 w 2721"/>
                <a:gd name="T113" fmla="*/ 621433 h 3017"/>
                <a:gd name="T114" fmla="*/ 870745 w 2721"/>
                <a:gd name="T115" fmla="*/ 588745 h 3017"/>
                <a:gd name="T116" fmla="*/ 999390 w 2721"/>
                <a:gd name="T117" fmla="*/ 589112 h 3017"/>
                <a:gd name="T118" fmla="*/ 928084 w 2721"/>
                <a:gd name="T119" fmla="*/ 516759 h 3017"/>
                <a:gd name="T120" fmla="*/ 817449 w 2721"/>
                <a:gd name="T121" fmla="*/ 491784 h 3017"/>
                <a:gd name="T122" fmla="*/ 843913 w 2721"/>
                <a:gd name="T123" fmla="*/ 444038 h 301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721"/>
                <a:gd name="T187" fmla="*/ 0 h 3017"/>
                <a:gd name="T188" fmla="*/ 2721 w 2721"/>
                <a:gd name="T189" fmla="*/ 3017 h 301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721" h="3017">
                  <a:moveTo>
                    <a:pt x="2488" y="1029"/>
                  </a:moveTo>
                  <a:lnTo>
                    <a:pt x="2561" y="1032"/>
                  </a:lnTo>
                  <a:lnTo>
                    <a:pt x="2632" y="1107"/>
                  </a:lnTo>
                  <a:lnTo>
                    <a:pt x="2634" y="1029"/>
                  </a:lnTo>
                  <a:lnTo>
                    <a:pt x="2581" y="959"/>
                  </a:lnTo>
                  <a:lnTo>
                    <a:pt x="2488" y="1029"/>
                  </a:lnTo>
                  <a:close/>
                  <a:moveTo>
                    <a:pt x="2488" y="1029"/>
                  </a:moveTo>
                  <a:lnTo>
                    <a:pt x="2470" y="926"/>
                  </a:lnTo>
                  <a:lnTo>
                    <a:pt x="2470" y="923"/>
                  </a:lnTo>
                  <a:lnTo>
                    <a:pt x="2468" y="920"/>
                  </a:lnTo>
                  <a:lnTo>
                    <a:pt x="2467" y="919"/>
                  </a:lnTo>
                  <a:lnTo>
                    <a:pt x="2466" y="920"/>
                  </a:lnTo>
                  <a:lnTo>
                    <a:pt x="2463" y="923"/>
                  </a:lnTo>
                  <a:lnTo>
                    <a:pt x="2458" y="924"/>
                  </a:lnTo>
                  <a:lnTo>
                    <a:pt x="2457" y="925"/>
                  </a:lnTo>
                  <a:lnTo>
                    <a:pt x="2454" y="926"/>
                  </a:lnTo>
                  <a:lnTo>
                    <a:pt x="2453" y="928"/>
                  </a:lnTo>
                  <a:lnTo>
                    <a:pt x="2451" y="928"/>
                  </a:lnTo>
                  <a:lnTo>
                    <a:pt x="2443" y="933"/>
                  </a:lnTo>
                  <a:lnTo>
                    <a:pt x="2434" y="938"/>
                  </a:lnTo>
                  <a:lnTo>
                    <a:pt x="2433" y="940"/>
                  </a:lnTo>
                  <a:lnTo>
                    <a:pt x="2430" y="941"/>
                  </a:lnTo>
                  <a:lnTo>
                    <a:pt x="2429" y="942"/>
                  </a:lnTo>
                  <a:lnTo>
                    <a:pt x="2428" y="942"/>
                  </a:lnTo>
                  <a:lnTo>
                    <a:pt x="2425" y="945"/>
                  </a:lnTo>
                  <a:lnTo>
                    <a:pt x="2423" y="947"/>
                  </a:lnTo>
                  <a:lnTo>
                    <a:pt x="2420" y="949"/>
                  </a:lnTo>
                  <a:lnTo>
                    <a:pt x="2417" y="950"/>
                  </a:lnTo>
                  <a:lnTo>
                    <a:pt x="2408" y="954"/>
                  </a:lnTo>
                  <a:lnTo>
                    <a:pt x="2398" y="959"/>
                  </a:lnTo>
                  <a:lnTo>
                    <a:pt x="2394" y="963"/>
                  </a:lnTo>
                  <a:lnTo>
                    <a:pt x="2385" y="966"/>
                  </a:lnTo>
                  <a:lnTo>
                    <a:pt x="2374" y="968"/>
                  </a:lnTo>
                  <a:lnTo>
                    <a:pt x="2362" y="970"/>
                  </a:lnTo>
                  <a:lnTo>
                    <a:pt x="2349" y="970"/>
                  </a:lnTo>
                  <a:lnTo>
                    <a:pt x="2338" y="970"/>
                  </a:lnTo>
                  <a:lnTo>
                    <a:pt x="2334" y="968"/>
                  </a:lnTo>
                  <a:lnTo>
                    <a:pt x="2330" y="967"/>
                  </a:lnTo>
                  <a:lnTo>
                    <a:pt x="2326" y="966"/>
                  </a:lnTo>
                  <a:lnTo>
                    <a:pt x="2324" y="964"/>
                  </a:lnTo>
                  <a:lnTo>
                    <a:pt x="2319" y="960"/>
                  </a:lnTo>
                  <a:lnTo>
                    <a:pt x="2314" y="958"/>
                  </a:lnTo>
                  <a:lnTo>
                    <a:pt x="2313" y="957"/>
                  </a:lnTo>
                  <a:lnTo>
                    <a:pt x="2311" y="957"/>
                  </a:lnTo>
                  <a:lnTo>
                    <a:pt x="2311" y="955"/>
                  </a:lnTo>
                  <a:lnTo>
                    <a:pt x="2310" y="954"/>
                  </a:lnTo>
                  <a:lnTo>
                    <a:pt x="2306" y="950"/>
                  </a:lnTo>
                  <a:lnTo>
                    <a:pt x="2302" y="945"/>
                  </a:lnTo>
                  <a:lnTo>
                    <a:pt x="2300" y="940"/>
                  </a:lnTo>
                  <a:lnTo>
                    <a:pt x="2297" y="934"/>
                  </a:lnTo>
                  <a:lnTo>
                    <a:pt x="2297" y="932"/>
                  </a:lnTo>
                  <a:lnTo>
                    <a:pt x="2296" y="930"/>
                  </a:lnTo>
                  <a:lnTo>
                    <a:pt x="2294" y="929"/>
                  </a:lnTo>
                  <a:lnTo>
                    <a:pt x="2279" y="886"/>
                  </a:lnTo>
                  <a:lnTo>
                    <a:pt x="2217" y="883"/>
                  </a:lnTo>
                  <a:lnTo>
                    <a:pt x="2203" y="882"/>
                  </a:lnTo>
                  <a:lnTo>
                    <a:pt x="2187" y="879"/>
                  </a:lnTo>
                  <a:lnTo>
                    <a:pt x="2171" y="877"/>
                  </a:lnTo>
                  <a:lnTo>
                    <a:pt x="2156" y="874"/>
                  </a:lnTo>
                  <a:lnTo>
                    <a:pt x="2150" y="873"/>
                  </a:lnTo>
                  <a:lnTo>
                    <a:pt x="2145" y="870"/>
                  </a:lnTo>
                  <a:lnTo>
                    <a:pt x="2140" y="866"/>
                  </a:lnTo>
                  <a:lnTo>
                    <a:pt x="2136" y="861"/>
                  </a:lnTo>
                  <a:lnTo>
                    <a:pt x="2127" y="852"/>
                  </a:lnTo>
                  <a:lnTo>
                    <a:pt x="2119" y="843"/>
                  </a:lnTo>
                  <a:lnTo>
                    <a:pt x="2109" y="834"/>
                  </a:lnTo>
                  <a:lnTo>
                    <a:pt x="2102" y="824"/>
                  </a:lnTo>
                  <a:lnTo>
                    <a:pt x="2097" y="815"/>
                  </a:lnTo>
                  <a:lnTo>
                    <a:pt x="2094" y="806"/>
                  </a:lnTo>
                  <a:lnTo>
                    <a:pt x="2088" y="787"/>
                  </a:lnTo>
                  <a:lnTo>
                    <a:pt x="2079" y="762"/>
                  </a:lnTo>
                  <a:lnTo>
                    <a:pt x="2069" y="747"/>
                  </a:lnTo>
                  <a:lnTo>
                    <a:pt x="2059" y="733"/>
                  </a:lnTo>
                  <a:lnTo>
                    <a:pt x="2048" y="718"/>
                  </a:lnTo>
                  <a:lnTo>
                    <a:pt x="2039" y="704"/>
                  </a:lnTo>
                  <a:lnTo>
                    <a:pt x="2025" y="679"/>
                  </a:lnTo>
                  <a:lnTo>
                    <a:pt x="2014" y="658"/>
                  </a:lnTo>
                  <a:lnTo>
                    <a:pt x="2005" y="637"/>
                  </a:lnTo>
                  <a:lnTo>
                    <a:pt x="1997" y="610"/>
                  </a:lnTo>
                  <a:lnTo>
                    <a:pt x="1990" y="579"/>
                  </a:lnTo>
                  <a:lnTo>
                    <a:pt x="1982" y="545"/>
                  </a:lnTo>
                  <a:lnTo>
                    <a:pt x="1973" y="511"/>
                  </a:lnTo>
                  <a:lnTo>
                    <a:pt x="1963" y="479"/>
                  </a:lnTo>
                  <a:lnTo>
                    <a:pt x="1954" y="450"/>
                  </a:lnTo>
                  <a:lnTo>
                    <a:pt x="1945" y="424"/>
                  </a:lnTo>
                  <a:lnTo>
                    <a:pt x="1937" y="398"/>
                  </a:lnTo>
                  <a:lnTo>
                    <a:pt x="1929" y="373"/>
                  </a:lnTo>
                  <a:lnTo>
                    <a:pt x="1924" y="348"/>
                  </a:lnTo>
                  <a:lnTo>
                    <a:pt x="1919" y="323"/>
                  </a:lnTo>
                  <a:lnTo>
                    <a:pt x="1914" y="296"/>
                  </a:lnTo>
                  <a:lnTo>
                    <a:pt x="1911" y="266"/>
                  </a:lnTo>
                  <a:lnTo>
                    <a:pt x="1910" y="254"/>
                  </a:lnTo>
                  <a:lnTo>
                    <a:pt x="1906" y="244"/>
                  </a:lnTo>
                  <a:lnTo>
                    <a:pt x="1902" y="234"/>
                  </a:lnTo>
                  <a:lnTo>
                    <a:pt x="1897" y="225"/>
                  </a:lnTo>
                  <a:lnTo>
                    <a:pt x="1884" y="208"/>
                  </a:lnTo>
                  <a:lnTo>
                    <a:pt x="1871" y="193"/>
                  </a:lnTo>
                  <a:lnTo>
                    <a:pt x="1865" y="185"/>
                  </a:lnTo>
                  <a:lnTo>
                    <a:pt x="1860" y="176"/>
                  </a:lnTo>
                  <a:lnTo>
                    <a:pt x="1855" y="166"/>
                  </a:lnTo>
                  <a:lnTo>
                    <a:pt x="1852" y="156"/>
                  </a:lnTo>
                  <a:lnTo>
                    <a:pt x="1850" y="146"/>
                  </a:lnTo>
                  <a:lnTo>
                    <a:pt x="1850" y="134"/>
                  </a:lnTo>
                  <a:lnTo>
                    <a:pt x="1852" y="121"/>
                  </a:lnTo>
                  <a:lnTo>
                    <a:pt x="1856" y="106"/>
                  </a:lnTo>
                  <a:lnTo>
                    <a:pt x="1857" y="100"/>
                  </a:lnTo>
                  <a:lnTo>
                    <a:pt x="1857" y="95"/>
                  </a:lnTo>
                  <a:lnTo>
                    <a:pt x="1856" y="88"/>
                  </a:lnTo>
                  <a:lnTo>
                    <a:pt x="1854" y="81"/>
                  </a:lnTo>
                  <a:lnTo>
                    <a:pt x="1850" y="75"/>
                  </a:lnTo>
                  <a:lnTo>
                    <a:pt x="1844" y="70"/>
                  </a:lnTo>
                  <a:lnTo>
                    <a:pt x="1839" y="63"/>
                  </a:lnTo>
                  <a:lnTo>
                    <a:pt x="1833" y="58"/>
                  </a:lnTo>
                  <a:lnTo>
                    <a:pt x="1818" y="47"/>
                  </a:lnTo>
                  <a:lnTo>
                    <a:pt x="1804" y="40"/>
                  </a:lnTo>
                  <a:lnTo>
                    <a:pt x="1789" y="32"/>
                  </a:lnTo>
                  <a:lnTo>
                    <a:pt x="1778" y="28"/>
                  </a:lnTo>
                  <a:lnTo>
                    <a:pt x="1767" y="27"/>
                  </a:lnTo>
                  <a:lnTo>
                    <a:pt x="1757" y="27"/>
                  </a:lnTo>
                  <a:lnTo>
                    <a:pt x="1746" y="28"/>
                  </a:lnTo>
                  <a:lnTo>
                    <a:pt x="1736" y="28"/>
                  </a:lnTo>
                  <a:lnTo>
                    <a:pt x="1727" y="28"/>
                  </a:lnTo>
                  <a:lnTo>
                    <a:pt x="1718" y="27"/>
                  </a:lnTo>
                  <a:lnTo>
                    <a:pt x="1712" y="25"/>
                  </a:lnTo>
                  <a:lnTo>
                    <a:pt x="1710" y="23"/>
                  </a:lnTo>
                  <a:lnTo>
                    <a:pt x="1706" y="20"/>
                  </a:lnTo>
                  <a:lnTo>
                    <a:pt x="1703" y="16"/>
                  </a:lnTo>
                  <a:lnTo>
                    <a:pt x="1699" y="8"/>
                  </a:lnTo>
                  <a:lnTo>
                    <a:pt x="1695" y="4"/>
                  </a:lnTo>
                  <a:lnTo>
                    <a:pt x="1691" y="2"/>
                  </a:lnTo>
                  <a:lnTo>
                    <a:pt x="1687" y="0"/>
                  </a:lnTo>
                  <a:lnTo>
                    <a:pt x="1684" y="0"/>
                  </a:lnTo>
                  <a:lnTo>
                    <a:pt x="1680" y="2"/>
                  </a:lnTo>
                  <a:lnTo>
                    <a:pt x="1677" y="4"/>
                  </a:lnTo>
                  <a:lnTo>
                    <a:pt x="1673" y="7"/>
                  </a:lnTo>
                  <a:lnTo>
                    <a:pt x="1661" y="25"/>
                  </a:lnTo>
                  <a:lnTo>
                    <a:pt x="1651" y="42"/>
                  </a:lnTo>
                  <a:lnTo>
                    <a:pt x="1646" y="50"/>
                  </a:lnTo>
                  <a:lnTo>
                    <a:pt x="1639" y="63"/>
                  </a:lnTo>
                  <a:lnTo>
                    <a:pt x="1631" y="78"/>
                  </a:lnTo>
                  <a:lnTo>
                    <a:pt x="1626" y="88"/>
                  </a:lnTo>
                  <a:lnTo>
                    <a:pt x="1621" y="96"/>
                  </a:lnTo>
                  <a:lnTo>
                    <a:pt x="1617" y="98"/>
                  </a:lnTo>
                  <a:lnTo>
                    <a:pt x="1613" y="98"/>
                  </a:lnTo>
                  <a:lnTo>
                    <a:pt x="1609" y="96"/>
                  </a:lnTo>
                  <a:lnTo>
                    <a:pt x="1605" y="92"/>
                  </a:lnTo>
                  <a:lnTo>
                    <a:pt x="1601" y="87"/>
                  </a:lnTo>
                  <a:lnTo>
                    <a:pt x="1597" y="84"/>
                  </a:lnTo>
                  <a:lnTo>
                    <a:pt x="1592" y="81"/>
                  </a:lnTo>
                  <a:lnTo>
                    <a:pt x="1588" y="83"/>
                  </a:lnTo>
                  <a:lnTo>
                    <a:pt x="1584" y="84"/>
                  </a:lnTo>
                  <a:lnTo>
                    <a:pt x="1580" y="88"/>
                  </a:lnTo>
                  <a:lnTo>
                    <a:pt x="1578" y="91"/>
                  </a:lnTo>
                  <a:lnTo>
                    <a:pt x="1572" y="101"/>
                  </a:lnTo>
                  <a:lnTo>
                    <a:pt x="1568" y="113"/>
                  </a:lnTo>
                  <a:lnTo>
                    <a:pt x="1562" y="139"/>
                  </a:lnTo>
                  <a:lnTo>
                    <a:pt x="1554" y="161"/>
                  </a:lnTo>
                  <a:lnTo>
                    <a:pt x="1540" y="182"/>
                  </a:lnTo>
                  <a:lnTo>
                    <a:pt x="1525" y="200"/>
                  </a:lnTo>
                  <a:lnTo>
                    <a:pt x="1511" y="217"/>
                  </a:lnTo>
                  <a:lnTo>
                    <a:pt x="1498" y="234"/>
                  </a:lnTo>
                  <a:lnTo>
                    <a:pt x="1491" y="244"/>
                  </a:lnTo>
                  <a:lnTo>
                    <a:pt x="1486" y="252"/>
                  </a:lnTo>
                  <a:lnTo>
                    <a:pt x="1482" y="262"/>
                  </a:lnTo>
                  <a:lnTo>
                    <a:pt x="1479" y="271"/>
                  </a:lnTo>
                  <a:lnTo>
                    <a:pt x="1478" y="282"/>
                  </a:lnTo>
                  <a:lnTo>
                    <a:pt x="1478" y="293"/>
                  </a:lnTo>
                  <a:lnTo>
                    <a:pt x="1479" y="305"/>
                  </a:lnTo>
                  <a:lnTo>
                    <a:pt x="1482" y="320"/>
                  </a:lnTo>
                  <a:lnTo>
                    <a:pt x="1485" y="330"/>
                  </a:lnTo>
                  <a:lnTo>
                    <a:pt x="1485" y="339"/>
                  </a:lnTo>
                  <a:lnTo>
                    <a:pt x="1485" y="347"/>
                  </a:lnTo>
                  <a:lnTo>
                    <a:pt x="1483" y="354"/>
                  </a:lnTo>
                  <a:lnTo>
                    <a:pt x="1479" y="359"/>
                  </a:lnTo>
                  <a:lnTo>
                    <a:pt x="1476" y="363"/>
                  </a:lnTo>
                  <a:lnTo>
                    <a:pt x="1470" y="365"/>
                  </a:lnTo>
                  <a:lnTo>
                    <a:pt x="1465" y="367"/>
                  </a:lnTo>
                  <a:lnTo>
                    <a:pt x="1436" y="372"/>
                  </a:lnTo>
                  <a:lnTo>
                    <a:pt x="1406" y="380"/>
                  </a:lnTo>
                  <a:lnTo>
                    <a:pt x="1398" y="381"/>
                  </a:lnTo>
                  <a:lnTo>
                    <a:pt x="1391" y="382"/>
                  </a:lnTo>
                  <a:lnTo>
                    <a:pt x="1383" y="382"/>
                  </a:lnTo>
                  <a:lnTo>
                    <a:pt x="1374" y="382"/>
                  </a:lnTo>
                  <a:lnTo>
                    <a:pt x="1364" y="380"/>
                  </a:lnTo>
                  <a:lnTo>
                    <a:pt x="1357" y="377"/>
                  </a:lnTo>
                  <a:lnTo>
                    <a:pt x="1347" y="372"/>
                  </a:lnTo>
                  <a:lnTo>
                    <a:pt x="1340" y="368"/>
                  </a:lnTo>
                  <a:lnTo>
                    <a:pt x="1332" y="363"/>
                  </a:lnTo>
                  <a:lnTo>
                    <a:pt x="1324" y="356"/>
                  </a:lnTo>
                  <a:lnTo>
                    <a:pt x="1317" y="350"/>
                  </a:lnTo>
                  <a:lnTo>
                    <a:pt x="1312" y="343"/>
                  </a:lnTo>
                  <a:lnTo>
                    <a:pt x="1307" y="337"/>
                  </a:lnTo>
                  <a:lnTo>
                    <a:pt x="1304" y="329"/>
                  </a:lnTo>
                  <a:lnTo>
                    <a:pt x="1302" y="322"/>
                  </a:lnTo>
                  <a:lnTo>
                    <a:pt x="1300" y="314"/>
                  </a:lnTo>
                  <a:lnTo>
                    <a:pt x="1302" y="310"/>
                  </a:lnTo>
                  <a:lnTo>
                    <a:pt x="1303" y="306"/>
                  </a:lnTo>
                  <a:lnTo>
                    <a:pt x="1305" y="303"/>
                  </a:lnTo>
                  <a:lnTo>
                    <a:pt x="1309" y="300"/>
                  </a:lnTo>
                  <a:lnTo>
                    <a:pt x="1319" y="295"/>
                  </a:lnTo>
                  <a:lnTo>
                    <a:pt x="1329" y="291"/>
                  </a:lnTo>
                  <a:lnTo>
                    <a:pt x="1341" y="286"/>
                  </a:lnTo>
                  <a:lnTo>
                    <a:pt x="1351" y="280"/>
                  </a:lnTo>
                  <a:lnTo>
                    <a:pt x="1357" y="278"/>
                  </a:lnTo>
                  <a:lnTo>
                    <a:pt x="1360" y="275"/>
                  </a:lnTo>
                  <a:lnTo>
                    <a:pt x="1364" y="271"/>
                  </a:lnTo>
                  <a:lnTo>
                    <a:pt x="1367" y="267"/>
                  </a:lnTo>
                  <a:lnTo>
                    <a:pt x="1372" y="255"/>
                  </a:lnTo>
                  <a:lnTo>
                    <a:pt x="1376" y="242"/>
                  </a:lnTo>
                  <a:lnTo>
                    <a:pt x="1377" y="231"/>
                  </a:lnTo>
                  <a:lnTo>
                    <a:pt x="1376" y="217"/>
                  </a:lnTo>
                  <a:lnTo>
                    <a:pt x="1375" y="214"/>
                  </a:lnTo>
                  <a:lnTo>
                    <a:pt x="1372" y="208"/>
                  </a:lnTo>
                  <a:lnTo>
                    <a:pt x="1370" y="204"/>
                  </a:lnTo>
                  <a:lnTo>
                    <a:pt x="1366" y="202"/>
                  </a:lnTo>
                  <a:lnTo>
                    <a:pt x="1362" y="200"/>
                  </a:lnTo>
                  <a:lnTo>
                    <a:pt x="1357" y="200"/>
                  </a:lnTo>
                  <a:lnTo>
                    <a:pt x="1350" y="200"/>
                  </a:lnTo>
                  <a:lnTo>
                    <a:pt x="1343" y="203"/>
                  </a:lnTo>
                  <a:lnTo>
                    <a:pt x="1299" y="221"/>
                  </a:lnTo>
                  <a:lnTo>
                    <a:pt x="1256" y="237"/>
                  </a:lnTo>
                  <a:lnTo>
                    <a:pt x="1211" y="253"/>
                  </a:lnTo>
                  <a:lnTo>
                    <a:pt x="1168" y="270"/>
                  </a:lnTo>
                  <a:lnTo>
                    <a:pt x="1152" y="276"/>
                  </a:lnTo>
                  <a:lnTo>
                    <a:pt x="1138" y="279"/>
                  </a:lnTo>
                  <a:lnTo>
                    <a:pt x="1132" y="279"/>
                  </a:lnTo>
                  <a:lnTo>
                    <a:pt x="1124" y="278"/>
                  </a:lnTo>
                  <a:lnTo>
                    <a:pt x="1116" y="275"/>
                  </a:lnTo>
                  <a:lnTo>
                    <a:pt x="1109" y="270"/>
                  </a:lnTo>
                  <a:lnTo>
                    <a:pt x="1104" y="266"/>
                  </a:lnTo>
                  <a:lnTo>
                    <a:pt x="1100" y="261"/>
                  </a:lnTo>
                  <a:lnTo>
                    <a:pt x="1096" y="255"/>
                  </a:lnTo>
                  <a:lnTo>
                    <a:pt x="1094" y="249"/>
                  </a:lnTo>
                  <a:lnTo>
                    <a:pt x="1087" y="234"/>
                  </a:lnTo>
                  <a:lnTo>
                    <a:pt x="1082" y="220"/>
                  </a:lnTo>
                  <a:lnTo>
                    <a:pt x="1077" y="207"/>
                  </a:lnTo>
                  <a:lnTo>
                    <a:pt x="1071" y="194"/>
                  </a:lnTo>
                  <a:lnTo>
                    <a:pt x="1066" y="185"/>
                  </a:lnTo>
                  <a:lnTo>
                    <a:pt x="1060" y="178"/>
                  </a:lnTo>
                  <a:lnTo>
                    <a:pt x="1047" y="169"/>
                  </a:lnTo>
                  <a:lnTo>
                    <a:pt x="1032" y="157"/>
                  </a:lnTo>
                  <a:lnTo>
                    <a:pt x="1024" y="153"/>
                  </a:lnTo>
                  <a:lnTo>
                    <a:pt x="1016" y="149"/>
                  </a:lnTo>
                  <a:lnTo>
                    <a:pt x="1010" y="147"/>
                  </a:lnTo>
                  <a:lnTo>
                    <a:pt x="1002" y="147"/>
                  </a:lnTo>
                  <a:lnTo>
                    <a:pt x="996" y="148"/>
                  </a:lnTo>
                  <a:lnTo>
                    <a:pt x="989" y="151"/>
                  </a:lnTo>
                  <a:lnTo>
                    <a:pt x="984" y="153"/>
                  </a:lnTo>
                  <a:lnTo>
                    <a:pt x="978" y="159"/>
                  </a:lnTo>
                  <a:lnTo>
                    <a:pt x="969" y="168"/>
                  </a:lnTo>
                  <a:lnTo>
                    <a:pt x="961" y="178"/>
                  </a:lnTo>
                  <a:lnTo>
                    <a:pt x="956" y="182"/>
                  </a:lnTo>
                  <a:lnTo>
                    <a:pt x="952" y="186"/>
                  </a:lnTo>
                  <a:lnTo>
                    <a:pt x="947" y="187"/>
                  </a:lnTo>
                  <a:lnTo>
                    <a:pt x="941" y="189"/>
                  </a:lnTo>
                  <a:lnTo>
                    <a:pt x="934" y="187"/>
                  </a:lnTo>
                  <a:lnTo>
                    <a:pt x="926" y="183"/>
                  </a:lnTo>
                  <a:lnTo>
                    <a:pt x="917" y="178"/>
                  </a:lnTo>
                  <a:lnTo>
                    <a:pt x="908" y="170"/>
                  </a:lnTo>
                  <a:lnTo>
                    <a:pt x="903" y="166"/>
                  </a:lnTo>
                  <a:lnTo>
                    <a:pt x="899" y="165"/>
                  </a:lnTo>
                  <a:lnTo>
                    <a:pt x="896" y="165"/>
                  </a:lnTo>
                  <a:lnTo>
                    <a:pt x="893" y="166"/>
                  </a:lnTo>
                  <a:lnTo>
                    <a:pt x="892" y="169"/>
                  </a:lnTo>
                  <a:lnTo>
                    <a:pt x="891" y="173"/>
                  </a:lnTo>
                  <a:lnTo>
                    <a:pt x="891" y="177"/>
                  </a:lnTo>
                  <a:lnTo>
                    <a:pt x="891" y="182"/>
                  </a:lnTo>
                  <a:lnTo>
                    <a:pt x="893" y="206"/>
                  </a:lnTo>
                  <a:lnTo>
                    <a:pt x="896" y="220"/>
                  </a:lnTo>
                  <a:lnTo>
                    <a:pt x="899" y="232"/>
                  </a:lnTo>
                  <a:lnTo>
                    <a:pt x="899" y="240"/>
                  </a:lnTo>
                  <a:lnTo>
                    <a:pt x="899" y="245"/>
                  </a:lnTo>
                  <a:lnTo>
                    <a:pt x="895" y="249"/>
                  </a:lnTo>
                  <a:lnTo>
                    <a:pt x="890" y="252"/>
                  </a:lnTo>
                  <a:lnTo>
                    <a:pt x="883" y="253"/>
                  </a:lnTo>
                  <a:lnTo>
                    <a:pt x="873" y="253"/>
                  </a:lnTo>
                  <a:lnTo>
                    <a:pt x="861" y="253"/>
                  </a:lnTo>
                  <a:lnTo>
                    <a:pt x="848" y="254"/>
                  </a:lnTo>
                  <a:lnTo>
                    <a:pt x="825" y="258"/>
                  </a:lnTo>
                  <a:lnTo>
                    <a:pt x="798" y="262"/>
                  </a:lnTo>
                  <a:lnTo>
                    <a:pt x="768" y="265"/>
                  </a:lnTo>
                  <a:lnTo>
                    <a:pt x="754" y="265"/>
                  </a:lnTo>
                  <a:lnTo>
                    <a:pt x="740" y="263"/>
                  </a:lnTo>
                  <a:lnTo>
                    <a:pt x="729" y="262"/>
                  </a:lnTo>
                  <a:lnTo>
                    <a:pt x="720" y="258"/>
                  </a:lnTo>
                  <a:lnTo>
                    <a:pt x="716" y="255"/>
                  </a:lnTo>
                  <a:lnTo>
                    <a:pt x="712" y="253"/>
                  </a:lnTo>
                  <a:lnTo>
                    <a:pt x="709" y="250"/>
                  </a:lnTo>
                  <a:lnTo>
                    <a:pt x="708" y="246"/>
                  </a:lnTo>
                  <a:lnTo>
                    <a:pt x="706" y="241"/>
                  </a:lnTo>
                  <a:lnTo>
                    <a:pt x="706" y="236"/>
                  </a:lnTo>
                  <a:lnTo>
                    <a:pt x="708" y="231"/>
                  </a:lnTo>
                  <a:lnTo>
                    <a:pt x="709" y="225"/>
                  </a:lnTo>
                  <a:lnTo>
                    <a:pt x="712" y="216"/>
                  </a:lnTo>
                  <a:lnTo>
                    <a:pt x="712" y="208"/>
                  </a:lnTo>
                  <a:lnTo>
                    <a:pt x="712" y="198"/>
                  </a:lnTo>
                  <a:lnTo>
                    <a:pt x="710" y="189"/>
                  </a:lnTo>
                  <a:lnTo>
                    <a:pt x="706" y="166"/>
                  </a:lnTo>
                  <a:lnTo>
                    <a:pt x="699" y="144"/>
                  </a:lnTo>
                  <a:lnTo>
                    <a:pt x="689" y="123"/>
                  </a:lnTo>
                  <a:lnTo>
                    <a:pt x="680" y="102"/>
                  </a:lnTo>
                  <a:lnTo>
                    <a:pt x="671" y="85"/>
                  </a:lnTo>
                  <a:lnTo>
                    <a:pt x="663" y="72"/>
                  </a:lnTo>
                  <a:lnTo>
                    <a:pt x="658" y="63"/>
                  </a:lnTo>
                  <a:lnTo>
                    <a:pt x="653" y="57"/>
                  </a:lnTo>
                  <a:lnTo>
                    <a:pt x="648" y="51"/>
                  </a:lnTo>
                  <a:lnTo>
                    <a:pt x="642" y="47"/>
                  </a:lnTo>
                  <a:lnTo>
                    <a:pt x="638" y="45"/>
                  </a:lnTo>
                  <a:lnTo>
                    <a:pt x="633" y="44"/>
                  </a:lnTo>
                  <a:lnTo>
                    <a:pt x="629" y="44"/>
                  </a:lnTo>
                  <a:lnTo>
                    <a:pt x="625" y="45"/>
                  </a:lnTo>
                  <a:lnTo>
                    <a:pt x="607" y="57"/>
                  </a:lnTo>
                  <a:lnTo>
                    <a:pt x="581" y="70"/>
                  </a:lnTo>
                  <a:lnTo>
                    <a:pt x="569" y="71"/>
                  </a:lnTo>
                  <a:lnTo>
                    <a:pt x="549" y="70"/>
                  </a:lnTo>
                  <a:lnTo>
                    <a:pt x="526" y="67"/>
                  </a:lnTo>
                  <a:lnTo>
                    <a:pt x="501" y="66"/>
                  </a:lnTo>
                  <a:lnTo>
                    <a:pt x="489" y="66"/>
                  </a:lnTo>
                  <a:lnTo>
                    <a:pt x="478" y="66"/>
                  </a:lnTo>
                  <a:lnTo>
                    <a:pt x="468" y="68"/>
                  </a:lnTo>
                  <a:lnTo>
                    <a:pt x="461" y="71"/>
                  </a:lnTo>
                  <a:lnTo>
                    <a:pt x="457" y="72"/>
                  </a:lnTo>
                  <a:lnTo>
                    <a:pt x="454" y="75"/>
                  </a:lnTo>
                  <a:lnTo>
                    <a:pt x="453" y="78"/>
                  </a:lnTo>
                  <a:lnTo>
                    <a:pt x="451" y="80"/>
                  </a:lnTo>
                  <a:lnTo>
                    <a:pt x="450" y="84"/>
                  </a:lnTo>
                  <a:lnTo>
                    <a:pt x="450" y="88"/>
                  </a:lnTo>
                  <a:lnTo>
                    <a:pt x="451" y="92"/>
                  </a:lnTo>
                  <a:lnTo>
                    <a:pt x="453" y="97"/>
                  </a:lnTo>
                  <a:lnTo>
                    <a:pt x="466" y="130"/>
                  </a:lnTo>
                  <a:lnTo>
                    <a:pt x="478" y="152"/>
                  </a:lnTo>
                  <a:lnTo>
                    <a:pt x="481" y="161"/>
                  </a:lnTo>
                  <a:lnTo>
                    <a:pt x="484" y="169"/>
                  </a:lnTo>
                  <a:lnTo>
                    <a:pt x="487" y="176"/>
                  </a:lnTo>
                  <a:lnTo>
                    <a:pt x="487" y="182"/>
                  </a:lnTo>
                  <a:lnTo>
                    <a:pt x="487" y="189"/>
                  </a:lnTo>
                  <a:lnTo>
                    <a:pt x="484" y="195"/>
                  </a:lnTo>
                  <a:lnTo>
                    <a:pt x="480" y="202"/>
                  </a:lnTo>
                  <a:lnTo>
                    <a:pt x="475" y="210"/>
                  </a:lnTo>
                  <a:lnTo>
                    <a:pt x="459" y="229"/>
                  </a:lnTo>
                  <a:lnTo>
                    <a:pt x="436" y="255"/>
                  </a:lnTo>
                  <a:lnTo>
                    <a:pt x="420" y="272"/>
                  </a:lnTo>
                  <a:lnTo>
                    <a:pt x="406" y="284"/>
                  </a:lnTo>
                  <a:lnTo>
                    <a:pt x="399" y="288"/>
                  </a:lnTo>
                  <a:lnTo>
                    <a:pt x="393" y="291"/>
                  </a:lnTo>
                  <a:lnTo>
                    <a:pt x="387" y="293"/>
                  </a:lnTo>
                  <a:lnTo>
                    <a:pt x="381" y="295"/>
                  </a:lnTo>
                  <a:lnTo>
                    <a:pt x="370" y="295"/>
                  </a:lnTo>
                  <a:lnTo>
                    <a:pt x="360" y="293"/>
                  </a:lnTo>
                  <a:lnTo>
                    <a:pt x="349" y="289"/>
                  </a:lnTo>
                  <a:lnTo>
                    <a:pt x="339" y="284"/>
                  </a:lnTo>
                  <a:lnTo>
                    <a:pt x="328" y="279"/>
                  </a:lnTo>
                  <a:lnTo>
                    <a:pt x="318" y="274"/>
                  </a:lnTo>
                  <a:lnTo>
                    <a:pt x="306" y="269"/>
                  </a:lnTo>
                  <a:lnTo>
                    <a:pt x="294" y="263"/>
                  </a:lnTo>
                  <a:lnTo>
                    <a:pt x="281" y="261"/>
                  </a:lnTo>
                  <a:lnTo>
                    <a:pt x="266" y="261"/>
                  </a:lnTo>
                  <a:lnTo>
                    <a:pt x="258" y="262"/>
                  </a:lnTo>
                  <a:lnTo>
                    <a:pt x="250" y="263"/>
                  </a:lnTo>
                  <a:lnTo>
                    <a:pt x="241" y="266"/>
                  </a:lnTo>
                  <a:lnTo>
                    <a:pt x="232" y="269"/>
                  </a:lnTo>
                  <a:lnTo>
                    <a:pt x="196" y="284"/>
                  </a:lnTo>
                  <a:lnTo>
                    <a:pt x="162" y="300"/>
                  </a:lnTo>
                  <a:lnTo>
                    <a:pt x="144" y="306"/>
                  </a:lnTo>
                  <a:lnTo>
                    <a:pt x="127" y="313"/>
                  </a:lnTo>
                  <a:lnTo>
                    <a:pt x="109" y="316"/>
                  </a:lnTo>
                  <a:lnTo>
                    <a:pt x="89" y="317"/>
                  </a:lnTo>
                  <a:lnTo>
                    <a:pt x="13" y="317"/>
                  </a:lnTo>
                  <a:lnTo>
                    <a:pt x="0" y="363"/>
                  </a:lnTo>
                  <a:lnTo>
                    <a:pt x="1" y="372"/>
                  </a:lnTo>
                  <a:lnTo>
                    <a:pt x="4" y="376"/>
                  </a:lnTo>
                  <a:lnTo>
                    <a:pt x="9" y="381"/>
                  </a:lnTo>
                  <a:lnTo>
                    <a:pt x="9" y="382"/>
                  </a:lnTo>
                  <a:lnTo>
                    <a:pt x="12" y="384"/>
                  </a:lnTo>
                  <a:lnTo>
                    <a:pt x="12" y="385"/>
                  </a:lnTo>
                  <a:lnTo>
                    <a:pt x="12" y="386"/>
                  </a:lnTo>
                  <a:lnTo>
                    <a:pt x="18" y="391"/>
                  </a:lnTo>
                  <a:lnTo>
                    <a:pt x="21" y="398"/>
                  </a:lnTo>
                  <a:lnTo>
                    <a:pt x="21" y="401"/>
                  </a:lnTo>
                  <a:lnTo>
                    <a:pt x="22" y="402"/>
                  </a:lnTo>
                  <a:lnTo>
                    <a:pt x="24" y="405"/>
                  </a:lnTo>
                  <a:lnTo>
                    <a:pt x="25" y="405"/>
                  </a:lnTo>
                  <a:lnTo>
                    <a:pt x="26" y="406"/>
                  </a:lnTo>
                  <a:lnTo>
                    <a:pt x="28" y="410"/>
                  </a:lnTo>
                  <a:lnTo>
                    <a:pt x="29" y="412"/>
                  </a:lnTo>
                  <a:lnTo>
                    <a:pt x="32" y="416"/>
                  </a:lnTo>
                  <a:lnTo>
                    <a:pt x="33" y="420"/>
                  </a:lnTo>
                  <a:lnTo>
                    <a:pt x="35" y="425"/>
                  </a:lnTo>
                  <a:lnTo>
                    <a:pt x="38" y="432"/>
                  </a:lnTo>
                  <a:lnTo>
                    <a:pt x="38" y="433"/>
                  </a:lnTo>
                  <a:lnTo>
                    <a:pt x="39" y="436"/>
                  </a:lnTo>
                  <a:lnTo>
                    <a:pt x="39" y="437"/>
                  </a:lnTo>
                  <a:lnTo>
                    <a:pt x="41" y="439"/>
                  </a:lnTo>
                  <a:lnTo>
                    <a:pt x="43" y="442"/>
                  </a:lnTo>
                  <a:lnTo>
                    <a:pt x="45" y="448"/>
                  </a:lnTo>
                  <a:lnTo>
                    <a:pt x="47" y="450"/>
                  </a:lnTo>
                  <a:lnTo>
                    <a:pt x="49" y="453"/>
                  </a:lnTo>
                  <a:lnTo>
                    <a:pt x="50" y="454"/>
                  </a:lnTo>
                  <a:lnTo>
                    <a:pt x="50" y="456"/>
                  </a:lnTo>
                  <a:lnTo>
                    <a:pt x="51" y="457"/>
                  </a:lnTo>
                  <a:lnTo>
                    <a:pt x="52" y="459"/>
                  </a:lnTo>
                  <a:lnTo>
                    <a:pt x="54" y="459"/>
                  </a:lnTo>
                  <a:lnTo>
                    <a:pt x="55" y="461"/>
                  </a:lnTo>
                  <a:lnTo>
                    <a:pt x="58" y="465"/>
                  </a:lnTo>
                  <a:lnTo>
                    <a:pt x="59" y="470"/>
                  </a:lnTo>
                  <a:lnTo>
                    <a:pt x="62" y="474"/>
                  </a:lnTo>
                  <a:lnTo>
                    <a:pt x="64" y="478"/>
                  </a:lnTo>
                  <a:lnTo>
                    <a:pt x="66" y="482"/>
                  </a:lnTo>
                  <a:lnTo>
                    <a:pt x="68" y="486"/>
                  </a:lnTo>
                  <a:lnTo>
                    <a:pt x="69" y="488"/>
                  </a:lnTo>
                  <a:lnTo>
                    <a:pt x="71" y="491"/>
                  </a:lnTo>
                  <a:lnTo>
                    <a:pt x="75" y="499"/>
                  </a:lnTo>
                  <a:lnTo>
                    <a:pt x="80" y="513"/>
                  </a:lnTo>
                  <a:lnTo>
                    <a:pt x="84" y="528"/>
                  </a:lnTo>
                  <a:lnTo>
                    <a:pt x="88" y="537"/>
                  </a:lnTo>
                  <a:lnTo>
                    <a:pt x="90" y="550"/>
                  </a:lnTo>
                  <a:lnTo>
                    <a:pt x="94" y="563"/>
                  </a:lnTo>
                  <a:lnTo>
                    <a:pt x="94" y="564"/>
                  </a:lnTo>
                  <a:lnTo>
                    <a:pt x="100" y="569"/>
                  </a:lnTo>
                  <a:lnTo>
                    <a:pt x="105" y="573"/>
                  </a:lnTo>
                  <a:lnTo>
                    <a:pt x="110" y="576"/>
                  </a:lnTo>
                  <a:lnTo>
                    <a:pt x="114" y="579"/>
                  </a:lnTo>
                  <a:lnTo>
                    <a:pt x="115" y="580"/>
                  </a:lnTo>
                  <a:lnTo>
                    <a:pt x="115" y="581"/>
                  </a:lnTo>
                  <a:lnTo>
                    <a:pt x="117" y="581"/>
                  </a:lnTo>
                  <a:lnTo>
                    <a:pt x="118" y="582"/>
                  </a:lnTo>
                  <a:lnTo>
                    <a:pt x="120" y="584"/>
                  </a:lnTo>
                  <a:lnTo>
                    <a:pt x="120" y="585"/>
                  </a:lnTo>
                  <a:lnTo>
                    <a:pt x="122" y="586"/>
                  </a:lnTo>
                  <a:lnTo>
                    <a:pt x="124" y="589"/>
                  </a:lnTo>
                  <a:lnTo>
                    <a:pt x="126" y="593"/>
                  </a:lnTo>
                  <a:lnTo>
                    <a:pt x="127" y="593"/>
                  </a:lnTo>
                  <a:lnTo>
                    <a:pt x="128" y="594"/>
                  </a:lnTo>
                  <a:lnTo>
                    <a:pt x="128" y="596"/>
                  </a:lnTo>
                  <a:lnTo>
                    <a:pt x="130" y="597"/>
                  </a:lnTo>
                  <a:lnTo>
                    <a:pt x="131" y="598"/>
                  </a:lnTo>
                  <a:lnTo>
                    <a:pt x="132" y="599"/>
                  </a:lnTo>
                  <a:lnTo>
                    <a:pt x="134" y="601"/>
                  </a:lnTo>
                  <a:lnTo>
                    <a:pt x="135" y="602"/>
                  </a:lnTo>
                  <a:lnTo>
                    <a:pt x="136" y="602"/>
                  </a:lnTo>
                  <a:lnTo>
                    <a:pt x="141" y="607"/>
                  </a:lnTo>
                  <a:lnTo>
                    <a:pt x="147" y="613"/>
                  </a:lnTo>
                  <a:lnTo>
                    <a:pt x="149" y="613"/>
                  </a:lnTo>
                  <a:lnTo>
                    <a:pt x="154" y="616"/>
                  </a:lnTo>
                  <a:lnTo>
                    <a:pt x="161" y="623"/>
                  </a:lnTo>
                  <a:lnTo>
                    <a:pt x="161" y="624"/>
                  </a:lnTo>
                  <a:lnTo>
                    <a:pt x="162" y="624"/>
                  </a:lnTo>
                  <a:lnTo>
                    <a:pt x="164" y="626"/>
                  </a:lnTo>
                  <a:lnTo>
                    <a:pt x="165" y="627"/>
                  </a:lnTo>
                  <a:lnTo>
                    <a:pt x="166" y="627"/>
                  </a:lnTo>
                  <a:lnTo>
                    <a:pt x="168" y="628"/>
                  </a:lnTo>
                  <a:lnTo>
                    <a:pt x="168" y="631"/>
                  </a:lnTo>
                  <a:lnTo>
                    <a:pt x="168" y="632"/>
                  </a:lnTo>
                  <a:lnTo>
                    <a:pt x="170" y="632"/>
                  </a:lnTo>
                  <a:lnTo>
                    <a:pt x="173" y="637"/>
                  </a:lnTo>
                  <a:lnTo>
                    <a:pt x="175" y="641"/>
                  </a:lnTo>
                  <a:lnTo>
                    <a:pt x="178" y="648"/>
                  </a:lnTo>
                  <a:lnTo>
                    <a:pt x="182" y="654"/>
                  </a:lnTo>
                  <a:lnTo>
                    <a:pt x="183" y="657"/>
                  </a:lnTo>
                  <a:lnTo>
                    <a:pt x="185" y="661"/>
                  </a:lnTo>
                  <a:lnTo>
                    <a:pt x="185" y="665"/>
                  </a:lnTo>
                  <a:lnTo>
                    <a:pt x="185" y="670"/>
                  </a:lnTo>
                  <a:lnTo>
                    <a:pt x="183" y="679"/>
                  </a:lnTo>
                  <a:lnTo>
                    <a:pt x="182" y="686"/>
                  </a:lnTo>
                  <a:lnTo>
                    <a:pt x="181" y="687"/>
                  </a:lnTo>
                  <a:lnTo>
                    <a:pt x="179" y="690"/>
                  </a:lnTo>
                  <a:lnTo>
                    <a:pt x="179" y="691"/>
                  </a:lnTo>
                  <a:lnTo>
                    <a:pt x="178" y="694"/>
                  </a:lnTo>
                  <a:lnTo>
                    <a:pt x="175" y="700"/>
                  </a:lnTo>
                  <a:lnTo>
                    <a:pt x="173" y="707"/>
                  </a:lnTo>
                  <a:lnTo>
                    <a:pt x="171" y="709"/>
                  </a:lnTo>
                  <a:lnTo>
                    <a:pt x="170" y="711"/>
                  </a:lnTo>
                  <a:lnTo>
                    <a:pt x="169" y="711"/>
                  </a:lnTo>
                  <a:lnTo>
                    <a:pt x="169" y="712"/>
                  </a:lnTo>
                  <a:lnTo>
                    <a:pt x="169" y="715"/>
                  </a:lnTo>
                  <a:lnTo>
                    <a:pt x="168" y="715"/>
                  </a:lnTo>
                  <a:lnTo>
                    <a:pt x="166" y="718"/>
                  </a:lnTo>
                  <a:lnTo>
                    <a:pt x="165" y="721"/>
                  </a:lnTo>
                  <a:lnTo>
                    <a:pt x="164" y="728"/>
                  </a:lnTo>
                  <a:lnTo>
                    <a:pt x="161" y="734"/>
                  </a:lnTo>
                  <a:lnTo>
                    <a:pt x="158" y="747"/>
                  </a:lnTo>
                  <a:lnTo>
                    <a:pt x="158" y="763"/>
                  </a:lnTo>
                  <a:lnTo>
                    <a:pt x="161" y="775"/>
                  </a:lnTo>
                  <a:lnTo>
                    <a:pt x="165" y="788"/>
                  </a:lnTo>
                  <a:lnTo>
                    <a:pt x="168" y="792"/>
                  </a:lnTo>
                  <a:lnTo>
                    <a:pt x="169" y="796"/>
                  </a:lnTo>
                  <a:lnTo>
                    <a:pt x="170" y="798"/>
                  </a:lnTo>
                  <a:lnTo>
                    <a:pt x="173" y="800"/>
                  </a:lnTo>
                  <a:lnTo>
                    <a:pt x="174" y="801"/>
                  </a:lnTo>
                  <a:lnTo>
                    <a:pt x="174" y="802"/>
                  </a:lnTo>
                  <a:lnTo>
                    <a:pt x="179" y="814"/>
                  </a:lnTo>
                  <a:lnTo>
                    <a:pt x="187" y="826"/>
                  </a:lnTo>
                  <a:lnTo>
                    <a:pt x="188" y="827"/>
                  </a:lnTo>
                  <a:lnTo>
                    <a:pt x="188" y="828"/>
                  </a:lnTo>
                  <a:lnTo>
                    <a:pt x="190" y="830"/>
                  </a:lnTo>
                  <a:lnTo>
                    <a:pt x="191" y="831"/>
                  </a:lnTo>
                  <a:lnTo>
                    <a:pt x="196" y="838"/>
                  </a:lnTo>
                  <a:lnTo>
                    <a:pt x="200" y="845"/>
                  </a:lnTo>
                  <a:lnTo>
                    <a:pt x="207" y="857"/>
                  </a:lnTo>
                  <a:lnTo>
                    <a:pt x="213" y="870"/>
                  </a:lnTo>
                  <a:lnTo>
                    <a:pt x="215" y="877"/>
                  </a:lnTo>
                  <a:lnTo>
                    <a:pt x="216" y="882"/>
                  </a:lnTo>
                  <a:lnTo>
                    <a:pt x="217" y="885"/>
                  </a:lnTo>
                  <a:lnTo>
                    <a:pt x="217" y="889"/>
                  </a:lnTo>
                  <a:lnTo>
                    <a:pt x="217" y="895"/>
                  </a:lnTo>
                  <a:lnTo>
                    <a:pt x="216" y="900"/>
                  </a:lnTo>
                  <a:lnTo>
                    <a:pt x="213" y="912"/>
                  </a:lnTo>
                  <a:lnTo>
                    <a:pt x="212" y="919"/>
                  </a:lnTo>
                  <a:lnTo>
                    <a:pt x="208" y="926"/>
                  </a:lnTo>
                  <a:lnTo>
                    <a:pt x="202" y="933"/>
                  </a:lnTo>
                  <a:lnTo>
                    <a:pt x="194" y="940"/>
                  </a:lnTo>
                  <a:lnTo>
                    <a:pt x="185" y="946"/>
                  </a:lnTo>
                  <a:lnTo>
                    <a:pt x="165" y="958"/>
                  </a:lnTo>
                  <a:lnTo>
                    <a:pt x="145" y="970"/>
                  </a:lnTo>
                  <a:lnTo>
                    <a:pt x="136" y="975"/>
                  </a:lnTo>
                  <a:lnTo>
                    <a:pt x="130" y="981"/>
                  </a:lnTo>
                  <a:lnTo>
                    <a:pt x="123" y="988"/>
                  </a:lnTo>
                  <a:lnTo>
                    <a:pt x="119" y="996"/>
                  </a:lnTo>
                  <a:lnTo>
                    <a:pt x="118" y="1000"/>
                  </a:lnTo>
                  <a:lnTo>
                    <a:pt x="118" y="1004"/>
                  </a:lnTo>
                  <a:lnTo>
                    <a:pt x="118" y="1008"/>
                  </a:lnTo>
                  <a:lnTo>
                    <a:pt x="119" y="1011"/>
                  </a:lnTo>
                  <a:lnTo>
                    <a:pt x="123" y="1022"/>
                  </a:lnTo>
                  <a:lnTo>
                    <a:pt x="131" y="1032"/>
                  </a:lnTo>
                  <a:lnTo>
                    <a:pt x="141" y="1043"/>
                  </a:lnTo>
                  <a:lnTo>
                    <a:pt x="151" y="1056"/>
                  </a:lnTo>
                  <a:lnTo>
                    <a:pt x="153" y="1063"/>
                  </a:lnTo>
                  <a:lnTo>
                    <a:pt x="154" y="1069"/>
                  </a:lnTo>
                  <a:lnTo>
                    <a:pt x="154" y="1077"/>
                  </a:lnTo>
                  <a:lnTo>
                    <a:pt x="153" y="1085"/>
                  </a:lnTo>
                  <a:lnTo>
                    <a:pt x="151" y="1093"/>
                  </a:lnTo>
                  <a:lnTo>
                    <a:pt x="149" y="1099"/>
                  </a:lnTo>
                  <a:lnTo>
                    <a:pt x="149" y="1104"/>
                  </a:lnTo>
                  <a:lnTo>
                    <a:pt x="151" y="1110"/>
                  </a:lnTo>
                  <a:lnTo>
                    <a:pt x="153" y="1119"/>
                  </a:lnTo>
                  <a:lnTo>
                    <a:pt x="158" y="1128"/>
                  </a:lnTo>
                  <a:lnTo>
                    <a:pt x="165" y="1137"/>
                  </a:lnTo>
                  <a:lnTo>
                    <a:pt x="170" y="1146"/>
                  </a:lnTo>
                  <a:lnTo>
                    <a:pt x="173" y="1153"/>
                  </a:lnTo>
                  <a:lnTo>
                    <a:pt x="174" y="1159"/>
                  </a:lnTo>
                  <a:lnTo>
                    <a:pt x="175" y="1167"/>
                  </a:lnTo>
                  <a:lnTo>
                    <a:pt x="175" y="1175"/>
                  </a:lnTo>
                  <a:lnTo>
                    <a:pt x="174" y="1199"/>
                  </a:lnTo>
                  <a:lnTo>
                    <a:pt x="171" y="1221"/>
                  </a:lnTo>
                  <a:lnTo>
                    <a:pt x="168" y="1242"/>
                  </a:lnTo>
                  <a:lnTo>
                    <a:pt x="162" y="1263"/>
                  </a:lnTo>
                  <a:lnTo>
                    <a:pt x="149" y="1303"/>
                  </a:lnTo>
                  <a:lnTo>
                    <a:pt x="135" y="1344"/>
                  </a:lnTo>
                  <a:lnTo>
                    <a:pt x="131" y="1358"/>
                  </a:lnTo>
                  <a:lnTo>
                    <a:pt x="128" y="1371"/>
                  </a:lnTo>
                  <a:lnTo>
                    <a:pt x="127" y="1383"/>
                  </a:lnTo>
                  <a:lnTo>
                    <a:pt x="126" y="1393"/>
                  </a:lnTo>
                  <a:lnTo>
                    <a:pt x="127" y="1404"/>
                  </a:lnTo>
                  <a:lnTo>
                    <a:pt x="130" y="1413"/>
                  </a:lnTo>
                  <a:lnTo>
                    <a:pt x="134" y="1422"/>
                  </a:lnTo>
                  <a:lnTo>
                    <a:pt x="137" y="1430"/>
                  </a:lnTo>
                  <a:lnTo>
                    <a:pt x="149" y="1444"/>
                  </a:lnTo>
                  <a:lnTo>
                    <a:pt x="162" y="1459"/>
                  </a:lnTo>
                  <a:lnTo>
                    <a:pt x="179" y="1473"/>
                  </a:lnTo>
                  <a:lnTo>
                    <a:pt x="196" y="1489"/>
                  </a:lnTo>
                  <a:lnTo>
                    <a:pt x="204" y="1497"/>
                  </a:lnTo>
                  <a:lnTo>
                    <a:pt x="211" y="1507"/>
                  </a:lnTo>
                  <a:lnTo>
                    <a:pt x="216" y="1520"/>
                  </a:lnTo>
                  <a:lnTo>
                    <a:pt x="221" y="1535"/>
                  </a:lnTo>
                  <a:lnTo>
                    <a:pt x="230" y="1565"/>
                  </a:lnTo>
                  <a:lnTo>
                    <a:pt x="239" y="1596"/>
                  </a:lnTo>
                  <a:lnTo>
                    <a:pt x="245" y="1611"/>
                  </a:lnTo>
                  <a:lnTo>
                    <a:pt x="250" y="1624"/>
                  </a:lnTo>
                  <a:lnTo>
                    <a:pt x="255" y="1634"/>
                  </a:lnTo>
                  <a:lnTo>
                    <a:pt x="262" y="1645"/>
                  </a:lnTo>
                  <a:lnTo>
                    <a:pt x="266" y="1649"/>
                  </a:lnTo>
                  <a:lnTo>
                    <a:pt x="270" y="1651"/>
                  </a:lnTo>
                  <a:lnTo>
                    <a:pt x="273" y="1654"/>
                  </a:lnTo>
                  <a:lnTo>
                    <a:pt x="277" y="1655"/>
                  </a:lnTo>
                  <a:lnTo>
                    <a:pt x="283" y="1655"/>
                  </a:lnTo>
                  <a:lnTo>
                    <a:pt x="287" y="1655"/>
                  </a:lnTo>
                  <a:lnTo>
                    <a:pt x="292" y="1654"/>
                  </a:lnTo>
                  <a:lnTo>
                    <a:pt x="297" y="1651"/>
                  </a:lnTo>
                  <a:lnTo>
                    <a:pt x="310" y="1646"/>
                  </a:lnTo>
                  <a:lnTo>
                    <a:pt x="319" y="1641"/>
                  </a:lnTo>
                  <a:lnTo>
                    <a:pt x="328" y="1638"/>
                  </a:lnTo>
                  <a:lnTo>
                    <a:pt x="335" y="1637"/>
                  </a:lnTo>
                  <a:lnTo>
                    <a:pt x="342" y="1638"/>
                  </a:lnTo>
                  <a:lnTo>
                    <a:pt x="348" y="1641"/>
                  </a:lnTo>
                  <a:lnTo>
                    <a:pt x="355" y="1646"/>
                  </a:lnTo>
                  <a:lnTo>
                    <a:pt x="362" y="1655"/>
                  </a:lnTo>
                  <a:lnTo>
                    <a:pt x="368" y="1659"/>
                  </a:lnTo>
                  <a:lnTo>
                    <a:pt x="374" y="1662"/>
                  </a:lnTo>
                  <a:lnTo>
                    <a:pt x="382" y="1663"/>
                  </a:lnTo>
                  <a:lnTo>
                    <a:pt x="390" y="1663"/>
                  </a:lnTo>
                  <a:lnTo>
                    <a:pt x="410" y="1662"/>
                  </a:lnTo>
                  <a:lnTo>
                    <a:pt x="430" y="1659"/>
                  </a:lnTo>
                  <a:lnTo>
                    <a:pt x="440" y="1658"/>
                  </a:lnTo>
                  <a:lnTo>
                    <a:pt x="449" y="1658"/>
                  </a:lnTo>
                  <a:lnTo>
                    <a:pt x="458" y="1658"/>
                  </a:lnTo>
                  <a:lnTo>
                    <a:pt x="466" y="1660"/>
                  </a:lnTo>
                  <a:lnTo>
                    <a:pt x="472" y="1663"/>
                  </a:lnTo>
                  <a:lnTo>
                    <a:pt x="478" y="1668"/>
                  </a:lnTo>
                  <a:lnTo>
                    <a:pt x="480" y="1675"/>
                  </a:lnTo>
                  <a:lnTo>
                    <a:pt x="481" y="1684"/>
                  </a:lnTo>
                  <a:lnTo>
                    <a:pt x="480" y="1690"/>
                  </a:lnTo>
                  <a:lnTo>
                    <a:pt x="479" y="1696"/>
                  </a:lnTo>
                  <a:lnTo>
                    <a:pt x="478" y="1701"/>
                  </a:lnTo>
                  <a:lnTo>
                    <a:pt x="475" y="1706"/>
                  </a:lnTo>
                  <a:lnTo>
                    <a:pt x="468" y="1715"/>
                  </a:lnTo>
                  <a:lnTo>
                    <a:pt x="463" y="1726"/>
                  </a:lnTo>
                  <a:lnTo>
                    <a:pt x="457" y="1735"/>
                  </a:lnTo>
                  <a:lnTo>
                    <a:pt x="454" y="1748"/>
                  </a:lnTo>
                  <a:lnTo>
                    <a:pt x="453" y="1754"/>
                  </a:lnTo>
                  <a:lnTo>
                    <a:pt x="454" y="1762"/>
                  </a:lnTo>
                  <a:lnTo>
                    <a:pt x="455" y="1770"/>
                  </a:lnTo>
                  <a:lnTo>
                    <a:pt x="458" y="1779"/>
                  </a:lnTo>
                  <a:lnTo>
                    <a:pt x="459" y="1785"/>
                  </a:lnTo>
                  <a:lnTo>
                    <a:pt x="459" y="1791"/>
                  </a:lnTo>
                  <a:lnTo>
                    <a:pt x="459" y="1799"/>
                  </a:lnTo>
                  <a:lnTo>
                    <a:pt x="458" y="1808"/>
                  </a:lnTo>
                  <a:lnTo>
                    <a:pt x="454" y="1829"/>
                  </a:lnTo>
                  <a:lnTo>
                    <a:pt x="446" y="1850"/>
                  </a:lnTo>
                  <a:lnTo>
                    <a:pt x="442" y="1862"/>
                  </a:lnTo>
                  <a:lnTo>
                    <a:pt x="437" y="1871"/>
                  </a:lnTo>
                  <a:lnTo>
                    <a:pt x="433" y="1881"/>
                  </a:lnTo>
                  <a:lnTo>
                    <a:pt x="428" y="1889"/>
                  </a:lnTo>
                  <a:lnTo>
                    <a:pt x="421" y="1897"/>
                  </a:lnTo>
                  <a:lnTo>
                    <a:pt x="416" y="1902"/>
                  </a:lnTo>
                  <a:lnTo>
                    <a:pt x="410" y="1906"/>
                  </a:lnTo>
                  <a:lnTo>
                    <a:pt x="404" y="1908"/>
                  </a:lnTo>
                  <a:lnTo>
                    <a:pt x="400" y="1909"/>
                  </a:lnTo>
                  <a:lnTo>
                    <a:pt x="396" y="1911"/>
                  </a:lnTo>
                  <a:lnTo>
                    <a:pt x="394" y="1914"/>
                  </a:lnTo>
                  <a:lnTo>
                    <a:pt x="393" y="1918"/>
                  </a:lnTo>
                  <a:lnTo>
                    <a:pt x="390" y="1928"/>
                  </a:lnTo>
                  <a:lnTo>
                    <a:pt x="387" y="1942"/>
                  </a:lnTo>
                  <a:lnTo>
                    <a:pt x="386" y="1966"/>
                  </a:lnTo>
                  <a:lnTo>
                    <a:pt x="382" y="1986"/>
                  </a:lnTo>
                  <a:lnTo>
                    <a:pt x="379" y="1991"/>
                  </a:lnTo>
                  <a:lnTo>
                    <a:pt x="376" y="1995"/>
                  </a:lnTo>
                  <a:lnTo>
                    <a:pt x="372" y="1998"/>
                  </a:lnTo>
                  <a:lnTo>
                    <a:pt x="368" y="1998"/>
                  </a:lnTo>
                  <a:lnTo>
                    <a:pt x="362" y="1999"/>
                  </a:lnTo>
                  <a:lnTo>
                    <a:pt x="359" y="2000"/>
                  </a:lnTo>
                  <a:lnTo>
                    <a:pt x="353" y="2002"/>
                  </a:lnTo>
                  <a:lnTo>
                    <a:pt x="348" y="2006"/>
                  </a:lnTo>
                  <a:lnTo>
                    <a:pt x="343" y="2010"/>
                  </a:lnTo>
                  <a:lnTo>
                    <a:pt x="339" y="2015"/>
                  </a:lnTo>
                  <a:lnTo>
                    <a:pt x="336" y="2020"/>
                  </a:lnTo>
                  <a:lnTo>
                    <a:pt x="334" y="2025"/>
                  </a:lnTo>
                  <a:lnTo>
                    <a:pt x="331" y="2036"/>
                  </a:lnTo>
                  <a:lnTo>
                    <a:pt x="328" y="2047"/>
                  </a:lnTo>
                  <a:lnTo>
                    <a:pt x="326" y="2061"/>
                  </a:lnTo>
                  <a:lnTo>
                    <a:pt x="322" y="2071"/>
                  </a:lnTo>
                  <a:lnTo>
                    <a:pt x="319" y="2079"/>
                  </a:lnTo>
                  <a:lnTo>
                    <a:pt x="315" y="2084"/>
                  </a:lnTo>
                  <a:lnTo>
                    <a:pt x="311" y="2088"/>
                  </a:lnTo>
                  <a:lnTo>
                    <a:pt x="307" y="2091"/>
                  </a:lnTo>
                  <a:lnTo>
                    <a:pt x="304" y="2091"/>
                  </a:lnTo>
                  <a:lnTo>
                    <a:pt x="300" y="2091"/>
                  </a:lnTo>
                  <a:lnTo>
                    <a:pt x="280" y="2083"/>
                  </a:lnTo>
                  <a:lnTo>
                    <a:pt x="260" y="2076"/>
                  </a:lnTo>
                  <a:lnTo>
                    <a:pt x="254" y="2076"/>
                  </a:lnTo>
                  <a:lnTo>
                    <a:pt x="246" y="2079"/>
                  </a:lnTo>
                  <a:lnTo>
                    <a:pt x="236" y="2084"/>
                  </a:lnTo>
                  <a:lnTo>
                    <a:pt x="224" y="2089"/>
                  </a:lnTo>
                  <a:lnTo>
                    <a:pt x="199" y="2104"/>
                  </a:lnTo>
                  <a:lnTo>
                    <a:pt x="173" y="2121"/>
                  </a:lnTo>
                  <a:lnTo>
                    <a:pt x="161" y="2130"/>
                  </a:lnTo>
                  <a:lnTo>
                    <a:pt x="149" y="2139"/>
                  </a:lnTo>
                  <a:lnTo>
                    <a:pt x="139" y="2148"/>
                  </a:lnTo>
                  <a:lnTo>
                    <a:pt x="131" y="2157"/>
                  </a:lnTo>
                  <a:lnTo>
                    <a:pt x="124" y="2167"/>
                  </a:lnTo>
                  <a:lnTo>
                    <a:pt x="120" y="2176"/>
                  </a:lnTo>
                  <a:lnTo>
                    <a:pt x="120" y="2180"/>
                  </a:lnTo>
                  <a:lnTo>
                    <a:pt x="120" y="2184"/>
                  </a:lnTo>
                  <a:lnTo>
                    <a:pt x="120" y="2186"/>
                  </a:lnTo>
                  <a:lnTo>
                    <a:pt x="123" y="2190"/>
                  </a:lnTo>
                  <a:lnTo>
                    <a:pt x="130" y="2199"/>
                  </a:lnTo>
                  <a:lnTo>
                    <a:pt x="137" y="2206"/>
                  </a:lnTo>
                  <a:lnTo>
                    <a:pt x="144" y="2212"/>
                  </a:lnTo>
                  <a:lnTo>
                    <a:pt x="151" y="2216"/>
                  </a:lnTo>
                  <a:lnTo>
                    <a:pt x="164" y="2223"/>
                  </a:lnTo>
                  <a:lnTo>
                    <a:pt x="174" y="2228"/>
                  </a:lnTo>
                  <a:lnTo>
                    <a:pt x="178" y="2232"/>
                  </a:lnTo>
                  <a:lnTo>
                    <a:pt x="181" y="2236"/>
                  </a:lnTo>
                  <a:lnTo>
                    <a:pt x="183" y="2240"/>
                  </a:lnTo>
                  <a:lnTo>
                    <a:pt x="185" y="2246"/>
                  </a:lnTo>
                  <a:lnTo>
                    <a:pt x="185" y="2254"/>
                  </a:lnTo>
                  <a:lnTo>
                    <a:pt x="182" y="2263"/>
                  </a:lnTo>
                  <a:lnTo>
                    <a:pt x="179" y="2275"/>
                  </a:lnTo>
                  <a:lnTo>
                    <a:pt x="175" y="2291"/>
                  </a:lnTo>
                  <a:lnTo>
                    <a:pt x="170" y="2304"/>
                  </a:lnTo>
                  <a:lnTo>
                    <a:pt x="166" y="2314"/>
                  </a:lnTo>
                  <a:lnTo>
                    <a:pt x="161" y="2325"/>
                  </a:lnTo>
                  <a:lnTo>
                    <a:pt x="156" y="2333"/>
                  </a:lnTo>
                  <a:lnTo>
                    <a:pt x="151" y="2339"/>
                  </a:lnTo>
                  <a:lnTo>
                    <a:pt x="143" y="2347"/>
                  </a:lnTo>
                  <a:lnTo>
                    <a:pt x="134" y="2354"/>
                  </a:lnTo>
                  <a:lnTo>
                    <a:pt x="122" y="2361"/>
                  </a:lnTo>
                  <a:lnTo>
                    <a:pt x="109" y="2368"/>
                  </a:lnTo>
                  <a:lnTo>
                    <a:pt x="98" y="2371"/>
                  </a:lnTo>
                  <a:lnTo>
                    <a:pt x="92" y="2371"/>
                  </a:lnTo>
                  <a:lnTo>
                    <a:pt x="88" y="2371"/>
                  </a:lnTo>
                  <a:lnTo>
                    <a:pt x="86" y="2372"/>
                  </a:lnTo>
                  <a:lnTo>
                    <a:pt x="86" y="2377"/>
                  </a:lnTo>
                  <a:lnTo>
                    <a:pt x="86" y="2388"/>
                  </a:lnTo>
                  <a:lnTo>
                    <a:pt x="86" y="2406"/>
                  </a:lnTo>
                  <a:lnTo>
                    <a:pt x="88" y="2427"/>
                  </a:lnTo>
                  <a:lnTo>
                    <a:pt x="90" y="2441"/>
                  </a:lnTo>
                  <a:lnTo>
                    <a:pt x="92" y="2445"/>
                  </a:lnTo>
                  <a:lnTo>
                    <a:pt x="94" y="2449"/>
                  </a:lnTo>
                  <a:lnTo>
                    <a:pt x="97" y="2452"/>
                  </a:lnTo>
                  <a:lnTo>
                    <a:pt x="100" y="2454"/>
                  </a:lnTo>
                  <a:lnTo>
                    <a:pt x="106" y="2458"/>
                  </a:lnTo>
                  <a:lnTo>
                    <a:pt x="113" y="2462"/>
                  </a:lnTo>
                  <a:lnTo>
                    <a:pt x="117" y="2466"/>
                  </a:lnTo>
                  <a:lnTo>
                    <a:pt x="120" y="2470"/>
                  </a:lnTo>
                  <a:lnTo>
                    <a:pt x="124" y="2477"/>
                  </a:lnTo>
                  <a:lnTo>
                    <a:pt x="128" y="2483"/>
                  </a:lnTo>
                  <a:lnTo>
                    <a:pt x="132" y="2494"/>
                  </a:lnTo>
                  <a:lnTo>
                    <a:pt x="134" y="2507"/>
                  </a:lnTo>
                  <a:lnTo>
                    <a:pt x="135" y="2522"/>
                  </a:lnTo>
                  <a:lnTo>
                    <a:pt x="136" y="2539"/>
                  </a:lnTo>
                  <a:lnTo>
                    <a:pt x="139" y="2575"/>
                  </a:lnTo>
                  <a:lnTo>
                    <a:pt x="141" y="2601"/>
                  </a:lnTo>
                  <a:lnTo>
                    <a:pt x="144" y="2607"/>
                  </a:lnTo>
                  <a:lnTo>
                    <a:pt x="147" y="2614"/>
                  </a:lnTo>
                  <a:lnTo>
                    <a:pt x="148" y="2615"/>
                  </a:lnTo>
                  <a:lnTo>
                    <a:pt x="149" y="2617"/>
                  </a:lnTo>
                  <a:lnTo>
                    <a:pt x="152" y="2620"/>
                  </a:lnTo>
                  <a:lnTo>
                    <a:pt x="154" y="2623"/>
                  </a:lnTo>
                  <a:lnTo>
                    <a:pt x="160" y="2630"/>
                  </a:lnTo>
                  <a:lnTo>
                    <a:pt x="166" y="2636"/>
                  </a:lnTo>
                  <a:lnTo>
                    <a:pt x="168" y="2637"/>
                  </a:lnTo>
                  <a:lnTo>
                    <a:pt x="171" y="2640"/>
                  </a:lnTo>
                  <a:lnTo>
                    <a:pt x="174" y="2643"/>
                  </a:lnTo>
                  <a:lnTo>
                    <a:pt x="175" y="2643"/>
                  </a:lnTo>
                  <a:lnTo>
                    <a:pt x="177" y="2645"/>
                  </a:lnTo>
                  <a:lnTo>
                    <a:pt x="179" y="2647"/>
                  </a:lnTo>
                  <a:lnTo>
                    <a:pt x="182" y="2651"/>
                  </a:lnTo>
                  <a:lnTo>
                    <a:pt x="191" y="2656"/>
                  </a:lnTo>
                  <a:lnTo>
                    <a:pt x="200" y="2661"/>
                  </a:lnTo>
                  <a:lnTo>
                    <a:pt x="202" y="2662"/>
                  </a:lnTo>
                  <a:lnTo>
                    <a:pt x="203" y="2664"/>
                  </a:lnTo>
                  <a:lnTo>
                    <a:pt x="212" y="2671"/>
                  </a:lnTo>
                  <a:lnTo>
                    <a:pt x="220" y="2679"/>
                  </a:lnTo>
                  <a:lnTo>
                    <a:pt x="222" y="2683"/>
                  </a:lnTo>
                  <a:lnTo>
                    <a:pt x="226" y="2686"/>
                  </a:lnTo>
                  <a:lnTo>
                    <a:pt x="226" y="2687"/>
                  </a:lnTo>
                  <a:lnTo>
                    <a:pt x="228" y="2687"/>
                  </a:lnTo>
                  <a:lnTo>
                    <a:pt x="230" y="2688"/>
                  </a:lnTo>
                  <a:lnTo>
                    <a:pt x="232" y="2690"/>
                  </a:lnTo>
                  <a:lnTo>
                    <a:pt x="238" y="2694"/>
                  </a:lnTo>
                  <a:lnTo>
                    <a:pt x="243" y="2699"/>
                  </a:lnTo>
                  <a:lnTo>
                    <a:pt x="251" y="2704"/>
                  </a:lnTo>
                  <a:lnTo>
                    <a:pt x="260" y="2708"/>
                  </a:lnTo>
                  <a:lnTo>
                    <a:pt x="263" y="2708"/>
                  </a:lnTo>
                  <a:lnTo>
                    <a:pt x="267" y="2709"/>
                  </a:lnTo>
                  <a:lnTo>
                    <a:pt x="275" y="2713"/>
                  </a:lnTo>
                  <a:lnTo>
                    <a:pt x="285" y="2717"/>
                  </a:lnTo>
                  <a:lnTo>
                    <a:pt x="293" y="2725"/>
                  </a:lnTo>
                  <a:lnTo>
                    <a:pt x="300" y="2733"/>
                  </a:lnTo>
                  <a:lnTo>
                    <a:pt x="306" y="2742"/>
                  </a:lnTo>
                  <a:lnTo>
                    <a:pt x="311" y="2751"/>
                  </a:lnTo>
                  <a:lnTo>
                    <a:pt x="315" y="2754"/>
                  </a:lnTo>
                  <a:lnTo>
                    <a:pt x="318" y="2756"/>
                  </a:lnTo>
                  <a:lnTo>
                    <a:pt x="326" y="2762"/>
                  </a:lnTo>
                  <a:lnTo>
                    <a:pt x="332" y="2766"/>
                  </a:lnTo>
                  <a:lnTo>
                    <a:pt x="336" y="2768"/>
                  </a:lnTo>
                  <a:lnTo>
                    <a:pt x="339" y="2771"/>
                  </a:lnTo>
                  <a:lnTo>
                    <a:pt x="340" y="2772"/>
                  </a:lnTo>
                  <a:lnTo>
                    <a:pt x="343" y="2775"/>
                  </a:lnTo>
                  <a:lnTo>
                    <a:pt x="344" y="2776"/>
                  </a:lnTo>
                  <a:lnTo>
                    <a:pt x="347" y="2779"/>
                  </a:lnTo>
                  <a:lnTo>
                    <a:pt x="359" y="2788"/>
                  </a:lnTo>
                  <a:lnTo>
                    <a:pt x="385" y="2804"/>
                  </a:lnTo>
                  <a:lnTo>
                    <a:pt x="412" y="2819"/>
                  </a:lnTo>
                  <a:lnTo>
                    <a:pt x="428" y="2827"/>
                  </a:lnTo>
                  <a:lnTo>
                    <a:pt x="429" y="2828"/>
                  </a:lnTo>
                  <a:lnTo>
                    <a:pt x="429" y="2830"/>
                  </a:lnTo>
                  <a:lnTo>
                    <a:pt x="430" y="2830"/>
                  </a:lnTo>
                  <a:lnTo>
                    <a:pt x="432" y="2831"/>
                  </a:lnTo>
                  <a:lnTo>
                    <a:pt x="432" y="2832"/>
                  </a:lnTo>
                  <a:lnTo>
                    <a:pt x="433" y="2835"/>
                  </a:lnTo>
                  <a:lnTo>
                    <a:pt x="438" y="2841"/>
                  </a:lnTo>
                  <a:lnTo>
                    <a:pt x="441" y="2849"/>
                  </a:lnTo>
                  <a:lnTo>
                    <a:pt x="444" y="2857"/>
                  </a:lnTo>
                  <a:lnTo>
                    <a:pt x="447" y="2873"/>
                  </a:lnTo>
                  <a:lnTo>
                    <a:pt x="450" y="2890"/>
                  </a:lnTo>
                  <a:lnTo>
                    <a:pt x="453" y="2900"/>
                  </a:lnTo>
                  <a:lnTo>
                    <a:pt x="454" y="2903"/>
                  </a:lnTo>
                  <a:lnTo>
                    <a:pt x="455" y="2906"/>
                  </a:lnTo>
                  <a:lnTo>
                    <a:pt x="457" y="2908"/>
                  </a:lnTo>
                  <a:lnTo>
                    <a:pt x="458" y="2911"/>
                  </a:lnTo>
                  <a:lnTo>
                    <a:pt x="463" y="2913"/>
                  </a:lnTo>
                  <a:lnTo>
                    <a:pt x="468" y="2919"/>
                  </a:lnTo>
                  <a:lnTo>
                    <a:pt x="475" y="2924"/>
                  </a:lnTo>
                  <a:lnTo>
                    <a:pt x="481" y="2927"/>
                  </a:lnTo>
                  <a:lnTo>
                    <a:pt x="485" y="2927"/>
                  </a:lnTo>
                  <a:lnTo>
                    <a:pt x="489" y="2928"/>
                  </a:lnTo>
                  <a:lnTo>
                    <a:pt x="522" y="2946"/>
                  </a:lnTo>
                  <a:lnTo>
                    <a:pt x="523" y="2947"/>
                  </a:lnTo>
                  <a:lnTo>
                    <a:pt x="525" y="2949"/>
                  </a:lnTo>
                  <a:lnTo>
                    <a:pt x="527" y="2953"/>
                  </a:lnTo>
                  <a:lnTo>
                    <a:pt x="529" y="2955"/>
                  </a:lnTo>
                  <a:lnTo>
                    <a:pt x="535" y="2966"/>
                  </a:lnTo>
                  <a:lnTo>
                    <a:pt x="542" y="2978"/>
                  </a:lnTo>
                  <a:lnTo>
                    <a:pt x="543" y="2979"/>
                  </a:lnTo>
                  <a:lnTo>
                    <a:pt x="546" y="2980"/>
                  </a:lnTo>
                  <a:lnTo>
                    <a:pt x="553" y="2992"/>
                  </a:lnTo>
                  <a:lnTo>
                    <a:pt x="563" y="3001"/>
                  </a:lnTo>
                  <a:lnTo>
                    <a:pt x="565" y="3002"/>
                  </a:lnTo>
                  <a:lnTo>
                    <a:pt x="566" y="3004"/>
                  </a:lnTo>
                  <a:lnTo>
                    <a:pt x="568" y="3005"/>
                  </a:lnTo>
                  <a:lnTo>
                    <a:pt x="569" y="3006"/>
                  </a:lnTo>
                  <a:lnTo>
                    <a:pt x="572" y="3008"/>
                  </a:lnTo>
                  <a:lnTo>
                    <a:pt x="573" y="3009"/>
                  </a:lnTo>
                  <a:lnTo>
                    <a:pt x="576" y="3013"/>
                  </a:lnTo>
                  <a:lnTo>
                    <a:pt x="582" y="3015"/>
                  </a:lnTo>
                  <a:lnTo>
                    <a:pt x="589" y="3017"/>
                  </a:lnTo>
                  <a:lnTo>
                    <a:pt x="597" y="3017"/>
                  </a:lnTo>
                  <a:lnTo>
                    <a:pt x="603" y="3015"/>
                  </a:lnTo>
                  <a:lnTo>
                    <a:pt x="611" y="3014"/>
                  </a:lnTo>
                  <a:lnTo>
                    <a:pt x="616" y="3012"/>
                  </a:lnTo>
                  <a:lnTo>
                    <a:pt x="619" y="3010"/>
                  </a:lnTo>
                  <a:lnTo>
                    <a:pt x="634" y="2995"/>
                  </a:lnTo>
                  <a:lnTo>
                    <a:pt x="645" y="2984"/>
                  </a:lnTo>
                  <a:lnTo>
                    <a:pt x="655" y="2974"/>
                  </a:lnTo>
                  <a:lnTo>
                    <a:pt x="666" y="2968"/>
                  </a:lnTo>
                  <a:lnTo>
                    <a:pt x="687" y="2961"/>
                  </a:lnTo>
                  <a:lnTo>
                    <a:pt x="697" y="2957"/>
                  </a:lnTo>
                  <a:lnTo>
                    <a:pt x="708" y="2953"/>
                  </a:lnTo>
                  <a:lnTo>
                    <a:pt x="714" y="2949"/>
                  </a:lnTo>
                  <a:lnTo>
                    <a:pt x="718" y="2945"/>
                  </a:lnTo>
                  <a:lnTo>
                    <a:pt x="723" y="2942"/>
                  </a:lnTo>
                  <a:lnTo>
                    <a:pt x="729" y="2940"/>
                  </a:lnTo>
                  <a:lnTo>
                    <a:pt x="740" y="2933"/>
                  </a:lnTo>
                  <a:lnTo>
                    <a:pt x="755" y="2929"/>
                  </a:lnTo>
                  <a:lnTo>
                    <a:pt x="760" y="2928"/>
                  </a:lnTo>
                  <a:lnTo>
                    <a:pt x="767" y="2928"/>
                  </a:lnTo>
                  <a:lnTo>
                    <a:pt x="769" y="2929"/>
                  </a:lnTo>
                  <a:lnTo>
                    <a:pt x="772" y="2930"/>
                  </a:lnTo>
                  <a:lnTo>
                    <a:pt x="774" y="2930"/>
                  </a:lnTo>
                  <a:lnTo>
                    <a:pt x="776" y="2932"/>
                  </a:lnTo>
                  <a:lnTo>
                    <a:pt x="777" y="2933"/>
                  </a:lnTo>
                  <a:lnTo>
                    <a:pt x="778" y="2933"/>
                  </a:lnTo>
                  <a:lnTo>
                    <a:pt x="780" y="2934"/>
                  </a:lnTo>
                  <a:lnTo>
                    <a:pt x="782" y="2936"/>
                  </a:lnTo>
                  <a:lnTo>
                    <a:pt x="786" y="2937"/>
                  </a:lnTo>
                  <a:lnTo>
                    <a:pt x="789" y="2938"/>
                  </a:lnTo>
                  <a:lnTo>
                    <a:pt x="791" y="2940"/>
                  </a:lnTo>
                  <a:lnTo>
                    <a:pt x="793" y="2940"/>
                  </a:lnTo>
                  <a:lnTo>
                    <a:pt x="793" y="2941"/>
                  </a:lnTo>
                  <a:lnTo>
                    <a:pt x="795" y="2941"/>
                  </a:lnTo>
                  <a:lnTo>
                    <a:pt x="798" y="2941"/>
                  </a:lnTo>
                  <a:lnTo>
                    <a:pt x="874" y="2934"/>
                  </a:lnTo>
                  <a:lnTo>
                    <a:pt x="886" y="2890"/>
                  </a:lnTo>
                  <a:lnTo>
                    <a:pt x="888" y="2879"/>
                  </a:lnTo>
                  <a:lnTo>
                    <a:pt x="893" y="2873"/>
                  </a:lnTo>
                  <a:lnTo>
                    <a:pt x="899" y="2868"/>
                  </a:lnTo>
                  <a:lnTo>
                    <a:pt x="904" y="2864"/>
                  </a:lnTo>
                  <a:lnTo>
                    <a:pt x="908" y="2859"/>
                  </a:lnTo>
                  <a:lnTo>
                    <a:pt x="912" y="2853"/>
                  </a:lnTo>
                  <a:lnTo>
                    <a:pt x="913" y="2845"/>
                  </a:lnTo>
                  <a:lnTo>
                    <a:pt x="913" y="2834"/>
                  </a:lnTo>
                  <a:lnTo>
                    <a:pt x="910" y="2821"/>
                  </a:lnTo>
                  <a:lnTo>
                    <a:pt x="905" y="2807"/>
                  </a:lnTo>
                  <a:lnTo>
                    <a:pt x="899" y="2793"/>
                  </a:lnTo>
                  <a:lnTo>
                    <a:pt x="891" y="2779"/>
                  </a:lnTo>
                  <a:lnTo>
                    <a:pt x="873" y="2749"/>
                  </a:lnTo>
                  <a:lnTo>
                    <a:pt x="856" y="2719"/>
                  </a:lnTo>
                  <a:lnTo>
                    <a:pt x="848" y="2704"/>
                  </a:lnTo>
                  <a:lnTo>
                    <a:pt x="841" y="2688"/>
                  </a:lnTo>
                  <a:lnTo>
                    <a:pt x="836" y="2674"/>
                  </a:lnTo>
                  <a:lnTo>
                    <a:pt x="833" y="2658"/>
                  </a:lnTo>
                  <a:lnTo>
                    <a:pt x="833" y="2652"/>
                  </a:lnTo>
                  <a:lnTo>
                    <a:pt x="833" y="2645"/>
                  </a:lnTo>
                  <a:lnTo>
                    <a:pt x="835" y="2637"/>
                  </a:lnTo>
                  <a:lnTo>
                    <a:pt x="836" y="2631"/>
                  </a:lnTo>
                  <a:lnTo>
                    <a:pt x="840" y="2624"/>
                  </a:lnTo>
                  <a:lnTo>
                    <a:pt x="842" y="2618"/>
                  </a:lnTo>
                  <a:lnTo>
                    <a:pt x="848" y="2611"/>
                  </a:lnTo>
                  <a:lnTo>
                    <a:pt x="853" y="2605"/>
                  </a:lnTo>
                  <a:lnTo>
                    <a:pt x="866" y="2593"/>
                  </a:lnTo>
                  <a:lnTo>
                    <a:pt x="876" y="2584"/>
                  </a:lnTo>
                  <a:lnTo>
                    <a:pt x="882" y="2579"/>
                  </a:lnTo>
                  <a:lnTo>
                    <a:pt x="884" y="2572"/>
                  </a:lnTo>
                  <a:lnTo>
                    <a:pt x="887" y="2563"/>
                  </a:lnTo>
                  <a:lnTo>
                    <a:pt x="890" y="2552"/>
                  </a:lnTo>
                  <a:lnTo>
                    <a:pt x="891" y="2550"/>
                  </a:lnTo>
                  <a:lnTo>
                    <a:pt x="895" y="2546"/>
                  </a:lnTo>
                  <a:lnTo>
                    <a:pt x="900" y="2543"/>
                  </a:lnTo>
                  <a:lnTo>
                    <a:pt x="907" y="2539"/>
                  </a:lnTo>
                  <a:lnTo>
                    <a:pt x="914" y="2537"/>
                  </a:lnTo>
                  <a:lnTo>
                    <a:pt x="921" y="2533"/>
                  </a:lnTo>
                  <a:lnTo>
                    <a:pt x="926" y="2528"/>
                  </a:lnTo>
                  <a:lnTo>
                    <a:pt x="930" y="2524"/>
                  </a:lnTo>
                  <a:lnTo>
                    <a:pt x="933" y="2514"/>
                  </a:lnTo>
                  <a:lnTo>
                    <a:pt x="935" y="2507"/>
                  </a:lnTo>
                  <a:lnTo>
                    <a:pt x="938" y="2497"/>
                  </a:lnTo>
                  <a:lnTo>
                    <a:pt x="938" y="2488"/>
                  </a:lnTo>
                  <a:lnTo>
                    <a:pt x="938" y="2469"/>
                  </a:lnTo>
                  <a:lnTo>
                    <a:pt x="937" y="2449"/>
                  </a:lnTo>
                  <a:lnTo>
                    <a:pt x="931" y="2410"/>
                  </a:lnTo>
                  <a:lnTo>
                    <a:pt x="930" y="2375"/>
                  </a:lnTo>
                  <a:lnTo>
                    <a:pt x="929" y="2355"/>
                  </a:lnTo>
                  <a:lnTo>
                    <a:pt x="929" y="2331"/>
                  </a:lnTo>
                  <a:lnTo>
                    <a:pt x="930" y="2320"/>
                  </a:lnTo>
                  <a:lnTo>
                    <a:pt x="933" y="2310"/>
                  </a:lnTo>
                  <a:lnTo>
                    <a:pt x="934" y="2306"/>
                  </a:lnTo>
                  <a:lnTo>
                    <a:pt x="937" y="2303"/>
                  </a:lnTo>
                  <a:lnTo>
                    <a:pt x="939" y="2301"/>
                  </a:lnTo>
                  <a:lnTo>
                    <a:pt x="943" y="2300"/>
                  </a:lnTo>
                  <a:lnTo>
                    <a:pt x="952" y="2297"/>
                  </a:lnTo>
                  <a:lnTo>
                    <a:pt x="963" y="2292"/>
                  </a:lnTo>
                  <a:lnTo>
                    <a:pt x="975" y="2283"/>
                  </a:lnTo>
                  <a:lnTo>
                    <a:pt x="986" y="2274"/>
                  </a:lnTo>
                  <a:lnTo>
                    <a:pt x="1010" y="2253"/>
                  </a:lnTo>
                  <a:lnTo>
                    <a:pt x="1032" y="2233"/>
                  </a:lnTo>
                  <a:lnTo>
                    <a:pt x="1044" y="2227"/>
                  </a:lnTo>
                  <a:lnTo>
                    <a:pt x="1053" y="2221"/>
                  </a:lnTo>
                  <a:lnTo>
                    <a:pt x="1058" y="2220"/>
                  </a:lnTo>
                  <a:lnTo>
                    <a:pt x="1062" y="2220"/>
                  </a:lnTo>
                  <a:lnTo>
                    <a:pt x="1066" y="2221"/>
                  </a:lnTo>
                  <a:lnTo>
                    <a:pt x="1070" y="2223"/>
                  </a:lnTo>
                  <a:lnTo>
                    <a:pt x="1074" y="2227"/>
                  </a:lnTo>
                  <a:lnTo>
                    <a:pt x="1077" y="2231"/>
                  </a:lnTo>
                  <a:lnTo>
                    <a:pt x="1079" y="2237"/>
                  </a:lnTo>
                  <a:lnTo>
                    <a:pt x="1082" y="2244"/>
                  </a:lnTo>
                  <a:lnTo>
                    <a:pt x="1083" y="2253"/>
                  </a:lnTo>
                  <a:lnTo>
                    <a:pt x="1084" y="2263"/>
                  </a:lnTo>
                  <a:lnTo>
                    <a:pt x="1086" y="2275"/>
                  </a:lnTo>
                  <a:lnTo>
                    <a:pt x="1086" y="2289"/>
                  </a:lnTo>
                  <a:lnTo>
                    <a:pt x="1087" y="2308"/>
                  </a:lnTo>
                  <a:lnTo>
                    <a:pt x="1088" y="2320"/>
                  </a:lnTo>
                  <a:lnTo>
                    <a:pt x="1091" y="2324"/>
                  </a:lnTo>
                  <a:lnTo>
                    <a:pt x="1092" y="2326"/>
                  </a:lnTo>
                  <a:lnTo>
                    <a:pt x="1095" y="2327"/>
                  </a:lnTo>
                  <a:lnTo>
                    <a:pt x="1098" y="2327"/>
                  </a:lnTo>
                  <a:lnTo>
                    <a:pt x="1104" y="2324"/>
                  </a:lnTo>
                  <a:lnTo>
                    <a:pt x="1111" y="2316"/>
                  </a:lnTo>
                  <a:lnTo>
                    <a:pt x="1118" y="2304"/>
                  </a:lnTo>
                  <a:lnTo>
                    <a:pt x="1126" y="2291"/>
                  </a:lnTo>
                  <a:lnTo>
                    <a:pt x="1142" y="2261"/>
                  </a:lnTo>
                  <a:lnTo>
                    <a:pt x="1158" y="2229"/>
                  </a:lnTo>
                  <a:lnTo>
                    <a:pt x="1169" y="2202"/>
                  </a:lnTo>
                  <a:lnTo>
                    <a:pt x="1179" y="2186"/>
                  </a:lnTo>
                  <a:lnTo>
                    <a:pt x="1192" y="2168"/>
                  </a:lnTo>
                  <a:lnTo>
                    <a:pt x="1207" y="2152"/>
                  </a:lnTo>
                  <a:lnTo>
                    <a:pt x="1223" y="2136"/>
                  </a:lnTo>
                  <a:lnTo>
                    <a:pt x="1240" y="2121"/>
                  </a:lnTo>
                  <a:lnTo>
                    <a:pt x="1274" y="2092"/>
                  </a:lnTo>
                  <a:lnTo>
                    <a:pt x="1308" y="2063"/>
                  </a:lnTo>
                  <a:lnTo>
                    <a:pt x="1309" y="2062"/>
                  </a:lnTo>
                  <a:lnTo>
                    <a:pt x="1309" y="2059"/>
                  </a:lnTo>
                  <a:lnTo>
                    <a:pt x="1309" y="2055"/>
                  </a:lnTo>
                  <a:lnTo>
                    <a:pt x="1308" y="2050"/>
                  </a:lnTo>
                  <a:lnTo>
                    <a:pt x="1303" y="2040"/>
                  </a:lnTo>
                  <a:lnTo>
                    <a:pt x="1298" y="2028"/>
                  </a:lnTo>
                  <a:lnTo>
                    <a:pt x="1285" y="2002"/>
                  </a:lnTo>
                  <a:lnTo>
                    <a:pt x="1274" y="1981"/>
                  </a:lnTo>
                  <a:lnTo>
                    <a:pt x="1271" y="1968"/>
                  </a:lnTo>
                  <a:lnTo>
                    <a:pt x="1270" y="1957"/>
                  </a:lnTo>
                  <a:lnTo>
                    <a:pt x="1271" y="1948"/>
                  </a:lnTo>
                  <a:lnTo>
                    <a:pt x="1275" y="1940"/>
                  </a:lnTo>
                  <a:lnTo>
                    <a:pt x="1281" y="1934"/>
                  </a:lnTo>
                  <a:lnTo>
                    <a:pt x="1288" y="1928"/>
                  </a:lnTo>
                  <a:lnTo>
                    <a:pt x="1296" y="1923"/>
                  </a:lnTo>
                  <a:lnTo>
                    <a:pt x="1307" y="1919"/>
                  </a:lnTo>
                  <a:lnTo>
                    <a:pt x="1326" y="1913"/>
                  </a:lnTo>
                  <a:lnTo>
                    <a:pt x="1347" y="1905"/>
                  </a:lnTo>
                  <a:lnTo>
                    <a:pt x="1357" y="1901"/>
                  </a:lnTo>
                  <a:lnTo>
                    <a:pt x="1366" y="1897"/>
                  </a:lnTo>
                  <a:lnTo>
                    <a:pt x="1374" y="1892"/>
                  </a:lnTo>
                  <a:lnTo>
                    <a:pt x="1380" y="1885"/>
                  </a:lnTo>
                  <a:lnTo>
                    <a:pt x="1385" y="1879"/>
                  </a:lnTo>
                  <a:lnTo>
                    <a:pt x="1391" y="1874"/>
                  </a:lnTo>
                  <a:lnTo>
                    <a:pt x="1394" y="1871"/>
                  </a:lnTo>
                  <a:lnTo>
                    <a:pt x="1398" y="1868"/>
                  </a:lnTo>
                  <a:lnTo>
                    <a:pt x="1402" y="1867"/>
                  </a:lnTo>
                  <a:lnTo>
                    <a:pt x="1406" y="1868"/>
                  </a:lnTo>
                  <a:lnTo>
                    <a:pt x="1410" y="1868"/>
                  </a:lnTo>
                  <a:lnTo>
                    <a:pt x="1414" y="1870"/>
                  </a:lnTo>
                  <a:lnTo>
                    <a:pt x="1427" y="1880"/>
                  </a:lnTo>
                  <a:lnTo>
                    <a:pt x="1445" y="1889"/>
                  </a:lnTo>
                  <a:lnTo>
                    <a:pt x="1455" y="1891"/>
                  </a:lnTo>
                  <a:lnTo>
                    <a:pt x="1465" y="1891"/>
                  </a:lnTo>
                  <a:lnTo>
                    <a:pt x="1476" y="1889"/>
                  </a:lnTo>
                  <a:lnTo>
                    <a:pt x="1485" y="1887"/>
                  </a:lnTo>
                  <a:lnTo>
                    <a:pt x="1495" y="1884"/>
                  </a:lnTo>
                  <a:lnTo>
                    <a:pt x="1504" y="1881"/>
                  </a:lnTo>
                  <a:lnTo>
                    <a:pt x="1515" y="1879"/>
                  </a:lnTo>
                  <a:lnTo>
                    <a:pt x="1524" y="1879"/>
                  </a:lnTo>
                  <a:lnTo>
                    <a:pt x="1530" y="1879"/>
                  </a:lnTo>
                  <a:lnTo>
                    <a:pt x="1536" y="1881"/>
                  </a:lnTo>
                  <a:lnTo>
                    <a:pt x="1537" y="1883"/>
                  </a:lnTo>
                  <a:lnTo>
                    <a:pt x="1540" y="1884"/>
                  </a:lnTo>
                  <a:lnTo>
                    <a:pt x="1542" y="1884"/>
                  </a:lnTo>
                  <a:lnTo>
                    <a:pt x="1546" y="1884"/>
                  </a:lnTo>
                  <a:lnTo>
                    <a:pt x="1553" y="1885"/>
                  </a:lnTo>
                  <a:lnTo>
                    <a:pt x="1559" y="1888"/>
                  </a:lnTo>
                  <a:lnTo>
                    <a:pt x="1563" y="1888"/>
                  </a:lnTo>
                  <a:lnTo>
                    <a:pt x="1566" y="1888"/>
                  </a:lnTo>
                  <a:lnTo>
                    <a:pt x="1568" y="1887"/>
                  </a:lnTo>
                  <a:lnTo>
                    <a:pt x="1570" y="1884"/>
                  </a:lnTo>
                  <a:lnTo>
                    <a:pt x="1579" y="1859"/>
                  </a:lnTo>
                  <a:lnTo>
                    <a:pt x="1546" y="1829"/>
                  </a:lnTo>
                  <a:lnTo>
                    <a:pt x="1542" y="1825"/>
                  </a:lnTo>
                  <a:lnTo>
                    <a:pt x="1540" y="1819"/>
                  </a:lnTo>
                  <a:lnTo>
                    <a:pt x="1537" y="1811"/>
                  </a:lnTo>
                  <a:lnTo>
                    <a:pt x="1537" y="1803"/>
                  </a:lnTo>
                  <a:lnTo>
                    <a:pt x="1537" y="1794"/>
                  </a:lnTo>
                  <a:lnTo>
                    <a:pt x="1540" y="1785"/>
                  </a:lnTo>
                  <a:lnTo>
                    <a:pt x="1542" y="1775"/>
                  </a:lnTo>
                  <a:lnTo>
                    <a:pt x="1546" y="1768"/>
                  </a:lnTo>
                  <a:lnTo>
                    <a:pt x="1550" y="1760"/>
                  </a:lnTo>
                  <a:lnTo>
                    <a:pt x="1557" y="1752"/>
                  </a:lnTo>
                  <a:lnTo>
                    <a:pt x="1563" y="1747"/>
                  </a:lnTo>
                  <a:lnTo>
                    <a:pt x="1570" y="1744"/>
                  </a:lnTo>
                  <a:lnTo>
                    <a:pt x="1579" y="1741"/>
                  </a:lnTo>
                  <a:lnTo>
                    <a:pt x="1588" y="1743"/>
                  </a:lnTo>
                  <a:lnTo>
                    <a:pt x="1598" y="1745"/>
                  </a:lnTo>
                  <a:lnTo>
                    <a:pt x="1609" y="1752"/>
                  </a:lnTo>
                  <a:lnTo>
                    <a:pt x="1622" y="1760"/>
                  </a:lnTo>
                  <a:lnTo>
                    <a:pt x="1634" y="1765"/>
                  </a:lnTo>
                  <a:lnTo>
                    <a:pt x="1644" y="1766"/>
                  </a:lnTo>
                  <a:lnTo>
                    <a:pt x="1652" y="1766"/>
                  </a:lnTo>
                  <a:lnTo>
                    <a:pt x="1660" y="1762"/>
                  </a:lnTo>
                  <a:lnTo>
                    <a:pt x="1667" y="1758"/>
                  </a:lnTo>
                  <a:lnTo>
                    <a:pt x="1672" y="1752"/>
                  </a:lnTo>
                  <a:lnTo>
                    <a:pt x="1677" y="1744"/>
                  </a:lnTo>
                  <a:lnTo>
                    <a:pt x="1686" y="1728"/>
                  </a:lnTo>
                  <a:lnTo>
                    <a:pt x="1698" y="1714"/>
                  </a:lnTo>
                  <a:lnTo>
                    <a:pt x="1704" y="1707"/>
                  </a:lnTo>
                  <a:lnTo>
                    <a:pt x="1712" y="1703"/>
                  </a:lnTo>
                  <a:lnTo>
                    <a:pt x="1720" y="1701"/>
                  </a:lnTo>
                  <a:lnTo>
                    <a:pt x="1731" y="1701"/>
                  </a:lnTo>
                  <a:lnTo>
                    <a:pt x="1742" y="1703"/>
                  </a:lnTo>
                  <a:lnTo>
                    <a:pt x="1755" y="1707"/>
                  </a:lnTo>
                  <a:lnTo>
                    <a:pt x="1770" y="1714"/>
                  </a:lnTo>
                  <a:lnTo>
                    <a:pt x="1783" y="1719"/>
                  </a:lnTo>
                  <a:lnTo>
                    <a:pt x="1797" y="1724"/>
                  </a:lnTo>
                  <a:lnTo>
                    <a:pt x="1810" y="1728"/>
                  </a:lnTo>
                  <a:lnTo>
                    <a:pt x="1817" y="1730"/>
                  </a:lnTo>
                  <a:lnTo>
                    <a:pt x="1823" y="1730"/>
                  </a:lnTo>
                  <a:lnTo>
                    <a:pt x="1829" y="1728"/>
                  </a:lnTo>
                  <a:lnTo>
                    <a:pt x="1834" y="1726"/>
                  </a:lnTo>
                  <a:lnTo>
                    <a:pt x="1848" y="1718"/>
                  </a:lnTo>
                  <a:lnTo>
                    <a:pt x="1859" y="1713"/>
                  </a:lnTo>
                  <a:lnTo>
                    <a:pt x="1871" y="1709"/>
                  </a:lnTo>
                  <a:lnTo>
                    <a:pt x="1889" y="1703"/>
                  </a:lnTo>
                  <a:lnTo>
                    <a:pt x="1933" y="1694"/>
                  </a:lnTo>
                  <a:lnTo>
                    <a:pt x="2003" y="1761"/>
                  </a:lnTo>
                  <a:lnTo>
                    <a:pt x="2139" y="1579"/>
                  </a:lnTo>
                  <a:lnTo>
                    <a:pt x="2141" y="1579"/>
                  </a:lnTo>
                  <a:lnTo>
                    <a:pt x="2147" y="1578"/>
                  </a:lnTo>
                  <a:lnTo>
                    <a:pt x="2154" y="1579"/>
                  </a:lnTo>
                  <a:lnTo>
                    <a:pt x="2162" y="1579"/>
                  </a:lnTo>
                  <a:lnTo>
                    <a:pt x="2179" y="1582"/>
                  </a:lnTo>
                  <a:lnTo>
                    <a:pt x="2188" y="1584"/>
                  </a:lnTo>
                  <a:lnTo>
                    <a:pt x="2195" y="1588"/>
                  </a:lnTo>
                  <a:lnTo>
                    <a:pt x="2199" y="1592"/>
                  </a:lnTo>
                  <a:lnTo>
                    <a:pt x="2203" y="1596"/>
                  </a:lnTo>
                  <a:lnTo>
                    <a:pt x="2205" y="1601"/>
                  </a:lnTo>
                  <a:lnTo>
                    <a:pt x="2208" y="1613"/>
                  </a:lnTo>
                  <a:lnTo>
                    <a:pt x="2208" y="1630"/>
                  </a:lnTo>
                  <a:lnTo>
                    <a:pt x="2204" y="1654"/>
                  </a:lnTo>
                  <a:lnTo>
                    <a:pt x="2199" y="1686"/>
                  </a:lnTo>
                  <a:lnTo>
                    <a:pt x="2198" y="1694"/>
                  </a:lnTo>
                  <a:lnTo>
                    <a:pt x="2198" y="1702"/>
                  </a:lnTo>
                  <a:lnTo>
                    <a:pt x="2199" y="1707"/>
                  </a:lnTo>
                  <a:lnTo>
                    <a:pt x="2200" y="1713"/>
                  </a:lnTo>
                  <a:lnTo>
                    <a:pt x="2203" y="1717"/>
                  </a:lnTo>
                  <a:lnTo>
                    <a:pt x="2207" y="1718"/>
                  </a:lnTo>
                  <a:lnTo>
                    <a:pt x="2212" y="1718"/>
                  </a:lnTo>
                  <a:lnTo>
                    <a:pt x="2218" y="1715"/>
                  </a:lnTo>
                  <a:lnTo>
                    <a:pt x="2234" y="1707"/>
                  </a:lnTo>
                  <a:lnTo>
                    <a:pt x="2250" y="1700"/>
                  </a:lnTo>
                  <a:lnTo>
                    <a:pt x="2258" y="1696"/>
                  </a:lnTo>
                  <a:lnTo>
                    <a:pt x="2267" y="1693"/>
                  </a:lnTo>
                  <a:lnTo>
                    <a:pt x="2275" y="1692"/>
                  </a:lnTo>
                  <a:lnTo>
                    <a:pt x="2283" y="1692"/>
                  </a:lnTo>
                  <a:lnTo>
                    <a:pt x="2292" y="1693"/>
                  </a:lnTo>
                  <a:lnTo>
                    <a:pt x="2302" y="1696"/>
                  </a:lnTo>
                  <a:lnTo>
                    <a:pt x="2313" y="1701"/>
                  </a:lnTo>
                  <a:lnTo>
                    <a:pt x="2324" y="1706"/>
                  </a:lnTo>
                  <a:lnTo>
                    <a:pt x="2335" y="1710"/>
                  </a:lnTo>
                  <a:lnTo>
                    <a:pt x="2345" y="1714"/>
                  </a:lnTo>
                  <a:lnTo>
                    <a:pt x="2349" y="1715"/>
                  </a:lnTo>
                  <a:lnTo>
                    <a:pt x="2355" y="1715"/>
                  </a:lnTo>
                  <a:lnTo>
                    <a:pt x="2358" y="1714"/>
                  </a:lnTo>
                  <a:lnTo>
                    <a:pt x="2361" y="1713"/>
                  </a:lnTo>
                  <a:lnTo>
                    <a:pt x="2365" y="1709"/>
                  </a:lnTo>
                  <a:lnTo>
                    <a:pt x="2366" y="1703"/>
                  </a:lnTo>
                  <a:lnTo>
                    <a:pt x="2368" y="1696"/>
                  </a:lnTo>
                  <a:lnTo>
                    <a:pt x="2369" y="1688"/>
                  </a:lnTo>
                  <a:lnTo>
                    <a:pt x="2369" y="1668"/>
                  </a:lnTo>
                  <a:lnTo>
                    <a:pt x="2368" y="1646"/>
                  </a:lnTo>
                  <a:lnTo>
                    <a:pt x="2368" y="1626"/>
                  </a:lnTo>
                  <a:lnTo>
                    <a:pt x="2368" y="1609"/>
                  </a:lnTo>
                  <a:lnTo>
                    <a:pt x="2369" y="1603"/>
                  </a:lnTo>
                  <a:lnTo>
                    <a:pt x="2372" y="1599"/>
                  </a:lnTo>
                  <a:lnTo>
                    <a:pt x="2373" y="1598"/>
                  </a:lnTo>
                  <a:lnTo>
                    <a:pt x="2374" y="1596"/>
                  </a:lnTo>
                  <a:lnTo>
                    <a:pt x="2377" y="1596"/>
                  </a:lnTo>
                  <a:lnTo>
                    <a:pt x="2379" y="1596"/>
                  </a:lnTo>
                  <a:lnTo>
                    <a:pt x="2535" y="1647"/>
                  </a:lnTo>
                  <a:lnTo>
                    <a:pt x="2526" y="1748"/>
                  </a:lnTo>
                  <a:lnTo>
                    <a:pt x="2634" y="1707"/>
                  </a:lnTo>
                  <a:lnTo>
                    <a:pt x="2648" y="1702"/>
                  </a:lnTo>
                  <a:lnTo>
                    <a:pt x="2661" y="1696"/>
                  </a:lnTo>
                  <a:lnTo>
                    <a:pt x="2671" y="1690"/>
                  </a:lnTo>
                  <a:lnTo>
                    <a:pt x="2682" y="1683"/>
                  </a:lnTo>
                  <a:lnTo>
                    <a:pt x="2691" y="1673"/>
                  </a:lnTo>
                  <a:lnTo>
                    <a:pt x="2699" y="1663"/>
                  </a:lnTo>
                  <a:lnTo>
                    <a:pt x="2705" y="1651"/>
                  </a:lnTo>
                  <a:lnTo>
                    <a:pt x="2712" y="1637"/>
                  </a:lnTo>
                  <a:lnTo>
                    <a:pt x="2714" y="1626"/>
                  </a:lnTo>
                  <a:lnTo>
                    <a:pt x="2718" y="1616"/>
                  </a:lnTo>
                  <a:lnTo>
                    <a:pt x="2719" y="1604"/>
                  </a:lnTo>
                  <a:lnTo>
                    <a:pt x="2721" y="1592"/>
                  </a:lnTo>
                  <a:lnTo>
                    <a:pt x="2721" y="1587"/>
                  </a:lnTo>
                  <a:lnTo>
                    <a:pt x="2719" y="1582"/>
                  </a:lnTo>
                  <a:lnTo>
                    <a:pt x="2718" y="1577"/>
                  </a:lnTo>
                  <a:lnTo>
                    <a:pt x="2717" y="1571"/>
                  </a:lnTo>
                  <a:lnTo>
                    <a:pt x="2713" y="1567"/>
                  </a:lnTo>
                  <a:lnTo>
                    <a:pt x="2710" y="1564"/>
                  </a:lnTo>
                  <a:lnTo>
                    <a:pt x="2705" y="1561"/>
                  </a:lnTo>
                  <a:lnTo>
                    <a:pt x="2700" y="1558"/>
                  </a:lnTo>
                  <a:lnTo>
                    <a:pt x="2687" y="1554"/>
                  </a:lnTo>
                  <a:lnTo>
                    <a:pt x="2675" y="1549"/>
                  </a:lnTo>
                  <a:lnTo>
                    <a:pt x="2663" y="1544"/>
                  </a:lnTo>
                  <a:lnTo>
                    <a:pt x="2654" y="1539"/>
                  </a:lnTo>
                  <a:lnTo>
                    <a:pt x="2636" y="1526"/>
                  </a:lnTo>
                  <a:lnTo>
                    <a:pt x="2620" y="1512"/>
                  </a:lnTo>
                  <a:lnTo>
                    <a:pt x="2593" y="1481"/>
                  </a:lnTo>
                  <a:lnTo>
                    <a:pt x="2561" y="1444"/>
                  </a:lnTo>
                  <a:lnTo>
                    <a:pt x="2543" y="1425"/>
                  </a:lnTo>
                  <a:lnTo>
                    <a:pt x="2525" y="1407"/>
                  </a:lnTo>
                  <a:lnTo>
                    <a:pt x="2506" y="1388"/>
                  </a:lnTo>
                  <a:lnTo>
                    <a:pt x="2487" y="1371"/>
                  </a:lnTo>
                  <a:lnTo>
                    <a:pt x="2468" y="1357"/>
                  </a:lnTo>
                  <a:lnTo>
                    <a:pt x="2447" y="1342"/>
                  </a:lnTo>
                  <a:lnTo>
                    <a:pt x="2426" y="1331"/>
                  </a:lnTo>
                  <a:lnTo>
                    <a:pt x="2403" y="1320"/>
                  </a:lnTo>
                  <a:lnTo>
                    <a:pt x="2394" y="1319"/>
                  </a:lnTo>
                  <a:lnTo>
                    <a:pt x="2385" y="1318"/>
                  </a:lnTo>
                  <a:lnTo>
                    <a:pt x="2374" y="1318"/>
                  </a:lnTo>
                  <a:lnTo>
                    <a:pt x="2364" y="1319"/>
                  </a:lnTo>
                  <a:lnTo>
                    <a:pt x="2341" y="1325"/>
                  </a:lnTo>
                  <a:lnTo>
                    <a:pt x="2319" y="1332"/>
                  </a:lnTo>
                  <a:lnTo>
                    <a:pt x="2296" y="1339"/>
                  </a:lnTo>
                  <a:lnTo>
                    <a:pt x="2271" y="1344"/>
                  </a:lnTo>
                  <a:lnTo>
                    <a:pt x="2260" y="1345"/>
                  </a:lnTo>
                  <a:lnTo>
                    <a:pt x="2249" y="1345"/>
                  </a:lnTo>
                  <a:lnTo>
                    <a:pt x="2237" y="1344"/>
                  </a:lnTo>
                  <a:lnTo>
                    <a:pt x="2226" y="1340"/>
                  </a:lnTo>
                  <a:lnTo>
                    <a:pt x="2224" y="1339"/>
                  </a:lnTo>
                  <a:lnTo>
                    <a:pt x="2221" y="1335"/>
                  </a:lnTo>
                  <a:lnTo>
                    <a:pt x="2218" y="1331"/>
                  </a:lnTo>
                  <a:lnTo>
                    <a:pt x="2216" y="1327"/>
                  </a:lnTo>
                  <a:lnTo>
                    <a:pt x="2213" y="1315"/>
                  </a:lnTo>
                  <a:lnTo>
                    <a:pt x="2212" y="1302"/>
                  </a:lnTo>
                  <a:lnTo>
                    <a:pt x="2212" y="1289"/>
                  </a:lnTo>
                  <a:lnTo>
                    <a:pt x="2215" y="1277"/>
                  </a:lnTo>
                  <a:lnTo>
                    <a:pt x="2217" y="1272"/>
                  </a:lnTo>
                  <a:lnTo>
                    <a:pt x="2220" y="1268"/>
                  </a:lnTo>
                  <a:lnTo>
                    <a:pt x="2222" y="1264"/>
                  </a:lnTo>
                  <a:lnTo>
                    <a:pt x="2226" y="1261"/>
                  </a:lnTo>
                  <a:lnTo>
                    <a:pt x="2245" y="1253"/>
                  </a:lnTo>
                  <a:lnTo>
                    <a:pt x="2260" y="1244"/>
                  </a:lnTo>
                  <a:lnTo>
                    <a:pt x="2268" y="1239"/>
                  </a:lnTo>
                  <a:lnTo>
                    <a:pt x="2275" y="1234"/>
                  </a:lnTo>
                  <a:lnTo>
                    <a:pt x="2280" y="1229"/>
                  </a:lnTo>
                  <a:lnTo>
                    <a:pt x="2286" y="1223"/>
                  </a:lnTo>
                  <a:lnTo>
                    <a:pt x="2290" y="1217"/>
                  </a:lnTo>
                  <a:lnTo>
                    <a:pt x="2296" y="1209"/>
                  </a:lnTo>
                  <a:lnTo>
                    <a:pt x="2298" y="1202"/>
                  </a:lnTo>
                  <a:lnTo>
                    <a:pt x="2301" y="1193"/>
                  </a:lnTo>
                  <a:lnTo>
                    <a:pt x="2304" y="1185"/>
                  </a:lnTo>
                  <a:lnTo>
                    <a:pt x="2305" y="1175"/>
                  </a:lnTo>
                  <a:lnTo>
                    <a:pt x="2305" y="1165"/>
                  </a:lnTo>
                  <a:lnTo>
                    <a:pt x="2304" y="1153"/>
                  </a:lnTo>
                  <a:lnTo>
                    <a:pt x="2305" y="1146"/>
                  </a:lnTo>
                  <a:lnTo>
                    <a:pt x="2307" y="1138"/>
                  </a:lnTo>
                  <a:lnTo>
                    <a:pt x="2313" y="1131"/>
                  </a:lnTo>
                  <a:lnTo>
                    <a:pt x="2321" y="1123"/>
                  </a:lnTo>
                  <a:lnTo>
                    <a:pt x="2338" y="1107"/>
                  </a:lnTo>
                  <a:lnTo>
                    <a:pt x="2360" y="1090"/>
                  </a:lnTo>
                  <a:lnTo>
                    <a:pt x="2383" y="1074"/>
                  </a:lnTo>
                  <a:lnTo>
                    <a:pt x="2406" y="1061"/>
                  </a:lnTo>
                  <a:lnTo>
                    <a:pt x="2425" y="1051"/>
                  </a:lnTo>
                  <a:lnTo>
                    <a:pt x="2438" y="1044"/>
                  </a:lnTo>
                  <a:lnTo>
                    <a:pt x="2488" y="1029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kern="0">
                <a:solidFill>
                  <a:sysClr val="windowText" lastClr="000000"/>
                </a:solidFill>
                <a:latin typeface="Calibri"/>
                <a:ea typeface="ＭＳ Ｐゴシック" pitchFamily="-97" charset="-128"/>
              </a:endParaRPr>
            </a:p>
          </p:txBody>
        </p:sp>
        <p:sp>
          <p:nvSpPr>
            <p:cNvPr id="624" name="Freeform 30"/>
            <p:cNvSpPr>
              <a:spLocks/>
            </p:cNvSpPr>
            <p:nvPr/>
          </p:nvSpPr>
          <p:spPr bwMode="auto">
            <a:xfrm>
              <a:off x="5895975" y="1479550"/>
              <a:ext cx="923925" cy="1211263"/>
            </a:xfrm>
            <a:custGeom>
              <a:avLst/>
              <a:gdLst/>
              <a:ahLst/>
              <a:cxnLst>
                <a:cxn ang="0">
                  <a:pos x="1312" y="162"/>
                </a:cxn>
                <a:cxn ang="0">
                  <a:pos x="1231" y="231"/>
                </a:cxn>
                <a:cxn ang="0">
                  <a:pos x="1289" y="292"/>
                </a:cxn>
                <a:cxn ang="0">
                  <a:pos x="1425" y="431"/>
                </a:cxn>
                <a:cxn ang="0">
                  <a:pos x="1541" y="443"/>
                </a:cxn>
                <a:cxn ang="0">
                  <a:pos x="1702" y="388"/>
                </a:cxn>
                <a:cxn ang="0">
                  <a:pos x="1801" y="367"/>
                </a:cxn>
                <a:cxn ang="0">
                  <a:pos x="1816" y="574"/>
                </a:cxn>
                <a:cxn ang="0">
                  <a:pos x="1728" y="646"/>
                </a:cxn>
                <a:cxn ang="0">
                  <a:pos x="1546" y="616"/>
                </a:cxn>
                <a:cxn ang="0">
                  <a:pos x="1791" y="812"/>
                </a:cxn>
                <a:cxn ang="0">
                  <a:pos x="1968" y="914"/>
                </a:cxn>
                <a:cxn ang="0">
                  <a:pos x="1964" y="1099"/>
                </a:cxn>
                <a:cxn ang="0">
                  <a:pos x="2161" y="1176"/>
                </a:cxn>
                <a:cxn ang="0">
                  <a:pos x="2161" y="1524"/>
                </a:cxn>
                <a:cxn ang="0">
                  <a:pos x="2305" y="1677"/>
                </a:cxn>
                <a:cxn ang="0">
                  <a:pos x="2185" y="1852"/>
                </a:cxn>
                <a:cxn ang="0">
                  <a:pos x="2391" y="2088"/>
                </a:cxn>
                <a:cxn ang="0">
                  <a:pos x="2503" y="2330"/>
                </a:cxn>
                <a:cxn ang="0">
                  <a:pos x="2395" y="2463"/>
                </a:cxn>
                <a:cxn ang="0">
                  <a:pos x="2348" y="2562"/>
                </a:cxn>
                <a:cxn ang="0">
                  <a:pos x="2352" y="2660"/>
                </a:cxn>
                <a:cxn ang="0">
                  <a:pos x="2325" y="2692"/>
                </a:cxn>
                <a:cxn ang="0">
                  <a:pos x="2176" y="2732"/>
                </a:cxn>
                <a:cxn ang="0">
                  <a:pos x="2066" y="2790"/>
                </a:cxn>
                <a:cxn ang="0">
                  <a:pos x="1917" y="2787"/>
                </a:cxn>
                <a:cxn ang="0">
                  <a:pos x="1771" y="2811"/>
                </a:cxn>
                <a:cxn ang="0">
                  <a:pos x="1761" y="2844"/>
                </a:cxn>
                <a:cxn ang="0">
                  <a:pos x="1332" y="3130"/>
                </a:cxn>
                <a:cxn ang="0">
                  <a:pos x="1193" y="3237"/>
                </a:cxn>
                <a:cxn ang="0">
                  <a:pos x="1021" y="3048"/>
                </a:cxn>
                <a:cxn ang="0">
                  <a:pos x="848" y="2948"/>
                </a:cxn>
                <a:cxn ang="0">
                  <a:pos x="442" y="3001"/>
                </a:cxn>
                <a:cxn ang="0">
                  <a:pos x="237" y="2834"/>
                </a:cxn>
                <a:cxn ang="0">
                  <a:pos x="128" y="2517"/>
                </a:cxn>
                <a:cxn ang="0">
                  <a:pos x="350" y="2336"/>
                </a:cxn>
                <a:cxn ang="0">
                  <a:pos x="244" y="2301"/>
                </a:cxn>
                <a:cxn ang="0">
                  <a:pos x="200" y="2056"/>
                </a:cxn>
                <a:cxn ang="0">
                  <a:pos x="40" y="1886"/>
                </a:cxn>
                <a:cxn ang="0">
                  <a:pos x="97" y="1695"/>
                </a:cxn>
                <a:cxn ang="0">
                  <a:pos x="45" y="1491"/>
                </a:cxn>
                <a:cxn ang="0">
                  <a:pos x="0" y="1274"/>
                </a:cxn>
                <a:cxn ang="0">
                  <a:pos x="143" y="1118"/>
                </a:cxn>
                <a:cxn ang="0">
                  <a:pos x="287" y="888"/>
                </a:cxn>
                <a:cxn ang="0">
                  <a:pos x="537" y="782"/>
                </a:cxn>
                <a:cxn ang="0">
                  <a:pos x="444" y="658"/>
                </a:cxn>
                <a:cxn ang="0">
                  <a:pos x="644" y="502"/>
                </a:cxn>
                <a:cxn ang="0">
                  <a:pos x="807" y="551"/>
                </a:cxn>
                <a:cxn ang="0">
                  <a:pos x="826" y="666"/>
                </a:cxn>
                <a:cxn ang="0">
                  <a:pos x="705" y="851"/>
                </a:cxn>
                <a:cxn ang="0">
                  <a:pos x="854" y="863"/>
                </a:cxn>
                <a:cxn ang="0">
                  <a:pos x="909" y="743"/>
                </a:cxn>
                <a:cxn ang="0">
                  <a:pos x="967" y="656"/>
                </a:cxn>
                <a:cxn ang="0">
                  <a:pos x="966" y="537"/>
                </a:cxn>
                <a:cxn ang="0">
                  <a:pos x="1030" y="411"/>
                </a:cxn>
                <a:cxn ang="0">
                  <a:pos x="1065" y="450"/>
                </a:cxn>
                <a:cxn ang="0">
                  <a:pos x="1043" y="213"/>
                </a:cxn>
                <a:cxn ang="0">
                  <a:pos x="1123" y="135"/>
                </a:cxn>
                <a:cxn ang="0">
                  <a:pos x="1219" y="176"/>
                </a:cxn>
                <a:cxn ang="0">
                  <a:pos x="1274" y="16"/>
                </a:cxn>
                <a:cxn ang="0">
                  <a:pos x="1370" y="0"/>
                </a:cxn>
                <a:cxn ang="0">
                  <a:pos x="1427" y="112"/>
                </a:cxn>
              </a:cxnLst>
              <a:rect l="0" t="0" r="r" b="b"/>
              <a:pathLst>
                <a:path w="2510" h="3294">
                  <a:moveTo>
                    <a:pt x="1436" y="153"/>
                  </a:moveTo>
                  <a:lnTo>
                    <a:pt x="1434" y="155"/>
                  </a:lnTo>
                  <a:lnTo>
                    <a:pt x="1433" y="157"/>
                  </a:lnTo>
                  <a:lnTo>
                    <a:pt x="1430" y="157"/>
                  </a:lnTo>
                  <a:lnTo>
                    <a:pt x="1429" y="157"/>
                  </a:lnTo>
                  <a:lnTo>
                    <a:pt x="1429" y="158"/>
                  </a:lnTo>
                  <a:lnTo>
                    <a:pt x="1427" y="161"/>
                  </a:lnTo>
                  <a:lnTo>
                    <a:pt x="1425" y="162"/>
                  </a:lnTo>
                  <a:lnTo>
                    <a:pt x="1421" y="163"/>
                  </a:lnTo>
                  <a:lnTo>
                    <a:pt x="1418" y="162"/>
                  </a:lnTo>
                  <a:lnTo>
                    <a:pt x="1410" y="159"/>
                  </a:lnTo>
                  <a:lnTo>
                    <a:pt x="1401" y="154"/>
                  </a:lnTo>
                  <a:lnTo>
                    <a:pt x="1384" y="142"/>
                  </a:lnTo>
                  <a:lnTo>
                    <a:pt x="1375" y="137"/>
                  </a:lnTo>
                  <a:lnTo>
                    <a:pt x="1372" y="137"/>
                  </a:lnTo>
                  <a:lnTo>
                    <a:pt x="1367" y="136"/>
                  </a:lnTo>
                  <a:lnTo>
                    <a:pt x="1362" y="135"/>
                  </a:lnTo>
                  <a:lnTo>
                    <a:pt x="1359" y="133"/>
                  </a:lnTo>
                  <a:lnTo>
                    <a:pt x="1357" y="133"/>
                  </a:lnTo>
                  <a:lnTo>
                    <a:pt x="1348" y="138"/>
                  </a:lnTo>
                  <a:lnTo>
                    <a:pt x="1331" y="150"/>
                  </a:lnTo>
                  <a:lnTo>
                    <a:pt x="1312" y="162"/>
                  </a:lnTo>
                  <a:lnTo>
                    <a:pt x="1302" y="167"/>
                  </a:lnTo>
                  <a:lnTo>
                    <a:pt x="1299" y="169"/>
                  </a:lnTo>
                  <a:lnTo>
                    <a:pt x="1298" y="170"/>
                  </a:lnTo>
                  <a:lnTo>
                    <a:pt x="1297" y="170"/>
                  </a:lnTo>
                  <a:lnTo>
                    <a:pt x="1295" y="171"/>
                  </a:lnTo>
                  <a:lnTo>
                    <a:pt x="1293" y="172"/>
                  </a:lnTo>
                  <a:lnTo>
                    <a:pt x="1290" y="174"/>
                  </a:lnTo>
                  <a:lnTo>
                    <a:pt x="1286" y="175"/>
                  </a:lnTo>
                  <a:lnTo>
                    <a:pt x="1282" y="176"/>
                  </a:lnTo>
                  <a:lnTo>
                    <a:pt x="1278" y="178"/>
                  </a:lnTo>
                  <a:lnTo>
                    <a:pt x="1274" y="180"/>
                  </a:lnTo>
                  <a:lnTo>
                    <a:pt x="1273" y="180"/>
                  </a:lnTo>
                  <a:lnTo>
                    <a:pt x="1272" y="180"/>
                  </a:lnTo>
                  <a:lnTo>
                    <a:pt x="1269" y="182"/>
                  </a:lnTo>
                  <a:lnTo>
                    <a:pt x="1266" y="183"/>
                  </a:lnTo>
                  <a:lnTo>
                    <a:pt x="1260" y="189"/>
                  </a:lnTo>
                  <a:lnTo>
                    <a:pt x="1248" y="203"/>
                  </a:lnTo>
                  <a:lnTo>
                    <a:pt x="1236" y="217"/>
                  </a:lnTo>
                  <a:lnTo>
                    <a:pt x="1231" y="224"/>
                  </a:lnTo>
                  <a:lnTo>
                    <a:pt x="1230" y="227"/>
                  </a:lnTo>
                  <a:lnTo>
                    <a:pt x="1230" y="229"/>
                  </a:lnTo>
                  <a:lnTo>
                    <a:pt x="1231" y="231"/>
                  </a:lnTo>
                  <a:lnTo>
                    <a:pt x="1234" y="233"/>
                  </a:lnTo>
                  <a:lnTo>
                    <a:pt x="1242" y="235"/>
                  </a:lnTo>
                  <a:lnTo>
                    <a:pt x="1253" y="241"/>
                  </a:lnTo>
                  <a:lnTo>
                    <a:pt x="1260" y="244"/>
                  </a:lnTo>
                  <a:lnTo>
                    <a:pt x="1265" y="247"/>
                  </a:lnTo>
                  <a:lnTo>
                    <a:pt x="1269" y="250"/>
                  </a:lnTo>
                  <a:lnTo>
                    <a:pt x="1270" y="252"/>
                  </a:lnTo>
                  <a:lnTo>
                    <a:pt x="1272" y="256"/>
                  </a:lnTo>
                  <a:lnTo>
                    <a:pt x="1274" y="260"/>
                  </a:lnTo>
                  <a:lnTo>
                    <a:pt x="1276" y="264"/>
                  </a:lnTo>
                  <a:lnTo>
                    <a:pt x="1277" y="269"/>
                  </a:lnTo>
                  <a:lnTo>
                    <a:pt x="1278" y="271"/>
                  </a:lnTo>
                  <a:lnTo>
                    <a:pt x="1278" y="272"/>
                  </a:lnTo>
                  <a:lnTo>
                    <a:pt x="1281" y="272"/>
                  </a:lnTo>
                  <a:lnTo>
                    <a:pt x="1283" y="272"/>
                  </a:lnTo>
                  <a:lnTo>
                    <a:pt x="1285" y="275"/>
                  </a:lnTo>
                  <a:lnTo>
                    <a:pt x="1285" y="277"/>
                  </a:lnTo>
                  <a:lnTo>
                    <a:pt x="1286" y="281"/>
                  </a:lnTo>
                  <a:lnTo>
                    <a:pt x="1286" y="281"/>
                  </a:lnTo>
                  <a:lnTo>
                    <a:pt x="1287" y="281"/>
                  </a:lnTo>
                  <a:lnTo>
                    <a:pt x="1287" y="286"/>
                  </a:lnTo>
                  <a:lnTo>
                    <a:pt x="1289" y="292"/>
                  </a:lnTo>
                  <a:lnTo>
                    <a:pt x="1291" y="295"/>
                  </a:lnTo>
                  <a:lnTo>
                    <a:pt x="1295" y="303"/>
                  </a:lnTo>
                  <a:lnTo>
                    <a:pt x="1298" y="315"/>
                  </a:lnTo>
                  <a:lnTo>
                    <a:pt x="1302" y="327"/>
                  </a:lnTo>
                  <a:lnTo>
                    <a:pt x="1307" y="341"/>
                  </a:lnTo>
                  <a:lnTo>
                    <a:pt x="1314" y="354"/>
                  </a:lnTo>
                  <a:lnTo>
                    <a:pt x="1321" y="367"/>
                  </a:lnTo>
                  <a:lnTo>
                    <a:pt x="1331" y="378"/>
                  </a:lnTo>
                  <a:lnTo>
                    <a:pt x="1374" y="421"/>
                  </a:lnTo>
                  <a:lnTo>
                    <a:pt x="1374" y="424"/>
                  </a:lnTo>
                  <a:lnTo>
                    <a:pt x="1379" y="428"/>
                  </a:lnTo>
                  <a:lnTo>
                    <a:pt x="1384" y="433"/>
                  </a:lnTo>
                  <a:lnTo>
                    <a:pt x="1384" y="435"/>
                  </a:lnTo>
                  <a:lnTo>
                    <a:pt x="1387" y="438"/>
                  </a:lnTo>
                  <a:lnTo>
                    <a:pt x="1391" y="441"/>
                  </a:lnTo>
                  <a:lnTo>
                    <a:pt x="1392" y="441"/>
                  </a:lnTo>
                  <a:lnTo>
                    <a:pt x="1404" y="441"/>
                  </a:lnTo>
                  <a:lnTo>
                    <a:pt x="1412" y="438"/>
                  </a:lnTo>
                  <a:lnTo>
                    <a:pt x="1417" y="435"/>
                  </a:lnTo>
                  <a:lnTo>
                    <a:pt x="1421" y="430"/>
                  </a:lnTo>
                  <a:lnTo>
                    <a:pt x="1422" y="430"/>
                  </a:lnTo>
                  <a:lnTo>
                    <a:pt x="1425" y="431"/>
                  </a:lnTo>
                  <a:lnTo>
                    <a:pt x="1425" y="431"/>
                  </a:lnTo>
                  <a:lnTo>
                    <a:pt x="1426" y="433"/>
                  </a:lnTo>
                  <a:lnTo>
                    <a:pt x="1427" y="433"/>
                  </a:lnTo>
                  <a:lnTo>
                    <a:pt x="1427" y="433"/>
                  </a:lnTo>
                  <a:lnTo>
                    <a:pt x="1430" y="435"/>
                  </a:lnTo>
                  <a:lnTo>
                    <a:pt x="1433" y="435"/>
                  </a:lnTo>
                  <a:lnTo>
                    <a:pt x="1442" y="438"/>
                  </a:lnTo>
                  <a:lnTo>
                    <a:pt x="1452" y="438"/>
                  </a:lnTo>
                  <a:lnTo>
                    <a:pt x="1459" y="438"/>
                  </a:lnTo>
                  <a:lnTo>
                    <a:pt x="1464" y="437"/>
                  </a:lnTo>
                  <a:lnTo>
                    <a:pt x="1470" y="434"/>
                  </a:lnTo>
                  <a:lnTo>
                    <a:pt x="1477" y="430"/>
                  </a:lnTo>
                  <a:lnTo>
                    <a:pt x="1481" y="429"/>
                  </a:lnTo>
                  <a:lnTo>
                    <a:pt x="1485" y="428"/>
                  </a:lnTo>
                  <a:lnTo>
                    <a:pt x="1487" y="428"/>
                  </a:lnTo>
                  <a:lnTo>
                    <a:pt x="1491" y="428"/>
                  </a:lnTo>
                  <a:lnTo>
                    <a:pt x="1498" y="429"/>
                  </a:lnTo>
                  <a:lnTo>
                    <a:pt x="1506" y="433"/>
                  </a:lnTo>
                  <a:lnTo>
                    <a:pt x="1514" y="435"/>
                  </a:lnTo>
                  <a:lnTo>
                    <a:pt x="1522" y="439"/>
                  </a:lnTo>
                  <a:lnTo>
                    <a:pt x="1531" y="442"/>
                  </a:lnTo>
                  <a:lnTo>
                    <a:pt x="1541" y="443"/>
                  </a:lnTo>
                  <a:lnTo>
                    <a:pt x="1553" y="450"/>
                  </a:lnTo>
                  <a:lnTo>
                    <a:pt x="1565" y="456"/>
                  </a:lnTo>
                  <a:lnTo>
                    <a:pt x="1584" y="448"/>
                  </a:lnTo>
                  <a:lnTo>
                    <a:pt x="1601" y="441"/>
                  </a:lnTo>
                  <a:lnTo>
                    <a:pt x="1603" y="441"/>
                  </a:lnTo>
                  <a:lnTo>
                    <a:pt x="1603" y="441"/>
                  </a:lnTo>
                  <a:lnTo>
                    <a:pt x="1603" y="439"/>
                  </a:lnTo>
                  <a:lnTo>
                    <a:pt x="1604" y="438"/>
                  </a:lnTo>
                  <a:lnTo>
                    <a:pt x="1605" y="438"/>
                  </a:lnTo>
                  <a:lnTo>
                    <a:pt x="1620" y="429"/>
                  </a:lnTo>
                  <a:lnTo>
                    <a:pt x="1633" y="418"/>
                  </a:lnTo>
                  <a:lnTo>
                    <a:pt x="1633" y="417"/>
                  </a:lnTo>
                  <a:lnTo>
                    <a:pt x="1638" y="413"/>
                  </a:lnTo>
                  <a:lnTo>
                    <a:pt x="1643" y="411"/>
                  </a:lnTo>
                  <a:lnTo>
                    <a:pt x="1648" y="408"/>
                  </a:lnTo>
                  <a:lnTo>
                    <a:pt x="1654" y="405"/>
                  </a:lnTo>
                  <a:lnTo>
                    <a:pt x="1664" y="403"/>
                  </a:lnTo>
                  <a:lnTo>
                    <a:pt x="1675" y="401"/>
                  </a:lnTo>
                  <a:lnTo>
                    <a:pt x="1685" y="399"/>
                  </a:lnTo>
                  <a:lnTo>
                    <a:pt x="1694" y="395"/>
                  </a:lnTo>
                  <a:lnTo>
                    <a:pt x="1698" y="392"/>
                  </a:lnTo>
                  <a:lnTo>
                    <a:pt x="1702" y="388"/>
                  </a:lnTo>
                  <a:lnTo>
                    <a:pt x="1705" y="383"/>
                  </a:lnTo>
                  <a:lnTo>
                    <a:pt x="1709" y="377"/>
                  </a:lnTo>
                  <a:lnTo>
                    <a:pt x="1712" y="361"/>
                  </a:lnTo>
                  <a:lnTo>
                    <a:pt x="1715" y="345"/>
                  </a:lnTo>
                  <a:lnTo>
                    <a:pt x="1718" y="337"/>
                  </a:lnTo>
                  <a:lnTo>
                    <a:pt x="1719" y="329"/>
                  </a:lnTo>
                  <a:lnTo>
                    <a:pt x="1723" y="323"/>
                  </a:lnTo>
                  <a:lnTo>
                    <a:pt x="1727" y="318"/>
                  </a:lnTo>
                  <a:lnTo>
                    <a:pt x="1731" y="315"/>
                  </a:lnTo>
                  <a:lnTo>
                    <a:pt x="1739" y="312"/>
                  </a:lnTo>
                  <a:lnTo>
                    <a:pt x="1748" y="311"/>
                  </a:lnTo>
                  <a:lnTo>
                    <a:pt x="1758" y="310"/>
                  </a:lnTo>
                  <a:lnTo>
                    <a:pt x="1769" y="310"/>
                  </a:lnTo>
                  <a:lnTo>
                    <a:pt x="1778" y="310"/>
                  </a:lnTo>
                  <a:lnTo>
                    <a:pt x="1784" y="311"/>
                  </a:lnTo>
                  <a:lnTo>
                    <a:pt x="1788" y="314"/>
                  </a:lnTo>
                  <a:lnTo>
                    <a:pt x="1792" y="320"/>
                  </a:lnTo>
                  <a:lnTo>
                    <a:pt x="1795" y="328"/>
                  </a:lnTo>
                  <a:lnTo>
                    <a:pt x="1797" y="335"/>
                  </a:lnTo>
                  <a:lnTo>
                    <a:pt x="1799" y="343"/>
                  </a:lnTo>
                  <a:lnTo>
                    <a:pt x="1800" y="356"/>
                  </a:lnTo>
                  <a:lnTo>
                    <a:pt x="1801" y="367"/>
                  </a:lnTo>
                  <a:lnTo>
                    <a:pt x="1803" y="373"/>
                  </a:lnTo>
                  <a:lnTo>
                    <a:pt x="1804" y="378"/>
                  </a:lnTo>
                  <a:lnTo>
                    <a:pt x="1808" y="382"/>
                  </a:lnTo>
                  <a:lnTo>
                    <a:pt x="1812" y="387"/>
                  </a:lnTo>
                  <a:lnTo>
                    <a:pt x="1818" y="390"/>
                  </a:lnTo>
                  <a:lnTo>
                    <a:pt x="1828" y="394"/>
                  </a:lnTo>
                  <a:lnTo>
                    <a:pt x="1838" y="396"/>
                  </a:lnTo>
                  <a:lnTo>
                    <a:pt x="1850" y="397"/>
                  </a:lnTo>
                  <a:lnTo>
                    <a:pt x="1859" y="400"/>
                  </a:lnTo>
                  <a:lnTo>
                    <a:pt x="1866" y="403"/>
                  </a:lnTo>
                  <a:lnTo>
                    <a:pt x="1871" y="407"/>
                  </a:lnTo>
                  <a:lnTo>
                    <a:pt x="1875" y="411"/>
                  </a:lnTo>
                  <a:lnTo>
                    <a:pt x="1877" y="416"/>
                  </a:lnTo>
                  <a:lnTo>
                    <a:pt x="1880" y="422"/>
                  </a:lnTo>
                  <a:lnTo>
                    <a:pt x="1881" y="429"/>
                  </a:lnTo>
                  <a:lnTo>
                    <a:pt x="1881" y="435"/>
                  </a:lnTo>
                  <a:lnTo>
                    <a:pt x="1879" y="451"/>
                  </a:lnTo>
                  <a:lnTo>
                    <a:pt x="1875" y="466"/>
                  </a:lnTo>
                  <a:lnTo>
                    <a:pt x="1869" y="479"/>
                  </a:lnTo>
                  <a:lnTo>
                    <a:pt x="1863" y="490"/>
                  </a:lnTo>
                  <a:lnTo>
                    <a:pt x="1839" y="530"/>
                  </a:lnTo>
                  <a:lnTo>
                    <a:pt x="1816" y="574"/>
                  </a:lnTo>
                  <a:lnTo>
                    <a:pt x="1804" y="596"/>
                  </a:lnTo>
                  <a:lnTo>
                    <a:pt x="1795" y="619"/>
                  </a:lnTo>
                  <a:lnTo>
                    <a:pt x="1792" y="629"/>
                  </a:lnTo>
                  <a:lnTo>
                    <a:pt x="1788" y="639"/>
                  </a:lnTo>
                  <a:lnTo>
                    <a:pt x="1786" y="651"/>
                  </a:lnTo>
                  <a:lnTo>
                    <a:pt x="1784" y="662"/>
                  </a:lnTo>
                  <a:lnTo>
                    <a:pt x="1783" y="667"/>
                  </a:lnTo>
                  <a:lnTo>
                    <a:pt x="1782" y="671"/>
                  </a:lnTo>
                  <a:lnTo>
                    <a:pt x="1779" y="673"/>
                  </a:lnTo>
                  <a:lnTo>
                    <a:pt x="1775" y="676"/>
                  </a:lnTo>
                  <a:lnTo>
                    <a:pt x="1771" y="677"/>
                  </a:lnTo>
                  <a:lnTo>
                    <a:pt x="1767" y="679"/>
                  </a:lnTo>
                  <a:lnTo>
                    <a:pt x="1762" y="679"/>
                  </a:lnTo>
                  <a:lnTo>
                    <a:pt x="1758" y="679"/>
                  </a:lnTo>
                  <a:lnTo>
                    <a:pt x="1749" y="676"/>
                  </a:lnTo>
                  <a:lnTo>
                    <a:pt x="1741" y="672"/>
                  </a:lnTo>
                  <a:lnTo>
                    <a:pt x="1739" y="670"/>
                  </a:lnTo>
                  <a:lnTo>
                    <a:pt x="1736" y="667"/>
                  </a:lnTo>
                  <a:lnTo>
                    <a:pt x="1735" y="664"/>
                  </a:lnTo>
                  <a:lnTo>
                    <a:pt x="1733" y="662"/>
                  </a:lnTo>
                  <a:lnTo>
                    <a:pt x="1732" y="653"/>
                  </a:lnTo>
                  <a:lnTo>
                    <a:pt x="1728" y="646"/>
                  </a:lnTo>
                  <a:lnTo>
                    <a:pt x="1724" y="638"/>
                  </a:lnTo>
                  <a:lnTo>
                    <a:pt x="1719" y="632"/>
                  </a:lnTo>
                  <a:lnTo>
                    <a:pt x="1712" y="626"/>
                  </a:lnTo>
                  <a:lnTo>
                    <a:pt x="1706" y="620"/>
                  </a:lnTo>
                  <a:lnTo>
                    <a:pt x="1698" y="615"/>
                  </a:lnTo>
                  <a:lnTo>
                    <a:pt x="1690" y="611"/>
                  </a:lnTo>
                  <a:lnTo>
                    <a:pt x="1672" y="602"/>
                  </a:lnTo>
                  <a:lnTo>
                    <a:pt x="1654" y="595"/>
                  </a:lnTo>
                  <a:lnTo>
                    <a:pt x="1635" y="588"/>
                  </a:lnTo>
                  <a:lnTo>
                    <a:pt x="1617" y="583"/>
                  </a:lnTo>
                  <a:lnTo>
                    <a:pt x="1599" y="578"/>
                  </a:lnTo>
                  <a:lnTo>
                    <a:pt x="1584" y="575"/>
                  </a:lnTo>
                  <a:lnTo>
                    <a:pt x="1579" y="575"/>
                  </a:lnTo>
                  <a:lnTo>
                    <a:pt x="1575" y="575"/>
                  </a:lnTo>
                  <a:lnTo>
                    <a:pt x="1570" y="577"/>
                  </a:lnTo>
                  <a:lnTo>
                    <a:pt x="1567" y="578"/>
                  </a:lnTo>
                  <a:lnTo>
                    <a:pt x="1563" y="579"/>
                  </a:lnTo>
                  <a:lnTo>
                    <a:pt x="1561" y="583"/>
                  </a:lnTo>
                  <a:lnTo>
                    <a:pt x="1558" y="586"/>
                  </a:lnTo>
                  <a:lnTo>
                    <a:pt x="1557" y="591"/>
                  </a:lnTo>
                  <a:lnTo>
                    <a:pt x="1552" y="602"/>
                  </a:lnTo>
                  <a:lnTo>
                    <a:pt x="1546" y="616"/>
                  </a:lnTo>
                  <a:lnTo>
                    <a:pt x="1542" y="626"/>
                  </a:lnTo>
                  <a:lnTo>
                    <a:pt x="1541" y="637"/>
                  </a:lnTo>
                  <a:lnTo>
                    <a:pt x="1541" y="647"/>
                  </a:lnTo>
                  <a:lnTo>
                    <a:pt x="1542" y="656"/>
                  </a:lnTo>
                  <a:lnTo>
                    <a:pt x="1545" y="664"/>
                  </a:lnTo>
                  <a:lnTo>
                    <a:pt x="1549" y="673"/>
                  </a:lnTo>
                  <a:lnTo>
                    <a:pt x="1553" y="681"/>
                  </a:lnTo>
                  <a:lnTo>
                    <a:pt x="1559" y="689"/>
                  </a:lnTo>
                  <a:lnTo>
                    <a:pt x="1566" y="696"/>
                  </a:lnTo>
                  <a:lnTo>
                    <a:pt x="1575" y="702"/>
                  </a:lnTo>
                  <a:lnTo>
                    <a:pt x="1583" y="709"/>
                  </a:lnTo>
                  <a:lnTo>
                    <a:pt x="1593" y="714"/>
                  </a:lnTo>
                  <a:lnTo>
                    <a:pt x="1613" y="726"/>
                  </a:lnTo>
                  <a:lnTo>
                    <a:pt x="1637" y="736"/>
                  </a:lnTo>
                  <a:lnTo>
                    <a:pt x="1684" y="755"/>
                  </a:lnTo>
                  <a:lnTo>
                    <a:pt x="1729" y="773"/>
                  </a:lnTo>
                  <a:lnTo>
                    <a:pt x="1749" y="782"/>
                  </a:lnTo>
                  <a:lnTo>
                    <a:pt x="1767" y="791"/>
                  </a:lnTo>
                  <a:lnTo>
                    <a:pt x="1775" y="796"/>
                  </a:lnTo>
                  <a:lnTo>
                    <a:pt x="1782" y="802"/>
                  </a:lnTo>
                  <a:lnTo>
                    <a:pt x="1787" y="807"/>
                  </a:lnTo>
                  <a:lnTo>
                    <a:pt x="1791" y="812"/>
                  </a:lnTo>
                  <a:lnTo>
                    <a:pt x="1801" y="825"/>
                  </a:lnTo>
                  <a:lnTo>
                    <a:pt x="1809" y="834"/>
                  </a:lnTo>
                  <a:lnTo>
                    <a:pt x="1814" y="838"/>
                  </a:lnTo>
                  <a:lnTo>
                    <a:pt x="1818" y="841"/>
                  </a:lnTo>
                  <a:lnTo>
                    <a:pt x="1824" y="842"/>
                  </a:lnTo>
                  <a:lnTo>
                    <a:pt x="1829" y="844"/>
                  </a:lnTo>
                  <a:lnTo>
                    <a:pt x="1838" y="844"/>
                  </a:lnTo>
                  <a:lnTo>
                    <a:pt x="1850" y="841"/>
                  </a:lnTo>
                  <a:lnTo>
                    <a:pt x="1862" y="837"/>
                  </a:lnTo>
                  <a:lnTo>
                    <a:pt x="1876" y="830"/>
                  </a:lnTo>
                  <a:lnTo>
                    <a:pt x="1884" y="832"/>
                  </a:lnTo>
                  <a:lnTo>
                    <a:pt x="1900" y="838"/>
                  </a:lnTo>
                  <a:lnTo>
                    <a:pt x="1919" y="849"/>
                  </a:lnTo>
                  <a:lnTo>
                    <a:pt x="1940" y="863"/>
                  </a:lnTo>
                  <a:lnTo>
                    <a:pt x="1949" y="871"/>
                  </a:lnTo>
                  <a:lnTo>
                    <a:pt x="1957" y="879"/>
                  </a:lnTo>
                  <a:lnTo>
                    <a:pt x="1964" y="888"/>
                  </a:lnTo>
                  <a:lnTo>
                    <a:pt x="1968" y="896"/>
                  </a:lnTo>
                  <a:lnTo>
                    <a:pt x="1969" y="901"/>
                  </a:lnTo>
                  <a:lnTo>
                    <a:pt x="1969" y="905"/>
                  </a:lnTo>
                  <a:lnTo>
                    <a:pt x="1969" y="909"/>
                  </a:lnTo>
                  <a:lnTo>
                    <a:pt x="1968" y="914"/>
                  </a:lnTo>
                  <a:lnTo>
                    <a:pt x="1965" y="918"/>
                  </a:lnTo>
                  <a:lnTo>
                    <a:pt x="1962" y="922"/>
                  </a:lnTo>
                  <a:lnTo>
                    <a:pt x="1958" y="926"/>
                  </a:lnTo>
                  <a:lnTo>
                    <a:pt x="1953" y="930"/>
                  </a:lnTo>
                  <a:lnTo>
                    <a:pt x="1940" y="935"/>
                  </a:lnTo>
                  <a:lnTo>
                    <a:pt x="1922" y="939"/>
                  </a:lnTo>
                  <a:lnTo>
                    <a:pt x="1913" y="942"/>
                  </a:lnTo>
                  <a:lnTo>
                    <a:pt x="1906" y="946"/>
                  </a:lnTo>
                  <a:lnTo>
                    <a:pt x="1903" y="947"/>
                  </a:lnTo>
                  <a:lnTo>
                    <a:pt x="1902" y="948"/>
                  </a:lnTo>
                  <a:lnTo>
                    <a:pt x="1901" y="951"/>
                  </a:lnTo>
                  <a:lnTo>
                    <a:pt x="1902" y="952"/>
                  </a:lnTo>
                  <a:lnTo>
                    <a:pt x="1915" y="978"/>
                  </a:lnTo>
                  <a:lnTo>
                    <a:pt x="1928" y="1004"/>
                  </a:lnTo>
                  <a:lnTo>
                    <a:pt x="1935" y="1019"/>
                  </a:lnTo>
                  <a:lnTo>
                    <a:pt x="1939" y="1033"/>
                  </a:lnTo>
                  <a:lnTo>
                    <a:pt x="1943" y="1048"/>
                  </a:lnTo>
                  <a:lnTo>
                    <a:pt x="1945" y="1065"/>
                  </a:lnTo>
                  <a:lnTo>
                    <a:pt x="1948" y="1076"/>
                  </a:lnTo>
                  <a:lnTo>
                    <a:pt x="1952" y="1086"/>
                  </a:lnTo>
                  <a:lnTo>
                    <a:pt x="1957" y="1093"/>
                  </a:lnTo>
                  <a:lnTo>
                    <a:pt x="1964" y="1099"/>
                  </a:lnTo>
                  <a:lnTo>
                    <a:pt x="1971" y="1103"/>
                  </a:lnTo>
                  <a:lnTo>
                    <a:pt x="1979" y="1105"/>
                  </a:lnTo>
                  <a:lnTo>
                    <a:pt x="1990" y="1106"/>
                  </a:lnTo>
                  <a:lnTo>
                    <a:pt x="2000" y="1108"/>
                  </a:lnTo>
                  <a:lnTo>
                    <a:pt x="2022" y="1108"/>
                  </a:lnTo>
                  <a:lnTo>
                    <a:pt x="2046" y="1106"/>
                  </a:lnTo>
                  <a:lnTo>
                    <a:pt x="2058" y="1106"/>
                  </a:lnTo>
                  <a:lnTo>
                    <a:pt x="2070" y="1106"/>
                  </a:lnTo>
                  <a:lnTo>
                    <a:pt x="2081" y="1108"/>
                  </a:lnTo>
                  <a:lnTo>
                    <a:pt x="2092" y="1110"/>
                  </a:lnTo>
                  <a:lnTo>
                    <a:pt x="2114" y="1114"/>
                  </a:lnTo>
                  <a:lnTo>
                    <a:pt x="2138" y="1118"/>
                  </a:lnTo>
                  <a:lnTo>
                    <a:pt x="2149" y="1121"/>
                  </a:lnTo>
                  <a:lnTo>
                    <a:pt x="2158" y="1123"/>
                  </a:lnTo>
                  <a:lnTo>
                    <a:pt x="2164" y="1126"/>
                  </a:lnTo>
                  <a:lnTo>
                    <a:pt x="2168" y="1129"/>
                  </a:lnTo>
                  <a:lnTo>
                    <a:pt x="2170" y="1131"/>
                  </a:lnTo>
                  <a:lnTo>
                    <a:pt x="2173" y="1135"/>
                  </a:lnTo>
                  <a:lnTo>
                    <a:pt x="2172" y="1142"/>
                  </a:lnTo>
                  <a:lnTo>
                    <a:pt x="2168" y="1154"/>
                  </a:lnTo>
                  <a:lnTo>
                    <a:pt x="2164" y="1167"/>
                  </a:lnTo>
                  <a:lnTo>
                    <a:pt x="2161" y="1176"/>
                  </a:lnTo>
                  <a:lnTo>
                    <a:pt x="2162" y="1189"/>
                  </a:lnTo>
                  <a:lnTo>
                    <a:pt x="2164" y="1202"/>
                  </a:lnTo>
                  <a:lnTo>
                    <a:pt x="2165" y="1215"/>
                  </a:lnTo>
                  <a:lnTo>
                    <a:pt x="2166" y="1228"/>
                  </a:lnTo>
                  <a:lnTo>
                    <a:pt x="2165" y="1252"/>
                  </a:lnTo>
                  <a:lnTo>
                    <a:pt x="2162" y="1275"/>
                  </a:lnTo>
                  <a:lnTo>
                    <a:pt x="2158" y="1301"/>
                  </a:lnTo>
                  <a:lnTo>
                    <a:pt x="2153" y="1328"/>
                  </a:lnTo>
                  <a:lnTo>
                    <a:pt x="2147" y="1352"/>
                  </a:lnTo>
                  <a:lnTo>
                    <a:pt x="2138" y="1376"/>
                  </a:lnTo>
                  <a:lnTo>
                    <a:pt x="2132" y="1388"/>
                  </a:lnTo>
                  <a:lnTo>
                    <a:pt x="2127" y="1398"/>
                  </a:lnTo>
                  <a:lnTo>
                    <a:pt x="2122" y="1409"/>
                  </a:lnTo>
                  <a:lnTo>
                    <a:pt x="2115" y="1418"/>
                  </a:lnTo>
                  <a:lnTo>
                    <a:pt x="2113" y="1422"/>
                  </a:lnTo>
                  <a:lnTo>
                    <a:pt x="2113" y="1427"/>
                  </a:lnTo>
                  <a:lnTo>
                    <a:pt x="2113" y="1433"/>
                  </a:lnTo>
                  <a:lnTo>
                    <a:pt x="2114" y="1440"/>
                  </a:lnTo>
                  <a:lnTo>
                    <a:pt x="2119" y="1454"/>
                  </a:lnTo>
                  <a:lnTo>
                    <a:pt x="2127" y="1470"/>
                  </a:lnTo>
                  <a:lnTo>
                    <a:pt x="2145" y="1500"/>
                  </a:lnTo>
                  <a:lnTo>
                    <a:pt x="2161" y="1524"/>
                  </a:lnTo>
                  <a:lnTo>
                    <a:pt x="2166" y="1536"/>
                  </a:lnTo>
                  <a:lnTo>
                    <a:pt x="2172" y="1546"/>
                  </a:lnTo>
                  <a:lnTo>
                    <a:pt x="2176" y="1556"/>
                  </a:lnTo>
                  <a:lnTo>
                    <a:pt x="2179" y="1567"/>
                  </a:lnTo>
                  <a:lnTo>
                    <a:pt x="2185" y="1589"/>
                  </a:lnTo>
                  <a:lnTo>
                    <a:pt x="2194" y="1610"/>
                  </a:lnTo>
                  <a:lnTo>
                    <a:pt x="2199" y="1618"/>
                  </a:lnTo>
                  <a:lnTo>
                    <a:pt x="2206" y="1624"/>
                  </a:lnTo>
                  <a:lnTo>
                    <a:pt x="2212" y="1631"/>
                  </a:lnTo>
                  <a:lnTo>
                    <a:pt x="2220" y="1635"/>
                  </a:lnTo>
                  <a:lnTo>
                    <a:pt x="2236" y="1640"/>
                  </a:lnTo>
                  <a:lnTo>
                    <a:pt x="2253" y="1643"/>
                  </a:lnTo>
                  <a:lnTo>
                    <a:pt x="2270" y="1645"/>
                  </a:lnTo>
                  <a:lnTo>
                    <a:pt x="2284" y="1648"/>
                  </a:lnTo>
                  <a:lnTo>
                    <a:pt x="2291" y="1651"/>
                  </a:lnTo>
                  <a:lnTo>
                    <a:pt x="2297" y="1655"/>
                  </a:lnTo>
                  <a:lnTo>
                    <a:pt x="2302" y="1658"/>
                  </a:lnTo>
                  <a:lnTo>
                    <a:pt x="2305" y="1664"/>
                  </a:lnTo>
                  <a:lnTo>
                    <a:pt x="2308" y="1669"/>
                  </a:lnTo>
                  <a:lnTo>
                    <a:pt x="2308" y="1672"/>
                  </a:lnTo>
                  <a:lnTo>
                    <a:pt x="2306" y="1675"/>
                  </a:lnTo>
                  <a:lnTo>
                    <a:pt x="2305" y="1677"/>
                  </a:lnTo>
                  <a:lnTo>
                    <a:pt x="2300" y="1681"/>
                  </a:lnTo>
                  <a:lnTo>
                    <a:pt x="2292" y="1683"/>
                  </a:lnTo>
                  <a:lnTo>
                    <a:pt x="2275" y="1685"/>
                  </a:lnTo>
                  <a:lnTo>
                    <a:pt x="2261" y="1685"/>
                  </a:lnTo>
                  <a:lnTo>
                    <a:pt x="2246" y="1686"/>
                  </a:lnTo>
                  <a:lnTo>
                    <a:pt x="2236" y="1687"/>
                  </a:lnTo>
                  <a:lnTo>
                    <a:pt x="2228" y="1690"/>
                  </a:lnTo>
                  <a:lnTo>
                    <a:pt x="2224" y="1694"/>
                  </a:lnTo>
                  <a:lnTo>
                    <a:pt x="2221" y="1698"/>
                  </a:lnTo>
                  <a:lnTo>
                    <a:pt x="2221" y="1703"/>
                  </a:lnTo>
                  <a:lnTo>
                    <a:pt x="2220" y="1711"/>
                  </a:lnTo>
                  <a:lnTo>
                    <a:pt x="2220" y="1720"/>
                  </a:lnTo>
                  <a:lnTo>
                    <a:pt x="2219" y="1749"/>
                  </a:lnTo>
                  <a:lnTo>
                    <a:pt x="2219" y="1770"/>
                  </a:lnTo>
                  <a:lnTo>
                    <a:pt x="2217" y="1779"/>
                  </a:lnTo>
                  <a:lnTo>
                    <a:pt x="2216" y="1789"/>
                  </a:lnTo>
                  <a:lnTo>
                    <a:pt x="2212" y="1801"/>
                  </a:lnTo>
                  <a:lnTo>
                    <a:pt x="2207" y="1814"/>
                  </a:lnTo>
                  <a:lnTo>
                    <a:pt x="2200" y="1825"/>
                  </a:lnTo>
                  <a:lnTo>
                    <a:pt x="2191" y="1838"/>
                  </a:lnTo>
                  <a:lnTo>
                    <a:pt x="2187" y="1844"/>
                  </a:lnTo>
                  <a:lnTo>
                    <a:pt x="2185" y="1852"/>
                  </a:lnTo>
                  <a:lnTo>
                    <a:pt x="2185" y="1855"/>
                  </a:lnTo>
                  <a:lnTo>
                    <a:pt x="2185" y="1859"/>
                  </a:lnTo>
                  <a:lnTo>
                    <a:pt x="2186" y="1861"/>
                  </a:lnTo>
                  <a:lnTo>
                    <a:pt x="2187" y="1864"/>
                  </a:lnTo>
                  <a:lnTo>
                    <a:pt x="2196" y="1869"/>
                  </a:lnTo>
                  <a:lnTo>
                    <a:pt x="2206" y="1873"/>
                  </a:lnTo>
                  <a:lnTo>
                    <a:pt x="2216" y="1876"/>
                  </a:lnTo>
                  <a:lnTo>
                    <a:pt x="2228" y="1878"/>
                  </a:lnTo>
                  <a:lnTo>
                    <a:pt x="2241" y="1881"/>
                  </a:lnTo>
                  <a:lnTo>
                    <a:pt x="2253" y="1885"/>
                  </a:lnTo>
                  <a:lnTo>
                    <a:pt x="2258" y="1886"/>
                  </a:lnTo>
                  <a:lnTo>
                    <a:pt x="2264" y="1890"/>
                  </a:lnTo>
                  <a:lnTo>
                    <a:pt x="2270" y="1894"/>
                  </a:lnTo>
                  <a:lnTo>
                    <a:pt x="2275" y="1898"/>
                  </a:lnTo>
                  <a:lnTo>
                    <a:pt x="2289" y="1912"/>
                  </a:lnTo>
                  <a:lnTo>
                    <a:pt x="2304" y="1928"/>
                  </a:lnTo>
                  <a:lnTo>
                    <a:pt x="2318" y="1942"/>
                  </a:lnTo>
                  <a:lnTo>
                    <a:pt x="2331" y="1957"/>
                  </a:lnTo>
                  <a:lnTo>
                    <a:pt x="2374" y="2004"/>
                  </a:lnTo>
                  <a:lnTo>
                    <a:pt x="2386" y="2071"/>
                  </a:lnTo>
                  <a:lnTo>
                    <a:pt x="2389" y="2081"/>
                  </a:lnTo>
                  <a:lnTo>
                    <a:pt x="2391" y="2088"/>
                  </a:lnTo>
                  <a:lnTo>
                    <a:pt x="2394" y="2094"/>
                  </a:lnTo>
                  <a:lnTo>
                    <a:pt x="2397" y="2098"/>
                  </a:lnTo>
                  <a:lnTo>
                    <a:pt x="2403" y="2107"/>
                  </a:lnTo>
                  <a:lnTo>
                    <a:pt x="2412" y="2122"/>
                  </a:lnTo>
                  <a:lnTo>
                    <a:pt x="2419" y="2131"/>
                  </a:lnTo>
                  <a:lnTo>
                    <a:pt x="2427" y="2139"/>
                  </a:lnTo>
                  <a:lnTo>
                    <a:pt x="2436" y="2145"/>
                  </a:lnTo>
                  <a:lnTo>
                    <a:pt x="2445" y="2150"/>
                  </a:lnTo>
                  <a:lnTo>
                    <a:pt x="2454" y="2158"/>
                  </a:lnTo>
                  <a:lnTo>
                    <a:pt x="2463" y="2167"/>
                  </a:lnTo>
                  <a:lnTo>
                    <a:pt x="2467" y="2173"/>
                  </a:lnTo>
                  <a:lnTo>
                    <a:pt x="2470" y="2179"/>
                  </a:lnTo>
                  <a:lnTo>
                    <a:pt x="2474" y="2187"/>
                  </a:lnTo>
                  <a:lnTo>
                    <a:pt x="2476" y="2195"/>
                  </a:lnTo>
                  <a:lnTo>
                    <a:pt x="2479" y="2213"/>
                  </a:lnTo>
                  <a:lnTo>
                    <a:pt x="2480" y="2234"/>
                  </a:lnTo>
                  <a:lnTo>
                    <a:pt x="2480" y="2255"/>
                  </a:lnTo>
                  <a:lnTo>
                    <a:pt x="2480" y="2273"/>
                  </a:lnTo>
                  <a:lnTo>
                    <a:pt x="2484" y="2289"/>
                  </a:lnTo>
                  <a:lnTo>
                    <a:pt x="2489" y="2302"/>
                  </a:lnTo>
                  <a:lnTo>
                    <a:pt x="2496" y="2316"/>
                  </a:lnTo>
                  <a:lnTo>
                    <a:pt x="2503" y="2330"/>
                  </a:lnTo>
                  <a:lnTo>
                    <a:pt x="2508" y="2344"/>
                  </a:lnTo>
                  <a:lnTo>
                    <a:pt x="2510" y="2357"/>
                  </a:lnTo>
                  <a:lnTo>
                    <a:pt x="2510" y="2364"/>
                  </a:lnTo>
                  <a:lnTo>
                    <a:pt x="2510" y="2370"/>
                  </a:lnTo>
                  <a:lnTo>
                    <a:pt x="2508" y="2378"/>
                  </a:lnTo>
                  <a:lnTo>
                    <a:pt x="2505" y="2384"/>
                  </a:lnTo>
                  <a:lnTo>
                    <a:pt x="2497" y="2401"/>
                  </a:lnTo>
                  <a:lnTo>
                    <a:pt x="2491" y="2416"/>
                  </a:lnTo>
                  <a:lnTo>
                    <a:pt x="2485" y="2421"/>
                  </a:lnTo>
                  <a:lnTo>
                    <a:pt x="2480" y="2426"/>
                  </a:lnTo>
                  <a:lnTo>
                    <a:pt x="2471" y="2429"/>
                  </a:lnTo>
                  <a:lnTo>
                    <a:pt x="2461" y="2430"/>
                  </a:lnTo>
                  <a:lnTo>
                    <a:pt x="2450" y="2430"/>
                  </a:lnTo>
                  <a:lnTo>
                    <a:pt x="2440" y="2432"/>
                  </a:lnTo>
                  <a:lnTo>
                    <a:pt x="2428" y="2434"/>
                  </a:lnTo>
                  <a:lnTo>
                    <a:pt x="2417" y="2437"/>
                  </a:lnTo>
                  <a:lnTo>
                    <a:pt x="2408" y="2442"/>
                  </a:lnTo>
                  <a:lnTo>
                    <a:pt x="2402" y="2447"/>
                  </a:lnTo>
                  <a:lnTo>
                    <a:pt x="2399" y="2451"/>
                  </a:lnTo>
                  <a:lnTo>
                    <a:pt x="2397" y="2455"/>
                  </a:lnTo>
                  <a:lnTo>
                    <a:pt x="2395" y="2459"/>
                  </a:lnTo>
                  <a:lnTo>
                    <a:pt x="2395" y="2463"/>
                  </a:lnTo>
                  <a:lnTo>
                    <a:pt x="2394" y="2477"/>
                  </a:lnTo>
                  <a:lnTo>
                    <a:pt x="2391" y="2488"/>
                  </a:lnTo>
                  <a:lnTo>
                    <a:pt x="2387" y="2497"/>
                  </a:lnTo>
                  <a:lnTo>
                    <a:pt x="2382" y="2503"/>
                  </a:lnTo>
                  <a:lnTo>
                    <a:pt x="2370" y="2514"/>
                  </a:lnTo>
                  <a:lnTo>
                    <a:pt x="2357" y="2527"/>
                  </a:lnTo>
                  <a:lnTo>
                    <a:pt x="2353" y="2528"/>
                  </a:lnTo>
                  <a:lnTo>
                    <a:pt x="2349" y="2528"/>
                  </a:lnTo>
                  <a:lnTo>
                    <a:pt x="2347" y="2528"/>
                  </a:lnTo>
                  <a:lnTo>
                    <a:pt x="2346" y="2530"/>
                  </a:lnTo>
                  <a:lnTo>
                    <a:pt x="2332" y="2531"/>
                  </a:lnTo>
                  <a:lnTo>
                    <a:pt x="2318" y="2532"/>
                  </a:lnTo>
                  <a:lnTo>
                    <a:pt x="2318" y="2534"/>
                  </a:lnTo>
                  <a:lnTo>
                    <a:pt x="2319" y="2536"/>
                  </a:lnTo>
                  <a:lnTo>
                    <a:pt x="2319" y="2536"/>
                  </a:lnTo>
                  <a:lnTo>
                    <a:pt x="2321" y="2536"/>
                  </a:lnTo>
                  <a:lnTo>
                    <a:pt x="2322" y="2543"/>
                  </a:lnTo>
                  <a:lnTo>
                    <a:pt x="2325" y="2548"/>
                  </a:lnTo>
                  <a:lnTo>
                    <a:pt x="2326" y="2551"/>
                  </a:lnTo>
                  <a:lnTo>
                    <a:pt x="2329" y="2552"/>
                  </a:lnTo>
                  <a:lnTo>
                    <a:pt x="2339" y="2557"/>
                  </a:lnTo>
                  <a:lnTo>
                    <a:pt x="2348" y="2562"/>
                  </a:lnTo>
                  <a:lnTo>
                    <a:pt x="2349" y="2564"/>
                  </a:lnTo>
                  <a:lnTo>
                    <a:pt x="2351" y="2565"/>
                  </a:lnTo>
                  <a:lnTo>
                    <a:pt x="2352" y="2566"/>
                  </a:lnTo>
                  <a:lnTo>
                    <a:pt x="2352" y="2568"/>
                  </a:lnTo>
                  <a:lnTo>
                    <a:pt x="2357" y="2572"/>
                  </a:lnTo>
                  <a:lnTo>
                    <a:pt x="2361" y="2575"/>
                  </a:lnTo>
                  <a:lnTo>
                    <a:pt x="2363" y="2579"/>
                  </a:lnTo>
                  <a:lnTo>
                    <a:pt x="2364" y="2582"/>
                  </a:lnTo>
                  <a:lnTo>
                    <a:pt x="2366" y="2585"/>
                  </a:lnTo>
                  <a:lnTo>
                    <a:pt x="2369" y="2586"/>
                  </a:lnTo>
                  <a:lnTo>
                    <a:pt x="2369" y="2589"/>
                  </a:lnTo>
                  <a:lnTo>
                    <a:pt x="2369" y="2592"/>
                  </a:lnTo>
                  <a:lnTo>
                    <a:pt x="2368" y="2600"/>
                  </a:lnTo>
                  <a:lnTo>
                    <a:pt x="2365" y="2608"/>
                  </a:lnTo>
                  <a:lnTo>
                    <a:pt x="2359" y="2623"/>
                  </a:lnTo>
                  <a:lnTo>
                    <a:pt x="2353" y="2630"/>
                  </a:lnTo>
                  <a:lnTo>
                    <a:pt x="2351" y="2634"/>
                  </a:lnTo>
                  <a:lnTo>
                    <a:pt x="2348" y="2637"/>
                  </a:lnTo>
                  <a:lnTo>
                    <a:pt x="2348" y="2640"/>
                  </a:lnTo>
                  <a:lnTo>
                    <a:pt x="2351" y="2649"/>
                  </a:lnTo>
                  <a:lnTo>
                    <a:pt x="2352" y="2658"/>
                  </a:lnTo>
                  <a:lnTo>
                    <a:pt x="2352" y="2660"/>
                  </a:lnTo>
                  <a:lnTo>
                    <a:pt x="2351" y="2662"/>
                  </a:lnTo>
                  <a:lnTo>
                    <a:pt x="2351" y="2662"/>
                  </a:lnTo>
                  <a:lnTo>
                    <a:pt x="2351" y="2663"/>
                  </a:lnTo>
                  <a:lnTo>
                    <a:pt x="2349" y="2664"/>
                  </a:lnTo>
                  <a:lnTo>
                    <a:pt x="2349" y="2666"/>
                  </a:lnTo>
                  <a:lnTo>
                    <a:pt x="2348" y="2666"/>
                  </a:lnTo>
                  <a:lnTo>
                    <a:pt x="2348" y="2667"/>
                  </a:lnTo>
                  <a:lnTo>
                    <a:pt x="2346" y="2668"/>
                  </a:lnTo>
                  <a:lnTo>
                    <a:pt x="2343" y="2670"/>
                  </a:lnTo>
                  <a:lnTo>
                    <a:pt x="2342" y="2674"/>
                  </a:lnTo>
                  <a:lnTo>
                    <a:pt x="2339" y="2675"/>
                  </a:lnTo>
                  <a:lnTo>
                    <a:pt x="2338" y="2675"/>
                  </a:lnTo>
                  <a:lnTo>
                    <a:pt x="2336" y="2676"/>
                  </a:lnTo>
                  <a:lnTo>
                    <a:pt x="2335" y="2677"/>
                  </a:lnTo>
                  <a:lnTo>
                    <a:pt x="2334" y="2679"/>
                  </a:lnTo>
                  <a:lnTo>
                    <a:pt x="2334" y="2680"/>
                  </a:lnTo>
                  <a:lnTo>
                    <a:pt x="2331" y="2684"/>
                  </a:lnTo>
                  <a:lnTo>
                    <a:pt x="2327" y="2688"/>
                  </a:lnTo>
                  <a:lnTo>
                    <a:pt x="2326" y="2689"/>
                  </a:lnTo>
                  <a:lnTo>
                    <a:pt x="2326" y="2689"/>
                  </a:lnTo>
                  <a:lnTo>
                    <a:pt x="2325" y="2691"/>
                  </a:lnTo>
                  <a:lnTo>
                    <a:pt x="2325" y="2692"/>
                  </a:lnTo>
                  <a:lnTo>
                    <a:pt x="2325" y="2693"/>
                  </a:lnTo>
                  <a:lnTo>
                    <a:pt x="2322" y="2694"/>
                  </a:lnTo>
                  <a:lnTo>
                    <a:pt x="2322" y="2696"/>
                  </a:lnTo>
                  <a:lnTo>
                    <a:pt x="2317" y="2700"/>
                  </a:lnTo>
                  <a:lnTo>
                    <a:pt x="2313" y="2704"/>
                  </a:lnTo>
                  <a:lnTo>
                    <a:pt x="2312" y="2704"/>
                  </a:lnTo>
                  <a:lnTo>
                    <a:pt x="2310" y="2705"/>
                  </a:lnTo>
                  <a:lnTo>
                    <a:pt x="2308" y="2706"/>
                  </a:lnTo>
                  <a:lnTo>
                    <a:pt x="2305" y="2708"/>
                  </a:lnTo>
                  <a:lnTo>
                    <a:pt x="2295" y="2713"/>
                  </a:lnTo>
                  <a:lnTo>
                    <a:pt x="2272" y="2722"/>
                  </a:lnTo>
                  <a:lnTo>
                    <a:pt x="2250" y="2731"/>
                  </a:lnTo>
                  <a:lnTo>
                    <a:pt x="2237" y="2738"/>
                  </a:lnTo>
                  <a:lnTo>
                    <a:pt x="2230" y="2738"/>
                  </a:lnTo>
                  <a:lnTo>
                    <a:pt x="2221" y="2736"/>
                  </a:lnTo>
                  <a:lnTo>
                    <a:pt x="2211" y="2732"/>
                  </a:lnTo>
                  <a:lnTo>
                    <a:pt x="2206" y="2730"/>
                  </a:lnTo>
                  <a:lnTo>
                    <a:pt x="2200" y="2727"/>
                  </a:lnTo>
                  <a:lnTo>
                    <a:pt x="2195" y="2727"/>
                  </a:lnTo>
                  <a:lnTo>
                    <a:pt x="2191" y="2727"/>
                  </a:lnTo>
                  <a:lnTo>
                    <a:pt x="2186" y="2728"/>
                  </a:lnTo>
                  <a:lnTo>
                    <a:pt x="2176" y="2732"/>
                  </a:lnTo>
                  <a:lnTo>
                    <a:pt x="2166" y="2735"/>
                  </a:lnTo>
                  <a:lnTo>
                    <a:pt x="2155" y="2739"/>
                  </a:lnTo>
                  <a:lnTo>
                    <a:pt x="2131" y="2747"/>
                  </a:lnTo>
                  <a:lnTo>
                    <a:pt x="2106" y="2753"/>
                  </a:lnTo>
                  <a:lnTo>
                    <a:pt x="2092" y="2757"/>
                  </a:lnTo>
                  <a:lnTo>
                    <a:pt x="2090" y="2759"/>
                  </a:lnTo>
                  <a:lnTo>
                    <a:pt x="2090" y="2759"/>
                  </a:lnTo>
                  <a:lnTo>
                    <a:pt x="2089" y="2760"/>
                  </a:lnTo>
                  <a:lnTo>
                    <a:pt x="2088" y="2760"/>
                  </a:lnTo>
                  <a:lnTo>
                    <a:pt x="2087" y="2760"/>
                  </a:lnTo>
                  <a:lnTo>
                    <a:pt x="2085" y="2761"/>
                  </a:lnTo>
                  <a:lnTo>
                    <a:pt x="2084" y="2764"/>
                  </a:lnTo>
                  <a:lnTo>
                    <a:pt x="2083" y="2765"/>
                  </a:lnTo>
                  <a:lnTo>
                    <a:pt x="2081" y="2766"/>
                  </a:lnTo>
                  <a:lnTo>
                    <a:pt x="2076" y="2776"/>
                  </a:lnTo>
                  <a:lnTo>
                    <a:pt x="2071" y="2785"/>
                  </a:lnTo>
                  <a:lnTo>
                    <a:pt x="2070" y="2786"/>
                  </a:lnTo>
                  <a:lnTo>
                    <a:pt x="2070" y="2786"/>
                  </a:lnTo>
                  <a:lnTo>
                    <a:pt x="2068" y="2787"/>
                  </a:lnTo>
                  <a:lnTo>
                    <a:pt x="2067" y="2789"/>
                  </a:lnTo>
                  <a:lnTo>
                    <a:pt x="2067" y="2789"/>
                  </a:lnTo>
                  <a:lnTo>
                    <a:pt x="2066" y="2790"/>
                  </a:lnTo>
                  <a:lnTo>
                    <a:pt x="2063" y="2791"/>
                  </a:lnTo>
                  <a:lnTo>
                    <a:pt x="2060" y="2794"/>
                  </a:lnTo>
                  <a:lnTo>
                    <a:pt x="2059" y="2795"/>
                  </a:lnTo>
                  <a:lnTo>
                    <a:pt x="2056" y="2797"/>
                  </a:lnTo>
                  <a:lnTo>
                    <a:pt x="2055" y="2798"/>
                  </a:lnTo>
                  <a:lnTo>
                    <a:pt x="2055" y="2798"/>
                  </a:lnTo>
                  <a:lnTo>
                    <a:pt x="2054" y="2799"/>
                  </a:lnTo>
                  <a:lnTo>
                    <a:pt x="2053" y="2800"/>
                  </a:lnTo>
                  <a:lnTo>
                    <a:pt x="2047" y="2803"/>
                  </a:lnTo>
                  <a:lnTo>
                    <a:pt x="2042" y="2806"/>
                  </a:lnTo>
                  <a:lnTo>
                    <a:pt x="2039" y="2807"/>
                  </a:lnTo>
                  <a:lnTo>
                    <a:pt x="2033" y="2806"/>
                  </a:lnTo>
                  <a:lnTo>
                    <a:pt x="2026" y="2804"/>
                  </a:lnTo>
                  <a:lnTo>
                    <a:pt x="2019" y="2800"/>
                  </a:lnTo>
                  <a:lnTo>
                    <a:pt x="2003" y="2794"/>
                  </a:lnTo>
                  <a:lnTo>
                    <a:pt x="1994" y="2791"/>
                  </a:lnTo>
                  <a:lnTo>
                    <a:pt x="1944" y="2789"/>
                  </a:lnTo>
                  <a:lnTo>
                    <a:pt x="1932" y="2790"/>
                  </a:lnTo>
                  <a:lnTo>
                    <a:pt x="1918" y="2790"/>
                  </a:lnTo>
                  <a:lnTo>
                    <a:pt x="1918" y="2790"/>
                  </a:lnTo>
                  <a:lnTo>
                    <a:pt x="1917" y="2789"/>
                  </a:lnTo>
                  <a:lnTo>
                    <a:pt x="1917" y="2787"/>
                  </a:lnTo>
                  <a:lnTo>
                    <a:pt x="1917" y="2786"/>
                  </a:lnTo>
                  <a:lnTo>
                    <a:pt x="1915" y="2786"/>
                  </a:lnTo>
                  <a:lnTo>
                    <a:pt x="1914" y="2785"/>
                  </a:lnTo>
                  <a:lnTo>
                    <a:pt x="1893" y="2768"/>
                  </a:lnTo>
                  <a:lnTo>
                    <a:pt x="1890" y="2766"/>
                  </a:lnTo>
                  <a:lnTo>
                    <a:pt x="1888" y="2765"/>
                  </a:lnTo>
                  <a:lnTo>
                    <a:pt x="1872" y="2765"/>
                  </a:lnTo>
                  <a:lnTo>
                    <a:pt x="1858" y="2766"/>
                  </a:lnTo>
                  <a:lnTo>
                    <a:pt x="1843" y="2768"/>
                  </a:lnTo>
                  <a:lnTo>
                    <a:pt x="1830" y="2770"/>
                  </a:lnTo>
                  <a:lnTo>
                    <a:pt x="1818" y="2774"/>
                  </a:lnTo>
                  <a:lnTo>
                    <a:pt x="1808" y="2781"/>
                  </a:lnTo>
                  <a:lnTo>
                    <a:pt x="1795" y="2790"/>
                  </a:lnTo>
                  <a:lnTo>
                    <a:pt x="1782" y="2798"/>
                  </a:lnTo>
                  <a:lnTo>
                    <a:pt x="1780" y="2800"/>
                  </a:lnTo>
                  <a:lnTo>
                    <a:pt x="1778" y="2803"/>
                  </a:lnTo>
                  <a:lnTo>
                    <a:pt x="1777" y="2804"/>
                  </a:lnTo>
                  <a:lnTo>
                    <a:pt x="1777" y="2806"/>
                  </a:lnTo>
                  <a:lnTo>
                    <a:pt x="1775" y="2807"/>
                  </a:lnTo>
                  <a:lnTo>
                    <a:pt x="1774" y="2808"/>
                  </a:lnTo>
                  <a:lnTo>
                    <a:pt x="1773" y="2810"/>
                  </a:lnTo>
                  <a:lnTo>
                    <a:pt x="1771" y="2811"/>
                  </a:lnTo>
                  <a:lnTo>
                    <a:pt x="1770" y="2811"/>
                  </a:lnTo>
                  <a:lnTo>
                    <a:pt x="1769" y="2812"/>
                  </a:lnTo>
                  <a:lnTo>
                    <a:pt x="1769" y="2812"/>
                  </a:lnTo>
                  <a:lnTo>
                    <a:pt x="1767" y="2814"/>
                  </a:lnTo>
                  <a:lnTo>
                    <a:pt x="1766" y="2815"/>
                  </a:lnTo>
                  <a:lnTo>
                    <a:pt x="1765" y="2817"/>
                  </a:lnTo>
                  <a:lnTo>
                    <a:pt x="1763" y="2817"/>
                  </a:lnTo>
                  <a:lnTo>
                    <a:pt x="1762" y="2819"/>
                  </a:lnTo>
                  <a:lnTo>
                    <a:pt x="1762" y="2820"/>
                  </a:lnTo>
                  <a:lnTo>
                    <a:pt x="1761" y="2821"/>
                  </a:lnTo>
                  <a:lnTo>
                    <a:pt x="1760" y="2821"/>
                  </a:lnTo>
                  <a:lnTo>
                    <a:pt x="1760" y="2821"/>
                  </a:lnTo>
                  <a:lnTo>
                    <a:pt x="1760" y="2824"/>
                  </a:lnTo>
                  <a:lnTo>
                    <a:pt x="1758" y="2828"/>
                  </a:lnTo>
                  <a:lnTo>
                    <a:pt x="1758" y="2832"/>
                  </a:lnTo>
                  <a:lnTo>
                    <a:pt x="1758" y="2833"/>
                  </a:lnTo>
                  <a:lnTo>
                    <a:pt x="1760" y="2836"/>
                  </a:lnTo>
                  <a:lnTo>
                    <a:pt x="1760" y="2838"/>
                  </a:lnTo>
                  <a:lnTo>
                    <a:pt x="1760" y="2841"/>
                  </a:lnTo>
                  <a:lnTo>
                    <a:pt x="1761" y="2842"/>
                  </a:lnTo>
                  <a:lnTo>
                    <a:pt x="1761" y="2844"/>
                  </a:lnTo>
                  <a:lnTo>
                    <a:pt x="1761" y="2844"/>
                  </a:lnTo>
                  <a:lnTo>
                    <a:pt x="1762" y="2845"/>
                  </a:lnTo>
                  <a:lnTo>
                    <a:pt x="1762" y="2845"/>
                  </a:lnTo>
                  <a:lnTo>
                    <a:pt x="1762" y="2846"/>
                  </a:lnTo>
                  <a:lnTo>
                    <a:pt x="1809" y="2943"/>
                  </a:lnTo>
                  <a:lnTo>
                    <a:pt x="1762" y="2936"/>
                  </a:lnTo>
                  <a:lnTo>
                    <a:pt x="1746" y="2936"/>
                  </a:lnTo>
                  <a:lnTo>
                    <a:pt x="1723" y="2939"/>
                  </a:lnTo>
                  <a:lnTo>
                    <a:pt x="1692" y="2946"/>
                  </a:lnTo>
                  <a:lnTo>
                    <a:pt x="1656" y="2955"/>
                  </a:lnTo>
                  <a:lnTo>
                    <a:pt x="1616" y="2968"/>
                  </a:lnTo>
                  <a:lnTo>
                    <a:pt x="1573" y="2982"/>
                  </a:lnTo>
                  <a:lnTo>
                    <a:pt x="1528" y="2999"/>
                  </a:lnTo>
                  <a:lnTo>
                    <a:pt x="1485" y="3019"/>
                  </a:lnTo>
                  <a:lnTo>
                    <a:pt x="1464" y="3029"/>
                  </a:lnTo>
                  <a:lnTo>
                    <a:pt x="1443" y="3041"/>
                  </a:lnTo>
                  <a:lnTo>
                    <a:pt x="1423" y="3053"/>
                  </a:lnTo>
                  <a:lnTo>
                    <a:pt x="1404" y="3065"/>
                  </a:lnTo>
                  <a:lnTo>
                    <a:pt x="1387" y="3076"/>
                  </a:lnTo>
                  <a:lnTo>
                    <a:pt x="1370" y="3090"/>
                  </a:lnTo>
                  <a:lnTo>
                    <a:pt x="1355" y="3103"/>
                  </a:lnTo>
                  <a:lnTo>
                    <a:pt x="1342" y="3116"/>
                  </a:lnTo>
                  <a:lnTo>
                    <a:pt x="1332" y="3130"/>
                  </a:lnTo>
                  <a:lnTo>
                    <a:pt x="1323" y="3144"/>
                  </a:lnTo>
                  <a:lnTo>
                    <a:pt x="1316" y="3159"/>
                  </a:lnTo>
                  <a:lnTo>
                    <a:pt x="1312" y="3173"/>
                  </a:lnTo>
                  <a:lnTo>
                    <a:pt x="1310" y="3188"/>
                  </a:lnTo>
                  <a:lnTo>
                    <a:pt x="1311" y="3203"/>
                  </a:lnTo>
                  <a:lnTo>
                    <a:pt x="1316" y="3218"/>
                  </a:lnTo>
                  <a:lnTo>
                    <a:pt x="1324" y="3233"/>
                  </a:lnTo>
                  <a:lnTo>
                    <a:pt x="1354" y="3286"/>
                  </a:lnTo>
                  <a:lnTo>
                    <a:pt x="1272" y="3291"/>
                  </a:lnTo>
                  <a:lnTo>
                    <a:pt x="1256" y="3294"/>
                  </a:lnTo>
                  <a:lnTo>
                    <a:pt x="1238" y="3294"/>
                  </a:lnTo>
                  <a:lnTo>
                    <a:pt x="1229" y="3292"/>
                  </a:lnTo>
                  <a:lnTo>
                    <a:pt x="1221" y="3288"/>
                  </a:lnTo>
                  <a:lnTo>
                    <a:pt x="1218" y="3286"/>
                  </a:lnTo>
                  <a:lnTo>
                    <a:pt x="1215" y="3282"/>
                  </a:lnTo>
                  <a:lnTo>
                    <a:pt x="1213" y="3277"/>
                  </a:lnTo>
                  <a:lnTo>
                    <a:pt x="1213" y="3271"/>
                  </a:lnTo>
                  <a:lnTo>
                    <a:pt x="1210" y="3260"/>
                  </a:lnTo>
                  <a:lnTo>
                    <a:pt x="1206" y="3248"/>
                  </a:lnTo>
                  <a:lnTo>
                    <a:pt x="1204" y="3244"/>
                  </a:lnTo>
                  <a:lnTo>
                    <a:pt x="1200" y="3240"/>
                  </a:lnTo>
                  <a:lnTo>
                    <a:pt x="1193" y="3237"/>
                  </a:lnTo>
                  <a:lnTo>
                    <a:pt x="1187" y="3237"/>
                  </a:lnTo>
                  <a:lnTo>
                    <a:pt x="1155" y="3243"/>
                  </a:lnTo>
                  <a:lnTo>
                    <a:pt x="1115" y="3246"/>
                  </a:lnTo>
                  <a:lnTo>
                    <a:pt x="1104" y="3246"/>
                  </a:lnTo>
                  <a:lnTo>
                    <a:pt x="1095" y="3245"/>
                  </a:lnTo>
                  <a:lnTo>
                    <a:pt x="1087" y="3244"/>
                  </a:lnTo>
                  <a:lnTo>
                    <a:pt x="1079" y="3241"/>
                  </a:lnTo>
                  <a:lnTo>
                    <a:pt x="1073" y="3237"/>
                  </a:lnTo>
                  <a:lnTo>
                    <a:pt x="1068" y="3232"/>
                  </a:lnTo>
                  <a:lnTo>
                    <a:pt x="1065" y="3226"/>
                  </a:lnTo>
                  <a:lnTo>
                    <a:pt x="1064" y="3218"/>
                  </a:lnTo>
                  <a:lnTo>
                    <a:pt x="1064" y="3195"/>
                  </a:lnTo>
                  <a:lnTo>
                    <a:pt x="1060" y="3165"/>
                  </a:lnTo>
                  <a:lnTo>
                    <a:pt x="1057" y="3148"/>
                  </a:lnTo>
                  <a:lnTo>
                    <a:pt x="1055" y="3130"/>
                  </a:lnTo>
                  <a:lnTo>
                    <a:pt x="1051" y="3112"/>
                  </a:lnTo>
                  <a:lnTo>
                    <a:pt x="1045" y="3095"/>
                  </a:lnTo>
                  <a:lnTo>
                    <a:pt x="1039" y="3079"/>
                  </a:lnTo>
                  <a:lnTo>
                    <a:pt x="1032" y="3065"/>
                  </a:lnTo>
                  <a:lnTo>
                    <a:pt x="1028" y="3058"/>
                  </a:lnTo>
                  <a:lnTo>
                    <a:pt x="1024" y="3052"/>
                  </a:lnTo>
                  <a:lnTo>
                    <a:pt x="1021" y="3048"/>
                  </a:lnTo>
                  <a:lnTo>
                    <a:pt x="1015" y="3042"/>
                  </a:lnTo>
                  <a:lnTo>
                    <a:pt x="1011" y="3040"/>
                  </a:lnTo>
                  <a:lnTo>
                    <a:pt x="1006" y="3037"/>
                  </a:lnTo>
                  <a:lnTo>
                    <a:pt x="1001" y="3036"/>
                  </a:lnTo>
                  <a:lnTo>
                    <a:pt x="994" y="3035"/>
                  </a:lnTo>
                  <a:lnTo>
                    <a:pt x="989" y="3036"/>
                  </a:lnTo>
                  <a:lnTo>
                    <a:pt x="983" y="3037"/>
                  </a:lnTo>
                  <a:lnTo>
                    <a:pt x="975" y="3041"/>
                  </a:lnTo>
                  <a:lnTo>
                    <a:pt x="968" y="3045"/>
                  </a:lnTo>
                  <a:lnTo>
                    <a:pt x="962" y="3049"/>
                  </a:lnTo>
                  <a:lnTo>
                    <a:pt x="956" y="3049"/>
                  </a:lnTo>
                  <a:lnTo>
                    <a:pt x="951" y="3048"/>
                  </a:lnTo>
                  <a:lnTo>
                    <a:pt x="946" y="3042"/>
                  </a:lnTo>
                  <a:lnTo>
                    <a:pt x="936" y="3029"/>
                  </a:lnTo>
                  <a:lnTo>
                    <a:pt x="926" y="3012"/>
                  </a:lnTo>
                  <a:lnTo>
                    <a:pt x="917" y="2993"/>
                  </a:lnTo>
                  <a:lnTo>
                    <a:pt x="907" y="2976"/>
                  </a:lnTo>
                  <a:lnTo>
                    <a:pt x="900" y="2968"/>
                  </a:lnTo>
                  <a:lnTo>
                    <a:pt x="894" y="2961"/>
                  </a:lnTo>
                  <a:lnTo>
                    <a:pt x="887" y="2957"/>
                  </a:lnTo>
                  <a:lnTo>
                    <a:pt x="879" y="2955"/>
                  </a:lnTo>
                  <a:lnTo>
                    <a:pt x="848" y="2948"/>
                  </a:lnTo>
                  <a:lnTo>
                    <a:pt x="818" y="2940"/>
                  </a:lnTo>
                  <a:lnTo>
                    <a:pt x="789" y="2934"/>
                  </a:lnTo>
                  <a:lnTo>
                    <a:pt x="760" y="2929"/>
                  </a:lnTo>
                  <a:lnTo>
                    <a:pt x="747" y="2927"/>
                  </a:lnTo>
                  <a:lnTo>
                    <a:pt x="734" y="2927"/>
                  </a:lnTo>
                  <a:lnTo>
                    <a:pt x="721" y="2927"/>
                  </a:lnTo>
                  <a:lnTo>
                    <a:pt x="708" y="2930"/>
                  </a:lnTo>
                  <a:lnTo>
                    <a:pt x="695" y="2935"/>
                  </a:lnTo>
                  <a:lnTo>
                    <a:pt x="682" y="2940"/>
                  </a:lnTo>
                  <a:lnTo>
                    <a:pt x="669" y="2950"/>
                  </a:lnTo>
                  <a:lnTo>
                    <a:pt x="657" y="2960"/>
                  </a:lnTo>
                  <a:lnTo>
                    <a:pt x="632" y="2970"/>
                  </a:lnTo>
                  <a:lnTo>
                    <a:pt x="580" y="2990"/>
                  </a:lnTo>
                  <a:lnTo>
                    <a:pt x="552" y="3001"/>
                  </a:lnTo>
                  <a:lnTo>
                    <a:pt x="526" y="3008"/>
                  </a:lnTo>
                  <a:lnTo>
                    <a:pt x="505" y="3015"/>
                  </a:lnTo>
                  <a:lnTo>
                    <a:pt x="492" y="3018"/>
                  </a:lnTo>
                  <a:lnTo>
                    <a:pt x="483" y="3018"/>
                  </a:lnTo>
                  <a:lnTo>
                    <a:pt x="475" y="3016"/>
                  </a:lnTo>
                  <a:lnTo>
                    <a:pt x="466" y="3014"/>
                  </a:lnTo>
                  <a:lnTo>
                    <a:pt x="458" y="3010"/>
                  </a:lnTo>
                  <a:lnTo>
                    <a:pt x="442" y="3001"/>
                  </a:lnTo>
                  <a:lnTo>
                    <a:pt x="427" y="2989"/>
                  </a:lnTo>
                  <a:lnTo>
                    <a:pt x="398" y="2963"/>
                  </a:lnTo>
                  <a:lnTo>
                    <a:pt x="370" y="2940"/>
                  </a:lnTo>
                  <a:lnTo>
                    <a:pt x="363" y="2936"/>
                  </a:lnTo>
                  <a:lnTo>
                    <a:pt x="351" y="2931"/>
                  </a:lnTo>
                  <a:lnTo>
                    <a:pt x="338" y="2927"/>
                  </a:lnTo>
                  <a:lnTo>
                    <a:pt x="323" y="2925"/>
                  </a:lnTo>
                  <a:lnTo>
                    <a:pt x="308" y="2922"/>
                  </a:lnTo>
                  <a:lnTo>
                    <a:pt x="295" y="2921"/>
                  </a:lnTo>
                  <a:lnTo>
                    <a:pt x="282" y="2921"/>
                  </a:lnTo>
                  <a:lnTo>
                    <a:pt x="272" y="2922"/>
                  </a:lnTo>
                  <a:lnTo>
                    <a:pt x="266" y="2925"/>
                  </a:lnTo>
                  <a:lnTo>
                    <a:pt x="259" y="2923"/>
                  </a:lnTo>
                  <a:lnTo>
                    <a:pt x="254" y="2921"/>
                  </a:lnTo>
                  <a:lnTo>
                    <a:pt x="250" y="2917"/>
                  </a:lnTo>
                  <a:lnTo>
                    <a:pt x="248" y="2910"/>
                  </a:lnTo>
                  <a:lnTo>
                    <a:pt x="245" y="2904"/>
                  </a:lnTo>
                  <a:lnTo>
                    <a:pt x="244" y="2896"/>
                  </a:lnTo>
                  <a:lnTo>
                    <a:pt x="242" y="2887"/>
                  </a:lnTo>
                  <a:lnTo>
                    <a:pt x="241" y="2868"/>
                  </a:lnTo>
                  <a:lnTo>
                    <a:pt x="240" y="2850"/>
                  </a:lnTo>
                  <a:lnTo>
                    <a:pt x="237" y="2834"/>
                  </a:lnTo>
                  <a:lnTo>
                    <a:pt x="234" y="2824"/>
                  </a:lnTo>
                  <a:lnTo>
                    <a:pt x="216" y="2787"/>
                  </a:lnTo>
                  <a:lnTo>
                    <a:pt x="195" y="2756"/>
                  </a:lnTo>
                  <a:lnTo>
                    <a:pt x="190" y="2745"/>
                  </a:lnTo>
                  <a:lnTo>
                    <a:pt x="185" y="2732"/>
                  </a:lnTo>
                  <a:lnTo>
                    <a:pt x="182" y="2718"/>
                  </a:lnTo>
                  <a:lnTo>
                    <a:pt x="179" y="2705"/>
                  </a:lnTo>
                  <a:lnTo>
                    <a:pt x="179" y="2689"/>
                  </a:lnTo>
                  <a:lnTo>
                    <a:pt x="179" y="2672"/>
                  </a:lnTo>
                  <a:lnTo>
                    <a:pt x="179" y="2655"/>
                  </a:lnTo>
                  <a:lnTo>
                    <a:pt x="177" y="2641"/>
                  </a:lnTo>
                  <a:lnTo>
                    <a:pt x="172" y="2626"/>
                  </a:lnTo>
                  <a:lnTo>
                    <a:pt x="166" y="2612"/>
                  </a:lnTo>
                  <a:lnTo>
                    <a:pt x="159" y="2599"/>
                  </a:lnTo>
                  <a:lnTo>
                    <a:pt x="151" y="2585"/>
                  </a:lnTo>
                  <a:lnTo>
                    <a:pt x="144" y="2572"/>
                  </a:lnTo>
                  <a:lnTo>
                    <a:pt x="136" y="2557"/>
                  </a:lnTo>
                  <a:lnTo>
                    <a:pt x="131" y="2543"/>
                  </a:lnTo>
                  <a:lnTo>
                    <a:pt x="127" y="2527"/>
                  </a:lnTo>
                  <a:lnTo>
                    <a:pt x="126" y="2522"/>
                  </a:lnTo>
                  <a:lnTo>
                    <a:pt x="126" y="2519"/>
                  </a:lnTo>
                  <a:lnTo>
                    <a:pt x="128" y="2517"/>
                  </a:lnTo>
                  <a:lnTo>
                    <a:pt x="131" y="2514"/>
                  </a:lnTo>
                  <a:lnTo>
                    <a:pt x="138" y="2514"/>
                  </a:lnTo>
                  <a:lnTo>
                    <a:pt x="148" y="2515"/>
                  </a:lnTo>
                  <a:lnTo>
                    <a:pt x="159" y="2519"/>
                  </a:lnTo>
                  <a:lnTo>
                    <a:pt x="169" y="2522"/>
                  </a:lnTo>
                  <a:lnTo>
                    <a:pt x="178" y="2524"/>
                  </a:lnTo>
                  <a:lnTo>
                    <a:pt x="186" y="2524"/>
                  </a:lnTo>
                  <a:lnTo>
                    <a:pt x="199" y="2520"/>
                  </a:lnTo>
                  <a:lnTo>
                    <a:pt x="211" y="2515"/>
                  </a:lnTo>
                  <a:lnTo>
                    <a:pt x="223" y="2511"/>
                  </a:lnTo>
                  <a:lnTo>
                    <a:pt x="234" y="2506"/>
                  </a:lnTo>
                  <a:lnTo>
                    <a:pt x="248" y="2500"/>
                  </a:lnTo>
                  <a:lnTo>
                    <a:pt x="259" y="2490"/>
                  </a:lnTo>
                  <a:lnTo>
                    <a:pt x="271" y="2480"/>
                  </a:lnTo>
                  <a:lnTo>
                    <a:pt x="282" y="2468"/>
                  </a:lnTo>
                  <a:lnTo>
                    <a:pt x="291" y="2455"/>
                  </a:lnTo>
                  <a:lnTo>
                    <a:pt x="299" y="2441"/>
                  </a:lnTo>
                  <a:lnTo>
                    <a:pt x="306" y="2426"/>
                  </a:lnTo>
                  <a:lnTo>
                    <a:pt x="314" y="2411"/>
                  </a:lnTo>
                  <a:lnTo>
                    <a:pt x="327" y="2381"/>
                  </a:lnTo>
                  <a:lnTo>
                    <a:pt x="342" y="2350"/>
                  </a:lnTo>
                  <a:lnTo>
                    <a:pt x="350" y="2336"/>
                  </a:lnTo>
                  <a:lnTo>
                    <a:pt x="357" y="2323"/>
                  </a:lnTo>
                  <a:lnTo>
                    <a:pt x="367" y="2311"/>
                  </a:lnTo>
                  <a:lnTo>
                    <a:pt x="376" y="2301"/>
                  </a:lnTo>
                  <a:lnTo>
                    <a:pt x="386" y="2289"/>
                  </a:lnTo>
                  <a:lnTo>
                    <a:pt x="391" y="2282"/>
                  </a:lnTo>
                  <a:lnTo>
                    <a:pt x="393" y="2280"/>
                  </a:lnTo>
                  <a:lnTo>
                    <a:pt x="391" y="2279"/>
                  </a:lnTo>
                  <a:lnTo>
                    <a:pt x="391" y="2277"/>
                  </a:lnTo>
                  <a:lnTo>
                    <a:pt x="389" y="2277"/>
                  </a:lnTo>
                  <a:lnTo>
                    <a:pt x="376" y="2282"/>
                  </a:lnTo>
                  <a:lnTo>
                    <a:pt x="357" y="2290"/>
                  </a:lnTo>
                  <a:lnTo>
                    <a:pt x="336" y="2301"/>
                  </a:lnTo>
                  <a:lnTo>
                    <a:pt x="312" y="2311"/>
                  </a:lnTo>
                  <a:lnTo>
                    <a:pt x="299" y="2314"/>
                  </a:lnTo>
                  <a:lnTo>
                    <a:pt x="285" y="2316"/>
                  </a:lnTo>
                  <a:lnTo>
                    <a:pt x="279" y="2316"/>
                  </a:lnTo>
                  <a:lnTo>
                    <a:pt x="272" y="2316"/>
                  </a:lnTo>
                  <a:lnTo>
                    <a:pt x="267" y="2315"/>
                  </a:lnTo>
                  <a:lnTo>
                    <a:pt x="261" y="2314"/>
                  </a:lnTo>
                  <a:lnTo>
                    <a:pt x="254" y="2310"/>
                  </a:lnTo>
                  <a:lnTo>
                    <a:pt x="249" y="2306"/>
                  </a:lnTo>
                  <a:lnTo>
                    <a:pt x="244" y="2301"/>
                  </a:lnTo>
                  <a:lnTo>
                    <a:pt x="241" y="2296"/>
                  </a:lnTo>
                  <a:lnTo>
                    <a:pt x="237" y="2284"/>
                  </a:lnTo>
                  <a:lnTo>
                    <a:pt x="234" y="2269"/>
                  </a:lnTo>
                  <a:lnTo>
                    <a:pt x="231" y="2255"/>
                  </a:lnTo>
                  <a:lnTo>
                    <a:pt x="227" y="2239"/>
                  </a:lnTo>
                  <a:lnTo>
                    <a:pt x="223" y="2231"/>
                  </a:lnTo>
                  <a:lnTo>
                    <a:pt x="219" y="2225"/>
                  </a:lnTo>
                  <a:lnTo>
                    <a:pt x="214" y="2217"/>
                  </a:lnTo>
                  <a:lnTo>
                    <a:pt x="207" y="2210"/>
                  </a:lnTo>
                  <a:lnTo>
                    <a:pt x="203" y="2207"/>
                  </a:lnTo>
                  <a:lnTo>
                    <a:pt x="199" y="2203"/>
                  </a:lnTo>
                  <a:lnTo>
                    <a:pt x="196" y="2197"/>
                  </a:lnTo>
                  <a:lnTo>
                    <a:pt x="195" y="2192"/>
                  </a:lnTo>
                  <a:lnTo>
                    <a:pt x="193" y="2182"/>
                  </a:lnTo>
                  <a:lnTo>
                    <a:pt x="193" y="2171"/>
                  </a:lnTo>
                  <a:lnTo>
                    <a:pt x="195" y="2146"/>
                  </a:lnTo>
                  <a:lnTo>
                    <a:pt x="200" y="2122"/>
                  </a:lnTo>
                  <a:lnTo>
                    <a:pt x="206" y="2098"/>
                  </a:lnTo>
                  <a:lnTo>
                    <a:pt x="207" y="2076"/>
                  </a:lnTo>
                  <a:lnTo>
                    <a:pt x="206" y="2067"/>
                  </a:lnTo>
                  <a:lnTo>
                    <a:pt x="203" y="2059"/>
                  </a:lnTo>
                  <a:lnTo>
                    <a:pt x="200" y="2056"/>
                  </a:lnTo>
                  <a:lnTo>
                    <a:pt x="198" y="2052"/>
                  </a:lnTo>
                  <a:lnTo>
                    <a:pt x="195" y="2051"/>
                  </a:lnTo>
                  <a:lnTo>
                    <a:pt x="190" y="2048"/>
                  </a:lnTo>
                  <a:lnTo>
                    <a:pt x="178" y="2043"/>
                  </a:lnTo>
                  <a:lnTo>
                    <a:pt x="168" y="2035"/>
                  </a:lnTo>
                  <a:lnTo>
                    <a:pt x="160" y="2027"/>
                  </a:lnTo>
                  <a:lnTo>
                    <a:pt x="152" y="2018"/>
                  </a:lnTo>
                  <a:lnTo>
                    <a:pt x="147" y="2006"/>
                  </a:lnTo>
                  <a:lnTo>
                    <a:pt x="143" y="1995"/>
                  </a:lnTo>
                  <a:lnTo>
                    <a:pt x="140" y="1980"/>
                  </a:lnTo>
                  <a:lnTo>
                    <a:pt x="139" y="1966"/>
                  </a:lnTo>
                  <a:lnTo>
                    <a:pt x="138" y="1957"/>
                  </a:lnTo>
                  <a:lnTo>
                    <a:pt x="136" y="1949"/>
                  </a:lnTo>
                  <a:lnTo>
                    <a:pt x="132" y="1942"/>
                  </a:lnTo>
                  <a:lnTo>
                    <a:pt x="128" y="1936"/>
                  </a:lnTo>
                  <a:lnTo>
                    <a:pt x="125" y="1931"/>
                  </a:lnTo>
                  <a:lnTo>
                    <a:pt x="118" y="1925"/>
                  </a:lnTo>
                  <a:lnTo>
                    <a:pt x="113" y="1921"/>
                  </a:lnTo>
                  <a:lnTo>
                    <a:pt x="106" y="1917"/>
                  </a:lnTo>
                  <a:lnTo>
                    <a:pt x="77" y="1903"/>
                  </a:lnTo>
                  <a:lnTo>
                    <a:pt x="49" y="1891"/>
                  </a:lnTo>
                  <a:lnTo>
                    <a:pt x="40" y="1886"/>
                  </a:lnTo>
                  <a:lnTo>
                    <a:pt x="34" y="1881"/>
                  </a:lnTo>
                  <a:lnTo>
                    <a:pt x="32" y="1880"/>
                  </a:lnTo>
                  <a:lnTo>
                    <a:pt x="32" y="1877"/>
                  </a:lnTo>
                  <a:lnTo>
                    <a:pt x="30" y="1874"/>
                  </a:lnTo>
                  <a:lnTo>
                    <a:pt x="32" y="1873"/>
                  </a:lnTo>
                  <a:lnTo>
                    <a:pt x="34" y="1870"/>
                  </a:lnTo>
                  <a:lnTo>
                    <a:pt x="40" y="1866"/>
                  </a:lnTo>
                  <a:lnTo>
                    <a:pt x="45" y="1864"/>
                  </a:lnTo>
                  <a:lnTo>
                    <a:pt x="53" y="1861"/>
                  </a:lnTo>
                  <a:lnTo>
                    <a:pt x="70" y="1856"/>
                  </a:lnTo>
                  <a:lnTo>
                    <a:pt x="87" y="1851"/>
                  </a:lnTo>
                  <a:lnTo>
                    <a:pt x="94" y="1847"/>
                  </a:lnTo>
                  <a:lnTo>
                    <a:pt x="101" y="1844"/>
                  </a:lnTo>
                  <a:lnTo>
                    <a:pt x="105" y="1840"/>
                  </a:lnTo>
                  <a:lnTo>
                    <a:pt x="108" y="1835"/>
                  </a:lnTo>
                  <a:lnTo>
                    <a:pt x="127" y="1747"/>
                  </a:lnTo>
                  <a:lnTo>
                    <a:pt x="127" y="1741"/>
                  </a:lnTo>
                  <a:lnTo>
                    <a:pt x="126" y="1734"/>
                  </a:lnTo>
                  <a:lnTo>
                    <a:pt x="123" y="1728"/>
                  </a:lnTo>
                  <a:lnTo>
                    <a:pt x="119" y="1721"/>
                  </a:lnTo>
                  <a:lnTo>
                    <a:pt x="109" y="1708"/>
                  </a:lnTo>
                  <a:lnTo>
                    <a:pt x="97" y="1695"/>
                  </a:lnTo>
                  <a:lnTo>
                    <a:pt x="85" y="1683"/>
                  </a:lnTo>
                  <a:lnTo>
                    <a:pt x="75" y="1670"/>
                  </a:lnTo>
                  <a:lnTo>
                    <a:pt x="72" y="1664"/>
                  </a:lnTo>
                  <a:lnTo>
                    <a:pt x="71" y="1656"/>
                  </a:lnTo>
                  <a:lnTo>
                    <a:pt x="70" y="1649"/>
                  </a:lnTo>
                  <a:lnTo>
                    <a:pt x="72" y="1643"/>
                  </a:lnTo>
                  <a:lnTo>
                    <a:pt x="93" y="1604"/>
                  </a:lnTo>
                  <a:lnTo>
                    <a:pt x="109" y="1576"/>
                  </a:lnTo>
                  <a:lnTo>
                    <a:pt x="110" y="1571"/>
                  </a:lnTo>
                  <a:lnTo>
                    <a:pt x="109" y="1564"/>
                  </a:lnTo>
                  <a:lnTo>
                    <a:pt x="108" y="1558"/>
                  </a:lnTo>
                  <a:lnTo>
                    <a:pt x="104" y="1553"/>
                  </a:lnTo>
                  <a:lnTo>
                    <a:pt x="97" y="1545"/>
                  </a:lnTo>
                  <a:lnTo>
                    <a:pt x="89" y="1538"/>
                  </a:lnTo>
                  <a:lnTo>
                    <a:pt x="77" y="1530"/>
                  </a:lnTo>
                  <a:lnTo>
                    <a:pt x="63" y="1521"/>
                  </a:lnTo>
                  <a:lnTo>
                    <a:pt x="55" y="1517"/>
                  </a:lnTo>
                  <a:lnTo>
                    <a:pt x="50" y="1512"/>
                  </a:lnTo>
                  <a:lnTo>
                    <a:pt x="47" y="1508"/>
                  </a:lnTo>
                  <a:lnTo>
                    <a:pt x="45" y="1503"/>
                  </a:lnTo>
                  <a:lnTo>
                    <a:pt x="43" y="1498"/>
                  </a:lnTo>
                  <a:lnTo>
                    <a:pt x="45" y="1491"/>
                  </a:lnTo>
                  <a:lnTo>
                    <a:pt x="45" y="1486"/>
                  </a:lnTo>
                  <a:lnTo>
                    <a:pt x="47" y="1481"/>
                  </a:lnTo>
                  <a:lnTo>
                    <a:pt x="51" y="1469"/>
                  </a:lnTo>
                  <a:lnTo>
                    <a:pt x="57" y="1457"/>
                  </a:lnTo>
                  <a:lnTo>
                    <a:pt x="60" y="1445"/>
                  </a:lnTo>
                  <a:lnTo>
                    <a:pt x="62" y="1433"/>
                  </a:lnTo>
                  <a:lnTo>
                    <a:pt x="60" y="1419"/>
                  </a:lnTo>
                  <a:lnTo>
                    <a:pt x="58" y="1409"/>
                  </a:lnTo>
                  <a:lnTo>
                    <a:pt x="54" y="1402"/>
                  </a:lnTo>
                  <a:lnTo>
                    <a:pt x="47" y="1397"/>
                  </a:lnTo>
                  <a:lnTo>
                    <a:pt x="33" y="1392"/>
                  </a:lnTo>
                  <a:lnTo>
                    <a:pt x="15" y="1382"/>
                  </a:lnTo>
                  <a:lnTo>
                    <a:pt x="12" y="1379"/>
                  </a:lnTo>
                  <a:lnTo>
                    <a:pt x="11" y="1369"/>
                  </a:lnTo>
                  <a:lnTo>
                    <a:pt x="9" y="1359"/>
                  </a:lnTo>
                  <a:lnTo>
                    <a:pt x="9" y="1346"/>
                  </a:lnTo>
                  <a:lnTo>
                    <a:pt x="8" y="1320"/>
                  </a:lnTo>
                  <a:lnTo>
                    <a:pt x="7" y="1303"/>
                  </a:lnTo>
                  <a:lnTo>
                    <a:pt x="4" y="1295"/>
                  </a:lnTo>
                  <a:lnTo>
                    <a:pt x="2" y="1287"/>
                  </a:lnTo>
                  <a:lnTo>
                    <a:pt x="0" y="1280"/>
                  </a:lnTo>
                  <a:lnTo>
                    <a:pt x="0" y="1274"/>
                  </a:lnTo>
                  <a:lnTo>
                    <a:pt x="2" y="1263"/>
                  </a:lnTo>
                  <a:lnTo>
                    <a:pt x="6" y="1253"/>
                  </a:lnTo>
                  <a:lnTo>
                    <a:pt x="11" y="1244"/>
                  </a:lnTo>
                  <a:lnTo>
                    <a:pt x="19" y="1236"/>
                  </a:lnTo>
                  <a:lnTo>
                    <a:pt x="26" y="1229"/>
                  </a:lnTo>
                  <a:lnTo>
                    <a:pt x="36" y="1223"/>
                  </a:lnTo>
                  <a:lnTo>
                    <a:pt x="55" y="1212"/>
                  </a:lnTo>
                  <a:lnTo>
                    <a:pt x="74" y="1203"/>
                  </a:lnTo>
                  <a:lnTo>
                    <a:pt x="81" y="1198"/>
                  </a:lnTo>
                  <a:lnTo>
                    <a:pt x="88" y="1193"/>
                  </a:lnTo>
                  <a:lnTo>
                    <a:pt x="93" y="1188"/>
                  </a:lnTo>
                  <a:lnTo>
                    <a:pt x="96" y="1182"/>
                  </a:lnTo>
                  <a:lnTo>
                    <a:pt x="97" y="1168"/>
                  </a:lnTo>
                  <a:lnTo>
                    <a:pt x="98" y="1154"/>
                  </a:lnTo>
                  <a:lnTo>
                    <a:pt x="100" y="1140"/>
                  </a:lnTo>
                  <a:lnTo>
                    <a:pt x="101" y="1127"/>
                  </a:lnTo>
                  <a:lnTo>
                    <a:pt x="105" y="1120"/>
                  </a:lnTo>
                  <a:lnTo>
                    <a:pt x="109" y="1116"/>
                  </a:lnTo>
                  <a:lnTo>
                    <a:pt x="113" y="1113"/>
                  </a:lnTo>
                  <a:lnTo>
                    <a:pt x="118" y="1112"/>
                  </a:lnTo>
                  <a:lnTo>
                    <a:pt x="131" y="1114"/>
                  </a:lnTo>
                  <a:lnTo>
                    <a:pt x="143" y="1118"/>
                  </a:lnTo>
                  <a:lnTo>
                    <a:pt x="149" y="1120"/>
                  </a:lnTo>
                  <a:lnTo>
                    <a:pt x="155" y="1121"/>
                  </a:lnTo>
                  <a:lnTo>
                    <a:pt x="160" y="1120"/>
                  </a:lnTo>
                  <a:lnTo>
                    <a:pt x="165" y="1116"/>
                  </a:lnTo>
                  <a:lnTo>
                    <a:pt x="169" y="1109"/>
                  </a:lnTo>
                  <a:lnTo>
                    <a:pt x="172" y="1100"/>
                  </a:lnTo>
                  <a:lnTo>
                    <a:pt x="174" y="1087"/>
                  </a:lnTo>
                  <a:lnTo>
                    <a:pt x="174" y="1070"/>
                  </a:lnTo>
                  <a:lnTo>
                    <a:pt x="176" y="1059"/>
                  </a:lnTo>
                  <a:lnTo>
                    <a:pt x="177" y="1050"/>
                  </a:lnTo>
                  <a:lnTo>
                    <a:pt x="179" y="1041"/>
                  </a:lnTo>
                  <a:lnTo>
                    <a:pt x="183" y="1032"/>
                  </a:lnTo>
                  <a:lnTo>
                    <a:pt x="191" y="1014"/>
                  </a:lnTo>
                  <a:lnTo>
                    <a:pt x="203" y="995"/>
                  </a:lnTo>
                  <a:lnTo>
                    <a:pt x="215" y="977"/>
                  </a:lnTo>
                  <a:lnTo>
                    <a:pt x="225" y="957"/>
                  </a:lnTo>
                  <a:lnTo>
                    <a:pt x="236" y="938"/>
                  </a:lnTo>
                  <a:lnTo>
                    <a:pt x="244" y="915"/>
                  </a:lnTo>
                  <a:lnTo>
                    <a:pt x="255" y="876"/>
                  </a:lnTo>
                  <a:lnTo>
                    <a:pt x="266" y="881"/>
                  </a:lnTo>
                  <a:lnTo>
                    <a:pt x="276" y="885"/>
                  </a:lnTo>
                  <a:lnTo>
                    <a:pt x="287" y="888"/>
                  </a:lnTo>
                  <a:lnTo>
                    <a:pt x="297" y="888"/>
                  </a:lnTo>
                  <a:lnTo>
                    <a:pt x="308" y="887"/>
                  </a:lnTo>
                  <a:lnTo>
                    <a:pt x="319" y="884"/>
                  </a:lnTo>
                  <a:lnTo>
                    <a:pt x="331" y="881"/>
                  </a:lnTo>
                  <a:lnTo>
                    <a:pt x="343" y="878"/>
                  </a:lnTo>
                  <a:lnTo>
                    <a:pt x="368" y="868"/>
                  </a:lnTo>
                  <a:lnTo>
                    <a:pt x="391" y="858"/>
                  </a:lnTo>
                  <a:lnTo>
                    <a:pt x="415" y="849"/>
                  </a:lnTo>
                  <a:lnTo>
                    <a:pt x="438" y="840"/>
                  </a:lnTo>
                  <a:lnTo>
                    <a:pt x="450" y="837"/>
                  </a:lnTo>
                  <a:lnTo>
                    <a:pt x="461" y="834"/>
                  </a:lnTo>
                  <a:lnTo>
                    <a:pt x="472" y="832"/>
                  </a:lnTo>
                  <a:lnTo>
                    <a:pt x="483" y="832"/>
                  </a:lnTo>
                  <a:lnTo>
                    <a:pt x="493" y="830"/>
                  </a:lnTo>
                  <a:lnTo>
                    <a:pt x="503" y="829"/>
                  </a:lnTo>
                  <a:lnTo>
                    <a:pt x="510" y="827"/>
                  </a:lnTo>
                  <a:lnTo>
                    <a:pt x="518" y="821"/>
                  </a:lnTo>
                  <a:lnTo>
                    <a:pt x="523" y="816"/>
                  </a:lnTo>
                  <a:lnTo>
                    <a:pt x="529" y="810"/>
                  </a:lnTo>
                  <a:lnTo>
                    <a:pt x="531" y="802"/>
                  </a:lnTo>
                  <a:lnTo>
                    <a:pt x="535" y="791"/>
                  </a:lnTo>
                  <a:lnTo>
                    <a:pt x="537" y="782"/>
                  </a:lnTo>
                  <a:lnTo>
                    <a:pt x="535" y="776"/>
                  </a:lnTo>
                  <a:lnTo>
                    <a:pt x="531" y="770"/>
                  </a:lnTo>
                  <a:lnTo>
                    <a:pt x="526" y="766"/>
                  </a:lnTo>
                  <a:lnTo>
                    <a:pt x="520" y="764"/>
                  </a:lnTo>
                  <a:lnTo>
                    <a:pt x="512" y="761"/>
                  </a:lnTo>
                  <a:lnTo>
                    <a:pt x="503" y="761"/>
                  </a:lnTo>
                  <a:lnTo>
                    <a:pt x="492" y="760"/>
                  </a:lnTo>
                  <a:lnTo>
                    <a:pt x="472" y="759"/>
                  </a:lnTo>
                  <a:lnTo>
                    <a:pt x="452" y="756"/>
                  </a:lnTo>
                  <a:lnTo>
                    <a:pt x="442" y="753"/>
                  </a:lnTo>
                  <a:lnTo>
                    <a:pt x="433" y="749"/>
                  </a:lnTo>
                  <a:lnTo>
                    <a:pt x="425" y="743"/>
                  </a:lnTo>
                  <a:lnTo>
                    <a:pt x="419" y="735"/>
                  </a:lnTo>
                  <a:lnTo>
                    <a:pt x="411" y="721"/>
                  </a:lnTo>
                  <a:lnTo>
                    <a:pt x="407" y="709"/>
                  </a:lnTo>
                  <a:lnTo>
                    <a:pt x="404" y="698"/>
                  </a:lnTo>
                  <a:lnTo>
                    <a:pt x="406" y="690"/>
                  </a:lnTo>
                  <a:lnTo>
                    <a:pt x="408" y="683"/>
                  </a:lnTo>
                  <a:lnTo>
                    <a:pt x="414" y="677"/>
                  </a:lnTo>
                  <a:lnTo>
                    <a:pt x="420" y="672"/>
                  </a:lnTo>
                  <a:lnTo>
                    <a:pt x="427" y="667"/>
                  </a:lnTo>
                  <a:lnTo>
                    <a:pt x="444" y="658"/>
                  </a:lnTo>
                  <a:lnTo>
                    <a:pt x="462" y="647"/>
                  </a:lnTo>
                  <a:lnTo>
                    <a:pt x="470" y="641"/>
                  </a:lnTo>
                  <a:lnTo>
                    <a:pt x="478" y="633"/>
                  </a:lnTo>
                  <a:lnTo>
                    <a:pt x="484" y="624"/>
                  </a:lnTo>
                  <a:lnTo>
                    <a:pt x="489" y="613"/>
                  </a:lnTo>
                  <a:lnTo>
                    <a:pt x="491" y="611"/>
                  </a:lnTo>
                  <a:lnTo>
                    <a:pt x="493" y="609"/>
                  </a:lnTo>
                  <a:lnTo>
                    <a:pt x="497" y="607"/>
                  </a:lnTo>
                  <a:lnTo>
                    <a:pt x="503" y="607"/>
                  </a:lnTo>
                  <a:lnTo>
                    <a:pt x="514" y="604"/>
                  </a:lnTo>
                  <a:lnTo>
                    <a:pt x="527" y="604"/>
                  </a:lnTo>
                  <a:lnTo>
                    <a:pt x="542" y="603"/>
                  </a:lnTo>
                  <a:lnTo>
                    <a:pt x="556" y="602"/>
                  </a:lnTo>
                  <a:lnTo>
                    <a:pt x="568" y="600"/>
                  </a:lnTo>
                  <a:lnTo>
                    <a:pt x="577" y="598"/>
                  </a:lnTo>
                  <a:lnTo>
                    <a:pt x="585" y="592"/>
                  </a:lnTo>
                  <a:lnTo>
                    <a:pt x="593" y="583"/>
                  </a:lnTo>
                  <a:lnTo>
                    <a:pt x="602" y="573"/>
                  </a:lnTo>
                  <a:lnTo>
                    <a:pt x="610" y="560"/>
                  </a:lnTo>
                  <a:lnTo>
                    <a:pt x="626" y="534"/>
                  </a:lnTo>
                  <a:lnTo>
                    <a:pt x="635" y="514"/>
                  </a:lnTo>
                  <a:lnTo>
                    <a:pt x="644" y="502"/>
                  </a:lnTo>
                  <a:lnTo>
                    <a:pt x="649" y="494"/>
                  </a:lnTo>
                  <a:lnTo>
                    <a:pt x="649" y="492"/>
                  </a:lnTo>
                  <a:lnTo>
                    <a:pt x="653" y="492"/>
                  </a:lnTo>
                  <a:lnTo>
                    <a:pt x="665" y="496"/>
                  </a:lnTo>
                  <a:lnTo>
                    <a:pt x="674" y="500"/>
                  </a:lnTo>
                  <a:lnTo>
                    <a:pt x="682" y="502"/>
                  </a:lnTo>
                  <a:lnTo>
                    <a:pt x="690" y="506"/>
                  </a:lnTo>
                  <a:lnTo>
                    <a:pt x="696" y="511"/>
                  </a:lnTo>
                  <a:lnTo>
                    <a:pt x="704" y="517"/>
                  </a:lnTo>
                  <a:lnTo>
                    <a:pt x="711" y="522"/>
                  </a:lnTo>
                  <a:lnTo>
                    <a:pt x="718" y="527"/>
                  </a:lnTo>
                  <a:lnTo>
                    <a:pt x="725" y="531"/>
                  </a:lnTo>
                  <a:lnTo>
                    <a:pt x="733" y="532"/>
                  </a:lnTo>
                  <a:lnTo>
                    <a:pt x="739" y="534"/>
                  </a:lnTo>
                  <a:lnTo>
                    <a:pt x="745" y="535"/>
                  </a:lnTo>
                  <a:lnTo>
                    <a:pt x="751" y="537"/>
                  </a:lnTo>
                  <a:lnTo>
                    <a:pt x="756" y="540"/>
                  </a:lnTo>
                  <a:lnTo>
                    <a:pt x="768" y="543"/>
                  </a:lnTo>
                  <a:lnTo>
                    <a:pt x="781" y="544"/>
                  </a:lnTo>
                  <a:lnTo>
                    <a:pt x="792" y="545"/>
                  </a:lnTo>
                  <a:lnTo>
                    <a:pt x="802" y="547"/>
                  </a:lnTo>
                  <a:lnTo>
                    <a:pt x="807" y="551"/>
                  </a:lnTo>
                  <a:lnTo>
                    <a:pt x="811" y="554"/>
                  </a:lnTo>
                  <a:lnTo>
                    <a:pt x="811" y="558"/>
                  </a:lnTo>
                  <a:lnTo>
                    <a:pt x="811" y="561"/>
                  </a:lnTo>
                  <a:lnTo>
                    <a:pt x="811" y="562"/>
                  </a:lnTo>
                  <a:lnTo>
                    <a:pt x="813" y="564"/>
                  </a:lnTo>
                  <a:lnTo>
                    <a:pt x="814" y="564"/>
                  </a:lnTo>
                  <a:lnTo>
                    <a:pt x="827" y="571"/>
                  </a:lnTo>
                  <a:lnTo>
                    <a:pt x="844" y="583"/>
                  </a:lnTo>
                  <a:lnTo>
                    <a:pt x="852" y="590"/>
                  </a:lnTo>
                  <a:lnTo>
                    <a:pt x="858" y="596"/>
                  </a:lnTo>
                  <a:lnTo>
                    <a:pt x="864" y="603"/>
                  </a:lnTo>
                  <a:lnTo>
                    <a:pt x="865" y="609"/>
                  </a:lnTo>
                  <a:lnTo>
                    <a:pt x="865" y="620"/>
                  </a:lnTo>
                  <a:lnTo>
                    <a:pt x="864" y="621"/>
                  </a:lnTo>
                  <a:lnTo>
                    <a:pt x="861" y="621"/>
                  </a:lnTo>
                  <a:lnTo>
                    <a:pt x="860" y="624"/>
                  </a:lnTo>
                  <a:lnTo>
                    <a:pt x="856" y="626"/>
                  </a:lnTo>
                  <a:lnTo>
                    <a:pt x="848" y="636"/>
                  </a:lnTo>
                  <a:lnTo>
                    <a:pt x="841" y="642"/>
                  </a:lnTo>
                  <a:lnTo>
                    <a:pt x="835" y="650"/>
                  </a:lnTo>
                  <a:lnTo>
                    <a:pt x="828" y="660"/>
                  </a:lnTo>
                  <a:lnTo>
                    <a:pt x="826" y="666"/>
                  </a:lnTo>
                  <a:lnTo>
                    <a:pt x="824" y="671"/>
                  </a:lnTo>
                  <a:lnTo>
                    <a:pt x="824" y="676"/>
                  </a:lnTo>
                  <a:lnTo>
                    <a:pt x="826" y="680"/>
                  </a:lnTo>
                  <a:lnTo>
                    <a:pt x="797" y="707"/>
                  </a:lnTo>
                  <a:lnTo>
                    <a:pt x="775" y="722"/>
                  </a:lnTo>
                  <a:lnTo>
                    <a:pt x="748" y="738"/>
                  </a:lnTo>
                  <a:lnTo>
                    <a:pt x="737" y="745"/>
                  </a:lnTo>
                  <a:lnTo>
                    <a:pt x="728" y="755"/>
                  </a:lnTo>
                  <a:lnTo>
                    <a:pt x="724" y="760"/>
                  </a:lnTo>
                  <a:lnTo>
                    <a:pt x="721" y="765"/>
                  </a:lnTo>
                  <a:lnTo>
                    <a:pt x="718" y="770"/>
                  </a:lnTo>
                  <a:lnTo>
                    <a:pt x="718" y="777"/>
                  </a:lnTo>
                  <a:lnTo>
                    <a:pt x="717" y="789"/>
                  </a:lnTo>
                  <a:lnTo>
                    <a:pt x="713" y="799"/>
                  </a:lnTo>
                  <a:lnTo>
                    <a:pt x="709" y="808"/>
                  </a:lnTo>
                  <a:lnTo>
                    <a:pt x="704" y="817"/>
                  </a:lnTo>
                  <a:lnTo>
                    <a:pt x="700" y="827"/>
                  </a:lnTo>
                  <a:lnTo>
                    <a:pt x="699" y="836"/>
                  </a:lnTo>
                  <a:lnTo>
                    <a:pt x="699" y="840"/>
                  </a:lnTo>
                  <a:lnTo>
                    <a:pt x="700" y="844"/>
                  </a:lnTo>
                  <a:lnTo>
                    <a:pt x="701" y="847"/>
                  </a:lnTo>
                  <a:lnTo>
                    <a:pt x="705" y="851"/>
                  </a:lnTo>
                  <a:lnTo>
                    <a:pt x="726" y="874"/>
                  </a:lnTo>
                  <a:lnTo>
                    <a:pt x="743" y="887"/>
                  </a:lnTo>
                  <a:lnTo>
                    <a:pt x="750" y="895"/>
                  </a:lnTo>
                  <a:lnTo>
                    <a:pt x="756" y="902"/>
                  </a:lnTo>
                  <a:lnTo>
                    <a:pt x="760" y="914"/>
                  </a:lnTo>
                  <a:lnTo>
                    <a:pt x="765" y="929"/>
                  </a:lnTo>
                  <a:lnTo>
                    <a:pt x="771" y="946"/>
                  </a:lnTo>
                  <a:lnTo>
                    <a:pt x="776" y="959"/>
                  </a:lnTo>
                  <a:lnTo>
                    <a:pt x="780" y="963"/>
                  </a:lnTo>
                  <a:lnTo>
                    <a:pt x="782" y="966"/>
                  </a:lnTo>
                  <a:lnTo>
                    <a:pt x="786" y="969"/>
                  </a:lnTo>
                  <a:lnTo>
                    <a:pt x="789" y="970"/>
                  </a:lnTo>
                  <a:lnTo>
                    <a:pt x="792" y="970"/>
                  </a:lnTo>
                  <a:lnTo>
                    <a:pt x="796" y="970"/>
                  </a:lnTo>
                  <a:lnTo>
                    <a:pt x="798" y="969"/>
                  </a:lnTo>
                  <a:lnTo>
                    <a:pt x="802" y="966"/>
                  </a:lnTo>
                  <a:lnTo>
                    <a:pt x="809" y="961"/>
                  </a:lnTo>
                  <a:lnTo>
                    <a:pt x="815" y="953"/>
                  </a:lnTo>
                  <a:lnTo>
                    <a:pt x="827" y="931"/>
                  </a:lnTo>
                  <a:lnTo>
                    <a:pt x="839" y="908"/>
                  </a:lnTo>
                  <a:lnTo>
                    <a:pt x="848" y="883"/>
                  </a:lnTo>
                  <a:lnTo>
                    <a:pt x="854" y="863"/>
                  </a:lnTo>
                  <a:lnTo>
                    <a:pt x="857" y="857"/>
                  </a:lnTo>
                  <a:lnTo>
                    <a:pt x="860" y="853"/>
                  </a:lnTo>
                  <a:lnTo>
                    <a:pt x="864" y="847"/>
                  </a:lnTo>
                  <a:lnTo>
                    <a:pt x="868" y="845"/>
                  </a:lnTo>
                  <a:lnTo>
                    <a:pt x="875" y="840"/>
                  </a:lnTo>
                  <a:lnTo>
                    <a:pt x="882" y="836"/>
                  </a:lnTo>
                  <a:lnTo>
                    <a:pt x="886" y="833"/>
                  </a:lnTo>
                  <a:lnTo>
                    <a:pt x="888" y="830"/>
                  </a:lnTo>
                  <a:lnTo>
                    <a:pt x="892" y="828"/>
                  </a:lnTo>
                  <a:lnTo>
                    <a:pt x="894" y="823"/>
                  </a:lnTo>
                  <a:lnTo>
                    <a:pt x="895" y="817"/>
                  </a:lnTo>
                  <a:lnTo>
                    <a:pt x="896" y="811"/>
                  </a:lnTo>
                  <a:lnTo>
                    <a:pt x="896" y="803"/>
                  </a:lnTo>
                  <a:lnTo>
                    <a:pt x="896" y="793"/>
                  </a:lnTo>
                  <a:lnTo>
                    <a:pt x="894" y="783"/>
                  </a:lnTo>
                  <a:lnTo>
                    <a:pt x="891" y="772"/>
                  </a:lnTo>
                  <a:lnTo>
                    <a:pt x="891" y="766"/>
                  </a:lnTo>
                  <a:lnTo>
                    <a:pt x="891" y="762"/>
                  </a:lnTo>
                  <a:lnTo>
                    <a:pt x="894" y="759"/>
                  </a:lnTo>
                  <a:lnTo>
                    <a:pt x="896" y="756"/>
                  </a:lnTo>
                  <a:lnTo>
                    <a:pt x="904" y="751"/>
                  </a:lnTo>
                  <a:lnTo>
                    <a:pt x="909" y="743"/>
                  </a:lnTo>
                  <a:lnTo>
                    <a:pt x="913" y="735"/>
                  </a:lnTo>
                  <a:lnTo>
                    <a:pt x="916" y="730"/>
                  </a:lnTo>
                  <a:lnTo>
                    <a:pt x="920" y="717"/>
                  </a:lnTo>
                  <a:lnTo>
                    <a:pt x="925" y="717"/>
                  </a:lnTo>
                  <a:lnTo>
                    <a:pt x="928" y="715"/>
                  </a:lnTo>
                  <a:lnTo>
                    <a:pt x="929" y="714"/>
                  </a:lnTo>
                  <a:lnTo>
                    <a:pt x="930" y="711"/>
                  </a:lnTo>
                  <a:lnTo>
                    <a:pt x="933" y="711"/>
                  </a:lnTo>
                  <a:lnTo>
                    <a:pt x="934" y="710"/>
                  </a:lnTo>
                  <a:lnTo>
                    <a:pt x="939" y="697"/>
                  </a:lnTo>
                  <a:lnTo>
                    <a:pt x="946" y="683"/>
                  </a:lnTo>
                  <a:lnTo>
                    <a:pt x="947" y="679"/>
                  </a:lnTo>
                  <a:lnTo>
                    <a:pt x="950" y="675"/>
                  </a:lnTo>
                  <a:lnTo>
                    <a:pt x="950" y="675"/>
                  </a:lnTo>
                  <a:lnTo>
                    <a:pt x="954" y="671"/>
                  </a:lnTo>
                  <a:lnTo>
                    <a:pt x="958" y="667"/>
                  </a:lnTo>
                  <a:lnTo>
                    <a:pt x="960" y="664"/>
                  </a:lnTo>
                  <a:lnTo>
                    <a:pt x="963" y="663"/>
                  </a:lnTo>
                  <a:lnTo>
                    <a:pt x="963" y="662"/>
                  </a:lnTo>
                  <a:lnTo>
                    <a:pt x="964" y="662"/>
                  </a:lnTo>
                  <a:lnTo>
                    <a:pt x="966" y="659"/>
                  </a:lnTo>
                  <a:lnTo>
                    <a:pt x="967" y="656"/>
                  </a:lnTo>
                  <a:lnTo>
                    <a:pt x="968" y="656"/>
                  </a:lnTo>
                  <a:lnTo>
                    <a:pt x="970" y="655"/>
                  </a:lnTo>
                  <a:lnTo>
                    <a:pt x="970" y="654"/>
                  </a:lnTo>
                  <a:lnTo>
                    <a:pt x="972" y="651"/>
                  </a:lnTo>
                  <a:lnTo>
                    <a:pt x="975" y="647"/>
                  </a:lnTo>
                  <a:lnTo>
                    <a:pt x="981" y="634"/>
                  </a:lnTo>
                  <a:lnTo>
                    <a:pt x="988" y="622"/>
                  </a:lnTo>
                  <a:lnTo>
                    <a:pt x="990" y="619"/>
                  </a:lnTo>
                  <a:lnTo>
                    <a:pt x="990" y="612"/>
                  </a:lnTo>
                  <a:lnTo>
                    <a:pt x="989" y="604"/>
                  </a:lnTo>
                  <a:lnTo>
                    <a:pt x="987" y="596"/>
                  </a:lnTo>
                  <a:lnTo>
                    <a:pt x="980" y="581"/>
                  </a:lnTo>
                  <a:lnTo>
                    <a:pt x="976" y="571"/>
                  </a:lnTo>
                  <a:lnTo>
                    <a:pt x="975" y="568"/>
                  </a:lnTo>
                  <a:lnTo>
                    <a:pt x="973" y="564"/>
                  </a:lnTo>
                  <a:lnTo>
                    <a:pt x="972" y="561"/>
                  </a:lnTo>
                  <a:lnTo>
                    <a:pt x="971" y="557"/>
                  </a:lnTo>
                  <a:lnTo>
                    <a:pt x="971" y="554"/>
                  </a:lnTo>
                  <a:lnTo>
                    <a:pt x="970" y="553"/>
                  </a:lnTo>
                  <a:lnTo>
                    <a:pt x="970" y="548"/>
                  </a:lnTo>
                  <a:lnTo>
                    <a:pt x="967" y="541"/>
                  </a:lnTo>
                  <a:lnTo>
                    <a:pt x="966" y="537"/>
                  </a:lnTo>
                  <a:lnTo>
                    <a:pt x="964" y="531"/>
                  </a:lnTo>
                  <a:lnTo>
                    <a:pt x="963" y="526"/>
                  </a:lnTo>
                  <a:lnTo>
                    <a:pt x="963" y="520"/>
                  </a:lnTo>
                  <a:lnTo>
                    <a:pt x="964" y="502"/>
                  </a:lnTo>
                  <a:lnTo>
                    <a:pt x="966" y="479"/>
                  </a:lnTo>
                  <a:lnTo>
                    <a:pt x="968" y="451"/>
                  </a:lnTo>
                  <a:lnTo>
                    <a:pt x="973" y="425"/>
                  </a:lnTo>
                  <a:lnTo>
                    <a:pt x="976" y="413"/>
                  </a:lnTo>
                  <a:lnTo>
                    <a:pt x="980" y="403"/>
                  </a:lnTo>
                  <a:lnTo>
                    <a:pt x="984" y="395"/>
                  </a:lnTo>
                  <a:lnTo>
                    <a:pt x="990" y="388"/>
                  </a:lnTo>
                  <a:lnTo>
                    <a:pt x="993" y="387"/>
                  </a:lnTo>
                  <a:lnTo>
                    <a:pt x="997" y="386"/>
                  </a:lnTo>
                  <a:lnTo>
                    <a:pt x="1000" y="386"/>
                  </a:lnTo>
                  <a:lnTo>
                    <a:pt x="1004" y="386"/>
                  </a:lnTo>
                  <a:lnTo>
                    <a:pt x="1007" y="387"/>
                  </a:lnTo>
                  <a:lnTo>
                    <a:pt x="1013" y="390"/>
                  </a:lnTo>
                  <a:lnTo>
                    <a:pt x="1017" y="394"/>
                  </a:lnTo>
                  <a:lnTo>
                    <a:pt x="1022" y="397"/>
                  </a:lnTo>
                  <a:lnTo>
                    <a:pt x="1026" y="403"/>
                  </a:lnTo>
                  <a:lnTo>
                    <a:pt x="1028" y="407"/>
                  </a:lnTo>
                  <a:lnTo>
                    <a:pt x="1030" y="411"/>
                  </a:lnTo>
                  <a:lnTo>
                    <a:pt x="1030" y="414"/>
                  </a:lnTo>
                  <a:lnTo>
                    <a:pt x="1030" y="418"/>
                  </a:lnTo>
                  <a:lnTo>
                    <a:pt x="1027" y="421"/>
                  </a:lnTo>
                  <a:lnTo>
                    <a:pt x="1026" y="424"/>
                  </a:lnTo>
                  <a:lnTo>
                    <a:pt x="1022" y="428"/>
                  </a:lnTo>
                  <a:lnTo>
                    <a:pt x="1006" y="437"/>
                  </a:lnTo>
                  <a:lnTo>
                    <a:pt x="992" y="443"/>
                  </a:lnTo>
                  <a:lnTo>
                    <a:pt x="989" y="446"/>
                  </a:lnTo>
                  <a:lnTo>
                    <a:pt x="988" y="450"/>
                  </a:lnTo>
                  <a:lnTo>
                    <a:pt x="988" y="454"/>
                  </a:lnTo>
                  <a:lnTo>
                    <a:pt x="989" y="458"/>
                  </a:lnTo>
                  <a:lnTo>
                    <a:pt x="992" y="462"/>
                  </a:lnTo>
                  <a:lnTo>
                    <a:pt x="996" y="466"/>
                  </a:lnTo>
                  <a:lnTo>
                    <a:pt x="998" y="468"/>
                  </a:lnTo>
                  <a:lnTo>
                    <a:pt x="1002" y="469"/>
                  </a:lnTo>
                  <a:lnTo>
                    <a:pt x="1010" y="471"/>
                  </a:lnTo>
                  <a:lnTo>
                    <a:pt x="1019" y="469"/>
                  </a:lnTo>
                  <a:lnTo>
                    <a:pt x="1028" y="468"/>
                  </a:lnTo>
                  <a:lnTo>
                    <a:pt x="1039" y="466"/>
                  </a:lnTo>
                  <a:lnTo>
                    <a:pt x="1048" y="460"/>
                  </a:lnTo>
                  <a:lnTo>
                    <a:pt x="1057" y="455"/>
                  </a:lnTo>
                  <a:lnTo>
                    <a:pt x="1065" y="450"/>
                  </a:lnTo>
                  <a:lnTo>
                    <a:pt x="1073" y="443"/>
                  </a:lnTo>
                  <a:lnTo>
                    <a:pt x="1081" y="435"/>
                  </a:lnTo>
                  <a:lnTo>
                    <a:pt x="1086" y="428"/>
                  </a:lnTo>
                  <a:lnTo>
                    <a:pt x="1091" y="420"/>
                  </a:lnTo>
                  <a:lnTo>
                    <a:pt x="1094" y="411"/>
                  </a:lnTo>
                  <a:lnTo>
                    <a:pt x="1096" y="401"/>
                  </a:lnTo>
                  <a:lnTo>
                    <a:pt x="1096" y="394"/>
                  </a:lnTo>
                  <a:lnTo>
                    <a:pt x="1094" y="384"/>
                  </a:lnTo>
                  <a:lnTo>
                    <a:pt x="1090" y="375"/>
                  </a:lnTo>
                  <a:lnTo>
                    <a:pt x="1074" y="352"/>
                  </a:lnTo>
                  <a:lnTo>
                    <a:pt x="1053" y="322"/>
                  </a:lnTo>
                  <a:lnTo>
                    <a:pt x="1041" y="307"/>
                  </a:lnTo>
                  <a:lnTo>
                    <a:pt x="1031" y="293"/>
                  </a:lnTo>
                  <a:lnTo>
                    <a:pt x="1021" y="282"/>
                  </a:lnTo>
                  <a:lnTo>
                    <a:pt x="1011" y="273"/>
                  </a:lnTo>
                  <a:lnTo>
                    <a:pt x="1030" y="242"/>
                  </a:lnTo>
                  <a:lnTo>
                    <a:pt x="1034" y="235"/>
                  </a:lnTo>
                  <a:lnTo>
                    <a:pt x="1036" y="229"/>
                  </a:lnTo>
                  <a:lnTo>
                    <a:pt x="1036" y="227"/>
                  </a:lnTo>
                  <a:lnTo>
                    <a:pt x="1039" y="222"/>
                  </a:lnTo>
                  <a:lnTo>
                    <a:pt x="1041" y="216"/>
                  </a:lnTo>
                  <a:lnTo>
                    <a:pt x="1043" y="213"/>
                  </a:lnTo>
                  <a:lnTo>
                    <a:pt x="1043" y="212"/>
                  </a:lnTo>
                  <a:lnTo>
                    <a:pt x="1043" y="210"/>
                  </a:lnTo>
                  <a:lnTo>
                    <a:pt x="1044" y="209"/>
                  </a:lnTo>
                  <a:lnTo>
                    <a:pt x="1047" y="208"/>
                  </a:lnTo>
                  <a:lnTo>
                    <a:pt x="1048" y="205"/>
                  </a:lnTo>
                  <a:lnTo>
                    <a:pt x="1048" y="203"/>
                  </a:lnTo>
                  <a:lnTo>
                    <a:pt x="1049" y="197"/>
                  </a:lnTo>
                  <a:lnTo>
                    <a:pt x="1053" y="189"/>
                  </a:lnTo>
                  <a:lnTo>
                    <a:pt x="1058" y="180"/>
                  </a:lnTo>
                  <a:lnTo>
                    <a:pt x="1065" y="172"/>
                  </a:lnTo>
                  <a:lnTo>
                    <a:pt x="1073" y="163"/>
                  </a:lnTo>
                  <a:lnTo>
                    <a:pt x="1079" y="157"/>
                  </a:lnTo>
                  <a:lnTo>
                    <a:pt x="1086" y="152"/>
                  </a:lnTo>
                  <a:lnTo>
                    <a:pt x="1091" y="149"/>
                  </a:lnTo>
                  <a:lnTo>
                    <a:pt x="1096" y="146"/>
                  </a:lnTo>
                  <a:lnTo>
                    <a:pt x="1102" y="144"/>
                  </a:lnTo>
                  <a:lnTo>
                    <a:pt x="1104" y="142"/>
                  </a:lnTo>
                  <a:lnTo>
                    <a:pt x="1107" y="141"/>
                  </a:lnTo>
                  <a:lnTo>
                    <a:pt x="1111" y="138"/>
                  </a:lnTo>
                  <a:lnTo>
                    <a:pt x="1116" y="136"/>
                  </a:lnTo>
                  <a:lnTo>
                    <a:pt x="1119" y="136"/>
                  </a:lnTo>
                  <a:lnTo>
                    <a:pt x="1123" y="135"/>
                  </a:lnTo>
                  <a:lnTo>
                    <a:pt x="1129" y="135"/>
                  </a:lnTo>
                  <a:lnTo>
                    <a:pt x="1134" y="133"/>
                  </a:lnTo>
                  <a:lnTo>
                    <a:pt x="1136" y="132"/>
                  </a:lnTo>
                  <a:lnTo>
                    <a:pt x="1140" y="132"/>
                  </a:lnTo>
                  <a:lnTo>
                    <a:pt x="1145" y="133"/>
                  </a:lnTo>
                  <a:lnTo>
                    <a:pt x="1150" y="136"/>
                  </a:lnTo>
                  <a:lnTo>
                    <a:pt x="1159" y="141"/>
                  </a:lnTo>
                  <a:lnTo>
                    <a:pt x="1164" y="144"/>
                  </a:lnTo>
                  <a:lnTo>
                    <a:pt x="1179" y="154"/>
                  </a:lnTo>
                  <a:lnTo>
                    <a:pt x="1189" y="165"/>
                  </a:lnTo>
                  <a:lnTo>
                    <a:pt x="1192" y="170"/>
                  </a:lnTo>
                  <a:lnTo>
                    <a:pt x="1196" y="171"/>
                  </a:lnTo>
                  <a:lnTo>
                    <a:pt x="1197" y="171"/>
                  </a:lnTo>
                  <a:lnTo>
                    <a:pt x="1197" y="172"/>
                  </a:lnTo>
                  <a:lnTo>
                    <a:pt x="1198" y="174"/>
                  </a:lnTo>
                  <a:lnTo>
                    <a:pt x="1201" y="174"/>
                  </a:lnTo>
                  <a:lnTo>
                    <a:pt x="1201" y="174"/>
                  </a:lnTo>
                  <a:lnTo>
                    <a:pt x="1202" y="174"/>
                  </a:lnTo>
                  <a:lnTo>
                    <a:pt x="1205" y="175"/>
                  </a:lnTo>
                  <a:lnTo>
                    <a:pt x="1210" y="176"/>
                  </a:lnTo>
                  <a:lnTo>
                    <a:pt x="1215" y="176"/>
                  </a:lnTo>
                  <a:lnTo>
                    <a:pt x="1219" y="176"/>
                  </a:lnTo>
                  <a:lnTo>
                    <a:pt x="1219" y="175"/>
                  </a:lnTo>
                  <a:lnTo>
                    <a:pt x="1219" y="146"/>
                  </a:lnTo>
                  <a:lnTo>
                    <a:pt x="1219" y="145"/>
                  </a:lnTo>
                  <a:lnTo>
                    <a:pt x="1219" y="145"/>
                  </a:lnTo>
                  <a:lnTo>
                    <a:pt x="1235" y="137"/>
                  </a:lnTo>
                  <a:lnTo>
                    <a:pt x="1251" y="131"/>
                  </a:lnTo>
                  <a:lnTo>
                    <a:pt x="1255" y="129"/>
                  </a:lnTo>
                  <a:lnTo>
                    <a:pt x="1257" y="127"/>
                  </a:lnTo>
                  <a:lnTo>
                    <a:pt x="1259" y="121"/>
                  </a:lnTo>
                  <a:lnTo>
                    <a:pt x="1259" y="115"/>
                  </a:lnTo>
                  <a:lnTo>
                    <a:pt x="1256" y="102"/>
                  </a:lnTo>
                  <a:lnTo>
                    <a:pt x="1252" y="85"/>
                  </a:lnTo>
                  <a:lnTo>
                    <a:pt x="1248" y="68"/>
                  </a:lnTo>
                  <a:lnTo>
                    <a:pt x="1244" y="51"/>
                  </a:lnTo>
                  <a:lnTo>
                    <a:pt x="1243" y="44"/>
                  </a:lnTo>
                  <a:lnTo>
                    <a:pt x="1243" y="38"/>
                  </a:lnTo>
                  <a:lnTo>
                    <a:pt x="1243" y="31"/>
                  </a:lnTo>
                  <a:lnTo>
                    <a:pt x="1246" y="27"/>
                  </a:lnTo>
                  <a:lnTo>
                    <a:pt x="1249" y="23"/>
                  </a:lnTo>
                  <a:lnTo>
                    <a:pt x="1256" y="19"/>
                  </a:lnTo>
                  <a:lnTo>
                    <a:pt x="1265" y="17"/>
                  </a:lnTo>
                  <a:lnTo>
                    <a:pt x="1274" y="16"/>
                  </a:lnTo>
                  <a:lnTo>
                    <a:pt x="1282" y="16"/>
                  </a:lnTo>
                  <a:lnTo>
                    <a:pt x="1290" y="18"/>
                  </a:lnTo>
                  <a:lnTo>
                    <a:pt x="1294" y="19"/>
                  </a:lnTo>
                  <a:lnTo>
                    <a:pt x="1295" y="21"/>
                  </a:lnTo>
                  <a:lnTo>
                    <a:pt x="1298" y="23"/>
                  </a:lnTo>
                  <a:lnTo>
                    <a:pt x="1298" y="26"/>
                  </a:lnTo>
                  <a:lnTo>
                    <a:pt x="1299" y="27"/>
                  </a:lnTo>
                  <a:lnTo>
                    <a:pt x="1300" y="29"/>
                  </a:lnTo>
                  <a:lnTo>
                    <a:pt x="1300" y="31"/>
                  </a:lnTo>
                  <a:lnTo>
                    <a:pt x="1300" y="39"/>
                  </a:lnTo>
                  <a:lnTo>
                    <a:pt x="1302" y="44"/>
                  </a:lnTo>
                  <a:lnTo>
                    <a:pt x="1304" y="47"/>
                  </a:lnTo>
                  <a:lnTo>
                    <a:pt x="1306" y="48"/>
                  </a:lnTo>
                  <a:lnTo>
                    <a:pt x="1312" y="44"/>
                  </a:lnTo>
                  <a:lnTo>
                    <a:pt x="1321" y="35"/>
                  </a:lnTo>
                  <a:lnTo>
                    <a:pt x="1331" y="25"/>
                  </a:lnTo>
                  <a:lnTo>
                    <a:pt x="1342" y="13"/>
                  </a:lnTo>
                  <a:lnTo>
                    <a:pt x="1348" y="8"/>
                  </a:lnTo>
                  <a:lnTo>
                    <a:pt x="1354" y="4"/>
                  </a:lnTo>
                  <a:lnTo>
                    <a:pt x="1361" y="1"/>
                  </a:lnTo>
                  <a:lnTo>
                    <a:pt x="1367" y="0"/>
                  </a:lnTo>
                  <a:lnTo>
                    <a:pt x="1370" y="0"/>
                  </a:lnTo>
                  <a:lnTo>
                    <a:pt x="1371" y="0"/>
                  </a:lnTo>
                  <a:lnTo>
                    <a:pt x="1382" y="17"/>
                  </a:lnTo>
                  <a:lnTo>
                    <a:pt x="1392" y="33"/>
                  </a:lnTo>
                  <a:lnTo>
                    <a:pt x="1397" y="42"/>
                  </a:lnTo>
                  <a:lnTo>
                    <a:pt x="1401" y="52"/>
                  </a:lnTo>
                  <a:lnTo>
                    <a:pt x="1405" y="63"/>
                  </a:lnTo>
                  <a:lnTo>
                    <a:pt x="1406" y="77"/>
                  </a:lnTo>
                  <a:lnTo>
                    <a:pt x="1406" y="78"/>
                  </a:lnTo>
                  <a:lnTo>
                    <a:pt x="1406" y="78"/>
                  </a:lnTo>
                  <a:lnTo>
                    <a:pt x="1408" y="81"/>
                  </a:lnTo>
                  <a:lnTo>
                    <a:pt x="1409" y="82"/>
                  </a:lnTo>
                  <a:lnTo>
                    <a:pt x="1410" y="84"/>
                  </a:lnTo>
                  <a:lnTo>
                    <a:pt x="1410" y="86"/>
                  </a:lnTo>
                  <a:lnTo>
                    <a:pt x="1410" y="89"/>
                  </a:lnTo>
                  <a:lnTo>
                    <a:pt x="1413" y="93"/>
                  </a:lnTo>
                  <a:lnTo>
                    <a:pt x="1416" y="98"/>
                  </a:lnTo>
                  <a:lnTo>
                    <a:pt x="1419" y="101"/>
                  </a:lnTo>
                  <a:lnTo>
                    <a:pt x="1422" y="104"/>
                  </a:lnTo>
                  <a:lnTo>
                    <a:pt x="1425" y="107"/>
                  </a:lnTo>
                  <a:lnTo>
                    <a:pt x="1426" y="110"/>
                  </a:lnTo>
                  <a:lnTo>
                    <a:pt x="1426" y="111"/>
                  </a:lnTo>
                  <a:lnTo>
                    <a:pt x="1427" y="112"/>
                  </a:lnTo>
                  <a:lnTo>
                    <a:pt x="1429" y="115"/>
                  </a:lnTo>
                  <a:lnTo>
                    <a:pt x="1431" y="121"/>
                  </a:lnTo>
                  <a:lnTo>
                    <a:pt x="1433" y="128"/>
                  </a:lnTo>
                  <a:lnTo>
                    <a:pt x="1434" y="131"/>
                  </a:lnTo>
                  <a:lnTo>
                    <a:pt x="1436" y="135"/>
                  </a:lnTo>
                  <a:lnTo>
                    <a:pt x="1438" y="144"/>
                  </a:lnTo>
                  <a:lnTo>
                    <a:pt x="1436" y="153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5" name="Freeform 32"/>
            <p:cNvSpPr>
              <a:spLocks noEditPoints="1"/>
            </p:cNvSpPr>
            <p:nvPr/>
          </p:nvSpPr>
          <p:spPr bwMode="auto">
            <a:xfrm>
              <a:off x="5970588" y="1282700"/>
              <a:ext cx="687387" cy="554038"/>
            </a:xfrm>
            <a:custGeom>
              <a:avLst/>
              <a:gdLst/>
              <a:ahLst/>
              <a:cxnLst>
                <a:cxn ang="0">
                  <a:pos x="1831" y="911"/>
                </a:cxn>
                <a:cxn ang="0">
                  <a:pos x="1782" y="887"/>
                </a:cxn>
                <a:cxn ang="0">
                  <a:pos x="1767" y="848"/>
                </a:cxn>
                <a:cxn ang="0">
                  <a:pos x="1725" y="815"/>
                </a:cxn>
                <a:cxn ang="0">
                  <a:pos x="1676" y="780"/>
                </a:cxn>
                <a:cxn ang="0">
                  <a:pos x="1562" y="686"/>
                </a:cxn>
                <a:cxn ang="0">
                  <a:pos x="1499" y="612"/>
                </a:cxn>
                <a:cxn ang="0">
                  <a:pos x="1496" y="503"/>
                </a:cxn>
                <a:cxn ang="0">
                  <a:pos x="1600" y="483"/>
                </a:cxn>
                <a:cxn ang="0">
                  <a:pos x="1657" y="560"/>
                </a:cxn>
                <a:cxn ang="0">
                  <a:pos x="1757" y="603"/>
                </a:cxn>
                <a:cxn ang="0">
                  <a:pos x="1860" y="623"/>
                </a:cxn>
                <a:cxn ang="0">
                  <a:pos x="1813" y="642"/>
                </a:cxn>
                <a:cxn ang="0">
                  <a:pos x="1782" y="725"/>
                </a:cxn>
                <a:cxn ang="0">
                  <a:pos x="1839" y="780"/>
                </a:cxn>
                <a:cxn ang="0">
                  <a:pos x="840" y="751"/>
                </a:cxn>
                <a:cxn ang="0">
                  <a:pos x="893" y="684"/>
                </a:cxn>
                <a:cxn ang="0">
                  <a:pos x="961" y="682"/>
                </a:cxn>
                <a:cxn ang="0">
                  <a:pos x="1016" y="713"/>
                </a:cxn>
                <a:cxn ang="0">
                  <a:pos x="1040" y="576"/>
                </a:cxn>
                <a:cxn ang="0">
                  <a:pos x="1097" y="569"/>
                </a:cxn>
                <a:cxn ang="0">
                  <a:pos x="1179" y="555"/>
                </a:cxn>
                <a:cxn ang="0">
                  <a:pos x="1216" y="639"/>
                </a:cxn>
                <a:cxn ang="0">
                  <a:pos x="1283" y="663"/>
                </a:cxn>
                <a:cxn ang="0">
                  <a:pos x="1295" y="513"/>
                </a:cxn>
                <a:cxn ang="0">
                  <a:pos x="1218" y="423"/>
                </a:cxn>
                <a:cxn ang="0">
                  <a:pos x="1343" y="326"/>
                </a:cxn>
                <a:cxn ang="0">
                  <a:pos x="1190" y="254"/>
                </a:cxn>
                <a:cxn ang="0">
                  <a:pos x="1105" y="155"/>
                </a:cxn>
                <a:cxn ang="0">
                  <a:pos x="995" y="60"/>
                </a:cxn>
                <a:cxn ang="0">
                  <a:pos x="925" y="271"/>
                </a:cxn>
                <a:cxn ang="0">
                  <a:pos x="842" y="98"/>
                </a:cxn>
                <a:cxn ang="0">
                  <a:pos x="675" y="0"/>
                </a:cxn>
                <a:cxn ang="0">
                  <a:pos x="644" y="85"/>
                </a:cxn>
                <a:cxn ang="0">
                  <a:pos x="620" y="152"/>
                </a:cxn>
                <a:cxn ang="0">
                  <a:pos x="466" y="177"/>
                </a:cxn>
                <a:cxn ang="0">
                  <a:pos x="400" y="179"/>
                </a:cxn>
                <a:cxn ang="0">
                  <a:pos x="178" y="389"/>
                </a:cxn>
                <a:cxn ang="0">
                  <a:pos x="182" y="489"/>
                </a:cxn>
                <a:cxn ang="0">
                  <a:pos x="122" y="522"/>
                </a:cxn>
                <a:cxn ang="0">
                  <a:pos x="9" y="612"/>
                </a:cxn>
                <a:cxn ang="0">
                  <a:pos x="33" y="714"/>
                </a:cxn>
                <a:cxn ang="0">
                  <a:pos x="24" y="762"/>
                </a:cxn>
                <a:cxn ang="0">
                  <a:pos x="4" y="801"/>
                </a:cxn>
                <a:cxn ang="0">
                  <a:pos x="43" y="837"/>
                </a:cxn>
                <a:cxn ang="0">
                  <a:pos x="123" y="899"/>
                </a:cxn>
                <a:cxn ang="0">
                  <a:pos x="198" y="911"/>
                </a:cxn>
                <a:cxn ang="0">
                  <a:pos x="221" y="939"/>
                </a:cxn>
                <a:cxn ang="0">
                  <a:pos x="275" y="951"/>
                </a:cxn>
                <a:cxn ang="0">
                  <a:pos x="344" y="976"/>
                </a:cxn>
                <a:cxn ang="0">
                  <a:pos x="493" y="949"/>
                </a:cxn>
                <a:cxn ang="0">
                  <a:pos x="494" y="865"/>
                </a:cxn>
                <a:cxn ang="0">
                  <a:pos x="544" y="832"/>
                </a:cxn>
                <a:cxn ang="0">
                  <a:pos x="744" y="826"/>
                </a:cxn>
                <a:cxn ang="0">
                  <a:pos x="675" y="1244"/>
                </a:cxn>
                <a:cxn ang="0">
                  <a:pos x="623" y="1218"/>
                </a:cxn>
                <a:cxn ang="0">
                  <a:pos x="496" y="1374"/>
                </a:cxn>
                <a:cxn ang="0">
                  <a:pos x="583" y="1507"/>
                </a:cxn>
                <a:cxn ang="0">
                  <a:pos x="665" y="1383"/>
                </a:cxn>
                <a:cxn ang="0">
                  <a:pos x="691" y="1297"/>
                </a:cxn>
              </a:cxnLst>
              <a:rect l="0" t="0" r="r" b="b"/>
              <a:pathLst>
                <a:path w="1869" h="1508">
                  <a:moveTo>
                    <a:pt x="1869" y="903"/>
                  </a:moveTo>
                  <a:lnTo>
                    <a:pt x="1852" y="901"/>
                  </a:lnTo>
                  <a:lnTo>
                    <a:pt x="1851" y="903"/>
                  </a:lnTo>
                  <a:lnTo>
                    <a:pt x="1850" y="904"/>
                  </a:lnTo>
                  <a:lnTo>
                    <a:pt x="1848" y="904"/>
                  </a:lnTo>
                  <a:lnTo>
                    <a:pt x="1847" y="904"/>
                  </a:lnTo>
                  <a:lnTo>
                    <a:pt x="1847" y="905"/>
                  </a:lnTo>
                  <a:lnTo>
                    <a:pt x="1846" y="905"/>
                  </a:lnTo>
                  <a:lnTo>
                    <a:pt x="1844" y="905"/>
                  </a:lnTo>
                  <a:lnTo>
                    <a:pt x="1843" y="907"/>
                  </a:lnTo>
                  <a:lnTo>
                    <a:pt x="1842" y="907"/>
                  </a:lnTo>
                  <a:lnTo>
                    <a:pt x="1840" y="907"/>
                  </a:lnTo>
                  <a:lnTo>
                    <a:pt x="1838" y="908"/>
                  </a:lnTo>
                  <a:lnTo>
                    <a:pt x="1835" y="909"/>
                  </a:lnTo>
                  <a:lnTo>
                    <a:pt x="1831" y="911"/>
                  </a:lnTo>
                  <a:lnTo>
                    <a:pt x="1827" y="912"/>
                  </a:lnTo>
                  <a:lnTo>
                    <a:pt x="1826" y="913"/>
                  </a:lnTo>
                  <a:lnTo>
                    <a:pt x="1823" y="913"/>
                  </a:lnTo>
                  <a:lnTo>
                    <a:pt x="1821" y="915"/>
                  </a:lnTo>
                  <a:lnTo>
                    <a:pt x="1819" y="916"/>
                  </a:lnTo>
                  <a:lnTo>
                    <a:pt x="1809" y="917"/>
                  </a:lnTo>
                  <a:lnTo>
                    <a:pt x="1801" y="918"/>
                  </a:lnTo>
                  <a:lnTo>
                    <a:pt x="1793" y="918"/>
                  </a:lnTo>
                  <a:lnTo>
                    <a:pt x="1784" y="916"/>
                  </a:lnTo>
                  <a:lnTo>
                    <a:pt x="1782" y="912"/>
                  </a:lnTo>
                  <a:lnTo>
                    <a:pt x="1779" y="903"/>
                  </a:lnTo>
                  <a:lnTo>
                    <a:pt x="1779" y="898"/>
                  </a:lnTo>
                  <a:lnTo>
                    <a:pt x="1779" y="894"/>
                  </a:lnTo>
                  <a:lnTo>
                    <a:pt x="1779" y="890"/>
                  </a:lnTo>
                  <a:lnTo>
                    <a:pt x="1782" y="887"/>
                  </a:lnTo>
                  <a:lnTo>
                    <a:pt x="1783" y="884"/>
                  </a:lnTo>
                  <a:lnTo>
                    <a:pt x="1783" y="879"/>
                  </a:lnTo>
                  <a:lnTo>
                    <a:pt x="1782" y="874"/>
                  </a:lnTo>
                  <a:lnTo>
                    <a:pt x="1782" y="871"/>
                  </a:lnTo>
                  <a:lnTo>
                    <a:pt x="1780" y="869"/>
                  </a:lnTo>
                  <a:lnTo>
                    <a:pt x="1779" y="866"/>
                  </a:lnTo>
                  <a:lnTo>
                    <a:pt x="1778" y="862"/>
                  </a:lnTo>
                  <a:lnTo>
                    <a:pt x="1776" y="858"/>
                  </a:lnTo>
                  <a:lnTo>
                    <a:pt x="1774" y="856"/>
                  </a:lnTo>
                  <a:lnTo>
                    <a:pt x="1772" y="853"/>
                  </a:lnTo>
                  <a:lnTo>
                    <a:pt x="1772" y="852"/>
                  </a:lnTo>
                  <a:lnTo>
                    <a:pt x="1771" y="852"/>
                  </a:lnTo>
                  <a:lnTo>
                    <a:pt x="1770" y="850"/>
                  </a:lnTo>
                  <a:lnTo>
                    <a:pt x="1768" y="849"/>
                  </a:lnTo>
                  <a:lnTo>
                    <a:pt x="1767" y="848"/>
                  </a:lnTo>
                  <a:lnTo>
                    <a:pt x="1761" y="843"/>
                  </a:lnTo>
                  <a:lnTo>
                    <a:pt x="1754" y="837"/>
                  </a:lnTo>
                  <a:lnTo>
                    <a:pt x="1746" y="832"/>
                  </a:lnTo>
                  <a:lnTo>
                    <a:pt x="1740" y="828"/>
                  </a:lnTo>
                  <a:lnTo>
                    <a:pt x="1738" y="827"/>
                  </a:lnTo>
                  <a:lnTo>
                    <a:pt x="1737" y="826"/>
                  </a:lnTo>
                  <a:lnTo>
                    <a:pt x="1736" y="826"/>
                  </a:lnTo>
                  <a:lnTo>
                    <a:pt x="1734" y="824"/>
                  </a:lnTo>
                  <a:lnTo>
                    <a:pt x="1733" y="824"/>
                  </a:lnTo>
                  <a:lnTo>
                    <a:pt x="1732" y="823"/>
                  </a:lnTo>
                  <a:lnTo>
                    <a:pt x="1731" y="822"/>
                  </a:lnTo>
                  <a:lnTo>
                    <a:pt x="1729" y="820"/>
                  </a:lnTo>
                  <a:lnTo>
                    <a:pt x="1728" y="818"/>
                  </a:lnTo>
                  <a:lnTo>
                    <a:pt x="1727" y="816"/>
                  </a:lnTo>
                  <a:lnTo>
                    <a:pt x="1725" y="815"/>
                  </a:lnTo>
                  <a:lnTo>
                    <a:pt x="1725" y="814"/>
                  </a:lnTo>
                  <a:lnTo>
                    <a:pt x="1724" y="814"/>
                  </a:lnTo>
                  <a:lnTo>
                    <a:pt x="1723" y="813"/>
                  </a:lnTo>
                  <a:lnTo>
                    <a:pt x="1720" y="811"/>
                  </a:lnTo>
                  <a:lnTo>
                    <a:pt x="1716" y="809"/>
                  </a:lnTo>
                  <a:lnTo>
                    <a:pt x="1715" y="807"/>
                  </a:lnTo>
                  <a:lnTo>
                    <a:pt x="1715" y="806"/>
                  </a:lnTo>
                  <a:lnTo>
                    <a:pt x="1712" y="805"/>
                  </a:lnTo>
                  <a:lnTo>
                    <a:pt x="1711" y="803"/>
                  </a:lnTo>
                  <a:lnTo>
                    <a:pt x="1708" y="802"/>
                  </a:lnTo>
                  <a:lnTo>
                    <a:pt x="1707" y="799"/>
                  </a:lnTo>
                  <a:lnTo>
                    <a:pt x="1706" y="798"/>
                  </a:lnTo>
                  <a:lnTo>
                    <a:pt x="1704" y="797"/>
                  </a:lnTo>
                  <a:lnTo>
                    <a:pt x="1690" y="789"/>
                  </a:lnTo>
                  <a:lnTo>
                    <a:pt x="1676" y="780"/>
                  </a:lnTo>
                  <a:lnTo>
                    <a:pt x="1659" y="773"/>
                  </a:lnTo>
                  <a:lnTo>
                    <a:pt x="1644" y="769"/>
                  </a:lnTo>
                  <a:lnTo>
                    <a:pt x="1640" y="768"/>
                  </a:lnTo>
                  <a:lnTo>
                    <a:pt x="1638" y="768"/>
                  </a:lnTo>
                  <a:lnTo>
                    <a:pt x="1636" y="767"/>
                  </a:lnTo>
                  <a:lnTo>
                    <a:pt x="1635" y="767"/>
                  </a:lnTo>
                  <a:lnTo>
                    <a:pt x="1615" y="765"/>
                  </a:lnTo>
                  <a:lnTo>
                    <a:pt x="1596" y="764"/>
                  </a:lnTo>
                  <a:lnTo>
                    <a:pt x="1550" y="752"/>
                  </a:lnTo>
                  <a:lnTo>
                    <a:pt x="1549" y="745"/>
                  </a:lnTo>
                  <a:lnTo>
                    <a:pt x="1547" y="730"/>
                  </a:lnTo>
                  <a:lnTo>
                    <a:pt x="1549" y="718"/>
                  </a:lnTo>
                  <a:lnTo>
                    <a:pt x="1553" y="708"/>
                  </a:lnTo>
                  <a:lnTo>
                    <a:pt x="1558" y="697"/>
                  </a:lnTo>
                  <a:lnTo>
                    <a:pt x="1562" y="686"/>
                  </a:lnTo>
                  <a:lnTo>
                    <a:pt x="1567" y="675"/>
                  </a:lnTo>
                  <a:lnTo>
                    <a:pt x="1570" y="665"/>
                  </a:lnTo>
                  <a:lnTo>
                    <a:pt x="1570" y="658"/>
                  </a:lnTo>
                  <a:lnTo>
                    <a:pt x="1570" y="653"/>
                  </a:lnTo>
                  <a:lnTo>
                    <a:pt x="1570" y="646"/>
                  </a:lnTo>
                  <a:lnTo>
                    <a:pt x="1567" y="640"/>
                  </a:lnTo>
                  <a:lnTo>
                    <a:pt x="1563" y="631"/>
                  </a:lnTo>
                  <a:lnTo>
                    <a:pt x="1559" y="623"/>
                  </a:lnTo>
                  <a:lnTo>
                    <a:pt x="1554" y="619"/>
                  </a:lnTo>
                  <a:lnTo>
                    <a:pt x="1547" y="615"/>
                  </a:lnTo>
                  <a:lnTo>
                    <a:pt x="1541" y="614"/>
                  </a:lnTo>
                  <a:lnTo>
                    <a:pt x="1533" y="612"/>
                  </a:lnTo>
                  <a:lnTo>
                    <a:pt x="1524" y="612"/>
                  </a:lnTo>
                  <a:lnTo>
                    <a:pt x="1513" y="612"/>
                  </a:lnTo>
                  <a:lnTo>
                    <a:pt x="1499" y="612"/>
                  </a:lnTo>
                  <a:lnTo>
                    <a:pt x="1485" y="611"/>
                  </a:lnTo>
                  <a:lnTo>
                    <a:pt x="1478" y="610"/>
                  </a:lnTo>
                  <a:lnTo>
                    <a:pt x="1473" y="607"/>
                  </a:lnTo>
                  <a:lnTo>
                    <a:pt x="1468" y="603"/>
                  </a:lnTo>
                  <a:lnTo>
                    <a:pt x="1462" y="598"/>
                  </a:lnTo>
                  <a:lnTo>
                    <a:pt x="1455" y="582"/>
                  </a:lnTo>
                  <a:lnTo>
                    <a:pt x="1449" y="572"/>
                  </a:lnTo>
                  <a:lnTo>
                    <a:pt x="1449" y="568"/>
                  </a:lnTo>
                  <a:lnTo>
                    <a:pt x="1449" y="565"/>
                  </a:lnTo>
                  <a:lnTo>
                    <a:pt x="1449" y="561"/>
                  </a:lnTo>
                  <a:lnTo>
                    <a:pt x="1451" y="560"/>
                  </a:lnTo>
                  <a:lnTo>
                    <a:pt x="1460" y="550"/>
                  </a:lnTo>
                  <a:lnTo>
                    <a:pt x="1474" y="534"/>
                  </a:lnTo>
                  <a:lnTo>
                    <a:pt x="1483" y="520"/>
                  </a:lnTo>
                  <a:lnTo>
                    <a:pt x="1496" y="503"/>
                  </a:lnTo>
                  <a:lnTo>
                    <a:pt x="1509" y="486"/>
                  </a:lnTo>
                  <a:lnTo>
                    <a:pt x="1517" y="476"/>
                  </a:lnTo>
                  <a:lnTo>
                    <a:pt x="1534" y="458"/>
                  </a:lnTo>
                  <a:lnTo>
                    <a:pt x="1560" y="434"/>
                  </a:lnTo>
                  <a:lnTo>
                    <a:pt x="1574" y="424"/>
                  </a:lnTo>
                  <a:lnTo>
                    <a:pt x="1584" y="416"/>
                  </a:lnTo>
                  <a:lnTo>
                    <a:pt x="1588" y="414"/>
                  </a:lnTo>
                  <a:lnTo>
                    <a:pt x="1592" y="412"/>
                  </a:lnTo>
                  <a:lnTo>
                    <a:pt x="1593" y="412"/>
                  </a:lnTo>
                  <a:lnTo>
                    <a:pt x="1594" y="415"/>
                  </a:lnTo>
                  <a:lnTo>
                    <a:pt x="1593" y="438"/>
                  </a:lnTo>
                  <a:lnTo>
                    <a:pt x="1592" y="461"/>
                  </a:lnTo>
                  <a:lnTo>
                    <a:pt x="1593" y="471"/>
                  </a:lnTo>
                  <a:lnTo>
                    <a:pt x="1597" y="479"/>
                  </a:lnTo>
                  <a:lnTo>
                    <a:pt x="1600" y="483"/>
                  </a:lnTo>
                  <a:lnTo>
                    <a:pt x="1604" y="486"/>
                  </a:lnTo>
                  <a:lnTo>
                    <a:pt x="1609" y="488"/>
                  </a:lnTo>
                  <a:lnTo>
                    <a:pt x="1614" y="491"/>
                  </a:lnTo>
                  <a:lnTo>
                    <a:pt x="1626" y="495"/>
                  </a:lnTo>
                  <a:lnTo>
                    <a:pt x="1635" y="499"/>
                  </a:lnTo>
                  <a:lnTo>
                    <a:pt x="1642" y="503"/>
                  </a:lnTo>
                  <a:lnTo>
                    <a:pt x="1646" y="508"/>
                  </a:lnTo>
                  <a:lnTo>
                    <a:pt x="1648" y="514"/>
                  </a:lnTo>
                  <a:lnTo>
                    <a:pt x="1649" y="523"/>
                  </a:lnTo>
                  <a:lnTo>
                    <a:pt x="1651" y="534"/>
                  </a:lnTo>
                  <a:lnTo>
                    <a:pt x="1651" y="547"/>
                  </a:lnTo>
                  <a:lnTo>
                    <a:pt x="1651" y="551"/>
                  </a:lnTo>
                  <a:lnTo>
                    <a:pt x="1652" y="555"/>
                  </a:lnTo>
                  <a:lnTo>
                    <a:pt x="1655" y="557"/>
                  </a:lnTo>
                  <a:lnTo>
                    <a:pt x="1657" y="560"/>
                  </a:lnTo>
                  <a:lnTo>
                    <a:pt x="1664" y="563"/>
                  </a:lnTo>
                  <a:lnTo>
                    <a:pt x="1673" y="563"/>
                  </a:lnTo>
                  <a:lnTo>
                    <a:pt x="1693" y="560"/>
                  </a:lnTo>
                  <a:lnTo>
                    <a:pt x="1711" y="559"/>
                  </a:lnTo>
                  <a:lnTo>
                    <a:pt x="1717" y="559"/>
                  </a:lnTo>
                  <a:lnTo>
                    <a:pt x="1724" y="560"/>
                  </a:lnTo>
                  <a:lnTo>
                    <a:pt x="1731" y="563"/>
                  </a:lnTo>
                  <a:lnTo>
                    <a:pt x="1737" y="567"/>
                  </a:lnTo>
                  <a:lnTo>
                    <a:pt x="1742" y="571"/>
                  </a:lnTo>
                  <a:lnTo>
                    <a:pt x="1746" y="576"/>
                  </a:lnTo>
                  <a:lnTo>
                    <a:pt x="1749" y="582"/>
                  </a:lnTo>
                  <a:lnTo>
                    <a:pt x="1749" y="589"/>
                  </a:lnTo>
                  <a:lnTo>
                    <a:pt x="1750" y="595"/>
                  </a:lnTo>
                  <a:lnTo>
                    <a:pt x="1753" y="599"/>
                  </a:lnTo>
                  <a:lnTo>
                    <a:pt x="1757" y="603"/>
                  </a:lnTo>
                  <a:lnTo>
                    <a:pt x="1762" y="605"/>
                  </a:lnTo>
                  <a:lnTo>
                    <a:pt x="1767" y="606"/>
                  </a:lnTo>
                  <a:lnTo>
                    <a:pt x="1775" y="606"/>
                  </a:lnTo>
                  <a:lnTo>
                    <a:pt x="1782" y="605"/>
                  </a:lnTo>
                  <a:lnTo>
                    <a:pt x="1789" y="603"/>
                  </a:lnTo>
                  <a:lnTo>
                    <a:pt x="1805" y="601"/>
                  </a:lnTo>
                  <a:lnTo>
                    <a:pt x="1821" y="597"/>
                  </a:lnTo>
                  <a:lnTo>
                    <a:pt x="1827" y="595"/>
                  </a:lnTo>
                  <a:lnTo>
                    <a:pt x="1833" y="595"/>
                  </a:lnTo>
                  <a:lnTo>
                    <a:pt x="1836" y="595"/>
                  </a:lnTo>
                  <a:lnTo>
                    <a:pt x="1840" y="598"/>
                  </a:lnTo>
                  <a:lnTo>
                    <a:pt x="1846" y="602"/>
                  </a:lnTo>
                  <a:lnTo>
                    <a:pt x="1851" y="608"/>
                  </a:lnTo>
                  <a:lnTo>
                    <a:pt x="1855" y="615"/>
                  </a:lnTo>
                  <a:lnTo>
                    <a:pt x="1860" y="623"/>
                  </a:lnTo>
                  <a:lnTo>
                    <a:pt x="1863" y="631"/>
                  </a:lnTo>
                  <a:lnTo>
                    <a:pt x="1865" y="639"/>
                  </a:lnTo>
                  <a:lnTo>
                    <a:pt x="1867" y="646"/>
                  </a:lnTo>
                  <a:lnTo>
                    <a:pt x="1865" y="654"/>
                  </a:lnTo>
                  <a:lnTo>
                    <a:pt x="1864" y="661"/>
                  </a:lnTo>
                  <a:lnTo>
                    <a:pt x="1861" y="665"/>
                  </a:lnTo>
                  <a:lnTo>
                    <a:pt x="1860" y="666"/>
                  </a:lnTo>
                  <a:lnTo>
                    <a:pt x="1857" y="667"/>
                  </a:lnTo>
                  <a:lnTo>
                    <a:pt x="1852" y="666"/>
                  </a:lnTo>
                  <a:lnTo>
                    <a:pt x="1847" y="662"/>
                  </a:lnTo>
                  <a:lnTo>
                    <a:pt x="1840" y="657"/>
                  </a:lnTo>
                  <a:lnTo>
                    <a:pt x="1835" y="650"/>
                  </a:lnTo>
                  <a:lnTo>
                    <a:pt x="1829" y="645"/>
                  </a:lnTo>
                  <a:lnTo>
                    <a:pt x="1822" y="642"/>
                  </a:lnTo>
                  <a:lnTo>
                    <a:pt x="1813" y="642"/>
                  </a:lnTo>
                  <a:lnTo>
                    <a:pt x="1806" y="642"/>
                  </a:lnTo>
                  <a:lnTo>
                    <a:pt x="1801" y="642"/>
                  </a:lnTo>
                  <a:lnTo>
                    <a:pt x="1797" y="645"/>
                  </a:lnTo>
                  <a:lnTo>
                    <a:pt x="1796" y="646"/>
                  </a:lnTo>
                  <a:lnTo>
                    <a:pt x="1795" y="649"/>
                  </a:lnTo>
                  <a:lnTo>
                    <a:pt x="1793" y="653"/>
                  </a:lnTo>
                  <a:lnTo>
                    <a:pt x="1795" y="657"/>
                  </a:lnTo>
                  <a:lnTo>
                    <a:pt x="1796" y="666"/>
                  </a:lnTo>
                  <a:lnTo>
                    <a:pt x="1799" y="678"/>
                  </a:lnTo>
                  <a:lnTo>
                    <a:pt x="1799" y="684"/>
                  </a:lnTo>
                  <a:lnTo>
                    <a:pt x="1799" y="691"/>
                  </a:lnTo>
                  <a:lnTo>
                    <a:pt x="1799" y="697"/>
                  </a:lnTo>
                  <a:lnTo>
                    <a:pt x="1796" y="705"/>
                  </a:lnTo>
                  <a:lnTo>
                    <a:pt x="1791" y="713"/>
                  </a:lnTo>
                  <a:lnTo>
                    <a:pt x="1782" y="725"/>
                  </a:lnTo>
                  <a:lnTo>
                    <a:pt x="1779" y="731"/>
                  </a:lnTo>
                  <a:lnTo>
                    <a:pt x="1779" y="735"/>
                  </a:lnTo>
                  <a:lnTo>
                    <a:pt x="1780" y="738"/>
                  </a:lnTo>
                  <a:lnTo>
                    <a:pt x="1782" y="739"/>
                  </a:lnTo>
                  <a:lnTo>
                    <a:pt x="1785" y="739"/>
                  </a:lnTo>
                  <a:lnTo>
                    <a:pt x="1789" y="741"/>
                  </a:lnTo>
                  <a:lnTo>
                    <a:pt x="1796" y="741"/>
                  </a:lnTo>
                  <a:lnTo>
                    <a:pt x="1802" y="742"/>
                  </a:lnTo>
                  <a:lnTo>
                    <a:pt x="1808" y="743"/>
                  </a:lnTo>
                  <a:lnTo>
                    <a:pt x="1813" y="746"/>
                  </a:lnTo>
                  <a:lnTo>
                    <a:pt x="1817" y="748"/>
                  </a:lnTo>
                  <a:lnTo>
                    <a:pt x="1822" y="754"/>
                  </a:lnTo>
                  <a:lnTo>
                    <a:pt x="1826" y="759"/>
                  </a:lnTo>
                  <a:lnTo>
                    <a:pt x="1830" y="764"/>
                  </a:lnTo>
                  <a:lnTo>
                    <a:pt x="1839" y="780"/>
                  </a:lnTo>
                  <a:lnTo>
                    <a:pt x="1850" y="796"/>
                  </a:lnTo>
                  <a:lnTo>
                    <a:pt x="1859" y="813"/>
                  </a:lnTo>
                  <a:lnTo>
                    <a:pt x="1865" y="830"/>
                  </a:lnTo>
                  <a:lnTo>
                    <a:pt x="1868" y="847"/>
                  </a:lnTo>
                  <a:lnTo>
                    <a:pt x="1868" y="871"/>
                  </a:lnTo>
                  <a:lnTo>
                    <a:pt x="1868" y="894"/>
                  </a:lnTo>
                  <a:lnTo>
                    <a:pt x="1869" y="903"/>
                  </a:lnTo>
                  <a:close/>
                  <a:moveTo>
                    <a:pt x="808" y="811"/>
                  </a:moveTo>
                  <a:lnTo>
                    <a:pt x="827" y="780"/>
                  </a:lnTo>
                  <a:lnTo>
                    <a:pt x="831" y="773"/>
                  </a:lnTo>
                  <a:lnTo>
                    <a:pt x="833" y="767"/>
                  </a:lnTo>
                  <a:lnTo>
                    <a:pt x="833" y="765"/>
                  </a:lnTo>
                  <a:lnTo>
                    <a:pt x="836" y="760"/>
                  </a:lnTo>
                  <a:lnTo>
                    <a:pt x="838" y="754"/>
                  </a:lnTo>
                  <a:lnTo>
                    <a:pt x="840" y="751"/>
                  </a:lnTo>
                  <a:lnTo>
                    <a:pt x="840" y="750"/>
                  </a:lnTo>
                  <a:lnTo>
                    <a:pt x="840" y="748"/>
                  </a:lnTo>
                  <a:lnTo>
                    <a:pt x="841" y="747"/>
                  </a:lnTo>
                  <a:lnTo>
                    <a:pt x="844" y="746"/>
                  </a:lnTo>
                  <a:lnTo>
                    <a:pt x="845" y="743"/>
                  </a:lnTo>
                  <a:lnTo>
                    <a:pt x="845" y="741"/>
                  </a:lnTo>
                  <a:lnTo>
                    <a:pt x="846" y="735"/>
                  </a:lnTo>
                  <a:lnTo>
                    <a:pt x="850" y="727"/>
                  </a:lnTo>
                  <a:lnTo>
                    <a:pt x="855" y="718"/>
                  </a:lnTo>
                  <a:lnTo>
                    <a:pt x="862" y="710"/>
                  </a:lnTo>
                  <a:lnTo>
                    <a:pt x="870" y="701"/>
                  </a:lnTo>
                  <a:lnTo>
                    <a:pt x="876" y="695"/>
                  </a:lnTo>
                  <a:lnTo>
                    <a:pt x="883" y="690"/>
                  </a:lnTo>
                  <a:lnTo>
                    <a:pt x="888" y="687"/>
                  </a:lnTo>
                  <a:lnTo>
                    <a:pt x="893" y="684"/>
                  </a:lnTo>
                  <a:lnTo>
                    <a:pt x="899" y="682"/>
                  </a:lnTo>
                  <a:lnTo>
                    <a:pt x="901" y="680"/>
                  </a:lnTo>
                  <a:lnTo>
                    <a:pt x="904" y="679"/>
                  </a:lnTo>
                  <a:lnTo>
                    <a:pt x="908" y="676"/>
                  </a:lnTo>
                  <a:lnTo>
                    <a:pt x="913" y="674"/>
                  </a:lnTo>
                  <a:lnTo>
                    <a:pt x="916" y="674"/>
                  </a:lnTo>
                  <a:lnTo>
                    <a:pt x="920" y="673"/>
                  </a:lnTo>
                  <a:lnTo>
                    <a:pt x="926" y="673"/>
                  </a:lnTo>
                  <a:lnTo>
                    <a:pt x="931" y="671"/>
                  </a:lnTo>
                  <a:lnTo>
                    <a:pt x="933" y="670"/>
                  </a:lnTo>
                  <a:lnTo>
                    <a:pt x="937" y="670"/>
                  </a:lnTo>
                  <a:lnTo>
                    <a:pt x="942" y="671"/>
                  </a:lnTo>
                  <a:lnTo>
                    <a:pt x="947" y="674"/>
                  </a:lnTo>
                  <a:lnTo>
                    <a:pt x="956" y="679"/>
                  </a:lnTo>
                  <a:lnTo>
                    <a:pt x="961" y="682"/>
                  </a:lnTo>
                  <a:lnTo>
                    <a:pt x="976" y="692"/>
                  </a:lnTo>
                  <a:lnTo>
                    <a:pt x="986" y="703"/>
                  </a:lnTo>
                  <a:lnTo>
                    <a:pt x="989" y="708"/>
                  </a:lnTo>
                  <a:lnTo>
                    <a:pt x="993" y="709"/>
                  </a:lnTo>
                  <a:lnTo>
                    <a:pt x="994" y="709"/>
                  </a:lnTo>
                  <a:lnTo>
                    <a:pt x="994" y="710"/>
                  </a:lnTo>
                  <a:lnTo>
                    <a:pt x="995" y="712"/>
                  </a:lnTo>
                  <a:lnTo>
                    <a:pt x="998" y="712"/>
                  </a:lnTo>
                  <a:lnTo>
                    <a:pt x="998" y="712"/>
                  </a:lnTo>
                  <a:lnTo>
                    <a:pt x="999" y="712"/>
                  </a:lnTo>
                  <a:lnTo>
                    <a:pt x="1002" y="713"/>
                  </a:lnTo>
                  <a:lnTo>
                    <a:pt x="1007" y="714"/>
                  </a:lnTo>
                  <a:lnTo>
                    <a:pt x="1012" y="714"/>
                  </a:lnTo>
                  <a:lnTo>
                    <a:pt x="1016" y="714"/>
                  </a:lnTo>
                  <a:lnTo>
                    <a:pt x="1016" y="713"/>
                  </a:lnTo>
                  <a:lnTo>
                    <a:pt x="1016" y="684"/>
                  </a:lnTo>
                  <a:lnTo>
                    <a:pt x="1016" y="683"/>
                  </a:lnTo>
                  <a:lnTo>
                    <a:pt x="1016" y="683"/>
                  </a:lnTo>
                  <a:lnTo>
                    <a:pt x="1032" y="675"/>
                  </a:lnTo>
                  <a:lnTo>
                    <a:pt x="1048" y="669"/>
                  </a:lnTo>
                  <a:lnTo>
                    <a:pt x="1052" y="667"/>
                  </a:lnTo>
                  <a:lnTo>
                    <a:pt x="1054" y="665"/>
                  </a:lnTo>
                  <a:lnTo>
                    <a:pt x="1056" y="659"/>
                  </a:lnTo>
                  <a:lnTo>
                    <a:pt x="1056" y="653"/>
                  </a:lnTo>
                  <a:lnTo>
                    <a:pt x="1053" y="640"/>
                  </a:lnTo>
                  <a:lnTo>
                    <a:pt x="1049" y="623"/>
                  </a:lnTo>
                  <a:lnTo>
                    <a:pt x="1045" y="606"/>
                  </a:lnTo>
                  <a:lnTo>
                    <a:pt x="1041" y="589"/>
                  </a:lnTo>
                  <a:lnTo>
                    <a:pt x="1040" y="582"/>
                  </a:lnTo>
                  <a:lnTo>
                    <a:pt x="1040" y="576"/>
                  </a:lnTo>
                  <a:lnTo>
                    <a:pt x="1040" y="569"/>
                  </a:lnTo>
                  <a:lnTo>
                    <a:pt x="1043" y="565"/>
                  </a:lnTo>
                  <a:lnTo>
                    <a:pt x="1046" y="561"/>
                  </a:lnTo>
                  <a:lnTo>
                    <a:pt x="1053" y="557"/>
                  </a:lnTo>
                  <a:lnTo>
                    <a:pt x="1062" y="555"/>
                  </a:lnTo>
                  <a:lnTo>
                    <a:pt x="1071" y="554"/>
                  </a:lnTo>
                  <a:lnTo>
                    <a:pt x="1079" y="554"/>
                  </a:lnTo>
                  <a:lnTo>
                    <a:pt x="1087" y="556"/>
                  </a:lnTo>
                  <a:lnTo>
                    <a:pt x="1091" y="557"/>
                  </a:lnTo>
                  <a:lnTo>
                    <a:pt x="1092" y="559"/>
                  </a:lnTo>
                  <a:lnTo>
                    <a:pt x="1095" y="561"/>
                  </a:lnTo>
                  <a:lnTo>
                    <a:pt x="1095" y="564"/>
                  </a:lnTo>
                  <a:lnTo>
                    <a:pt x="1096" y="565"/>
                  </a:lnTo>
                  <a:lnTo>
                    <a:pt x="1097" y="567"/>
                  </a:lnTo>
                  <a:lnTo>
                    <a:pt x="1097" y="569"/>
                  </a:lnTo>
                  <a:lnTo>
                    <a:pt x="1097" y="577"/>
                  </a:lnTo>
                  <a:lnTo>
                    <a:pt x="1099" y="582"/>
                  </a:lnTo>
                  <a:lnTo>
                    <a:pt x="1101" y="585"/>
                  </a:lnTo>
                  <a:lnTo>
                    <a:pt x="1103" y="586"/>
                  </a:lnTo>
                  <a:lnTo>
                    <a:pt x="1109" y="582"/>
                  </a:lnTo>
                  <a:lnTo>
                    <a:pt x="1118" y="573"/>
                  </a:lnTo>
                  <a:lnTo>
                    <a:pt x="1128" y="563"/>
                  </a:lnTo>
                  <a:lnTo>
                    <a:pt x="1139" y="551"/>
                  </a:lnTo>
                  <a:lnTo>
                    <a:pt x="1145" y="546"/>
                  </a:lnTo>
                  <a:lnTo>
                    <a:pt x="1151" y="542"/>
                  </a:lnTo>
                  <a:lnTo>
                    <a:pt x="1158" y="539"/>
                  </a:lnTo>
                  <a:lnTo>
                    <a:pt x="1164" y="538"/>
                  </a:lnTo>
                  <a:lnTo>
                    <a:pt x="1167" y="538"/>
                  </a:lnTo>
                  <a:lnTo>
                    <a:pt x="1168" y="538"/>
                  </a:lnTo>
                  <a:lnTo>
                    <a:pt x="1179" y="555"/>
                  </a:lnTo>
                  <a:lnTo>
                    <a:pt x="1189" y="571"/>
                  </a:lnTo>
                  <a:lnTo>
                    <a:pt x="1194" y="580"/>
                  </a:lnTo>
                  <a:lnTo>
                    <a:pt x="1198" y="590"/>
                  </a:lnTo>
                  <a:lnTo>
                    <a:pt x="1202" y="601"/>
                  </a:lnTo>
                  <a:lnTo>
                    <a:pt x="1203" y="615"/>
                  </a:lnTo>
                  <a:lnTo>
                    <a:pt x="1203" y="616"/>
                  </a:lnTo>
                  <a:lnTo>
                    <a:pt x="1203" y="616"/>
                  </a:lnTo>
                  <a:lnTo>
                    <a:pt x="1205" y="619"/>
                  </a:lnTo>
                  <a:lnTo>
                    <a:pt x="1206" y="620"/>
                  </a:lnTo>
                  <a:lnTo>
                    <a:pt x="1207" y="622"/>
                  </a:lnTo>
                  <a:lnTo>
                    <a:pt x="1207" y="624"/>
                  </a:lnTo>
                  <a:lnTo>
                    <a:pt x="1207" y="627"/>
                  </a:lnTo>
                  <a:lnTo>
                    <a:pt x="1210" y="631"/>
                  </a:lnTo>
                  <a:lnTo>
                    <a:pt x="1213" y="636"/>
                  </a:lnTo>
                  <a:lnTo>
                    <a:pt x="1216" y="639"/>
                  </a:lnTo>
                  <a:lnTo>
                    <a:pt x="1219" y="642"/>
                  </a:lnTo>
                  <a:lnTo>
                    <a:pt x="1222" y="645"/>
                  </a:lnTo>
                  <a:lnTo>
                    <a:pt x="1223" y="648"/>
                  </a:lnTo>
                  <a:lnTo>
                    <a:pt x="1223" y="649"/>
                  </a:lnTo>
                  <a:lnTo>
                    <a:pt x="1224" y="650"/>
                  </a:lnTo>
                  <a:lnTo>
                    <a:pt x="1226" y="653"/>
                  </a:lnTo>
                  <a:lnTo>
                    <a:pt x="1228" y="659"/>
                  </a:lnTo>
                  <a:lnTo>
                    <a:pt x="1230" y="666"/>
                  </a:lnTo>
                  <a:lnTo>
                    <a:pt x="1231" y="669"/>
                  </a:lnTo>
                  <a:lnTo>
                    <a:pt x="1233" y="673"/>
                  </a:lnTo>
                  <a:lnTo>
                    <a:pt x="1235" y="682"/>
                  </a:lnTo>
                  <a:lnTo>
                    <a:pt x="1233" y="691"/>
                  </a:lnTo>
                  <a:lnTo>
                    <a:pt x="1273" y="674"/>
                  </a:lnTo>
                  <a:lnTo>
                    <a:pt x="1287" y="667"/>
                  </a:lnTo>
                  <a:lnTo>
                    <a:pt x="1283" y="663"/>
                  </a:lnTo>
                  <a:lnTo>
                    <a:pt x="1281" y="658"/>
                  </a:lnTo>
                  <a:lnTo>
                    <a:pt x="1281" y="653"/>
                  </a:lnTo>
                  <a:lnTo>
                    <a:pt x="1281" y="645"/>
                  </a:lnTo>
                  <a:lnTo>
                    <a:pt x="1282" y="632"/>
                  </a:lnTo>
                  <a:lnTo>
                    <a:pt x="1286" y="619"/>
                  </a:lnTo>
                  <a:lnTo>
                    <a:pt x="1290" y="606"/>
                  </a:lnTo>
                  <a:lnTo>
                    <a:pt x="1294" y="593"/>
                  </a:lnTo>
                  <a:lnTo>
                    <a:pt x="1298" y="580"/>
                  </a:lnTo>
                  <a:lnTo>
                    <a:pt x="1301" y="567"/>
                  </a:lnTo>
                  <a:lnTo>
                    <a:pt x="1304" y="555"/>
                  </a:lnTo>
                  <a:lnTo>
                    <a:pt x="1304" y="543"/>
                  </a:lnTo>
                  <a:lnTo>
                    <a:pt x="1304" y="534"/>
                  </a:lnTo>
                  <a:lnTo>
                    <a:pt x="1303" y="526"/>
                  </a:lnTo>
                  <a:lnTo>
                    <a:pt x="1299" y="520"/>
                  </a:lnTo>
                  <a:lnTo>
                    <a:pt x="1295" y="513"/>
                  </a:lnTo>
                  <a:lnTo>
                    <a:pt x="1291" y="508"/>
                  </a:lnTo>
                  <a:lnTo>
                    <a:pt x="1286" y="504"/>
                  </a:lnTo>
                  <a:lnTo>
                    <a:pt x="1281" y="500"/>
                  </a:lnTo>
                  <a:lnTo>
                    <a:pt x="1274" y="496"/>
                  </a:lnTo>
                  <a:lnTo>
                    <a:pt x="1261" y="489"/>
                  </a:lnTo>
                  <a:lnTo>
                    <a:pt x="1248" y="482"/>
                  </a:lnTo>
                  <a:lnTo>
                    <a:pt x="1243" y="478"/>
                  </a:lnTo>
                  <a:lnTo>
                    <a:pt x="1236" y="474"/>
                  </a:lnTo>
                  <a:lnTo>
                    <a:pt x="1232" y="468"/>
                  </a:lnTo>
                  <a:lnTo>
                    <a:pt x="1227" y="462"/>
                  </a:lnTo>
                  <a:lnTo>
                    <a:pt x="1223" y="453"/>
                  </a:lnTo>
                  <a:lnTo>
                    <a:pt x="1219" y="445"/>
                  </a:lnTo>
                  <a:lnTo>
                    <a:pt x="1218" y="437"/>
                  </a:lnTo>
                  <a:lnTo>
                    <a:pt x="1218" y="429"/>
                  </a:lnTo>
                  <a:lnTo>
                    <a:pt x="1218" y="423"/>
                  </a:lnTo>
                  <a:lnTo>
                    <a:pt x="1220" y="416"/>
                  </a:lnTo>
                  <a:lnTo>
                    <a:pt x="1223" y="410"/>
                  </a:lnTo>
                  <a:lnTo>
                    <a:pt x="1226" y="404"/>
                  </a:lnTo>
                  <a:lnTo>
                    <a:pt x="1236" y="394"/>
                  </a:lnTo>
                  <a:lnTo>
                    <a:pt x="1248" y="386"/>
                  </a:lnTo>
                  <a:lnTo>
                    <a:pt x="1261" y="378"/>
                  </a:lnTo>
                  <a:lnTo>
                    <a:pt x="1277" y="370"/>
                  </a:lnTo>
                  <a:lnTo>
                    <a:pt x="1305" y="359"/>
                  </a:lnTo>
                  <a:lnTo>
                    <a:pt x="1329" y="347"/>
                  </a:lnTo>
                  <a:lnTo>
                    <a:pt x="1334" y="343"/>
                  </a:lnTo>
                  <a:lnTo>
                    <a:pt x="1338" y="340"/>
                  </a:lnTo>
                  <a:lnTo>
                    <a:pt x="1341" y="336"/>
                  </a:lnTo>
                  <a:lnTo>
                    <a:pt x="1342" y="334"/>
                  </a:lnTo>
                  <a:lnTo>
                    <a:pt x="1343" y="330"/>
                  </a:lnTo>
                  <a:lnTo>
                    <a:pt x="1343" y="326"/>
                  </a:lnTo>
                  <a:lnTo>
                    <a:pt x="1341" y="322"/>
                  </a:lnTo>
                  <a:lnTo>
                    <a:pt x="1338" y="317"/>
                  </a:lnTo>
                  <a:lnTo>
                    <a:pt x="1325" y="302"/>
                  </a:lnTo>
                  <a:lnTo>
                    <a:pt x="1309" y="287"/>
                  </a:lnTo>
                  <a:lnTo>
                    <a:pt x="1299" y="278"/>
                  </a:lnTo>
                  <a:lnTo>
                    <a:pt x="1290" y="271"/>
                  </a:lnTo>
                  <a:lnTo>
                    <a:pt x="1279" y="263"/>
                  </a:lnTo>
                  <a:lnTo>
                    <a:pt x="1267" y="257"/>
                  </a:lnTo>
                  <a:lnTo>
                    <a:pt x="1257" y="251"/>
                  </a:lnTo>
                  <a:lnTo>
                    <a:pt x="1245" y="247"/>
                  </a:lnTo>
                  <a:lnTo>
                    <a:pt x="1235" y="245"/>
                  </a:lnTo>
                  <a:lnTo>
                    <a:pt x="1223" y="244"/>
                  </a:lnTo>
                  <a:lnTo>
                    <a:pt x="1211" y="245"/>
                  </a:lnTo>
                  <a:lnTo>
                    <a:pt x="1201" y="249"/>
                  </a:lnTo>
                  <a:lnTo>
                    <a:pt x="1190" y="254"/>
                  </a:lnTo>
                  <a:lnTo>
                    <a:pt x="1180" y="263"/>
                  </a:lnTo>
                  <a:lnTo>
                    <a:pt x="1164" y="279"/>
                  </a:lnTo>
                  <a:lnTo>
                    <a:pt x="1152" y="289"/>
                  </a:lnTo>
                  <a:lnTo>
                    <a:pt x="1147" y="293"/>
                  </a:lnTo>
                  <a:lnTo>
                    <a:pt x="1143" y="296"/>
                  </a:lnTo>
                  <a:lnTo>
                    <a:pt x="1141" y="297"/>
                  </a:lnTo>
                  <a:lnTo>
                    <a:pt x="1138" y="297"/>
                  </a:lnTo>
                  <a:lnTo>
                    <a:pt x="1135" y="295"/>
                  </a:lnTo>
                  <a:lnTo>
                    <a:pt x="1133" y="292"/>
                  </a:lnTo>
                  <a:lnTo>
                    <a:pt x="1131" y="287"/>
                  </a:lnTo>
                  <a:lnTo>
                    <a:pt x="1129" y="281"/>
                  </a:lnTo>
                  <a:lnTo>
                    <a:pt x="1125" y="264"/>
                  </a:lnTo>
                  <a:lnTo>
                    <a:pt x="1118" y="242"/>
                  </a:lnTo>
                  <a:lnTo>
                    <a:pt x="1112" y="195"/>
                  </a:lnTo>
                  <a:lnTo>
                    <a:pt x="1105" y="155"/>
                  </a:lnTo>
                  <a:lnTo>
                    <a:pt x="1104" y="145"/>
                  </a:lnTo>
                  <a:lnTo>
                    <a:pt x="1100" y="136"/>
                  </a:lnTo>
                  <a:lnTo>
                    <a:pt x="1096" y="128"/>
                  </a:lnTo>
                  <a:lnTo>
                    <a:pt x="1091" y="121"/>
                  </a:lnTo>
                  <a:lnTo>
                    <a:pt x="1084" y="114"/>
                  </a:lnTo>
                  <a:lnTo>
                    <a:pt x="1077" y="107"/>
                  </a:lnTo>
                  <a:lnTo>
                    <a:pt x="1066" y="102"/>
                  </a:lnTo>
                  <a:lnTo>
                    <a:pt x="1054" y="97"/>
                  </a:lnTo>
                  <a:lnTo>
                    <a:pt x="1046" y="93"/>
                  </a:lnTo>
                  <a:lnTo>
                    <a:pt x="1037" y="87"/>
                  </a:lnTo>
                  <a:lnTo>
                    <a:pt x="1027" y="80"/>
                  </a:lnTo>
                  <a:lnTo>
                    <a:pt x="1018" y="73"/>
                  </a:lnTo>
                  <a:lnTo>
                    <a:pt x="1009" y="67"/>
                  </a:lnTo>
                  <a:lnTo>
                    <a:pt x="999" y="63"/>
                  </a:lnTo>
                  <a:lnTo>
                    <a:pt x="995" y="60"/>
                  </a:lnTo>
                  <a:lnTo>
                    <a:pt x="992" y="60"/>
                  </a:lnTo>
                  <a:lnTo>
                    <a:pt x="988" y="60"/>
                  </a:lnTo>
                  <a:lnTo>
                    <a:pt x="984" y="60"/>
                  </a:lnTo>
                  <a:lnTo>
                    <a:pt x="981" y="75"/>
                  </a:lnTo>
                  <a:lnTo>
                    <a:pt x="977" y="109"/>
                  </a:lnTo>
                  <a:lnTo>
                    <a:pt x="973" y="130"/>
                  </a:lnTo>
                  <a:lnTo>
                    <a:pt x="971" y="153"/>
                  </a:lnTo>
                  <a:lnTo>
                    <a:pt x="965" y="178"/>
                  </a:lnTo>
                  <a:lnTo>
                    <a:pt x="960" y="202"/>
                  </a:lnTo>
                  <a:lnTo>
                    <a:pt x="952" y="224"/>
                  </a:lnTo>
                  <a:lnTo>
                    <a:pt x="944" y="244"/>
                  </a:lnTo>
                  <a:lnTo>
                    <a:pt x="940" y="253"/>
                  </a:lnTo>
                  <a:lnTo>
                    <a:pt x="935" y="259"/>
                  </a:lnTo>
                  <a:lnTo>
                    <a:pt x="930" y="266"/>
                  </a:lnTo>
                  <a:lnTo>
                    <a:pt x="925" y="271"/>
                  </a:lnTo>
                  <a:lnTo>
                    <a:pt x="920" y="275"/>
                  </a:lnTo>
                  <a:lnTo>
                    <a:pt x="913" y="278"/>
                  </a:lnTo>
                  <a:lnTo>
                    <a:pt x="906" y="278"/>
                  </a:lnTo>
                  <a:lnTo>
                    <a:pt x="899" y="276"/>
                  </a:lnTo>
                  <a:lnTo>
                    <a:pt x="892" y="272"/>
                  </a:lnTo>
                  <a:lnTo>
                    <a:pt x="884" y="267"/>
                  </a:lnTo>
                  <a:lnTo>
                    <a:pt x="875" y="259"/>
                  </a:lnTo>
                  <a:lnTo>
                    <a:pt x="866" y="249"/>
                  </a:lnTo>
                  <a:lnTo>
                    <a:pt x="861" y="240"/>
                  </a:lnTo>
                  <a:lnTo>
                    <a:pt x="857" y="228"/>
                  </a:lnTo>
                  <a:lnTo>
                    <a:pt x="854" y="213"/>
                  </a:lnTo>
                  <a:lnTo>
                    <a:pt x="852" y="196"/>
                  </a:lnTo>
                  <a:lnTo>
                    <a:pt x="848" y="158"/>
                  </a:lnTo>
                  <a:lnTo>
                    <a:pt x="845" y="118"/>
                  </a:lnTo>
                  <a:lnTo>
                    <a:pt x="842" y="98"/>
                  </a:lnTo>
                  <a:lnTo>
                    <a:pt x="840" y="79"/>
                  </a:lnTo>
                  <a:lnTo>
                    <a:pt x="836" y="62"/>
                  </a:lnTo>
                  <a:lnTo>
                    <a:pt x="831" y="46"/>
                  </a:lnTo>
                  <a:lnTo>
                    <a:pt x="828" y="38"/>
                  </a:lnTo>
                  <a:lnTo>
                    <a:pt x="824" y="32"/>
                  </a:lnTo>
                  <a:lnTo>
                    <a:pt x="821" y="26"/>
                  </a:lnTo>
                  <a:lnTo>
                    <a:pt x="818" y="21"/>
                  </a:lnTo>
                  <a:lnTo>
                    <a:pt x="812" y="17"/>
                  </a:lnTo>
                  <a:lnTo>
                    <a:pt x="807" y="15"/>
                  </a:lnTo>
                  <a:lnTo>
                    <a:pt x="802" y="12"/>
                  </a:lnTo>
                  <a:lnTo>
                    <a:pt x="797" y="11"/>
                  </a:lnTo>
                  <a:lnTo>
                    <a:pt x="751" y="5"/>
                  </a:lnTo>
                  <a:lnTo>
                    <a:pt x="699" y="0"/>
                  </a:lnTo>
                  <a:lnTo>
                    <a:pt x="687" y="0"/>
                  </a:lnTo>
                  <a:lnTo>
                    <a:pt x="675" y="0"/>
                  </a:lnTo>
                  <a:lnTo>
                    <a:pt x="663" y="0"/>
                  </a:lnTo>
                  <a:lnTo>
                    <a:pt x="654" y="3"/>
                  </a:lnTo>
                  <a:lnTo>
                    <a:pt x="645" y="5"/>
                  </a:lnTo>
                  <a:lnTo>
                    <a:pt x="638" y="8"/>
                  </a:lnTo>
                  <a:lnTo>
                    <a:pt x="633" y="13"/>
                  </a:lnTo>
                  <a:lnTo>
                    <a:pt x="629" y="20"/>
                  </a:lnTo>
                  <a:lnTo>
                    <a:pt x="625" y="32"/>
                  </a:lnTo>
                  <a:lnTo>
                    <a:pt x="623" y="42"/>
                  </a:lnTo>
                  <a:lnTo>
                    <a:pt x="621" y="50"/>
                  </a:lnTo>
                  <a:lnTo>
                    <a:pt x="621" y="58"/>
                  </a:lnTo>
                  <a:lnTo>
                    <a:pt x="621" y="63"/>
                  </a:lnTo>
                  <a:lnTo>
                    <a:pt x="623" y="68"/>
                  </a:lnTo>
                  <a:lnTo>
                    <a:pt x="624" y="72"/>
                  </a:lnTo>
                  <a:lnTo>
                    <a:pt x="628" y="76"/>
                  </a:lnTo>
                  <a:lnTo>
                    <a:pt x="644" y="85"/>
                  </a:lnTo>
                  <a:lnTo>
                    <a:pt x="665" y="98"/>
                  </a:lnTo>
                  <a:lnTo>
                    <a:pt x="671" y="104"/>
                  </a:lnTo>
                  <a:lnTo>
                    <a:pt x="674" y="110"/>
                  </a:lnTo>
                  <a:lnTo>
                    <a:pt x="676" y="117"/>
                  </a:lnTo>
                  <a:lnTo>
                    <a:pt x="676" y="123"/>
                  </a:lnTo>
                  <a:lnTo>
                    <a:pt x="674" y="130"/>
                  </a:lnTo>
                  <a:lnTo>
                    <a:pt x="671" y="135"/>
                  </a:lnTo>
                  <a:lnTo>
                    <a:pt x="667" y="140"/>
                  </a:lnTo>
                  <a:lnTo>
                    <a:pt x="662" y="145"/>
                  </a:lnTo>
                  <a:lnTo>
                    <a:pt x="657" y="149"/>
                  </a:lnTo>
                  <a:lnTo>
                    <a:pt x="650" y="152"/>
                  </a:lnTo>
                  <a:lnTo>
                    <a:pt x="642" y="155"/>
                  </a:lnTo>
                  <a:lnTo>
                    <a:pt x="634" y="155"/>
                  </a:lnTo>
                  <a:lnTo>
                    <a:pt x="627" y="153"/>
                  </a:lnTo>
                  <a:lnTo>
                    <a:pt x="620" y="152"/>
                  </a:lnTo>
                  <a:lnTo>
                    <a:pt x="612" y="147"/>
                  </a:lnTo>
                  <a:lnTo>
                    <a:pt x="604" y="141"/>
                  </a:lnTo>
                  <a:lnTo>
                    <a:pt x="599" y="138"/>
                  </a:lnTo>
                  <a:lnTo>
                    <a:pt x="591" y="135"/>
                  </a:lnTo>
                  <a:lnTo>
                    <a:pt x="583" y="134"/>
                  </a:lnTo>
                  <a:lnTo>
                    <a:pt x="573" y="134"/>
                  </a:lnTo>
                  <a:lnTo>
                    <a:pt x="562" y="135"/>
                  </a:lnTo>
                  <a:lnTo>
                    <a:pt x="551" y="136"/>
                  </a:lnTo>
                  <a:lnTo>
                    <a:pt x="539" y="140"/>
                  </a:lnTo>
                  <a:lnTo>
                    <a:pt x="527" y="143"/>
                  </a:lnTo>
                  <a:lnTo>
                    <a:pt x="505" y="152"/>
                  </a:lnTo>
                  <a:lnTo>
                    <a:pt x="485" y="161"/>
                  </a:lnTo>
                  <a:lnTo>
                    <a:pt x="476" y="166"/>
                  </a:lnTo>
                  <a:lnTo>
                    <a:pt x="470" y="172"/>
                  </a:lnTo>
                  <a:lnTo>
                    <a:pt x="466" y="177"/>
                  </a:lnTo>
                  <a:lnTo>
                    <a:pt x="462" y="182"/>
                  </a:lnTo>
                  <a:lnTo>
                    <a:pt x="459" y="189"/>
                  </a:lnTo>
                  <a:lnTo>
                    <a:pt x="455" y="194"/>
                  </a:lnTo>
                  <a:lnTo>
                    <a:pt x="453" y="198"/>
                  </a:lnTo>
                  <a:lnTo>
                    <a:pt x="449" y="200"/>
                  </a:lnTo>
                  <a:lnTo>
                    <a:pt x="445" y="200"/>
                  </a:lnTo>
                  <a:lnTo>
                    <a:pt x="442" y="200"/>
                  </a:lnTo>
                  <a:lnTo>
                    <a:pt x="438" y="199"/>
                  </a:lnTo>
                  <a:lnTo>
                    <a:pt x="434" y="196"/>
                  </a:lnTo>
                  <a:lnTo>
                    <a:pt x="426" y="191"/>
                  </a:lnTo>
                  <a:lnTo>
                    <a:pt x="419" y="186"/>
                  </a:lnTo>
                  <a:lnTo>
                    <a:pt x="413" y="183"/>
                  </a:lnTo>
                  <a:lnTo>
                    <a:pt x="409" y="181"/>
                  </a:lnTo>
                  <a:lnTo>
                    <a:pt x="406" y="179"/>
                  </a:lnTo>
                  <a:lnTo>
                    <a:pt x="400" y="179"/>
                  </a:lnTo>
                  <a:lnTo>
                    <a:pt x="394" y="181"/>
                  </a:lnTo>
                  <a:lnTo>
                    <a:pt x="383" y="186"/>
                  </a:lnTo>
                  <a:lnTo>
                    <a:pt x="372" y="192"/>
                  </a:lnTo>
                  <a:lnTo>
                    <a:pt x="358" y="202"/>
                  </a:lnTo>
                  <a:lnTo>
                    <a:pt x="332" y="219"/>
                  </a:lnTo>
                  <a:lnTo>
                    <a:pt x="313" y="230"/>
                  </a:lnTo>
                  <a:lnTo>
                    <a:pt x="298" y="241"/>
                  </a:lnTo>
                  <a:lnTo>
                    <a:pt x="279" y="259"/>
                  </a:lnTo>
                  <a:lnTo>
                    <a:pt x="256" y="281"/>
                  </a:lnTo>
                  <a:lnTo>
                    <a:pt x="233" y="308"/>
                  </a:lnTo>
                  <a:lnTo>
                    <a:pt x="212" y="334"/>
                  </a:lnTo>
                  <a:lnTo>
                    <a:pt x="194" y="359"/>
                  </a:lnTo>
                  <a:lnTo>
                    <a:pt x="186" y="370"/>
                  </a:lnTo>
                  <a:lnTo>
                    <a:pt x="181" y="381"/>
                  </a:lnTo>
                  <a:lnTo>
                    <a:pt x="178" y="389"/>
                  </a:lnTo>
                  <a:lnTo>
                    <a:pt x="177" y="395"/>
                  </a:lnTo>
                  <a:lnTo>
                    <a:pt x="177" y="410"/>
                  </a:lnTo>
                  <a:lnTo>
                    <a:pt x="177" y="429"/>
                  </a:lnTo>
                  <a:lnTo>
                    <a:pt x="178" y="440"/>
                  </a:lnTo>
                  <a:lnTo>
                    <a:pt x="179" y="449"/>
                  </a:lnTo>
                  <a:lnTo>
                    <a:pt x="182" y="457"/>
                  </a:lnTo>
                  <a:lnTo>
                    <a:pt x="184" y="459"/>
                  </a:lnTo>
                  <a:lnTo>
                    <a:pt x="186" y="463"/>
                  </a:lnTo>
                  <a:lnTo>
                    <a:pt x="187" y="467"/>
                  </a:lnTo>
                  <a:lnTo>
                    <a:pt x="187" y="470"/>
                  </a:lnTo>
                  <a:lnTo>
                    <a:pt x="187" y="475"/>
                  </a:lnTo>
                  <a:lnTo>
                    <a:pt x="187" y="480"/>
                  </a:lnTo>
                  <a:lnTo>
                    <a:pt x="186" y="484"/>
                  </a:lnTo>
                  <a:lnTo>
                    <a:pt x="183" y="488"/>
                  </a:lnTo>
                  <a:lnTo>
                    <a:pt x="182" y="489"/>
                  </a:lnTo>
                  <a:lnTo>
                    <a:pt x="181" y="492"/>
                  </a:lnTo>
                  <a:lnTo>
                    <a:pt x="179" y="493"/>
                  </a:lnTo>
                  <a:lnTo>
                    <a:pt x="179" y="495"/>
                  </a:lnTo>
                  <a:lnTo>
                    <a:pt x="177" y="496"/>
                  </a:lnTo>
                  <a:lnTo>
                    <a:pt x="174" y="497"/>
                  </a:lnTo>
                  <a:lnTo>
                    <a:pt x="157" y="504"/>
                  </a:lnTo>
                  <a:lnTo>
                    <a:pt x="137" y="509"/>
                  </a:lnTo>
                  <a:lnTo>
                    <a:pt x="133" y="512"/>
                  </a:lnTo>
                  <a:lnTo>
                    <a:pt x="131" y="514"/>
                  </a:lnTo>
                  <a:lnTo>
                    <a:pt x="130" y="516"/>
                  </a:lnTo>
                  <a:lnTo>
                    <a:pt x="128" y="516"/>
                  </a:lnTo>
                  <a:lnTo>
                    <a:pt x="127" y="517"/>
                  </a:lnTo>
                  <a:lnTo>
                    <a:pt x="126" y="520"/>
                  </a:lnTo>
                  <a:lnTo>
                    <a:pt x="124" y="521"/>
                  </a:lnTo>
                  <a:lnTo>
                    <a:pt x="122" y="522"/>
                  </a:lnTo>
                  <a:lnTo>
                    <a:pt x="118" y="523"/>
                  </a:lnTo>
                  <a:lnTo>
                    <a:pt x="113" y="526"/>
                  </a:lnTo>
                  <a:lnTo>
                    <a:pt x="110" y="529"/>
                  </a:lnTo>
                  <a:lnTo>
                    <a:pt x="103" y="534"/>
                  </a:lnTo>
                  <a:lnTo>
                    <a:pt x="96" y="538"/>
                  </a:lnTo>
                  <a:lnTo>
                    <a:pt x="88" y="543"/>
                  </a:lnTo>
                  <a:lnTo>
                    <a:pt x="71" y="552"/>
                  </a:lnTo>
                  <a:lnTo>
                    <a:pt x="62" y="560"/>
                  </a:lnTo>
                  <a:lnTo>
                    <a:pt x="58" y="563"/>
                  </a:lnTo>
                  <a:lnTo>
                    <a:pt x="54" y="564"/>
                  </a:lnTo>
                  <a:lnTo>
                    <a:pt x="45" y="572"/>
                  </a:lnTo>
                  <a:lnTo>
                    <a:pt x="33" y="586"/>
                  </a:lnTo>
                  <a:lnTo>
                    <a:pt x="22" y="601"/>
                  </a:lnTo>
                  <a:lnTo>
                    <a:pt x="13" y="610"/>
                  </a:lnTo>
                  <a:lnTo>
                    <a:pt x="9" y="612"/>
                  </a:lnTo>
                  <a:lnTo>
                    <a:pt x="7" y="616"/>
                  </a:lnTo>
                  <a:lnTo>
                    <a:pt x="4" y="622"/>
                  </a:lnTo>
                  <a:lnTo>
                    <a:pt x="3" y="627"/>
                  </a:lnTo>
                  <a:lnTo>
                    <a:pt x="3" y="639"/>
                  </a:lnTo>
                  <a:lnTo>
                    <a:pt x="4" y="653"/>
                  </a:lnTo>
                  <a:lnTo>
                    <a:pt x="8" y="665"/>
                  </a:lnTo>
                  <a:lnTo>
                    <a:pt x="12" y="676"/>
                  </a:lnTo>
                  <a:lnTo>
                    <a:pt x="16" y="686"/>
                  </a:lnTo>
                  <a:lnTo>
                    <a:pt x="21" y="691"/>
                  </a:lnTo>
                  <a:lnTo>
                    <a:pt x="25" y="700"/>
                  </a:lnTo>
                  <a:lnTo>
                    <a:pt x="30" y="709"/>
                  </a:lnTo>
                  <a:lnTo>
                    <a:pt x="30" y="710"/>
                  </a:lnTo>
                  <a:lnTo>
                    <a:pt x="31" y="712"/>
                  </a:lnTo>
                  <a:lnTo>
                    <a:pt x="31" y="713"/>
                  </a:lnTo>
                  <a:lnTo>
                    <a:pt x="33" y="714"/>
                  </a:lnTo>
                  <a:lnTo>
                    <a:pt x="34" y="716"/>
                  </a:lnTo>
                  <a:lnTo>
                    <a:pt x="34" y="717"/>
                  </a:lnTo>
                  <a:lnTo>
                    <a:pt x="37" y="720"/>
                  </a:lnTo>
                  <a:lnTo>
                    <a:pt x="38" y="721"/>
                  </a:lnTo>
                  <a:lnTo>
                    <a:pt x="39" y="722"/>
                  </a:lnTo>
                  <a:lnTo>
                    <a:pt x="39" y="724"/>
                  </a:lnTo>
                  <a:lnTo>
                    <a:pt x="39" y="726"/>
                  </a:lnTo>
                  <a:lnTo>
                    <a:pt x="38" y="741"/>
                  </a:lnTo>
                  <a:lnTo>
                    <a:pt x="35" y="752"/>
                  </a:lnTo>
                  <a:lnTo>
                    <a:pt x="33" y="755"/>
                  </a:lnTo>
                  <a:lnTo>
                    <a:pt x="29" y="758"/>
                  </a:lnTo>
                  <a:lnTo>
                    <a:pt x="28" y="759"/>
                  </a:lnTo>
                  <a:lnTo>
                    <a:pt x="26" y="759"/>
                  </a:lnTo>
                  <a:lnTo>
                    <a:pt x="25" y="760"/>
                  </a:lnTo>
                  <a:lnTo>
                    <a:pt x="24" y="762"/>
                  </a:lnTo>
                  <a:lnTo>
                    <a:pt x="22" y="762"/>
                  </a:lnTo>
                  <a:lnTo>
                    <a:pt x="20" y="763"/>
                  </a:lnTo>
                  <a:lnTo>
                    <a:pt x="17" y="765"/>
                  </a:lnTo>
                  <a:lnTo>
                    <a:pt x="13" y="769"/>
                  </a:lnTo>
                  <a:lnTo>
                    <a:pt x="11" y="772"/>
                  </a:lnTo>
                  <a:lnTo>
                    <a:pt x="8" y="776"/>
                  </a:lnTo>
                  <a:lnTo>
                    <a:pt x="7" y="776"/>
                  </a:lnTo>
                  <a:lnTo>
                    <a:pt x="7" y="777"/>
                  </a:lnTo>
                  <a:lnTo>
                    <a:pt x="5" y="779"/>
                  </a:lnTo>
                  <a:lnTo>
                    <a:pt x="4" y="779"/>
                  </a:lnTo>
                  <a:lnTo>
                    <a:pt x="1" y="782"/>
                  </a:lnTo>
                  <a:lnTo>
                    <a:pt x="0" y="788"/>
                  </a:lnTo>
                  <a:lnTo>
                    <a:pt x="0" y="793"/>
                  </a:lnTo>
                  <a:lnTo>
                    <a:pt x="1" y="797"/>
                  </a:lnTo>
                  <a:lnTo>
                    <a:pt x="4" y="801"/>
                  </a:lnTo>
                  <a:lnTo>
                    <a:pt x="5" y="805"/>
                  </a:lnTo>
                  <a:lnTo>
                    <a:pt x="7" y="806"/>
                  </a:lnTo>
                  <a:lnTo>
                    <a:pt x="7" y="807"/>
                  </a:lnTo>
                  <a:lnTo>
                    <a:pt x="8" y="809"/>
                  </a:lnTo>
                  <a:lnTo>
                    <a:pt x="9" y="810"/>
                  </a:lnTo>
                  <a:lnTo>
                    <a:pt x="12" y="813"/>
                  </a:lnTo>
                  <a:lnTo>
                    <a:pt x="14" y="816"/>
                  </a:lnTo>
                  <a:lnTo>
                    <a:pt x="16" y="818"/>
                  </a:lnTo>
                  <a:lnTo>
                    <a:pt x="18" y="822"/>
                  </a:lnTo>
                  <a:lnTo>
                    <a:pt x="18" y="822"/>
                  </a:lnTo>
                  <a:lnTo>
                    <a:pt x="20" y="823"/>
                  </a:lnTo>
                  <a:lnTo>
                    <a:pt x="24" y="828"/>
                  </a:lnTo>
                  <a:lnTo>
                    <a:pt x="28" y="831"/>
                  </a:lnTo>
                  <a:lnTo>
                    <a:pt x="35" y="833"/>
                  </a:lnTo>
                  <a:lnTo>
                    <a:pt x="43" y="837"/>
                  </a:lnTo>
                  <a:lnTo>
                    <a:pt x="54" y="840"/>
                  </a:lnTo>
                  <a:lnTo>
                    <a:pt x="62" y="843"/>
                  </a:lnTo>
                  <a:lnTo>
                    <a:pt x="65" y="843"/>
                  </a:lnTo>
                  <a:lnTo>
                    <a:pt x="68" y="843"/>
                  </a:lnTo>
                  <a:lnTo>
                    <a:pt x="73" y="844"/>
                  </a:lnTo>
                  <a:lnTo>
                    <a:pt x="79" y="847"/>
                  </a:lnTo>
                  <a:lnTo>
                    <a:pt x="80" y="848"/>
                  </a:lnTo>
                  <a:lnTo>
                    <a:pt x="82" y="848"/>
                  </a:lnTo>
                  <a:lnTo>
                    <a:pt x="84" y="848"/>
                  </a:lnTo>
                  <a:lnTo>
                    <a:pt x="88" y="849"/>
                  </a:lnTo>
                  <a:lnTo>
                    <a:pt x="92" y="854"/>
                  </a:lnTo>
                  <a:lnTo>
                    <a:pt x="97" y="862"/>
                  </a:lnTo>
                  <a:lnTo>
                    <a:pt x="107" y="877"/>
                  </a:lnTo>
                  <a:lnTo>
                    <a:pt x="118" y="891"/>
                  </a:lnTo>
                  <a:lnTo>
                    <a:pt x="123" y="899"/>
                  </a:lnTo>
                  <a:lnTo>
                    <a:pt x="124" y="900"/>
                  </a:lnTo>
                  <a:lnTo>
                    <a:pt x="127" y="901"/>
                  </a:lnTo>
                  <a:lnTo>
                    <a:pt x="128" y="901"/>
                  </a:lnTo>
                  <a:lnTo>
                    <a:pt x="128" y="903"/>
                  </a:lnTo>
                  <a:lnTo>
                    <a:pt x="130" y="904"/>
                  </a:lnTo>
                  <a:lnTo>
                    <a:pt x="130" y="904"/>
                  </a:lnTo>
                  <a:lnTo>
                    <a:pt x="139" y="905"/>
                  </a:lnTo>
                  <a:lnTo>
                    <a:pt x="153" y="909"/>
                  </a:lnTo>
                  <a:lnTo>
                    <a:pt x="162" y="911"/>
                  </a:lnTo>
                  <a:lnTo>
                    <a:pt x="169" y="912"/>
                  </a:lnTo>
                  <a:lnTo>
                    <a:pt x="175" y="911"/>
                  </a:lnTo>
                  <a:lnTo>
                    <a:pt x="179" y="909"/>
                  </a:lnTo>
                  <a:lnTo>
                    <a:pt x="183" y="908"/>
                  </a:lnTo>
                  <a:lnTo>
                    <a:pt x="191" y="908"/>
                  </a:lnTo>
                  <a:lnTo>
                    <a:pt x="198" y="911"/>
                  </a:lnTo>
                  <a:lnTo>
                    <a:pt x="203" y="913"/>
                  </a:lnTo>
                  <a:lnTo>
                    <a:pt x="204" y="913"/>
                  </a:lnTo>
                  <a:lnTo>
                    <a:pt x="207" y="913"/>
                  </a:lnTo>
                  <a:lnTo>
                    <a:pt x="207" y="915"/>
                  </a:lnTo>
                  <a:lnTo>
                    <a:pt x="208" y="916"/>
                  </a:lnTo>
                  <a:lnTo>
                    <a:pt x="209" y="916"/>
                  </a:lnTo>
                  <a:lnTo>
                    <a:pt x="209" y="917"/>
                  </a:lnTo>
                  <a:lnTo>
                    <a:pt x="211" y="918"/>
                  </a:lnTo>
                  <a:lnTo>
                    <a:pt x="212" y="920"/>
                  </a:lnTo>
                  <a:lnTo>
                    <a:pt x="212" y="921"/>
                  </a:lnTo>
                  <a:lnTo>
                    <a:pt x="212" y="921"/>
                  </a:lnTo>
                  <a:lnTo>
                    <a:pt x="212" y="924"/>
                  </a:lnTo>
                  <a:lnTo>
                    <a:pt x="215" y="928"/>
                  </a:lnTo>
                  <a:lnTo>
                    <a:pt x="218" y="933"/>
                  </a:lnTo>
                  <a:lnTo>
                    <a:pt x="221" y="939"/>
                  </a:lnTo>
                  <a:lnTo>
                    <a:pt x="228" y="954"/>
                  </a:lnTo>
                  <a:lnTo>
                    <a:pt x="237" y="972"/>
                  </a:lnTo>
                  <a:lnTo>
                    <a:pt x="246" y="990"/>
                  </a:lnTo>
                  <a:lnTo>
                    <a:pt x="251" y="998"/>
                  </a:lnTo>
                  <a:lnTo>
                    <a:pt x="256" y="1005"/>
                  </a:lnTo>
                  <a:lnTo>
                    <a:pt x="260" y="1010"/>
                  </a:lnTo>
                  <a:lnTo>
                    <a:pt x="264" y="1011"/>
                  </a:lnTo>
                  <a:lnTo>
                    <a:pt x="267" y="1011"/>
                  </a:lnTo>
                  <a:lnTo>
                    <a:pt x="268" y="1010"/>
                  </a:lnTo>
                  <a:lnTo>
                    <a:pt x="269" y="1009"/>
                  </a:lnTo>
                  <a:lnTo>
                    <a:pt x="271" y="1005"/>
                  </a:lnTo>
                  <a:lnTo>
                    <a:pt x="272" y="996"/>
                  </a:lnTo>
                  <a:lnTo>
                    <a:pt x="273" y="983"/>
                  </a:lnTo>
                  <a:lnTo>
                    <a:pt x="273" y="964"/>
                  </a:lnTo>
                  <a:lnTo>
                    <a:pt x="275" y="951"/>
                  </a:lnTo>
                  <a:lnTo>
                    <a:pt x="275" y="947"/>
                  </a:lnTo>
                  <a:lnTo>
                    <a:pt x="276" y="943"/>
                  </a:lnTo>
                  <a:lnTo>
                    <a:pt x="277" y="942"/>
                  </a:lnTo>
                  <a:lnTo>
                    <a:pt x="280" y="941"/>
                  </a:lnTo>
                  <a:lnTo>
                    <a:pt x="283" y="941"/>
                  </a:lnTo>
                  <a:lnTo>
                    <a:pt x="285" y="941"/>
                  </a:lnTo>
                  <a:lnTo>
                    <a:pt x="289" y="943"/>
                  </a:lnTo>
                  <a:lnTo>
                    <a:pt x="293" y="946"/>
                  </a:lnTo>
                  <a:lnTo>
                    <a:pt x="305" y="955"/>
                  </a:lnTo>
                  <a:lnTo>
                    <a:pt x="318" y="967"/>
                  </a:lnTo>
                  <a:lnTo>
                    <a:pt x="328" y="975"/>
                  </a:lnTo>
                  <a:lnTo>
                    <a:pt x="336" y="977"/>
                  </a:lnTo>
                  <a:lnTo>
                    <a:pt x="339" y="977"/>
                  </a:lnTo>
                  <a:lnTo>
                    <a:pt x="341" y="977"/>
                  </a:lnTo>
                  <a:lnTo>
                    <a:pt x="344" y="976"/>
                  </a:lnTo>
                  <a:lnTo>
                    <a:pt x="345" y="973"/>
                  </a:lnTo>
                  <a:lnTo>
                    <a:pt x="352" y="963"/>
                  </a:lnTo>
                  <a:lnTo>
                    <a:pt x="358" y="951"/>
                  </a:lnTo>
                  <a:lnTo>
                    <a:pt x="362" y="947"/>
                  </a:lnTo>
                  <a:lnTo>
                    <a:pt x="368" y="943"/>
                  </a:lnTo>
                  <a:lnTo>
                    <a:pt x="373" y="942"/>
                  </a:lnTo>
                  <a:lnTo>
                    <a:pt x="378" y="941"/>
                  </a:lnTo>
                  <a:lnTo>
                    <a:pt x="390" y="941"/>
                  </a:lnTo>
                  <a:lnTo>
                    <a:pt x="402" y="942"/>
                  </a:lnTo>
                  <a:lnTo>
                    <a:pt x="426" y="949"/>
                  </a:lnTo>
                  <a:lnTo>
                    <a:pt x="447" y="952"/>
                  </a:lnTo>
                  <a:lnTo>
                    <a:pt x="467" y="952"/>
                  </a:lnTo>
                  <a:lnTo>
                    <a:pt x="483" y="951"/>
                  </a:lnTo>
                  <a:lnTo>
                    <a:pt x="488" y="950"/>
                  </a:lnTo>
                  <a:lnTo>
                    <a:pt x="493" y="949"/>
                  </a:lnTo>
                  <a:lnTo>
                    <a:pt x="496" y="946"/>
                  </a:lnTo>
                  <a:lnTo>
                    <a:pt x="498" y="943"/>
                  </a:lnTo>
                  <a:lnTo>
                    <a:pt x="500" y="939"/>
                  </a:lnTo>
                  <a:lnTo>
                    <a:pt x="501" y="934"/>
                  </a:lnTo>
                  <a:lnTo>
                    <a:pt x="501" y="929"/>
                  </a:lnTo>
                  <a:lnTo>
                    <a:pt x="500" y="922"/>
                  </a:lnTo>
                  <a:lnTo>
                    <a:pt x="494" y="907"/>
                  </a:lnTo>
                  <a:lnTo>
                    <a:pt x="488" y="886"/>
                  </a:lnTo>
                  <a:lnTo>
                    <a:pt x="487" y="879"/>
                  </a:lnTo>
                  <a:lnTo>
                    <a:pt x="485" y="875"/>
                  </a:lnTo>
                  <a:lnTo>
                    <a:pt x="487" y="871"/>
                  </a:lnTo>
                  <a:lnTo>
                    <a:pt x="487" y="867"/>
                  </a:lnTo>
                  <a:lnTo>
                    <a:pt x="489" y="866"/>
                  </a:lnTo>
                  <a:lnTo>
                    <a:pt x="492" y="865"/>
                  </a:lnTo>
                  <a:lnTo>
                    <a:pt x="494" y="865"/>
                  </a:lnTo>
                  <a:lnTo>
                    <a:pt x="497" y="865"/>
                  </a:lnTo>
                  <a:lnTo>
                    <a:pt x="505" y="867"/>
                  </a:lnTo>
                  <a:lnTo>
                    <a:pt x="511" y="871"/>
                  </a:lnTo>
                  <a:lnTo>
                    <a:pt x="518" y="877"/>
                  </a:lnTo>
                  <a:lnTo>
                    <a:pt x="523" y="883"/>
                  </a:lnTo>
                  <a:lnTo>
                    <a:pt x="526" y="886"/>
                  </a:lnTo>
                  <a:lnTo>
                    <a:pt x="528" y="886"/>
                  </a:lnTo>
                  <a:lnTo>
                    <a:pt x="530" y="886"/>
                  </a:lnTo>
                  <a:lnTo>
                    <a:pt x="531" y="884"/>
                  </a:lnTo>
                  <a:lnTo>
                    <a:pt x="534" y="877"/>
                  </a:lnTo>
                  <a:lnTo>
                    <a:pt x="535" y="867"/>
                  </a:lnTo>
                  <a:lnTo>
                    <a:pt x="538" y="856"/>
                  </a:lnTo>
                  <a:lnTo>
                    <a:pt x="539" y="845"/>
                  </a:lnTo>
                  <a:lnTo>
                    <a:pt x="542" y="837"/>
                  </a:lnTo>
                  <a:lnTo>
                    <a:pt x="544" y="832"/>
                  </a:lnTo>
                  <a:lnTo>
                    <a:pt x="555" y="824"/>
                  </a:lnTo>
                  <a:lnTo>
                    <a:pt x="565" y="820"/>
                  </a:lnTo>
                  <a:lnTo>
                    <a:pt x="576" y="818"/>
                  </a:lnTo>
                  <a:lnTo>
                    <a:pt x="586" y="818"/>
                  </a:lnTo>
                  <a:lnTo>
                    <a:pt x="595" y="819"/>
                  </a:lnTo>
                  <a:lnTo>
                    <a:pt x="606" y="822"/>
                  </a:lnTo>
                  <a:lnTo>
                    <a:pt x="615" y="826"/>
                  </a:lnTo>
                  <a:lnTo>
                    <a:pt x="625" y="830"/>
                  </a:lnTo>
                  <a:lnTo>
                    <a:pt x="645" y="837"/>
                  </a:lnTo>
                  <a:lnTo>
                    <a:pt x="667" y="844"/>
                  </a:lnTo>
                  <a:lnTo>
                    <a:pt x="679" y="845"/>
                  </a:lnTo>
                  <a:lnTo>
                    <a:pt x="692" y="845"/>
                  </a:lnTo>
                  <a:lnTo>
                    <a:pt x="705" y="843"/>
                  </a:lnTo>
                  <a:lnTo>
                    <a:pt x="719" y="839"/>
                  </a:lnTo>
                  <a:lnTo>
                    <a:pt x="744" y="826"/>
                  </a:lnTo>
                  <a:lnTo>
                    <a:pt x="768" y="813"/>
                  </a:lnTo>
                  <a:lnTo>
                    <a:pt x="778" y="807"/>
                  </a:lnTo>
                  <a:lnTo>
                    <a:pt x="789" y="805"/>
                  </a:lnTo>
                  <a:lnTo>
                    <a:pt x="794" y="805"/>
                  </a:lnTo>
                  <a:lnTo>
                    <a:pt x="799" y="806"/>
                  </a:lnTo>
                  <a:lnTo>
                    <a:pt x="804" y="809"/>
                  </a:lnTo>
                  <a:lnTo>
                    <a:pt x="808" y="811"/>
                  </a:lnTo>
                  <a:close/>
                  <a:moveTo>
                    <a:pt x="717" y="1255"/>
                  </a:moveTo>
                  <a:lnTo>
                    <a:pt x="714" y="1255"/>
                  </a:lnTo>
                  <a:lnTo>
                    <a:pt x="712" y="1253"/>
                  </a:lnTo>
                  <a:lnTo>
                    <a:pt x="702" y="1252"/>
                  </a:lnTo>
                  <a:lnTo>
                    <a:pt x="695" y="1251"/>
                  </a:lnTo>
                  <a:lnTo>
                    <a:pt x="693" y="1249"/>
                  </a:lnTo>
                  <a:lnTo>
                    <a:pt x="693" y="1249"/>
                  </a:lnTo>
                  <a:lnTo>
                    <a:pt x="675" y="1244"/>
                  </a:lnTo>
                  <a:lnTo>
                    <a:pt x="661" y="1239"/>
                  </a:lnTo>
                  <a:lnTo>
                    <a:pt x="657" y="1238"/>
                  </a:lnTo>
                  <a:lnTo>
                    <a:pt x="653" y="1236"/>
                  </a:lnTo>
                  <a:lnTo>
                    <a:pt x="646" y="1234"/>
                  </a:lnTo>
                  <a:lnTo>
                    <a:pt x="641" y="1232"/>
                  </a:lnTo>
                  <a:lnTo>
                    <a:pt x="636" y="1230"/>
                  </a:lnTo>
                  <a:lnTo>
                    <a:pt x="632" y="1228"/>
                  </a:lnTo>
                  <a:lnTo>
                    <a:pt x="630" y="1227"/>
                  </a:lnTo>
                  <a:lnTo>
                    <a:pt x="629" y="1226"/>
                  </a:lnTo>
                  <a:lnTo>
                    <a:pt x="628" y="1225"/>
                  </a:lnTo>
                  <a:lnTo>
                    <a:pt x="627" y="1223"/>
                  </a:lnTo>
                  <a:lnTo>
                    <a:pt x="625" y="1222"/>
                  </a:lnTo>
                  <a:lnTo>
                    <a:pt x="625" y="1222"/>
                  </a:lnTo>
                  <a:lnTo>
                    <a:pt x="623" y="1221"/>
                  </a:lnTo>
                  <a:lnTo>
                    <a:pt x="623" y="1218"/>
                  </a:lnTo>
                  <a:lnTo>
                    <a:pt x="594" y="1245"/>
                  </a:lnTo>
                  <a:lnTo>
                    <a:pt x="572" y="1260"/>
                  </a:lnTo>
                  <a:lnTo>
                    <a:pt x="545" y="1276"/>
                  </a:lnTo>
                  <a:lnTo>
                    <a:pt x="534" y="1283"/>
                  </a:lnTo>
                  <a:lnTo>
                    <a:pt x="525" y="1293"/>
                  </a:lnTo>
                  <a:lnTo>
                    <a:pt x="521" y="1298"/>
                  </a:lnTo>
                  <a:lnTo>
                    <a:pt x="518" y="1303"/>
                  </a:lnTo>
                  <a:lnTo>
                    <a:pt x="515" y="1308"/>
                  </a:lnTo>
                  <a:lnTo>
                    <a:pt x="515" y="1315"/>
                  </a:lnTo>
                  <a:lnTo>
                    <a:pt x="514" y="1327"/>
                  </a:lnTo>
                  <a:lnTo>
                    <a:pt x="510" y="1337"/>
                  </a:lnTo>
                  <a:lnTo>
                    <a:pt x="506" y="1346"/>
                  </a:lnTo>
                  <a:lnTo>
                    <a:pt x="501" y="1355"/>
                  </a:lnTo>
                  <a:lnTo>
                    <a:pt x="497" y="1365"/>
                  </a:lnTo>
                  <a:lnTo>
                    <a:pt x="496" y="1374"/>
                  </a:lnTo>
                  <a:lnTo>
                    <a:pt x="496" y="1378"/>
                  </a:lnTo>
                  <a:lnTo>
                    <a:pt x="497" y="1382"/>
                  </a:lnTo>
                  <a:lnTo>
                    <a:pt x="498" y="1385"/>
                  </a:lnTo>
                  <a:lnTo>
                    <a:pt x="502" y="1389"/>
                  </a:lnTo>
                  <a:lnTo>
                    <a:pt x="523" y="1412"/>
                  </a:lnTo>
                  <a:lnTo>
                    <a:pt x="540" y="1425"/>
                  </a:lnTo>
                  <a:lnTo>
                    <a:pt x="547" y="1433"/>
                  </a:lnTo>
                  <a:lnTo>
                    <a:pt x="553" y="1440"/>
                  </a:lnTo>
                  <a:lnTo>
                    <a:pt x="557" y="1452"/>
                  </a:lnTo>
                  <a:lnTo>
                    <a:pt x="562" y="1467"/>
                  </a:lnTo>
                  <a:lnTo>
                    <a:pt x="568" y="1484"/>
                  </a:lnTo>
                  <a:lnTo>
                    <a:pt x="573" y="1497"/>
                  </a:lnTo>
                  <a:lnTo>
                    <a:pt x="577" y="1501"/>
                  </a:lnTo>
                  <a:lnTo>
                    <a:pt x="579" y="1504"/>
                  </a:lnTo>
                  <a:lnTo>
                    <a:pt x="583" y="1507"/>
                  </a:lnTo>
                  <a:lnTo>
                    <a:pt x="586" y="1508"/>
                  </a:lnTo>
                  <a:lnTo>
                    <a:pt x="589" y="1508"/>
                  </a:lnTo>
                  <a:lnTo>
                    <a:pt x="593" y="1508"/>
                  </a:lnTo>
                  <a:lnTo>
                    <a:pt x="595" y="1507"/>
                  </a:lnTo>
                  <a:lnTo>
                    <a:pt x="599" y="1504"/>
                  </a:lnTo>
                  <a:lnTo>
                    <a:pt x="606" y="1499"/>
                  </a:lnTo>
                  <a:lnTo>
                    <a:pt x="612" y="1491"/>
                  </a:lnTo>
                  <a:lnTo>
                    <a:pt x="624" y="1469"/>
                  </a:lnTo>
                  <a:lnTo>
                    <a:pt x="636" y="1446"/>
                  </a:lnTo>
                  <a:lnTo>
                    <a:pt x="645" y="1421"/>
                  </a:lnTo>
                  <a:lnTo>
                    <a:pt x="651" y="1401"/>
                  </a:lnTo>
                  <a:lnTo>
                    <a:pt x="654" y="1395"/>
                  </a:lnTo>
                  <a:lnTo>
                    <a:pt x="657" y="1391"/>
                  </a:lnTo>
                  <a:lnTo>
                    <a:pt x="661" y="1385"/>
                  </a:lnTo>
                  <a:lnTo>
                    <a:pt x="665" y="1383"/>
                  </a:lnTo>
                  <a:lnTo>
                    <a:pt x="672" y="1378"/>
                  </a:lnTo>
                  <a:lnTo>
                    <a:pt x="679" y="1374"/>
                  </a:lnTo>
                  <a:lnTo>
                    <a:pt x="683" y="1371"/>
                  </a:lnTo>
                  <a:lnTo>
                    <a:pt x="685" y="1368"/>
                  </a:lnTo>
                  <a:lnTo>
                    <a:pt x="689" y="1366"/>
                  </a:lnTo>
                  <a:lnTo>
                    <a:pt x="691" y="1361"/>
                  </a:lnTo>
                  <a:lnTo>
                    <a:pt x="692" y="1355"/>
                  </a:lnTo>
                  <a:lnTo>
                    <a:pt x="693" y="1349"/>
                  </a:lnTo>
                  <a:lnTo>
                    <a:pt x="693" y="1341"/>
                  </a:lnTo>
                  <a:lnTo>
                    <a:pt x="693" y="1331"/>
                  </a:lnTo>
                  <a:lnTo>
                    <a:pt x="691" y="1321"/>
                  </a:lnTo>
                  <a:lnTo>
                    <a:pt x="688" y="1310"/>
                  </a:lnTo>
                  <a:lnTo>
                    <a:pt x="688" y="1304"/>
                  </a:lnTo>
                  <a:lnTo>
                    <a:pt x="688" y="1300"/>
                  </a:lnTo>
                  <a:lnTo>
                    <a:pt x="691" y="1297"/>
                  </a:lnTo>
                  <a:lnTo>
                    <a:pt x="693" y="1294"/>
                  </a:lnTo>
                  <a:lnTo>
                    <a:pt x="701" y="1289"/>
                  </a:lnTo>
                  <a:lnTo>
                    <a:pt x="706" y="1281"/>
                  </a:lnTo>
                  <a:lnTo>
                    <a:pt x="710" y="1273"/>
                  </a:lnTo>
                  <a:lnTo>
                    <a:pt x="713" y="1268"/>
                  </a:lnTo>
                  <a:lnTo>
                    <a:pt x="717" y="1255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6" name="Freeform 36"/>
            <p:cNvSpPr>
              <a:spLocks noEditPoints="1"/>
            </p:cNvSpPr>
            <p:nvPr/>
          </p:nvSpPr>
          <p:spPr bwMode="auto">
            <a:xfrm>
              <a:off x="6348413" y="1528763"/>
              <a:ext cx="1196975" cy="687387"/>
            </a:xfrm>
            <a:custGeom>
              <a:avLst/>
              <a:gdLst/>
              <a:ahLst/>
              <a:cxnLst>
                <a:cxn ang="0">
                  <a:pos x="3187" y="1171"/>
                </a:cxn>
                <a:cxn ang="0">
                  <a:pos x="3185" y="1244"/>
                </a:cxn>
                <a:cxn ang="0">
                  <a:pos x="171" y="25"/>
                </a:cxn>
                <a:cxn ang="0">
                  <a:pos x="44" y="51"/>
                </a:cxn>
                <a:cxn ang="0">
                  <a:pos x="46" y="135"/>
                </a:cxn>
                <a:cxn ang="0">
                  <a:pos x="144" y="292"/>
                </a:cxn>
                <a:cxn ang="0">
                  <a:pos x="222" y="309"/>
                </a:cxn>
                <a:cxn ang="0">
                  <a:pos x="373" y="310"/>
                </a:cxn>
                <a:cxn ang="0">
                  <a:pos x="489" y="200"/>
                </a:cxn>
                <a:cxn ang="0">
                  <a:pos x="588" y="261"/>
                </a:cxn>
                <a:cxn ang="0">
                  <a:pos x="558" y="510"/>
                </a:cxn>
                <a:cxn ang="0">
                  <a:pos x="482" y="497"/>
                </a:cxn>
                <a:cxn ang="0">
                  <a:pos x="311" y="508"/>
                </a:cxn>
                <a:cxn ang="0">
                  <a:pos x="571" y="696"/>
                </a:cxn>
                <a:cxn ang="0">
                  <a:pos x="738" y="785"/>
                </a:cxn>
                <a:cxn ang="0">
                  <a:pos x="727" y="964"/>
                </a:cxn>
                <a:cxn ang="0">
                  <a:pos x="938" y="1025"/>
                </a:cxn>
                <a:cxn ang="0">
                  <a:pos x="889" y="1325"/>
                </a:cxn>
                <a:cxn ang="0">
                  <a:pos x="1075" y="1535"/>
                </a:cxn>
                <a:cxn ang="0">
                  <a:pos x="982" y="1672"/>
                </a:cxn>
                <a:cxn ang="0">
                  <a:pos x="1074" y="1799"/>
                </a:cxn>
                <a:cxn ang="0">
                  <a:pos x="1244" y="1743"/>
                </a:cxn>
                <a:cxn ang="0">
                  <a:pos x="1327" y="1664"/>
                </a:cxn>
                <a:cxn ang="0">
                  <a:pos x="1424" y="1519"/>
                </a:cxn>
                <a:cxn ang="0">
                  <a:pos x="1534" y="1421"/>
                </a:cxn>
                <a:cxn ang="0">
                  <a:pos x="1385" y="1290"/>
                </a:cxn>
                <a:cxn ang="0">
                  <a:pos x="1539" y="1182"/>
                </a:cxn>
                <a:cxn ang="0">
                  <a:pos x="1600" y="1238"/>
                </a:cxn>
                <a:cxn ang="0">
                  <a:pos x="1677" y="1184"/>
                </a:cxn>
                <a:cxn ang="0">
                  <a:pos x="1793" y="1242"/>
                </a:cxn>
                <a:cxn ang="0">
                  <a:pos x="2042" y="1146"/>
                </a:cxn>
                <a:cxn ang="0">
                  <a:pos x="2183" y="1268"/>
                </a:cxn>
                <a:cxn ang="0">
                  <a:pos x="2328" y="1277"/>
                </a:cxn>
                <a:cxn ang="0">
                  <a:pos x="2478" y="1267"/>
                </a:cxn>
                <a:cxn ang="0">
                  <a:pos x="2637" y="1206"/>
                </a:cxn>
                <a:cxn ang="0">
                  <a:pos x="2582" y="1123"/>
                </a:cxn>
                <a:cxn ang="0">
                  <a:pos x="2570" y="1074"/>
                </a:cxn>
                <a:cxn ang="0">
                  <a:pos x="2443" y="1107"/>
                </a:cxn>
                <a:cxn ang="0">
                  <a:pos x="2523" y="1021"/>
                </a:cxn>
                <a:cxn ang="0">
                  <a:pos x="2688" y="993"/>
                </a:cxn>
                <a:cxn ang="0">
                  <a:pos x="2739" y="1099"/>
                </a:cxn>
                <a:cxn ang="0">
                  <a:pos x="2851" y="1159"/>
                </a:cxn>
                <a:cxn ang="0">
                  <a:pos x="2939" y="1302"/>
                </a:cxn>
                <a:cxn ang="0">
                  <a:pos x="2981" y="1212"/>
                </a:cxn>
                <a:cxn ang="0">
                  <a:pos x="3096" y="1094"/>
                </a:cxn>
                <a:cxn ang="0">
                  <a:pos x="3115" y="1052"/>
                </a:cxn>
                <a:cxn ang="0">
                  <a:pos x="2962" y="936"/>
                </a:cxn>
                <a:cxn ang="0">
                  <a:pos x="2894" y="856"/>
                </a:cxn>
                <a:cxn ang="0">
                  <a:pos x="2890" y="789"/>
                </a:cxn>
                <a:cxn ang="0">
                  <a:pos x="2894" y="750"/>
                </a:cxn>
                <a:cxn ang="0">
                  <a:pos x="2825" y="704"/>
                </a:cxn>
                <a:cxn ang="0">
                  <a:pos x="2611" y="559"/>
                </a:cxn>
                <a:cxn ang="0">
                  <a:pos x="2434" y="431"/>
                </a:cxn>
                <a:cxn ang="0">
                  <a:pos x="2271" y="359"/>
                </a:cxn>
                <a:cxn ang="0">
                  <a:pos x="2121" y="274"/>
                </a:cxn>
                <a:cxn ang="0">
                  <a:pos x="1755" y="101"/>
                </a:cxn>
                <a:cxn ang="0">
                  <a:pos x="1330" y="89"/>
                </a:cxn>
                <a:cxn ang="0">
                  <a:pos x="867" y="241"/>
                </a:cxn>
                <a:cxn ang="0">
                  <a:pos x="792" y="249"/>
                </a:cxn>
                <a:cxn ang="0">
                  <a:pos x="745" y="185"/>
                </a:cxn>
                <a:cxn ang="0">
                  <a:pos x="697" y="147"/>
                </a:cxn>
                <a:cxn ang="0">
                  <a:pos x="569" y="97"/>
                </a:cxn>
                <a:cxn ang="0">
                  <a:pos x="320" y="17"/>
                </a:cxn>
              </a:cxnLst>
              <a:rect l="0" t="0" r="r" b="b"/>
              <a:pathLst>
                <a:path w="3258" h="1875">
                  <a:moveTo>
                    <a:pt x="3258" y="1221"/>
                  </a:moveTo>
                  <a:lnTo>
                    <a:pt x="3257" y="1216"/>
                  </a:lnTo>
                  <a:lnTo>
                    <a:pt x="3254" y="1212"/>
                  </a:lnTo>
                  <a:lnTo>
                    <a:pt x="3250" y="1208"/>
                  </a:lnTo>
                  <a:lnTo>
                    <a:pt x="3248" y="1208"/>
                  </a:lnTo>
                  <a:lnTo>
                    <a:pt x="3245" y="1208"/>
                  </a:lnTo>
                  <a:lnTo>
                    <a:pt x="3242" y="1206"/>
                  </a:lnTo>
                  <a:lnTo>
                    <a:pt x="3240" y="1205"/>
                  </a:lnTo>
                  <a:lnTo>
                    <a:pt x="3237" y="1202"/>
                  </a:lnTo>
                  <a:lnTo>
                    <a:pt x="3233" y="1199"/>
                  </a:lnTo>
                  <a:lnTo>
                    <a:pt x="3228" y="1192"/>
                  </a:lnTo>
                  <a:lnTo>
                    <a:pt x="3224" y="1185"/>
                  </a:lnTo>
                  <a:lnTo>
                    <a:pt x="3220" y="1183"/>
                  </a:lnTo>
                  <a:lnTo>
                    <a:pt x="3216" y="1183"/>
                  </a:lnTo>
                  <a:lnTo>
                    <a:pt x="3210" y="1180"/>
                  </a:lnTo>
                  <a:lnTo>
                    <a:pt x="3204" y="1178"/>
                  </a:lnTo>
                  <a:lnTo>
                    <a:pt x="3200" y="1176"/>
                  </a:lnTo>
                  <a:lnTo>
                    <a:pt x="3197" y="1175"/>
                  </a:lnTo>
                  <a:lnTo>
                    <a:pt x="3193" y="1174"/>
                  </a:lnTo>
                  <a:lnTo>
                    <a:pt x="3189" y="1171"/>
                  </a:lnTo>
                  <a:lnTo>
                    <a:pt x="3187" y="1171"/>
                  </a:lnTo>
                  <a:lnTo>
                    <a:pt x="3186" y="1170"/>
                  </a:lnTo>
                  <a:lnTo>
                    <a:pt x="3183" y="1170"/>
                  </a:lnTo>
                  <a:lnTo>
                    <a:pt x="3182" y="1170"/>
                  </a:lnTo>
                  <a:lnTo>
                    <a:pt x="3181" y="1168"/>
                  </a:lnTo>
                  <a:lnTo>
                    <a:pt x="3177" y="1165"/>
                  </a:lnTo>
                  <a:lnTo>
                    <a:pt x="3172" y="1159"/>
                  </a:lnTo>
                  <a:lnTo>
                    <a:pt x="3170" y="1158"/>
                  </a:lnTo>
                  <a:lnTo>
                    <a:pt x="3169" y="1158"/>
                  </a:lnTo>
                  <a:lnTo>
                    <a:pt x="3166" y="1158"/>
                  </a:lnTo>
                  <a:lnTo>
                    <a:pt x="3163" y="1153"/>
                  </a:lnTo>
                  <a:lnTo>
                    <a:pt x="3157" y="1148"/>
                  </a:lnTo>
                  <a:lnTo>
                    <a:pt x="3156" y="1148"/>
                  </a:lnTo>
                  <a:lnTo>
                    <a:pt x="3149" y="1175"/>
                  </a:lnTo>
                  <a:lnTo>
                    <a:pt x="3149" y="1183"/>
                  </a:lnTo>
                  <a:lnTo>
                    <a:pt x="3151" y="1193"/>
                  </a:lnTo>
                  <a:lnTo>
                    <a:pt x="3153" y="1204"/>
                  </a:lnTo>
                  <a:lnTo>
                    <a:pt x="3159" y="1214"/>
                  </a:lnTo>
                  <a:lnTo>
                    <a:pt x="3165" y="1223"/>
                  </a:lnTo>
                  <a:lnTo>
                    <a:pt x="3172" y="1233"/>
                  </a:lnTo>
                  <a:lnTo>
                    <a:pt x="3178" y="1239"/>
                  </a:lnTo>
                  <a:lnTo>
                    <a:pt x="3185" y="1244"/>
                  </a:lnTo>
                  <a:lnTo>
                    <a:pt x="3193" y="1248"/>
                  </a:lnTo>
                  <a:lnTo>
                    <a:pt x="3200" y="1252"/>
                  </a:lnTo>
                  <a:lnTo>
                    <a:pt x="3204" y="1255"/>
                  </a:lnTo>
                  <a:lnTo>
                    <a:pt x="3208" y="1255"/>
                  </a:lnTo>
                  <a:lnTo>
                    <a:pt x="3214" y="1255"/>
                  </a:lnTo>
                  <a:lnTo>
                    <a:pt x="3219" y="1253"/>
                  </a:lnTo>
                  <a:lnTo>
                    <a:pt x="3231" y="1244"/>
                  </a:lnTo>
                  <a:lnTo>
                    <a:pt x="3241" y="1234"/>
                  </a:lnTo>
                  <a:lnTo>
                    <a:pt x="3258" y="1221"/>
                  </a:lnTo>
                  <a:close/>
                  <a:moveTo>
                    <a:pt x="206" y="24"/>
                  </a:moveTo>
                  <a:lnTo>
                    <a:pt x="204" y="26"/>
                  </a:lnTo>
                  <a:lnTo>
                    <a:pt x="203" y="28"/>
                  </a:lnTo>
                  <a:lnTo>
                    <a:pt x="200" y="28"/>
                  </a:lnTo>
                  <a:lnTo>
                    <a:pt x="199" y="28"/>
                  </a:lnTo>
                  <a:lnTo>
                    <a:pt x="199" y="29"/>
                  </a:lnTo>
                  <a:lnTo>
                    <a:pt x="197" y="32"/>
                  </a:lnTo>
                  <a:lnTo>
                    <a:pt x="195" y="33"/>
                  </a:lnTo>
                  <a:lnTo>
                    <a:pt x="191" y="34"/>
                  </a:lnTo>
                  <a:lnTo>
                    <a:pt x="188" y="33"/>
                  </a:lnTo>
                  <a:lnTo>
                    <a:pt x="180" y="30"/>
                  </a:lnTo>
                  <a:lnTo>
                    <a:pt x="171" y="25"/>
                  </a:lnTo>
                  <a:lnTo>
                    <a:pt x="154" y="13"/>
                  </a:lnTo>
                  <a:lnTo>
                    <a:pt x="145" y="8"/>
                  </a:lnTo>
                  <a:lnTo>
                    <a:pt x="142" y="8"/>
                  </a:lnTo>
                  <a:lnTo>
                    <a:pt x="137" y="7"/>
                  </a:lnTo>
                  <a:lnTo>
                    <a:pt x="132" y="6"/>
                  </a:lnTo>
                  <a:lnTo>
                    <a:pt x="129" y="4"/>
                  </a:lnTo>
                  <a:lnTo>
                    <a:pt x="127" y="4"/>
                  </a:lnTo>
                  <a:lnTo>
                    <a:pt x="118" y="9"/>
                  </a:lnTo>
                  <a:lnTo>
                    <a:pt x="101" y="21"/>
                  </a:lnTo>
                  <a:lnTo>
                    <a:pt x="82" y="33"/>
                  </a:lnTo>
                  <a:lnTo>
                    <a:pt x="72" y="38"/>
                  </a:lnTo>
                  <a:lnTo>
                    <a:pt x="69" y="40"/>
                  </a:lnTo>
                  <a:lnTo>
                    <a:pt x="68" y="41"/>
                  </a:lnTo>
                  <a:lnTo>
                    <a:pt x="67" y="41"/>
                  </a:lnTo>
                  <a:lnTo>
                    <a:pt x="65" y="42"/>
                  </a:lnTo>
                  <a:lnTo>
                    <a:pt x="63" y="43"/>
                  </a:lnTo>
                  <a:lnTo>
                    <a:pt x="60" y="45"/>
                  </a:lnTo>
                  <a:lnTo>
                    <a:pt x="56" y="46"/>
                  </a:lnTo>
                  <a:lnTo>
                    <a:pt x="52" y="47"/>
                  </a:lnTo>
                  <a:lnTo>
                    <a:pt x="48" y="49"/>
                  </a:lnTo>
                  <a:lnTo>
                    <a:pt x="44" y="51"/>
                  </a:lnTo>
                  <a:lnTo>
                    <a:pt x="43" y="51"/>
                  </a:lnTo>
                  <a:lnTo>
                    <a:pt x="42" y="51"/>
                  </a:lnTo>
                  <a:lnTo>
                    <a:pt x="39" y="53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8" y="74"/>
                  </a:lnTo>
                  <a:lnTo>
                    <a:pt x="6" y="88"/>
                  </a:lnTo>
                  <a:lnTo>
                    <a:pt x="1" y="95"/>
                  </a:lnTo>
                  <a:lnTo>
                    <a:pt x="0" y="98"/>
                  </a:lnTo>
                  <a:lnTo>
                    <a:pt x="0" y="100"/>
                  </a:lnTo>
                  <a:lnTo>
                    <a:pt x="1" y="102"/>
                  </a:lnTo>
                  <a:lnTo>
                    <a:pt x="4" y="104"/>
                  </a:lnTo>
                  <a:lnTo>
                    <a:pt x="12" y="106"/>
                  </a:lnTo>
                  <a:lnTo>
                    <a:pt x="23" y="112"/>
                  </a:lnTo>
                  <a:lnTo>
                    <a:pt x="30" y="115"/>
                  </a:lnTo>
                  <a:lnTo>
                    <a:pt x="35" y="118"/>
                  </a:lnTo>
                  <a:lnTo>
                    <a:pt x="39" y="121"/>
                  </a:lnTo>
                  <a:lnTo>
                    <a:pt x="40" y="123"/>
                  </a:lnTo>
                  <a:lnTo>
                    <a:pt x="42" y="127"/>
                  </a:lnTo>
                  <a:lnTo>
                    <a:pt x="44" y="131"/>
                  </a:lnTo>
                  <a:lnTo>
                    <a:pt x="46" y="135"/>
                  </a:lnTo>
                  <a:lnTo>
                    <a:pt x="47" y="140"/>
                  </a:lnTo>
                  <a:lnTo>
                    <a:pt x="48" y="142"/>
                  </a:lnTo>
                  <a:lnTo>
                    <a:pt x="48" y="143"/>
                  </a:lnTo>
                  <a:lnTo>
                    <a:pt x="51" y="143"/>
                  </a:lnTo>
                  <a:lnTo>
                    <a:pt x="53" y="143"/>
                  </a:lnTo>
                  <a:lnTo>
                    <a:pt x="55" y="146"/>
                  </a:lnTo>
                  <a:lnTo>
                    <a:pt x="55" y="148"/>
                  </a:lnTo>
                  <a:lnTo>
                    <a:pt x="56" y="152"/>
                  </a:lnTo>
                  <a:lnTo>
                    <a:pt x="56" y="152"/>
                  </a:lnTo>
                  <a:lnTo>
                    <a:pt x="57" y="152"/>
                  </a:lnTo>
                  <a:lnTo>
                    <a:pt x="57" y="157"/>
                  </a:lnTo>
                  <a:lnTo>
                    <a:pt x="59" y="163"/>
                  </a:lnTo>
                  <a:lnTo>
                    <a:pt x="61" y="166"/>
                  </a:lnTo>
                  <a:lnTo>
                    <a:pt x="65" y="174"/>
                  </a:lnTo>
                  <a:lnTo>
                    <a:pt x="68" y="186"/>
                  </a:lnTo>
                  <a:lnTo>
                    <a:pt x="72" y="198"/>
                  </a:lnTo>
                  <a:lnTo>
                    <a:pt x="77" y="212"/>
                  </a:lnTo>
                  <a:lnTo>
                    <a:pt x="84" y="225"/>
                  </a:lnTo>
                  <a:lnTo>
                    <a:pt x="91" y="238"/>
                  </a:lnTo>
                  <a:lnTo>
                    <a:pt x="101" y="249"/>
                  </a:lnTo>
                  <a:lnTo>
                    <a:pt x="144" y="292"/>
                  </a:lnTo>
                  <a:lnTo>
                    <a:pt x="144" y="295"/>
                  </a:lnTo>
                  <a:lnTo>
                    <a:pt x="149" y="299"/>
                  </a:lnTo>
                  <a:lnTo>
                    <a:pt x="154" y="304"/>
                  </a:lnTo>
                  <a:lnTo>
                    <a:pt x="154" y="306"/>
                  </a:lnTo>
                  <a:lnTo>
                    <a:pt x="157" y="309"/>
                  </a:lnTo>
                  <a:lnTo>
                    <a:pt x="161" y="312"/>
                  </a:lnTo>
                  <a:lnTo>
                    <a:pt x="162" y="312"/>
                  </a:lnTo>
                  <a:lnTo>
                    <a:pt x="174" y="312"/>
                  </a:lnTo>
                  <a:lnTo>
                    <a:pt x="182" y="309"/>
                  </a:lnTo>
                  <a:lnTo>
                    <a:pt x="187" y="306"/>
                  </a:lnTo>
                  <a:lnTo>
                    <a:pt x="191" y="301"/>
                  </a:lnTo>
                  <a:lnTo>
                    <a:pt x="192" y="301"/>
                  </a:lnTo>
                  <a:lnTo>
                    <a:pt x="195" y="302"/>
                  </a:lnTo>
                  <a:lnTo>
                    <a:pt x="195" y="302"/>
                  </a:lnTo>
                  <a:lnTo>
                    <a:pt x="196" y="304"/>
                  </a:lnTo>
                  <a:lnTo>
                    <a:pt x="197" y="304"/>
                  </a:lnTo>
                  <a:lnTo>
                    <a:pt x="197" y="304"/>
                  </a:lnTo>
                  <a:lnTo>
                    <a:pt x="200" y="306"/>
                  </a:lnTo>
                  <a:lnTo>
                    <a:pt x="203" y="306"/>
                  </a:lnTo>
                  <a:lnTo>
                    <a:pt x="212" y="309"/>
                  </a:lnTo>
                  <a:lnTo>
                    <a:pt x="222" y="309"/>
                  </a:lnTo>
                  <a:lnTo>
                    <a:pt x="229" y="309"/>
                  </a:lnTo>
                  <a:lnTo>
                    <a:pt x="234" y="308"/>
                  </a:lnTo>
                  <a:lnTo>
                    <a:pt x="240" y="305"/>
                  </a:lnTo>
                  <a:lnTo>
                    <a:pt x="247" y="301"/>
                  </a:lnTo>
                  <a:lnTo>
                    <a:pt x="251" y="300"/>
                  </a:lnTo>
                  <a:lnTo>
                    <a:pt x="255" y="299"/>
                  </a:lnTo>
                  <a:lnTo>
                    <a:pt x="257" y="299"/>
                  </a:lnTo>
                  <a:lnTo>
                    <a:pt x="261" y="299"/>
                  </a:lnTo>
                  <a:lnTo>
                    <a:pt x="268" y="300"/>
                  </a:lnTo>
                  <a:lnTo>
                    <a:pt x="276" y="304"/>
                  </a:lnTo>
                  <a:lnTo>
                    <a:pt x="284" y="306"/>
                  </a:lnTo>
                  <a:lnTo>
                    <a:pt x="292" y="310"/>
                  </a:lnTo>
                  <a:lnTo>
                    <a:pt x="301" y="313"/>
                  </a:lnTo>
                  <a:lnTo>
                    <a:pt x="311" y="314"/>
                  </a:lnTo>
                  <a:lnTo>
                    <a:pt x="323" y="321"/>
                  </a:lnTo>
                  <a:lnTo>
                    <a:pt x="335" y="327"/>
                  </a:lnTo>
                  <a:lnTo>
                    <a:pt x="354" y="319"/>
                  </a:lnTo>
                  <a:lnTo>
                    <a:pt x="371" y="312"/>
                  </a:lnTo>
                  <a:lnTo>
                    <a:pt x="373" y="312"/>
                  </a:lnTo>
                  <a:lnTo>
                    <a:pt x="373" y="312"/>
                  </a:lnTo>
                  <a:lnTo>
                    <a:pt x="373" y="310"/>
                  </a:lnTo>
                  <a:lnTo>
                    <a:pt x="374" y="309"/>
                  </a:lnTo>
                  <a:lnTo>
                    <a:pt x="375" y="309"/>
                  </a:lnTo>
                  <a:lnTo>
                    <a:pt x="390" y="300"/>
                  </a:lnTo>
                  <a:lnTo>
                    <a:pt x="403" y="289"/>
                  </a:lnTo>
                  <a:lnTo>
                    <a:pt x="403" y="288"/>
                  </a:lnTo>
                  <a:lnTo>
                    <a:pt x="408" y="284"/>
                  </a:lnTo>
                  <a:lnTo>
                    <a:pt x="413" y="282"/>
                  </a:lnTo>
                  <a:lnTo>
                    <a:pt x="418" y="279"/>
                  </a:lnTo>
                  <a:lnTo>
                    <a:pt x="424" y="276"/>
                  </a:lnTo>
                  <a:lnTo>
                    <a:pt x="434" y="274"/>
                  </a:lnTo>
                  <a:lnTo>
                    <a:pt x="445" y="272"/>
                  </a:lnTo>
                  <a:lnTo>
                    <a:pt x="455" y="270"/>
                  </a:lnTo>
                  <a:lnTo>
                    <a:pt x="464" y="266"/>
                  </a:lnTo>
                  <a:lnTo>
                    <a:pt x="468" y="263"/>
                  </a:lnTo>
                  <a:lnTo>
                    <a:pt x="472" y="259"/>
                  </a:lnTo>
                  <a:lnTo>
                    <a:pt x="475" y="254"/>
                  </a:lnTo>
                  <a:lnTo>
                    <a:pt x="479" y="248"/>
                  </a:lnTo>
                  <a:lnTo>
                    <a:pt x="482" y="232"/>
                  </a:lnTo>
                  <a:lnTo>
                    <a:pt x="485" y="216"/>
                  </a:lnTo>
                  <a:lnTo>
                    <a:pt x="488" y="208"/>
                  </a:lnTo>
                  <a:lnTo>
                    <a:pt x="489" y="200"/>
                  </a:lnTo>
                  <a:lnTo>
                    <a:pt x="493" y="194"/>
                  </a:lnTo>
                  <a:lnTo>
                    <a:pt x="497" y="189"/>
                  </a:lnTo>
                  <a:lnTo>
                    <a:pt x="501" y="186"/>
                  </a:lnTo>
                  <a:lnTo>
                    <a:pt x="509" y="183"/>
                  </a:lnTo>
                  <a:lnTo>
                    <a:pt x="518" y="182"/>
                  </a:lnTo>
                  <a:lnTo>
                    <a:pt x="528" y="181"/>
                  </a:lnTo>
                  <a:lnTo>
                    <a:pt x="539" y="181"/>
                  </a:lnTo>
                  <a:lnTo>
                    <a:pt x="548" y="181"/>
                  </a:lnTo>
                  <a:lnTo>
                    <a:pt x="554" y="182"/>
                  </a:lnTo>
                  <a:lnTo>
                    <a:pt x="558" y="185"/>
                  </a:lnTo>
                  <a:lnTo>
                    <a:pt x="562" y="191"/>
                  </a:lnTo>
                  <a:lnTo>
                    <a:pt x="565" y="199"/>
                  </a:lnTo>
                  <a:lnTo>
                    <a:pt x="567" y="206"/>
                  </a:lnTo>
                  <a:lnTo>
                    <a:pt x="569" y="214"/>
                  </a:lnTo>
                  <a:lnTo>
                    <a:pt x="570" y="227"/>
                  </a:lnTo>
                  <a:lnTo>
                    <a:pt x="571" y="238"/>
                  </a:lnTo>
                  <a:lnTo>
                    <a:pt x="573" y="244"/>
                  </a:lnTo>
                  <a:lnTo>
                    <a:pt x="574" y="249"/>
                  </a:lnTo>
                  <a:lnTo>
                    <a:pt x="578" y="253"/>
                  </a:lnTo>
                  <a:lnTo>
                    <a:pt x="582" y="258"/>
                  </a:lnTo>
                  <a:lnTo>
                    <a:pt x="588" y="261"/>
                  </a:lnTo>
                  <a:lnTo>
                    <a:pt x="598" y="265"/>
                  </a:lnTo>
                  <a:lnTo>
                    <a:pt x="608" y="267"/>
                  </a:lnTo>
                  <a:lnTo>
                    <a:pt x="620" y="268"/>
                  </a:lnTo>
                  <a:lnTo>
                    <a:pt x="629" y="271"/>
                  </a:lnTo>
                  <a:lnTo>
                    <a:pt x="636" y="274"/>
                  </a:lnTo>
                  <a:lnTo>
                    <a:pt x="641" y="278"/>
                  </a:lnTo>
                  <a:lnTo>
                    <a:pt x="645" y="282"/>
                  </a:lnTo>
                  <a:lnTo>
                    <a:pt x="647" y="287"/>
                  </a:lnTo>
                  <a:lnTo>
                    <a:pt x="650" y="293"/>
                  </a:lnTo>
                  <a:lnTo>
                    <a:pt x="651" y="300"/>
                  </a:lnTo>
                  <a:lnTo>
                    <a:pt x="651" y="306"/>
                  </a:lnTo>
                  <a:lnTo>
                    <a:pt x="649" y="322"/>
                  </a:lnTo>
                  <a:lnTo>
                    <a:pt x="645" y="337"/>
                  </a:lnTo>
                  <a:lnTo>
                    <a:pt x="639" y="350"/>
                  </a:lnTo>
                  <a:lnTo>
                    <a:pt x="633" y="361"/>
                  </a:lnTo>
                  <a:lnTo>
                    <a:pt x="609" y="401"/>
                  </a:lnTo>
                  <a:lnTo>
                    <a:pt x="586" y="445"/>
                  </a:lnTo>
                  <a:lnTo>
                    <a:pt x="574" y="467"/>
                  </a:lnTo>
                  <a:lnTo>
                    <a:pt x="565" y="490"/>
                  </a:lnTo>
                  <a:lnTo>
                    <a:pt x="562" y="500"/>
                  </a:lnTo>
                  <a:lnTo>
                    <a:pt x="558" y="510"/>
                  </a:lnTo>
                  <a:lnTo>
                    <a:pt x="556" y="522"/>
                  </a:lnTo>
                  <a:lnTo>
                    <a:pt x="554" y="533"/>
                  </a:lnTo>
                  <a:lnTo>
                    <a:pt x="553" y="538"/>
                  </a:lnTo>
                  <a:lnTo>
                    <a:pt x="552" y="542"/>
                  </a:lnTo>
                  <a:lnTo>
                    <a:pt x="549" y="544"/>
                  </a:lnTo>
                  <a:lnTo>
                    <a:pt x="545" y="547"/>
                  </a:lnTo>
                  <a:lnTo>
                    <a:pt x="541" y="548"/>
                  </a:lnTo>
                  <a:lnTo>
                    <a:pt x="537" y="550"/>
                  </a:lnTo>
                  <a:lnTo>
                    <a:pt x="532" y="550"/>
                  </a:lnTo>
                  <a:lnTo>
                    <a:pt x="528" y="550"/>
                  </a:lnTo>
                  <a:lnTo>
                    <a:pt x="519" y="547"/>
                  </a:lnTo>
                  <a:lnTo>
                    <a:pt x="511" y="543"/>
                  </a:lnTo>
                  <a:lnTo>
                    <a:pt x="509" y="541"/>
                  </a:lnTo>
                  <a:lnTo>
                    <a:pt x="506" y="538"/>
                  </a:lnTo>
                  <a:lnTo>
                    <a:pt x="505" y="535"/>
                  </a:lnTo>
                  <a:lnTo>
                    <a:pt x="503" y="533"/>
                  </a:lnTo>
                  <a:lnTo>
                    <a:pt x="502" y="524"/>
                  </a:lnTo>
                  <a:lnTo>
                    <a:pt x="498" y="517"/>
                  </a:lnTo>
                  <a:lnTo>
                    <a:pt x="494" y="509"/>
                  </a:lnTo>
                  <a:lnTo>
                    <a:pt x="489" y="503"/>
                  </a:lnTo>
                  <a:lnTo>
                    <a:pt x="482" y="497"/>
                  </a:lnTo>
                  <a:lnTo>
                    <a:pt x="476" y="491"/>
                  </a:lnTo>
                  <a:lnTo>
                    <a:pt x="468" y="486"/>
                  </a:lnTo>
                  <a:lnTo>
                    <a:pt x="460" y="482"/>
                  </a:lnTo>
                  <a:lnTo>
                    <a:pt x="442" y="473"/>
                  </a:lnTo>
                  <a:lnTo>
                    <a:pt x="424" y="466"/>
                  </a:lnTo>
                  <a:lnTo>
                    <a:pt x="405" y="459"/>
                  </a:lnTo>
                  <a:lnTo>
                    <a:pt x="387" y="454"/>
                  </a:lnTo>
                  <a:lnTo>
                    <a:pt x="369" y="449"/>
                  </a:lnTo>
                  <a:lnTo>
                    <a:pt x="354" y="446"/>
                  </a:lnTo>
                  <a:lnTo>
                    <a:pt x="349" y="446"/>
                  </a:lnTo>
                  <a:lnTo>
                    <a:pt x="345" y="446"/>
                  </a:lnTo>
                  <a:lnTo>
                    <a:pt x="340" y="448"/>
                  </a:lnTo>
                  <a:lnTo>
                    <a:pt x="337" y="449"/>
                  </a:lnTo>
                  <a:lnTo>
                    <a:pt x="333" y="450"/>
                  </a:lnTo>
                  <a:lnTo>
                    <a:pt x="331" y="454"/>
                  </a:lnTo>
                  <a:lnTo>
                    <a:pt x="328" y="457"/>
                  </a:lnTo>
                  <a:lnTo>
                    <a:pt x="327" y="462"/>
                  </a:lnTo>
                  <a:lnTo>
                    <a:pt x="322" y="473"/>
                  </a:lnTo>
                  <a:lnTo>
                    <a:pt x="316" y="487"/>
                  </a:lnTo>
                  <a:lnTo>
                    <a:pt x="312" y="497"/>
                  </a:lnTo>
                  <a:lnTo>
                    <a:pt x="311" y="508"/>
                  </a:lnTo>
                  <a:lnTo>
                    <a:pt x="311" y="518"/>
                  </a:lnTo>
                  <a:lnTo>
                    <a:pt x="312" y="527"/>
                  </a:lnTo>
                  <a:lnTo>
                    <a:pt x="315" y="535"/>
                  </a:lnTo>
                  <a:lnTo>
                    <a:pt x="319" y="544"/>
                  </a:lnTo>
                  <a:lnTo>
                    <a:pt x="323" y="552"/>
                  </a:lnTo>
                  <a:lnTo>
                    <a:pt x="329" y="560"/>
                  </a:lnTo>
                  <a:lnTo>
                    <a:pt x="336" y="567"/>
                  </a:lnTo>
                  <a:lnTo>
                    <a:pt x="345" y="573"/>
                  </a:lnTo>
                  <a:lnTo>
                    <a:pt x="353" y="580"/>
                  </a:lnTo>
                  <a:lnTo>
                    <a:pt x="363" y="585"/>
                  </a:lnTo>
                  <a:lnTo>
                    <a:pt x="383" y="597"/>
                  </a:lnTo>
                  <a:lnTo>
                    <a:pt x="407" y="607"/>
                  </a:lnTo>
                  <a:lnTo>
                    <a:pt x="454" y="626"/>
                  </a:lnTo>
                  <a:lnTo>
                    <a:pt x="499" y="644"/>
                  </a:lnTo>
                  <a:lnTo>
                    <a:pt x="519" y="653"/>
                  </a:lnTo>
                  <a:lnTo>
                    <a:pt x="537" y="662"/>
                  </a:lnTo>
                  <a:lnTo>
                    <a:pt x="545" y="667"/>
                  </a:lnTo>
                  <a:lnTo>
                    <a:pt x="552" y="673"/>
                  </a:lnTo>
                  <a:lnTo>
                    <a:pt x="557" y="678"/>
                  </a:lnTo>
                  <a:lnTo>
                    <a:pt x="561" y="683"/>
                  </a:lnTo>
                  <a:lnTo>
                    <a:pt x="571" y="696"/>
                  </a:lnTo>
                  <a:lnTo>
                    <a:pt x="579" y="705"/>
                  </a:lnTo>
                  <a:lnTo>
                    <a:pt x="584" y="709"/>
                  </a:lnTo>
                  <a:lnTo>
                    <a:pt x="588" y="712"/>
                  </a:lnTo>
                  <a:lnTo>
                    <a:pt x="594" y="713"/>
                  </a:lnTo>
                  <a:lnTo>
                    <a:pt x="599" y="715"/>
                  </a:lnTo>
                  <a:lnTo>
                    <a:pt x="608" y="715"/>
                  </a:lnTo>
                  <a:lnTo>
                    <a:pt x="620" y="712"/>
                  </a:lnTo>
                  <a:lnTo>
                    <a:pt x="632" y="708"/>
                  </a:lnTo>
                  <a:lnTo>
                    <a:pt x="646" y="701"/>
                  </a:lnTo>
                  <a:lnTo>
                    <a:pt x="654" y="703"/>
                  </a:lnTo>
                  <a:lnTo>
                    <a:pt x="670" y="709"/>
                  </a:lnTo>
                  <a:lnTo>
                    <a:pt x="689" y="720"/>
                  </a:lnTo>
                  <a:lnTo>
                    <a:pt x="710" y="734"/>
                  </a:lnTo>
                  <a:lnTo>
                    <a:pt x="719" y="742"/>
                  </a:lnTo>
                  <a:lnTo>
                    <a:pt x="727" y="750"/>
                  </a:lnTo>
                  <a:lnTo>
                    <a:pt x="734" y="759"/>
                  </a:lnTo>
                  <a:lnTo>
                    <a:pt x="738" y="767"/>
                  </a:lnTo>
                  <a:lnTo>
                    <a:pt x="739" y="772"/>
                  </a:lnTo>
                  <a:lnTo>
                    <a:pt x="739" y="776"/>
                  </a:lnTo>
                  <a:lnTo>
                    <a:pt x="739" y="780"/>
                  </a:lnTo>
                  <a:lnTo>
                    <a:pt x="738" y="785"/>
                  </a:lnTo>
                  <a:lnTo>
                    <a:pt x="735" y="789"/>
                  </a:lnTo>
                  <a:lnTo>
                    <a:pt x="732" y="793"/>
                  </a:lnTo>
                  <a:lnTo>
                    <a:pt x="728" y="797"/>
                  </a:lnTo>
                  <a:lnTo>
                    <a:pt x="723" y="801"/>
                  </a:lnTo>
                  <a:lnTo>
                    <a:pt x="710" y="806"/>
                  </a:lnTo>
                  <a:lnTo>
                    <a:pt x="692" y="810"/>
                  </a:lnTo>
                  <a:lnTo>
                    <a:pt x="683" y="813"/>
                  </a:lnTo>
                  <a:lnTo>
                    <a:pt x="676" y="817"/>
                  </a:lnTo>
                  <a:lnTo>
                    <a:pt x="673" y="818"/>
                  </a:lnTo>
                  <a:lnTo>
                    <a:pt x="672" y="819"/>
                  </a:lnTo>
                  <a:lnTo>
                    <a:pt x="671" y="822"/>
                  </a:lnTo>
                  <a:lnTo>
                    <a:pt x="672" y="823"/>
                  </a:lnTo>
                  <a:lnTo>
                    <a:pt x="685" y="849"/>
                  </a:lnTo>
                  <a:lnTo>
                    <a:pt x="698" y="875"/>
                  </a:lnTo>
                  <a:lnTo>
                    <a:pt x="705" y="890"/>
                  </a:lnTo>
                  <a:lnTo>
                    <a:pt x="709" y="904"/>
                  </a:lnTo>
                  <a:lnTo>
                    <a:pt x="713" y="919"/>
                  </a:lnTo>
                  <a:lnTo>
                    <a:pt x="715" y="936"/>
                  </a:lnTo>
                  <a:lnTo>
                    <a:pt x="718" y="947"/>
                  </a:lnTo>
                  <a:lnTo>
                    <a:pt x="722" y="957"/>
                  </a:lnTo>
                  <a:lnTo>
                    <a:pt x="727" y="964"/>
                  </a:lnTo>
                  <a:lnTo>
                    <a:pt x="734" y="970"/>
                  </a:lnTo>
                  <a:lnTo>
                    <a:pt x="741" y="974"/>
                  </a:lnTo>
                  <a:lnTo>
                    <a:pt x="749" y="976"/>
                  </a:lnTo>
                  <a:lnTo>
                    <a:pt x="760" y="977"/>
                  </a:lnTo>
                  <a:lnTo>
                    <a:pt x="770" y="979"/>
                  </a:lnTo>
                  <a:lnTo>
                    <a:pt x="792" y="979"/>
                  </a:lnTo>
                  <a:lnTo>
                    <a:pt x="816" y="977"/>
                  </a:lnTo>
                  <a:lnTo>
                    <a:pt x="828" y="977"/>
                  </a:lnTo>
                  <a:lnTo>
                    <a:pt x="840" y="977"/>
                  </a:lnTo>
                  <a:lnTo>
                    <a:pt x="851" y="979"/>
                  </a:lnTo>
                  <a:lnTo>
                    <a:pt x="862" y="981"/>
                  </a:lnTo>
                  <a:lnTo>
                    <a:pt x="884" y="985"/>
                  </a:lnTo>
                  <a:lnTo>
                    <a:pt x="908" y="989"/>
                  </a:lnTo>
                  <a:lnTo>
                    <a:pt x="919" y="992"/>
                  </a:lnTo>
                  <a:lnTo>
                    <a:pt x="928" y="994"/>
                  </a:lnTo>
                  <a:lnTo>
                    <a:pt x="934" y="997"/>
                  </a:lnTo>
                  <a:lnTo>
                    <a:pt x="938" y="1000"/>
                  </a:lnTo>
                  <a:lnTo>
                    <a:pt x="940" y="1002"/>
                  </a:lnTo>
                  <a:lnTo>
                    <a:pt x="943" y="1006"/>
                  </a:lnTo>
                  <a:lnTo>
                    <a:pt x="942" y="1013"/>
                  </a:lnTo>
                  <a:lnTo>
                    <a:pt x="938" y="1025"/>
                  </a:lnTo>
                  <a:lnTo>
                    <a:pt x="934" y="1038"/>
                  </a:lnTo>
                  <a:lnTo>
                    <a:pt x="931" y="1047"/>
                  </a:lnTo>
                  <a:lnTo>
                    <a:pt x="932" y="1060"/>
                  </a:lnTo>
                  <a:lnTo>
                    <a:pt x="934" y="1073"/>
                  </a:lnTo>
                  <a:lnTo>
                    <a:pt x="935" y="1086"/>
                  </a:lnTo>
                  <a:lnTo>
                    <a:pt x="936" y="1099"/>
                  </a:lnTo>
                  <a:lnTo>
                    <a:pt x="935" y="1123"/>
                  </a:lnTo>
                  <a:lnTo>
                    <a:pt x="932" y="1146"/>
                  </a:lnTo>
                  <a:lnTo>
                    <a:pt x="928" y="1172"/>
                  </a:lnTo>
                  <a:lnTo>
                    <a:pt x="923" y="1199"/>
                  </a:lnTo>
                  <a:lnTo>
                    <a:pt x="917" y="1223"/>
                  </a:lnTo>
                  <a:lnTo>
                    <a:pt x="908" y="1247"/>
                  </a:lnTo>
                  <a:lnTo>
                    <a:pt x="902" y="1259"/>
                  </a:lnTo>
                  <a:lnTo>
                    <a:pt x="897" y="1269"/>
                  </a:lnTo>
                  <a:lnTo>
                    <a:pt x="892" y="1280"/>
                  </a:lnTo>
                  <a:lnTo>
                    <a:pt x="885" y="1289"/>
                  </a:lnTo>
                  <a:lnTo>
                    <a:pt x="883" y="1293"/>
                  </a:lnTo>
                  <a:lnTo>
                    <a:pt x="883" y="1298"/>
                  </a:lnTo>
                  <a:lnTo>
                    <a:pt x="883" y="1304"/>
                  </a:lnTo>
                  <a:lnTo>
                    <a:pt x="884" y="1311"/>
                  </a:lnTo>
                  <a:lnTo>
                    <a:pt x="889" y="1325"/>
                  </a:lnTo>
                  <a:lnTo>
                    <a:pt x="897" y="1341"/>
                  </a:lnTo>
                  <a:lnTo>
                    <a:pt x="915" y="1371"/>
                  </a:lnTo>
                  <a:lnTo>
                    <a:pt x="931" y="1395"/>
                  </a:lnTo>
                  <a:lnTo>
                    <a:pt x="936" y="1407"/>
                  </a:lnTo>
                  <a:lnTo>
                    <a:pt x="942" y="1417"/>
                  </a:lnTo>
                  <a:lnTo>
                    <a:pt x="946" y="1427"/>
                  </a:lnTo>
                  <a:lnTo>
                    <a:pt x="949" y="1438"/>
                  </a:lnTo>
                  <a:lnTo>
                    <a:pt x="955" y="1460"/>
                  </a:lnTo>
                  <a:lnTo>
                    <a:pt x="964" y="1481"/>
                  </a:lnTo>
                  <a:lnTo>
                    <a:pt x="969" y="1489"/>
                  </a:lnTo>
                  <a:lnTo>
                    <a:pt x="976" y="1495"/>
                  </a:lnTo>
                  <a:lnTo>
                    <a:pt x="982" y="1502"/>
                  </a:lnTo>
                  <a:lnTo>
                    <a:pt x="990" y="1506"/>
                  </a:lnTo>
                  <a:lnTo>
                    <a:pt x="1006" y="1511"/>
                  </a:lnTo>
                  <a:lnTo>
                    <a:pt x="1023" y="1514"/>
                  </a:lnTo>
                  <a:lnTo>
                    <a:pt x="1040" y="1516"/>
                  </a:lnTo>
                  <a:lnTo>
                    <a:pt x="1054" y="1519"/>
                  </a:lnTo>
                  <a:lnTo>
                    <a:pt x="1061" y="1522"/>
                  </a:lnTo>
                  <a:lnTo>
                    <a:pt x="1067" y="1526"/>
                  </a:lnTo>
                  <a:lnTo>
                    <a:pt x="1072" y="1529"/>
                  </a:lnTo>
                  <a:lnTo>
                    <a:pt x="1075" y="1535"/>
                  </a:lnTo>
                  <a:lnTo>
                    <a:pt x="1078" y="1540"/>
                  </a:lnTo>
                  <a:lnTo>
                    <a:pt x="1078" y="1543"/>
                  </a:lnTo>
                  <a:lnTo>
                    <a:pt x="1076" y="1546"/>
                  </a:lnTo>
                  <a:lnTo>
                    <a:pt x="1075" y="1548"/>
                  </a:lnTo>
                  <a:lnTo>
                    <a:pt x="1070" y="1552"/>
                  </a:lnTo>
                  <a:lnTo>
                    <a:pt x="1062" y="1554"/>
                  </a:lnTo>
                  <a:lnTo>
                    <a:pt x="1045" y="1556"/>
                  </a:lnTo>
                  <a:lnTo>
                    <a:pt x="1031" y="1556"/>
                  </a:lnTo>
                  <a:lnTo>
                    <a:pt x="1016" y="1557"/>
                  </a:lnTo>
                  <a:lnTo>
                    <a:pt x="1006" y="1558"/>
                  </a:lnTo>
                  <a:lnTo>
                    <a:pt x="998" y="1561"/>
                  </a:lnTo>
                  <a:lnTo>
                    <a:pt x="994" y="1565"/>
                  </a:lnTo>
                  <a:lnTo>
                    <a:pt x="991" y="1569"/>
                  </a:lnTo>
                  <a:lnTo>
                    <a:pt x="991" y="1574"/>
                  </a:lnTo>
                  <a:lnTo>
                    <a:pt x="990" y="1582"/>
                  </a:lnTo>
                  <a:lnTo>
                    <a:pt x="990" y="1591"/>
                  </a:lnTo>
                  <a:lnTo>
                    <a:pt x="989" y="1620"/>
                  </a:lnTo>
                  <a:lnTo>
                    <a:pt x="989" y="1641"/>
                  </a:lnTo>
                  <a:lnTo>
                    <a:pt x="987" y="1650"/>
                  </a:lnTo>
                  <a:lnTo>
                    <a:pt x="986" y="1660"/>
                  </a:lnTo>
                  <a:lnTo>
                    <a:pt x="982" y="1672"/>
                  </a:lnTo>
                  <a:lnTo>
                    <a:pt x="977" y="1685"/>
                  </a:lnTo>
                  <a:lnTo>
                    <a:pt x="970" y="1696"/>
                  </a:lnTo>
                  <a:lnTo>
                    <a:pt x="961" y="1709"/>
                  </a:lnTo>
                  <a:lnTo>
                    <a:pt x="957" y="1715"/>
                  </a:lnTo>
                  <a:lnTo>
                    <a:pt x="955" y="1723"/>
                  </a:lnTo>
                  <a:lnTo>
                    <a:pt x="955" y="1726"/>
                  </a:lnTo>
                  <a:lnTo>
                    <a:pt x="955" y="1730"/>
                  </a:lnTo>
                  <a:lnTo>
                    <a:pt x="956" y="1732"/>
                  </a:lnTo>
                  <a:lnTo>
                    <a:pt x="957" y="1735"/>
                  </a:lnTo>
                  <a:lnTo>
                    <a:pt x="966" y="1740"/>
                  </a:lnTo>
                  <a:lnTo>
                    <a:pt x="976" y="1744"/>
                  </a:lnTo>
                  <a:lnTo>
                    <a:pt x="986" y="1747"/>
                  </a:lnTo>
                  <a:lnTo>
                    <a:pt x="998" y="1749"/>
                  </a:lnTo>
                  <a:lnTo>
                    <a:pt x="1011" y="1752"/>
                  </a:lnTo>
                  <a:lnTo>
                    <a:pt x="1023" y="1756"/>
                  </a:lnTo>
                  <a:lnTo>
                    <a:pt x="1028" y="1757"/>
                  </a:lnTo>
                  <a:lnTo>
                    <a:pt x="1034" y="1761"/>
                  </a:lnTo>
                  <a:lnTo>
                    <a:pt x="1040" y="1765"/>
                  </a:lnTo>
                  <a:lnTo>
                    <a:pt x="1045" y="1769"/>
                  </a:lnTo>
                  <a:lnTo>
                    <a:pt x="1059" y="1783"/>
                  </a:lnTo>
                  <a:lnTo>
                    <a:pt x="1074" y="1799"/>
                  </a:lnTo>
                  <a:lnTo>
                    <a:pt x="1088" y="1813"/>
                  </a:lnTo>
                  <a:lnTo>
                    <a:pt x="1101" y="1828"/>
                  </a:lnTo>
                  <a:lnTo>
                    <a:pt x="1144" y="1875"/>
                  </a:lnTo>
                  <a:lnTo>
                    <a:pt x="1170" y="1847"/>
                  </a:lnTo>
                  <a:lnTo>
                    <a:pt x="1176" y="1843"/>
                  </a:lnTo>
                  <a:lnTo>
                    <a:pt x="1181" y="1841"/>
                  </a:lnTo>
                  <a:lnTo>
                    <a:pt x="1189" y="1839"/>
                  </a:lnTo>
                  <a:lnTo>
                    <a:pt x="1195" y="1839"/>
                  </a:lnTo>
                  <a:lnTo>
                    <a:pt x="1203" y="1838"/>
                  </a:lnTo>
                  <a:lnTo>
                    <a:pt x="1210" y="1838"/>
                  </a:lnTo>
                  <a:lnTo>
                    <a:pt x="1216" y="1836"/>
                  </a:lnTo>
                  <a:lnTo>
                    <a:pt x="1221" y="1833"/>
                  </a:lnTo>
                  <a:lnTo>
                    <a:pt x="1227" y="1828"/>
                  </a:lnTo>
                  <a:lnTo>
                    <a:pt x="1231" y="1821"/>
                  </a:lnTo>
                  <a:lnTo>
                    <a:pt x="1233" y="1815"/>
                  </a:lnTo>
                  <a:lnTo>
                    <a:pt x="1237" y="1807"/>
                  </a:lnTo>
                  <a:lnTo>
                    <a:pt x="1241" y="1792"/>
                  </a:lnTo>
                  <a:lnTo>
                    <a:pt x="1245" y="1778"/>
                  </a:lnTo>
                  <a:lnTo>
                    <a:pt x="1246" y="1765"/>
                  </a:lnTo>
                  <a:lnTo>
                    <a:pt x="1245" y="1754"/>
                  </a:lnTo>
                  <a:lnTo>
                    <a:pt x="1244" y="1743"/>
                  </a:lnTo>
                  <a:lnTo>
                    <a:pt x="1244" y="1728"/>
                  </a:lnTo>
                  <a:lnTo>
                    <a:pt x="1244" y="1711"/>
                  </a:lnTo>
                  <a:lnTo>
                    <a:pt x="1245" y="1694"/>
                  </a:lnTo>
                  <a:lnTo>
                    <a:pt x="1246" y="1692"/>
                  </a:lnTo>
                  <a:lnTo>
                    <a:pt x="1248" y="1688"/>
                  </a:lnTo>
                  <a:lnTo>
                    <a:pt x="1250" y="1685"/>
                  </a:lnTo>
                  <a:lnTo>
                    <a:pt x="1253" y="1684"/>
                  </a:lnTo>
                  <a:lnTo>
                    <a:pt x="1257" y="1683"/>
                  </a:lnTo>
                  <a:lnTo>
                    <a:pt x="1262" y="1681"/>
                  </a:lnTo>
                  <a:lnTo>
                    <a:pt x="1269" y="1681"/>
                  </a:lnTo>
                  <a:lnTo>
                    <a:pt x="1275" y="1683"/>
                  </a:lnTo>
                  <a:lnTo>
                    <a:pt x="1282" y="1684"/>
                  </a:lnTo>
                  <a:lnTo>
                    <a:pt x="1291" y="1685"/>
                  </a:lnTo>
                  <a:lnTo>
                    <a:pt x="1299" y="1685"/>
                  </a:lnTo>
                  <a:lnTo>
                    <a:pt x="1308" y="1684"/>
                  </a:lnTo>
                  <a:lnTo>
                    <a:pt x="1316" y="1681"/>
                  </a:lnTo>
                  <a:lnTo>
                    <a:pt x="1322" y="1677"/>
                  </a:lnTo>
                  <a:lnTo>
                    <a:pt x="1325" y="1675"/>
                  </a:lnTo>
                  <a:lnTo>
                    <a:pt x="1326" y="1671"/>
                  </a:lnTo>
                  <a:lnTo>
                    <a:pt x="1327" y="1668"/>
                  </a:lnTo>
                  <a:lnTo>
                    <a:pt x="1327" y="1664"/>
                  </a:lnTo>
                  <a:lnTo>
                    <a:pt x="1327" y="1654"/>
                  </a:lnTo>
                  <a:lnTo>
                    <a:pt x="1326" y="1643"/>
                  </a:lnTo>
                  <a:lnTo>
                    <a:pt x="1324" y="1634"/>
                  </a:lnTo>
                  <a:lnTo>
                    <a:pt x="1321" y="1625"/>
                  </a:lnTo>
                  <a:lnTo>
                    <a:pt x="1314" y="1608"/>
                  </a:lnTo>
                  <a:lnTo>
                    <a:pt x="1309" y="1594"/>
                  </a:lnTo>
                  <a:lnTo>
                    <a:pt x="1307" y="1587"/>
                  </a:lnTo>
                  <a:lnTo>
                    <a:pt x="1307" y="1580"/>
                  </a:lnTo>
                  <a:lnTo>
                    <a:pt x="1307" y="1575"/>
                  </a:lnTo>
                  <a:lnTo>
                    <a:pt x="1308" y="1570"/>
                  </a:lnTo>
                  <a:lnTo>
                    <a:pt x="1312" y="1566"/>
                  </a:lnTo>
                  <a:lnTo>
                    <a:pt x="1317" y="1563"/>
                  </a:lnTo>
                  <a:lnTo>
                    <a:pt x="1325" y="1561"/>
                  </a:lnTo>
                  <a:lnTo>
                    <a:pt x="1335" y="1560"/>
                  </a:lnTo>
                  <a:lnTo>
                    <a:pt x="1352" y="1557"/>
                  </a:lnTo>
                  <a:lnTo>
                    <a:pt x="1376" y="1550"/>
                  </a:lnTo>
                  <a:lnTo>
                    <a:pt x="1399" y="1544"/>
                  </a:lnTo>
                  <a:lnTo>
                    <a:pt x="1415" y="1537"/>
                  </a:lnTo>
                  <a:lnTo>
                    <a:pt x="1419" y="1532"/>
                  </a:lnTo>
                  <a:lnTo>
                    <a:pt x="1422" y="1526"/>
                  </a:lnTo>
                  <a:lnTo>
                    <a:pt x="1424" y="1519"/>
                  </a:lnTo>
                  <a:lnTo>
                    <a:pt x="1427" y="1511"/>
                  </a:lnTo>
                  <a:lnTo>
                    <a:pt x="1429" y="1506"/>
                  </a:lnTo>
                  <a:lnTo>
                    <a:pt x="1433" y="1502"/>
                  </a:lnTo>
                  <a:lnTo>
                    <a:pt x="1435" y="1502"/>
                  </a:lnTo>
                  <a:lnTo>
                    <a:pt x="1437" y="1502"/>
                  </a:lnTo>
                  <a:lnTo>
                    <a:pt x="1440" y="1503"/>
                  </a:lnTo>
                  <a:lnTo>
                    <a:pt x="1444" y="1507"/>
                  </a:lnTo>
                  <a:lnTo>
                    <a:pt x="1453" y="1515"/>
                  </a:lnTo>
                  <a:lnTo>
                    <a:pt x="1466" y="1523"/>
                  </a:lnTo>
                  <a:lnTo>
                    <a:pt x="1480" y="1531"/>
                  </a:lnTo>
                  <a:lnTo>
                    <a:pt x="1491" y="1535"/>
                  </a:lnTo>
                  <a:lnTo>
                    <a:pt x="1508" y="1526"/>
                  </a:lnTo>
                  <a:lnTo>
                    <a:pt x="1542" y="1503"/>
                  </a:lnTo>
                  <a:lnTo>
                    <a:pt x="1560" y="1492"/>
                  </a:lnTo>
                  <a:lnTo>
                    <a:pt x="1576" y="1481"/>
                  </a:lnTo>
                  <a:lnTo>
                    <a:pt x="1586" y="1473"/>
                  </a:lnTo>
                  <a:lnTo>
                    <a:pt x="1589" y="1469"/>
                  </a:lnTo>
                  <a:lnTo>
                    <a:pt x="1576" y="1455"/>
                  </a:lnTo>
                  <a:lnTo>
                    <a:pt x="1563" y="1442"/>
                  </a:lnTo>
                  <a:lnTo>
                    <a:pt x="1550" y="1430"/>
                  </a:lnTo>
                  <a:lnTo>
                    <a:pt x="1534" y="1421"/>
                  </a:lnTo>
                  <a:lnTo>
                    <a:pt x="1514" y="1412"/>
                  </a:lnTo>
                  <a:lnTo>
                    <a:pt x="1486" y="1400"/>
                  </a:lnTo>
                  <a:lnTo>
                    <a:pt x="1471" y="1393"/>
                  </a:lnTo>
                  <a:lnTo>
                    <a:pt x="1460" y="1387"/>
                  </a:lnTo>
                  <a:lnTo>
                    <a:pt x="1454" y="1384"/>
                  </a:lnTo>
                  <a:lnTo>
                    <a:pt x="1450" y="1382"/>
                  </a:lnTo>
                  <a:lnTo>
                    <a:pt x="1448" y="1379"/>
                  </a:lnTo>
                  <a:lnTo>
                    <a:pt x="1446" y="1376"/>
                  </a:lnTo>
                  <a:lnTo>
                    <a:pt x="1443" y="1367"/>
                  </a:lnTo>
                  <a:lnTo>
                    <a:pt x="1440" y="1361"/>
                  </a:lnTo>
                  <a:lnTo>
                    <a:pt x="1435" y="1354"/>
                  </a:lnTo>
                  <a:lnTo>
                    <a:pt x="1431" y="1349"/>
                  </a:lnTo>
                  <a:lnTo>
                    <a:pt x="1419" y="1340"/>
                  </a:lnTo>
                  <a:lnTo>
                    <a:pt x="1407" y="1333"/>
                  </a:lnTo>
                  <a:lnTo>
                    <a:pt x="1397" y="1327"/>
                  </a:lnTo>
                  <a:lnTo>
                    <a:pt x="1388" y="1320"/>
                  </a:lnTo>
                  <a:lnTo>
                    <a:pt x="1385" y="1318"/>
                  </a:lnTo>
                  <a:lnTo>
                    <a:pt x="1382" y="1314"/>
                  </a:lnTo>
                  <a:lnTo>
                    <a:pt x="1381" y="1308"/>
                  </a:lnTo>
                  <a:lnTo>
                    <a:pt x="1382" y="1304"/>
                  </a:lnTo>
                  <a:lnTo>
                    <a:pt x="1385" y="1290"/>
                  </a:lnTo>
                  <a:lnTo>
                    <a:pt x="1388" y="1276"/>
                  </a:lnTo>
                  <a:lnTo>
                    <a:pt x="1392" y="1261"/>
                  </a:lnTo>
                  <a:lnTo>
                    <a:pt x="1395" y="1248"/>
                  </a:lnTo>
                  <a:lnTo>
                    <a:pt x="1402" y="1235"/>
                  </a:lnTo>
                  <a:lnTo>
                    <a:pt x="1411" y="1223"/>
                  </a:lnTo>
                  <a:lnTo>
                    <a:pt x="1415" y="1218"/>
                  </a:lnTo>
                  <a:lnTo>
                    <a:pt x="1422" y="1214"/>
                  </a:lnTo>
                  <a:lnTo>
                    <a:pt x="1428" y="1210"/>
                  </a:lnTo>
                  <a:lnTo>
                    <a:pt x="1435" y="1208"/>
                  </a:lnTo>
                  <a:lnTo>
                    <a:pt x="1453" y="1204"/>
                  </a:lnTo>
                  <a:lnTo>
                    <a:pt x="1469" y="1201"/>
                  </a:lnTo>
                  <a:lnTo>
                    <a:pt x="1475" y="1200"/>
                  </a:lnTo>
                  <a:lnTo>
                    <a:pt x="1483" y="1197"/>
                  </a:lnTo>
                  <a:lnTo>
                    <a:pt x="1491" y="1195"/>
                  </a:lnTo>
                  <a:lnTo>
                    <a:pt x="1500" y="1189"/>
                  </a:lnTo>
                  <a:lnTo>
                    <a:pt x="1509" y="1184"/>
                  </a:lnTo>
                  <a:lnTo>
                    <a:pt x="1517" y="1182"/>
                  </a:lnTo>
                  <a:lnTo>
                    <a:pt x="1526" y="1180"/>
                  </a:lnTo>
                  <a:lnTo>
                    <a:pt x="1535" y="1180"/>
                  </a:lnTo>
                  <a:lnTo>
                    <a:pt x="1538" y="1180"/>
                  </a:lnTo>
                  <a:lnTo>
                    <a:pt x="1539" y="1182"/>
                  </a:lnTo>
                  <a:lnTo>
                    <a:pt x="1539" y="1182"/>
                  </a:lnTo>
                  <a:lnTo>
                    <a:pt x="1541" y="1183"/>
                  </a:lnTo>
                  <a:lnTo>
                    <a:pt x="1547" y="1192"/>
                  </a:lnTo>
                  <a:lnTo>
                    <a:pt x="1552" y="1202"/>
                  </a:lnTo>
                  <a:lnTo>
                    <a:pt x="1556" y="1210"/>
                  </a:lnTo>
                  <a:lnTo>
                    <a:pt x="1559" y="1217"/>
                  </a:lnTo>
                  <a:lnTo>
                    <a:pt x="1564" y="1223"/>
                  </a:lnTo>
                  <a:lnTo>
                    <a:pt x="1568" y="1230"/>
                  </a:lnTo>
                  <a:lnTo>
                    <a:pt x="1569" y="1235"/>
                  </a:lnTo>
                  <a:lnTo>
                    <a:pt x="1572" y="1240"/>
                  </a:lnTo>
                  <a:lnTo>
                    <a:pt x="1573" y="1242"/>
                  </a:lnTo>
                  <a:lnTo>
                    <a:pt x="1573" y="1243"/>
                  </a:lnTo>
                  <a:lnTo>
                    <a:pt x="1575" y="1243"/>
                  </a:lnTo>
                  <a:lnTo>
                    <a:pt x="1576" y="1244"/>
                  </a:lnTo>
                  <a:lnTo>
                    <a:pt x="1577" y="1246"/>
                  </a:lnTo>
                  <a:lnTo>
                    <a:pt x="1579" y="1246"/>
                  </a:lnTo>
                  <a:lnTo>
                    <a:pt x="1585" y="1246"/>
                  </a:lnTo>
                  <a:lnTo>
                    <a:pt x="1592" y="1243"/>
                  </a:lnTo>
                  <a:lnTo>
                    <a:pt x="1594" y="1243"/>
                  </a:lnTo>
                  <a:lnTo>
                    <a:pt x="1597" y="1242"/>
                  </a:lnTo>
                  <a:lnTo>
                    <a:pt x="1600" y="1238"/>
                  </a:lnTo>
                  <a:lnTo>
                    <a:pt x="1601" y="1236"/>
                  </a:lnTo>
                  <a:lnTo>
                    <a:pt x="1602" y="1235"/>
                  </a:lnTo>
                  <a:lnTo>
                    <a:pt x="1615" y="1216"/>
                  </a:lnTo>
                  <a:lnTo>
                    <a:pt x="1626" y="1196"/>
                  </a:lnTo>
                  <a:lnTo>
                    <a:pt x="1627" y="1196"/>
                  </a:lnTo>
                  <a:lnTo>
                    <a:pt x="1628" y="1196"/>
                  </a:lnTo>
                  <a:lnTo>
                    <a:pt x="1630" y="1195"/>
                  </a:lnTo>
                  <a:lnTo>
                    <a:pt x="1632" y="1193"/>
                  </a:lnTo>
                  <a:lnTo>
                    <a:pt x="1634" y="1193"/>
                  </a:lnTo>
                  <a:lnTo>
                    <a:pt x="1635" y="1193"/>
                  </a:lnTo>
                  <a:lnTo>
                    <a:pt x="1640" y="1192"/>
                  </a:lnTo>
                  <a:lnTo>
                    <a:pt x="1644" y="1191"/>
                  </a:lnTo>
                  <a:lnTo>
                    <a:pt x="1645" y="1191"/>
                  </a:lnTo>
                  <a:lnTo>
                    <a:pt x="1647" y="1191"/>
                  </a:lnTo>
                  <a:lnTo>
                    <a:pt x="1648" y="1189"/>
                  </a:lnTo>
                  <a:lnTo>
                    <a:pt x="1649" y="1189"/>
                  </a:lnTo>
                  <a:lnTo>
                    <a:pt x="1658" y="1187"/>
                  </a:lnTo>
                  <a:lnTo>
                    <a:pt x="1668" y="1183"/>
                  </a:lnTo>
                  <a:lnTo>
                    <a:pt x="1670" y="1183"/>
                  </a:lnTo>
                  <a:lnTo>
                    <a:pt x="1674" y="1183"/>
                  </a:lnTo>
                  <a:lnTo>
                    <a:pt x="1677" y="1184"/>
                  </a:lnTo>
                  <a:lnTo>
                    <a:pt x="1679" y="1185"/>
                  </a:lnTo>
                  <a:lnTo>
                    <a:pt x="1683" y="1191"/>
                  </a:lnTo>
                  <a:lnTo>
                    <a:pt x="1686" y="1197"/>
                  </a:lnTo>
                  <a:lnTo>
                    <a:pt x="1690" y="1214"/>
                  </a:lnTo>
                  <a:lnTo>
                    <a:pt x="1694" y="1234"/>
                  </a:lnTo>
                  <a:lnTo>
                    <a:pt x="1695" y="1243"/>
                  </a:lnTo>
                  <a:lnTo>
                    <a:pt x="1698" y="1252"/>
                  </a:lnTo>
                  <a:lnTo>
                    <a:pt x="1702" y="1259"/>
                  </a:lnTo>
                  <a:lnTo>
                    <a:pt x="1705" y="1264"/>
                  </a:lnTo>
                  <a:lnTo>
                    <a:pt x="1708" y="1265"/>
                  </a:lnTo>
                  <a:lnTo>
                    <a:pt x="1711" y="1267"/>
                  </a:lnTo>
                  <a:lnTo>
                    <a:pt x="1713" y="1268"/>
                  </a:lnTo>
                  <a:lnTo>
                    <a:pt x="1717" y="1267"/>
                  </a:lnTo>
                  <a:lnTo>
                    <a:pt x="1726" y="1264"/>
                  </a:lnTo>
                  <a:lnTo>
                    <a:pt x="1737" y="1257"/>
                  </a:lnTo>
                  <a:lnTo>
                    <a:pt x="1743" y="1252"/>
                  </a:lnTo>
                  <a:lnTo>
                    <a:pt x="1751" y="1248"/>
                  </a:lnTo>
                  <a:lnTo>
                    <a:pt x="1758" y="1246"/>
                  </a:lnTo>
                  <a:lnTo>
                    <a:pt x="1764" y="1243"/>
                  </a:lnTo>
                  <a:lnTo>
                    <a:pt x="1779" y="1242"/>
                  </a:lnTo>
                  <a:lnTo>
                    <a:pt x="1793" y="1242"/>
                  </a:lnTo>
                  <a:lnTo>
                    <a:pt x="1809" y="1243"/>
                  </a:lnTo>
                  <a:lnTo>
                    <a:pt x="1823" y="1244"/>
                  </a:lnTo>
                  <a:lnTo>
                    <a:pt x="1839" y="1246"/>
                  </a:lnTo>
                  <a:lnTo>
                    <a:pt x="1855" y="1246"/>
                  </a:lnTo>
                  <a:lnTo>
                    <a:pt x="1937" y="1235"/>
                  </a:lnTo>
                  <a:lnTo>
                    <a:pt x="1946" y="1234"/>
                  </a:lnTo>
                  <a:lnTo>
                    <a:pt x="1955" y="1233"/>
                  </a:lnTo>
                  <a:lnTo>
                    <a:pt x="1962" y="1231"/>
                  </a:lnTo>
                  <a:lnTo>
                    <a:pt x="1968" y="1229"/>
                  </a:lnTo>
                  <a:lnTo>
                    <a:pt x="1974" y="1225"/>
                  </a:lnTo>
                  <a:lnTo>
                    <a:pt x="1978" y="1222"/>
                  </a:lnTo>
                  <a:lnTo>
                    <a:pt x="1981" y="1218"/>
                  </a:lnTo>
                  <a:lnTo>
                    <a:pt x="1985" y="1214"/>
                  </a:lnTo>
                  <a:lnTo>
                    <a:pt x="1997" y="1192"/>
                  </a:lnTo>
                  <a:lnTo>
                    <a:pt x="2009" y="1165"/>
                  </a:lnTo>
                  <a:lnTo>
                    <a:pt x="2015" y="1154"/>
                  </a:lnTo>
                  <a:lnTo>
                    <a:pt x="2021" y="1148"/>
                  </a:lnTo>
                  <a:lnTo>
                    <a:pt x="2026" y="1144"/>
                  </a:lnTo>
                  <a:lnTo>
                    <a:pt x="2031" y="1142"/>
                  </a:lnTo>
                  <a:lnTo>
                    <a:pt x="2036" y="1144"/>
                  </a:lnTo>
                  <a:lnTo>
                    <a:pt x="2042" y="1146"/>
                  </a:lnTo>
                  <a:lnTo>
                    <a:pt x="2047" y="1151"/>
                  </a:lnTo>
                  <a:lnTo>
                    <a:pt x="2052" y="1158"/>
                  </a:lnTo>
                  <a:lnTo>
                    <a:pt x="2063" y="1172"/>
                  </a:lnTo>
                  <a:lnTo>
                    <a:pt x="2076" y="1187"/>
                  </a:lnTo>
                  <a:lnTo>
                    <a:pt x="2082" y="1193"/>
                  </a:lnTo>
                  <a:lnTo>
                    <a:pt x="2091" y="1199"/>
                  </a:lnTo>
                  <a:lnTo>
                    <a:pt x="2099" y="1202"/>
                  </a:lnTo>
                  <a:lnTo>
                    <a:pt x="2110" y="1205"/>
                  </a:lnTo>
                  <a:lnTo>
                    <a:pt x="2117" y="1206"/>
                  </a:lnTo>
                  <a:lnTo>
                    <a:pt x="2128" y="1208"/>
                  </a:lnTo>
                  <a:lnTo>
                    <a:pt x="2140" y="1212"/>
                  </a:lnTo>
                  <a:lnTo>
                    <a:pt x="2151" y="1216"/>
                  </a:lnTo>
                  <a:lnTo>
                    <a:pt x="2162" y="1221"/>
                  </a:lnTo>
                  <a:lnTo>
                    <a:pt x="2171" y="1226"/>
                  </a:lnTo>
                  <a:lnTo>
                    <a:pt x="2175" y="1230"/>
                  </a:lnTo>
                  <a:lnTo>
                    <a:pt x="2178" y="1233"/>
                  </a:lnTo>
                  <a:lnTo>
                    <a:pt x="2179" y="1235"/>
                  </a:lnTo>
                  <a:lnTo>
                    <a:pt x="2180" y="1238"/>
                  </a:lnTo>
                  <a:lnTo>
                    <a:pt x="2180" y="1251"/>
                  </a:lnTo>
                  <a:lnTo>
                    <a:pt x="2182" y="1260"/>
                  </a:lnTo>
                  <a:lnTo>
                    <a:pt x="2183" y="1268"/>
                  </a:lnTo>
                  <a:lnTo>
                    <a:pt x="2184" y="1273"/>
                  </a:lnTo>
                  <a:lnTo>
                    <a:pt x="2187" y="1276"/>
                  </a:lnTo>
                  <a:lnTo>
                    <a:pt x="2189" y="1277"/>
                  </a:lnTo>
                  <a:lnTo>
                    <a:pt x="2193" y="1277"/>
                  </a:lnTo>
                  <a:lnTo>
                    <a:pt x="2197" y="1276"/>
                  </a:lnTo>
                  <a:lnTo>
                    <a:pt x="2205" y="1270"/>
                  </a:lnTo>
                  <a:lnTo>
                    <a:pt x="2217" y="1264"/>
                  </a:lnTo>
                  <a:lnTo>
                    <a:pt x="2222" y="1260"/>
                  </a:lnTo>
                  <a:lnTo>
                    <a:pt x="2229" y="1257"/>
                  </a:lnTo>
                  <a:lnTo>
                    <a:pt x="2235" y="1255"/>
                  </a:lnTo>
                  <a:lnTo>
                    <a:pt x="2243" y="1253"/>
                  </a:lnTo>
                  <a:lnTo>
                    <a:pt x="2255" y="1253"/>
                  </a:lnTo>
                  <a:lnTo>
                    <a:pt x="2265" y="1255"/>
                  </a:lnTo>
                  <a:lnTo>
                    <a:pt x="2277" y="1257"/>
                  </a:lnTo>
                  <a:lnTo>
                    <a:pt x="2286" y="1261"/>
                  </a:lnTo>
                  <a:lnTo>
                    <a:pt x="2306" y="1269"/>
                  </a:lnTo>
                  <a:lnTo>
                    <a:pt x="2322" y="1273"/>
                  </a:lnTo>
                  <a:lnTo>
                    <a:pt x="2323" y="1274"/>
                  </a:lnTo>
                  <a:lnTo>
                    <a:pt x="2324" y="1276"/>
                  </a:lnTo>
                  <a:lnTo>
                    <a:pt x="2325" y="1276"/>
                  </a:lnTo>
                  <a:lnTo>
                    <a:pt x="2328" y="1277"/>
                  </a:lnTo>
                  <a:lnTo>
                    <a:pt x="2329" y="1278"/>
                  </a:lnTo>
                  <a:lnTo>
                    <a:pt x="2329" y="1280"/>
                  </a:lnTo>
                  <a:lnTo>
                    <a:pt x="2331" y="1281"/>
                  </a:lnTo>
                  <a:lnTo>
                    <a:pt x="2337" y="1282"/>
                  </a:lnTo>
                  <a:lnTo>
                    <a:pt x="2345" y="1286"/>
                  </a:lnTo>
                  <a:lnTo>
                    <a:pt x="2352" y="1290"/>
                  </a:lnTo>
                  <a:lnTo>
                    <a:pt x="2358" y="1297"/>
                  </a:lnTo>
                  <a:lnTo>
                    <a:pt x="2371" y="1307"/>
                  </a:lnTo>
                  <a:lnTo>
                    <a:pt x="2383" y="1312"/>
                  </a:lnTo>
                  <a:lnTo>
                    <a:pt x="2392" y="1315"/>
                  </a:lnTo>
                  <a:lnTo>
                    <a:pt x="2400" y="1315"/>
                  </a:lnTo>
                  <a:lnTo>
                    <a:pt x="2403" y="1314"/>
                  </a:lnTo>
                  <a:lnTo>
                    <a:pt x="2407" y="1314"/>
                  </a:lnTo>
                  <a:lnTo>
                    <a:pt x="2410" y="1312"/>
                  </a:lnTo>
                  <a:lnTo>
                    <a:pt x="2417" y="1310"/>
                  </a:lnTo>
                  <a:lnTo>
                    <a:pt x="2422" y="1304"/>
                  </a:lnTo>
                  <a:lnTo>
                    <a:pt x="2429" y="1299"/>
                  </a:lnTo>
                  <a:lnTo>
                    <a:pt x="2444" y="1287"/>
                  </a:lnTo>
                  <a:lnTo>
                    <a:pt x="2460" y="1274"/>
                  </a:lnTo>
                  <a:lnTo>
                    <a:pt x="2469" y="1269"/>
                  </a:lnTo>
                  <a:lnTo>
                    <a:pt x="2478" y="1267"/>
                  </a:lnTo>
                  <a:lnTo>
                    <a:pt x="2488" y="1264"/>
                  </a:lnTo>
                  <a:lnTo>
                    <a:pt x="2497" y="1263"/>
                  </a:lnTo>
                  <a:lnTo>
                    <a:pt x="2506" y="1265"/>
                  </a:lnTo>
                  <a:lnTo>
                    <a:pt x="2516" y="1269"/>
                  </a:lnTo>
                  <a:lnTo>
                    <a:pt x="2526" y="1277"/>
                  </a:lnTo>
                  <a:lnTo>
                    <a:pt x="2535" y="1287"/>
                  </a:lnTo>
                  <a:lnTo>
                    <a:pt x="2541" y="1294"/>
                  </a:lnTo>
                  <a:lnTo>
                    <a:pt x="2546" y="1298"/>
                  </a:lnTo>
                  <a:lnTo>
                    <a:pt x="2553" y="1301"/>
                  </a:lnTo>
                  <a:lnTo>
                    <a:pt x="2558" y="1301"/>
                  </a:lnTo>
                  <a:lnTo>
                    <a:pt x="2563" y="1298"/>
                  </a:lnTo>
                  <a:lnTo>
                    <a:pt x="2569" y="1294"/>
                  </a:lnTo>
                  <a:lnTo>
                    <a:pt x="2574" y="1289"/>
                  </a:lnTo>
                  <a:lnTo>
                    <a:pt x="2579" y="1284"/>
                  </a:lnTo>
                  <a:lnTo>
                    <a:pt x="2590" y="1269"/>
                  </a:lnTo>
                  <a:lnTo>
                    <a:pt x="2601" y="1252"/>
                  </a:lnTo>
                  <a:lnTo>
                    <a:pt x="2613" y="1238"/>
                  </a:lnTo>
                  <a:lnTo>
                    <a:pt x="2626" y="1223"/>
                  </a:lnTo>
                  <a:lnTo>
                    <a:pt x="2632" y="1218"/>
                  </a:lnTo>
                  <a:lnTo>
                    <a:pt x="2635" y="1213"/>
                  </a:lnTo>
                  <a:lnTo>
                    <a:pt x="2637" y="1206"/>
                  </a:lnTo>
                  <a:lnTo>
                    <a:pt x="2637" y="1200"/>
                  </a:lnTo>
                  <a:lnTo>
                    <a:pt x="2634" y="1185"/>
                  </a:lnTo>
                  <a:lnTo>
                    <a:pt x="2629" y="1170"/>
                  </a:lnTo>
                  <a:lnTo>
                    <a:pt x="2625" y="1168"/>
                  </a:lnTo>
                  <a:lnTo>
                    <a:pt x="2621" y="1167"/>
                  </a:lnTo>
                  <a:lnTo>
                    <a:pt x="2615" y="1163"/>
                  </a:lnTo>
                  <a:lnTo>
                    <a:pt x="2608" y="1161"/>
                  </a:lnTo>
                  <a:lnTo>
                    <a:pt x="2603" y="1159"/>
                  </a:lnTo>
                  <a:lnTo>
                    <a:pt x="2598" y="1158"/>
                  </a:lnTo>
                  <a:lnTo>
                    <a:pt x="2595" y="1154"/>
                  </a:lnTo>
                  <a:lnTo>
                    <a:pt x="2591" y="1153"/>
                  </a:lnTo>
                  <a:lnTo>
                    <a:pt x="2588" y="1153"/>
                  </a:lnTo>
                  <a:lnTo>
                    <a:pt x="2584" y="1151"/>
                  </a:lnTo>
                  <a:lnTo>
                    <a:pt x="2579" y="1148"/>
                  </a:lnTo>
                  <a:lnTo>
                    <a:pt x="2577" y="1142"/>
                  </a:lnTo>
                  <a:lnTo>
                    <a:pt x="2574" y="1137"/>
                  </a:lnTo>
                  <a:lnTo>
                    <a:pt x="2574" y="1132"/>
                  </a:lnTo>
                  <a:lnTo>
                    <a:pt x="2575" y="1127"/>
                  </a:lnTo>
                  <a:lnTo>
                    <a:pt x="2577" y="1125"/>
                  </a:lnTo>
                  <a:lnTo>
                    <a:pt x="2579" y="1123"/>
                  </a:lnTo>
                  <a:lnTo>
                    <a:pt x="2582" y="1123"/>
                  </a:lnTo>
                  <a:lnTo>
                    <a:pt x="2584" y="1121"/>
                  </a:lnTo>
                  <a:lnTo>
                    <a:pt x="2586" y="1121"/>
                  </a:lnTo>
                  <a:lnTo>
                    <a:pt x="2588" y="1121"/>
                  </a:lnTo>
                  <a:lnTo>
                    <a:pt x="2591" y="1119"/>
                  </a:lnTo>
                  <a:lnTo>
                    <a:pt x="2594" y="1116"/>
                  </a:lnTo>
                  <a:lnTo>
                    <a:pt x="2598" y="1114"/>
                  </a:lnTo>
                  <a:lnTo>
                    <a:pt x="2603" y="1112"/>
                  </a:lnTo>
                  <a:lnTo>
                    <a:pt x="2608" y="1111"/>
                  </a:lnTo>
                  <a:lnTo>
                    <a:pt x="2612" y="1108"/>
                  </a:lnTo>
                  <a:lnTo>
                    <a:pt x="2615" y="1107"/>
                  </a:lnTo>
                  <a:lnTo>
                    <a:pt x="2615" y="1106"/>
                  </a:lnTo>
                  <a:lnTo>
                    <a:pt x="2615" y="1104"/>
                  </a:lnTo>
                  <a:lnTo>
                    <a:pt x="2613" y="1103"/>
                  </a:lnTo>
                  <a:lnTo>
                    <a:pt x="2612" y="1100"/>
                  </a:lnTo>
                  <a:lnTo>
                    <a:pt x="2579" y="1077"/>
                  </a:lnTo>
                  <a:lnTo>
                    <a:pt x="2577" y="1076"/>
                  </a:lnTo>
                  <a:lnTo>
                    <a:pt x="2574" y="1074"/>
                  </a:lnTo>
                  <a:lnTo>
                    <a:pt x="2574" y="1073"/>
                  </a:lnTo>
                  <a:lnTo>
                    <a:pt x="2573" y="1073"/>
                  </a:lnTo>
                  <a:lnTo>
                    <a:pt x="2570" y="1073"/>
                  </a:lnTo>
                  <a:lnTo>
                    <a:pt x="2570" y="1074"/>
                  </a:lnTo>
                  <a:lnTo>
                    <a:pt x="2569" y="1081"/>
                  </a:lnTo>
                  <a:lnTo>
                    <a:pt x="2567" y="1086"/>
                  </a:lnTo>
                  <a:lnTo>
                    <a:pt x="2565" y="1091"/>
                  </a:lnTo>
                  <a:lnTo>
                    <a:pt x="2561" y="1095"/>
                  </a:lnTo>
                  <a:lnTo>
                    <a:pt x="2557" y="1100"/>
                  </a:lnTo>
                  <a:lnTo>
                    <a:pt x="2552" y="1103"/>
                  </a:lnTo>
                  <a:lnTo>
                    <a:pt x="2545" y="1107"/>
                  </a:lnTo>
                  <a:lnTo>
                    <a:pt x="2539" y="1110"/>
                  </a:lnTo>
                  <a:lnTo>
                    <a:pt x="2523" y="1115"/>
                  </a:lnTo>
                  <a:lnTo>
                    <a:pt x="2506" y="1117"/>
                  </a:lnTo>
                  <a:lnTo>
                    <a:pt x="2486" y="1119"/>
                  </a:lnTo>
                  <a:lnTo>
                    <a:pt x="2465" y="1119"/>
                  </a:lnTo>
                  <a:lnTo>
                    <a:pt x="2463" y="1117"/>
                  </a:lnTo>
                  <a:lnTo>
                    <a:pt x="2460" y="1115"/>
                  </a:lnTo>
                  <a:lnTo>
                    <a:pt x="2451" y="1115"/>
                  </a:lnTo>
                  <a:lnTo>
                    <a:pt x="2442" y="1112"/>
                  </a:lnTo>
                  <a:lnTo>
                    <a:pt x="2442" y="1112"/>
                  </a:lnTo>
                  <a:lnTo>
                    <a:pt x="2442" y="1111"/>
                  </a:lnTo>
                  <a:lnTo>
                    <a:pt x="2442" y="1110"/>
                  </a:lnTo>
                  <a:lnTo>
                    <a:pt x="2443" y="1108"/>
                  </a:lnTo>
                  <a:lnTo>
                    <a:pt x="2443" y="1107"/>
                  </a:lnTo>
                  <a:lnTo>
                    <a:pt x="2443" y="1099"/>
                  </a:lnTo>
                  <a:lnTo>
                    <a:pt x="2443" y="1091"/>
                  </a:lnTo>
                  <a:lnTo>
                    <a:pt x="2444" y="1087"/>
                  </a:lnTo>
                  <a:lnTo>
                    <a:pt x="2444" y="1086"/>
                  </a:lnTo>
                  <a:lnTo>
                    <a:pt x="2446" y="1083"/>
                  </a:lnTo>
                  <a:lnTo>
                    <a:pt x="2448" y="1083"/>
                  </a:lnTo>
                  <a:lnTo>
                    <a:pt x="2450" y="1083"/>
                  </a:lnTo>
                  <a:lnTo>
                    <a:pt x="2454" y="1079"/>
                  </a:lnTo>
                  <a:lnTo>
                    <a:pt x="2458" y="1077"/>
                  </a:lnTo>
                  <a:lnTo>
                    <a:pt x="2459" y="1077"/>
                  </a:lnTo>
                  <a:lnTo>
                    <a:pt x="2472" y="1064"/>
                  </a:lnTo>
                  <a:lnTo>
                    <a:pt x="2482" y="1049"/>
                  </a:lnTo>
                  <a:lnTo>
                    <a:pt x="2486" y="1042"/>
                  </a:lnTo>
                  <a:lnTo>
                    <a:pt x="2488" y="1034"/>
                  </a:lnTo>
                  <a:lnTo>
                    <a:pt x="2488" y="1031"/>
                  </a:lnTo>
                  <a:lnTo>
                    <a:pt x="2490" y="1028"/>
                  </a:lnTo>
                  <a:lnTo>
                    <a:pt x="2494" y="1027"/>
                  </a:lnTo>
                  <a:lnTo>
                    <a:pt x="2501" y="1026"/>
                  </a:lnTo>
                  <a:lnTo>
                    <a:pt x="2509" y="1023"/>
                  </a:lnTo>
                  <a:lnTo>
                    <a:pt x="2516" y="1022"/>
                  </a:lnTo>
                  <a:lnTo>
                    <a:pt x="2523" y="1021"/>
                  </a:lnTo>
                  <a:lnTo>
                    <a:pt x="2528" y="1019"/>
                  </a:lnTo>
                  <a:lnTo>
                    <a:pt x="2532" y="1017"/>
                  </a:lnTo>
                  <a:lnTo>
                    <a:pt x="2533" y="1014"/>
                  </a:lnTo>
                  <a:lnTo>
                    <a:pt x="2536" y="1013"/>
                  </a:lnTo>
                  <a:lnTo>
                    <a:pt x="2549" y="1011"/>
                  </a:lnTo>
                  <a:lnTo>
                    <a:pt x="2561" y="1009"/>
                  </a:lnTo>
                  <a:lnTo>
                    <a:pt x="2571" y="1005"/>
                  </a:lnTo>
                  <a:lnTo>
                    <a:pt x="2581" y="1000"/>
                  </a:lnTo>
                  <a:lnTo>
                    <a:pt x="2598" y="989"/>
                  </a:lnTo>
                  <a:lnTo>
                    <a:pt x="2612" y="981"/>
                  </a:lnTo>
                  <a:lnTo>
                    <a:pt x="2615" y="977"/>
                  </a:lnTo>
                  <a:lnTo>
                    <a:pt x="2616" y="974"/>
                  </a:lnTo>
                  <a:lnTo>
                    <a:pt x="2620" y="970"/>
                  </a:lnTo>
                  <a:lnTo>
                    <a:pt x="2622" y="967"/>
                  </a:lnTo>
                  <a:lnTo>
                    <a:pt x="2624" y="966"/>
                  </a:lnTo>
                  <a:lnTo>
                    <a:pt x="2626" y="966"/>
                  </a:lnTo>
                  <a:lnTo>
                    <a:pt x="2628" y="966"/>
                  </a:lnTo>
                  <a:lnTo>
                    <a:pt x="2632" y="967"/>
                  </a:lnTo>
                  <a:lnTo>
                    <a:pt x="2643" y="974"/>
                  </a:lnTo>
                  <a:lnTo>
                    <a:pt x="2666" y="984"/>
                  </a:lnTo>
                  <a:lnTo>
                    <a:pt x="2688" y="993"/>
                  </a:lnTo>
                  <a:lnTo>
                    <a:pt x="2701" y="998"/>
                  </a:lnTo>
                  <a:lnTo>
                    <a:pt x="2707" y="1006"/>
                  </a:lnTo>
                  <a:lnTo>
                    <a:pt x="2719" y="1019"/>
                  </a:lnTo>
                  <a:lnTo>
                    <a:pt x="2726" y="1027"/>
                  </a:lnTo>
                  <a:lnTo>
                    <a:pt x="2731" y="1034"/>
                  </a:lnTo>
                  <a:lnTo>
                    <a:pt x="2736" y="1038"/>
                  </a:lnTo>
                  <a:lnTo>
                    <a:pt x="2740" y="1039"/>
                  </a:lnTo>
                  <a:lnTo>
                    <a:pt x="2782" y="1036"/>
                  </a:lnTo>
                  <a:lnTo>
                    <a:pt x="2782" y="1038"/>
                  </a:lnTo>
                  <a:lnTo>
                    <a:pt x="2782" y="1039"/>
                  </a:lnTo>
                  <a:lnTo>
                    <a:pt x="2783" y="1044"/>
                  </a:lnTo>
                  <a:lnTo>
                    <a:pt x="2782" y="1051"/>
                  </a:lnTo>
                  <a:lnTo>
                    <a:pt x="2778" y="1057"/>
                  </a:lnTo>
                  <a:lnTo>
                    <a:pt x="2771" y="1062"/>
                  </a:lnTo>
                  <a:lnTo>
                    <a:pt x="2769" y="1064"/>
                  </a:lnTo>
                  <a:lnTo>
                    <a:pt x="2766" y="1065"/>
                  </a:lnTo>
                  <a:lnTo>
                    <a:pt x="2747" y="1083"/>
                  </a:lnTo>
                  <a:lnTo>
                    <a:pt x="2747" y="1086"/>
                  </a:lnTo>
                  <a:lnTo>
                    <a:pt x="2744" y="1091"/>
                  </a:lnTo>
                  <a:lnTo>
                    <a:pt x="2740" y="1096"/>
                  </a:lnTo>
                  <a:lnTo>
                    <a:pt x="2739" y="1099"/>
                  </a:lnTo>
                  <a:lnTo>
                    <a:pt x="2737" y="1100"/>
                  </a:lnTo>
                  <a:lnTo>
                    <a:pt x="2735" y="1104"/>
                  </a:lnTo>
                  <a:lnTo>
                    <a:pt x="2730" y="1108"/>
                  </a:lnTo>
                  <a:lnTo>
                    <a:pt x="2726" y="1111"/>
                  </a:lnTo>
                  <a:lnTo>
                    <a:pt x="2722" y="1114"/>
                  </a:lnTo>
                  <a:lnTo>
                    <a:pt x="2717" y="1116"/>
                  </a:lnTo>
                  <a:lnTo>
                    <a:pt x="2715" y="1119"/>
                  </a:lnTo>
                  <a:lnTo>
                    <a:pt x="2711" y="1134"/>
                  </a:lnTo>
                  <a:lnTo>
                    <a:pt x="2711" y="1153"/>
                  </a:lnTo>
                  <a:lnTo>
                    <a:pt x="2714" y="1155"/>
                  </a:lnTo>
                  <a:lnTo>
                    <a:pt x="2717" y="1158"/>
                  </a:lnTo>
                  <a:lnTo>
                    <a:pt x="2777" y="1158"/>
                  </a:lnTo>
                  <a:lnTo>
                    <a:pt x="2791" y="1157"/>
                  </a:lnTo>
                  <a:lnTo>
                    <a:pt x="2811" y="1153"/>
                  </a:lnTo>
                  <a:lnTo>
                    <a:pt x="2830" y="1150"/>
                  </a:lnTo>
                  <a:lnTo>
                    <a:pt x="2841" y="1150"/>
                  </a:lnTo>
                  <a:lnTo>
                    <a:pt x="2845" y="1153"/>
                  </a:lnTo>
                  <a:lnTo>
                    <a:pt x="2847" y="1154"/>
                  </a:lnTo>
                  <a:lnTo>
                    <a:pt x="2850" y="1155"/>
                  </a:lnTo>
                  <a:lnTo>
                    <a:pt x="2851" y="1158"/>
                  </a:lnTo>
                  <a:lnTo>
                    <a:pt x="2851" y="1159"/>
                  </a:lnTo>
                  <a:lnTo>
                    <a:pt x="2849" y="1172"/>
                  </a:lnTo>
                  <a:lnTo>
                    <a:pt x="2843" y="1185"/>
                  </a:lnTo>
                  <a:lnTo>
                    <a:pt x="2839" y="1195"/>
                  </a:lnTo>
                  <a:lnTo>
                    <a:pt x="2837" y="1200"/>
                  </a:lnTo>
                  <a:lnTo>
                    <a:pt x="2832" y="1210"/>
                  </a:lnTo>
                  <a:lnTo>
                    <a:pt x="2825" y="1226"/>
                  </a:lnTo>
                  <a:lnTo>
                    <a:pt x="2824" y="1234"/>
                  </a:lnTo>
                  <a:lnTo>
                    <a:pt x="2822" y="1240"/>
                  </a:lnTo>
                  <a:lnTo>
                    <a:pt x="2822" y="1243"/>
                  </a:lnTo>
                  <a:lnTo>
                    <a:pt x="2822" y="1246"/>
                  </a:lnTo>
                  <a:lnTo>
                    <a:pt x="2824" y="1247"/>
                  </a:lnTo>
                  <a:lnTo>
                    <a:pt x="2825" y="1248"/>
                  </a:lnTo>
                  <a:lnTo>
                    <a:pt x="2893" y="1257"/>
                  </a:lnTo>
                  <a:lnTo>
                    <a:pt x="2902" y="1259"/>
                  </a:lnTo>
                  <a:lnTo>
                    <a:pt x="2911" y="1263"/>
                  </a:lnTo>
                  <a:lnTo>
                    <a:pt x="2919" y="1268"/>
                  </a:lnTo>
                  <a:lnTo>
                    <a:pt x="2926" y="1273"/>
                  </a:lnTo>
                  <a:lnTo>
                    <a:pt x="2931" y="1280"/>
                  </a:lnTo>
                  <a:lnTo>
                    <a:pt x="2935" y="1287"/>
                  </a:lnTo>
                  <a:lnTo>
                    <a:pt x="2938" y="1295"/>
                  </a:lnTo>
                  <a:lnTo>
                    <a:pt x="2939" y="1302"/>
                  </a:lnTo>
                  <a:lnTo>
                    <a:pt x="2939" y="1304"/>
                  </a:lnTo>
                  <a:lnTo>
                    <a:pt x="2939" y="1306"/>
                  </a:lnTo>
                  <a:lnTo>
                    <a:pt x="2940" y="1307"/>
                  </a:lnTo>
                  <a:lnTo>
                    <a:pt x="2943" y="1308"/>
                  </a:lnTo>
                  <a:lnTo>
                    <a:pt x="2945" y="1307"/>
                  </a:lnTo>
                  <a:lnTo>
                    <a:pt x="2947" y="1306"/>
                  </a:lnTo>
                  <a:lnTo>
                    <a:pt x="2948" y="1304"/>
                  </a:lnTo>
                  <a:lnTo>
                    <a:pt x="2949" y="1301"/>
                  </a:lnTo>
                  <a:lnTo>
                    <a:pt x="2949" y="1298"/>
                  </a:lnTo>
                  <a:lnTo>
                    <a:pt x="2949" y="1295"/>
                  </a:lnTo>
                  <a:lnTo>
                    <a:pt x="2952" y="1291"/>
                  </a:lnTo>
                  <a:lnTo>
                    <a:pt x="2955" y="1287"/>
                  </a:lnTo>
                  <a:lnTo>
                    <a:pt x="2955" y="1286"/>
                  </a:lnTo>
                  <a:lnTo>
                    <a:pt x="2957" y="1278"/>
                  </a:lnTo>
                  <a:lnTo>
                    <a:pt x="2961" y="1270"/>
                  </a:lnTo>
                  <a:lnTo>
                    <a:pt x="2965" y="1259"/>
                  </a:lnTo>
                  <a:lnTo>
                    <a:pt x="2969" y="1248"/>
                  </a:lnTo>
                  <a:lnTo>
                    <a:pt x="2972" y="1235"/>
                  </a:lnTo>
                  <a:lnTo>
                    <a:pt x="2976" y="1223"/>
                  </a:lnTo>
                  <a:lnTo>
                    <a:pt x="2978" y="1219"/>
                  </a:lnTo>
                  <a:lnTo>
                    <a:pt x="2981" y="1212"/>
                  </a:lnTo>
                  <a:lnTo>
                    <a:pt x="2982" y="1206"/>
                  </a:lnTo>
                  <a:lnTo>
                    <a:pt x="2983" y="1202"/>
                  </a:lnTo>
                  <a:lnTo>
                    <a:pt x="2983" y="1200"/>
                  </a:lnTo>
                  <a:lnTo>
                    <a:pt x="2982" y="1197"/>
                  </a:lnTo>
                  <a:lnTo>
                    <a:pt x="2981" y="1196"/>
                  </a:lnTo>
                  <a:lnTo>
                    <a:pt x="2981" y="1195"/>
                  </a:lnTo>
                  <a:lnTo>
                    <a:pt x="2990" y="1192"/>
                  </a:lnTo>
                  <a:lnTo>
                    <a:pt x="3000" y="1189"/>
                  </a:lnTo>
                  <a:lnTo>
                    <a:pt x="3006" y="1185"/>
                  </a:lnTo>
                  <a:lnTo>
                    <a:pt x="3011" y="1183"/>
                  </a:lnTo>
                  <a:lnTo>
                    <a:pt x="3019" y="1176"/>
                  </a:lnTo>
                  <a:lnTo>
                    <a:pt x="3033" y="1167"/>
                  </a:lnTo>
                  <a:lnTo>
                    <a:pt x="3046" y="1157"/>
                  </a:lnTo>
                  <a:lnTo>
                    <a:pt x="3054" y="1153"/>
                  </a:lnTo>
                  <a:lnTo>
                    <a:pt x="3064" y="1145"/>
                  </a:lnTo>
                  <a:lnTo>
                    <a:pt x="3074" y="1137"/>
                  </a:lnTo>
                  <a:lnTo>
                    <a:pt x="3095" y="1114"/>
                  </a:lnTo>
                  <a:lnTo>
                    <a:pt x="3093" y="1104"/>
                  </a:lnTo>
                  <a:lnTo>
                    <a:pt x="3093" y="1098"/>
                  </a:lnTo>
                  <a:lnTo>
                    <a:pt x="3095" y="1096"/>
                  </a:lnTo>
                  <a:lnTo>
                    <a:pt x="3096" y="1094"/>
                  </a:lnTo>
                  <a:lnTo>
                    <a:pt x="3100" y="1093"/>
                  </a:lnTo>
                  <a:lnTo>
                    <a:pt x="3104" y="1091"/>
                  </a:lnTo>
                  <a:lnTo>
                    <a:pt x="3109" y="1089"/>
                  </a:lnTo>
                  <a:lnTo>
                    <a:pt x="3113" y="1086"/>
                  </a:lnTo>
                  <a:lnTo>
                    <a:pt x="3115" y="1085"/>
                  </a:lnTo>
                  <a:lnTo>
                    <a:pt x="3117" y="1083"/>
                  </a:lnTo>
                  <a:lnTo>
                    <a:pt x="3117" y="1083"/>
                  </a:lnTo>
                  <a:lnTo>
                    <a:pt x="3117" y="1082"/>
                  </a:lnTo>
                  <a:lnTo>
                    <a:pt x="3118" y="1081"/>
                  </a:lnTo>
                  <a:lnTo>
                    <a:pt x="3118" y="1081"/>
                  </a:lnTo>
                  <a:lnTo>
                    <a:pt x="3119" y="1079"/>
                  </a:lnTo>
                  <a:lnTo>
                    <a:pt x="3119" y="1079"/>
                  </a:lnTo>
                  <a:lnTo>
                    <a:pt x="3119" y="1078"/>
                  </a:lnTo>
                  <a:lnTo>
                    <a:pt x="3119" y="1077"/>
                  </a:lnTo>
                  <a:lnTo>
                    <a:pt x="3119" y="1068"/>
                  </a:lnTo>
                  <a:lnTo>
                    <a:pt x="3118" y="1057"/>
                  </a:lnTo>
                  <a:lnTo>
                    <a:pt x="3118" y="1056"/>
                  </a:lnTo>
                  <a:lnTo>
                    <a:pt x="3117" y="1055"/>
                  </a:lnTo>
                  <a:lnTo>
                    <a:pt x="3115" y="1055"/>
                  </a:lnTo>
                  <a:lnTo>
                    <a:pt x="3115" y="1053"/>
                  </a:lnTo>
                  <a:lnTo>
                    <a:pt x="3115" y="1052"/>
                  </a:lnTo>
                  <a:lnTo>
                    <a:pt x="3104" y="1044"/>
                  </a:lnTo>
                  <a:lnTo>
                    <a:pt x="3102" y="1044"/>
                  </a:lnTo>
                  <a:lnTo>
                    <a:pt x="3100" y="1044"/>
                  </a:lnTo>
                  <a:lnTo>
                    <a:pt x="3098" y="1042"/>
                  </a:lnTo>
                  <a:lnTo>
                    <a:pt x="3091" y="1036"/>
                  </a:lnTo>
                  <a:lnTo>
                    <a:pt x="3083" y="1034"/>
                  </a:lnTo>
                  <a:lnTo>
                    <a:pt x="3083" y="1032"/>
                  </a:lnTo>
                  <a:lnTo>
                    <a:pt x="3081" y="1032"/>
                  </a:lnTo>
                  <a:lnTo>
                    <a:pt x="3075" y="1032"/>
                  </a:lnTo>
                  <a:lnTo>
                    <a:pt x="3074" y="1034"/>
                  </a:lnTo>
                  <a:lnTo>
                    <a:pt x="3072" y="1034"/>
                  </a:lnTo>
                  <a:lnTo>
                    <a:pt x="3070" y="1032"/>
                  </a:lnTo>
                  <a:lnTo>
                    <a:pt x="3067" y="1031"/>
                  </a:lnTo>
                  <a:lnTo>
                    <a:pt x="3061" y="1030"/>
                  </a:lnTo>
                  <a:lnTo>
                    <a:pt x="3054" y="1026"/>
                  </a:lnTo>
                  <a:lnTo>
                    <a:pt x="3046" y="1021"/>
                  </a:lnTo>
                  <a:lnTo>
                    <a:pt x="3037" y="1013"/>
                  </a:lnTo>
                  <a:lnTo>
                    <a:pt x="3019" y="994"/>
                  </a:lnTo>
                  <a:lnTo>
                    <a:pt x="3000" y="974"/>
                  </a:lnTo>
                  <a:lnTo>
                    <a:pt x="2981" y="954"/>
                  </a:lnTo>
                  <a:lnTo>
                    <a:pt x="2962" y="936"/>
                  </a:lnTo>
                  <a:lnTo>
                    <a:pt x="2955" y="928"/>
                  </a:lnTo>
                  <a:lnTo>
                    <a:pt x="2947" y="923"/>
                  </a:lnTo>
                  <a:lnTo>
                    <a:pt x="2939" y="919"/>
                  </a:lnTo>
                  <a:lnTo>
                    <a:pt x="2934" y="917"/>
                  </a:lnTo>
                  <a:lnTo>
                    <a:pt x="2930" y="916"/>
                  </a:lnTo>
                  <a:lnTo>
                    <a:pt x="2927" y="913"/>
                  </a:lnTo>
                  <a:lnTo>
                    <a:pt x="2926" y="912"/>
                  </a:lnTo>
                  <a:lnTo>
                    <a:pt x="2926" y="911"/>
                  </a:lnTo>
                  <a:lnTo>
                    <a:pt x="2923" y="911"/>
                  </a:lnTo>
                  <a:lnTo>
                    <a:pt x="2918" y="906"/>
                  </a:lnTo>
                  <a:lnTo>
                    <a:pt x="2911" y="898"/>
                  </a:lnTo>
                  <a:lnTo>
                    <a:pt x="2910" y="895"/>
                  </a:lnTo>
                  <a:lnTo>
                    <a:pt x="2910" y="892"/>
                  </a:lnTo>
                  <a:lnTo>
                    <a:pt x="2910" y="890"/>
                  </a:lnTo>
                  <a:lnTo>
                    <a:pt x="2908" y="887"/>
                  </a:lnTo>
                  <a:lnTo>
                    <a:pt x="2905" y="885"/>
                  </a:lnTo>
                  <a:lnTo>
                    <a:pt x="2902" y="874"/>
                  </a:lnTo>
                  <a:lnTo>
                    <a:pt x="2901" y="864"/>
                  </a:lnTo>
                  <a:lnTo>
                    <a:pt x="2901" y="860"/>
                  </a:lnTo>
                  <a:lnTo>
                    <a:pt x="2898" y="858"/>
                  </a:lnTo>
                  <a:lnTo>
                    <a:pt x="2894" y="856"/>
                  </a:lnTo>
                  <a:lnTo>
                    <a:pt x="2893" y="856"/>
                  </a:lnTo>
                  <a:lnTo>
                    <a:pt x="2888" y="851"/>
                  </a:lnTo>
                  <a:lnTo>
                    <a:pt x="2884" y="845"/>
                  </a:lnTo>
                  <a:lnTo>
                    <a:pt x="2883" y="843"/>
                  </a:lnTo>
                  <a:lnTo>
                    <a:pt x="2881" y="840"/>
                  </a:lnTo>
                  <a:lnTo>
                    <a:pt x="2880" y="839"/>
                  </a:lnTo>
                  <a:lnTo>
                    <a:pt x="2879" y="836"/>
                  </a:lnTo>
                  <a:lnTo>
                    <a:pt x="2877" y="835"/>
                  </a:lnTo>
                  <a:lnTo>
                    <a:pt x="2877" y="831"/>
                  </a:lnTo>
                  <a:lnTo>
                    <a:pt x="2879" y="824"/>
                  </a:lnTo>
                  <a:lnTo>
                    <a:pt x="2879" y="817"/>
                  </a:lnTo>
                  <a:lnTo>
                    <a:pt x="2880" y="809"/>
                  </a:lnTo>
                  <a:lnTo>
                    <a:pt x="2883" y="805"/>
                  </a:lnTo>
                  <a:lnTo>
                    <a:pt x="2885" y="800"/>
                  </a:lnTo>
                  <a:lnTo>
                    <a:pt x="2888" y="796"/>
                  </a:lnTo>
                  <a:lnTo>
                    <a:pt x="2888" y="794"/>
                  </a:lnTo>
                  <a:lnTo>
                    <a:pt x="2888" y="793"/>
                  </a:lnTo>
                  <a:lnTo>
                    <a:pt x="2889" y="793"/>
                  </a:lnTo>
                  <a:lnTo>
                    <a:pt x="2889" y="792"/>
                  </a:lnTo>
                  <a:lnTo>
                    <a:pt x="2889" y="790"/>
                  </a:lnTo>
                  <a:lnTo>
                    <a:pt x="2890" y="789"/>
                  </a:lnTo>
                  <a:lnTo>
                    <a:pt x="2890" y="788"/>
                  </a:lnTo>
                  <a:lnTo>
                    <a:pt x="2890" y="786"/>
                  </a:lnTo>
                  <a:lnTo>
                    <a:pt x="2890" y="780"/>
                  </a:lnTo>
                  <a:lnTo>
                    <a:pt x="2888" y="775"/>
                  </a:lnTo>
                  <a:lnTo>
                    <a:pt x="2888" y="773"/>
                  </a:lnTo>
                  <a:lnTo>
                    <a:pt x="2888" y="772"/>
                  </a:lnTo>
                  <a:lnTo>
                    <a:pt x="2885" y="769"/>
                  </a:lnTo>
                  <a:lnTo>
                    <a:pt x="2884" y="767"/>
                  </a:lnTo>
                  <a:lnTo>
                    <a:pt x="2884" y="766"/>
                  </a:lnTo>
                  <a:lnTo>
                    <a:pt x="2887" y="764"/>
                  </a:lnTo>
                  <a:lnTo>
                    <a:pt x="2890" y="763"/>
                  </a:lnTo>
                  <a:lnTo>
                    <a:pt x="2892" y="763"/>
                  </a:lnTo>
                  <a:lnTo>
                    <a:pt x="2893" y="763"/>
                  </a:lnTo>
                  <a:lnTo>
                    <a:pt x="2893" y="762"/>
                  </a:lnTo>
                  <a:lnTo>
                    <a:pt x="2894" y="762"/>
                  </a:lnTo>
                  <a:lnTo>
                    <a:pt x="2896" y="760"/>
                  </a:lnTo>
                  <a:lnTo>
                    <a:pt x="2896" y="760"/>
                  </a:lnTo>
                  <a:lnTo>
                    <a:pt x="2898" y="760"/>
                  </a:lnTo>
                  <a:lnTo>
                    <a:pt x="2898" y="759"/>
                  </a:lnTo>
                  <a:lnTo>
                    <a:pt x="2897" y="756"/>
                  </a:lnTo>
                  <a:lnTo>
                    <a:pt x="2894" y="750"/>
                  </a:lnTo>
                  <a:lnTo>
                    <a:pt x="2893" y="745"/>
                  </a:lnTo>
                  <a:lnTo>
                    <a:pt x="2893" y="743"/>
                  </a:lnTo>
                  <a:lnTo>
                    <a:pt x="2893" y="741"/>
                  </a:lnTo>
                  <a:lnTo>
                    <a:pt x="2893" y="739"/>
                  </a:lnTo>
                  <a:lnTo>
                    <a:pt x="2890" y="737"/>
                  </a:lnTo>
                  <a:lnTo>
                    <a:pt x="2888" y="735"/>
                  </a:lnTo>
                  <a:lnTo>
                    <a:pt x="2887" y="735"/>
                  </a:lnTo>
                  <a:lnTo>
                    <a:pt x="2884" y="733"/>
                  </a:lnTo>
                  <a:lnTo>
                    <a:pt x="2881" y="732"/>
                  </a:lnTo>
                  <a:lnTo>
                    <a:pt x="2880" y="732"/>
                  </a:lnTo>
                  <a:lnTo>
                    <a:pt x="2873" y="728"/>
                  </a:lnTo>
                  <a:lnTo>
                    <a:pt x="2868" y="722"/>
                  </a:lnTo>
                  <a:lnTo>
                    <a:pt x="2867" y="721"/>
                  </a:lnTo>
                  <a:lnTo>
                    <a:pt x="2867" y="721"/>
                  </a:lnTo>
                  <a:lnTo>
                    <a:pt x="2849" y="713"/>
                  </a:lnTo>
                  <a:lnTo>
                    <a:pt x="2847" y="713"/>
                  </a:lnTo>
                  <a:lnTo>
                    <a:pt x="2847" y="713"/>
                  </a:lnTo>
                  <a:lnTo>
                    <a:pt x="2846" y="712"/>
                  </a:lnTo>
                  <a:lnTo>
                    <a:pt x="2846" y="712"/>
                  </a:lnTo>
                  <a:lnTo>
                    <a:pt x="2836" y="709"/>
                  </a:lnTo>
                  <a:lnTo>
                    <a:pt x="2825" y="704"/>
                  </a:lnTo>
                  <a:lnTo>
                    <a:pt x="2813" y="699"/>
                  </a:lnTo>
                  <a:lnTo>
                    <a:pt x="2805" y="695"/>
                  </a:lnTo>
                  <a:lnTo>
                    <a:pt x="2792" y="686"/>
                  </a:lnTo>
                  <a:lnTo>
                    <a:pt x="2779" y="679"/>
                  </a:lnTo>
                  <a:lnTo>
                    <a:pt x="2778" y="679"/>
                  </a:lnTo>
                  <a:lnTo>
                    <a:pt x="2774" y="677"/>
                  </a:lnTo>
                  <a:lnTo>
                    <a:pt x="2771" y="673"/>
                  </a:lnTo>
                  <a:lnTo>
                    <a:pt x="2766" y="669"/>
                  </a:lnTo>
                  <a:lnTo>
                    <a:pt x="2761" y="666"/>
                  </a:lnTo>
                  <a:lnTo>
                    <a:pt x="2747" y="658"/>
                  </a:lnTo>
                  <a:lnTo>
                    <a:pt x="2734" y="650"/>
                  </a:lnTo>
                  <a:lnTo>
                    <a:pt x="2730" y="649"/>
                  </a:lnTo>
                  <a:lnTo>
                    <a:pt x="2726" y="647"/>
                  </a:lnTo>
                  <a:lnTo>
                    <a:pt x="2715" y="639"/>
                  </a:lnTo>
                  <a:lnTo>
                    <a:pt x="2696" y="627"/>
                  </a:lnTo>
                  <a:lnTo>
                    <a:pt x="2676" y="614"/>
                  </a:lnTo>
                  <a:lnTo>
                    <a:pt x="2663" y="605"/>
                  </a:lnTo>
                  <a:lnTo>
                    <a:pt x="2652" y="594"/>
                  </a:lnTo>
                  <a:lnTo>
                    <a:pt x="2637" y="581"/>
                  </a:lnTo>
                  <a:lnTo>
                    <a:pt x="2622" y="568"/>
                  </a:lnTo>
                  <a:lnTo>
                    <a:pt x="2611" y="559"/>
                  </a:lnTo>
                  <a:lnTo>
                    <a:pt x="2600" y="550"/>
                  </a:lnTo>
                  <a:lnTo>
                    <a:pt x="2587" y="537"/>
                  </a:lnTo>
                  <a:lnTo>
                    <a:pt x="2574" y="524"/>
                  </a:lnTo>
                  <a:lnTo>
                    <a:pt x="2565" y="513"/>
                  </a:lnTo>
                  <a:lnTo>
                    <a:pt x="2557" y="507"/>
                  </a:lnTo>
                  <a:lnTo>
                    <a:pt x="2548" y="499"/>
                  </a:lnTo>
                  <a:lnTo>
                    <a:pt x="2536" y="491"/>
                  </a:lnTo>
                  <a:lnTo>
                    <a:pt x="2527" y="486"/>
                  </a:lnTo>
                  <a:lnTo>
                    <a:pt x="2516" y="480"/>
                  </a:lnTo>
                  <a:lnTo>
                    <a:pt x="2498" y="471"/>
                  </a:lnTo>
                  <a:lnTo>
                    <a:pt x="2480" y="461"/>
                  </a:lnTo>
                  <a:lnTo>
                    <a:pt x="2468" y="456"/>
                  </a:lnTo>
                  <a:lnTo>
                    <a:pt x="2465" y="450"/>
                  </a:lnTo>
                  <a:lnTo>
                    <a:pt x="2461" y="448"/>
                  </a:lnTo>
                  <a:lnTo>
                    <a:pt x="2459" y="448"/>
                  </a:lnTo>
                  <a:lnTo>
                    <a:pt x="2455" y="445"/>
                  </a:lnTo>
                  <a:lnTo>
                    <a:pt x="2452" y="442"/>
                  </a:lnTo>
                  <a:lnTo>
                    <a:pt x="2448" y="440"/>
                  </a:lnTo>
                  <a:lnTo>
                    <a:pt x="2444" y="437"/>
                  </a:lnTo>
                  <a:lnTo>
                    <a:pt x="2439" y="433"/>
                  </a:lnTo>
                  <a:lnTo>
                    <a:pt x="2434" y="431"/>
                  </a:lnTo>
                  <a:lnTo>
                    <a:pt x="2425" y="428"/>
                  </a:lnTo>
                  <a:lnTo>
                    <a:pt x="2410" y="423"/>
                  </a:lnTo>
                  <a:lnTo>
                    <a:pt x="2396" y="418"/>
                  </a:lnTo>
                  <a:lnTo>
                    <a:pt x="2388" y="415"/>
                  </a:lnTo>
                  <a:lnTo>
                    <a:pt x="2373" y="407"/>
                  </a:lnTo>
                  <a:lnTo>
                    <a:pt x="2359" y="399"/>
                  </a:lnTo>
                  <a:lnTo>
                    <a:pt x="2358" y="398"/>
                  </a:lnTo>
                  <a:lnTo>
                    <a:pt x="2356" y="395"/>
                  </a:lnTo>
                  <a:lnTo>
                    <a:pt x="2354" y="395"/>
                  </a:lnTo>
                  <a:lnTo>
                    <a:pt x="2350" y="393"/>
                  </a:lnTo>
                  <a:lnTo>
                    <a:pt x="2349" y="388"/>
                  </a:lnTo>
                  <a:lnTo>
                    <a:pt x="2344" y="381"/>
                  </a:lnTo>
                  <a:lnTo>
                    <a:pt x="2339" y="376"/>
                  </a:lnTo>
                  <a:lnTo>
                    <a:pt x="2320" y="372"/>
                  </a:lnTo>
                  <a:lnTo>
                    <a:pt x="2306" y="368"/>
                  </a:lnTo>
                  <a:lnTo>
                    <a:pt x="2302" y="368"/>
                  </a:lnTo>
                  <a:lnTo>
                    <a:pt x="2298" y="368"/>
                  </a:lnTo>
                  <a:lnTo>
                    <a:pt x="2291" y="367"/>
                  </a:lnTo>
                  <a:lnTo>
                    <a:pt x="2286" y="365"/>
                  </a:lnTo>
                  <a:lnTo>
                    <a:pt x="2277" y="361"/>
                  </a:lnTo>
                  <a:lnTo>
                    <a:pt x="2271" y="359"/>
                  </a:lnTo>
                  <a:lnTo>
                    <a:pt x="2264" y="355"/>
                  </a:lnTo>
                  <a:lnTo>
                    <a:pt x="2259" y="354"/>
                  </a:lnTo>
                  <a:lnTo>
                    <a:pt x="2257" y="352"/>
                  </a:lnTo>
                  <a:lnTo>
                    <a:pt x="2257" y="352"/>
                  </a:lnTo>
                  <a:lnTo>
                    <a:pt x="2251" y="348"/>
                  </a:lnTo>
                  <a:lnTo>
                    <a:pt x="2246" y="344"/>
                  </a:lnTo>
                  <a:lnTo>
                    <a:pt x="2238" y="339"/>
                  </a:lnTo>
                  <a:lnTo>
                    <a:pt x="2231" y="334"/>
                  </a:lnTo>
                  <a:lnTo>
                    <a:pt x="2223" y="326"/>
                  </a:lnTo>
                  <a:lnTo>
                    <a:pt x="2217" y="318"/>
                  </a:lnTo>
                  <a:lnTo>
                    <a:pt x="2210" y="312"/>
                  </a:lnTo>
                  <a:lnTo>
                    <a:pt x="2204" y="305"/>
                  </a:lnTo>
                  <a:lnTo>
                    <a:pt x="2197" y="301"/>
                  </a:lnTo>
                  <a:lnTo>
                    <a:pt x="2191" y="299"/>
                  </a:lnTo>
                  <a:lnTo>
                    <a:pt x="2182" y="299"/>
                  </a:lnTo>
                  <a:lnTo>
                    <a:pt x="2174" y="297"/>
                  </a:lnTo>
                  <a:lnTo>
                    <a:pt x="2166" y="295"/>
                  </a:lnTo>
                  <a:lnTo>
                    <a:pt x="2159" y="292"/>
                  </a:lnTo>
                  <a:lnTo>
                    <a:pt x="2145" y="285"/>
                  </a:lnTo>
                  <a:lnTo>
                    <a:pt x="2129" y="279"/>
                  </a:lnTo>
                  <a:lnTo>
                    <a:pt x="2121" y="274"/>
                  </a:lnTo>
                  <a:lnTo>
                    <a:pt x="2112" y="267"/>
                  </a:lnTo>
                  <a:lnTo>
                    <a:pt x="2103" y="258"/>
                  </a:lnTo>
                  <a:lnTo>
                    <a:pt x="2095" y="248"/>
                  </a:lnTo>
                  <a:lnTo>
                    <a:pt x="2087" y="236"/>
                  </a:lnTo>
                  <a:lnTo>
                    <a:pt x="2081" y="224"/>
                  </a:lnTo>
                  <a:lnTo>
                    <a:pt x="2076" y="212"/>
                  </a:lnTo>
                  <a:lnTo>
                    <a:pt x="2072" y="200"/>
                  </a:lnTo>
                  <a:lnTo>
                    <a:pt x="2048" y="199"/>
                  </a:lnTo>
                  <a:lnTo>
                    <a:pt x="2022" y="198"/>
                  </a:lnTo>
                  <a:lnTo>
                    <a:pt x="1991" y="193"/>
                  </a:lnTo>
                  <a:lnTo>
                    <a:pt x="1955" y="187"/>
                  </a:lnTo>
                  <a:lnTo>
                    <a:pt x="1920" y="180"/>
                  </a:lnTo>
                  <a:lnTo>
                    <a:pt x="1885" y="170"/>
                  </a:lnTo>
                  <a:lnTo>
                    <a:pt x="1852" y="160"/>
                  </a:lnTo>
                  <a:lnTo>
                    <a:pt x="1836" y="155"/>
                  </a:lnTo>
                  <a:lnTo>
                    <a:pt x="1823" y="148"/>
                  </a:lnTo>
                  <a:lnTo>
                    <a:pt x="1810" y="142"/>
                  </a:lnTo>
                  <a:lnTo>
                    <a:pt x="1800" y="135"/>
                  </a:lnTo>
                  <a:lnTo>
                    <a:pt x="1781" y="122"/>
                  </a:lnTo>
                  <a:lnTo>
                    <a:pt x="1764" y="108"/>
                  </a:lnTo>
                  <a:lnTo>
                    <a:pt x="1755" y="101"/>
                  </a:lnTo>
                  <a:lnTo>
                    <a:pt x="1746" y="96"/>
                  </a:lnTo>
                  <a:lnTo>
                    <a:pt x="1737" y="92"/>
                  </a:lnTo>
                  <a:lnTo>
                    <a:pt x="1726" y="91"/>
                  </a:lnTo>
                  <a:lnTo>
                    <a:pt x="1702" y="89"/>
                  </a:lnTo>
                  <a:lnTo>
                    <a:pt x="1679" y="88"/>
                  </a:lnTo>
                  <a:lnTo>
                    <a:pt x="1660" y="84"/>
                  </a:lnTo>
                  <a:lnTo>
                    <a:pt x="1640" y="80"/>
                  </a:lnTo>
                  <a:lnTo>
                    <a:pt x="1622" y="75"/>
                  </a:lnTo>
                  <a:lnTo>
                    <a:pt x="1603" y="71"/>
                  </a:lnTo>
                  <a:lnTo>
                    <a:pt x="1584" y="68"/>
                  </a:lnTo>
                  <a:lnTo>
                    <a:pt x="1562" y="66"/>
                  </a:lnTo>
                  <a:lnTo>
                    <a:pt x="1535" y="66"/>
                  </a:lnTo>
                  <a:lnTo>
                    <a:pt x="1508" y="64"/>
                  </a:lnTo>
                  <a:lnTo>
                    <a:pt x="1482" y="64"/>
                  </a:lnTo>
                  <a:lnTo>
                    <a:pt x="1456" y="64"/>
                  </a:lnTo>
                  <a:lnTo>
                    <a:pt x="1429" y="66"/>
                  </a:lnTo>
                  <a:lnTo>
                    <a:pt x="1403" y="70"/>
                  </a:lnTo>
                  <a:lnTo>
                    <a:pt x="1377" y="74"/>
                  </a:lnTo>
                  <a:lnTo>
                    <a:pt x="1352" y="80"/>
                  </a:lnTo>
                  <a:lnTo>
                    <a:pt x="1342" y="84"/>
                  </a:lnTo>
                  <a:lnTo>
                    <a:pt x="1330" y="89"/>
                  </a:lnTo>
                  <a:lnTo>
                    <a:pt x="1318" y="96"/>
                  </a:lnTo>
                  <a:lnTo>
                    <a:pt x="1307" y="102"/>
                  </a:lnTo>
                  <a:lnTo>
                    <a:pt x="1282" y="118"/>
                  </a:lnTo>
                  <a:lnTo>
                    <a:pt x="1255" y="136"/>
                  </a:lnTo>
                  <a:lnTo>
                    <a:pt x="1228" y="153"/>
                  </a:lnTo>
                  <a:lnTo>
                    <a:pt x="1202" y="170"/>
                  </a:lnTo>
                  <a:lnTo>
                    <a:pt x="1177" y="186"/>
                  </a:lnTo>
                  <a:lnTo>
                    <a:pt x="1153" y="197"/>
                  </a:lnTo>
                  <a:lnTo>
                    <a:pt x="974" y="271"/>
                  </a:lnTo>
                  <a:lnTo>
                    <a:pt x="957" y="276"/>
                  </a:lnTo>
                  <a:lnTo>
                    <a:pt x="944" y="279"/>
                  </a:lnTo>
                  <a:lnTo>
                    <a:pt x="940" y="279"/>
                  </a:lnTo>
                  <a:lnTo>
                    <a:pt x="935" y="278"/>
                  </a:lnTo>
                  <a:lnTo>
                    <a:pt x="931" y="276"/>
                  </a:lnTo>
                  <a:lnTo>
                    <a:pt x="927" y="274"/>
                  </a:lnTo>
                  <a:lnTo>
                    <a:pt x="914" y="262"/>
                  </a:lnTo>
                  <a:lnTo>
                    <a:pt x="893" y="246"/>
                  </a:lnTo>
                  <a:lnTo>
                    <a:pt x="888" y="244"/>
                  </a:lnTo>
                  <a:lnTo>
                    <a:pt x="880" y="242"/>
                  </a:lnTo>
                  <a:lnTo>
                    <a:pt x="874" y="241"/>
                  </a:lnTo>
                  <a:lnTo>
                    <a:pt x="867" y="241"/>
                  </a:lnTo>
                  <a:lnTo>
                    <a:pt x="853" y="240"/>
                  </a:lnTo>
                  <a:lnTo>
                    <a:pt x="842" y="236"/>
                  </a:lnTo>
                  <a:lnTo>
                    <a:pt x="825" y="234"/>
                  </a:lnTo>
                  <a:lnTo>
                    <a:pt x="824" y="236"/>
                  </a:lnTo>
                  <a:lnTo>
                    <a:pt x="823" y="237"/>
                  </a:lnTo>
                  <a:lnTo>
                    <a:pt x="821" y="237"/>
                  </a:lnTo>
                  <a:lnTo>
                    <a:pt x="820" y="237"/>
                  </a:lnTo>
                  <a:lnTo>
                    <a:pt x="820" y="238"/>
                  </a:lnTo>
                  <a:lnTo>
                    <a:pt x="819" y="238"/>
                  </a:lnTo>
                  <a:lnTo>
                    <a:pt x="817" y="238"/>
                  </a:lnTo>
                  <a:lnTo>
                    <a:pt x="816" y="240"/>
                  </a:lnTo>
                  <a:lnTo>
                    <a:pt x="815" y="240"/>
                  </a:lnTo>
                  <a:lnTo>
                    <a:pt x="813" y="240"/>
                  </a:lnTo>
                  <a:lnTo>
                    <a:pt x="811" y="241"/>
                  </a:lnTo>
                  <a:lnTo>
                    <a:pt x="808" y="242"/>
                  </a:lnTo>
                  <a:lnTo>
                    <a:pt x="804" y="244"/>
                  </a:lnTo>
                  <a:lnTo>
                    <a:pt x="800" y="245"/>
                  </a:lnTo>
                  <a:lnTo>
                    <a:pt x="799" y="246"/>
                  </a:lnTo>
                  <a:lnTo>
                    <a:pt x="796" y="246"/>
                  </a:lnTo>
                  <a:lnTo>
                    <a:pt x="794" y="248"/>
                  </a:lnTo>
                  <a:lnTo>
                    <a:pt x="792" y="249"/>
                  </a:lnTo>
                  <a:lnTo>
                    <a:pt x="782" y="250"/>
                  </a:lnTo>
                  <a:lnTo>
                    <a:pt x="774" y="251"/>
                  </a:lnTo>
                  <a:lnTo>
                    <a:pt x="766" y="251"/>
                  </a:lnTo>
                  <a:lnTo>
                    <a:pt x="757" y="249"/>
                  </a:lnTo>
                  <a:lnTo>
                    <a:pt x="755" y="245"/>
                  </a:lnTo>
                  <a:lnTo>
                    <a:pt x="752" y="236"/>
                  </a:lnTo>
                  <a:lnTo>
                    <a:pt x="752" y="231"/>
                  </a:lnTo>
                  <a:lnTo>
                    <a:pt x="752" y="227"/>
                  </a:lnTo>
                  <a:lnTo>
                    <a:pt x="752" y="223"/>
                  </a:lnTo>
                  <a:lnTo>
                    <a:pt x="755" y="220"/>
                  </a:lnTo>
                  <a:lnTo>
                    <a:pt x="756" y="217"/>
                  </a:lnTo>
                  <a:lnTo>
                    <a:pt x="756" y="212"/>
                  </a:lnTo>
                  <a:lnTo>
                    <a:pt x="755" y="207"/>
                  </a:lnTo>
                  <a:lnTo>
                    <a:pt x="755" y="204"/>
                  </a:lnTo>
                  <a:lnTo>
                    <a:pt x="753" y="202"/>
                  </a:lnTo>
                  <a:lnTo>
                    <a:pt x="752" y="199"/>
                  </a:lnTo>
                  <a:lnTo>
                    <a:pt x="751" y="195"/>
                  </a:lnTo>
                  <a:lnTo>
                    <a:pt x="749" y="191"/>
                  </a:lnTo>
                  <a:lnTo>
                    <a:pt x="747" y="189"/>
                  </a:lnTo>
                  <a:lnTo>
                    <a:pt x="745" y="186"/>
                  </a:lnTo>
                  <a:lnTo>
                    <a:pt x="745" y="185"/>
                  </a:lnTo>
                  <a:lnTo>
                    <a:pt x="744" y="185"/>
                  </a:lnTo>
                  <a:lnTo>
                    <a:pt x="743" y="183"/>
                  </a:lnTo>
                  <a:lnTo>
                    <a:pt x="741" y="182"/>
                  </a:lnTo>
                  <a:lnTo>
                    <a:pt x="740" y="181"/>
                  </a:lnTo>
                  <a:lnTo>
                    <a:pt x="734" y="176"/>
                  </a:lnTo>
                  <a:lnTo>
                    <a:pt x="727" y="170"/>
                  </a:lnTo>
                  <a:lnTo>
                    <a:pt x="719" y="165"/>
                  </a:lnTo>
                  <a:lnTo>
                    <a:pt x="713" y="161"/>
                  </a:lnTo>
                  <a:lnTo>
                    <a:pt x="711" y="160"/>
                  </a:lnTo>
                  <a:lnTo>
                    <a:pt x="710" y="159"/>
                  </a:lnTo>
                  <a:lnTo>
                    <a:pt x="709" y="159"/>
                  </a:lnTo>
                  <a:lnTo>
                    <a:pt x="707" y="157"/>
                  </a:lnTo>
                  <a:lnTo>
                    <a:pt x="706" y="157"/>
                  </a:lnTo>
                  <a:lnTo>
                    <a:pt x="705" y="156"/>
                  </a:lnTo>
                  <a:lnTo>
                    <a:pt x="704" y="155"/>
                  </a:lnTo>
                  <a:lnTo>
                    <a:pt x="702" y="153"/>
                  </a:lnTo>
                  <a:lnTo>
                    <a:pt x="701" y="151"/>
                  </a:lnTo>
                  <a:lnTo>
                    <a:pt x="700" y="149"/>
                  </a:lnTo>
                  <a:lnTo>
                    <a:pt x="698" y="148"/>
                  </a:lnTo>
                  <a:lnTo>
                    <a:pt x="698" y="147"/>
                  </a:lnTo>
                  <a:lnTo>
                    <a:pt x="697" y="147"/>
                  </a:lnTo>
                  <a:lnTo>
                    <a:pt x="696" y="146"/>
                  </a:lnTo>
                  <a:lnTo>
                    <a:pt x="693" y="144"/>
                  </a:lnTo>
                  <a:lnTo>
                    <a:pt x="689" y="142"/>
                  </a:lnTo>
                  <a:lnTo>
                    <a:pt x="688" y="140"/>
                  </a:lnTo>
                  <a:lnTo>
                    <a:pt x="688" y="139"/>
                  </a:lnTo>
                  <a:lnTo>
                    <a:pt x="685" y="138"/>
                  </a:lnTo>
                  <a:lnTo>
                    <a:pt x="684" y="136"/>
                  </a:lnTo>
                  <a:lnTo>
                    <a:pt x="681" y="135"/>
                  </a:lnTo>
                  <a:lnTo>
                    <a:pt x="680" y="132"/>
                  </a:lnTo>
                  <a:lnTo>
                    <a:pt x="679" y="131"/>
                  </a:lnTo>
                  <a:lnTo>
                    <a:pt x="677" y="130"/>
                  </a:lnTo>
                  <a:lnTo>
                    <a:pt x="663" y="122"/>
                  </a:lnTo>
                  <a:lnTo>
                    <a:pt x="649" y="113"/>
                  </a:lnTo>
                  <a:lnTo>
                    <a:pt x="632" y="106"/>
                  </a:lnTo>
                  <a:lnTo>
                    <a:pt x="617" y="102"/>
                  </a:lnTo>
                  <a:lnTo>
                    <a:pt x="613" y="101"/>
                  </a:lnTo>
                  <a:lnTo>
                    <a:pt x="611" y="101"/>
                  </a:lnTo>
                  <a:lnTo>
                    <a:pt x="609" y="100"/>
                  </a:lnTo>
                  <a:lnTo>
                    <a:pt x="608" y="100"/>
                  </a:lnTo>
                  <a:lnTo>
                    <a:pt x="588" y="98"/>
                  </a:lnTo>
                  <a:lnTo>
                    <a:pt x="569" y="97"/>
                  </a:lnTo>
                  <a:lnTo>
                    <a:pt x="523" y="85"/>
                  </a:lnTo>
                  <a:lnTo>
                    <a:pt x="522" y="87"/>
                  </a:lnTo>
                  <a:lnTo>
                    <a:pt x="519" y="88"/>
                  </a:lnTo>
                  <a:lnTo>
                    <a:pt x="513" y="88"/>
                  </a:lnTo>
                  <a:lnTo>
                    <a:pt x="503" y="88"/>
                  </a:lnTo>
                  <a:lnTo>
                    <a:pt x="489" y="88"/>
                  </a:lnTo>
                  <a:lnTo>
                    <a:pt x="472" y="89"/>
                  </a:lnTo>
                  <a:lnTo>
                    <a:pt x="464" y="89"/>
                  </a:lnTo>
                  <a:lnTo>
                    <a:pt x="458" y="88"/>
                  </a:lnTo>
                  <a:lnTo>
                    <a:pt x="451" y="85"/>
                  </a:lnTo>
                  <a:lnTo>
                    <a:pt x="446" y="83"/>
                  </a:lnTo>
                  <a:lnTo>
                    <a:pt x="434" y="71"/>
                  </a:lnTo>
                  <a:lnTo>
                    <a:pt x="424" y="60"/>
                  </a:lnTo>
                  <a:lnTo>
                    <a:pt x="413" y="51"/>
                  </a:lnTo>
                  <a:lnTo>
                    <a:pt x="400" y="42"/>
                  </a:lnTo>
                  <a:lnTo>
                    <a:pt x="390" y="37"/>
                  </a:lnTo>
                  <a:lnTo>
                    <a:pt x="379" y="32"/>
                  </a:lnTo>
                  <a:lnTo>
                    <a:pt x="370" y="29"/>
                  </a:lnTo>
                  <a:lnTo>
                    <a:pt x="361" y="26"/>
                  </a:lnTo>
                  <a:lnTo>
                    <a:pt x="343" y="23"/>
                  </a:lnTo>
                  <a:lnTo>
                    <a:pt x="320" y="17"/>
                  </a:lnTo>
                  <a:lnTo>
                    <a:pt x="302" y="13"/>
                  </a:lnTo>
                  <a:lnTo>
                    <a:pt x="286" y="11"/>
                  </a:lnTo>
                  <a:lnTo>
                    <a:pt x="278" y="9"/>
                  </a:lnTo>
                  <a:lnTo>
                    <a:pt x="271" y="7"/>
                  </a:lnTo>
                  <a:lnTo>
                    <a:pt x="265" y="4"/>
                  </a:lnTo>
                  <a:lnTo>
                    <a:pt x="260" y="0"/>
                  </a:lnTo>
                  <a:lnTo>
                    <a:pt x="246" y="7"/>
                  </a:lnTo>
                  <a:lnTo>
                    <a:pt x="206" y="24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7" name="Freeform 39"/>
            <p:cNvSpPr>
              <a:spLocks noEditPoints="1"/>
            </p:cNvSpPr>
            <p:nvPr/>
          </p:nvSpPr>
          <p:spPr bwMode="auto">
            <a:xfrm>
              <a:off x="6543675" y="1882775"/>
              <a:ext cx="1293813" cy="1428750"/>
            </a:xfrm>
            <a:custGeom>
              <a:avLst/>
              <a:gdLst/>
              <a:ahLst/>
              <a:cxnLst>
                <a:cxn ang="0">
                  <a:pos x="2573" y="159"/>
                </a:cxn>
                <a:cxn ang="0">
                  <a:pos x="2424" y="325"/>
                </a:cxn>
                <a:cxn ang="0">
                  <a:pos x="2323" y="192"/>
                </a:cxn>
                <a:cxn ang="0">
                  <a:pos x="2254" y="70"/>
                </a:cxn>
                <a:cxn ang="0">
                  <a:pos x="1966" y="61"/>
                </a:cxn>
                <a:cxn ang="0">
                  <a:pos x="2029" y="134"/>
                </a:cxn>
                <a:cxn ang="0">
                  <a:pos x="2051" y="182"/>
                </a:cxn>
                <a:cxn ang="0">
                  <a:pos x="1969" y="297"/>
                </a:cxn>
                <a:cxn ang="0">
                  <a:pos x="1715" y="287"/>
                </a:cxn>
                <a:cxn ang="0">
                  <a:pos x="1508" y="178"/>
                </a:cxn>
                <a:cxn ang="0">
                  <a:pos x="1174" y="293"/>
                </a:cxn>
                <a:cxn ang="0">
                  <a:pos x="1057" y="280"/>
                </a:cxn>
                <a:cxn ang="0">
                  <a:pos x="883" y="257"/>
                </a:cxn>
                <a:cxn ang="0">
                  <a:pos x="1032" y="526"/>
                </a:cxn>
                <a:cxn ang="0">
                  <a:pos x="798" y="677"/>
                </a:cxn>
                <a:cxn ang="0">
                  <a:pos x="688" y="870"/>
                </a:cxn>
                <a:cxn ang="0">
                  <a:pos x="745" y="1235"/>
                </a:cxn>
                <a:cxn ang="0">
                  <a:pos x="574" y="1436"/>
                </a:cxn>
                <a:cxn ang="0">
                  <a:pos x="594" y="1565"/>
                </a:cxn>
                <a:cxn ang="0">
                  <a:pos x="514" y="1627"/>
                </a:cxn>
                <a:cxn ang="0">
                  <a:pos x="308" y="1695"/>
                </a:cxn>
                <a:cxn ang="0">
                  <a:pos x="60" y="1679"/>
                </a:cxn>
                <a:cxn ang="0">
                  <a:pos x="3" y="1749"/>
                </a:cxn>
                <a:cxn ang="0">
                  <a:pos x="716" y="1887"/>
                </a:cxn>
                <a:cxn ang="0">
                  <a:pos x="747" y="2074"/>
                </a:cxn>
                <a:cxn ang="0">
                  <a:pos x="1499" y="2405"/>
                </a:cxn>
                <a:cxn ang="0">
                  <a:pos x="1533" y="2820"/>
                </a:cxn>
                <a:cxn ang="0">
                  <a:pos x="1609" y="2951"/>
                </a:cxn>
                <a:cxn ang="0">
                  <a:pos x="1807" y="3375"/>
                </a:cxn>
                <a:cxn ang="0">
                  <a:pos x="1890" y="3717"/>
                </a:cxn>
                <a:cxn ang="0">
                  <a:pos x="2331" y="3750"/>
                </a:cxn>
                <a:cxn ang="0">
                  <a:pos x="2708" y="3797"/>
                </a:cxn>
                <a:cxn ang="0">
                  <a:pos x="2828" y="3453"/>
                </a:cxn>
                <a:cxn ang="0">
                  <a:pos x="3011" y="3291"/>
                </a:cxn>
                <a:cxn ang="0">
                  <a:pos x="2832" y="3000"/>
                </a:cxn>
                <a:cxn ang="0">
                  <a:pos x="2778" y="2925"/>
                </a:cxn>
                <a:cxn ang="0">
                  <a:pos x="2905" y="2558"/>
                </a:cxn>
                <a:cxn ang="0">
                  <a:pos x="2831" y="1856"/>
                </a:cxn>
                <a:cxn ang="0">
                  <a:pos x="3057" y="1415"/>
                </a:cxn>
                <a:cxn ang="0">
                  <a:pos x="3231" y="1118"/>
                </a:cxn>
                <a:cxn ang="0">
                  <a:pos x="3477" y="795"/>
                </a:cxn>
                <a:cxn ang="0">
                  <a:pos x="3442" y="515"/>
                </a:cxn>
                <a:cxn ang="0">
                  <a:pos x="3307" y="437"/>
                </a:cxn>
                <a:cxn ang="0">
                  <a:pos x="3197" y="383"/>
                </a:cxn>
                <a:cxn ang="0">
                  <a:pos x="3134" y="278"/>
                </a:cxn>
                <a:cxn ang="0">
                  <a:pos x="3062" y="196"/>
                </a:cxn>
                <a:cxn ang="0">
                  <a:pos x="2976" y="303"/>
                </a:cxn>
                <a:cxn ang="0">
                  <a:pos x="2686" y="289"/>
                </a:cxn>
                <a:cxn ang="0">
                  <a:pos x="3005" y="383"/>
                </a:cxn>
                <a:cxn ang="0">
                  <a:pos x="2755" y="549"/>
                </a:cxn>
                <a:cxn ang="0">
                  <a:pos x="2394" y="765"/>
                </a:cxn>
                <a:cxn ang="0">
                  <a:pos x="1856" y="775"/>
                </a:cxn>
                <a:cxn ang="0">
                  <a:pos x="1604" y="1006"/>
                </a:cxn>
                <a:cxn ang="0">
                  <a:pos x="1677" y="1235"/>
                </a:cxn>
                <a:cxn ang="0">
                  <a:pos x="1708" y="1436"/>
                </a:cxn>
                <a:cxn ang="0">
                  <a:pos x="1824" y="1580"/>
                </a:cxn>
                <a:cxn ang="0">
                  <a:pos x="2050" y="1615"/>
                </a:cxn>
                <a:cxn ang="0">
                  <a:pos x="2292" y="1717"/>
                </a:cxn>
                <a:cxn ang="0">
                  <a:pos x="2632" y="1615"/>
                </a:cxn>
                <a:cxn ang="0">
                  <a:pos x="2839" y="1151"/>
                </a:cxn>
                <a:cxn ang="0">
                  <a:pos x="2998" y="808"/>
                </a:cxn>
                <a:cxn ang="0">
                  <a:pos x="3217" y="673"/>
                </a:cxn>
              </a:cxnLst>
              <a:rect l="0" t="0" r="r" b="b"/>
              <a:pathLst>
                <a:path w="3521" h="3887">
                  <a:moveTo>
                    <a:pt x="2628" y="182"/>
                  </a:moveTo>
                  <a:lnTo>
                    <a:pt x="2625" y="180"/>
                  </a:lnTo>
                  <a:lnTo>
                    <a:pt x="2625" y="178"/>
                  </a:lnTo>
                  <a:lnTo>
                    <a:pt x="2625" y="176"/>
                  </a:lnTo>
                  <a:lnTo>
                    <a:pt x="2624" y="175"/>
                  </a:lnTo>
                  <a:lnTo>
                    <a:pt x="2623" y="175"/>
                  </a:lnTo>
                  <a:lnTo>
                    <a:pt x="2623" y="172"/>
                  </a:lnTo>
                  <a:lnTo>
                    <a:pt x="2621" y="172"/>
                  </a:lnTo>
                  <a:lnTo>
                    <a:pt x="2620" y="171"/>
                  </a:lnTo>
                  <a:lnTo>
                    <a:pt x="2620" y="170"/>
                  </a:lnTo>
                  <a:lnTo>
                    <a:pt x="2619" y="167"/>
                  </a:lnTo>
                  <a:lnTo>
                    <a:pt x="2615" y="166"/>
                  </a:lnTo>
                  <a:lnTo>
                    <a:pt x="2614" y="166"/>
                  </a:lnTo>
                  <a:lnTo>
                    <a:pt x="2614" y="165"/>
                  </a:lnTo>
                  <a:lnTo>
                    <a:pt x="2612" y="163"/>
                  </a:lnTo>
                  <a:lnTo>
                    <a:pt x="2611" y="163"/>
                  </a:lnTo>
                  <a:lnTo>
                    <a:pt x="2611" y="163"/>
                  </a:lnTo>
                  <a:lnTo>
                    <a:pt x="2611" y="162"/>
                  </a:lnTo>
                  <a:lnTo>
                    <a:pt x="2607" y="161"/>
                  </a:lnTo>
                  <a:lnTo>
                    <a:pt x="2603" y="159"/>
                  </a:lnTo>
                  <a:lnTo>
                    <a:pt x="2598" y="159"/>
                  </a:lnTo>
                  <a:lnTo>
                    <a:pt x="2598" y="161"/>
                  </a:lnTo>
                  <a:lnTo>
                    <a:pt x="2597" y="161"/>
                  </a:lnTo>
                  <a:lnTo>
                    <a:pt x="2595" y="161"/>
                  </a:lnTo>
                  <a:lnTo>
                    <a:pt x="2595" y="162"/>
                  </a:lnTo>
                  <a:lnTo>
                    <a:pt x="2594" y="163"/>
                  </a:lnTo>
                  <a:lnTo>
                    <a:pt x="2594" y="163"/>
                  </a:lnTo>
                  <a:lnTo>
                    <a:pt x="2593" y="163"/>
                  </a:lnTo>
                  <a:lnTo>
                    <a:pt x="2585" y="163"/>
                  </a:lnTo>
                  <a:lnTo>
                    <a:pt x="2578" y="162"/>
                  </a:lnTo>
                  <a:lnTo>
                    <a:pt x="2576" y="162"/>
                  </a:lnTo>
                  <a:lnTo>
                    <a:pt x="2574" y="161"/>
                  </a:lnTo>
                  <a:lnTo>
                    <a:pt x="2573" y="159"/>
                  </a:lnTo>
                  <a:lnTo>
                    <a:pt x="2573" y="158"/>
                  </a:lnTo>
                  <a:lnTo>
                    <a:pt x="2572" y="155"/>
                  </a:lnTo>
                  <a:lnTo>
                    <a:pt x="2569" y="153"/>
                  </a:lnTo>
                  <a:lnTo>
                    <a:pt x="2569" y="151"/>
                  </a:lnTo>
                  <a:lnTo>
                    <a:pt x="2568" y="149"/>
                  </a:lnTo>
                  <a:lnTo>
                    <a:pt x="2567" y="148"/>
                  </a:lnTo>
                  <a:lnTo>
                    <a:pt x="2546" y="171"/>
                  </a:lnTo>
                  <a:lnTo>
                    <a:pt x="2536" y="179"/>
                  </a:lnTo>
                  <a:lnTo>
                    <a:pt x="2526" y="187"/>
                  </a:lnTo>
                  <a:lnTo>
                    <a:pt x="2518" y="191"/>
                  </a:lnTo>
                  <a:lnTo>
                    <a:pt x="2505" y="201"/>
                  </a:lnTo>
                  <a:lnTo>
                    <a:pt x="2491" y="210"/>
                  </a:lnTo>
                  <a:lnTo>
                    <a:pt x="2483" y="217"/>
                  </a:lnTo>
                  <a:lnTo>
                    <a:pt x="2478" y="219"/>
                  </a:lnTo>
                  <a:lnTo>
                    <a:pt x="2472" y="223"/>
                  </a:lnTo>
                  <a:lnTo>
                    <a:pt x="2462" y="226"/>
                  </a:lnTo>
                  <a:lnTo>
                    <a:pt x="2453" y="229"/>
                  </a:lnTo>
                  <a:lnTo>
                    <a:pt x="2453" y="230"/>
                  </a:lnTo>
                  <a:lnTo>
                    <a:pt x="2454" y="231"/>
                  </a:lnTo>
                  <a:lnTo>
                    <a:pt x="2455" y="234"/>
                  </a:lnTo>
                  <a:lnTo>
                    <a:pt x="2455" y="236"/>
                  </a:lnTo>
                  <a:lnTo>
                    <a:pt x="2454" y="240"/>
                  </a:lnTo>
                  <a:lnTo>
                    <a:pt x="2453" y="246"/>
                  </a:lnTo>
                  <a:lnTo>
                    <a:pt x="2450" y="253"/>
                  </a:lnTo>
                  <a:lnTo>
                    <a:pt x="2448" y="257"/>
                  </a:lnTo>
                  <a:lnTo>
                    <a:pt x="2444" y="269"/>
                  </a:lnTo>
                  <a:lnTo>
                    <a:pt x="2441" y="282"/>
                  </a:lnTo>
                  <a:lnTo>
                    <a:pt x="2437" y="293"/>
                  </a:lnTo>
                  <a:lnTo>
                    <a:pt x="2433" y="304"/>
                  </a:lnTo>
                  <a:lnTo>
                    <a:pt x="2429" y="312"/>
                  </a:lnTo>
                  <a:lnTo>
                    <a:pt x="2427" y="320"/>
                  </a:lnTo>
                  <a:lnTo>
                    <a:pt x="2427" y="321"/>
                  </a:lnTo>
                  <a:lnTo>
                    <a:pt x="2424" y="325"/>
                  </a:lnTo>
                  <a:lnTo>
                    <a:pt x="2421" y="329"/>
                  </a:lnTo>
                  <a:lnTo>
                    <a:pt x="2421" y="332"/>
                  </a:lnTo>
                  <a:lnTo>
                    <a:pt x="2421" y="335"/>
                  </a:lnTo>
                  <a:lnTo>
                    <a:pt x="2420" y="338"/>
                  </a:lnTo>
                  <a:lnTo>
                    <a:pt x="2419" y="340"/>
                  </a:lnTo>
                  <a:lnTo>
                    <a:pt x="2417" y="341"/>
                  </a:lnTo>
                  <a:lnTo>
                    <a:pt x="2415" y="342"/>
                  </a:lnTo>
                  <a:lnTo>
                    <a:pt x="2412" y="341"/>
                  </a:lnTo>
                  <a:lnTo>
                    <a:pt x="2411" y="340"/>
                  </a:lnTo>
                  <a:lnTo>
                    <a:pt x="2411" y="338"/>
                  </a:lnTo>
                  <a:lnTo>
                    <a:pt x="2411" y="336"/>
                  </a:lnTo>
                  <a:lnTo>
                    <a:pt x="2410" y="329"/>
                  </a:lnTo>
                  <a:lnTo>
                    <a:pt x="2407" y="321"/>
                  </a:lnTo>
                  <a:lnTo>
                    <a:pt x="2403" y="314"/>
                  </a:lnTo>
                  <a:lnTo>
                    <a:pt x="2398" y="307"/>
                  </a:lnTo>
                  <a:lnTo>
                    <a:pt x="2391" y="302"/>
                  </a:lnTo>
                  <a:lnTo>
                    <a:pt x="2383" y="297"/>
                  </a:lnTo>
                  <a:lnTo>
                    <a:pt x="2374" y="293"/>
                  </a:lnTo>
                  <a:lnTo>
                    <a:pt x="2365" y="291"/>
                  </a:lnTo>
                  <a:lnTo>
                    <a:pt x="2297" y="282"/>
                  </a:lnTo>
                  <a:lnTo>
                    <a:pt x="2296" y="281"/>
                  </a:lnTo>
                  <a:lnTo>
                    <a:pt x="2294" y="280"/>
                  </a:lnTo>
                  <a:lnTo>
                    <a:pt x="2294" y="277"/>
                  </a:lnTo>
                  <a:lnTo>
                    <a:pt x="2294" y="274"/>
                  </a:lnTo>
                  <a:lnTo>
                    <a:pt x="2296" y="268"/>
                  </a:lnTo>
                  <a:lnTo>
                    <a:pt x="2297" y="260"/>
                  </a:lnTo>
                  <a:lnTo>
                    <a:pt x="2304" y="244"/>
                  </a:lnTo>
                  <a:lnTo>
                    <a:pt x="2309" y="234"/>
                  </a:lnTo>
                  <a:lnTo>
                    <a:pt x="2311" y="229"/>
                  </a:lnTo>
                  <a:lnTo>
                    <a:pt x="2315" y="219"/>
                  </a:lnTo>
                  <a:lnTo>
                    <a:pt x="2321" y="206"/>
                  </a:lnTo>
                  <a:lnTo>
                    <a:pt x="2323" y="193"/>
                  </a:lnTo>
                  <a:lnTo>
                    <a:pt x="2323" y="192"/>
                  </a:lnTo>
                  <a:lnTo>
                    <a:pt x="2322" y="189"/>
                  </a:lnTo>
                  <a:lnTo>
                    <a:pt x="2319" y="188"/>
                  </a:lnTo>
                  <a:lnTo>
                    <a:pt x="2317" y="187"/>
                  </a:lnTo>
                  <a:lnTo>
                    <a:pt x="2313" y="184"/>
                  </a:lnTo>
                  <a:lnTo>
                    <a:pt x="2302" y="184"/>
                  </a:lnTo>
                  <a:lnTo>
                    <a:pt x="2283" y="187"/>
                  </a:lnTo>
                  <a:lnTo>
                    <a:pt x="2263" y="191"/>
                  </a:lnTo>
                  <a:lnTo>
                    <a:pt x="2249" y="192"/>
                  </a:lnTo>
                  <a:lnTo>
                    <a:pt x="2189" y="192"/>
                  </a:lnTo>
                  <a:lnTo>
                    <a:pt x="2186" y="189"/>
                  </a:lnTo>
                  <a:lnTo>
                    <a:pt x="2183" y="187"/>
                  </a:lnTo>
                  <a:lnTo>
                    <a:pt x="2183" y="168"/>
                  </a:lnTo>
                  <a:lnTo>
                    <a:pt x="2187" y="153"/>
                  </a:lnTo>
                  <a:lnTo>
                    <a:pt x="2189" y="150"/>
                  </a:lnTo>
                  <a:lnTo>
                    <a:pt x="2194" y="148"/>
                  </a:lnTo>
                  <a:lnTo>
                    <a:pt x="2198" y="145"/>
                  </a:lnTo>
                  <a:lnTo>
                    <a:pt x="2202" y="142"/>
                  </a:lnTo>
                  <a:lnTo>
                    <a:pt x="2207" y="138"/>
                  </a:lnTo>
                  <a:lnTo>
                    <a:pt x="2209" y="134"/>
                  </a:lnTo>
                  <a:lnTo>
                    <a:pt x="2211" y="133"/>
                  </a:lnTo>
                  <a:lnTo>
                    <a:pt x="2212" y="130"/>
                  </a:lnTo>
                  <a:lnTo>
                    <a:pt x="2216" y="125"/>
                  </a:lnTo>
                  <a:lnTo>
                    <a:pt x="2219" y="120"/>
                  </a:lnTo>
                  <a:lnTo>
                    <a:pt x="2219" y="117"/>
                  </a:lnTo>
                  <a:lnTo>
                    <a:pt x="2238" y="99"/>
                  </a:lnTo>
                  <a:lnTo>
                    <a:pt x="2241" y="98"/>
                  </a:lnTo>
                  <a:lnTo>
                    <a:pt x="2243" y="96"/>
                  </a:lnTo>
                  <a:lnTo>
                    <a:pt x="2250" y="91"/>
                  </a:lnTo>
                  <a:lnTo>
                    <a:pt x="2254" y="85"/>
                  </a:lnTo>
                  <a:lnTo>
                    <a:pt x="2255" y="78"/>
                  </a:lnTo>
                  <a:lnTo>
                    <a:pt x="2254" y="73"/>
                  </a:lnTo>
                  <a:lnTo>
                    <a:pt x="2254" y="72"/>
                  </a:lnTo>
                  <a:lnTo>
                    <a:pt x="2254" y="70"/>
                  </a:lnTo>
                  <a:lnTo>
                    <a:pt x="2212" y="73"/>
                  </a:lnTo>
                  <a:lnTo>
                    <a:pt x="2208" y="72"/>
                  </a:lnTo>
                  <a:lnTo>
                    <a:pt x="2203" y="68"/>
                  </a:lnTo>
                  <a:lnTo>
                    <a:pt x="2198" y="61"/>
                  </a:lnTo>
                  <a:lnTo>
                    <a:pt x="2191" y="53"/>
                  </a:lnTo>
                  <a:lnTo>
                    <a:pt x="2179" y="40"/>
                  </a:lnTo>
                  <a:lnTo>
                    <a:pt x="2173" y="32"/>
                  </a:lnTo>
                  <a:lnTo>
                    <a:pt x="2160" y="27"/>
                  </a:lnTo>
                  <a:lnTo>
                    <a:pt x="2138" y="18"/>
                  </a:lnTo>
                  <a:lnTo>
                    <a:pt x="2115" y="8"/>
                  </a:lnTo>
                  <a:lnTo>
                    <a:pt x="2104" y="1"/>
                  </a:lnTo>
                  <a:lnTo>
                    <a:pt x="2100" y="0"/>
                  </a:lnTo>
                  <a:lnTo>
                    <a:pt x="2098" y="0"/>
                  </a:lnTo>
                  <a:lnTo>
                    <a:pt x="2096" y="0"/>
                  </a:lnTo>
                  <a:lnTo>
                    <a:pt x="2094" y="1"/>
                  </a:lnTo>
                  <a:lnTo>
                    <a:pt x="2092" y="4"/>
                  </a:lnTo>
                  <a:lnTo>
                    <a:pt x="2088" y="8"/>
                  </a:lnTo>
                  <a:lnTo>
                    <a:pt x="2087" y="11"/>
                  </a:lnTo>
                  <a:lnTo>
                    <a:pt x="2084" y="15"/>
                  </a:lnTo>
                  <a:lnTo>
                    <a:pt x="2070" y="23"/>
                  </a:lnTo>
                  <a:lnTo>
                    <a:pt x="2053" y="34"/>
                  </a:lnTo>
                  <a:lnTo>
                    <a:pt x="2043" y="39"/>
                  </a:lnTo>
                  <a:lnTo>
                    <a:pt x="2033" y="43"/>
                  </a:lnTo>
                  <a:lnTo>
                    <a:pt x="2021" y="45"/>
                  </a:lnTo>
                  <a:lnTo>
                    <a:pt x="2008" y="47"/>
                  </a:lnTo>
                  <a:lnTo>
                    <a:pt x="2005" y="48"/>
                  </a:lnTo>
                  <a:lnTo>
                    <a:pt x="2004" y="51"/>
                  </a:lnTo>
                  <a:lnTo>
                    <a:pt x="2000" y="53"/>
                  </a:lnTo>
                  <a:lnTo>
                    <a:pt x="1995" y="55"/>
                  </a:lnTo>
                  <a:lnTo>
                    <a:pt x="1988" y="56"/>
                  </a:lnTo>
                  <a:lnTo>
                    <a:pt x="1981" y="57"/>
                  </a:lnTo>
                  <a:lnTo>
                    <a:pt x="1973" y="60"/>
                  </a:lnTo>
                  <a:lnTo>
                    <a:pt x="1966" y="61"/>
                  </a:lnTo>
                  <a:lnTo>
                    <a:pt x="1962" y="62"/>
                  </a:lnTo>
                  <a:lnTo>
                    <a:pt x="1960" y="65"/>
                  </a:lnTo>
                  <a:lnTo>
                    <a:pt x="1960" y="68"/>
                  </a:lnTo>
                  <a:lnTo>
                    <a:pt x="1958" y="76"/>
                  </a:lnTo>
                  <a:lnTo>
                    <a:pt x="1954" y="83"/>
                  </a:lnTo>
                  <a:lnTo>
                    <a:pt x="1944" y="98"/>
                  </a:lnTo>
                  <a:lnTo>
                    <a:pt x="1931" y="111"/>
                  </a:lnTo>
                  <a:lnTo>
                    <a:pt x="1930" y="111"/>
                  </a:lnTo>
                  <a:lnTo>
                    <a:pt x="1926" y="113"/>
                  </a:lnTo>
                  <a:lnTo>
                    <a:pt x="1922" y="117"/>
                  </a:lnTo>
                  <a:lnTo>
                    <a:pt x="1920" y="117"/>
                  </a:lnTo>
                  <a:lnTo>
                    <a:pt x="1918" y="117"/>
                  </a:lnTo>
                  <a:lnTo>
                    <a:pt x="1916" y="120"/>
                  </a:lnTo>
                  <a:lnTo>
                    <a:pt x="1916" y="121"/>
                  </a:lnTo>
                  <a:lnTo>
                    <a:pt x="1915" y="125"/>
                  </a:lnTo>
                  <a:lnTo>
                    <a:pt x="1915" y="133"/>
                  </a:lnTo>
                  <a:lnTo>
                    <a:pt x="1915" y="141"/>
                  </a:lnTo>
                  <a:lnTo>
                    <a:pt x="1915" y="142"/>
                  </a:lnTo>
                  <a:lnTo>
                    <a:pt x="1914" y="144"/>
                  </a:lnTo>
                  <a:lnTo>
                    <a:pt x="1914" y="145"/>
                  </a:lnTo>
                  <a:lnTo>
                    <a:pt x="1914" y="146"/>
                  </a:lnTo>
                  <a:lnTo>
                    <a:pt x="1914" y="146"/>
                  </a:lnTo>
                  <a:lnTo>
                    <a:pt x="1923" y="149"/>
                  </a:lnTo>
                  <a:lnTo>
                    <a:pt x="1932" y="149"/>
                  </a:lnTo>
                  <a:lnTo>
                    <a:pt x="1935" y="151"/>
                  </a:lnTo>
                  <a:lnTo>
                    <a:pt x="1937" y="153"/>
                  </a:lnTo>
                  <a:lnTo>
                    <a:pt x="1958" y="153"/>
                  </a:lnTo>
                  <a:lnTo>
                    <a:pt x="1978" y="151"/>
                  </a:lnTo>
                  <a:lnTo>
                    <a:pt x="1995" y="149"/>
                  </a:lnTo>
                  <a:lnTo>
                    <a:pt x="2011" y="144"/>
                  </a:lnTo>
                  <a:lnTo>
                    <a:pt x="2017" y="141"/>
                  </a:lnTo>
                  <a:lnTo>
                    <a:pt x="2024" y="137"/>
                  </a:lnTo>
                  <a:lnTo>
                    <a:pt x="2029" y="134"/>
                  </a:lnTo>
                  <a:lnTo>
                    <a:pt x="2033" y="129"/>
                  </a:lnTo>
                  <a:lnTo>
                    <a:pt x="2037" y="125"/>
                  </a:lnTo>
                  <a:lnTo>
                    <a:pt x="2039" y="120"/>
                  </a:lnTo>
                  <a:lnTo>
                    <a:pt x="2041" y="115"/>
                  </a:lnTo>
                  <a:lnTo>
                    <a:pt x="2042" y="108"/>
                  </a:lnTo>
                  <a:lnTo>
                    <a:pt x="2042" y="107"/>
                  </a:lnTo>
                  <a:lnTo>
                    <a:pt x="2045" y="107"/>
                  </a:lnTo>
                  <a:lnTo>
                    <a:pt x="2046" y="107"/>
                  </a:lnTo>
                  <a:lnTo>
                    <a:pt x="2046" y="108"/>
                  </a:lnTo>
                  <a:lnTo>
                    <a:pt x="2049" y="110"/>
                  </a:lnTo>
                  <a:lnTo>
                    <a:pt x="2051" y="111"/>
                  </a:lnTo>
                  <a:lnTo>
                    <a:pt x="2084" y="134"/>
                  </a:lnTo>
                  <a:lnTo>
                    <a:pt x="2085" y="137"/>
                  </a:lnTo>
                  <a:lnTo>
                    <a:pt x="2087" y="138"/>
                  </a:lnTo>
                  <a:lnTo>
                    <a:pt x="2087" y="140"/>
                  </a:lnTo>
                  <a:lnTo>
                    <a:pt x="2087" y="141"/>
                  </a:lnTo>
                  <a:lnTo>
                    <a:pt x="2084" y="142"/>
                  </a:lnTo>
                  <a:lnTo>
                    <a:pt x="2080" y="145"/>
                  </a:lnTo>
                  <a:lnTo>
                    <a:pt x="2075" y="146"/>
                  </a:lnTo>
                  <a:lnTo>
                    <a:pt x="2070" y="148"/>
                  </a:lnTo>
                  <a:lnTo>
                    <a:pt x="2066" y="150"/>
                  </a:lnTo>
                  <a:lnTo>
                    <a:pt x="2063" y="153"/>
                  </a:lnTo>
                  <a:lnTo>
                    <a:pt x="2060" y="155"/>
                  </a:lnTo>
                  <a:lnTo>
                    <a:pt x="2058" y="155"/>
                  </a:lnTo>
                  <a:lnTo>
                    <a:pt x="2056" y="155"/>
                  </a:lnTo>
                  <a:lnTo>
                    <a:pt x="2054" y="157"/>
                  </a:lnTo>
                  <a:lnTo>
                    <a:pt x="2051" y="157"/>
                  </a:lnTo>
                  <a:lnTo>
                    <a:pt x="2049" y="159"/>
                  </a:lnTo>
                  <a:lnTo>
                    <a:pt x="2047" y="161"/>
                  </a:lnTo>
                  <a:lnTo>
                    <a:pt x="2046" y="166"/>
                  </a:lnTo>
                  <a:lnTo>
                    <a:pt x="2046" y="171"/>
                  </a:lnTo>
                  <a:lnTo>
                    <a:pt x="2049" y="176"/>
                  </a:lnTo>
                  <a:lnTo>
                    <a:pt x="2051" y="182"/>
                  </a:lnTo>
                  <a:lnTo>
                    <a:pt x="2056" y="185"/>
                  </a:lnTo>
                  <a:lnTo>
                    <a:pt x="2060" y="187"/>
                  </a:lnTo>
                  <a:lnTo>
                    <a:pt x="2063" y="187"/>
                  </a:lnTo>
                  <a:lnTo>
                    <a:pt x="2067" y="188"/>
                  </a:lnTo>
                  <a:lnTo>
                    <a:pt x="2070" y="192"/>
                  </a:lnTo>
                  <a:lnTo>
                    <a:pt x="2075" y="193"/>
                  </a:lnTo>
                  <a:lnTo>
                    <a:pt x="2080" y="195"/>
                  </a:lnTo>
                  <a:lnTo>
                    <a:pt x="2087" y="197"/>
                  </a:lnTo>
                  <a:lnTo>
                    <a:pt x="2093" y="201"/>
                  </a:lnTo>
                  <a:lnTo>
                    <a:pt x="2097" y="202"/>
                  </a:lnTo>
                  <a:lnTo>
                    <a:pt x="2101" y="204"/>
                  </a:lnTo>
                  <a:lnTo>
                    <a:pt x="2106" y="219"/>
                  </a:lnTo>
                  <a:lnTo>
                    <a:pt x="2109" y="234"/>
                  </a:lnTo>
                  <a:lnTo>
                    <a:pt x="2109" y="240"/>
                  </a:lnTo>
                  <a:lnTo>
                    <a:pt x="2107" y="247"/>
                  </a:lnTo>
                  <a:lnTo>
                    <a:pt x="2104" y="252"/>
                  </a:lnTo>
                  <a:lnTo>
                    <a:pt x="2098" y="257"/>
                  </a:lnTo>
                  <a:lnTo>
                    <a:pt x="2085" y="272"/>
                  </a:lnTo>
                  <a:lnTo>
                    <a:pt x="2073" y="286"/>
                  </a:lnTo>
                  <a:lnTo>
                    <a:pt x="2062" y="303"/>
                  </a:lnTo>
                  <a:lnTo>
                    <a:pt x="2051" y="318"/>
                  </a:lnTo>
                  <a:lnTo>
                    <a:pt x="2046" y="323"/>
                  </a:lnTo>
                  <a:lnTo>
                    <a:pt x="2041" y="328"/>
                  </a:lnTo>
                  <a:lnTo>
                    <a:pt x="2035" y="332"/>
                  </a:lnTo>
                  <a:lnTo>
                    <a:pt x="2030" y="335"/>
                  </a:lnTo>
                  <a:lnTo>
                    <a:pt x="2025" y="335"/>
                  </a:lnTo>
                  <a:lnTo>
                    <a:pt x="2018" y="332"/>
                  </a:lnTo>
                  <a:lnTo>
                    <a:pt x="2013" y="328"/>
                  </a:lnTo>
                  <a:lnTo>
                    <a:pt x="2007" y="321"/>
                  </a:lnTo>
                  <a:lnTo>
                    <a:pt x="1998" y="311"/>
                  </a:lnTo>
                  <a:lnTo>
                    <a:pt x="1988" y="303"/>
                  </a:lnTo>
                  <a:lnTo>
                    <a:pt x="1978" y="299"/>
                  </a:lnTo>
                  <a:lnTo>
                    <a:pt x="1969" y="297"/>
                  </a:lnTo>
                  <a:lnTo>
                    <a:pt x="1960" y="298"/>
                  </a:lnTo>
                  <a:lnTo>
                    <a:pt x="1950" y="301"/>
                  </a:lnTo>
                  <a:lnTo>
                    <a:pt x="1941" y="303"/>
                  </a:lnTo>
                  <a:lnTo>
                    <a:pt x="1932" y="308"/>
                  </a:lnTo>
                  <a:lnTo>
                    <a:pt x="1916" y="321"/>
                  </a:lnTo>
                  <a:lnTo>
                    <a:pt x="1901" y="333"/>
                  </a:lnTo>
                  <a:lnTo>
                    <a:pt x="1894" y="338"/>
                  </a:lnTo>
                  <a:lnTo>
                    <a:pt x="1889" y="344"/>
                  </a:lnTo>
                  <a:lnTo>
                    <a:pt x="1882" y="346"/>
                  </a:lnTo>
                  <a:lnTo>
                    <a:pt x="1879" y="348"/>
                  </a:lnTo>
                  <a:lnTo>
                    <a:pt x="1875" y="348"/>
                  </a:lnTo>
                  <a:lnTo>
                    <a:pt x="1872" y="349"/>
                  </a:lnTo>
                  <a:lnTo>
                    <a:pt x="1864" y="349"/>
                  </a:lnTo>
                  <a:lnTo>
                    <a:pt x="1855" y="346"/>
                  </a:lnTo>
                  <a:lnTo>
                    <a:pt x="1843" y="341"/>
                  </a:lnTo>
                  <a:lnTo>
                    <a:pt x="1830" y="331"/>
                  </a:lnTo>
                  <a:lnTo>
                    <a:pt x="1824" y="324"/>
                  </a:lnTo>
                  <a:lnTo>
                    <a:pt x="1817" y="320"/>
                  </a:lnTo>
                  <a:lnTo>
                    <a:pt x="1809" y="316"/>
                  </a:lnTo>
                  <a:lnTo>
                    <a:pt x="1803" y="315"/>
                  </a:lnTo>
                  <a:lnTo>
                    <a:pt x="1801" y="314"/>
                  </a:lnTo>
                  <a:lnTo>
                    <a:pt x="1801" y="312"/>
                  </a:lnTo>
                  <a:lnTo>
                    <a:pt x="1800" y="311"/>
                  </a:lnTo>
                  <a:lnTo>
                    <a:pt x="1797" y="310"/>
                  </a:lnTo>
                  <a:lnTo>
                    <a:pt x="1796" y="310"/>
                  </a:lnTo>
                  <a:lnTo>
                    <a:pt x="1795" y="308"/>
                  </a:lnTo>
                  <a:lnTo>
                    <a:pt x="1794" y="307"/>
                  </a:lnTo>
                  <a:lnTo>
                    <a:pt x="1778" y="303"/>
                  </a:lnTo>
                  <a:lnTo>
                    <a:pt x="1758" y="295"/>
                  </a:lnTo>
                  <a:lnTo>
                    <a:pt x="1749" y="291"/>
                  </a:lnTo>
                  <a:lnTo>
                    <a:pt x="1737" y="289"/>
                  </a:lnTo>
                  <a:lnTo>
                    <a:pt x="1727" y="287"/>
                  </a:lnTo>
                  <a:lnTo>
                    <a:pt x="1715" y="287"/>
                  </a:lnTo>
                  <a:lnTo>
                    <a:pt x="1707" y="289"/>
                  </a:lnTo>
                  <a:lnTo>
                    <a:pt x="1701" y="291"/>
                  </a:lnTo>
                  <a:lnTo>
                    <a:pt x="1694" y="294"/>
                  </a:lnTo>
                  <a:lnTo>
                    <a:pt x="1689" y="298"/>
                  </a:lnTo>
                  <a:lnTo>
                    <a:pt x="1677" y="304"/>
                  </a:lnTo>
                  <a:lnTo>
                    <a:pt x="1669" y="310"/>
                  </a:lnTo>
                  <a:lnTo>
                    <a:pt x="1665" y="311"/>
                  </a:lnTo>
                  <a:lnTo>
                    <a:pt x="1661" y="311"/>
                  </a:lnTo>
                  <a:lnTo>
                    <a:pt x="1659" y="310"/>
                  </a:lnTo>
                  <a:lnTo>
                    <a:pt x="1656" y="307"/>
                  </a:lnTo>
                  <a:lnTo>
                    <a:pt x="1655" y="302"/>
                  </a:lnTo>
                  <a:lnTo>
                    <a:pt x="1654" y="294"/>
                  </a:lnTo>
                  <a:lnTo>
                    <a:pt x="1652" y="285"/>
                  </a:lnTo>
                  <a:lnTo>
                    <a:pt x="1652" y="272"/>
                  </a:lnTo>
                  <a:lnTo>
                    <a:pt x="1651" y="269"/>
                  </a:lnTo>
                  <a:lnTo>
                    <a:pt x="1650" y="267"/>
                  </a:lnTo>
                  <a:lnTo>
                    <a:pt x="1647" y="264"/>
                  </a:lnTo>
                  <a:lnTo>
                    <a:pt x="1643" y="260"/>
                  </a:lnTo>
                  <a:lnTo>
                    <a:pt x="1634" y="255"/>
                  </a:lnTo>
                  <a:lnTo>
                    <a:pt x="1623" y="250"/>
                  </a:lnTo>
                  <a:lnTo>
                    <a:pt x="1612" y="246"/>
                  </a:lnTo>
                  <a:lnTo>
                    <a:pt x="1600" y="242"/>
                  </a:lnTo>
                  <a:lnTo>
                    <a:pt x="1589" y="240"/>
                  </a:lnTo>
                  <a:lnTo>
                    <a:pt x="1582" y="239"/>
                  </a:lnTo>
                  <a:lnTo>
                    <a:pt x="1571" y="236"/>
                  </a:lnTo>
                  <a:lnTo>
                    <a:pt x="1563" y="233"/>
                  </a:lnTo>
                  <a:lnTo>
                    <a:pt x="1554" y="227"/>
                  </a:lnTo>
                  <a:lnTo>
                    <a:pt x="1548" y="221"/>
                  </a:lnTo>
                  <a:lnTo>
                    <a:pt x="1535" y="206"/>
                  </a:lnTo>
                  <a:lnTo>
                    <a:pt x="1524" y="192"/>
                  </a:lnTo>
                  <a:lnTo>
                    <a:pt x="1519" y="185"/>
                  </a:lnTo>
                  <a:lnTo>
                    <a:pt x="1514" y="180"/>
                  </a:lnTo>
                  <a:lnTo>
                    <a:pt x="1508" y="178"/>
                  </a:lnTo>
                  <a:lnTo>
                    <a:pt x="1503" y="176"/>
                  </a:lnTo>
                  <a:lnTo>
                    <a:pt x="1498" y="178"/>
                  </a:lnTo>
                  <a:lnTo>
                    <a:pt x="1493" y="182"/>
                  </a:lnTo>
                  <a:lnTo>
                    <a:pt x="1487" y="188"/>
                  </a:lnTo>
                  <a:lnTo>
                    <a:pt x="1481" y="199"/>
                  </a:lnTo>
                  <a:lnTo>
                    <a:pt x="1469" y="226"/>
                  </a:lnTo>
                  <a:lnTo>
                    <a:pt x="1457" y="248"/>
                  </a:lnTo>
                  <a:lnTo>
                    <a:pt x="1453" y="252"/>
                  </a:lnTo>
                  <a:lnTo>
                    <a:pt x="1450" y="256"/>
                  </a:lnTo>
                  <a:lnTo>
                    <a:pt x="1446" y="259"/>
                  </a:lnTo>
                  <a:lnTo>
                    <a:pt x="1440" y="263"/>
                  </a:lnTo>
                  <a:lnTo>
                    <a:pt x="1434" y="265"/>
                  </a:lnTo>
                  <a:lnTo>
                    <a:pt x="1427" y="267"/>
                  </a:lnTo>
                  <a:lnTo>
                    <a:pt x="1418" y="268"/>
                  </a:lnTo>
                  <a:lnTo>
                    <a:pt x="1409" y="269"/>
                  </a:lnTo>
                  <a:lnTo>
                    <a:pt x="1327" y="280"/>
                  </a:lnTo>
                  <a:lnTo>
                    <a:pt x="1311" y="280"/>
                  </a:lnTo>
                  <a:lnTo>
                    <a:pt x="1295" y="278"/>
                  </a:lnTo>
                  <a:lnTo>
                    <a:pt x="1281" y="277"/>
                  </a:lnTo>
                  <a:lnTo>
                    <a:pt x="1265" y="276"/>
                  </a:lnTo>
                  <a:lnTo>
                    <a:pt x="1251" y="276"/>
                  </a:lnTo>
                  <a:lnTo>
                    <a:pt x="1236" y="277"/>
                  </a:lnTo>
                  <a:lnTo>
                    <a:pt x="1230" y="280"/>
                  </a:lnTo>
                  <a:lnTo>
                    <a:pt x="1223" y="282"/>
                  </a:lnTo>
                  <a:lnTo>
                    <a:pt x="1215" y="286"/>
                  </a:lnTo>
                  <a:lnTo>
                    <a:pt x="1209" y="291"/>
                  </a:lnTo>
                  <a:lnTo>
                    <a:pt x="1198" y="298"/>
                  </a:lnTo>
                  <a:lnTo>
                    <a:pt x="1189" y="301"/>
                  </a:lnTo>
                  <a:lnTo>
                    <a:pt x="1185" y="302"/>
                  </a:lnTo>
                  <a:lnTo>
                    <a:pt x="1183" y="301"/>
                  </a:lnTo>
                  <a:lnTo>
                    <a:pt x="1180" y="299"/>
                  </a:lnTo>
                  <a:lnTo>
                    <a:pt x="1177" y="298"/>
                  </a:lnTo>
                  <a:lnTo>
                    <a:pt x="1174" y="293"/>
                  </a:lnTo>
                  <a:lnTo>
                    <a:pt x="1170" y="286"/>
                  </a:lnTo>
                  <a:lnTo>
                    <a:pt x="1167" y="277"/>
                  </a:lnTo>
                  <a:lnTo>
                    <a:pt x="1166" y="268"/>
                  </a:lnTo>
                  <a:lnTo>
                    <a:pt x="1162" y="248"/>
                  </a:lnTo>
                  <a:lnTo>
                    <a:pt x="1158" y="231"/>
                  </a:lnTo>
                  <a:lnTo>
                    <a:pt x="1155" y="225"/>
                  </a:lnTo>
                  <a:lnTo>
                    <a:pt x="1151" y="219"/>
                  </a:lnTo>
                  <a:lnTo>
                    <a:pt x="1149" y="218"/>
                  </a:lnTo>
                  <a:lnTo>
                    <a:pt x="1146" y="217"/>
                  </a:lnTo>
                  <a:lnTo>
                    <a:pt x="1142" y="217"/>
                  </a:lnTo>
                  <a:lnTo>
                    <a:pt x="1140" y="217"/>
                  </a:lnTo>
                  <a:lnTo>
                    <a:pt x="1130" y="221"/>
                  </a:lnTo>
                  <a:lnTo>
                    <a:pt x="1121" y="223"/>
                  </a:lnTo>
                  <a:lnTo>
                    <a:pt x="1120" y="223"/>
                  </a:lnTo>
                  <a:lnTo>
                    <a:pt x="1119" y="225"/>
                  </a:lnTo>
                  <a:lnTo>
                    <a:pt x="1117" y="225"/>
                  </a:lnTo>
                  <a:lnTo>
                    <a:pt x="1116" y="225"/>
                  </a:lnTo>
                  <a:lnTo>
                    <a:pt x="1112" y="226"/>
                  </a:lnTo>
                  <a:lnTo>
                    <a:pt x="1107" y="227"/>
                  </a:lnTo>
                  <a:lnTo>
                    <a:pt x="1106" y="227"/>
                  </a:lnTo>
                  <a:lnTo>
                    <a:pt x="1104" y="227"/>
                  </a:lnTo>
                  <a:lnTo>
                    <a:pt x="1102" y="229"/>
                  </a:lnTo>
                  <a:lnTo>
                    <a:pt x="1100" y="230"/>
                  </a:lnTo>
                  <a:lnTo>
                    <a:pt x="1099" y="230"/>
                  </a:lnTo>
                  <a:lnTo>
                    <a:pt x="1098" y="230"/>
                  </a:lnTo>
                  <a:lnTo>
                    <a:pt x="1087" y="250"/>
                  </a:lnTo>
                  <a:lnTo>
                    <a:pt x="1074" y="269"/>
                  </a:lnTo>
                  <a:lnTo>
                    <a:pt x="1073" y="270"/>
                  </a:lnTo>
                  <a:lnTo>
                    <a:pt x="1072" y="272"/>
                  </a:lnTo>
                  <a:lnTo>
                    <a:pt x="1069" y="276"/>
                  </a:lnTo>
                  <a:lnTo>
                    <a:pt x="1066" y="277"/>
                  </a:lnTo>
                  <a:lnTo>
                    <a:pt x="1064" y="277"/>
                  </a:lnTo>
                  <a:lnTo>
                    <a:pt x="1057" y="280"/>
                  </a:lnTo>
                  <a:lnTo>
                    <a:pt x="1051" y="280"/>
                  </a:lnTo>
                  <a:lnTo>
                    <a:pt x="1049" y="280"/>
                  </a:lnTo>
                  <a:lnTo>
                    <a:pt x="1048" y="278"/>
                  </a:lnTo>
                  <a:lnTo>
                    <a:pt x="1047" y="277"/>
                  </a:lnTo>
                  <a:lnTo>
                    <a:pt x="1045" y="277"/>
                  </a:lnTo>
                  <a:lnTo>
                    <a:pt x="1045" y="276"/>
                  </a:lnTo>
                  <a:lnTo>
                    <a:pt x="1044" y="274"/>
                  </a:lnTo>
                  <a:lnTo>
                    <a:pt x="1041" y="269"/>
                  </a:lnTo>
                  <a:lnTo>
                    <a:pt x="1040" y="264"/>
                  </a:lnTo>
                  <a:lnTo>
                    <a:pt x="1036" y="257"/>
                  </a:lnTo>
                  <a:lnTo>
                    <a:pt x="1031" y="251"/>
                  </a:lnTo>
                  <a:lnTo>
                    <a:pt x="1028" y="244"/>
                  </a:lnTo>
                  <a:lnTo>
                    <a:pt x="1024" y="236"/>
                  </a:lnTo>
                  <a:lnTo>
                    <a:pt x="1019" y="226"/>
                  </a:lnTo>
                  <a:lnTo>
                    <a:pt x="1013" y="217"/>
                  </a:lnTo>
                  <a:lnTo>
                    <a:pt x="1011" y="216"/>
                  </a:lnTo>
                  <a:lnTo>
                    <a:pt x="1011" y="216"/>
                  </a:lnTo>
                  <a:lnTo>
                    <a:pt x="1010" y="214"/>
                  </a:lnTo>
                  <a:lnTo>
                    <a:pt x="1007" y="214"/>
                  </a:lnTo>
                  <a:lnTo>
                    <a:pt x="998" y="214"/>
                  </a:lnTo>
                  <a:lnTo>
                    <a:pt x="989" y="216"/>
                  </a:lnTo>
                  <a:lnTo>
                    <a:pt x="981" y="218"/>
                  </a:lnTo>
                  <a:lnTo>
                    <a:pt x="972" y="223"/>
                  </a:lnTo>
                  <a:lnTo>
                    <a:pt x="963" y="229"/>
                  </a:lnTo>
                  <a:lnTo>
                    <a:pt x="955" y="231"/>
                  </a:lnTo>
                  <a:lnTo>
                    <a:pt x="947" y="234"/>
                  </a:lnTo>
                  <a:lnTo>
                    <a:pt x="941" y="235"/>
                  </a:lnTo>
                  <a:lnTo>
                    <a:pt x="925" y="238"/>
                  </a:lnTo>
                  <a:lnTo>
                    <a:pt x="907" y="242"/>
                  </a:lnTo>
                  <a:lnTo>
                    <a:pt x="900" y="244"/>
                  </a:lnTo>
                  <a:lnTo>
                    <a:pt x="894" y="248"/>
                  </a:lnTo>
                  <a:lnTo>
                    <a:pt x="887" y="252"/>
                  </a:lnTo>
                  <a:lnTo>
                    <a:pt x="883" y="257"/>
                  </a:lnTo>
                  <a:lnTo>
                    <a:pt x="874" y="269"/>
                  </a:lnTo>
                  <a:lnTo>
                    <a:pt x="867" y="282"/>
                  </a:lnTo>
                  <a:lnTo>
                    <a:pt x="864" y="295"/>
                  </a:lnTo>
                  <a:lnTo>
                    <a:pt x="860" y="310"/>
                  </a:lnTo>
                  <a:lnTo>
                    <a:pt x="857" y="324"/>
                  </a:lnTo>
                  <a:lnTo>
                    <a:pt x="854" y="338"/>
                  </a:lnTo>
                  <a:lnTo>
                    <a:pt x="853" y="342"/>
                  </a:lnTo>
                  <a:lnTo>
                    <a:pt x="854" y="348"/>
                  </a:lnTo>
                  <a:lnTo>
                    <a:pt x="857" y="352"/>
                  </a:lnTo>
                  <a:lnTo>
                    <a:pt x="860" y="354"/>
                  </a:lnTo>
                  <a:lnTo>
                    <a:pt x="869" y="361"/>
                  </a:lnTo>
                  <a:lnTo>
                    <a:pt x="879" y="367"/>
                  </a:lnTo>
                  <a:lnTo>
                    <a:pt x="891" y="374"/>
                  </a:lnTo>
                  <a:lnTo>
                    <a:pt x="903" y="383"/>
                  </a:lnTo>
                  <a:lnTo>
                    <a:pt x="907" y="388"/>
                  </a:lnTo>
                  <a:lnTo>
                    <a:pt x="912" y="395"/>
                  </a:lnTo>
                  <a:lnTo>
                    <a:pt x="915" y="401"/>
                  </a:lnTo>
                  <a:lnTo>
                    <a:pt x="918" y="410"/>
                  </a:lnTo>
                  <a:lnTo>
                    <a:pt x="920" y="413"/>
                  </a:lnTo>
                  <a:lnTo>
                    <a:pt x="922" y="416"/>
                  </a:lnTo>
                  <a:lnTo>
                    <a:pt x="926" y="418"/>
                  </a:lnTo>
                  <a:lnTo>
                    <a:pt x="932" y="421"/>
                  </a:lnTo>
                  <a:lnTo>
                    <a:pt x="943" y="427"/>
                  </a:lnTo>
                  <a:lnTo>
                    <a:pt x="958" y="434"/>
                  </a:lnTo>
                  <a:lnTo>
                    <a:pt x="986" y="446"/>
                  </a:lnTo>
                  <a:lnTo>
                    <a:pt x="1006" y="455"/>
                  </a:lnTo>
                  <a:lnTo>
                    <a:pt x="1022" y="464"/>
                  </a:lnTo>
                  <a:lnTo>
                    <a:pt x="1035" y="476"/>
                  </a:lnTo>
                  <a:lnTo>
                    <a:pt x="1048" y="489"/>
                  </a:lnTo>
                  <a:lnTo>
                    <a:pt x="1061" y="503"/>
                  </a:lnTo>
                  <a:lnTo>
                    <a:pt x="1058" y="507"/>
                  </a:lnTo>
                  <a:lnTo>
                    <a:pt x="1048" y="515"/>
                  </a:lnTo>
                  <a:lnTo>
                    <a:pt x="1032" y="526"/>
                  </a:lnTo>
                  <a:lnTo>
                    <a:pt x="1014" y="537"/>
                  </a:lnTo>
                  <a:lnTo>
                    <a:pt x="980" y="560"/>
                  </a:lnTo>
                  <a:lnTo>
                    <a:pt x="963" y="569"/>
                  </a:lnTo>
                  <a:lnTo>
                    <a:pt x="952" y="565"/>
                  </a:lnTo>
                  <a:lnTo>
                    <a:pt x="938" y="557"/>
                  </a:lnTo>
                  <a:lnTo>
                    <a:pt x="925" y="549"/>
                  </a:lnTo>
                  <a:lnTo>
                    <a:pt x="916" y="541"/>
                  </a:lnTo>
                  <a:lnTo>
                    <a:pt x="912" y="537"/>
                  </a:lnTo>
                  <a:lnTo>
                    <a:pt x="909" y="536"/>
                  </a:lnTo>
                  <a:lnTo>
                    <a:pt x="907" y="536"/>
                  </a:lnTo>
                  <a:lnTo>
                    <a:pt x="905" y="536"/>
                  </a:lnTo>
                  <a:lnTo>
                    <a:pt x="901" y="540"/>
                  </a:lnTo>
                  <a:lnTo>
                    <a:pt x="899" y="545"/>
                  </a:lnTo>
                  <a:lnTo>
                    <a:pt x="896" y="553"/>
                  </a:lnTo>
                  <a:lnTo>
                    <a:pt x="894" y="560"/>
                  </a:lnTo>
                  <a:lnTo>
                    <a:pt x="891" y="566"/>
                  </a:lnTo>
                  <a:lnTo>
                    <a:pt x="887" y="571"/>
                  </a:lnTo>
                  <a:lnTo>
                    <a:pt x="871" y="578"/>
                  </a:lnTo>
                  <a:lnTo>
                    <a:pt x="848" y="584"/>
                  </a:lnTo>
                  <a:lnTo>
                    <a:pt x="824" y="591"/>
                  </a:lnTo>
                  <a:lnTo>
                    <a:pt x="807" y="594"/>
                  </a:lnTo>
                  <a:lnTo>
                    <a:pt x="797" y="595"/>
                  </a:lnTo>
                  <a:lnTo>
                    <a:pt x="789" y="597"/>
                  </a:lnTo>
                  <a:lnTo>
                    <a:pt x="784" y="600"/>
                  </a:lnTo>
                  <a:lnTo>
                    <a:pt x="780" y="604"/>
                  </a:lnTo>
                  <a:lnTo>
                    <a:pt x="779" y="609"/>
                  </a:lnTo>
                  <a:lnTo>
                    <a:pt x="779" y="614"/>
                  </a:lnTo>
                  <a:lnTo>
                    <a:pt x="779" y="621"/>
                  </a:lnTo>
                  <a:lnTo>
                    <a:pt x="781" y="628"/>
                  </a:lnTo>
                  <a:lnTo>
                    <a:pt x="786" y="642"/>
                  </a:lnTo>
                  <a:lnTo>
                    <a:pt x="793" y="659"/>
                  </a:lnTo>
                  <a:lnTo>
                    <a:pt x="796" y="668"/>
                  </a:lnTo>
                  <a:lnTo>
                    <a:pt x="798" y="677"/>
                  </a:lnTo>
                  <a:lnTo>
                    <a:pt x="799" y="688"/>
                  </a:lnTo>
                  <a:lnTo>
                    <a:pt x="799" y="698"/>
                  </a:lnTo>
                  <a:lnTo>
                    <a:pt x="799" y="702"/>
                  </a:lnTo>
                  <a:lnTo>
                    <a:pt x="798" y="705"/>
                  </a:lnTo>
                  <a:lnTo>
                    <a:pt x="797" y="709"/>
                  </a:lnTo>
                  <a:lnTo>
                    <a:pt x="794" y="711"/>
                  </a:lnTo>
                  <a:lnTo>
                    <a:pt x="788" y="715"/>
                  </a:lnTo>
                  <a:lnTo>
                    <a:pt x="780" y="718"/>
                  </a:lnTo>
                  <a:lnTo>
                    <a:pt x="771" y="719"/>
                  </a:lnTo>
                  <a:lnTo>
                    <a:pt x="763" y="719"/>
                  </a:lnTo>
                  <a:lnTo>
                    <a:pt x="754" y="718"/>
                  </a:lnTo>
                  <a:lnTo>
                    <a:pt x="747" y="717"/>
                  </a:lnTo>
                  <a:lnTo>
                    <a:pt x="741" y="715"/>
                  </a:lnTo>
                  <a:lnTo>
                    <a:pt x="734" y="715"/>
                  </a:lnTo>
                  <a:lnTo>
                    <a:pt x="729" y="717"/>
                  </a:lnTo>
                  <a:lnTo>
                    <a:pt x="725" y="718"/>
                  </a:lnTo>
                  <a:lnTo>
                    <a:pt x="722" y="719"/>
                  </a:lnTo>
                  <a:lnTo>
                    <a:pt x="720" y="722"/>
                  </a:lnTo>
                  <a:lnTo>
                    <a:pt x="718" y="726"/>
                  </a:lnTo>
                  <a:lnTo>
                    <a:pt x="717" y="728"/>
                  </a:lnTo>
                  <a:lnTo>
                    <a:pt x="716" y="745"/>
                  </a:lnTo>
                  <a:lnTo>
                    <a:pt x="716" y="762"/>
                  </a:lnTo>
                  <a:lnTo>
                    <a:pt x="716" y="777"/>
                  </a:lnTo>
                  <a:lnTo>
                    <a:pt x="717" y="788"/>
                  </a:lnTo>
                  <a:lnTo>
                    <a:pt x="718" y="799"/>
                  </a:lnTo>
                  <a:lnTo>
                    <a:pt x="717" y="812"/>
                  </a:lnTo>
                  <a:lnTo>
                    <a:pt x="713" y="826"/>
                  </a:lnTo>
                  <a:lnTo>
                    <a:pt x="709" y="841"/>
                  </a:lnTo>
                  <a:lnTo>
                    <a:pt x="705" y="849"/>
                  </a:lnTo>
                  <a:lnTo>
                    <a:pt x="703" y="855"/>
                  </a:lnTo>
                  <a:lnTo>
                    <a:pt x="699" y="862"/>
                  </a:lnTo>
                  <a:lnTo>
                    <a:pt x="693" y="867"/>
                  </a:lnTo>
                  <a:lnTo>
                    <a:pt x="688" y="870"/>
                  </a:lnTo>
                  <a:lnTo>
                    <a:pt x="682" y="872"/>
                  </a:lnTo>
                  <a:lnTo>
                    <a:pt x="675" y="872"/>
                  </a:lnTo>
                  <a:lnTo>
                    <a:pt x="667" y="873"/>
                  </a:lnTo>
                  <a:lnTo>
                    <a:pt x="661" y="873"/>
                  </a:lnTo>
                  <a:lnTo>
                    <a:pt x="653" y="875"/>
                  </a:lnTo>
                  <a:lnTo>
                    <a:pt x="648" y="877"/>
                  </a:lnTo>
                  <a:lnTo>
                    <a:pt x="642" y="881"/>
                  </a:lnTo>
                  <a:lnTo>
                    <a:pt x="616" y="909"/>
                  </a:lnTo>
                  <a:lnTo>
                    <a:pt x="628" y="976"/>
                  </a:lnTo>
                  <a:lnTo>
                    <a:pt x="631" y="986"/>
                  </a:lnTo>
                  <a:lnTo>
                    <a:pt x="633" y="993"/>
                  </a:lnTo>
                  <a:lnTo>
                    <a:pt x="636" y="999"/>
                  </a:lnTo>
                  <a:lnTo>
                    <a:pt x="639" y="1003"/>
                  </a:lnTo>
                  <a:lnTo>
                    <a:pt x="645" y="1012"/>
                  </a:lnTo>
                  <a:lnTo>
                    <a:pt x="654" y="1027"/>
                  </a:lnTo>
                  <a:lnTo>
                    <a:pt x="661" y="1036"/>
                  </a:lnTo>
                  <a:lnTo>
                    <a:pt x="669" y="1044"/>
                  </a:lnTo>
                  <a:lnTo>
                    <a:pt x="678" y="1050"/>
                  </a:lnTo>
                  <a:lnTo>
                    <a:pt x="687" y="1055"/>
                  </a:lnTo>
                  <a:lnTo>
                    <a:pt x="696" y="1063"/>
                  </a:lnTo>
                  <a:lnTo>
                    <a:pt x="705" y="1072"/>
                  </a:lnTo>
                  <a:lnTo>
                    <a:pt x="709" y="1078"/>
                  </a:lnTo>
                  <a:lnTo>
                    <a:pt x="712" y="1084"/>
                  </a:lnTo>
                  <a:lnTo>
                    <a:pt x="716" y="1092"/>
                  </a:lnTo>
                  <a:lnTo>
                    <a:pt x="718" y="1100"/>
                  </a:lnTo>
                  <a:lnTo>
                    <a:pt x="721" y="1118"/>
                  </a:lnTo>
                  <a:lnTo>
                    <a:pt x="722" y="1139"/>
                  </a:lnTo>
                  <a:lnTo>
                    <a:pt x="722" y="1160"/>
                  </a:lnTo>
                  <a:lnTo>
                    <a:pt x="722" y="1178"/>
                  </a:lnTo>
                  <a:lnTo>
                    <a:pt x="726" y="1194"/>
                  </a:lnTo>
                  <a:lnTo>
                    <a:pt x="731" y="1207"/>
                  </a:lnTo>
                  <a:lnTo>
                    <a:pt x="738" y="1221"/>
                  </a:lnTo>
                  <a:lnTo>
                    <a:pt x="745" y="1235"/>
                  </a:lnTo>
                  <a:lnTo>
                    <a:pt x="750" y="1249"/>
                  </a:lnTo>
                  <a:lnTo>
                    <a:pt x="752" y="1262"/>
                  </a:lnTo>
                  <a:lnTo>
                    <a:pt x="752" y="1269"/>
                  </a:lnTo>
                  <a:lnTo>
                    <a:pt x="752" y="1275"/>
                  </a:lnTo>
                  <a:lnTo>
                    <a:pt x="750" y="1283"/>
                  </a:lnTo>
                  <a:lnTo>
                    <a:pt x="747" y="1289"/>
                  </a:lnTo>
                  <a:lnTo>
                    <a:pt x="739" y="1306"/>
                  </a:lnTo>
                  <a:lnTo>
                    <a:pt x="733" y="1321"/>
                  </a:lnTo>
                  <a:lnTo>
                    <a:pt x="727" y="1326"/>
                  </a:lnTo>
                  <a:lnTo>
                    <a:pt x="722" y="1331"/>
                  </a:lnTo>
                  <a:lnTo>
                    <a:pt x="713" y="1334"/>
                  </a:lnTo>
                  <a:lnTo>
                    <a:pt x="703" y="1335"/>
                  </a:lnTo>
                  <a:lnTo>
                    <a:pt x="692" y="1335"/>
                  </a:lnTo>
                  <a:lnTo>
                    <a:pt x="682" y="1337"/>
                  </a:lnTo>
                  <a:lnTo>
                    <a:pt x="670" y="1339"/>
                  </a:lnTo>
                  <a:lnTo>
                    <a:pt x="659" y="1342"/>
                  </a:lnTo>
                  <a:lnTo>
                    <a:pt x="650" y="1347"/>
                  </a:lnTo>
                  <a:lnTo>
                    <a:pt x="644" y="1352"/>
                  </a:lnTo>
                  <a:lnTo>
                    <a:pt x="641" y="1356"/>
                  </a:lnTo>
                  <a:lnTo>
                    <a:pt x="639" y="1360"/>
                  </a:lnTo>
                  <a:lnTo>
                    <a:pt x="637" y="1364"/>
                  </a:lnTo>
                  <a:lnTo>
                    <a:pt x="637" y="1368"/>
                  </a:lnTo>
                  <a:lnTo>
                    <a:pt x="636" y="1382"/>
                  </a:lnTo>
                  <a:lnTo>
                    <a:pt x="633" y="1393"/>
                  </a:lnTo>
                  <a:lnTo>
                    <a:pt x="629" y="1402"/>
                  </a:lnTo>
                  <a:lnTo>
                    <a:pt x="624" y="1408"/>
                  </a:lnTo>
                  <a:lnTo>
                    <a:pt x="612" y="1419"/>
                  </a:lnTo>
                  <a:lnTo>
                    <a:pt x="599" y="1432"/>
                  </a:lnTo>
                  <a:lnTo>
                    <a:pt x="595" y="1433"/>
                  </a:lnTo>
                  <a:lnTo>
                    <a:pt x="591" y="1433"/>
                  </a:lnTo>
                  <a:lnTo>
                    <a:pt x="589" y="1433"/>
                  </a:lnTo>
                  <a:lnTo>
                    <a:pt x="588" y="1435"/>
                  </a:lnTo>
                  <a:lnTo>
                    <a:pt x="574" y="1436"/>
                  </a:lnTo>
                  <a:lnTo>
                    <a:pt x="560" y="1437"/>
                  </a:lnTo>
                  <a:lnTo>
                    <a:pt x="560" y="1439"/>
                  </a:lnTo>
                  <a:lnTo>
                    <a:pt x="561" y="1441"/>
                  </a:lnTo>
                  <a:lnTo>
                    <a:pt x="561" y="1441"/>
                  </a:lnTo>
                  <a:lnTo>
                    <a:pt x="563" y="1441"/>
                  </a:lnTo>
                  <a:lnTo>
                    <a:pt x="564" y="1448"/>
                  </a:lnTo>
                  <a:lnTo>
                    <a:pt x="567" y="1453"/>
                  </a:lnTo>
                  <a:lnTo>
                    <a:pt x="568" y="1456"/>
                  </a:lnTo>
                  <a:lnTo>
                    <a:pt x="571" y="1457"/>
                  </a:lnTo>
                  <a:lnTo>
                    <a:pt x="581" y="1462"/>
                  </a:lnTo>
                  <a:lnTo>
                    <a:pt x="590" y="1467"/>
                  </a:lnTo>
                  <a:lnTo>
                    <a:pt x="591" y="1469"/>
                  </a:lnTo>
                  <a:lnTo>
                    <a:pt x="593" y="1470"/>
                  </a:lnTo>
                  <a:lnTo>
                    <a:pt x="594" y="1471"/>
                  </a:lnTo>
                  <a:lnTo>
                    <a:pt x="594" y="1473"/>
                  </a:lnTo>
                  <a:lnTo>
                    <a:pt x="599" y="1477"/>
                  </a:lnTo>
                  <a:lnTo>
                    <a:pt x="603" y="1480"/>
                  </a:lnTo>
                  <a:lnTo>
                    <a:pt x="605" y="1484"/>
                  </a:lnTo>
                  <a:lnTo>
                    <a:pt x="606" y="1487"/>
                  </a:lnTo>
                  <a:lnTo>
                    <a:pt x="608" y="1490"/>
                  </a:lnTo>
                  <a:lnTo>
                    <a:pt x="611" y="1491"/>
                  </a:lnTo>
                  <a:lnTo>
                    <a:pt x="611" y="1494"/>
                  </a:lnTo>
                  <a:lnTo>
                    <a:pt x="611" y="1497"/>
                  </a:lnTo>
                  <a:lnTo>
                    <a:pt x="610" y="1505"/>
                  </a:lnTo>
                  <a:lnTo>
                    <a:pt x="607" y="1513"/>
                  </a:lnTo>
                  <a:lnTo>
                    <a:pt x="601" y="1528"/>
                  </a:lnTo>
                  <a:lnTo>
                    <a:pt x="595" y="1535"/>
                  </a:lnTo>
                  <a:lnTo>
                    <a:pt x="593" y="1539"/>
                  </a:lnTo>
                  <a:lnTo>
                    <a:pt x="590" y="1542"/>
                  </a:lnTo>
                  <a:lnTo>
                    <a:pt x="590" y="1545"/>
                  </a:lnTo>
                  <a:lnTo>
                    <a:pt x="593" y="1554"/>
                  </a:lnTo>
                  <a:lnTo>
                    <a:pt x="594" y="1563"/>
                  </a:lnTo>
                  <a:lnTo>
                    <a:pt x="594" y="1565"/>
                  </a:lnTo>
                  <a:lnTo>
                    <a:pt x="593" y="1567"/>
                  </a:lnTo>
                  <a:lnTo>
                    <a:pt x="593" y="1567"/>
                  </a:lnTo>
                  <a:lnTo>
                    <a:pt x="593" y="1568"/>
                  </a:lnTo>
                  <a:lnTo>
                    <a:pt x="591" y="1569"/>
                  </a:lnTo>
                  <a:lnTo>
                    <a:pt x="591" y="1571"/>
                  </a:lnTo>
                  <a:lnTo>
                    <a:pt x="590" y="1571"/>
                  </a:lnTo>
                  <a:lnTo>
                    <a:pt x="590" y="1572"/>
                  </a:lnTo>
                  <a:lnTo>
                    <a:pt x="588" y="1573"/>
                  </a:lnTo>
                  <a:lnTo>
                    <a:pt x="585" y="1575"/>
                  </a:lnTo>
                  <a:lnTo>
                    <a:pt x="584" y="1579"/>
                  </a:lnTo>
                  <a:lnTo>
                    <a:pt x="581" y="1580"/>
                  </a:lnTo>
                  <a:lnTo>
                    <a:pt x="580" y="1580"/>
                  </a:lnTo>
                  <a:lnTo>
                    <a:pt x="578" y="1581"/>
                  </a:lnTo>
                  <a:lnTo>
                    <a:pt x="577" y="1582"/>
                  </a:lnTo>
                  <a:lnTo>
                    <a:pt x="576" y="1584"/>
                  </a:lnTo>
                  <a:lnTo>
                    <a:pt x="576" y="1585"/>
                  </a:lnTo>
                  <a:lnTo>
                    <a:pt x="573" y="1589"/>
                  </a:lnTo>
                  <a:lnTo>
                    <a:pt x="569" y="1593"/>
                  </a:lnTo>
                  <a:lnTo>
                    <a:pt x="568" y="1594"/>
                  </a:lnTo>
                  <a:lnTo>
                    <a:pt x="568" y="1594"/>
                  </a:lnTo>
                  <a:lnTo>
                    <a:pt x="567" y="1596"/>
                  </a:lnTo>
                  <a:lnTo>
                    <a:pt x="567" y="1597"/>
                  </a:lnTo>
                  <a:lnTo>
                    <a:pt x="567" y="1598"/>
                  </a:lnTo>
                  <a:lnTo>
                    <a:pt x="564" y="1599"/>
                  </a:lnTo>
                  <a:lnTo>
                    <a:pt x="564" y="1601"/>
                  </a:lnTo>
                  <a:lnTo>
                    <a:pt x="559" y="1605"/>
                  </a:lnTo>
                  <a:lnTo>
                    <a:pt x="555" y="1609"/>
                  </a:lnTo>
                  <a:lnTo>
                    <a:pt x="554" y="1609"/>
                  </a:lnTo>
                  <a:lnTo>
                    <a:pt x="552" y="1610"/>
                  </a:lnTo>
                  <a:lnTo>
                    <a:pt x="550" y="1611"/>
                  </a:lnTo>
                  <a:lnTo>
                    <a:pt x="547" y="1613"/>
                  </a:lnTo>
                  <a:lnTo>
                    <a:pt x="537" y="1618"/>
                  </a:lnTo>
                  <a:lnTo>
                    <a:pt x="514" y="1627"/>
                  </a:lnTo>
                  <a:lnTo>
                    <a:pt x="492" y="1636"/>
                  </a:lnTo>
                  <a:lnTo>
                    <a:pt x="479" y="1643"/>
                  </a:lnTo>
                  <a:lnTo>
                    <a:pt x="472" y="1643"/>
                  </a:lnTo>
                  <a:lnTo>
                    <a:pt x="463" y="1641"/>
                  </a:lnTo>
                  <a:lnTo>
                    <a:pt x="453" y="1637"/>
                  </a:lnTo>
                  <a:lnTo>
                    <a:pt x="448" y="1635"/>
                  </a:lnTo>
                  <a:lnTo>
                    <a:pt x="442" y="1632"/>
                  </a:lnTo>
                  <a:lnTo>
                    <a:pt x="437" y="1632"/>
                  </a:lnTo>
                  <a:lnTo>
                    <a:pt x="433" y="1632"/>
                  </a:lnTo>
                  <a:lnTo>
                    <a:pt x="428" y="1633"/>
                  </a:lnTo>
                  <a:lnTo>
                    <a:pt x="418" y="1637"/>
                  </a:lnTo>
                  <a:lnTo>
                    <a:pt x="408" y="1640"/>
                  </a:lnTo>
                  <a:lnTo>
                    <a:pt x="397" y="1644"/>
                  </a:lnTo>
                  <a:lnTo>
                    <a:pt x="373" y="1652"/>
                  </a:lnTo>
                  <a:lnTo>
                    <a:pt x="348" y="1658"/>
                  </a:lnTo>
                  <a:lnTo>
                    <a:pt x="334" y="1662"/>
                  </a:lnTo>
                  <a:lnTo>
                    <a:pt x="332" y="1664"/>
                  </a:lnTo>
                  <a:lnTo>
                    <a:pt x="332" y="1664"/>
                  </a:lnTo>
                  <a:lnTo>
                    <a:pt x="331" y="1665"/>
                  </a:lnTo>
                  <a:lnTo>
                    <a:pt x="330" y="1665"/>
                  </a:lnTo>
                  <a:lnTo>
                    <a:pt x="329" y="1665"/>
                  </a:lnTo>
                  <a:lnTo>
                    <a:pt x="327" y="1666"/>
                  </a:lnTo>
                  <a:lnTo>
                    <a:pt x="326" y="1669"/>
                  </a:lnTo>
                  <a:lnTo>
                    <a:pt x="325" y="1670"/>
                  </a:lnTo>
                  <a:lnTo>
                    <a:pt x="323" y="1671"/>
                  </a:lnTo>
                  <a:lnTo>
                    <a:pt x="318" y="1681"/>
                  </a:lnTo>
                  <a:lnTo>
                    <a:pt x="313" y="1690"/>
                  </a:lnTo>
                  <a:lnTo>
                    <a:pt x="312" y="1691"/>
                  </a:lnTo>
                  <a:lnTo>
                    <a:pt x="312" y="1691"/>
                  </a:lnTo>
                  <a:lnTo>
                    <a:pt x="310" y="1692"/>
                  </a:lnTo>
                  <a:lnTo>
                    <a:pt x="309" y="1694"/>
                  </a:lnTo>
                  <a:lnTo>
                    <a:pt x="309" y="1694"/>
                  </a:lnTo>
                  <a:lnTo>
                    <a:pt x="308" y="1695"/>
                  </a:lnTo>
                  <a:lnTo>
                    <a:pt x="305" y="1696"/>
                  </a:lnTo>
                  <a:lnTo>
                    <a:pt x="302" y="1699"/>
                  </a:lnTo>
                  <a:lnTo>
                    <a:pt x="301" y="1700"/>
                  </a:lnTo>
                  <a:lnTo>
                    <a:pt x="298" y="1702"/>
                  </a:lnTo>
                  <a:lnTo>
                    <a:pt x="297" y="1703"/>
                  </a:lnTo>
                  <a:lnTo>
                    <a:pt x="297" y="1703"/>
                  </a:lnTo>
                  <a:lnTo>
                    <a:pt x="296" y="1704"/>
                  </a:lnTo>
                  <a:lnTo>
                    <a:pt x="295" y="1705"/>
                  </a:lnTo>
                  <a:lnTo>
                    <a:pt x="289" y="1708"/>
                  </a:lnTo>
                  <a:lnTo>
                    <a:pt x="284" y="1711"/>
                  </a:lnTo>
                  <a:lnTo>
                    <a:pt x="281" y="1712"/>
                  </a:lnTo>
                  <a:lnTo>
                    <a:pt x="275" y="1711"/>
                  </a:lnTo>
                  <a:lnTo>
                    <a:pt x="268" y="1709"/>
                  </a:lnTo>
                  <a:lnTo>
                    <a:pt x="261" y="1705"/>
                  </a:lnTo>
                  <a:lnTo>
                    <a:pt x="245" y="1699"/>
                  </a:lnTo>
                  <a:lnTo>
                    <a:pt x="236" y="1696"/>
                  </a:lnTo>
                  <a:lnTo>
                    <a:pt x="186" y="1694"/>
                  </a:lnTo>
                  <a:lnTo>
                    <a:pt x="174" y="1695"/>
                  </a:lnTo>
                  <a:lnTo>
                    <a:pt x="160" y="1695"/>
                  </a:lnTo>
                  <a:lnTo>
                    <a:pt x="160" y="1695"/>
                  </a:lnTo>
                  <a:lnTo>
                    <a:pt x="159" y="1694"/>
                  </a:lnTo>
                  <a:lnTo>
                    <a:pt x="159" y="1692"/>
                  </a:lnTo>
                  <a:lnTo>
                    <a:pt x="159" y="1691"/>
                  </a:lnTo>
                  <a:lnTo>
                    <a:pt x="157" y="1691"/>
                  </a:lnTo>
                  <a:lnTo>
                    <a:pt x="156" y="1690"/>
                  </a:lnTo>
                  <a:lnTo>
                    <a:pt x="135" y="1673"/>
                  </a:lnTo>
                  <a:lnTo>
                    <a:pt x="132" y="1671"/>
                  </a:lnTo>
                  <a:lnTo>
                    <a:pt x="130" y="1670"/>
                  </a:lnTo>
                  <a:lnTo>
                    <a:pt x="114" y="1670"/>
                  </a:lnTo>
                  <a:lnTo>
                    <a:pt x="100" y="1671"/>
                  </a:lnTo>
                  <a:lnTo>
                    <a:pt x="85" y="1673"/>
                  </a:lnTo>
                  <a:lnTo>
                    <a:pt x="72" y="1675"/>
                  </a:lnTo>
                  <a:lnTo>
                    <a:pt x="60" y="1679"/>
                  </a:lnTo>
                  <a:lnTo>
                    <a:pt x="50" y="1686"/>
                  </a:lnTo>
                  <a:lnTo>
                    <a:pt x="37" y="1695"/>
                  </a:lnTo>
                  <a:lnTo>
                    <a:pt x="24" y="1703"/>
                  </a:lnTo>
                  <a:lnTo>
                    <a:pt x="22" y="1705"/>
                  </a:lnTo>
                  <a:lnTo>
                    <a:pt x="20" y="1708"/>
                  </a:lnTo>
                  <a:lnTo>
                    <a:pt x="19" y="1709"/>
                  </a:lnTo>
                  <a:lnTo>
                    <a:pt x="19" y="1711"/>
                  </a:lnTo>
                  <a:lnTo>
                    <a:pt x="17" y="1712"/>
                  </a:lnTo>
                  <a:lnTo>
                    <a:pt x="16" y="1713"/>
                  </a:lnTo>
                  <a:lnTo>
                    <a:pt x="15" y="1715"/>
                  </a:lnTo>
                  <a:lnTo>
                    <a:pt x="13" y="1716"/>
                  </a:lnTo>
                  <a:lnTo>
                    <a:pt x="12" y="1716"/>
                  </a:lnTo>
                  <a:lnTo>
                    <a:pt x="11" y="1717"/>
                  </a:lnTo>
                  <a:lnTo>
                    <a:pt x="11" y="1717"/>
                  </a:lnTo>
                  <a:lnTo>
                    <a:pt x="9" y="1719"/>
                  </a:lnTo>
                  <a:lnTo>
                    <a:pt x="8" y="1720"/>
                  </a:lnTo>
                  <a:lnTo>
                    <a:pt x="7" y="1722"/>
                  </a:lnTo>
                  <a:lnTo>
                    <a:pt x="5" y="1722"/>
                  </a:lnTo>
                  <a:lnTo>
                    <a:pt x="4" y="1724"/>
                  </a:lnTo>
                  <a:lnTo>
                    <a:pt x="4" y="1725"/>
                  </a:lnTo>
                  <a:lnTo>
                    <a:pt x="3" y="1726"/>
                  </a:lnTo>
                  <a:lnTo>
                    <a:pt x="2" y="1726"/>
                  </a:lnTo>
                  <a:lnTo>
                    <a:pt x="2" y="1726"/>
                  </a:lnTo>
                  <a:lnTo>
                    <a:pt x="2" y="1729"/>
                  </a:lnTo>
                  <a:lnTo>
                    <a:pt x="0" y="1733"/>
                  </a:lnTo>
                  <a:lnTo>
                    <a:pt x="0" y="1737"/>
                  </a:lnTo>
                  <a:lnTo>
                    <a:pt x="0" y="1738"/>
                  </a:lnTo>
                  <a:lnTo>
                    <a:pt x="2" y="1741"/>
                  </a:lnTo>
                  <a:lnTo>
                    <a:pt x="2" y="1743"/>
                  </a:lnTo>
                  <a:lnTo>
                    <a:pt x="2" y="1746"/>
                  </a:lnTo>
                  <a:lnTo>
                    <a:pt x="3" y="1747"/>
                  </a:lnTo>
                  <a:lnTo>
                    <a:pt x="3" y="1749"/>
                  </a:lnTo>
                  <a:lnTo>
                    <a:pt x="3" y="1749"/>
                  </a:lnTo>
                  <a:lnTo>
                    <a:pt x="4" y="1750"/>
                  </a:lnTo>
                  <a:lnTo>
                    <a:pt x="4" y="1750"/>
                  </a:lnTo>
                  <a:lnTo>
                    <a:pt x="4" y="1751"/>
                  </a:lnTo>
                  <a:lnTo>
                    <a:pt x="51" y="1848"/>
                  </a:lnTo>
                  <a:lnTo>
                    <a:pt x="93" y="1891"/>
                  </a:lnTo>
                  <a:lnTo>
                    <a:pt x="102" y="1899"/>
                  </a:lnTo>
                  <a:lnTo>
                    <a:pt x="110" y="1906"/>
                  </a:lnTo>
                  <a:lnTo>
                    <a:pt x="118" y="1912"/>
                  </a:lnTo>
                  <a:lnTo>
                    <a:pt x="127" y="1917"/>
                  </a:lnTo>
                  <a:lnTo>
                    <a:pt x="135" y="1921"/>
                  </a:lnTo>
                  <a:lnTo>
                    <a:pt x="144" y="1925"/>
                  </a:lnTo>
                  <a:lnTo>
                    <a:pt x="152" y="1926"/>
                  </a:lnTo>
                  <a:lnTo>
                    <a:pt x="161" y="1929"/>
                  </a:lnTo>
                  <a:lnTo>
                    <a:pt x="178" y="1930"/>
                  </a:lnTo>
                  <a:lnTo>
                    <a:pt x="195" y="1929"/>
                  </a:lnTo>
                  <a:lnTo>
                    <a:pt x="212" y="1926"/>
                  </a:lnTo>
                  <a:lnTo>
                    <a:pt x="230" y="1923"/>
                  </a:lnTo>
                  <a:lnTo>
                    <a:pt x="267" y="1911"/>
                  </a:lnTo>
                  <a:lnTo>
                    <a:pt x="305" y="1896"/>
                  </a:lnTo>
                  <a:lnTo>
                    <a:pt x="326" y="1891"/>
                  </a:lnTo>
                  <a:lnTo>
                    <a:pt x="347" y="1885"/>
                  </a:lnTo>
                  <a:lnTo>
                    <a:pt x="368" y="1881"/>
                  </a:lnTo>
                  <a:lnTo>
                    <a:pt x="391" y="1879"/>
                  </a:lnTo>
                  <a:lnTo>
                    <a:pt x="619" y="1865"/>
                  </a:lnTo>
                  <a:lnTo>
                    <a:pt x="648" y="1864"/>
                  </a:lnTo>
                  <a:lnTo>
                    <a:pt x="684" y="1862"/>
                  </a:lnTo>
                  <a:lnTo>
                    <a:pt x="693" y="1864"/>
                  </a:lnTo>
                  <a:lnTo>
                    <a:pt x="701" y="1866"/>
                  </a:lnTo>
                  <a:lnTo>
                    <a:pt x="708" y="1868"/>
                  </a:lnTo>
                  <a:lnTo>
                    <a:pt x="712" y="1872"/>
                  </a:lnTo>
                  <a:lnTo>
                    <a:pt x="716" y="1875"/>
                  </a:lnTo>
                  <a:lnTo>
                    <a:pt x="717" y="1881"/>
                  </a:lnTo>
                  <a:lnTo>
                    <a:pt x="716" y="1887"/>
                  </a:lnTo>
                  <a:lnTo>
                    <a:pt x="713" y="1896"/>
                  </a:lnTo>
                  <a:lnTo>
                    <a:pt x="705" y="1915"/>
                  </a:lnTo>
                  <a:lnTo>
                    <a:pt x="697" y="1940"/>
                  </a:lnTo>
                  <a:lnTo>
                    <a:pt x="695" y="1950"/>
                  </a:lnTo>
                  <a:lnTo>
                    <a:pt x="691" y="1961"/>
                  </a:lnTo>
                  <a:lnTo>
                    <a:pt x="688" y="1963"/>
                  </a:lnTo>
                  <a:lnTo>
                    <a:pt x="687" y="1966"/>
                  </a:lnTo>
                  <a:lnTo>
                    <a:pt x="686" y="1968"/>
                  </a:lnTo>
                  <a:lnTo>
                    <a:pt x="683" y="1968"/>
                  </a:lnTo>
                  <a:lnTo>
                    <a:pt x="667" y="1967"/>
                  </a:lnTo>
                  <a:lnTo>
                    <a:pt x="657" y="1967"/>
                  </a:lnTo>
                  <a:lnTo>
                    <a:pt x="653" y="1967"/>
                  </a:lnTo>
                  <a:lnTo>
                    <a:pt x="652" y="1968"/>
                  </a:lnTo>
                  <a:lnTo>
                    <a:pt x="650" y="1970"/>
                  </a:lnTo>
                  <a:lnTo>
                    <a:pt x="649" y="1972"/>
                  </a:lnTo>
                  <a:lnTo>
                    <a:pt x="652" y="1985"/>
                  </a:lnTo>
                  <a:lnTo>
                    <a:pt x="654" y="2013"/>
                  </a:lnTo>
                  <a:lnTo>
                    <a:pt x="654" y="2030"/>
                  </a:lnTo>
                  <a:lnTo>
                    <a:pt x="656" y="2044"/>
                  </a:lnTo>
                  <a:lnTo>
                    <a:pt x="658" y="2057"/>
                  </a:lnTo>
                  <a:lnTo>
                    <a:pt x="662" y="2068"/>
                  </a:lnTo>
                  <a:lnTo>
                    <a:pt x="665" y="2072"/>
                  </a:lnTo>
                  <a:lnTo>
                    <a:pt x="669" y="2076"/>
                  </a:lnTo>
                  <a:lnTo>
                    <a:pt x="673" y="2078"/>
                  </a:lnTo>
                  <a:lnTo>
                    <a:pt x="676" y="2080"/>
                  </a:lnTo>
                  <a:lnTo>
                    <a:pt x="683" y="2080"/>
                  </a:lnTo>
                  <a:lnTo>
                    <a:pt x="688" y="2080"/>
                  </a:lnTo>
                  <a:lnTo>
                    <a:pt x="696" y="2078"/>
                  </a:lnTo>
                  <a:lnTo>
                    <a:pt x="704" y="2076"/>
                  </a:lnTo>
                  <a:lnTo>
                    <a:pt x="713" y="2073"/>
                  </a:lnTo>
                  <a:lnTo>
                    <a:pt x="724" y="2073"/>
                  </a:lnTo>
                  <a:lnTo>
                    <a:pt x="735" y="2073"/>
                  </a:lnTo>
                  <a:lnTo>
                    <a:pt x="747" y="2074"/>
                  </a:lnTo>
                  <a:lnTo>
                    <a:pt x="760" y="2077"/>
                  </a:lnTo>
                  <a:lnTo>
                    <a:pt x="772" y="2081"/>
                  </a:lnTo>
                  <a:lnTo>
                    <a:pt x="784" y="2085"/>
                  </a:lnTo>
                  <a:lnTo>
                    <a:pt x="793" y="2091"/>
                  </a:lnTo>
                  <a:lnTo>
                    <a:pt x="828" y="2112"/>
                  </a:lnTo>
                  <a:lnTo>
                    <a:pt x="911" y="2187"/>
                  </a:lnTo>
                  <a:lnTo>
                    <a:pt x="930" y="2206"/>
                  </a:lnTo>
                  <a:lnTo>
                    <a:pt x="949" y="2229"/>
                  </a:lnTo>
                  <a:lnTo>
                    <a:pt x="968" y="2254"/>
                  </a:lnTo>
                  <a:lnTo>
                    <a:pt x="988" y="2280"/>
                  </a:lnTo>
                  <a:lnTo>
                    <a:pt x="1007" y="2305"/>
                  </a:lnTo>
                  <a:lnTo>
                    <a:pt x="1028" y="2327"/>
                  </a:lnTo>
                  <a:lnTo>
                    <a:pt x="1039" y="2336"/>
                  </a:lnTo>
                  <a:lnTo>
                    <a:pt x="1049" y="2345"/>
                  </a:lnTo>
                  <a:lnTo>
                    <a:pt x="1060" y="2353"/>
                  </a:lnTo>
                  <a:lnTo>
                    <a:pt x="1072" y="2358"/>
                  </a:lnTo>
                  <a:lnTo>
                    <a:pt x="1086" y="2363"/>
                  </a:lnTo>
                  <a:lnTo>
                    <a:pt x="1102" y="2369"/>
                  </a:lnTo>
                  <a:lnTo>
                    <a:pt x="1119" y="2371"/>
                  </a:lnTo>
                  <a:lnTo>
                    <a:pt x="1136" y="2373"/>
                  </a:lnTo>
                  <a:lnTo>
                    <a:pt x="1171" y="2374"/>
                  </a:lnTo>
                  <a:lnTo>
                    <a:pt x="1208" y="2374"/>
                  </a:lnTo>
                  <a:lnTo>
                    <a:pt x="1244" y="2371"/>
                  </a:lnTo>
                  <a:lnTo>
                    <a:pt x="1281" y="2371"/>
                  </a:lnTo>
                  <a:lnTo>
                    <a:pt x="1299" y="2371"/>
                  </a:lnTo>
                  <a:lnTo>
                    <a:pt x="1316" y="2371"/>
                  </a:lnTo>
                  <a:lnTo>
                    <a:pt x="1333" y="2373"/>
                  </a:lnTo>
                  <a:lnTo>
                    <a:pt x="1350" y="2376"/>
                  </a:lnTo>
                  <a:lnTo>
                    <a:pt x="1391" y="2384"/>
                  </a:lnTo>
                  <a:lnTo>
                    <a:pt x="1435" y="2395"/>
                  </a:lnTo>
                  <a:lnTo>
                    <a:pt x="1457" y="2399"/>
                  </a:lnTo>
                  <a:lnTo>
                    <a:pt x="1478" y="2403"/>
                  </a:lnTo>
                  <a:lnTo>
                    <a:pt x="1499" y="2405"/>
                  </a:lnTo>
                  <a:lnTo>
                    <a:pt x="1518" y="2407"/>
                  </a:lnTo>
                  <a:lnTo>
                    <a:pt x="1536" y="2407"/>
                  </a:lnTo>
                  <a:lnTo>
                    <a:pt x="1550" y="2409"/>
                  </a:lnTo>
                  <a:lnTo>
                    <a:pt x="1562" y="2414"/>
                  </a:lnTo>
                  <a:lnTo>
                    <a:pt x="1571" y="2420"/>
                  </a:lnTo>
                  <a:lnTo>
                    <a:pt x="1578" y="2426"/>
                  </a:lnTo>
                  <a:lnTo>
                    <a:pt x="1583" y="2434"/>
                  </a:lnTo>
                  <a:lnTo>
                    <a:pt x="1586" y="2444"/>
                  </a:lnTo>
                  <a:lnTo>
                    <a:pt x="1587" y="2455"/>
                  </a:lnTo>
                  <a:lnTo>
                    <a:pt x="1587" y="2465"/>
                  </a:lnTo>
                  <a:lnTo>
                    <a:pt x="1586" y="2477"/>
                  </a:lnTo>
                  <a:lnTo>
                    <a:pt x="1583" y="2490"/>
                  </a:lnTo>
                  <a:lnTo>
                    <a:pt x="1580" y="2505"/>
                  </a:lnTo>
                  <a:lnTo>
                    <a:pt x="1575" y="2532"/>
                  </a:lnTo>
                  <a:lnTo>
                    <a:pt x="1570" y="2561"/>
                  </a:lnTo>
                  <a:lnTo>
                    <a:pt x="1569" y="2575"/>
                  </a:lnTo>
                  <a:lnTo>
                    <a:pt x="1569" y="2587"/>
                  </a:lnTo>
                  <a:lnTo>
                    <a:pt x="1570" y="2600"/>
                  </a:lnTo>
                  <a:lnTo>
                    <a:pt x="1571" y="2612"/>
                  </a:lnTo>
                  <a:lnTo>
                    <a:pt x="1576" y="2635"/>
                  </a:lnTo>
                  <a:lnTo>
                    <a:pt x="1580" y="2659"/>
                  </a:lnTo>
                  <a:lnTo>
                    <a:pt x="1584" y="2681"/>
                  </a:lnTo>
                  <a:lnTo>
                    <a:pt x="1586" y="2706"/>
                  </a:lnTo>
                  <a:lnTo>
                    <a:pt x="1586" y="2719"/>
                  </a:lnTo>
                  <a:lnTo>
                    <a:pt x="1583" y="2732"/>
                  </a:lnTo>
                  <a:lnTo>
                    <a:pt x="1580" y="2745"/>
                  </a:lnTo>
                  <a:lnTo>
                    <a:pt x="1576" y="2760"/>
                  </a:lnTo>
                  <a:lnTo>
                    <a:pt x="1571" y="2772"/>
                  </a:lnTo>
                  <a:lnTo>
                    <a:pt x="1565" y="2783"/>
                  </a:lnTo>
                  <a:lnTo>
                    <a:pt x="1558" y="2794"/>
                  </a:lnTo>
                  <a:lnTo>
                    <a:pt x="1550" y="2803"/>
                  </a:lnTo>
                  <a:lnTo>
                    <a:pt x="1542" y="2812"/>
                  </a:lnTo>
                  <a:lnTo>
                    <a:pt x="1533" y="2820"/>
                  </a:lnTo>
                  <a:lnTo>
                    <a:pt x="1524" y="2826"/>
                  </a:lnTo>
                  <a:lnTo>
                    <a:pt x="1514" y="2834"/>
                  </a:lnTo>
                  <a:lnTo>
                    <a:pt x="1472" y="2859"/>
                  </a:lnTo>
                  <a:lnTo>
                    <a:pt x="1429" y="2883"/>
                  </a:lnTo>
                  <a:lnTo>
                    <a:pt x="1414" y="2891"/>
                  </a:lnTo>
                  <a:lnTo>
                    <a:pt x="1401" y="2897"/>
                  </a:lnTo>
                  <a:lnTo>
                    <a:pt x="1392" y="2904"/>
                  </a:lnTo>
                  <a:lnTo>
                    <a:pt x="1385" y="2911"/>
                  </a:lnTo>
                  <a:lnTo>
                    <a:pt x="1384" y="2914"/>
                  </a:lnTo>
                  <a:lnTo>
                    <a:pt x="1384" y="2918"/>
                  </a:lnTo>
                  <a:lnTo>
                    <a:pt x="1385" y="2922"/>
                  </a:lnTo>
                  <a:lnTo>
                    <a:pt x="1388" y="2926"/>
                  </a:lnTo>
                  <a:lnTo>
                    <a:pt x="1392" y="2931"/>
                  </a:lnTo>
                  <a:lnTo>
                    <a:pt x="1397" y="2936"/>
                  </a:lnTo>
                  <a:lnTo>
                    <a:pt x="1404" y="2943"/>
                  </a:lnTo>
                  <a:lnTo>
                    <a:pt x="1413" y="2949"/>
                  </a:lnTo>
                  <a:lnTo>
                    <a:pt x="1431" y="2961"/>
                  </a:lnTo>
                  <a:lnTo>
                    <a:pt x="1450" y="2972"/>
                  </a:lnTo>
                  <a:lnTo>
                    <a:pt x="1460" y="2977"/>
                  </a:lnTo>
                  <a:lnTo>
                    <a:pt x="1470" y="2982"/>
                  </a:lnTo>
                  <a:lnTo>
                    <a:pt x="1481" y="2986"/>
                  </a:lnTo>
                  <a:lnTo>
                    <a:pt x="1491" y="2990"/>
                  </a:lnTo>
                  <a:lnTo>
                    <a:pt x="1502" y="2991"/>
                  </a:lnTo>
                  <a:lnTo>
                    <a:pt x="1512" y="2993"/>
                  </a:lnTo>
                  <a:lnTo>
                    <a:pt x="1523" y="2993"/>
                  </a:lnTo>
                  <a:lnTo>
                    <a:pt x="1535" y="2991"/>
                  </a:lnTo>
                  <a:lnTo>
                    <a:pt x="1545" y="2989"/>
                  </a:lnTo>
                  <a:lnTo>
                    <a:pt x="1555" y="2985"/>
                  </a:lnTo>
                  <a:lnTo>
                    <a:pt x="1566" y="2978"/>
                  </a:lnTo>
                  <a:lnTo>
                    <a:pt x="1576" y="2970"/>
                  </a:lnTo>
                  <a:lnTo>
                    <a:pt x="1587" y="2962"/>
                  </a:lnTo>
                  <a:lnTo>
                    <a:pt x="1597" y="2956"/>
                  </a:lnTo>
                  <a:lnTo>
                    <a:pt x="1609" y="2951"/>
                  </a:lnTo>
                  <a:lnTo>
                    <a:pt x="1622" y="2948"/>
                  </a:lnTo>
                  <a:lnTo>
                    <a:pt x="1635" y="2945"/>
                  </a:lnTo>
                  <a:lnTo>
                    <a:pt x="1648" y="2945"/>
                  </a:lnTo>
                  <a:lnTo>
                    <a:pt x="1661" y="2947"/>
                  </a:lnTo>
                  <a:lnTo>
                    <a:pt x="1674" y="2948"/>
                  </a:lnTo>
                  <a:lnTo>
                    <a:pt x="1688" y="2951"/>
                  </a:lnTo>
                  <a:lnTo>
                    <a:pt x="1701" y="2956"/>
                  </a:lnTo>
                  <a:lnTo>
                    <a:pt x="1712" y="2961"/>
                  </a:lnTo>
                  <a:lnTo>
                    <a:pt x="1723" y="2966"/>
                  </a:lnTo>
                  <a:lnTo>
                    <a:pt x="1733" y="2974"/>
                  </a:lnTo>
                  <a:lnTo>
                    <a:pt x="1744" y="2982"/>
                  </a:lnTo>
                  <a:lnTo>
                    <a:pt x="1752" y="2991"/>
                  </a:lnTo>
                  <a:lnTo>
                    <a:pt x="1758" y="3002"/>
                  </a:lnTo>
                  <a:lnTo>
                    <a:pt x="1767" y="3019"/>
                  </a:lnTo>
                  <a:lnTo>
                    <a:pt x="1777" y="3038"/>
                  </a:lnTo>
                  <a:lnTo>
                    <a:pt x="1787" y="3059"/>
                  </a:lnTo>
                  <a:lnTo>
                    <a:pt x="1796" y="3083"/>
                  </a:lnTo>
                  <a:lnTo>
                    <a:pt x="1804" y="3106"/>
                  </a:lnTo>
                  <a:lnTo>
                    <a:pt x="1811" y="3129"/>
                  </a:lnTo>
                  <a:lnTo>
                    <a:pt x="1816" y="3150"/>
                  </a:lnTo>
                  <a:lnTo>
                    <a:pt x="1817" y="3169"/>
                  </a:lnTo>
                  <a:lnTo>
                    <a:pt x="1816" y="3189"/>
                  </a:lnTo>
                  <a:lnTo>
                    <a:pt x="1812" y="3211"/>
                  </a:lnTo>
                  <a:lnTo>
                    <a:pt x="1807" y="3236"/>
                  </a:lnTo>
                  <a:lnTo>
                    <a:pt x="1801" y="3261"/>
                  </a:lnTo>
                  <a:lnTo>
                    <a:pt x="1797" y="3286"/>
                  </a:lnTo>
                  <a:lnTo>
                    <a:pt x="1795" y="3309"/>
                  </a:lnTo>
                  <a:lnTo>
                    <a:pt x="1795" y="3321"/>
                  </a:lnTo>
                  <a:lnTo>
                    <a:pt x="1796" y="3331"/>
                  </a:lnTo>
                  <a:lnTo>
                    <a:pt x="1797" y="3341"/>
                  </a:lnTo>
                  <a:lnTo>
                    <a:pt x="1800" y="3350"/>
                  </a:lnTo>
                  <a:lnTo>
                    <a:pt x="1804" y="3363"/>
                  </a:lnTo>
                  <a:lnTo>
                    <a:pt x="1807" y="3375"/>
                  </a:lnTo>
                  <a:lnTo>
                    <a:pt x="1807" y="3384"/>
                  </a:lnTo>
                  <a:lnTo>
                    <a:pt x="1807" y="3390"/>
                  </a:lnTo>
                  <a:lnTo>
                    <a:pt x="1804" y="3397"/>
                  </a:lnTo>
                  <a:lnTo>
                    <a:pt x="1800" y="3401"/>
                  </a:lnTo>
                  <a:lnTo>
                    <a:pt x="1795" y="3405"/>
                  </a:lnTo>
                  <a:lnTo>
                    <a:pt x="1791" y="3407"/>
                  </a:lnTo>
                  <a:lnTo>
                    <a:pt x="1779" y="3410"/>
                  </a:lnTo>
                  <a:lnTo>
                    <a:pt x="1769" y="3412"/>
                  </a:lnTo>
                  <a:lnTo>
                    <a:pt x="1765" y="3414"/>
                  </a:lnTo>
                  <a:lnTo>
                    <a:pt x="1762" y="3416"/>
                  </a:lnTo>
                  <a:lnTo>
                    <a:pt x="1760" y="3419"/>
                  </a:lnTo>
                  <a:lnTo>
                    <a:pt x="1758" y="3423"/>
                  </a:lnTo>
                  <a:lnTo>
                    <a:pt x="1760" y="3437"/>
                  </a:lnTo>
                  <a:lnTo>
                    <a:pt x="1762" y="3450"/>
                  </a:lnTo>
                  <a:lnTo>
                    <a:pt x="1766" y="3462"/>
                  </a:lnTo>
                  <a:lnTo>
                    <a:pt x="1770" y="3471"/>
                  </a:lnTo>
                  <a:lnTo>
                    <a:pt x="1777" y="3480"/>
                  </a:lnTo>
                  <a:lnTo>
                    <a:pt x="1783" y="3488"/>
                  </a:lnTo>
                  <a:lnTo>
                    <a:pt x="1790" y="3495"/>
                  </a:lnTo>
                  <a:lnTo>
                    <a:pt x="1796" y="3501"/>
                  </a:lnTo>
                  <a:lnTo>
                    <a:pt x="1809" y="3515"/>
                  </a:lnTo>
                  <a:lnTo>
                    <a:pt x="1821" y="3528"/>
                  </a:lnTo>
                  <a:lnTo>
                    <a:pt x="1825" y="3535"/>
                  </a:lnTo>
                  <a:lnTo>
                    <a:pt x="1829" y="3543"/>
                  </a:lnTo>
                  <a:lnTo>
                    <a:pt x="1830" y="3552"/>
                  </a:lnTo>
                  <a:lnTo>
                    <a:pt x="1830" y="3562"/>
                  </a:lnTo>
                  <a:lnTo>
                    <a:pt x="1825" y="3640"/>
                  </a:lnTo>
                  <a:lnTo>
                    <a:pt x="1864" y="3695"/>
                  </a:lnTo>
                  <a:lnTo>
                    <a:pt x="1872" y="3704"/>
                  </a:lnTo>
                  <a:lnTo>
                    <a:pt x="1877" y="3711"/>
                  </a:lnTo>
                  <a:lnTo>
                    <a:pt x="1882" y="3715"/>
                  </a:lnTo>
                  <a:lnTo>
                    <a:pt x="1886" y="3717"/>
                  </a:lnTo>
                  <a:lnTo>
                    <a:pt x="1890" y="3717"/>
                  </a:lnTo>
                  <a:lnTo>
                    <a:pt x="1893" y="3716"/>
                  </a:lnTo>
                  <a:lnTo>
                    <a:pt x="1896" y="3715"/>
                  </a:lnTo>
                  <a:lnTo>
                    <a:pt x="1899" y="3712"/>
                  </a:lnTo>
                  <a:lnTo>
                    <a:pt x="1907" y="3704"/>
                  </a:lnTo>
                  <a:lnTo>
                    <a:pt x="1916" y="3696"/>
                  </a:lnTo>
                  <a:lnTo>
                    <a:pt x="1923" y="3694"/>
                  </a:lnTo>
                  <a:lnTo>
                    <a:pt x="1931" y="3691"/>
                  </a:lnTo>
                  <a:lnTo>
                    <a:pt x="1940" y="3691"/>
                  </a:lnTo>
                  <a:lnTo>
                    <a:pt x="1952" y="3691"/>
                  </a:lnTo>
                  <a:lnTo>
                    <a:pt x="2033" y="3700"/>
                  </a:lnTo>
                  <a:lnTo>
                    <a:pt x="2046" y="3703"/>
                  </a:lnTo>
                  <a:lnTo>
                    <a:pt x="2055" y="3705"/>
                  </a:lnTo>
                  <a:lnTo>
                    <a:pt x="2062" y="3709"/>
                  </a:lnTo>
                  <a:lnTo>
                    <a:pt x="2068" y="3715"/>
                  </a:lnTo>
                  <a:lnTo>
                    <a:pt x="2073" y="3719"/>
                  </a:lnTo>
                  <a:lnTo>
                    <a:pt x="2079" y="3724"/>
                  </a:lnTo>
                  <a:lnTo>
                    <a:pt x="2087" y="3729"/>
                  </a:lnTo>
                  <a:lnTo>
                    <a:pt x="2098" y="3734"/>
                  </a:lnTo>
                  <a:lnTo>
                    <a:pt x="2105" y="3736"/>
                  </a:lnTo>
                  <a:lnTo>
                    <a:pt x="2114" y="3736"/>
                  </a:lnTo>
                  <a:lnTo>
                    <a:pt x="2126" y="3733"/>
                  </a:lnTo>
                  <a:lnTo>
                    <a:pt x="2138" y="3732"/>
                  </a:lnTo>
                  <a:lnTo>
                    <a:pt x="2162" y="3726"/>
                  </a:lnTo>
                  <a:lnTo>
                    <a:pt x="2183" y="3724"/>
                  </a:lnTo>
                  <a:lnTo>
                    <a:pt x="2195" y="3725"/>
                  </a:lnTo>
                  <a:lnTo>
                    <a:pt x="2208" y="3728"/>
                  </a:lnTo>
                  <a:lnTo>
                    <a:pt x="2224" y="3732"/>
                  </a:lnTo>
                  <a:lnTo>
                    <a:pt x="2240" y="3736"/>
                  </a:lnTo>
                  <a:lnTo>
                    <a:pt x="2257" y="3741"/>
                  </a:lnTo>
                  <a:lnTo>
                    <a:pt x="2275" y="3745"/>
                  </a:lnTo>
                  <a:lnTo>
                    <a:pt x="2293" y="3747"/>
                  </a:lnTo>
                  <a:lnTo>
                    <a:pt x="2310" y="3749"/>
                  </a:lnTo>
                  <a:lnTo>
                    <a:pt x="2331" y="3750"/>
                  </a:lnTo>
                  <a:lnTo>
                    <a:pt x="2357" y="3753"/>
                  </a:lnTo>
                  <a:lnTo>
                    <a:pt x="2386" y="3758"/>
                  </a:lnTo>
                  <a:lnTo>
                    <a:pt x="2415" y="3763"/>
                  </a:lnTo>
                  <a:lnTo>
                    <a:pt x="2445" y="3771"/>
                  </a:lnTo>
                  <a:lnTo>
                    <a:pt x="2472" y="3779"/>
                  </a:lnTo>
                  <a:lnTo>
                    <a:pt x="2496" y="3787"/>
                  </a:lnTo>
                  <a:lnTo>
                    <a:pt x="2516" y="3794"/>
                  </a:lnTo>
                  <a:lnTo>
                    <a:pt x="2527" y="3801"/>
                  </a:lnTo>
                  <a:lnTo>
                    <a:pt x="2536" y="3808"/>
                  </a:lnTo>
                  <a:lnTo>
                    <a:pt x="2544" y="3815"/>
                  </a:lnTo>
                  <a:lnTo>
                    <a:pt x="2552" y="3823"/>
                  </a:lnTo>
                  <a:lnTo>
                    <a:pt x="2567" y="3839"/>
                  </a:lnTo>
                  <a:lnTo>
                    <a:pt x="2584" y="3855"/>
                  </a:lnTo>
                  <a:lnTo>
                    <a:pt x="2590" y="3862"/>
                  </a:lnTo>
                  <a:lnTo>
                    <a:pt x="2597" y="3872"/>
                  </a:lnTo>
                  <a:lnTo>
                    <a:pt x="2601" y="3877"/>
                  </a:lnTo>
                  <a:lnTo>
                    <a:pt x="2604" y="3881"/>
                  </a:lnTo>
                  <a:lnTo>
                    <a:pt x="2608" y="3883"/>
                  </a:lnTo>
                  <a:lnTo>
                    <a:pt x="2612" y="3886"/>
                  </a:lnTo>
                  <a:lnTo>
                    <a:pt x="2619" y="3887"/>
                  </a:lnTo>
                  <a:lnTo>
                    <a:pt x="2621" y="3887"/>
                  </a:lnTo>
                  <a:lnTo>
                    <a:pt x="2625" y="3886"/>
                  </a:lnTo>
                  <a:lnTo>
                    <a:pt x="2629" y="3882"/>
                  </a:lnTo>
                  <a:lnTo>
                    <a:pt x="2638" y="3872"/>
                  </a:lnTo>
                  <a:lnTo>
                    <a:pt x="2644" y="3862"/>
                  </a:lnTo>
                  <a:lnTo>
                    <a:pt x="2659" y="3852"/>
                  </a:lnTo>
                  <a:lnTo>
                    <a:pt x="2682" y="3834"/>
                  </a:lnTo>
                  <a:lnTo>
                    <a:pt x="2692" y="3825"/>
                  </a:lnTo>
                  <a:lnTo>
                    <a:pt x="2700" y="3814"/>
                  </a:lnTo>
                  <a:lnTo>
                    <a:pt x="2704" y="3810"/>
                  </a:lnTo>
                  <a:lnTo>
                    <a:pt x="2707" y="3806"/>
                  </a:lnTo>
                  <a:lnTo>
                    <a:pt x="2708" y="3801"/>
                  </a:lnTo>
                  <a:lnTo>
                    <a:pt x="2708" y="3797"/>
                  </a:lnTo>
                  <a:lnTo>
                    <a:pt x="2707" y="3763"/>
                  </a:lnTo>
                  <a:lnTo>
                    <a:pt x="2708" y="3733"/>
                  </a:lnTo>
                  <a:lnTo>
                    <a:pt x="2709" y="3726"/>
                  </a:lnTo>
                  <a:lnTo>
                    <a:pt x="2712" y="3720"/>
                  </a:lnTo>
                  <a:lnTo>
                    <a:pt x="2714" y="3713"/>
                  </a:lnTo>
                  <a:lnTo>
                    <a:pt x="2720" y="3707"/>
                  </a:lnTo>
                  <a:lnTo>
                    <a:pt x="2725" y="3702"/>
                  </a:lnTo>
                  <a:lnTo>
                    <a:pt x="2733" y="3696"/>
                  </a:lnTo>
                  <a:lnTo>
                    <a:pt x="2741" y="3691"/>
                  </a:lnTo>
                  <a:lnTo>
                    <a:pt x="2751" y="3687"/>
                  </a:lnTo>
                  <a:lnTo>
                    <a:pt x="2759" y="3683"/>
                  </a:lnTo>
                  <a:lnTo>
                    <a:pt x="2764" y="3679"/>
                  </a:lnTo>
                  <a:lnTo>
                    <a:pt x="2768" y="3675"/>
                  </a:lnTo>
                  <a:lnTo>
                    <a:pt x="2769" y="3671"/>
                  </a:lnTo>
                  <a:lnTo>
                    <a:pt x="2769" y="3668"/>
                  </a:lnTo>
                  <a:lnTo>
                    <a:pt x="2768" y="3662"/>
                  </a:lnTo>
                  <a:lnTo>
                    <a:pt x="2765" y="3657"/>
                  </a:lnTo>
                  <a:lnTo>
                    <a:pt x="2763" y="3652"/>
                  </a:lnTo>
                  <a:lnTo>
                    <a:pt x="2755" y="3641"/>
                  </a:lnTo>
                  <a:lnTo>
                    <a:pt x="2748" y="3630"/>
                  </a:lnTo>
                  <a:lnTo>
                    <a:pt x="2747" y="3624"/>
                  </a:lnTo>
                  <a:lnTo>
                    <a:pt x="2746" y="3618"/>
                  </a:lnTo>
                  <a:lnTo>
                    <a:pt x="2746" y="3610"/>
                  </a:lnTo>
                  <a:lnTo>
                    <a:pt x="2747" y="3603"/>
                  </a:lnTo>
                  <a:lnTo>
                    <a:pt x="2756" y="3584"/>
                  </a:lnTo>
                  <a:lnTo>
                    <a:pt x="2765" y="3567"/>
                  </a:lnTo>
                  <a:lnTo>
                    <a:pt x="2776" y="3550"/>
                  </a:lnTo>
                  <a:lnTo>
                    <a:pt x="2786" y="3534"/>
                  </a:lnTo>
                  <a:lnTo>
                    <a:pt x="2795" y="3518"/>
                  </a:lnTo>
                  <a:lnTo>
                    <a:pt x="2806" y="3503"/>
                  </a:lnTo>
                  <a:lnTo>
                    <a:pt x="2815" y="3486"/>
                  </a:lnTo>
                  <a:lnTo>
                    <a:pt x="2823" y="3467"/>
                  </a:lnTo>
                  <a:lnTo>
                    <a:pt x="2828" y="3453"/>
                  </a:lnTo>
                  <a:lnTo>
                    <a:pt x="2833" y="3443"/>
                  </a:lnTo>
                  <a:lnTo>
                    <a:pt x="2839" y="3437"/>
                  </a:lnTo>
                  <a:lnTo>
                    <a:pt x="2844" y="3433"/>
                  </a:lnTo>
                  <a:lnTo>
                    <a:pt x="2857" y="3429"/>
                  </a:lnTo>
                  <a:lnTo>
                    <a:pt x="2878" y="3422"/>
                  </a:lnTo>
                  <a:lnTo>
                    <a:pt x="2884" y="3418"/>
                  </a:lnTo>
                  <a:lnTo>
                    <a:pt x="2888" y="3415"/>
                  </a:lnTo>
                  <a:lnTo>
                    <a:pt x="2892" y="3411"/>
                  </a:lnTo>
                  <a:lnTo>
                    <a:pt x="2895" y="3407"/>
                  </a:lnTo>
                  <a:lnTo>
                    <a:pt x="2897" y="3399"/>
                  </a:lnTo>
                  <a:lnTo>
                    <a:pt x="2899" y="3392"/>
                  </a:lnTo>
                  <a:lnTo>
                    <a:pt x="2899" y="3382"/>
                  </a:lnTo>
                  <a:lnTo>
                    <a:pt x="2899" y="3371"/>
                  </a:lnTo>
                  <a:lnTo>
                    <a:pt x="2899" y="3359"/>
                  </a:lnTo>
                  <a:lnTo>
                    <a:pt x="2901" y="3346"/>
                  </a:lnTo>
                  <a:lnTo>
                    <a:pt x="2905" y="3329"/>
                  </a:lnTo>
                  <a:lnTo>
                    <a:pt x="2908" y="3326"/>
                  </a:lnTo>
                  <a:lnTo>
                    <a:pt x="2911" y="3325"/>
                  </a:lnTo>
                  <a:lnTo>
                    <a:pt x="2916" y="3316"/>
                  </a:lnTo>
                  <a:lnTo>
                    <a:pt x="2922" y="3308"/>
                  </a:lnTo>
                  <a:lnTo>
                    <a:pt x="2929" y="3304"/>
                  </a:lnTo>
                  <a:lnTo>
                    <a:pt x="2935" y="3301"/>
                  </a:lnTo>
                  <a:lnTo>
                    <a:pt x="2943" y="3300"/>
                  </a:lnTo>
                  <a:lnTo>
                    <a:pt x="2952" y="3299"/>
                  </a:lnTo>
                  <a:lnTo>
                    <a:pt x="2965" y="3299"/>
                  </a:lnTo>
                  <a:lnTo>
                    <a:pt x="2979" y="3300"/>
                  </a:lnTo>
                  <a:lnTo>
                    <a:pt x="2992" y="3301"/>
                  </a:lnTo>
                  <a:lnTo>
                    <a:pt x="3005" y="3301"/>
                  </a:lnTo>
                  <a:lnTo>
                    <a:pt x="3009" y="3301"/>
                  </a:lnTo>
                  <a:lnTo>
                    <a:pt x="3011" y="3300"/>
                  </a:lnTo>
                  <a:lnTo>
                    <a:pt x="3011" y="3299"/>
                  </a:lnTo>
                  <a:lnTo>
                    <a:pt x="3011" y="3296"/>
                  </a:lnTo>
                  <a:lnTo>
                    <a:pt x="3011" y="3291"/>
                  </a:lnTo>
                  <a:lnTo>
                    <a:pt x="3009" y="3287"/>
                  </a:lnTo>
                  <a:lnTo>
                    <a:pt x="3005" y="3282"/>
                  </a:lnTo>
                  <a:lnTo>
                    <a:pt x="3002" y="3279"/>
                  </a:lnTo>
                  <a:lnTo>
                    <a:pt x="3001" y="3276"/>
                  </a:lnTo>
                  <a:lnTo>
                    <a:pt x="2999" y="3275"/>
                  </a:lnTo>
                  <a:lnTo>
                    <a:pt x="2999" y="3274"/>
                  </a:lnTo>
                  <a:lnTo>
                    <a:pt x="2998" y="3273"/>
                  </a:lnTo>
                  <a:lnTo>
                    <a:pt x="2998" y="3273"/>
                  </a:lnTo>
                  <a:lnTo>
                    <a:pt x="2997" y="3271"/>
                  </a:lnTo>
                  <a:lnTo>
                    <a:pt x="2996" y="3270"/>
                  </a:lnTo>
                  <a:lnTo>
                    <a:pt x="2996" y="3270"/>
                  </a:lnTo>
                  <a:lnTo>
                    <a:pt x="2993" y="3269"/>
                  </a:lnTo>
                  <a:lnTo>
                    <a:pt x="2992" y="3267"/>
                  </a:lnTo>
                  <a:lnTo>
                    <a:pt x="2990" y="3265"/>
                  </a:lnTo>
                  <a:lnTo>
                    <a:pt x="2989" y="3262"/>
                  </a:lnTo>
                  <a:lnTo>
                    <a:pt x="2988" y="3261"/>
                  </a:lnTo>
                  <a:lnTo>
                    <a:pt x="2988" y="3261"/>
                  </a:lnTo>
                  <a:lnTo>
                    <a:pt x="2984" y="3256"/>
                  </a:lnTo>
                  <a:lnTo>
                    <a:pt x="2980" y="3250"/>
                  </a:lnTo>
                  <a:lnTo>
                    <a:pt x="2979" y="3248"/>
                  </a:lnTo>
                  <a:lnTo>
                    <a:pt x="2976" y="3246"/>
                  </a:lnTo>
                  <a:lnTo>
                    <a:pt x="2963" y="3227"/>
                  </a:lnTo>
                  <a:lnTo>
                    <a:pt x="2950" y="3207"/>
                  </a:lnTo>
                  <a:lnTo>
                    <a:pt x="2943" y="3202"/>
                  </a:lnTo>
                  <a:lnTo>
                    <a:pt x="2935" y="3195"/>
                  </a:lnTo>
                  <a:lnTo>
                    <a:pt x="2928" y="3186"/>
                  </a:lnTo>
                  <a:lnTo>
                    <a:pt x="2922" y="3178"/>
                  </a:lnTo>
                  <a:lnTo>
                    <a:pt x="2911" y="3163"/>
                  </a:lnTo>
                  <a:lnTo>
                    <a:pt x="2900" y="3147"/>
                  </a:lnTo>
                  <a:lnTo>
                    <a:pt x="2844" y="3032"/>
                  </a:lnTo>
                  <a:lnTo>
                    <a:pt x="2839" y="3021"/>
                  </a:lnTo>
                  <a:lnTo>
                    <a:pt x="2835" y="3012"/>
                  </a:lnTo>
                  <a:lnTo>
                    <a:pt x="2832" y="3000"/>
                  </a:lnTo>
                  <a:lnTo>
                    <a:pt x="2827" y="2989"/>
                  </a:lnTo>
                  <a:lnTo>
                    <a:pt x="2820" y="2976"/>
                  </a:lnTo>
                  <a:lnTo>
                    <a:pt x="2816" y="2965"/>
                  </a:lnTo>
                  <a:lnTo>
                    <a:pt x="2815" y="2964"/>
                  </a:lnTo>
                  <a:lnTo>
                    <a:pt x="2814" y="2962"/>
                  </a:lnTo>
                  <a:lnTo>
                    <a:pt x="2812" y="2960"/>
                  </a:lnTo>
                  <a:lnTo>
                    <a:pt x="2810" y="2957"/>
                  </a:lnTo>
                  <a:lnTo>
                    <a:pt x="2807" y="2956"/>
                  </a:lnTo>
                  <a:lnTo>
                    <a:pt x="2805" y="2953"/>
                  </a:lnTo>
                  <a:lnTo>
                    <a:pt x="2805" y="2952"/>
                  </a:lnTo>
                  <a:lnTo>
                    <a:pt x="2805" y="2951"/>
                  </a:lnTo>
                  <a:lnTo>
                    <a:pt x="2802" y="2951"/>
                  </a:lnTo>
                  <a:lnTo>
                    <a:pt x="2802" y="2949"/>
                  </a:lnTo>
                  <a:lnTo>
                    <a:pt x="2799" y="2947"/>
                  </a:lnTo>
                  <a:lnTo>
                    <a:pt x="2797" y="2944"/>
                  </a:lnTo>
                  <a:lnTo>
                    <a:pt x="2797" y="2943"/>
                  </a:lnTo>
                  <a:lnTo>
                    <a:pt x="2797" y="2942"/>
                  </a:lnTo>
                  <a:lnTo>
                    <a:pt x="2795" y="2940"/>
                  </a:lnTo>
                  <a:lnTo>
                    <a:pt x="2794" y="2939"/>
                  </a:lnTo>
                  <a:lnTo>
                    <a:pt x="2794" y="2939"/>
                  </a:lnTo>
                  <a:lnTo>
                    <a:pt x="2793" y="2938"/>
                  </a:lnTo>
                  <a:lnTo>
                    <a:pt x="2793" y="2936"/>
                  </a:lnTo>
                  <a:lnTo>
                    <a:pt x="2792" y="2936"/>
                  </a:lnTo>
                  <a:lnTo>
                    <a:pt x="2790" y="2935"/>
                  </a:lnTo>
                  <a:lnTo>
                    <a:pt x="2790" y="2935"/>
                  </a:lnTo>
                  <a:lnTo>
                    <a:pt x="2788" y="2932"/>
                  </a:lnTo>
                  <a:lnTo>
                    <a:pt x="2785" y="2932"/>
                  </a:lnTo>
                  <a:lnTo>
                    <a:pt x="2785" y="2931"/>
                  </a:lnTo>
                  <a:lnTo>
                    <a:pt x="2785" y="2930"/>
                  </a:lnTo>
                  <a:lnTo>
                    <a:pt x="2784" y="2928"/>
                  </a:lnTo>
                  <a:lnTo>
                    <a:pt x="2782" y="2927"/>
                  </a:lnTo>
                  <a:lnTo>
                    <a:pt x="2781" y="2926"/>
                  </a:lnTo>
                  <a:lnTo>
                    <a:pt x="2778" y="2925"/>
                  </a:lnTo>
                  <a:lnTo>
                    <a:pt x="2777" y="2922"/>
                  </a:lnTo>
                  <a:lnTo>
                    <a:pt x="2776" y="2919"/>
                  </a:lnTo>
                  <a:lnTo>
                    <a:pt x="2772" y="2917"/>
                  </a:lnTo>
                  <a:lnTo>
                    <a:pt x="2767" y="2915"/>
                  </a:lnTo>
                  <a:lnTo>
                    <a:pt x="2763" y="2911"/>
                  </a:lnTo>
                  <a:lnTo>
                    <a:pt x="2759" y="2908"/>
                  </a:lnTo>
                  <a:lnTo>
                    <a:pt x="2739" y="2846"/>
                  </a:lnTo>
                  <a:lnTo>
                    <a:pt x="2721" y="2812"/>
                  </a:lnTo>
                  <a:lnTo>
                    <a:pt x="2717" y="2804"/>
                  </a:lnTo>
                  <a:lnTo>
                    <a:pt x="2714" y="2795"/>
                  </a:lnTo>
                  <a:lnTo>
                    <a:pt x="2713" y="2789"/>
                  </a:lnTo>
                  <a:lnTo>
                    <a:pt x="2713" y="2782"/>
                  </a:lnTo>
                  <a:lnTo>
                    <a:pt x="2716" y="2775"/>
                  </a:lnTo>
                  <a:lnTo>
                    <a:pt x="2718" y="2770"/>
                  </a:lnTo>
                  <a:lnTo>
                    <a:pt x="2721" y="2765"/>
                  </a:lnTo>
                  <a:lnTo>
                    <a:pt x="2725" y="2760"/>
                  </a:lnTo>
                  <a:lnTo>
                    <a:pt x="2735" y="2751"/>
                  </a:lnTo>
                  <a:lnTo>
                    <a:pt x="2746" y="2744"/>
                  </a:lnTo>
                  <a:lnTo>
                    <a:pt x="2758" y="2738"/>
                  </a:lnTo>
                  <a:lnTo>
                    <a:pt x="2768" y="2731"/>
                  </a:lnTo>
                  <a:lnTo>
                    <a:pt x="2786" y="2719"/>
                  </a:lnTo>
                  <a:lnTo>
                    <a:pt x="2806" y="2707"/>
                  </a:lnTo>
                  <a:lnTo>
                    <a:pt x="2826" y="2693"/>
                  </a:lnTo>
                  <a:lnTo>
                    <a:pt x="2844" y="2679"/>
                  </a:lnTo>
                  <a:lnTo>
                    <a:pt x="2861" y="2663"/>
                  </a:lnTo>
                  <a:lnTo>
                    <a:pt x="2875" y="2645"/>
                  </a:lnTo>
                  <a:lnTo>
                    <a:pt x="2882" y="2635"/>
                  </a:lnTo>
                  <a:lnTo>
                    <a:pt x="2888" y="2625"/>
                  </a:lnTo>
                  <a:lnTo>
                    <a:pt x="2892" y="2616"/>
                  </a:lnTo>
                  <a:lnTo>
                    <a:pt x="2896" y="2604"/>
                  </a:lnTo>
                  <a:lnTo>
                    <a:pt x="2901" y="2590"/>
                  </a:lnTo>
                  <a:lnTo>
                    <a:pt x="2904" y="2574"/>
                  </a:lnTo>
                  <a:lnTo>
                    <a:pt x="2905" y="2558"/>
                  </a:lnTo>
                  <a:lnTo>
                    <a:pt x="2907" y="2544"/>
                  </a:lnTo>
                  <a:lnTo>
                    <a:pt x="2905" y="2528"/>
                  </a:lnTo>
                  <a:lnTo>
                    <a:pt x="2905" y="2513"/>
                  </a:lnTo>
                  <a:lnTo>
                    <a:pt x="2903" y="2498"/>
                  </a:lnTo>
                  <a:lnTo>
                    <a:pt x="2900" y="2482"/>
                  </a:lnTo>
                  <a:lnTo>
                    <a:pt x="2895" y="2452"/>
                  </a:lnTo>
                  <a:lnTo>
                    <a:pt x="2887" y="2424"/>
                  </a:lnTo>
                  <a:lnTo>
                    <a:pt x="2879" y="2393"/>
                  </a:lnTo>
                  <a:lnTo>
                    <a:pt x="2873" y="2365"/>
                  </a:lnTo>
                  <a:lnTo>
                    <a:pt x="2870" y="2356"/>
                  </a:lnTo>
                  <a:lnTo>
                    <a:pt x="2866" y="2346"/>
                  </a:lnTo>
                  <a:lnTo>
                    <a:pt x="2862" y="2337"/>
                  </a:lnTo>
                  <a:lnTo>
                    <a:pt x="2857" y="2327"/>
                  </a:lnTo>
                  <a:lnTo>
                    <a:pt x="2845" y="2308"/>
                  </a:lnTo>
                  <a:lnTo>
                    <a:pt x="2833" y="2289"/>
                  </a:lnTo>
                  <a:lnTo>
                    <a:pt x="2822" y="2269"/>
                  </a:lnTo>
                  <a:lnTo>
                    <a:pt x="2812" y="2250"/>
                  </a:lnTo>
                  <a:lnTo>
                    <a:pt x="2807" y="2240"/>
                  </a:lnTo>
                  <a:lnTo>
                    <a:pt x="2805" y="2231"/>
                  </a:lnTo>
                  <a:lnTo>
                    <a:pt x="2802" y="2221"/>
                  </a:lnTo>
                  <a:lnTo>
                    <a:pt x="2801" y="2212"/>
                  </a:lnTo>
                  <a:lnTo>
                    <a:pt x="2797" y="2180"/>
                  </a:lnTo>
                  <a:lnTo>
                    <a:pt x="2793" y="2146"/>
                  </a:lnTo>
                  <a:lnTo>
                    <a:pt x="2788" y="2112"/>
                  </a:lnTo>
                  <a:lnTo>
                    <a:pt x="2784" y="2080"/>
                  </a:lnTo>
                  <a:lnTo>
                    <a:pt x="2782" y="2055"/>
                  </a:lnTo>
                  <a:lnTo>
                    <a:pt x="2784" y="2031"/>
                  </a:lnTo>
                  <a:lnTo>
                    <a:pt x="2788" y="2009"/>
                  </a:lnTo>
                  <a:lnTo>
                    <a:pt x="2793" y="1988"/>
                  </a:lnTo>
                  <a:lnTo>
                    <a:pt x="2805" y="1947"/>
                  </a:lnTo>
                  <a:lnTo>
                    <a:pt x="2816" y="1903"/>
                  </a:lnTo>
                  <a:lnTo>
                    <a:pt x="2823" y="1878"/>
                  </a:lnTo>
                  <a:lnTo>
                    <a:pt x="2831" y="1856"/>
                  </a:lnTo>
                  <a:lnTo>
                    <a:pt x="2839" y="1834"/>
                  </a:lnTo>
                  <a:lnTo>
                    <a:pt x="2849" y="1813"/>
                  </a:lnTo>
                  <a:lnTo>
                    <a:pt x="2867" y="1772"/>
                  </a:lnTo>
                  <a:lnTo>
                    <a:pt x="2887" y="1729"/>
                  </a:lnTo>
                  <a:lnTo>
                    <a:pt x="2896" y="1703"/>
                  </a:lnTo>
                  <a:lnTo>
                    <a:pt x="2908" y="1674"/>
                  </a:lnTo>
                  <a:lnTo>
                    <a:pt x="2920" y="1647"/>
                  </a:lnTo>
                  <a:lnTo>
                    <a:pt x="2931" y="1620"/>
                  </a:lnTo>
                  <a:lnTo>
                    <a:pt x="2952" y="1567"/>
                  </a:lnTo>
                  <a:lnTo>
                    <a:pt x="2984" y="1514"/>
                  </a:lnTo>
                  <a:lnTo>
                    <a:pt x="2985" y="1514"/>
                  </a:lnTo>
                  <a:lnTo>
                    <a:pt x="2986" y="1513"/>
                  </a:lnTo>
                  <a:lnTo>
                    <a:pt x="2986" y="1512"/>
                  </a:lnTo>
                  <a:lnTo>
                    <a:pt x="2988" y="1511"/>
                  </a:lnTo>
                  <a:lnTo>
                    <a:pt x="2989" y="1511"/>
                  </a:lnTo>
                  <a:lnTo>
                    <a:pt x="2990" y="1511"/>
                  </a:lnTo>
                  <a:lnTo>
                    <a:pt x="2992" y="1508"/>
                  </a:lnTo>
                  <a:lnTo>
                    <a:pt x="2994" y="1507"/>
                  </a:lnTo>
                  <a:lnTo>
                    <a:pt x="2996" y="1505"/>
                  </a:lnTo>
                  <a:lnTo>
                    <a:pt x="2997" y="1505"/>
                  </a:lnTo>
                  <a:lnTo>
                    <a:pt x="2998" y="1505"/>
                  </a:lnTo>
                  <a:lnTo>
                    <a:pt x="3001" y="1504"/>
                  </a:lnTo>
                  <a:lnTo>
                    <a:pt x="3003" y="1501"/>
                  </a:lnTo>
                  <a:lnTo>
                    <a:pt x="3006" y="1499"/>
                  </a:lnTo>
                  <a:lnTo>
                    <a:pt x="3009" y="1496"/>
                  </a:lnTo>
                  <a:lnTo>
                    <a:pt x="3014" y="1494"/>
                  </a:lnTo>
                  <a:lnTo>
                    <a:pt x="3019" y="1488"/>
                  </a:lnTo>
                  <a:lnTo>
                    <a:pt x="3024" y="1480"/>
                  </a:lnTo>
                  <a:lnTo>
                    <a:pt x="3031" y="1473"/>
                  </a:lnTo>
                  <a:lnTo>
                    <a:pt x="3040" y="1456"/>
                  </a:lnTo>
                  <a:lnTo>
                    <a:pt x="3045" y="1444"/>
                  </a:lnTo>
                  <a:lnTo>
                    <a:pt x="3049" y="1433"/>
                  </a:lnTo>
                  <a:lnTo>
                    <a:pt x="3057" y="1415"/>
                  </a:lnTo>
                  <a:lnTo>
                    <a:pt x="3065" y="1398"/>
                  </a:lnTo>
                  <a:lnTo>
                    <a:pt x="3069" y="1390"/>
                  </a:lnTo>
                  <a:lnTo>
                    <a:pt x="3070" y="1385"/>
                  </a:lnTo>
                  <a:lnTo>
                    <a:pt x="3071" y="1380"/>
                  </a:lnTo>
                  <a:lnTo>
                    <a:pt x="3071" y="1378"/>
                  </a:lnTo>
                  <a:lnTo>
                    <a:pt x="3073" y="1377"/>
                  </a:lnTo>
                  <a:lnTo>
                    <a:pt x="3075" y="1372"/>
                  </a:lnTo>
                  <a:lnTo>
                    <a:pt x="3079" y="1365"/>
                  </a:lnTo>
                  <a:lnTo>
                    <a:pt x="3081" y="1364"/>
                  </a:lnTo>
                  <a:lnTo>
                    <a:pt x="3083" y="1361"/>
                  </a:lnTo>
                  <a:lnTo>
                    <a:pt x="3085" y="1360"/>
                  </a:lnTo>
                  <a:lnTo>
                    <a:pt x="3087" y="1359"/>
                  </a:lnTo>
                  <a:lnTo>
                    <a:pt x="3095" y="1350"/>
                  </a:lnTo>
                  <a:lnTo>
                    <a:pt x="3103" y="1340"/>
                  </a:lnTo>
                  <a:lnTo>
                    <a:pt x="3119" y="1331"/>
                  </a:lnTo>
                  <a:lnTo>
                    <a:pt x="3134" y="1323"/>
                  </a:lnTo>
                  <a:lnTo>
                    <a:pt x="3137" y="1321"/>
                  </a:lnTo>
                  <a:lnTo>
                    <a:pt x="3139" y="1321"/>
                  </a:lnTo>
                  <a:lnTo>
                    <a:pt x="3142" y="1321"/>
                  </a:lnTo>
                  <a:lnTo>
                    <a:pt x="3150" y="1314"/>
                  </a:lnTo>
                  <a:lnTo>
                    <a:pt x="3158" y="1309"/>
                  </a:lnTo>
                  <a:lnTo>
                    <a:pt x="3167" y="1301"/>
                  </a:lnTo>
                  <a:lnTo>
                    <a:pt x="3173" y="1295"/>
                  </a:lnTo>
                  <a:lnTo>
                    <a:pt x="3179" y="1286"/>
                  </a:lnTo>
                  <a:lnTo>
                    <a:pt x="3184" y="1278"/>
                  </a:lnTo>
                  <a:lnTo>
                    <a:pt x="3190" y="1258"/>
                  </a:lnTo>
                  <a:lnTo>
                    <a:pt x="3196" y="1238"/>
                  </a:lnTo>
                  <a:lnTo>
                    <a:pt x="3198" y="1218"/>
                  </a:lnTo>
                  <a:lnTo>
                    <a:pt x="3202" y="1197"/>
                  </a:lnTo>
                  <a:lnTo>
                    <a:pt x="3206" y="1177"/>
                  </a:lnTo>
                  <a:lnTo>
                    <a:pt x="3211" y="1159"/>
                  </a:lnTo>
                  <a:lnTo>
                    <a:pt x="3221" y="1136"/>
                  </a:lnTo>
                  <a:lnTo>
                    <a:pt x="3231" y="1118"/>
                  </a:lnTo>
                  <a:lnTo>
                    <a:pt x="3241" y="1102"/>
                  </a:lnTo>
                  <a:lnTo>
                    <a:pt x="3252" y="1088"/>
                  </a:lnTo>
                  <a:lnTo>
                    <a:pt x="3275" y="1058"/>
                  </a:lnTo>
                  <a:lnTo>
                    <a:pt x="3300" y="1024"/>
                  </a:lnTo>
                  <a:lnTo>
                    <a:pt x="3304" y="1017"/>
                  </a:lnTo>
                  <a:lnTo>
                    <a:pt x="3309" y="1011"/>
                  </a:lnTo>
                  <a:lnTo>
                    <a:pt x="3316" y="1006"/>
                  </a:lnTo>
                  <a:lnTo>
                    <a:pt x="3323" y="1000"/>
                  </a:lnTo>
                  <a:lnTo>
                    <a:pt x="3337" y="993"/>
                  </a:lnTo>
                  <a:lnTo>
                    <a:pt x="3353" y="986"/>
                  </a:lnTo>
                  <a:lnTo>
                    <a:pt x="3388" y="977"/>
                  </a:lnTo>
                  <a:lnTo>
                    <a:pt x="3423" y="969"/>
                  </a:lnTo>
                  <a:lnTo>
                    <a:pt x="3440" y="964"/>
                  </a:lnTo>
                  <a:lnTo>
                    <a:pt x="3457" y="959"/>
                  </a:lnTo>
                  <a:lnTo>
                    <a:pt x="3473" y="951"/>
                  </a:lnTo>
                  <a:lnTo>
                    <a:pt x="3487" y="942"/>
                  </a:lnTo>
                  <a:lnTo>
                    <a:pt x="3494" y="936"/>
                  </a:lnTo>
                  <a:lnTo>
                    <a:pt x="3499" y="930"/>
                  </a:lnTo>
                  <a:lnTo>
                    <a:pt x="3504" y="923"/>
                  </a:lnTo>
                  <a:lnTo>
                    <a:pt x="3510" y="915"/>
                  </a:lnTo>
                  <a:lnTo>
                    <a:pt x="3514" y="907"/>
                  </a:lnTo>
                  <a:lnTo>
                    <a:pt x="3516" y="897"/>
                  </a:lnTo>
                  <a:lnTo>
                    <a:pt x="3519" y="887"/>
                  </a:lnTo>
                  <a:lnTo>
                    <a:pt x="3521" y="876"/>
                  </a:lnTo>
                  <a:lnTo>
                    <a:pt x="3521" y="862"/>
                  </a:lnTo>
                  <a:lnTo>
                    <a:pt x="3521" y="851"/>
                  </a:lnTo>
                  <a:lnTo>
                    <a:pt x="3519" y="841"/>
                  </a:lnTo>
                  <a:lnTo>
                    <a:pt x="3515" y="832"/>
                  </a:lnTo>
                  <a:lnTo>
                    <a:pt x="3511" y="825"/>
                  </a:lnTo>
                  <a:lnTo>
                    <a:pt x="3504" y="819"/>
                  </a:lnTo>
                  <a:lnTo>
                    <a:pt x="3499" y="812"/>
                  </a:lnTo>
                  <a:lnTo>
                    <a:pt x="3491" y="807"/>
                  </a:lnTo>
                  <a:lnTo>
                    <a:pt x="3477" y="795"/>
                  </a:lnTo>
                  <a:lnTo>
                    <a:pt x="3463" y="783"/>
                  </a:lnTo>
                  <a:lnTo>
                    <a:pt x="3455" y="775"/>
                  </a:lnTo>
                  <a:lnTo>
                    <a:pt x="3448" y="768"/>
                  </a:lnTo>
                  <a:lnTo>
                    <a:pt x="3443" y="757"/>
                  </a:lnTo>
                  <a:lnTo>
                    <a:pt x="3438" y="747"/>
                  </a:lnTo>
                  <a:lnTo>
                    <a:pt x="3432" y="734"/>
                  </a:lnTo>
                  <a:lnTo>
                    <a:pt x="3427" y="720"/>
                  </a:lnTo>
                  <a:lnTo>
                    <a:pt x="3426" y="701"/>
                  </a:lnTo>
                  <a:lnTo>
                    <a:pt x="3423" y="672"/>
                  </a:lnTo>
                  <a:lnTo>
                    <a:pt x="3421" y="656"/>
                  </a:lnTo>
                  <a:lnTo>
                    <a:pt x="3419" y="643"/>
                  </a:lnTo>
                  <a:lnTo>
                    <a:pt x="3417" y="634"/>
                  </a:lnTo>
                  <a:lnTo>
                    <a:pt x="3413" y="629"/>
                  </a:lnTo>
                  <a:lnTo>
                    <a:pt x="3413" y="628"/>
                  </a:lnTo>
                  <a:lnTo>
                    <a:pt x="3413" y="626"/>
                  </a:lnTo>
                  <a:lnTo>
                    <a:pt x="3412" y="624"/>
                  </a:lnTo>
                  <a:lnTo>
                    <a:pt x="3410" y="620"/>
                  </a:lnTo>
                  <a:lnTo>
                    <a:pt x="3410" y="604"/>
                  </a:lnTo>
                  <a:lnTo>
                    <a:pt x="3409" y="590"/>
                  </a:lnTo>
                  <a:lnTo>
                    <a:pt x="3409" y="582"/>
                  </a:lnTo>
                  <a:lnTo>
                    <a:pt x="3409" y="574"/>
                  </a:lnTo>
                  <a:lnTo>
                    <a:pt x="3410" y="566"/>
                  </a:lnTo>
                  <a:lnTo>
                    <a:pt x="3413" y="558"/>
                  </a:lnTo>
                  <a:lnTo>
                    <a:pt x="3414" y="558"/>
                  </a:lnTo>
                  <a:lnTo>
                    <a:pt x="3414" y="557"/>
                  </a:lnTo>
                  <a:lnTo>
                    <a:pt x="3414" y="556"/>
                  </a:lnTo>
                  <a:lnTo>
                    <a:pt x="3414" y="554"/>
                  </a:lnTo>
                  <a:lnTo>
                    <a:pt x="3415" y="553"/>
                  </a:lnTo>
                  <a:lnTo>
                    <a:pt x="3417" y="553"/>
                  </a:lnTo>
                  <a:lnTo>
                    <a:pt x="3418" y="553"/>
                  </a:lnTo>
                  <a:lnTo>
                    <a:pt x="3427" y="536"/>
                  </a:lnTo>
                  <a:lnTo>
                    <a:pt x="3438" y="519"/>
                  </a:lnTo>
                  <a:lnTo>
                    <a:pt x="3442" y="515"/>
                  </a:lnTo>
                  <a:lnTo>
                    <a:pt x="3446" y="510"/>
                  </a:lnTo>
                  <a:lnTo>
                    <a:pt x="3447" y="509"/>
                  </a:lnTo>
                  <a:lnTo>
                    <a:pt x="3447" y="509"/>
                  </a:lnTo>
                  <a:lnTo>
                    <a:pt x="3448" y="507"/>
                  </a:lnTo>
                  <a:lnTo>
                    <a:pt x="3448" y="505"/>
                  </a:lnTo>
                  <a:lnTo>
                    <a:pt x="3452" y="498"/>
                  </a:lnTo>
                  <a:lnTo>
                    <a:pt x="3455" y="489"/>
                  </a:lnTo>
                  <a:lnTo>
                    <a:pt x="3455" y="484"/>
                  </a:lnTo>
                  <a:lnTo>
                    <a:pt x="3453" y="478"/>
                  </a:lnTo>
                  <a:lnTo>
                    <a:pt x="3452" y="475"/>
                  </a:lnTo>
                  <a:lnTo>
                    <a:pt x="3447" y="472"/>
                  </a:lnTo>
                  <a:lnTo>
                    <a:pt x="3446" y="471"/>
                  </a:lnTo>
                  <a:lnTo>
                    <a:pt x="3444" y="469"/>
                  </a:lnTo>
                  <a:lnTo>
                    <a:pt x="3444" y="468"/>
                  </a:lnTo>
                  <a:lnTo>
                    <a:pt x="3438" y="465"/>
                  </a:lnTo>
                  <a:lnTo>
                    <a:pt x="3432" y="463"/>
                  </a:lnTo>
                  <a:lnTo>
                    <a:pt x="3426" y="461"/>
                  </a:lnTo>
                  <a:lnTo>
                    <a:pt x="3421" y="460"/>
                  </a:lnTo>
                  <a:lnTo>
                    <a:pt x="3419" y="459"/>
                  </a:lnTo>
                  <a:lnTo>
                    <a:pt x="3418" y="459"/>
                  </a:lnTo>
                  <a:lnTo>
                    <a:pt x="3412" y="458"/>
                  </a:lnTo>
                  <a:lnTo>
                    <a:pt x="3406" y="455"/>
                  </a:lnTo>
                  <a:lnTo>
                    <a:pt x="3404" y="455"/>
                  </a:lnTo>
                  <a:lnTo>
                    <a:pt x="3402" y="455"/>
                  </a:lnTo>
                  <a:lnTo>
                    <a:pt x="3393" y="452"/>
                  </a:lnTo>
                  <a:lnTo>
                    <a:pt x="3385" y="450"/>
                  </a:lnTo>
                  <a:lnTo>
                    <a:pt x="3381" y="448"/>
                  </a:lnTo>
                  <a:lnTo>
                    <a:pt x="3378" y="448"/>
                  </a:lnTo>
                  <a:lnTo>
                    <a:pt x="3363" y="446"/>
                  </a:lnTo>
                  <a:lnTo>
                    <a:pt x="3341" y="443"/>
                  </a:lnTo>
                  <a:lnTo>
                    <a:pt x="3320" y="441"/>
                  </a:lnTo>
                  <a:lnTo>
                    <a:pt x="3309" y="438"/>
                  </a:lnTo>
                  <a:lnTo>
                    <a:pt x="3307" y="437"/>
                  </a:lnTo>
                  <a:lnTo>
                    <a:pt x="3304" y="437"/>
                  </a:lnTo>
                  <a:lnTo>
                    <a:pt x="3302" y="434"/>
                  </a:lnTo>
                  <a:lnTo>
                    <a:pt x="3299" y="433"/>
                  </a:lnTo>
                  <a:lnTo>
                    <a:pt x="3298" y="433"/>
                  </a:lnTo>
                  <a:lnTo>
                    <a:pt x="3296" y="433"/>
                  </a:lnTo>
                  <a:lnTo>
                    <a:pt x="3296" y="431"/>
                  </a:lnTo>
                  <a:lnTo>
                    <a:pt x="3295" y="430"/>
                  </a:lnTo>
                  <a:lnTo>
                    <a:pt x="3295" y="430"/>
                  </a:lnTo>
                  <a:lnTo>
                    <a:pt x="3294" y="430"/>
                  </a:lnTo>
                  <a:lnTo>
                    <a:pt x="3292" y="429"/>
                  </a:lnTo>
                  <a:lnTo>
                    <a:pt x="3290" y="427"/>
                  </a:lnTo>
                  <a:lnTo>
                    <a:pt x="3287" y="425"/>
                  </a:lnTo>
                  <a:lnTo>
                    <a:pt x="3285" y="424"/>
                  </a:lnTo>
                  <a:lnTo>
                    <a:pt x="3283" y="424"/>
                  </a:lnTo>
                  <a:lnTo>
                    <a:pt x="3281" y="424"/>
                  </a:lnTo>
                  <a:lnTo>
                    <a:pt x="3277" y="421"/>
                  </a:lnTo>
                  <a:lnTo>
                    <a:pt x="3273" y="420"/>
                  </a:lnTo>
                  <a:lnTo>
                    <a:pt x="3210" y="408"/>
                  </a:lnTo>
                  <a:lnTo>
                    <a:pt x="3210" y="408"/>
                  </a:lnTo>
                  <a:lnTo>
                    <a:pt x="3210" y="407"/>
                  </a:lnTo>
                  <a:lnTo>
                    <a:pt x="3209" y="405"/>
                  </a:lnTo>
                  <a:lnTo>
                    <a:pt x="3207" y="405"/>
                  </a:lnTo>
                  <a:lnTo>
                    <a:pt x="3206" y="405"/>
                  </a:lnTo>
                  <a:lnTo>
                    <a:pt x="3205" y="404"/>
                  </a:lnTo>
                  <a:lnTo>
                    <a:pt x="3205" y="403"/>
                  </a:lnTo>
                  <a:lnTo>
                    <a:pt x="3204" y="401"/>
                  </a:lnTo>
                  <a:lnTo>
                    <a:pt x="3204" y="400"/>
                  </a:lnTo>
                  <a:lnTo>
                    <a:pt x="3204" y="399"/>
                  </a:lnTo>
                  <a:lnTo>
                    <a:pt x="3201" y="393"/>
                  </a:lnTo>
                  <a:lnTo>
                    <a:pt x="3198" y="389"/>
                  </a:lnTo>
                  <a:lnTo>
                    <a:pt x="3198" y="387"/>
                  </a:lnTo>
                  <a:lnTo>
                    <a:pt x="3197" y="384"/>
                  </a:lnTo>
                  <a:lnTo>
                    <a:pt x="3197" y="383"/>
                  </a:lnTo>
                  <a:lnTo>
                    <a:pt x="3196" y="382"/>
                  </a:lnTo>
                  <a:lnTo>
                    <a:pt x="3194" y="374"/>
                  </a:lnTo>
                  <a:lnTo>
                    <a:pt x="3192" y="367"/>
                  </a:lnTo>
                  <a:lnTo>
                    <a:pt x="3190" y="365"/>
                  </a:lnTo>
                  <a:lnTo>
                    <a:pt x="3189" y="363"/>
                  </a:lnTo>
                  <a:lnTo>
                    <a:pt x="3189" y="362"/>
                  </a:lnTo>
                  <a:lnTo>
                    <a:pt x="3189" y="362"/>
                  </a:lnTo>
                  <a:lnTo>
                    <a:pt x="3188" y="358"/>
                  </a:lnTo>
                  <a:lnTo>
                    <a:pt x="3187" y="355"/>
                  </a:lnTo>
                  <a:lnTo>
                    <a:pt x="3185" y="353"/>
                  </a:lnTo>
                  <a:lnTo>
                    <a:pt x="3184" y="350"/>
                  </a:lnTo>
                  <a:lnTo>
                    <a:pt x="3184" y="348"/>
                  </a:lnTo>
                  <a:lnTo>
                    <a:pt x="3183" y="344"/>
                  </a:lnTo>
                  <a:lnTo>
                    <a:pt x="3180" y="338"/>
                  </a:lnTo>
                  <a:lnTo>
                    <a:pt x="3179" y="338"/>
                  </a:lnTo>
                  <a:lnTo>
                    <a:pt x="3177" y="336"/>
                  </a:lnTo>
                  <a:lnTo>
                    <a:pt x="3173" y="328"/>
                  </a:lnTo>
                  <a:lnTo>
                    <a:pt x="3170" y="320"/>
                  </a:lnTo>
                  <a:lnTo>
                    <a:pt x="3168" y="319"/>
                  </a:lnTo>
                  <a:lnTo>
                    <a:pt x="3168" y="319"/>
                  </a:lnTo>
                  <a:lnTo>
                    <a:pt x="3167" y="316"/>
                  </a:lnTo>
                  <a:lnTo>
                    <a:pt x="3166" y="315"/>
                  </a:lnTo>
                  <a:lnTo>
                    <a:pt x="3163" y="312"/>
                  </a:lnTo>
                  <a:lnTo>
                    <a:pt x="3160" y="310"/>
                  </a:lnTo>
                  <a:lnTo>
                    <a:pt x="3154" y="303"/>
                  </a:lnTo>
                  <a:lnTo>
                    <a:pt x="3149" y="295"/>
                  </a:lnTo>
                  <a:lnTo>
                    <a:pt x="3146" y="294"/>
                  </a:lnTo>
                  <a:lnTo>
                    <a:pt x="3145" y="291"/>
                  </a:lnTo>
                  <a:lnTo>
                    <a:pt x="3141" y="289"/>
                  </a:lnTo>
                  <a:lnTo>
                    <a:pt x="3139" y="286"/>
                  </a:lnTo>
                  <a:lnTo>
                    <a:pt x="3139" y="284"/>
                  </a:lnTo>
                  <a:lnTo>
                    <a:pt x="3138" y="281"/>
                  </a:lnTo>
                  <a:lnTo>
                    <a:pt x="3134" y="278"/>
                  </a:lnTo>
                  <a:lnTo>
                    <a:pt x="3133" y="276"/>
                  </a:lnTo>
                  <a:lnTo>
                    <a:pt x="3133" y="274"/>
                  </a:lnTo>
                  <a:lnTo>
                    <a:pt x="3130" y="272"/>
                  </a:lnTo>
                  <a:lnTo>
                    <a:pt x="3129" y="270"/>
                  </a:lnTo>
                  <a:lnTo>
                    <a:pt x="3128" y="269"/>
                  </a:lnTo>
                  <a:lnTo>
                    <a:pt x="3126" y="268"/>
                  </a:lnTo>
                  <a:lnTo>
                    <a:pt x="3125" y="268"/>
                  </a:lnTo>
                  <a:lnTo>
                    <a:pt x="3124" y="267"/>
                  </a:lnTo>
                  <a:lnTo>
                    <a:pt x="3122" y="265"/>
                  </a:lnTo>
                  <a:lnTo>
                    <a:pt x="3121" y="264"/>
                  </a:lnTo>
                  <a:lnTo>
                    <a:pt x="3121" y="264"/>
                  </a:lnTo>
                  <a:lnTo>
                    <a:pt x="3120" y="263"/>
                  </a:lnTo>
                  <a:lnTo>
                    <a:pt x="3119" y="263"/>
                  </a:lnTo>
                  <a:lnTo>
                    <a:pt x="3115" y="257"/>
                  </a:lnTo>
                  <a:lnTo>
                    <a:pt x="3111" y="253"/>
                  </a:lnTo>
                  <a:lnTo>
                    <a:pt x="3107" y="248"/>
                  </a:lnTo>
                  <a:lnTo>
                    <a:pt x="3102" y="244"/>
                  </a:lnTo>
                  <a:lnTo>
                    <a:pt x="3100" y="244"/>
                  </a:lnTo>
                  <a:lnTo>
                    <a:pt x="3100" y="243"/>
                  </a:lnTo>
                  <a:lnTo>
                    <a:pt x="3100" y="242"/>
                  </a:lnTo>
                  <a:lnTo>
                    <a:pt x="3099" y="240"/>
                  </a:lnTo>
                  <a:lnTo>
                    <a:pt x="3096" y="239"/>
                  </a:lnTo>
                  <a:lnTo>
                    <a:pt x="3096" y="238"/>
                  </a:lnTo>
                  <a:lnTo>
                    <a:pt x="3095" y="238"/>
                  </a:lnTo>
                  <a:lnTo>
                    <a:pt x="3090" y="233"/>
                  </a:lnTo>
                  <a:lnTo>
                    <a:pt x="3086" y="227"/>
                  </a:lnTo>
                  <a:lnTo>
                    <a:pt x="3071" y="204"/>
                  </a:lnTo>
                  <a:lnTo>
                    <a:pt x="3070" y="204"/>
                  </a:lnTo>
                  <a:lnTo>
                    <a:pt x="3069" y="202"/>
                  </a:lnTo>
                  <a:lnTo>
                    <a:pt x="3065" y="201"/>
                  </a:lnTo>
                  <a:lnTo>
                    <a:pt x="3064" y="200"/>
                  </a:lnTo>
                  <a:lnTo>
                    <a:pt x="3064" y="197"/>
                  </a:lnTo>
                  <a:lnTo>
                    <a:pt x="3062" y="196"/>
                  </a:lnTo>
                  <a:lnTo>
                    <a:pt x="3061" y="196"/>
                  </a:lnTo>
                  <a:lnTo>
                    <a:pt x="3060" y="195"/>
                  </a:lnTo>
                  <a:lnTo>
                    <a:pt x="3060" y="193"/>
                  </a:lnTo>
                  <a:lnTo>
                    <a:pt x="3060" y="191"/>
                  </a:lnTo>
                  <a:lnTo>
                    <a:pt x="3060" y="189"/>
                  </a:lnTo>
                  <a:lnTo>
                    <a:pt x="3058" y="189"/>
                  </a:lnTo>
                  <a:lnTo>
                    <a:pt x="3057" y="189"/>
                  </a:lnTo>
                  <a:lnTo>
                    <a:pt x="3056" y="188"/>
                  </a:lnTo>
                  <a:lnTo>
                    <a:pt x="3054" y="187"/>
                  </a:lnTo>
                  <a:lnTo>
                    <a:pt x="3052" y="187"/>
                  </a:lnTo>
                  <a:lnTo>
                    <a:pt x="3052" y="188"/>
                  </a:lnTo>
                  <a:lnTo>
                    <a:pt x="3052" y="189"/>
                  </a:lnTo>
                  <a:lnTo>
                    <a:pt x="3049" y="193"/>
                  </a:lnTo>
                  <a:lnTo>
                    <a:pt x="3047" y="199"/>
                  </a:lnTo>
                  <a:lnTo>
                    <a:pt x="3043" y="208"/>
                  </a:lnTo>
                  <a:lnTo>
                    <a:pt x="3040" y="216"/>
                  </a:lnTo>
                  <a:lnTo>
                    <a:pt x="3040" y="217"/>
                  </a:lnTo>
                  <a:lnTo>
                    <a:pt x="3037" y="223"/>
                  </a:lnTo>
                  <a:lnTo>
                    <a:pt x="3034" y="229"/>
                  </a:lnTo>
                  <a:lnTo>
                    <a:pt x="3032" y="230"/>
                  </a:lnTo>
                  <a:lnTo>
                    <a:pt x="3031" y="231"/>
                  </a:lnTo>
                  <a:lnTo>
                    <a:pt x="3030" y="234"/>
                  </a:lnTo>
                  <a:lnTo>
                    <a:pt x="3030" y="235"/>
                  </a:lnTo>
                  <a:lnTo>
                    <a:pt x="3030" y="236"/>
                  </a:lnTo>
                  <a:lnTo>
                    <a:pt x="3023" y="250"/>
                  </a:lnTo>
                  <a:lnTo>
                    <a:pt x="3014" y="261"/>
                  </a:lnTo>
                  <a:lnTo>
                    <a:pt x="3007" y="272"/>
                  </a:lnTo>
                  <a:lnTo>
                    <a:pt x="2996" y="282"/>
                  </a:lnTo>
                  <a:lnTo>
                    <a:pt x="2985" y="293"/>
                  </a:lnTo>
                  <a:lnTo>
                    <a:pt x="2979" y="302"/>
                  </a:lnTo>
                  <a:lnTo>
                    <a:pt x="2977" y="303"/>
                  </a:lnTo>
                  <a:lnTo>
                    <a:pt x="2976" y="303"/>
                  </a:lnTo>
                  <a:lnTo>
                    <a:pt x="2976" y="303"/>
                  </a:lnTo>
                  <a:lnTo>
                    <a:pt x="2975" y="304"/>
                  </a:lnTo>
                  <a:lnTo>
                    <a:pt x="2965" y="307"/>
                  </a:lnTo>
                  <a:lnTo>
                    <a:pt x="2956" y="310"/>
                  </a:lnTo>
                  <a:lnTo>
                    <a:pt x="2947" y="312"/>
                  </a:lnTo>
                  <a:lnTo>
                    <a:pt x="2939" y="315"/>
                  </a:lnTo>
                  <a:lnTo>
                    <a:pt x="2903" y="316"/>
                  </a:lnTo>
                  <a:lnTo>
                    <a:pt x="2845" y="318"/>
                  </a:lnTo>
                  <a:lnTo>
                    <a:pt x="2816" y="316"/>
                  </a:lnTo>
                  <a:lnTo>
                    <a:pt x="2790" y="315"/>
                  </a:lnTo>
                  <a:lnTo>
                    <a:pt x="2780" y="314"/>
                  </a:lnTo>
                  <a:lnTo>
                    <a:pt x="2772" y="311"/>
                  </a:lnTo>
                  <a:lnTo>
                    <a:pt x="2765" y="310"/>
                  </a:lnTo>
                  <a:lnTo>
                    <a:pt x="2763" y="306"/>
                  </a:lnTo>
                  <a:lnTo>
                    <a:pt x="2763" y="306"/>
                  </a:lnTo>
                  <a:lnTo>
                    <a:pt x="2761" y="306"/>
                  </a:lnTo>
                  <a:lnTo>
                    <a:pt x="2760" y="304"/>
                  </a:lnTo>
                  <a:lnTo>
                    <a:pt x="2759" y="303"/>
                  </a:lnTo>
                  <a:lnTo>
                    <a:pt x="2758" y="303"/>
                  </a:lnTo>
                  <a:lnTo>
                    <a:pt x="2748" y="294"/>
                  </a:lnTo>
                  <a:lnTo>
                    <a:pt x="2748" y="293"/>
                  </a:lnTo>
                  <a:lnTo>
                    <a:pt x="2747" y="289"/>
                  </a:lnTo>
                  <a:lnTo>
                    <a:pt x="2744" y="286"/>
                  </a:lnTo>
                  <a:lnTo>
                    <a:pt x="2743" y="284"/>
                  </a:lnTo>
                  <a:lnTo>
                    <a:pt x="2742" y="282"/>
                  </a:lnTo>
                  <a:lnTo>
                    <a:pt x="2733" y="263"/>
                  </a:lnTo>
                  <a:lnTo>
                    <a:pt x="2731" y="260"/>
                  </a:lnTo>
                  <a:lnTo>
                    <a:pt x="2731" y="257"/>
                  </a:lnTo>
                  <a:lnTo>
                    <a:pt x="2730" y="256"/>
                  </a:lnTo>
                  <a:lnTo>
                    <a:pt x="2730" y="255"/>
                  </a:lnTo>
                  <a:lnTo>
                    <a:pt x="2713" y="268"/>
                  </a:lnTo>
                  <a:lnTo>
                    <a:pt x="2703" y="278"/>
                  </a:lnTo>
                  <a:lnTo>
                    <a:pt x="2691" y="287"/>
                  </a:lnTo>
                  <a:lnTo>
                    <a:pt x="2686" y="289"/>
                  </a:lnTo>
                  <a:lnTo>
                    <a:pt x="2680" y="289"/>
                  </a:lnTo>
                  <a:lnTo>
                    <a:pt x="2676" y="289"/>
                  </a:lnTo>
                  <a:lnTo>
                    <a:pt x="2672" y="286"/>
                  </a:lnTo>
                  <a:lnTo>
                    <a:pt x="2665" y="282"/>
                  </a:lnTo>
                  <a:lnTo>
                    <a:pt x="2657" y="278"/>
                  </a:lnTo>
                  <a:lnTo>
                    <a:pt x="2650" y="273"/>
                  </a:lnTo>
                  <a:lnTo>
                    <a:pt x="2644" y="267"/>
                  </a:lnTo>
                  <a:lnTo>
                    <a:pt x="2637" y="257"/>
                  </a:lnTo>
                  <a:lnTo>
                    <a:pt x="2631" y="248"/>
                  </a:lnTo>
                  <a:lnTo>
                    <a:pt x="2625" y="238"/>
                  </a:lnTo>
                  <a:lnTo>
                    <a:pt x="2623" y="227"/>
                  </a:lnTo>
                  <a:lnTo>
                    <a:pt x="2621" y="217"/>
                  </a:lnTo>
                  <a:lnTo>
                    <a:pt x="2621" y="209"/>
                  </a:lnTo>
                  <a:lnTo>
                    <a:pt x="2628" y="182"/>
                  </a:lnTo>
                  <a:close/>
                  <a:moveTo>
                    <a:pt x="3296" y="574"/>
                  </a:moveTo>
                  <a:lnTo>
                    <a:pt x="3330" y="526"/>
                  </a:lnTo>
                  <a:lnTo>
                    <a:pt x="3330" y="524"/>
                  </a:lnTo>
                  <a:lnTo>
                    <a:pt x="3330" y="522"/>
                  </a:lnTo>
                  <a:lnTo>
                    <a:pt x="3329" y="520"/>
                  </a:lnTo>
                  <a:lnTo>
                    <a:pt x="3328" y="518"/>
                  </a:lnTo>
                  <a:lnTo>
                    <a:pt x="3323" y="512"/>
                  </a:lnTo>
                  <a:lnTo>
                    <a:pt x="3315" y="507"/>
                  </a:lnTo>
                  <a:lnTo>
                    <a:pt x="3294" y="494"/>
                  </a:lnTo>
                  <a:lnTo>
                    <a:pt x="3268" y="481"/>
                  </a:lnTo>
                  <a:lnTo>
                    <a:pt x="3215" y="456"/>
                  </a:lnTo>
                  <a:lnTo>
                    <a:pt x="3181" y="439"/>
                  </a:lnTo>
                  <a:lnTo>
                    <a:pt x="3162" y="430"/>
                  </a:lnTo>
                  <a:lnTo>
                    <a:pt x="3133" y="418"/>
                  </a:lnTo>
                  <a:lnTo>
                    <a:pt x="3098" y="405"/>
                  </a:lnTo>
                  <a:lnTo>
                    <a:pt x="3060" y="393"/>
                  </a:lnTo>
                  <a:lnTo>
                    <a:pt x="3041" y="389"/>
                  </a:lnTo>
                  <a:lnTo>
                    <a:pt x="3023" y="386"/>
                  </a:lnTo>
                  <a:lnTo>
                    <a:pt x="3005" y="383"/>
                  </a:lnTo>
                  <a:lnTo>
                    <a:pt x="2989" y="382"/>
                  </a:lnTo>
                  <a:lnTo>
                    <a:pt x="2973" y="382"/>
                  </a:lnTo>
                  <a:lnTo>
                    <a:pt x="2960" y="384"/>
                  </a:lnTo>
                  <a:lnTo>
                    <a:pt x="2955" y="386"/>
                  </a:lnTo>
                  <a:lnTo>
                    <a:pt x="2950" y="388"/>
                  </a:lnTo>
                  <a:lnTo>
                    <a:pt x="2946" y="392"/>
                  </a:lnTo>
                  <a:lnTo>
                    <a:pt x="2942" y="396"/>
                  </a:lnTo>
                  <a:lnTo>
                    <a:pt x="2939" y="401"/>
                  </a:lnTo>
                  <a:lnTo>
                    <a:pt x="2938" y="409"/>
                  </a:lnTo>
                  <a:lnTo>
                    <a:pt x="2938" y="417"/>
                  </a:lnTo>
                  <a:lnTo>
                    <a:pt x="2938" y="426"/>
                  </a:lnTo>
                  <a:lnTo>
                    <a:pt x="2939" y="435"/>
                  </a:lnTo>
                  <a:lnTo>
                    <a:pt x="2939" y="444"/>
                  </a:lnTo>
                  <a:lnTo>
                    <a:pt x="2939" y="452"/>
                  </a:lnTo>
                  <a:lnTo>
                    <a:pt x="2937" y="459"/>
                  </a:lnTo>
                  <a:lnTo>
                    <a:pt x="2934" y="463"/>
                  </a:lnTo>
                  <a:lnTo>
                    <a:pt x="2931" y="467"/>
                  </a:lnTo>
                  <a:lnTo>
                    <a:pt x="2926" y="469"/>
                  </a:lnTo>
                  <a:lnTo>
                    <a:pt x="2922" y="472"/>
                  </a:lnTo>
                  <a:lnTo>
                    <a:pt x="2912" y="477"/>
                  </a:lnTo>
                  <a:lnTo>
                    <a:pt x="2900" y="480"/>
                  </a:lnTo>
                  <a:lnTo>
                    <a:pt x="2888" y="482"/>
                  </a:lnTo>
                  <a:lnTo>
                    <a:pt x="2878" y="486"/>
                  </a:lnTo>
                  <a:lnTo>
                    <a:pt x="2873" y="489"/>
                  </a:lnTo>
                  <a:lnTo>
                    <a:pt x="2867" y="492"/>
                  </a:lnTo>
                  <a:lnTo>
                    <a:pt x="2863" y="494"/>
                  </a:lnTo>
                  <a:lnTo>
                    <a:pt x="2860" y="498"/>
                  </a:lnTo>
                  <a:lnTo>
                    <a:pt x="2850" y="507"/>
                  </a:lnTo>
                  <a:lnTo>
                    <a:pt x="2839" y="515"/>
                  </a:lnTo>
                  <a:lnTo>
                    <a:pt x="2827" y="523"/>
                  </a:lnTo>
                  <a:lnTo>
                    <a:pt x="2814" y="529"/>
                  </a:lnTo>
                  <a:lnTo>
                    <a:pt x="2785" y="540"/>
                  </a:lnTo>
                  <a:lnTo>
                    <a:pt x="2755" y="549"/>
                  </a:lnTo>
                  <a:lnTo>
                    <a:pt x="2730" y="557"/>
                  </a:lnTo>
                  <a:lnTo>
                    <a:pt x="2705" y="566"/>
                  </a:lnTo>
                  <a:lnTo>
                    <a:pt x="2692" y="569"/>
                  </a:lnTo>
                  <a:lnTo>
                    <a:pt x="2679" y="573"/>
                  </a:lnTo>
                  <a:lnTo>
                    <a:pt x="2666" y="574"/>
                  </a:lnTo>
                  <a:lnTo>
                    <a:pt x="2654" y="575"/>
                  </a:lnTo>
                  <a:lnTo>
                    <a:pt x="2619" y="575"/>
                  </a:lnTo>
                  <a:lnTo>
                    <a:pt x="2595" y="577"/>
                  </a:lnTo>
                  <a:lnTo>
                    <a:pt x="2587" y="578"/>
                  </a:lnTo>
                  <a:lnTo>
                    <a:pt x="2582" y="580"/>
                  </a:lnTo>
                  <a:lnTo>
                    <a:pt x="2577" y="583"/>
                  </a:lnTo>
                  <a:lnTo>
                    <a:pt x="2574" y="587"/>
                  </a:lnTo>
                  <a:lnTo>
                    <a:pt x="2572" y="597"/>
                  </a:lnTo>
                  <a:lnTo>
                    <a:pt x="2569" y="613"/>
                  </a:lnTo>
                  <a:lnTo>
                    <a:pt x="2568" y="624"/>
                  </a:lnTo>
                  <a:lnTo>
                    <a:pt x="2564" y="637"/>
                  </a:lnTo>
                  <a:lnTo>
                    <a:pt x="2560" y="650"/>
                  </a:lnTo>
                  <a:lnTo>
                    <a:pt x="2555" y="667"/>
                  </a:lnTo>
                  <a:lnTo>
                    <a:pt x="2548" y="685"/>
                  </a:lnTo>
                  <a:lnTo>
                    <a:pt x="2540" y="700"/>
                  </a:lnTo>
                  <a:lnTo>
                    <a:pt x="2534" y="710"/>
                  </a:lnTo>
                  <a:lnTo>
                    <a:pt x="2527" y="720"/>
                  </a:lnTo>
                  <a:lnTo>
                    <a:pt x="2518" y="728"/>
                  </a:lnTo>
                  <a:lnTo>
                    <a:pt x="2508" y="737"/>
                  </a:lnTo>
                  <a:lnTo>
                    <a:pt x="2493" y="747"/>
                  </a:lnTo>
                  <a:lnTo>
                    <a:pt x="2476" y="758"/>
                  </a:lnTo>
                  <a:lnTo>
                    <a:pt x="2462" y="766"/>
                  </a:lnTo>
                  <a:lnTo>
                    <a:pt x="2450" y="770"/>
                  </a:lnTo>
                  <a:lnTo>
                    <a:pt x="2438" y="773"/>
                  </a:lnTo>
                  <a:lnTo>
                    <a:pt x="2427" y="773"/>
                  </a:lnTo>
                  <a:lnTo>
                    <a:pt x="2415" y="771"/>
                  </a:lnTo>
                  <a:lnTo>
                    <a:pt x="2404" y="768"/>
                  </a:lnTo>
                  <a:lnTo>
                    <a:pt x="2394" y="765"/>
                  </a:lnTo>
                  <a:lnTo>
                    <a:pt x="2382" y="761"/>
                  </a:lnTo>
                  <a:lnTo>
                    <a:pt x="2370" y="757"/>
                  </a:lnTo>
                  <a:lnTo>
                    <a:pt x="2359" y="753"/>
                  </a:lnTo>
                  <a:lnTo>
                    <a:pt x="2347" y="751"/>
                  </a:lnTo>
                  <a:lnTo>
                    <a:pt x="2334" y="749"/>
                  </a:lnTo>
                  <a:lnTo>
                    <a:pt x="2319" y="749"/>
                  </a:lnTo>
                  <a:lnTo>
                    <a:pt x="2304" y="752"/>
                  </a:lnTo>
                  <a:lnTo>
                    <a:pt x="2288" y="757"/>
                  </a:lnTo>
                  <a:lnTo>
                    <a:pt x="2271" y="764"/>
                  </a:lnTo>
                  <a:lnTo>
                    <a:pt x="2258" y="770"/>
                  </a:lnTo>
                  <a:lnTo>
                    <a:pt x="2245" y="774"/>
                  </a:lnTo>
                  <a:lnTo>
                    <a:pt x="2230" y="777"/>
                  </a:lnTo>
                  <a:lnTo>
                    <a:pt x="2216" y="779"/>
                  </a:lnTo>
                  <a:lnTo>
                    <a:pt x="2202" y="781"/>
                  </a:lnTo>
                  <a:lnTo>
                    <a:pt x="2187" y="781"/>
                  </a:lnTo>
                  <a:lnTo>
                    <a:pt x="2173" y="781"/>
                  </a:lnTo>
                  <a:lnTo>
                    <a:pt x="2160" y="781"/>
                  </a:lnTo>
                  <a:lnTo>
                    <a:pt x="2148" y="781"/>
                  </a:lnTo>
                  <a:lnTo>
                    <a:pt x="2134" y="782"/>
                  </a:lnTo>
                  <a:lnTo>
                    <a:pt x="2119" y="783"/>
                  </a:lnTo>
                  <a:lnTo>
                    <a:pt x="2104" y="787"/>
                  </a:lnTo>
                  <a:lnTo>
                    <a:pt x="2073" y="795"/>
                  </a:lnTo>
                  <a:lnTo>
                    <a:pt x="2046" y="804"/>
                  </a:lnTo>
                  <a:lnTo>
                    <a:pt x="2035" y="808"/>
                  </a:lnTo>
                  <a:lnTo>
                    <a:pt x="2024" y="808"/>
                  </a:lnTo>
                  <a:lnTo>
                    <a:pt x="2011" y="807"/>
                  </a:lnTo>
                  <a:lnTo>
                    <a:pt x="1996" y="805"/>
                  </a:lnTo>
                  <a:lnTo>
                    <a:pt x="1964" y="798"/>
                  </a:lnTo>
                  <a:lnTo>
                    <a:pt x="1928" y="788"/>
                  </a:lnTo>
                  <a:lnTo>
                    <a:pt x="1910" y="783"/>
                  </a:lnTo>
                  <a:lnTo>
                    <a:pt x="1892" y="781"/>
                  </a:lnTo>
                  <a:lnTo>
                    <a:pt x="1873" y="778"/>
                  </a:lnTo>
                  <a:lnTo>
                    <a:pt x="1856" y="775"/>
                  </a:lnTo>
                  <a:lnTo>
                    <a:pt x="1839" y="777"/>
                  </a:lnTo>
                  <a:lnTo>
                    <a:pt x="1822" y="778"/>
                  </a:lnTo>
                  <a:lnTo>
                    <a:pt x="1814" y="781"/>
                  </a:lnTo>
                  <a:lnTo>
                    <a:pt x="1807" y="783"/>
                  </a:lnTo>
                  <a:lnTo>
                    <a:pt x="1799" y="786"/>
                  </a:lnTo>
                  <a:lnTo>
                    <a:pt x="1791" y="790"/>
                  </a:lnTo>
                  <a:lnTo>
                    <a:pt x="1783" y="796"/>
                  </a:lnTo>
                  <a:lnTo>
                    <a:pt x="1777" y="805"/>
                  </a:lnTo>
                  <a:lnTo>
                    <a:pt x="1771" y="815"/>
                  </a:lnTo>
                  <a:lnTo>
                    <a:pt x="1766" y="824"/>
                  </a:lnTo>
                  <a:lnTo>
                    <a:pt x="1761" y="833"/>
                  </a:lnTo>
                  <a:lnTo>
                    <a:pt x="1753" y="842"/>
                  </a:lnTo>
                  <a:lnTo>
                    <a:pt x="1749" y="847"/>
                  </a:lnTo>
                  <a:lnTo>
                    <a:pt x="1745" y="851"/>
                  </a:lnTo>
                  <a:lnTo>
                    <a:pt x="1740" y="854"/>
                  </a:lnTo>
                  <a:lnTo>
                    <a:pt x="1735" y="856"/>
                  </a:lnTo>
                  <a:lnTo>
                    <a:pt x="1714" y="866"/>
                  </a:lnTo>
                  <a:lnTo>
                    <a:pt x="1706" y="870"/>
                  </a:lnTo>
                  <a:lnTo>
                    <a:pt x="1706" y="879"/>
                  </a:lnTo>
                  <a:lnTo>
                    <a:pt x="1707" y="902"/>
                  </a:lnTo>
                  <a:lnTo>
                    <a:pt x="1705" y="915"/>
                  </a:lnTo>
                  <a:lnTo>
                    <a:pt x="1701" y="931"/>
                  </a:lnTo>
                  <a:lnTo>
                    <a:pt x="1694" y="947"/>
                  </a:lnTo>
                  <a:lnTo>
                    <a:pt x="1685" y="962"/>
                  </a:lnTo>
                  <a:lnTo>
                    <a:pt x="1676" y="978"/>
                  </a:lnTo>
                  <a:lnTo>
                    <a:pt x="1664" y="991"/>
                  </a:lnTo>
                  <a:lnTo>
                    <a:pt x="1659" y="996"/>
                  </a:lnTo>
                  <a:lnTo>
                    <a:pt x="1652" y="1000"/>
                  </a:lnTo>
                  <a:lnTo>
                    <a:pt x="1646" y="1004"/>
                  </a:lnTo>
                  <a:lnTo>
                    <a:pt x="1640" y="1007"/>
                  </a:lnTo>
                  <a:lnTo>
                    <a:pt x="1627" y="1008"/>
                  </a:lnTo>
                  <a:lnTo>
                    <a:pt x="1612" y="1007"/>
                  </a:lnTo>
                  <a:lnTo>
                    <a:pt x="1604" y="1006"/>
                  </a:lnTo>
                  <a:lnTo>
                    <a:pt x="1597" y="1006"/>
                  </a:lnTo>
                  <a:lnTo>
                    <a:pt x="1592" y="1006"/>
                  </a:lnTo>
                  <a:lnTo>
                    <a:pt x="1588" y="1008"/>
                  </a:lnTo>
                  <a:lnTo>
                    <a:pt x="1588" y="1011"/>
                  </a:lnTo>
                  <a:lnTo>
                    <a:pt x="1589" y="1017"/>
                  </a:lnTo>
                  <a:lnTo>
                    <a:pt x="1593" y="1024"/>
                  </a:lnTo>
                  <a:lnTo>
                    <a:pt x="1597" y="1032"/>
                  </a:lnTo>
                  <a:lnTo>
                    <a:pt x="1605" y="1047"/>
                  </a:lnTo>
                  <a:lnTo>
                    <a:pt x="1610" y="1058"/>
                  </a:lnTo>
                  <a:lnTo>
                    <a:pt x="1620" y="1089"/>
                  </a:lnTo>
                  <a:lnTo>
                    <a:pt x="1625" y="1110"/>
                  </a:lnTo>
                  <a:lnTo>
                    <a:pt x="1629" y="1117"/>
                  </a:lnTo>
                  <a:lnTo>
                    <a:pt x="1631" y="1122"/>
                  </a:lnTo>
                  <a:lnTo>
                    <a:pt x="1634" y="1125"/>
                  </a:lnTo>
                  <a:lnTo>
                    <a:pt x="1638" y="1127"/>
                  </a:lnTo>
                  <a:lnTo>
                    <a:pt x="1661" y="1126"/>
                  </a:lnTo>
                  <a:lnTo>
                    <a:pt x="1707" y="1122"/>
                  </a:lnTo>
                  <a:lnTo>
                    <a:pt x="1712" y="1122"/>
                  </a:lnTo>
                  <a:lnTo>
                    <a:pt x="1716" y="1123"/>
                  </a:lnTo>
                  <a:lnTo>
                    <a:pt x="1720" y="1126"/>
                  </a:lnTo>
                  <a:lnTo>
                    <a:pt x="1723" y="1129"/>
                  </a:lnTo>
                  <a:lnTo>
                    <a:pt x="1727" y="1136"/>
                  </a:lnTo>
                  <a:lnTo>
                    <a:pt x="1728" y="1146"/>
                  </a:lnTo>
                  <a:lnTo>
                    <a:pt x="1728" y="1166"/>
                  </a:lnTo>
                  <a:lnTo>
                    <a:pt x="1728" y="1185"/>
                  </a:lnTo>
                  <a:lnTo>
                    <a:pt x="1727" y="1193"/>
                  </a:lnTo>
                  <a:lnTo>
                    <a:pt x="1726" y="1198"/>
                  </a:lnTo>
                  <a:lnTo>
                    <a:pt x="1723" y="1203"/>
                  </a:lnTo>
                  <a:lnTo>
                    <a:pt x="1719" y="1208"/>
                  </a:lnTo>
                  <a:lnTo>
                    <a:pt x="1711" y="1216"/>
                  </a:lnTo>
                  <a:lnTo>
                    <a:pt x="1701" y="1223"/>
                  </a:lnTo>
                  <a:lnTo>
                    <a:pt x="1689" y="1228"/>
                  </a:lnTo>
                  <a:lnTo>
                    <a:pt x="1677" y="1235"/>
                  </a:lnTo>
                  <a:lnTo>
                    <a:pt x="1667" y="1241"/>
                  </a:lnTo>
                  <a:lnTo>
                    <a:pt x="1657" y="1250"/>
                  </a:lnTo>
                  <a:lnTo>
                    <a:pt x="1657" y="1254"/>
                  </a:lnTo>
                  <a:lnTo>
                    <a:pt x="1659" y="1259"/>
                  </a:lnTo>
                  <a:lnTo>
                    <a:pt x="1663" y="1263"/>
                  </a:lnTo>
                  <a:lnTo>
                    <a:pt x="1665" y="1267"/>
                  </a:lnTo>
                  <a:lnTo>
                    <a:pt x="1673" y="1278"/>
                  </a:lnTo>
                  <a:lnTo>
                    <a:pt x="1684" y="1289"/>
                  </a:lnTo>
                  <a:lnTo>
                    <a:pt x="1686" y="1292"/>
                  </a:lnTo>
                  <a:lnTo>
                    <a:pt x="1688" y="1297"/>
                  </a:lnTo>
                  <a:lnTo>
                    <a:pt x="1688" y="1299"/>
                  </a:lnTo>
                  <a:lnTo>
                    <a:pt x="1688" y="1299"/>
                  </a:lnTo>
                  <a:lnTo>
                    <a:pt x="1689" y="1300"/>
                  </a:lnTo>
                  <a:lnTo>
                    <a:pt x="1691" y="1310"/>
                  </a:lnTo>
                  <a:lnTo>
                    <a:pt x="1694" y="1323"/>
                  </a:lnTo>
                  <a:lnTo>
                    <a:pt x="1694" y="1335"/>
                  </a:lnTo>
                  <a:lnTo>
                    <a:pt x="1691" y="1347"/>
                  </a:lnTo>
                  <a:lnTo>
                    <a:pt x="1691" y="1350"/>
                  </a:lnTo>
                  <a:lnTo>
                    <a:pt x="1688" y="1352"/>
                  </a:lnTo>
                  <a:lnTo>
                    <a:pt x="1682" y="1356"/>
                  </a:lnTo>
                  <a:lnTo>
                    <a:pt x="1690" y="1368"/>
                  </a:lnTo>
                  <a:lnTo>
                    <a:pt x="1698" y="1378"/>
                  </a:lnTo>
                  <a:lnTo>
                    <a:pt x="1698" y="1380"/>
                  </a:lnTo>
                  <a:lnTo>
                    <a:pt x="1699" y="1384"/>
                  </a:lnTo>
                  <a:lnTo>
                    <a:pt x="1701" y="1385"/>
                  </a:lnTo>
                  <a:lnTo>
                    <a:pt x="1705" y="1388"/>
                  </a:lnTo>
                  <a:lnTo>
                    <a:pt x="1707" y="1390"/>
                  </a:lnTo>
                  <a:lnTo>
                    <a:pt x="1710" y="1394"/>
                  </a:lnTo>
                  <a:lnTo>
                    <a:pt x="1711" y="1398"/>
                  </a:lnTo>
                  <a:lnTo>
                    <a:pt x="1712" y="1407"/>
                  </a:lnTo>
                  <a:lnTo>
                    <a:pt x="1712" y="1416"/>
                  </a:lnTo>
                  <a:lnTo>
                    <a:pt x="1711" y="1427"/>
                  </a:lnTo>
                  <a:lnTo>
                    <a:pt x="1708" y="1436"/>
                  </a:lnTo>
                  <a:lnTo>
                    <a:pt x="1706" y="1443"/>
                  </a:lnTo>
                  <a:lnTo>
                    <a:pt x="1703" y="1446"/>
                  </a:lnTo>
                  <a:lnTo>
                    <a:pt x="1668" y="1488"/>
                  </a:lnTo>
                  <a:lnTo>
                    <a:pt x="1667" y="1488"/>
                  </a:lnTo>
                  <a:lnTo>
                    <a:pt x="1646" y="1504"/>
                  </a:lnTo>
                  <a:lnTo>
                    <a:pt x="1654" y="1513"/>
                  </a:lnTo>
                  <a:lnTo>
                    <a:pt x="1665" y="1525"/>
                  </a:lnTo>
                  <a:lnTo>
                    <a:pt x="1665" y="1526"/>
                  </a:lnTo>
                  <a:lnTo>
                    <a:pt x="1667" y="1530"/>
                  </a:lnTo>
                  <a:lnTo>
                    <a:pt x="1672" y="1531"/>
                  </a:lnTo>
                  <a:lnTo>
                    <a:pt x="1677" y="1533"/>
                  </a:lnTo>
                  <a:lnTo>
                    <a:pt x="1681" y="1534"/>
                  </a:lnTo>
                  <a:lnTo>
                    <a:pt x="1682" y="1535"/>
                  </a:lnTo>
                  <a:lnTo>
                    <a:pt x="1684" y="1537"/>
                  </a:lnTo>
                  <a:lnTo>
                    <a:pt x="1689" y="1541"/>
                  </a:lnTo>
                  <a:lnTo>
                    <a:pt x="1694" y="1542"/>
                  </a:lnTo>
                  <a:lnTo>
                    <a:pt x="1695" y="1542"/>
                  </a:lnTo>
                  <a:lnTo>
                    <a:pt x="1702" y="1543"/>
                  </a:lnTo>
                  <a:lnTo>
                    <a:pt x="1708" y="1547"/>
                  </a:lnTo>
                  <a:lnTo>
                    <a:pt x="1718" y="1552"/>
                  </a:lnTo>
                  <a:lnTo>
                    <a:pt x="1726" y="1558"/>
                  </a:lnTo>
                  <a:lnTo>
                    <a:pt x="1743" y="1571"/>
                  </a:lnTo>
                  <a:lnTo>
                    <a:pt x="1754" y="1580"/>
                  </a:lnTo>
                  <a:lnTo>
                    <a:pt x="1761" y="1582"/>
                  </a:lnTo>
                  <a:lnTo>
                    <a:pt x="1767" y="1584"/>
                  </a:lnTo>
                  <a:lnTo>
                    <a:pt x="1774" y="1584"/>
                  </a:lnTo>
                  <a:lnTo>
                    <a:pt x="1780" y="1584"/>
                  </a:lnTo>
                  <a:lnTo>
                    <a:pt x="1794" y="1581"/>
                  </a:lnTo>
                  <a:lnTo>
                    <a:pt x="1805" y="1576"/>
                  </a:lnTo>
                  <a:lnTo>
                    <a:pt x="1809" y="1576"/>
                  </a:lnTo>
                  <a:lnTo>
                    <a:pt x="1813" y="1576"/>
                  </a:lnTo>
                  <a:lnTo>
                    <a:pt x="1818" y="1577"/>
                  </a:lnTo>
                  <a:lnTo>
                    <a:pt x="1824" y="1580"/>
                  </a:lnTo>
                  <a:lnTo>
                    <a:pt x="1831" y="1586"/>
                  </a:lnTo>
                  <a:lnTo>
                    <a:pt x="1837" y="1589"/>
                  </a:lnTo>
                  <a:lnTo>
                    <a:pt x="1845" y="1592"/>
                  </a:lnTo>
                  <a:lnTo>
                    <a:pt x="1854" y="1596"/>
                  </a:lnTo>
                  <a:lnTo>
                    <a:pt x="1856" y="1596"/>
                  </a:lnTo>
                  <a:lnTo>
                    <a:pt x="1860" y="1596"/>
                  </a:lnTo>
                  <a:lnTo>
                    <a:pt x="1864" y="1593"/>
                  </a:lnTo>
                  <a:lnTo>
                    <a:pt x="1868" y="1590"/>
                  </a:lnTo>
                  <a:lnTo>
                    <a:pt x="1876" y="1585"/>
                  </a:lnTo>
                  <a:lnTo>
                    <a:pt x="1881" y="1582"/>
                  </a:lnTo>
                  <a:lnTo>
                    <a:pt x="1897" y="1569"/>
                  </a:lnTo>
                  <a:lnTo>
                    <a:pt x="1911" y="1560"/>
                  </a:lnTo>
                  <a:lnTo>
                    <a:pt x="1927" y="1571"/>
                  </a:lnTo>
                  <a:lnTo>
                    <a:pt x="1943" y="1584"/>
                  </a:lnTo>
                  <a:lnTo>
                    <a:pt x="1956" y="1588"/>
                  </a:lnTo>
                  <a:lnTo>
                    <a:pt x="1969" y="1592"/>
                  </a:lnTo>
                  <a:lnTo>
                    <a:pt x="1970" y="1592"/>
                  </a:lnTo>
                  <a:lnTo>
                    <a:pt x="1973" y="1593"/>
                  </a:lnTo>
                  <a:lnTo>
                    <a:pt x="1973" y="1594"/>
                  </a:lnTo>
                  <a:lnTo>
                    <a:pt x="1973" y="1594"/>
                  </a:lnTo>
                  <a:lnTo>
                    <a:pt x="1982" y="1602"/>
                  </a:lnTo>
                  <a:lnTo>
                    <a:pt x="1991" y="1610"/>
                  </a:lnTo>
                  <a:lnTo>
                    <a:pt x="1996" y="1614"/>
                  </a:lnTo>
                  <a:lnTo>
                    <a:pt x="2001" y="1619"/>
                  </a:lnTo>
                  <a:lnTo>
                    <a:pt x="2008" y="1623"/>
                  </a:lnTo>
                  <a:lnTo>
                    <a:pt x="2016" y="1627"/>
                  </a:lnTo>
                  <a:lnTo>
                    <a:pt x="2024" y="1627"/>
                  </a:lnTo>
                  <a:lnTo>
                    <a:pt x="2030" y="1624"/>
                  </a:lnTo>
                  <a:lnTo>
                    <a:pt x="2033" y="1624"/>
                  </a:lnTo>
                  <a:lnTo>
                    <a:pt x="2035" y="1623"/>
                  </a:lnTo>
                  <a:lnTo>
                    <a:pt x="2039" y="1620"/>
                  </a:lnTo>
                  <a:lnTo>
                    <a:pt x="2045" y="1618"/>
                  </a:lnTo>
                  <a:lnTo>
                    <a:pt x="2050" y="1615"/>
                  </a:lnTo>
                  <a:lnTo>
                    <a:pt x="2054" y="1615"/>
                  </a:lnTo>
                  <a:lnTo>
                    <a:pt x="2055" y="1616"/>
                  </a:lnTo>
                  <a:lnTo>
                    <a:pt x="2056" y="1616"/>
                  </a:lnTo>
                  <a:lnTo>
                    <a:pt x="2058" y="1618"/>
                  </a:lnTo>
                  <a:lnTo>
                    <a:pt x="2059" y="1620"/>
                  </a:lnTo>
                  <a:lnTo>
                    <a:pt x="2062" y="1631"/>
                  </a:lnTo>
                  <a:lnTo>
                    <a:pt x="2066" y="1643"/>
                  </a:lnTo>
                  <a:lnTo>
                    <a:pt x="2066" y="1644"/>
                  </a:lnTo>
                  <a:lnTo>
                    <a:pt x="2066" y="1644"/>
                  </a:lnTo>
                  <a:lnTo>
                    <a:pt x="2066" y="1645"/>
                  </a:lnTo>
                  <a:lnTo>
                    <a:pt x="2067" y="1647"/>
                  </a:lnTo>
                  <a:lnTo>
                    <a:pt x="2077" y="1658"/>
                  </a:lnTo>
                  <a:lnTo>
                    <a:pt x="2087" y="1670"/>
                  </a:lnTo>
                  <a:lnTo>
                    <a:pt x="2088" y="1671"/>
                  </a:lnTo>
                  <a:lnTo>
                    <a:pt x="2089" y="1673"/>
                  </a:lnTo>
                  <a:lnTo>
                    <a:pt x="2090" y="1677"/>
                  </a:lnTo>
                  <a:lnTo>
                    <a:pt x="2092" y="1679"/>
                  </a:lnTo>
                  <a:lnTo>
                    <a:pt x="2094" y="1682"/>
                  </a:lnTo>
                  <a:lnTo>
                    <a:pt x="2096" y="1683"/>
                  </a:lnTo>
                  <a:lnTo>
                    <a:pt x="2153" y="1684"/>
                  </a:lnTo>
                  <a:lnTo>
                    <a:pt x="2190" y="1677"/>
                  </a:lnTo>
                  <a:lnTo>
                    <a:pt x="2232" y="1705"/>
                  </a:lnTo>
                  <a:lnTo>
                    <a:pt x="2236" y="1707"/>
                  </a:lnTo>
                  <a:lnTo>
                    <a:pt x="2238" y="1707"/>
                  </a:lnTo>
                  <a:lnTo>
                    <a:pt x="2242" y="1705"/>
                  </a:lnTo>
                  <a:lnTo>
                    <a:pt x="2245" y="1704"/>
                  </a:lnTo>
                  <a:lnTo>
                    <a:pt x="2253" y="1700"/>
                  </a:lnTo>
                  <a:lnTo>
                    <a:pt x="2259" y="1699"/>
                  </a:lnTo>
                  <a:lnTo>
                    <a:pt x="2264" y="1699"/>
                  </a:lnTo>
                  <a:lnTo>
                    <a:pt x="2270" y="1702"/>
                  </a:lnTo>
                  <a:lnTo>
                    <a:pt x="2275" y="1704"/>
                  </a:lnTo>
                  <a:lnTo>
                    <a:pt x="2279" y="1707"/>
                  </a:lnTo>
                  <a:lnTo>
                    <a:pt x="2292" y="1717"/>
                  </a:lnTo>
                  <a:lnTo>
                    <a:pt x="2304" y="1728"/>
                  </a:lnTo>
                  <a:lnTo>
                    <a:pt x="2317" y="1738"/>
                  </a:lnTo>
                  <a:lnTo>
                    <a:pt x="2330" y="1746"/>
                  </a:lnTo>
                  <a:lnTo>
                    <a:pt x="2336" y="1750"/>
                  </a:lnTo>
                  <a:lnTo>
                    <a:pt x="2347" y="1753"/>
                  </a:lnTo>
                  <a:lnTo>
                    <a:pt x="2359" y="1755"/>
                  </a:lnTo>
                  <a:lnTo>
                    <a:pt x="2373" y="1756"/>
                  </a:lnTo>
                  <a:lnTo>
                    <a:pt x="2389" y="1758"/>
                  </a:lnTo>
                  <a:lnTo>
                    <a:pt x="2403" y="1756"/>
                  </a:lnTo>
                  <a:lnTo>
                    <a:pt x="2416" y="1755"/>
                  </a:lnTo>
                  <a:lnTo>
                    <a:pt x="2428" y="1753"/>
                  </a:lnTo>
                  <a:lnTo>
                    <a:pt x="2434" y="1749"/>
                  </a:lnTo>
                  <a:lnTo>
                    <a:pt x="2442" y="1743"/>
                  </a:lnTo>
                  <a:lnTo>
                    <a:pt x="2449" y="1736"/>
                  </a:lnTo>
                  <a:lnTo>
                    <a:pt x="2457" y="1728"/>
                  </a:lnTo>
                  <a:lnTo>
                    <a:pt x="2465" y="1720"/>
                  </a:lnTo>
                  <a:lnTo>
                    <a:pt x="2474" y="1712"/>
                  </a:lnTo>
                  <a:lnTo>
                    <a:pt x="2483" y="1705"/>
                  </a:lnTo>
                  <a:lnTo>
                    <a:pt x="2492" y="1700"/>
                  </a:lnTo>
                  <a:lnTo>
                    <a:pt x="2506" y="1694"/>
                  </a:lnTo>
                  <a:lnTo>
                    <a:pt x="2522" y="1690"/>
                  </a:lnTo>
                  <a:lnTo>
                    <a:pt x="2538" y="1686"/>
                  </a:lnTo>
                  <a:lnTo>
                    <a:pt x="2555" y="1682"/>
                  </a:lnTo>
                  <a:lnTo>
                    <a:pt x="2570" y="1677"/>
                  </a:lnTo>
                  <a:lnTo>
                    <a:pt x="2585" y="1670"/>
                  </a:lnTo>
                  <a:lnTo>
                    <a:pt x="2591" y="1665"/>
                  </a:lnTo>
                  <a:lnTo>
                    <a:pt x="2598" y="1660"/>
                  </a:lnTo>
                  <a:lnTo>
                    <a:pt x="2603" y="1653"/>
                  </a:lnTo>
                  <a:lnTo>
                    <a:pt x="2608" y="1645"/>
                  </a:lnTo>
                  <a:lnTo>
                    <a:pt x="2614" y="1637"/>
                  </a:lnTo>
                  <a:lnTo>
                    <a:pt x="2619" y="1630"/>
                  </a:lnTo>
                  <a:lnTo>
                    <a:pt x="2625" y="1622"/>
                  </a:lnTo>
                  <a:lnTo>
                    <a:pt x="2632" y="1615"/>
                  </a:lnTo>
                  <a:lnTo>
                    <a:pt x="2645" y="1603"/>
                  </a:lnTo>
                  <a:lnTo>
                    <a:pt x="2661" y="1593"/>
                  </a:lnTo>
                  <a:lnTo>
                    <a:pt x="2675" y="1581"/>
                  </a:lnTo>
                  <a:lnTo>
                    <a:pt x="2689" y="1569"/>
                  </a:lnTo>
                  <a:lnTo>
                    <a:pt x="2704" y="1558"/>
                  </a:lnTo>
                  <a:lnTo>
                    <a:pt x="2716" y="1542"/>
                  </a:lnTo>
                  <a:lnTo>
                    <a:pt x="2731" y="1521"/>
                  </a:lnTo>
                  <a:lnTo>
                    <a:pt x="2755" y="1492"/>
                  </a:lnTo>
                  <a:lnTo>
                    <a:pt x="2765" y="1477"/>
                  </a:lnTo>
                  <a:lnTo>
                    <a:pt x="2773" y="1462"/>
                  </a:lnTo>
                  <a:lnTo>
                    <a:pt x="2777" y="1456"/>
                  </a:lnTo>
                  <a:lnTo>
                    <a:pt x="2778" y="1449"/>
                  </a:lnTo>
                  <a:lnTo>
                    <a:pt x="2780" y="1444"/>
                  </a:lnTo>
                  <a:lnTo>
                    <a:pt x="2778" y="1440"/>
                  </a:lnTo>
                  <a:lnTo>
                    <a:pt x="2777" y="1429"/>
                  </a:lnTo>
                  <a:lnTo>
                    <a:pt x="2777" y="1420"/>
                  </a:lnTo>
                  <a:lnTo>
                    <a:pt x="2778" y="1410"/>
                  </a:lnTo>
                  <a:lnTo>
                    <a:pt x="2781" y="1399"/>
                  </a:lnTo>
                  <a:lnTo>
                    <a:pt x="2789" y="1381"/>
                  </a:lnTo>
                  <a:lnTo>
                    <a:pt x="2797" y="1365"/>
                  </a:lnTo>
                  <a:lnTo>
                    <a:pt x="2805" y="1350"/>
                  </a:lnTo>
                  <a:lnTo>
                    <a:pt x="2809" y="1343"/>
                  </a:lnTo>
                  <a:lnTo>
                    <a:pt x="2806" y="1335"/>
                  </a:lnTo>
                  <a:lnTo>
                    <a:pt x="2799" y="1317"/>
                  </a:lnTo>
                  <a:lnTo>
                    <a:pt x="2803" y="1304"/>
                  </a:lnTo>
                  <a:lnTo>
                    <a:pt x="2814" y="1278"/>
                  </a:lnTo>
                  <a:lnTo>
                    <a:pt x="2820" y="1262"/>
                  </a:lnTo>
                  <a:lnTo>
                    <a:pt x="2826" y="1246"/>
                  </a:lnTo>
                  <a:lnTo>
                    <a:pt x="2828" y="1233"/>
                  </a:lnTo>
                  <a:lnTo>
                    <a:pt x="2831" y="1221"/>
                  </a:lnTo>
                  <a:lnTo>
                    <a:pt x="2832" y="1197"/>
                  </a:lnTo>
                  <a:lnTo>
                    <a:pt x="2835" y="1173"/>
                  </a:lnTo>
                  <a:lnTo>
                    <a:pt x="2839" y="1151"/>
                  </a:lnTo>
                  <a:lnTo>
                    <a:pt x="2839" y="1129"/>
                  </a:lnTo>
                  <a:lnTo>
                    <a:pt x="2835" y="1078"/>
                  </a:lnTo>
                  <a:lnTo>
                    <a:pt x="2823" y="990"/>
                  </a:lnTo>
                  <a:lnTo>
                    <a:pt x="2823" y="986"/>
                  </a:lnTo>
                  <a:lnTo>
                    <a:pt x="2824" y="981"/>
                  </a:lnTo>
                  <a:lnTo>
                    <a:pt x="2827" y="977"/>
                  </a:lnTo>
                  <a:lnTo>
                    <a:pt x="2829" y="973"/>
                  </a:lnTo>
                  <a:lnTo>
                    <a:pt x="2835" y="965"/>
                  </a:lnTo>
                  <a:lnTo>
                    <a:pt x="2839" y="956"/>
                  </a:lnTo>
                  <a:lnTo>
                    <a:pt x="2840" y="945"/>
                  </a:lnTo>
                  <a:lnTo>
                    <a:pt x="2840" y="934"/>
                  </a:lnTo>
                  <a:lnTo>
                    <a:pt x="2840" y="922"/>
                  </a:lnTo>
                  <a:lnTo>
                    <a:pt x="2840" y="910"/>
                  </a:lnTo>
                  <a:lnTo>
                    <a:pt x="2840" y="900"/>
                  </a:lnTo>
                  <a:lnTo>
                    <a:pt x="2841" y="884"/>
                  </a:lnTo>
                  <a:lnTo>
                    <a:pt x="2841" y="868"/>
                  </a:lnTo>
                  <a:lnTo>
                    <a:pt x="2843" y="859"/>
                  </a:lnTo>
                  <a:lnTo>
                    <a:pt x="2860" y="812"/>
                  </a:lnTo>
                  <a:lnTo>
                    <a:pt x="2930" y="804"/>
                  </a:lnTo>
                  <a:lnTo>
                    <a:pt x="2935" y="802"/>
                  </a:lnTo>
                  <a:lnTo>
                    <a:pt x="2941" y="798"/>
                  </a:lnTo>
                  <a:lnTo>
                    <a:pt x="2942" y="796"/>
                  </a:lnTo>
                  <a:lnTo>
                    <a:pt x="2946" y="796"/>
                  </a:lnTo>
                  <a:lnTo>
                    <a:pt x="2948" y="796"/>
                  </a:lnTo>
                  <a:lnTo>
                    <a:pt x="2952" y="795"/>
                  </a:lnTo>
                  <a:lnTo>
                    <a:pt x="2965" y="792"/>
                  </a:lnTo>
                  <a:lnTo>
                    <a:pt x="2980" y="790"/>
                  </a:lnTo>
                  <a:lnTo>
                    <a:pt x="2988" y="788"/>
                  </a:lnTo>
                  <a:lnTo>
                    <a:pt x="2993" y="790"/>
                  </a:lnTo>
                  <a:lnTo>
                    <a:pt x="2994" y="791"/>
                  </a:lnTo>
                  <a:lnTo>
                    <a:pt x="2997" y="799"/>
                  </a:lnTo>
                  <a:lnTo>
                    <a:pt x="2998" y="807"/>
                  </a:lnTo>
                  <a:lnTo>
                    <a:pt x="2998" y="808"/>
                  </a:lnTo>
                  <a:lnTo>
                    <a:pt x="2999" y="809"/>
                  </a:lnTo>
                  <a:lnTo>
                    <a:pt x="3001" y="812"/>
                  </a:lnTo>
                  <a:lnTo>
                    <a:pt x="3002" y="816"/>
                  </a:lnTo>
                  <a:lnTo>
                    <a:pt x="3002" y="817"/>
                  </a:lnTo>
                  <a:lnTo>
                    <a:pt x="3002" y="819"/>
                  </a:lnTo>
                  <a:lnTo>
                    <a:pt x="3003" y="819"/>
                  </a:lnTo>
                  <a:lnTo>
                    <a:pt x="3005" y="821"/>
                  </a:lnTo>
                  <a:lnTo>
                    <a:pt x="3006" y="822"/>
                  </a:lnTo>
                  <a:lnTo>
                    <a:pt x="3007" y="822"/>
                  </a:lnTo>
                  <a:lnTo>
                    <a:pt x="3010" y="822"/>
                  </a:lnTo>
                  <a:lnTo>
                    <a:pt x="3052" y="809"/>
                  </a:lnTo>
                  <a:lnTo>
                    <a:pt x="3103" y="778"/>
                  </a:lnTo>
                  <a:lnTo>
                    <a:pt x="3146" y="748"/>
                  </a:lnTo>
                  <a:lnTo>
                    <a:pt x="3184" y="726"/>
                  </a:lnTo>
                  <a:lnTo>
                    <a:pt x="3192" y="724"/>
                  </a:lnTo>
                  <a:lnTo>
                    <a:pt x="3200" y="722"/>
                  </a:lnTo>
                  <a:lnTo>
                    <a:pt x="3202" y="719"/>
                  </a:lnTo>
                  <a:lnTo>
                    <a:pt x="3207" y="717"/>
                  </a:lnTo>
                  <a:lnTo>
                    <a:pt x="3214" y="714"/>
                  </a:lnTo>
                  <a:lnTo>
                    <a:pt x="3221" y="713"/>
                  </a:lnTo>
                  <a:lnTo>
                    <a:pt x="3227" y="710"/>
                  </a:lnTo>
                  <a:lnTo>
                    <a:pt x="3232" y="709"/>
                  </a:lnTo>
                  <a:lnTo>
                    <a:pt x="3236" y="706"/>
                  </a:lnTo>
                  <a:lnTo>
                    <a:pt x="3239" y="703"/>
                  </a:lnTo>
                  <a:lnTo>
                    <a:pt x="3240" y="702"/>
                  </a:lnTo>
                  <a:lnTo>
                    <a:pt x="3241" y="700"/>
                  </a:lnTo>
                  <a:lnTo>
                    <a:pt x="3240" y="698"/>
                  </a:lnTo>
                  <a:lnTo>
                    <a:pt x="3239" y="697"/>
                  </a:lnTo>
                  <a:lnTo>
                    <a:pt x="3238" y="697"/>
                  </a:lnTo>
                  <a:lnTo>
                    <a:pt x="3238" y="696"/>
                  </a:lnTo>
                  <a:lnTo>
                    <a:pt x="3236" y="694"/>
                  </a:lnTo>
                  <a:lnTo>
                    <a:pt x="3227" y="684"/>
                  </a:lnTo>
                  <a:lnTo>
                    <a:pt x="3217" y="673"/>
                  </a:lnTo>
                  <a:lnTo>
                    <a:pt x="3214" y="672"/>
                  </a:lnTo>
                  <a:lnTo>
                    <a:pt x="3213" y="671"/>
                  </a:lnTo>
                  <a:lnTo>
                    <a:pt x="3206" y="664"/>
                  </a:lnTo>
                  <a:lnTo>
                    <a:pt x="3200" y="659"/>
                  </a:lnTo>
                  <a:lnTo>
                    <a:pt x="3198" y="658"/>
                  </a:lnTo>
                  <a:lnTo>
                    <a:pt x="3197" y="655"/>
                  </a:lnTo>
                  <a:lnTo>
                    <a:pt x="3196" y="654"/>
                  </a:lnTo>
                  <a:lnTo>
                    <a:pt x="3194" y="650"/>
                  </a:lnTo>
                  <a:lnTo>
                    <a:pt x="3194" y="646"/>
                  </a:lnTo>
                  <a:lnTo>
                    <a:pt x="3194" y="642"/>
                  </a:lnTo>
                  <a:lnTo>
                    <a:pt x="3196" y="637"/>
                  </a:lnTo>
                  <a:lnTo>
                    <a:pt x="3197" y="633"/>
                  </a:lnTo>
                  <a:lnTo>
                    <a:pt x="3200" y="629"/>
                  </a:lnTo>
                  <a:lnTo>
                    <a:pt x="3201" y="628"/>
                  </a:lnTo>
                  <a:lnTo>
                    <a:pt x="3218" y="620"/>
                  </a:lnTo>
                  <a:lnTo>
                    <a:pt x="3232" y="613"/>
                  </a:lnTo>
                  <a:lnTo>
                    <a:pt x="3245" y="608"/>
                  </a:lnTo>
                  <a:lnTo>
                    <a:pt x="3258" y="605"/>
                  </a:lnTo>
                  <a:lnTo>
                    <a:pt x="3261" y="604"/>
                  </a:lnTo>
                  <a:lnTo>
                    <a:pt x="3262" y="603"/>
                  </a:lnTo>
                  <a:lnTo>
                    <a:pt x="3264" y="601"/>
                  </a:lnTo>
                  <a:lnTo>
                    <a:pt x="3265" y="600"/>
                  </a:lnTo>
                  <a:lnTo>
                    <a:pt x="3268" y="599"/>
                  </a:lnTo>
                  <a:lnTo>
                    <a:pt x="3270" y="597"/>
                  </a:lnTo>
                  <a:lnTo>
                    <a:pt x="3272" y="597"/>
                  </a:lnTo>
                  <a:lnTo>
                    <a:pt x="3274" y="596"/>
                  </a:lnTo>
                  <a:lnTo>
                    <a:pt x="3274" y="595"/>
                  </a:lnTo>
                  <a:lnTo>
                    <a:pt x="3296" y="574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8" name="Freeform 44"/>
            <p:cNvSpPr>
              <a:spLocks noEditPoints="1"/>
            </p:cNvSpPr>
            <p:nvPr/>
          </p:nvSpPr>
          <p:spPr bwMode="auto">
            <a:xfrm>
              <a:off x="7305675" y="2089150"/>
              <a:ext cx="449263" cy="438150"/>
            </a:xfrm>
            <a:custGeom>
              <a:avLst/>
              <a:gdLst/>
              <a:ahLst/>
              <a:cxnLst>
                <a:cxn ang="0">
                  <a:pos x="30" y="921"/>
                </a:cxn>
                <a:cxn ang="0">
                  <a:pos x="2" y="852"/>
                </a:cxn>
                <a:cxn ang="0">
                  <a:pos x="12" y="746"/>
                </a:cxn>
                <a:cxn ang="0">
                  <a:pos x="2" y="666"/>
                </a:cxn>
                <a:cxn ang="0">
                  <a:pos x="58" y="627"/>
                </a:cxn>
                <a:cxn ang="0">
                  <a:pos x="89" y="566"/>
                </a:cxn>
                <a:cxn ang="0">
                  <a:pos x="151" y="512"/>
                </a:cxn>
                <a:cxn ang="0">
                  <a:pos x="197" y="475"/>
                </a:cxn>
                <a:cxn ang="0">
                  <a:pos x="197" y="413"/>
                </a:cxn>
                <a:cxn ang="0">
                  <a:pos x="157" y="321"/>
                </a:cxn>
                <a:cxn ang="0">
                  <a:pos x="208" y="301"/>
                </a:cxn>
                <a:cxn ang="0">
                  <a:pos x="287" y="351"/>
                </a:cxn>
                <a:cxn ang="0">
                  <a:pos x="354" y="339"/>
                </a:cxn>
                <a:cxn ang="0">
                  <a:pos x="371" y="375"/>
                </a:cxn>
                <a:cxn ang="0">
                  <a:pos x="445" y="379"/>
                </a:cxn>
                <a:cxn ang="0">
                  <a:pos x="480" y="381"/>
                </a:cxn>
                <a:cxn ang="0">
                  <a:pos x="487" y="436"/>
                </a:cxn>
                <a:cxn ang="0">
                  <a:pos x="507" y="471"/>
                </a:cxn>
                <a:cxn ang="0">
                  <a:pos x="595" y="526"/>
                </a:cxn>
                <a:cxn ang="0">
                  <a:pos x="669" y="521"/>
                </a:cxn>
                <a:cxn ang="0">
                  <a:pos x="751" y="670"/>
                </a:cxn>
                <a:cxn ang="0">
                  <a:pos x="732" y="780"/>
                </a:cxn>
                <a:cxn ang="0">
                  <a:pos x="700" y="866"/>
                </a:cxn>
                <a:cxn ang="0">
                  <a:pos x="678" y="929"/>
                </a:cxn>
                <a:cxn ang="0">
                  <a:pos x="568" y="1040"/>
                </a:cxn>
                <a:cxn ang="0">
                  <a:pos x="521" y="1097"/>
                </a:cxn>
                <a:cxn ang="0">
                  <a:pos x="429" y="1131"/>
                </a:cxn>
                <a:cxn ang="0">
                  <a:pos x="365" y="1180"/>
                </a:cxn>
                <a:cxn ang="0">
                  <a:pos x="282" y="1192"/>
                </a:cxn>
                <a:cxn ang="0">
                  <a:pos x="202" y="1144"/>
                </a:cxn>
                <a:cxn ang="0">
                  <a:pos x="165" y="1142"/>
                </a:cxn>
                <a:cxn ang="0">
                  <a:pos x="1115" y="161"/>
                </a:cxn>
                <a:cxn ang="0">
                  <a:pos x="1155" y="146"/>
                </a:cxn>
                <a:cxn ang="0">
                  <a:pos x="1161" y="134"/>
                </a:cxn>
                <a:cxn ang="0">
                  <a:pos x="1129" y="101"/>
                </a:cxn>
                <a:cxn ang="0">
                  <a:pos x="1117" y="79"/>
                </a:cxn>
                <a:cxn ang="0">
                  <a:pos x="1168" y="45"/>
                </a:cxn>
                <a:cxn ang="0">
                  <a:pos x="1193" y="34"/>
                </a:cxn>
                <a:cxn ang="0">
                  <a:pos x="1132" y="8"/>
                </a:cxn>
                <a:cxn ang="0">
                  <a:pos x="1021" y="0"/>
                </a:cxn>
                <a:cxn ang="0">
                  <a:pos x="1026" y="46"/>
                </a:cxn>
                <a:cxn ang="0">
                  <a:pos x="1060" y="109"/>
                </a:cxn>
                <a:cxn ang="0">
                  <a:pos x="1074" y="163"/>
                </a:cxn>
                <a:cxn ang="0">
                  <a:pos x="865" y="233"/>
                </a:cxn>
                <a:cxn ang="0">
                  <a:pos x="916" y="227"/>
                </a:cxn>
                <a:cxn ang="0">
                  <a:pos x="925" y="253"/>
                </a:cxn>
                <a:cxn ang="0">
                  <a:pos x="933" y="259"/>
                </a:cxn>
                <a:cxn ang="0">
                  <a:pos x="928" y="171"/>
                </a:cxn>
                <a:cxn ang="0">
                  <a:pos x="974" y="164"/>
                </a:cxn>
                <a:cxn ang="0">
                  <a:pos x="1022" y="152"/>
                </a:cxn>
                <a:cxn ang="0">
                  <a:pos x="1015" y="130"/>
                </a:cxn>
                <a:cxn ang="0">
                  <a:pos x="991" y="103"/>
                </a:cxn>
                <a:cxn ang="0">
                  <a:pos x="963" y="83"/>
                </a:cxn>
                <a:cxn ang="0">
                  <a:pos x="942" y="68"/>
                </a:cxn>
                <a:cxn ang="0">
                  <a:pos x="911" y="38"/>
                </a:cxn>
                <a:cxn ang="0">
                  <a:pos x="847" y="114"/>
                </a:cxn>
                <a:cxn ang="0">
                  <a:pos x="866" y="160"/>
                </a:cxn>
                <a:cxn ang="0">
                  <a:pos x="822" y="186"/>
                </a:cxn>
              </a:cxnLst>
              <a:rect l="0" t="0" r="r" b="b"/>
              <a:pathLst>
                <a:path w="1219" h="1195">
                  <a:moveTo>
                    <a:pt x="113" y="1114"/>
                  </a:moveTo>
                  <a:lnTo>
                    <a:pt x="83" y="1008"/>
                  </a:lnTo>
                  <a:lnTo>
                    <a:pt x="78" y="991"/>
                  </a:lnTo>
                  <a:lnTo>
                    <a:pt x="70" y="975"/>
                  </a:lnTo>
                  <a:lnTo>
                    <a:pt x="62" y="962"/>
                  </a:lnTo>
                  <a:lnTo>
                    <a:pt x="51" y="948"/>
                  </a:lnTo>
                  <a:lnTo>
                    <a:pt x="30" y="921"/>
                  </a:lnTo>
                  <a:lnTo>
                    <a:pt x="10" y="895"/>
                  </a:lnTo>
                  <a:lnTo>
                    <a:pt x="6" y="889"/>
                  </a:lnTo>
                  <a:lnTo>
                    <a:pt x="3" y="883"/>
                  </a:lnTo>
                  <a:lnTo>
                    <a:pt x="2" y="878"/>
                  </a:lnTo>
                  <a:lnTo>
                    <a:pt x="0" y="873"/>
                  </a:lnTo>
                  <a:lnTo>
                    <a:pt x="0" y="862"/>
                  </a:lnTo>
                  <a:lnTo>
                    <a:pt x="2" y="852"/>
                  </a:lnTo>
                  <a:lnTo>
                    <a:pt x="6" y="840"/>
                  </a:lnTo>
                  <a:lnTo>
                    <a:pt x="8" y="830"/>
                  </a:lnTo>
                  <a:lnTo>
                    <a:pt x="11" y="817"/>
                  </a:lnTo>
                  <a:lnTo>
                    <a:pt x="12" y="804"/>
                  </a:lnTo>
                  <a:lnTo>
                    <a:pt x="12" y="780"/>
                  </a:lnTo>
                  <a:lnTo>
                    <a:pt x="12" y="757"/>
                  </a:lnTo>
                  <a:lnTo>
                    <a:pt x="12" y="746"/>
                  </a:lnTo>
                  <a:lnTo>
                    <a:pt x="11" y="734"/>
                  </a:lnTo>
                  <a:lnTo>
                    <a:pt x="10" y="723"/>
                  </a:lnTo>
                  <a:lnTo>
                    <a:pt x="7" y="712"/>
                  </a:lnTo>
                  <a:lnTo>
                    <a:pt x="2" y="692"/>
                  </a:lnTo>
                  <a:lnTo>
                    <a:pt x="0" y="678"/>
                  </a:lnTo>
                  <a:lnTo>
                    <a:pt x="0" y="672"/>
                  </a:lnTo>
                  <a:lnTo>
                    <a:pt x="2" y="666"/>
                  </a:lnTo>
                  <a:lnTo>
                    <a:pt x="3" y="662"/>
                  </a:lnTo>
                  <a:lnTo>
                    <a:pt x="6" y="658"/>
                  </a:lnTo>
                  <a:lnTo>
                    <a:pt x="12" y="652"/>
                  </a:lnTo>
                  <a:lnTo>
                    <a:pt x="21" y="645"/>
                  </a:lnTo>
                  <a:lnTo>
                    <a:pt x="34" y="639"/>
                  </a:lnTo>
                  <a:lnTo>
                    <a:pt x="50" y="631"/>
                  </a:lnTo>
                  <a:lnTo>
                    <a:pt x="58" y="627"/>
                  </a:lnTo>
                  <a:lnTo>
                    <a:pt x="63" y="622"/>
                  </a:lnTo>
                  <a:lnTo>
                    <a:pt x="68" y="615"/>
                  </a:lnTo>
                  <a:lnTo>
                    <a:pt x="71" y="609"/>
                  </a:lnTo>
                  <a:lnTo>
                    <a:pt x="76" y="596"/>
                  </a:lnTo>
                  <a:lnTo>
                    <a:pt x="80" y="580"/>
                  </a:lnTo>
                  <a:lnTo>
                    <a:pt x="84" y="572"/>
                  </a:lnTo>
                  <a:lnTo>
                    <a:pt x="89" y="566"/>
                  </a:lnTo>
                  <a:lnTo>
                    <a:pt x="93" y="562"/>
                  </a:lnTo>
                  <a:lnTo>
                    <a:pt x="98" y="558"/>
                  </a:lnTo>
                  <a:lnTo>
                    <a:pt x="112" y="552"/>
                  </a:lnTo>
                  <a:lnTo>
                    <a:pt x="126" y="542"/>
                  </a:lnTo>
                  <a:lnTo>
                    <a:pt x="138" y="530"/>
                  </a:lnTo>
                  <a:lnTo>
                    <a:pt x="146" y="517"/>
                  </a:lnTo>
                  <a:lnTo>
                    <a:pt x="151" y="512"/>
                  </a:lnTo>
                  <a:lnTo>
                    <a:pt x="156" y="505"/>
                  </a:lnTo>
                  <a:lnTo>
                    <a:pt x="163" y="501"/>
                  </a:lnTo>
                  <a:lnTo>
                    <a:pt x="169" y="496"/>
                  </a:lnTo>
                  <a:lnTo>
                    <a:pt x="178" y="491"/>
                  </a:lnTo>
                  <a:lnTo>
                    <a:pt x="185" y="487"/>
                  </a:lnTo>
                  <a:lnTo>
                    <a:pt x="191" y="481"/>
                  </a:lnTo>
                  <a:lnTo>
                    <a:pt x="197" y="475"/>
                  </a:lnTo>
                  <a:lnTo>
                    <a:pt x="200" y="470"/>
                  </a:lnTo>
                  <a:lnTo>
                    <a:pt x="203" y="464"/>
                  </a:lnTo>
                  <a:lnTo>
                    <a:pt x="204" y="458"/>
                  </a:lnTo>
                  <a:lnTo>
                    <a:pt x="206" y="452"/>
                  </a:lnTo>
                  <a:lnTo>
                    <a:pt x="206" y="439"/>
                  </a:lnTo>
                  <a:lnTo>
                    <a:pt x="202" y="426"/>
                  </a:lnTo>
                  <a:lnTo>
                    <a:pt x="197" y="413"/>
                  </a:lnTo>
                  <a:lnTo>
                    <a:pt x="190" y="399"/>
                  </a:lnTo>
                  <a:lnTo>
                    <a:pt x="174" y="375"/>
                  </a:lnTo>
                  <a:lnTo>
                    <a:pt x="163" y="351"/>
                  </a:lnTo>
                  <a:lnTo>
                    <a:pt x="159" y="339"/>
                  </a:lnTo>
                  <a:lnTo>
                    <a:pt x="156" y="330"/>
                  </a:lnTo>
                  <a:lnTo>
                    <a:pt x="157" y="325"/>
                  </a:lnTo>
                  <a:lnTo>
                    <a:pt x="157" y="321"/>
                  </a:lnTo>
                  <a:lnTo>
                    <a:pt x="160" y="317"/>
                  </a:lnTo>
                  <a:lnTo>
                    <a:pt x="163" y="313"/>
                  </a:lnTo>
                  <a:lnTo>
                    <a:pt x="173" y="305"/>
                  </a:lnTo>
                  <a:lnTo>
                    <a:pt x="182" y="300"/>
                  </a:lnTo>
                  <a:lnTo>
                    <a:pt x="191" y="299"/>
                  </a:lnTo>
                  <a:lnTo>
                    <a:pt x="200" y="299"/>
                  </a:lnTo>
                  <a:lnTo>
                    <a:pt x="208" y="301"/>
                  </a:lnTo>
                  <a:lnTo>
                    <a:pt x="217" y="307"/>
                  </a:lnTo>
                  <a:lnTo>
                    <a:pt x="227" y="312"/>
                  </a:lnTo>
                  <a:lnTo>
                    <a:pt x="234" y="318"/>
                  </a:lnTo>
                  <a:lnTo>
                    <a:pt x="253" y="331"/>
                  </a:lnTo>
                  <a:lnTo>
                    <a:pt x="270" y="343"/>
                  </a:lnTo>
                  <a:lnTo>
                    <a:pt x="278" y="348"/>
                  </a:lnTo>
                  <a:lnTo>
                    <a:pt x="287" y="351"/>
                  </a:lnTo>
                  <a:lnTo>
                    <a:pt x="296" y="352"/>
                  </a:lnTo>
                  <a:lnTo>
                    <a:pt x="305" y="351"/>
                  </a:lnTo>
                  <a:lnTo>
                    <a:pt x="320" y="346"/>
                  </a:lnTo>
                  <a:lnTo>
                    <a:pt x="335" y="338"/>
                  </a:lnTo>
                  <a:lnTo>
                    <a:pt x="343" y="337"/>
                  </a:lnTo>
                  <a:lnTo>
                    <a:pt x="351" y="338"/>
                  </a:lnTo>
                  <a:lnTo>
                    <a:pt x="354" y="339"/>
                  </a:lnTo>
                  <a:lnTo>
                    <a:pt x="355" y="342"/>
                  </a:lnTo>
                  <a:lnTo>
                    <a:pt x="356" y="346"/>
                  </a:lnTo>
                  <a:lnTo>
                    <a:pt x="357" y="351"/>
                  </a:lnTo>
                  <a:lnTo>
                    <a:pt x="359" y="359"/>
                  </a:lnTo>
                  <a:lnTo>
                    <a:pt x="361" y="365"/>
                  </a:lnTo>
                  <a:lnTo>
                    <a:pt x="365" y="371"/>
                  </a:lnTo>
                  <a:lnTo>
                    <a:pt x="371" y="375"/>
                  </a:lnTo>
                  <a:lnTo>
                    <a:pt x="377" y="379"/>
                  </a:lnTo>
                  <a:lnTo>
                    <a:pt x="384" y="381"/>
                  </a:lnTo>
                  <a:lnTo>
                    <a:pt x="390" y="382"/>
                  </a:lnTo>
                  <a:lnTo>
                    <a:pt x="398" y="382"/>
                  </a:lnTo>
                  <a:lnTo>
                    <a:pt x="414" y="382"/>
                  </a:lnTo>
                  <a:lnTo>
                    <a:pt x="429" y="381"/>
                  </a:lnTo>
                  <a:lnTo>
                    <a:pt x="445" y="379"/>
                  </a:lnTo>
                  <a:lnTo>
                    <a:pt x="457" y="375"/>
                  </a:lnTo>
                  <a:lnTo>
                    <a:pt x="462" y="373"/>
                  </a:lnTo>
                  <a:lnTo>
                    <a:pt x="467" y="373"/>
                  </a:lnTo>
                  <a:lnTo>
                    <a:pt x="471" y="375"/>
                  </a:lnTo>
                  <a:lnTo>
                    <a:pt x="475" y="376"/>
                  </a:lnTo>
                  <a:lnTo>
                    <a:pt x="478" y="379"/>
                  </a:lnTo>
                  <a:lnTo>
                    <a:pt x="480" y="381"/>
                  </a:lnTo>
                  <a:lnTo>
                    <a:pt x="483" y="385"/>
                  </a:lnTo>
                  <a:lnTo>
                    <a:pt x="484" y="389"/>
                  </a:lnTo>
                  <a:lnTo>
                    <a:pt x="486" y="398"/>
                  </a:lnTo>
                  <a:lnTo>
                    <a:pt x="487" y="407"/>
                  </a:lnTo>
                  <a:lnTo>
                    <a:pt x="487" y="418"/>
                  </a:lnTo>
                  <a:lnTo>
                    <a:pt x="487" y="428"/>
                  </a:lnTo>
                  <a:lnTo>
                    <a:pt x="487" y="436"/>
                  </a:lnTo>
                  <a:lnTo>
                    <a:pt x="488" y="444"/>
                  </a:lnTo>
                  <a:lnTo>
                    <a:pt x="491" y="449"/>
                  </a:lnTo>
                  <a:lnTo>
                    <a:pt x="492" y="454"/>
                  </a:lnTo>
                  <a:lnTo>
                    <a:pt x="495" y="460"/>
                  </a:lnTo>
                  <a:lnTo>
                    <a:pt x="499" y="464"/>
                  </a:lnTo>
                  <a:lnTo>
                    <a:pt x="503" y="467"/>
                  </a:lnTo>
                  <a:lnTo>
                    <a:pt x="507" y="471"/>
                  </a:lnTo>
                  <a:lnTo>
                    <a:pt x="529" y="482"/>
                  </a:lnTo>
                  <a:lnTo>
                    <a:pt x="555" y="492"/>
                  </a:lnTo>
                  <a:lnTo>
                    <a:pt x="567" y="500"/>
                  </a:lnTo>
                  <a:lnTo>
                    <a:pt x="578" y="512"/>
                  </a:lnTo>
                  <a:lnTo>
                    <a:pt x="584" y="517"/>
                  </a:lnTo>
                  <a:lnTo>
                    <a:pt x="590" y="522"/>
                  </a:lnTo>
                  <a:lnTo>
                    <a:pt x="595" y="526"/>
                  </a:lnTo>
                  <a:lnTo>
                    <a:pt x="601" y="529"/>
                  </a:lnTo>
                  <a:lnTo>
                    <a:pt x="612" y="530"/>
                  </a:lnTo>
                  <a:lnTo>
                    <a:pt x="622" y="532"/>
                  </a:lnTo>
                  <a:lnTo>
                    <a:pt x="630" y="530"/>
                  </a:lnTo>
                  <a:lnTo>
                    <a:pt x="636" y="529"/>
                  </a:lnTo>
                  <a:lnTo>
                    <a:pt x="650" y="525"/>
                  </a:lnTo>
                  <a:lnTo>
                    <a:pt x="669" y="521"/>
                  </a:lnTo>
                  <a:lnTo>
                    <a:pt x="758" y="515"/>
                  </a:lnTo>
                  <a:lnTo>
                    <a:pt x="762" y="566"/>
                  </a:lnTo>
                  <a:lnTo>
                    <a:pt x="762" y="588"/>
                  </a:lnTo>
                  <a:lnTo>
                    <a:pt x="758" y="610"/>
                  </a:lnTo>
                  <a:lnTo>
                    <a:pt x="755" y="634"/>
                  </a:lnTo>
                  <a:lnTo>
                    <a:pt x="754" y="658"/>
                  </a:lnTo>
                  <a:lnTo>
                    <a:pt x="751" y="670"/>
                  </a:lnTo>
                  <a:lnTo>
                    <a:pt x="749" y="683"/>
                  </a:lnTo>
                  <a:lnTo>
                    <a:pt x="743" y="699"/>
                  </a:lnTo>
                  <a:lnTo>
                    <a:pt x="737" y="715"/>
                  </a:lnTo>
                  <a:lnTo>
                    <a:pt x="726" y="741"/>
                  </a:lnTo>
                  <a:lnTo>
                    <a:pt x="722" y="754"/>
                  </a:lnTo>
                  <a:lnTo>
                    <a:pt x="729" y="772"/>
                  </a:lnTo>
                  <a:lnTo>
                    <a:pt x="732" y="780"/>
                  </a:lnTo>
                  <a:lnTo>
                    <a:pt x="728" y="787"/>
                  </a:lnTo>
                  <a:lnTo>
                    <a:pt x="720" y="802"/>
                  </a:lnTo>
                  <a:lnTo>
                    <a:pt x="712" y="818"/>
                  </a:lnTo>
                  <a:lnTo>
                    <a:pt x="704" y="836"/>
                  </a:lnTo>
                  <a:lnTo>
                    <a:pt x="701" y="847"/>
                  </a:lnTo>
                  <a:lnTo>
                    <a:pt x="700" y="857"/>
                  </a:lnTo>
                  <a:lnTo>
                    <a:pt x="700" y="866"/>
                  </a:lnTo>
                  <a:lnTo>
                    <a:pt x="701" y="877"/>
                  </a:lnTo>
                  <a:lnTo>
                    <a:pt x="703" y="881"/>
                  </a:lnTo>
                  <a:lnTo>
                    <a:pt x="701" y="886"/>
                  </a:lnTo>
                  <a:lnTo>
                    <a:pt x="700" y="893"/>
                  </a:lnTo>
                  <a:lnTo>
                    <a:pt x="696" y="899"/>
                  </a:lnTo>
                  <a:lnTo>
                    <a:pt x="688" y="914"/>
                  </a:lnTo>
                  <a:lnTo>
                    <a:pt x="678" y="929"/>
                  </a:lnTo>
                  <a:lnTo>
                    <a:pt x="654" y="958"/>
                  </a:lnTo>
                  <a:lnTo>
                    <a:pt x="639" y="979"/>
                  </a:lnTo>
                  <a:lnTo>
                    <a:pt x="627" y="995"/>
                  </a:lnTo>
                  <a:lnTo>
                    <a:pt x="612" y="1006"/>
                  </a:lnTo>
                  <a:lnTo>
                    <a:pt x="598" y="1018"/>
                  </a:lnTo>
                  <a:lnTo>
                    <a:pt x="584" y="1030"/>
                  </a:lnTo>
                  <a:lnTo>
                    <a:pt x="568" y="1040"/>
                  </a:lnTo>
                  <a:lnTo>
                    <a:pt x="555" y="1052"/>
                  </a:lnTo>
                  <a:lnTo>
                    <a:pt x="548" y="1059"/>
                  </a:lnTo>
                  <a:lnTo>
                    <a:pt x="542" y="1067"/>
                  </a:lnTo>
                  <a:lnTo>
                    <a:pt x="537" y="1074"/>
                  </a:lnTo>
                  <a:lnTo>
                    <a:pt x="531" y="1082"/>
                  </a:lnTo>
                  <a:lnTo>
                    <a:pt x="526" y="1090"/>
                  </a:lnTo>
                  <a:lnTo>
                    <a:pt x="521" y="1097"/>
                  </a:lnTo>
                  <a:lnTo>
                    <a:pt x="514" y="1102"/>
                  </a:lnTo>
                  <a:lnTo>
                    <a:pt x="508" y="1107"/>
                  </a:lnTo>
                  <a:lnTo>
                    <a:pt x="493" y="1114"/>
                  </a:lnTo>
                  <a:lnTo>
                    <a:pt x="478" y="1119"/>
                  </a:lnTo>
                  <a:lnTo>
                    <a:pt x="461" y="1123"/>
                  </a:lnTo>
                  <a:lnTo>
                    <a:pt x="445" y="1127"/>
                  </a:lnTo>
                  <a:lnTo>
                    <a:pt x="429" y="1131"/>
                  </a:lnTo>
                  <a:lnTo>
                    <a:pt x="415" y="1137"/>
                  </a:lnTo>
                  <a:lnTo>
                    <a:pt x="406" y="1142"/>
                  </a:lnTo>
                  <a:lnTo>
                    <a:pt x="397" y="1149"/>
                  </a:lnTo>
                  <a:lnTo>
                    <a:pt x="388" y="1157"/>
                  </a:lnTo>
                  <a:lnTo>
                    <a:pt x="380" y="1165"/>
                  </a:lnTo>
                  <a:lnTo>
                    <a:pt x="372" y="1173"/>
                  </a:lnTo>
                  <a:lnTo>
                    <a:pt x="365" y="1180"/>
                  </a:lnTo>
                  <a:lnTo>
                    <a:pt x="357" y="1186"/>
                  </a:lnTo>
                  <a:lnTo>
                    <a:pt x="351" y="1190"/>
                  </a:lnTo>
                  <a:lnTo>
                    <a:pt x="339" y="1192"/>
                  </a:lnTo>
                  <a:lnTo>
                    <a:pt x="326" y="1193"/>
                  </a:lnTo>
                  <a:lnTo>
                    <a:pt x="312" y="1195"/>
                  </a:lnTo>
                  <a:lnTo>
                    <a:pt x="296" y="1193"/>
                  </a:lnTo>
                  <a:lnTo>
                    <a:pt x="282" y="1192"/>
                  </a:lnTo>
                  <a:lnTo>
                    <a:pt x="270" y="1190"/>
                  </a:lnTo>
                  <a:lnTo>
                    <a:pt x="259" y="1187"/>
                  </a:lnTo>
                  <a:lnTo>
                    <a:pt x="253" y="1183"/>
                  </a:lnTo>
                  <a:lnTo>
                    <a:pt x="240" y="1175"/>
                  </a:lnTo>
                  <a:lnTo>
                    <a:pt x="227" y="1165"/>
                  </a:lnTo>
                  <a:lnTo>
                    <a:pt x="215" y="1154"/>
                  </a:lnTo>
                  <a:lnTo>
                    <a:pt x="202" y="1144"/>
                  </a:lnTo>
                  <a:lnTo>
                    <a:pt x="198" y="1141"/>
                  </a:lnTo>
                  <a:lnTo>
                    <a:pt x="193" y="1139"/>
                  </a:lnTo>
                  <a:lnTo>
                    <a:pt x="187" y="1136"/>
                  </a:lnTo>
                  <a:lnTo>
                    <a:pt x="182" y="1136"/>
                  </a:lnTo>
                  <a:lnTo>
                    <a:pt x="176" y="1137"/>
                  </a:lnTo>
                  <a:lnTo>
                    <a:pt x="168" y="1141"/>
                  </a:lnTo>
                  <a:lnTo>
                    <a:pt x="165" y="1142"/>
                  </a:lnTo>
                  <a:lnTo>
                    <a:pt x="161" y="1144"/>
                  </a:lnTo>
                  <a:lnTo>
                    <a:pt x="159" y="1144"/>
                  </a:lnTo>
                  <a:lnTo>
                    <a:pt x="155" y="1142"/>
                  </a:lnTo>
                  <a:lnTo>
                    <a:pt x="113" y="1114"/>
                  </a:lnTo>
                  <a:close/>
                  <a:moveTo>
                    <a:pt x="1069" y="185"/>
                  </a:moveTo>
                  <a:lnTo>
                    <a:pt x="1107" y="163"/>
                  </a:lnTo>
                  <a:lnTo>
                    <a:pt x="1115" y="161"/>
                  </a:lnTo>
                  <a:lnTo>
                    <a:pt x="1123" y="159"/>
                  </a:lnTo>
                  <a:lnTo>
                    <a:pt x="1125" y="156"/>
                  </a:lnTo>
                  <a:lnTo>
                    <a:pt x="1130" y="154"/>
                  </a:lnTo>
                  <a:lnTo>
                    <a:pt x="1137" y="151"/>
                  </a:lnTo>
                  <a:lnTo>
                    <a:pt x="1144" y="150"/>
                  </a:lnTo>
                  <a:lnTo>
                    <a:pt x="1150" y="147"/>
                  </a:lnTo>
                  <a:lnTo>
                    <a:pt x="1155" y="146"/>
                  </a:lnTo>
                  <a:lnTo>
                    <a:pt x="1159" y="143"/>
                  </a:lnTo>
                  <a:lnTo>
                    <a:pt x="1162" y="140"/>
                  </a:lnTo>
                  <a:lnTo>
                    <a:pt x="1163" y="139"/>
                  </a:lnTo>
                  <a:lnTo>
                    <a:pt x="1164" y="137"/>
                  </a:lnTo>
                  <a:lnTo>
                    <a:pt x="1163" y="135"/>
                  </a:lnTo>
                  <a:lnTo>
                    <a:pt x="1162" y="134"/>
                  </a:lnTo>
                  <a:lnTo>
                    <a:pt x="1161" y="134"/>
                  </a:lnTo>
                  <a:lnTo>
                    <a:pt x="1161" y="133"/>
                  </a:lnTo>
                  <a:lnTo>
                    <a:pt x="1159" y="131"/>
                  </a:lnTo>
                  <a:lnTo>
                    <a:pt x="1150" y="121"/>
                  </a:lnTo>
                  <a:lnTo>
                    <a:pt x="1140" y="110"/>
                  </a:lnTo>
                  <a:lnTo>
                    <a:pt x="1137" y="109"/>
                  </a:lnTo>
                  <a:lnTo>
                    <a:pt x="1136" y="108"/>
                  </a:lnTo>
                  <a:lnTo>
                    <a:pt x="1129" y="101"/>
                  </a:lnTo>
                  <a:lnTo>
                    <a:pt x="1123" y="96"/>
                  </a:lnTo>
                  <a:lnTo>
                    <a:pt x="1121" y="95"/>
                  </a:lnTo>
                  <a:lnTo>
                    <a:pt x="1120" y="92"/>
                  </a:lnTo>
                  <a:lnTo>
                    <a:pt x="1119" y="91"/>
                  </a:lnTo>
                  <a:lnTo>
                    <a:pt x="1117" y="87"/>
                  </a:lnTo>
                  <a:lnTo>
                    <a:pt x="1117" y="83"/>
                  </a:lnTo>
                  <a:lnTo>
                    <a:pt x="1117" y="79"/>
                  </a:lnTo>
                  <a:lnTo>
                    <a:pt x="1119" y="74"/>
                  </a:lnTo>
                  <a:lnTo>
                    <a:pt x="1120" y="70"/>
                  </a:lnTo>
                  <a:lnTo>
                    <a:pt x="1123" y="66"/>
                  </a:lnTo>
                  <a:lnTo>
                    <a:pt x="1124" y="65"/>
                  </a:lnTo>
                  <a:lnTo>
                    <a:pt x="1141" y="57"/>
                  </a:lnTo>
                  <a:lnTo>
                    <a:pt x="1155" y="50"/>
                  </a:lnTo>
                  <a:lnTo>
                    <a:pt x="1168" y="45"/>
                  </a:lnTo>
                  <a:lnTo>
                    <a:pt x="1181" y="42"/>
                  </a:lnTo>
                  <a:lnTo>
                    <a:pt x="1184" y="41"/>
                  </a:lnTo>
                  <a:lnTo>
                    <a:pt x="1185" y="40"/>
                  </a:lnTo>
                  <a:lnTo>
                    <a:pt x="1187" y="38"/>
                  </a:lnTo>
                  <a:lnTo>
                    <a:pt x="1188" y="37"/>
                  </a:lnTo>
                  <a:lnTo>
                    <a:pt x="1191" y="36"/>
                  </a:lnTo>
                  <a:lnTo>
                    <a:pt x="1193" y="34"/>
                  </a:lnTo>
                  <a:lnTo>
                    <a:pt x="1195" y="34"/>
                  </a:lnTo>
                  <a:lnTo>
                    <a:pt x="1197" y="33"/>
                  </a:lnTo>
                  <a:lnTo>
                    <a:pt x="1197" y="32"/>
                  </a:lnTo>
                  <a:lnTo>
                    <a:pt x="1219" y="11"/>
                  </a:lnTo>
                  <a:lnTo>
                    <a:pt x="1168" y="7"/>
                  </a:lnTo>
                  <a:lnTo>
                    <a:pt x="1154" y="7"/>
                  </a:lnTo>
                  <a:lnTo>
                    <a:pt x="1132" y="8"/>
                  </a:lnTo>
                  <a:lnTo>
                    <a:pt x="1110" y="10"/>
                  </a:lnTo>
                  <a:lnTo>
                    <a:pt x="1094" y="10"/>
                  </a:lnTo>
                  <a:lnTo>
                    <a:pt x="1076" y="8"/>
                  </a:lnTo>
                  <a:lnTo>
                    <a:pt x="1057" y="6"/>
                  </a:lnTo>
                  <a:lnTo>
                    <a:pt x="1040" y="2"/>
                  </a:lnTo>
                  <a:lnTo>
                    <a:pt x="1023" y="0"/>
                  </a:lnTo>
                  <a:lnTo>
                    <a:pt x="1021" y="0"/>
                  </a:lnTo>
                  <a:lnTo>
                    <a:pt x="1018" y="2"/>
                  </a:lnTo>
                  <a:lnTo>
                    <a:pt x="1015" y="3"/>
                  </a:lnTo>
                  <a:lnTo>
                    <a:pt x="1015" y="6"/>
                  </a:lnTo>
                  <a:lnTo>
                    <a:pt x="1014" y="11"/>
                  </a:lnTo>
                  <a:lnTo>
                    <a:pt x="1015" y="17"/>
                  </a:lnTo>
                  <a:lnTo>
                    <a:pt x="1021" y="32"/>
                  </a:lnTo>
                  <a:lnTo>
                    <a:pt x="1026" y="46"/>
                  </a:lnTo>
                  <a:lnTo>
                    <a:pt x="1030" y="62"/>
                  </a:lnTo>
                  <a:lnTo>
                    <a:pt x="1035" y="80"/>
                  </a:lnTo>
                  <a:lnTo>
                    <a:pt x="1038" y="88"/>
                  </a:lnTo>
                  <a:lnTo>
                    <a:pt x="1043" y="96"/>
                  </a:lnTo>
                  <a:lnTo>
                    <a:pt x="1048" y="101"/>
                  </a:lnTo>
                  <a:lnTo>
                    <a:pt x="1055" y="106"/>
                  </a:lnTo>
                  <a:lnTo>
                    <a:pt x="1060" y="109"/>
                  </a:lnTo>
                  <a:lnTo>
                    <a:pt x="1064" y="112"/>
                  </a:lnTo>
                  <a:lnTo>
                    <a:pt x="1066" y="116"/>
                  </a:lnTo>
                  <a:lnTo>
                    <a:pt x="1070" y="120"/>
                  </a:lnTo>
                  <a:lnTo>
                    <a:pt x="1074" y="129"/>
                  </a:lnTo>
                  <a:lnTo>
                    <a:pt x="1076" y="139"/>
                  </a:lnTo>
                  <a:lnTo>
                    <a:pt x="1076" y="151"/>
                  </a:lnTo>
                  <a:lnTo>
                    <a:pt x="1074" y="163"/>
                  </a:lnTo>
                  <a:lnTo>
                    <a:pt x="1072" y="173"/>
                  </a:lnTo>
                  <a:lnTo>
                    <a:pt x="1069" y="185"/>
                  </a:lnTo>
                  <a:close/>
                  <a:moveTo>
                    <a:pt x="783" y="249"/>
                  </a:moveTo>
                  <a:lnTo>
                    <a:pt x="853" y="241"/>
                  </a:lnTo>
                  <a:lnTo>
                    <a:pt x="858" y="239"/>
                  </a:lnTo>
                  <a:lnTo>
                    <a:pt x="864" y="235"/>
                  </a:lnTo>
                  <a:lnTo>
                    <a:pt x="865" y="233"/>
                  </a:lnTo>
                  <a:lnTo>
                    <a:pt x="869" y="233"/>
                  </a:lnTo>
                  <a:lnTo>
                    <a:pt x="871" y="233"/>
                  </a:lnTo>
                  <a:lnTo>
                    <a:pt x="875" y="232"/>
                  </a:lnTo>
                  <a:lnTo>
                    <a:pt x="888" y="229"/>
                  </a:lnTo>
                  <a:lnTo>
                    <a:pt x="903" y="227"/>
                  </a:lnTo>
                  <a:lnTo>
                    <a:pt x="911" y="225"/>
                  </a:lnTo>
                  <a:lnTo>
                    <a:pt x="916" y="227"/>
                  </a:lnTo>
                  <a:lnTo>
                    <a:pt x="917" y="228"/>
                  </a:lnTo>
                  <a:lnTo>
                    <a:pt x="920" y="236"/>
                  </a:lnTo>
                  <a:lnTo>
                    <a:pt x="921" y="244"/>
                  </a:lnTo>
                  <a:lnTo>
                    <a:pt x="921" y="245"/>
                  </a:lnTo>
                  <a:lnTo>
                    <a:pt x="922" y="246"/>
                  </a:lnTo>
                  <a:lnTo>
                    <a:pt x="924" y="249"/>
                  </a:lnTo>
                  <a:lnTo>
                    <a:pt x="925" y="253"/>
                  </a:lnTo>
                  <a:lnTo>
                    <a:pt x="925" y="254"/>
                  </a:lnTo>
                  <a:lnTo>
                    <a:pt x="925" y="256"/>
                  </a:lnTo>
                  <a:lnTo>
                    <a:pt x="926" y="256"/>
                  </a:lnTo>
                  <a:lnTo>
                    <a:pt x="928" y="258"/>
                  </a:lnTo>
                  <a:lnTo>
                    <a:pt x="929" y="259"/>
                  </a:lnTo>
                  <a:lnTo>
                    <a:pt x="930" y="259"/>
                  </a:lnTo>
                  <a:lnTo>
                    <a:pt x="933" y="259"/>
                  </a:lnTo>
                  <a:lnTo>
                    <a:pt x="975" y="246"/>
                  </a:lnTo>
                  <a:lnTo>
                    <a:pt x="947" y="206"/>
                  </a:lnTo>
                  <a:lnTo>
                    <a:pt x="941" y="197"/>
                  </a:lnTo>
                  <a:lnTo>
                    <a:pt x="934" y="189"/>
                  </a:lnTo>
                  <a:lnTo>
                    <a:pt x="932" y="182"/>
                  </a:lnTo>
                  <a:lnTo>
                    <a:pt x="929" y="174"/>
                  </a:lnTo>
                  <a:lnTo>
                    <a:pt x="928" y="171"/>
                  </a:lnTo>
                  <a:lnTo>
                    <a:pt x="928" y="168"/>
                  </a:lnTo>
                  <a:lnTo>
                    <a:pt x="928" y="165"/>
                  </a:lnTo>
                  <a:lnTo>
                    <a:pt x="930" y="163"/>
                  </a:lnTo>
                  <a:lnTo>
                    <a:pt x="942" y="161"/>
                  </a:lnTo>
                  <a:lnTo>
                    <a:pt x="953" y="161"/>
                  </a:lnTo>
                  <a:lnTo>
                    <a:pt x="963" y="161"/>
                  </a:lnTo>
                  <a:lnTo>
                    <a:pt x="974" y="164"/>
                  </a:lnTo>
                  <a:lnTo>
                    <a:pt x="994" y="168"/>
                  </a:lnTo>
                  <a:lnTo>
                    <a:pt x="1017" y="171"/>
                  </a:lnTo>
                  <a:lnTo>
                    <a:pt x="1019" y="168"/>
                  </a:lnTo>
                  <a:lnTo>
                    <a:pt x="1021" y="165"/>
                  </a:lnTo>
                  <a:lnTo>
                    <a:pt x="1022" y="163"/>
                  </a:lnTo>
                  <a:lnTo>
                    <a:pt x="1022" y="161"/>
                  </a:lnTo>
                  <a:lnTo>
                    <a:pt x="1022" y="152"/>
                  </a:lnTo>
                  <a:lnTo>
                    <a:pt x="1021" y="146"/>
                  </a:lnTo>
                  <a:lnTo>
                    <a:pt x="1021" y="143"/>
                  </a:lnTo>
                  <a:lnTo>
                    <a:pt x="1019" y="140"/>
                  </a:lnTo>
                  <a:lnTo>
                    <a:pt x="1018" y="137"/>
                  </a:lnTo>
                  <a:lnTo>
                    <a:pt x="1015" y="134"/>
                  </a:lnTo>
                  <a:lnTo>
                    <a:pt x="1015" y="133"/>
                  </a:lnTo>
                  <a:lnTo>
                    <a:pt x="1015" y="130"/>
                  </a:lnTo>
                  <a:lnTo>
                    <a:pt x="1008" y="122"/>
                  </a:lnTo>
                  <a:lnTo>
                    <a:pt x="1000" y="116"/>
                  </a:lnTo>
                  <a:lnTo>
                    <a:pt x="1000" y="114"/>
                  </a:lnTo>
                  <a:lnTo>
                    <a:pt x="998" y="113"/>
                  </a:lnTo>
                  <a:lnTo>
                    <a:pt x="996" y="110"/>
                  </a:lnTo>
                  <a:lnTo>
                    <a:pt x="996" y="109"/>
                  </a:lnTo>
                  <a:lnTo>
                    <a:pt x="991" y="103"/>
                  </a:lnTo>
                  <a:lnTo>
                    <a:pt x="984" y="99"/>
                  </a:lnTo>
                  <a:lnTo>
                    <a:pt x="983" y="99"/>
                  </a:lnTo>
                  <a:lnTo>
                    <a:pt x="976" y="92"/>
                  </a:lnTo>
                  <a:lnTo>
                    <a:pt x="968" y="85"/>
                  </a:lnTo>
                  <a:lnTo>
                    <a:pt x="967" y="85"/>
                  </a:lnTo>
                  <a:lnTo>
                    <a:pt x="964" y="85"/>
                  </a:lnTo>
                  <a:lnTo>
                    <a:pt x="963" y="83"/>
                  </a:lnTo>
                  <a:lnTo>
                    <a:pt x="963" y="82"/>
                  </a:lnTo>
                  <a:lnTo>
                    <a:pt x="962" y="78"/>
                  </a:lnTo>
                  <a:lnTo>
                    <a:pt x="959" y="75"/>
                  </a:lnTo>
                  <a:lnTo>
                    <a:pt x="957" y="75"/>
                  </a:lnTo>
                  <a:lnTo>
                    <a:pt x="953" y="75"/>
                  </a:lnTo>
                  <a:lnTo>
                    <a:pt x="947" y="72"/>
                  </a:lnTo>
                  <a:lnTo>
                    <a:pt x="942" y="68"/>
                  </a:lnTo>
                  <a:lnTo>
                    <a:pt x="938" y="65"/>
                  </a:lnTo>
                  <a:lnTo>
                    <a:pt x="930" y="55"/>
                  </a:lnTo>
                  <a:lnTo>
                    <a:pt x="924" y="45"/>
                  </a:lnTo>
                  <a:lnTo>
                    <a:pt x="919" y="41"/>
                  </a:lnTo>
                  <a:lnTo>
                    <a:pt x="913" y="37"/>
                  </a:lnTo>
                  <a:lnTo>
                    <a:pt x="912" y="37"/>
                  </a:lnTo>
                  <a:lnTo>
                    <a:pt x="911" y="38"/>
                  </a:lnTo>
                  <a:lnTo>
                    <a:pt x="909" y="38"/>
                  </a:lnTo>
                  <a:lnTo>
                    <a:pt x="896" y="57"/>
                  </a:lnTo>
                  <a:lnTo>
                    <a:pt x="883" y="76"/>
                  </a:lnTo>
                  <a:lnTo>
                    <a:pt x="869" y="82"/>
                  </a:lnTo>
                  <a:lnTo>
                    <a:pt x="853" y="87"/>
                  </a:lnTo>
                  <a:lnTo>
                    <a:pt x="849" y="100"/>
                  </a:lnTo>
                  <a:lnTo>
                    <a:pt x="847" y="114"/>
                  </a:lnTo>
                  <a:lnTo>
                    <a:pt x="847" y="121"/>
                  </a:lnTo>
                  <a:lnTo>
                    <a:pt x="847" y="127"/>
                  </a:lnTo>
                  <a:lnTo>
                    <a:pt x="848" y="135"/>
                  </a:lnTo>
                  <a:lnTo>
                    <a:pt x="851" y="140"/>
                  </a:lnTo>
                  <a:lnTo>
                    <a:pt x="856" y="148"/>
                  </a:lnTo>
                  <a:lnTo>
                    <a:pt x="862" y="156"/>
                  </a:lnTo>
                  <a:lnTo>
                    <a:pt x="866" y="160"/>
                  </a:lnTo>
                  <a:lnTo>
                    <a:pt x="869" y="164"/>
                  </a:lnTo>
                  <a:lnTo>
                    <a:pt x="869" y="167"/>
                  </a:lnTo>
                  <a:lnTo>
                    <a:pt x="869" y="171"/>
                  </a:lnTo>
                  <a:lnTo>
                    <a:pt x="866" y="174"/>
                  </a:lnTo>
                  <a:lnTo>
                    <a:pt x="860" y="177"/>
                  </a:lnTo>
                  <a:lnTo>
                    <a:pt x="847" y="180"/>
                  </a:lnTo>
                  <a:lnTo>
                    <a:pt x="822" y="186"/>
                  </a:lnTo>
                  <a:lnTo>
                    <a:pt x="809" y="190"/>
                  </a:lnTo>
                  <a:lnTo>
                    <a:pt x="797" y="194"/>
                  </a:lnTo>
                  <a:lnTo>
                    <a:pt x="789" y="198"/>
                  </a:lnTo>
                  <a:lnTo>
                    <a:pt x="786" y="201"/>
                  </a:lnTo>
                  <a:lnTo>
                    <a:pt x="783" y="249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29" name="Freeform 52"/>
            <p:cNvSpPr>
              <a:spLocks/>
            </p:cNvSpPr>
            <p:nvPr/>
          </p:nvSpPr>
          <p:spPr bwMode="auto">
            <a:xfrm>
              <a:off x="6657975" y="2659063"/>
              <a:ext cx="557213" cy="820737"/>
            </a:xfrm>
            <a:custGeom>
              <a:avLst/>
              <a:gdLst/>
              <a:ahLst/>
              <a:cxnLst>
                <a:cxn ang="0">
                  <a:pos x="116" y="2148"/>
                </a:cxn>
                <a:cxn ang="0">
                  <a:pos x="168" y="2152"/>
                </a:cxn>
                <a:cxn ang="0">
                  <a:pos x="210" y="2231"/>
                </a:cxn>
                <a:cxn ang="0">
                  <a:pos x="512" y="2148"/>
                </a:cxn>
                <a:cxn ang="0">
                  <a:pos x="621" y="2033"/>
                </a:cxn>
                <a:cxn ang="0">
                  <a:pos x="691" y="1911"/>
                </a:cxn>
                <a:cxn ang="0">
                  <a:pos x="722" y="1795"/>
                </a:cxn>
                <a:cxn ang="0">
                  <a:pos x="879" y="1799"/>
                </a:cxn>
                <a:cxn ang="0">
                  <a:pos x="922" y="1847"/>
                </a:cxn>
                <a:cxn ang="0">
                  <a:pos x="943" y="1906"/>
                </a:cxn>
                <a:cxn ang="0">
                  <a:pos x="991" y="1890"/>
                </a:cxn>
                <a:cxn ang="0">
                  <a:pos x="1021" y="1869"/>
                </a:cxn>
                <a:cxn ang="0">
                  <a:pos x="1067" y="1845"/>
                </a:cxn>
                <a:cxn ang="0">
                  <a:pos x="1094" y="1800"/>
                </a:cxn>
                <a:cxn ang="0">
                  <a:pos x="1139" y="1775"/>
                </a:cxn>
                <a:cxn ang="0">
                  <a:pos x="1145" y="1740"/>
                </a:cxn>
                <a:cxn ang="0">
                  <a:pos x="1245" y="1752"/>
                </a:cxn>
                <a:cxn ang="0">
                  <a:pos x="1342" y="1709"/>
                </a:cxn>
                <a:cxn ang="0">
                  <a:pos x="1408" y="1617"/>
                </a:cxn>
                <a:cxn ang="0">
                  <a:pos x="1425" y="1586"/>
                </a:cxn>
                <a:cxn ang="0">
                  <a:pos x="1474" y="1567"/>
                </a:cxn>
                <a:cxn ang="0">
                  <a:pos x="1458" y="1359"/>
                </a:cxn>
                <a:cxn ang="0">
                  <a:pos x="1492" y="1285"/>
                </a:cxn>
                <a:cxn ang="0">
                  <a:pos x="1500" y="1099"/>
                </a:cxn>
                <a:cxn ang="0">
                  <a:pos x="1421" y="862"/>
                </a:cxn>
                <a:cxn ang="0">
                  <a:pos x="1264" y="858"/>
                </a:cxn>
                <a:cxn ang="0">
                  <a:pos x="1119" y="849"/>
                </a:cxn>
                <a:cxn ang="0">
                  <a:pos x="1117" y="771"/>
                </a:cxn>
                <a:cxn ang="0">
                  <a:pos x="1274" y="607"/>
                </a:cxn>
                <a:cxn ang="0">
                  <a:pos x="1274" y="365"/>
                </a:cxn>
                <a:cxn ang="0">
                  <a:pos x="1145" y="287"/>
                </a:cxn>
                <a:cxn ang="0">
                  <a:pos x="790" y="257"/>
                </a:cxn>
                <a:cxn ang="0">
                  <a:pos x="516" y="0"/>
                </a:cxn>
                <a:cxn ang="0">
                  <a:pos x="372" y="295"/>
                </a:cxn>
                <a:cxn ang="0">
                  <a:pos x="391" y="339"/>
                </a:cxn>
                <a:cxn ang="0">
                  <a:pos x="372" y="429"/>
                </a:cxn>
                <a:cxn ang="0">
                  <a:pos x="355" y="442"/>
                </a:cxn>
                <a:cxn ang="0">
                  <a:pos x="336" y="478"/>
                </a:cxn>
                <a:cxn ang="0">
                  <a:pos x="353" y="505"/>
                </a:cxn>
                <a:cxn ang="0">
                  <a:pos x="413" y="527"/>
                </a:cxn>
                <a:cxn ang="0">
                  <a:pos x="376" y="554"/>
                </a:cxn>
                <a:cxn ang="0">
                  <a:pos x="358" y="612"/>
                </a:cxn>
                <a:cxn ang="0">
                  <a:pos x="330" y="648"/>
                </a:cxn>
                <a:cxn ang="0">
                  <a:pos x="281" y="751"/>
                </a:cxn>
                <a:cxn ang="0">
                  <a:pos x="140" y="809"/>
                </a:cxn>
                <a:cxn ang="0">
                  <a:pos x="87" y="907"/>
                </a:cxn>
                <a:cxn ang="0">
                  <a:pos x="176" y="1001"/>
                </a:cxn>
                <a:cxn ang="0">
                  <a:pos x="255" y="1126"/>
                </a:cxn>
                <a:cxn ang="0">
                  <a:pos x="303" y="1229"/>
                </a:cxn>
                <a:cxn ang="0">
                  <a:pos x="334" y="1383"/>
                </a:cxn>
                <a:cxn ang="0">
                  <a:pos x="366" y="1433"/>
                </a:cxn>
                <a:cxn ang="0">
                  <a:pos x="282" y="1578"/>
                </a:cxn>
                <a:cxn ang="0">
                  <a:pos x="308" y="1605"/>
                </a:cxn>
                <a:cxn ang="0">
                  <a:pos x="325" y="1635"/>
                </a:cxn>
                <a:cxn ang="0">
                  <a:pos x="338" y="1747"/>
                </a:cxn>
                <a:cxn ang="0">
                  <a:pos x="308" y="1777"/>
                </a:cxn>
                <a:cxn ang="0">
                  <a:pos x="289" y="1784"/>
                </a:cxn>
                <a:cxn ang="0">
                  <a:pos x="270" y="1800"/>
                </a:cxn>
                <a:cxn ang="0">
                  <a:pos x="214" y="1838"/>
                </a:cxn>
                <a:cxn ang="0">
                  <a:pos x="129" y="1875"/>
                </a:cxn>
                <a:cxn ang="0">
                  <a:pos x="56" y="1934"/>
                </a:cxn>
                <a:cxn ang="0">
                  <a:pos x="0" y="1958"/>
                </a:cxn>
                <a:cxn ang="0">
                  <a:pos x="26" y="2042"/>
                </a:cxn>
              </a:cxnLst>
              <a:rect l="0" t="0" r="r" b="b"/>
              <a:pathLst>
                <a:path w="1518" h="2231">
                  <a:moveTo>
                    <a:pt x="11" y="2131"/>
                  </a:moveTo>
                  <a:lnTo>
                    <a:pt x="73" y="2126"/>
                  </a:lnTo>
                  <a:lnTo>
                    <a:pt x="81" y="2126"/>
                  </a:lnTo>
                  <a:lnTo>
                    <a:pt x="90" y="2126"/>
                  </a:lnTo>
                  <a:lnTo>
                    <a:pt x="96" y="2126"/>
                  </a:lnTo>
                  <a:lnTo>
                    <a:pt x="103" y="2128"/>
                  </a:lnTo>
                  <a:lnTo>
                    <a:pt x="108" y="2130"/>
                  </a:lnTo>
                  <a:lnTo>
                    <a:pt x="111" y="2132"/>
                  </a:lnTo>
                  <a:lnTo>
                    <a:pt x="113" y="2136"/>
                  </a:lnTo>
                  <a:lnTo>
                    <a:pt x="115" y="2140"/>
                  </a:lnTo>
                  <a:lnTo>
                    <a:pt x="115" y="2142"/>
                  </a:lnTo>
                  <a:lnTo>
                    <a:pt x="115" y="2145"/>
                  </a:lnTo>
                  <a:lnTo>
                    <a:pt x="116" y="2148"/>
                  </a:lnTo>
                  <a:lnTo>
                    <a:pt x="117" y="2149"/>
                  </a:lnTo>
                  <a:lnTo>
                    <a:pt x="119" y="2149"/>
                  </a:lnTo>
                  <a:lnTo>
                    <a:pt x="124" y="2148"/>
                  </a:lnTo>
                  <a:lnTo>
                    <a:pt x="132" y="2145"/>
                  </a:lnTo>
                  <a:lnTo>
                    <a:pt x="138" y="2142"/>
                  </a:lnTo>
                  <a:lnTo>
                    <a:pt x="146" y="2139"/>
                  </a:lnTo>
                  <a:lnTo>
                    <a:pt x="151" y="2139"/>
                  </a:lnTo>
                  <a:lnTo>
                    <a:pt x="155" y="2139"/>
                  </a:lnTo>
                  <a:lnTo>
                    <a:pt x="159" y="2140"/>
                  </a:lnTo>
                  <a:lnTo>
                    <a:pt x="162" y="2142"/>
                  </a:lnTo>
                  <a:lnTo>
                    <a:pt x="166" y="2145"/>
                  </a:lnTo>
                  <a:lnTo>
                    <a:pt x="167" y="2148"/>
                  </a:lnTo>
                  <a:lnTo>
                    <a:pt x="168" y="2152"/>
                  </a:lnTo>
                  <a:lnTo>
                    <a:pt x="168" y="2156"/>
                  </a:lnTo>
                  <a:lnTo>
                    <a:pt x="168" y="2165"/>
                  </a:lnTo>
                  <a:lnTo>
                    <a:pt x="167" y="2176"/>
                  </a:lnTo>
                  <a:lnTo>
                    <a:pt x="164" y="2185"/>
                  </a:lnTo>
                  <a:lnTo>
                    <a:pt x="164" y="2194"/>
                  </a:lnTo>
                  <a:lnTo>
                    <a:pt x="164" y="2198"/>
                  </a:lnTo>
                  <a:lnTo>
                    <a:pt x="166" y="2202"/>
                  </a:lnTo>
                  <a:lnTo>
                    <a:pt x="167" y="2204"/>
                  </a:lnTo>
                  <a:lnTo>
                    <a:pt x="170" y="2206"/>
                  </a:lnTo>
                  <a:lnTo>
                    <a:pt x="187" y="2217"/>
                  </a:lnTo>
                  <a:lnTo>
                    <a:pt x="201" y="2228"/>
                  </a:lnTo>
                  <a:lnTo>
                    <a:pt x="205" y="2229"/>
                  </a:lnTo>
                  <a:lnTo>
                    <a:pt x="210" y="2231"/>
                  </a:lnTo>
                  <a:lnTo>
                    <a:pt x="214" y="2231"/>
                  </a:lnTo>
                  <a:lnTo>
                    <a:pt x="221" y="2231"/>
                  </a:lnTo>
                  <a:lnTo>
                    <a:pt x="232" y="2228"/>
                  </a:lnTo>
                  <a:lnTo>
                    <a:pt x="248" y="2221"/>
                  </a:lnTo>
                  <a:lnTo>
                    <a:pt x="274" y="2210"/>
                  </a:lnTo>
                  <a:lnTo>
                    <a:pt x="303" y="2198"/>
                  </a:lnTo>
                  <a:lnTo>
                    <a:pt x="336" y="2186"/>
                  </a:lnTo>
                  <a:lnTo>
                    <a:pt x="368" y="2176"/>
                  </a:lnTo>
                  <a:lnTo>
                    <a:pt x="404" y="2166"/>
                  </a:lnTo>
                  <a:lnTo>
                    <a:pt x="438" y="2159"/>
                  </a:lnTo>
                  <a:lnTo>
                    <a:pt x="472" y="2153"/>
                  </a:lnTo>
                  <a:lnTo>
                    <a:pt x="504" y="2149"/>
                  </a:lnTo>
                  <a:lnTo>
                    <a:pt x="512" y="2148"/>
                  </a:lnTo>
                  <a:lnTo>
                    <a:pt x="527" y="2144"/>
                  </a:lnTo>
                  <a:lnTo>
                    <a:pt x="542" y="2140"/>
                  </a:lnTo>
                  <a:lnTo>
                    <a:pt x="552" y="2139"/>
                  </a:lnTo>
                  <a:lnTo>
                    <a:pt x="561" y="2138"/>
                  </a:lnTo>
                  <a:lnTo>
                    <a:pt x="567" y="2134"/>
                  </a:lnTo>
                  <a:lnTo>
                    <a:pt x="574" y="2130"/>
                  </a:lnTo>
                  <a:lnTo>
                    <a:pt x="578" y="2126"/>
                  </a:lnTo>
                  <a:lnTo>
                    <a:pt x="584" y="2117"/>
                  </a:lnTo>
                  <a:lnTo>
                    <a:pt x="587" y="2108"/>
                  </a:lnTo>
                  <a:lnTo>
                    <a:pt x="596" y="2084"/>
                  </a:lnTo>
                  <a:lnTo>
                    <a:pt x="608" y="2058"/>
                  </a:lnTo>
                  <a:lnTo>
                    <a:pt x="614" y="2045"/>
                  </a:lnTo>
                  <a:lnTo>
                    <a:pt x="621" y="2033"/>
                  </a:lnTo>
                  <a:lnTo>
                    <a:pt x="627" y="2021"/>
                  </a:lnTo>
                  <a:lnTo>
                    <a:pt x="634" y="2013"/>
                  </a:lnTo>
                  <a:lnTo>
                    <a:pt x="639" y="2003"/>
                  </a:lnTo>
                  <a:lnTo>
                    <a:pt x="643" y="1990"/>
                  </a:lnTo>
                  <a:lnTo>
                    <a:pt x="647" y="1978"/>
                  </a:lnTo>
                  <a:lnTo>
                    <a:pt x="651" y="1969"/>
                  </a:lnTo>
                  <a:lnTo>
                    <a:pt x="657" y="1957"/>
                  </a:lnTo>
                  <a:lnTo>
                    <a:pt x="667" y="1943"/>
                  </a:lnTo>
                  <a:lnTo>
                    <a:pt x="676" y="1930"/>
                  </a:lnTo>
                  <a:lnTo>
                    <a:pt x="684" y="1922"/>
                  </a:lnTo>
                  <a:lnTo>
                    <a:pt x="686" y="1919"/>
                  </a:lnTo>
                  <a:lnTo>
                    <a:pt x="689" y="1915"/>
                  </a:lnTo>
                  <a:lnTo>
                    <a:pt x="691" y="1911"/>
                  </a:lnTo>
                  <a:lnTo>
                    <a:pt x="693" y="1907"/>
                  </a:lnTo>
                  <a:lnTo>
                    <a:pt x="694" y="1896"/>
                  </a:lnTo>
                  <a:lnTo>
                    <a:pt x="695" y="1884"/>
                  </a:lnTo>
                  <a:lnTo>
                    <a:pt x="694" y="1859"/>
                  </a:lnTo>
                  <a:lnTo>
                    <a:pt x="693" y="1839"/>
                  </a:lnTo>
                  <a:lnTo>
                    <a:pt x="694" y="1833"/>
                  </a:lnTo>
                  <a:lnTo>
                    <a:pt x="695" y="1826"/>
                  </a:lnTo>
                  <a:lnTo>
                    <a:pt x="698" y="1820"/>
                  </a:lnTo>
                  <a:lnTo>
                    <a:pt x="701" y="1815"/>
                  </a:lnTo>
                  <a:lnTo>
                    <a:pt x="706" y="1809"/>
                  </a:lnTo>
                  <a:lnTo>
                    <a:pt x="710" y="1804"/>
                  </a:lnTo>
                  <a:lnTo>
                    <a:pt x="716" y="1799"/>
                  </a:lnTo>
                  <a:lnTo>
                    <a:pt x="722" y="1795"/>
                  </a:lnTo>
                  <a:lnTo>
                    <a:pt x="736" y="1787"/>
                  </a:lnTo>
                  <a:lnTo>
                    <a:pt x="752" y="1781"/>
                  </a:lnTo>
                  <a:lnTo>
                    <a:pt x="769" y="1777"/>
                  </a:lnTo>
                  <a:lnTo>
                    <a:pt x="787" y="1774"/>
                  </a:lnTo>
                  <a:lnTo>
                    <a:pt x="805" y="1773"/>
                  </a:lnTo>
                  <a:lnTo>
                    <a:pt x="824" y="1775"/>
                  </a:lnTo>
                  <a:lnTo>
                    <a:pt x="833" y="1777"/>
                  </a:lnTo>
                  <a:lnTo>
                    <a:pt x="841" y="1779"/>
                  </a:lnTo>
                  <a:lnTo>
                    <a:pt x="850" y="1782"/>
                  </a:lnTo>
                  <a:lnTo>
                    <a:pt x="858" y="1784"/>
                  </a:lnTo>
                  <a:lnTo>
                    <a:pt x="864" y="1790"/>
                  </a:lnTo>
                  <a:lnTo>
                    <a:pt x="872" y="1794"/>
                  </a:lnTo>
                  <a:lnTo>
                    <a:pt x="879" y="1799"/>
                  </a:lnTo>
                  <a:lnTo>
                    <a:pt x="884" y="1805"/>
                  </a:lnTo>
                  <a:lnTo>
                    <a:pt x="889" y="1812"/>
                  </a:lnTo>
                  <a:lnTo>
                    <a:pt x="894" y="1820"/>
                  </a:lnTo>
                  <a:lnTo>
                    <a:pt x="898" y="1828"/>
                  </a:lnTo>
                  <a:lnTo>
                    <a:pt x="901" y="1837"/>
                  </a:lnTo>
                  <a:lnTo>
                    <a:pt x="905" y="1839"/>
                  </a:lnTo>
                  <a:lnTo>
                    <a:pt x="910" y="1842"/>
                  </a:lnTo>
                  <a:lnTo>
                    <a:pt x="913" y="1842"/>
                  </a:lnTo>
                  <a:lnTo>
                    <a:pt x="913" y="1842"/>
                  </a:lnTo>
                  <a:lnTo>
                    <a:pt x="913" y="1843"/>
                  </a:lnTo>
                  <a:lnTo>
                    <a:pt x="915" y="1843"/>
                  </a:lnTo>
                  <a:lnTo>
                    <a:pt x="918" y="1845"/>
                  </a:lnTo>
                  <a:lnTo>
                    <a:pt x="922" y="1847"/>
                  </a:lnTo>
                  <a:lnTo>
                    <a:pt x="922" y="1847"/>
                  </a:lnTo>
                  <a:lnTo>
                    <a:pt x="922" y="1849"/>
                  </a:lnTo>
                  <a:lnTo>
                    <a:pt x="924" y="1856"/>
                  </a:lnTo>
                  <a:lnTo>
                    <a:pt x="926" y="1866"/>
                  </a:lnTo>
                  <a:lnTo>
                    <a:pt x="926" y="1867"/>
                  </a:lnTo>
                  <a:lnTo>
                    <a:pt x="927" y="1868"/>
                  </a:lnTo>
                  <a:lnTo>
                    <a:pt x="932" y="1888"/>
                  </a:lnTo>
                  <a:lnTo>
                    <a:pt x="933" y="1889"/>
                  </a:lnTo>
                  <a:lnTo>
                    <a:pt x="933" y="1892"/>
                  </a:lnTo>
                  <a:lnTo>
                    <a:pt x="933" y="1893"/>
                  </a:lnTo>
                  <a:lnTo>
                    <a:pt x="937" y="1900"/>
                  </a:lnTo>
                  <a:lnTo>
                    <a:pt x="941" y="1906"/>
                  </a:lnTo>
                  <a:lnTo>
                    <a:pt x="943" y="1906"/>
                  </a:lnTo>
                  <a:lnTo>
                    <a:pt x="945" y="1906"/>
                  </a:lnTo>
                  <a:lnTo>
                    <a:pt x="947" y="1907"/>
                  </a:lnTo>
                  <a:lnTo>
                    <a:pt x="948" y="1909"/>
                  </a:lnTo>
                  <a:lnTo>
                    <a:pt x="949" y="1910"/>
                  </a:lnTo>
                  <a:lnTo>
                    <a:pt x="952" y="1910"/>
                  </a:lnTo>
                  <a:lnTo>
                    <a:pt x="954" y="1910"/>
                  </a:lnTo>
                  <a:lnTo>
                    <a:pt x="958" y="1907"/>
                  </a:lnTo>
                  <a:lnTo>
                    <a:pt x="965" y="1905"/>
                  </a:lnTo>
                  <a:lnTo>
                    <a:pt x="975" y="1897"/>
                  </a:lnTo>
                  <a:lnTo>
                    <a:pt x="982" y="1892"/>
                  </a:lnTo>
                  <a:lnTo>
                    <a:pt x="983" y="1892"/>
                  </a:lnTo>
                  <a:lnTo>
                    <a:pt x="984" y="1892"/>
                  </a:lnTo>
                  <a:lnTo>
                    <a:pt x="991" y="1890"/>
                  </a:lnTo>
                  <a:lnTo>
                    <a:pt x="998" y="1890"/>
                  </a:lnTo>
                  <a:lnTo>
                    <a:pt x="1003" y="1888"/>
                  </a:lnTo>
                  <a:lnTo>
                    <a:pt x="1008" y="1885"/>
                  </a:lnTo>
                  <a:lnTo>
                    <a:pt x="1012" y="1881"/>
                  </a:lnTo>
                  <a:lnTo>
                    <a:pt x="1015" y="1879"/>
                  </a:lnTo>
                  <a:lnTo>
                    <a:pt x="1016" y="1877"/>
                  </a:lnTo>
                  <a:lnTo>
                    <a:pt x="1017" y="1876"/>
                  </a:lnTo>
                  <a:lnTo>
                    <a:pt x="1017" y="1876"/>
                  </a:lnTo>
                  <a:lnTo>
                    <a:pt x="1018" y="1875"/>
                  </a:lnTo>
                  <a:lnTo>
                    <a:pt x="1018" y="1873"/>
                  </a:lnTo>
                  <a:lnTo>
                    <a:pt x="1020" y="1872"/>
                  </a:lnTo>
                  <a:lnTo>
                    <a:pt x="1021" y="1871"/>
                  </a:lnTo>
                  <a:lnTo>
                    <a:pt x="1021" y="1869"/>
                  </a:lnTo>
                  <a:lnTo>
                    <a:pt x="1022" y="1869"/>
                  </a:lnTo>
                  <a:lnTo>
                    <a:pt x="1024" y="1868"/>
                  </a:lnTo>
                  <a:lnTo>
                    <a:pt x="1025" y="1867"/>
                  </a:lnTo>
                  <a:lnTo>
                    <a:pt x="1029" y="1866"/>
                  </a:lnTo>
                  <a:lnTo>
                    <a:pt x="1029" y="1864"/>
                  </a:lnTo>
                  <a:lnTo>
                    <a:pt x="1029" y="1864"/>
                  </a:lnTo>
                  <a:lnTo>
                    <a:pt x="1034" y="1862"/>
                  </a:lnTo>
                  <a:lnTo>
                    <a:pt x="1038" y="1860"/>
                  </a:lnTo>
                  <a:lnTo>
                    <a:pt x="1041" y="1860"/>
                  </a:lnTo>
                  <a:lnTo>
                    <a:pt x="1042" y="1859"/>
                  </a:lnTo>
                  <a:lnTo>
                    <a:pt x="1054" y="1854"/>
                  </a:lnTo>
                  <a:lnTo>
                    <a:pt x="1066" y="1846"/>
                  </a:lnTo>
                  <a:lnTo>
                    <a:pt x="1067" y="1845"/>
                  </a:lnTo>
                  <a:lnTo>
                    <a:pt x="1068" y="1843"/>
                  </a:lnTo>
                  <a:lnTo>
                    <a:pt x="1069" y="1841"/>
                  </a:lnTo>
                  <a:lnTo>
                    <a:pt x="1071" y="1838"/>
                  </a:lnTo>
                  <a:lnTo>
                    <a:pt x="1073" y="1837"/>
                  </a:lnTo>
                  <a:lnTo>
                    <a:pt x="1073" y="1835"/>
                  </a:lnTo>
                  <a:lnTo>
                    <a:pt x="1079" y="1824"/>
                  </a:lnTo>
                  <a:lnTo>
                    <a:pt x="1085" y="1813"/>
                  </a:lnTo>
                  <a:lnTo>
                    <a:pt x="1087" y="1811"/>
                  </a:lnTo>
                  <a:lnTo>
                    <a:pt x="1089" y="1808"/>
                  </a:lnTo>
                  <a:lnTo>
                    <a:pt x="1090" y="1805"/>
                  </a:lnTo>
                  <a:lnTo>
                    <a:pt x="1092" y="1803"/>
                  </a:lnTo>
                  <a:lnTo>
                    <a:pt x="1093" y="1801"/>
                  </a:lnTo>
                  <a:lnTo>
                    <a:pt x="1094" y="1800"/>
                  </a:lnTo>
                  <a:lnTo>
                    <a:pt x="1094" y="1799"/>
                  </a:lnTo>
                  <a:lnTo>
                    <a:pt x="1096" y="1798"/>
                  </a:lnTo>
                  <a:lnTo>
                    <a:pt x="1097" y="1798"/>
                  </a:lnTo>
                  <a:lnTo>
                    <a:pt x="1100" y="1796"/>
                  </a:lnTo>
                  <a:lnTo>
                    <a:pt x="1105" y="1792"/>
                  </a:lnTo>
                  <a:lnTo>
                    <a:pt x="1113" y="1787"/>
                  </a:lnTo>
                  <a:lnTo>
                    <a:pt x="1114" y="1786"/>
                  </a:lnTo>
                  <a:lnTo>
                    <a:pt x="1115" y="1786"/>
                  </a:lnTo>
                  <a:lnTo>
                    <a:pt x="1126" y="1782"/>
                  </a:lnTo>
                  <a:lnTo>
                    <a:pt x="1138" y="1778"/>
                  </a:lnTo>
                  <a:lnTo>
                    <a:pt x="1138" y="1777"/>
                  </a:lnTo>
                  <a:lnTo>
                    <a:pt x="1139" y="1775"/>
                  </a:lnTo>
                  <a:lnTo>
                    <a:pt x="1139" y="1775"/>
                  </a:lnTo>
                  <a:lnTo>
                    <a:pt x="1141" y="1773"/>
                  </a:lnTo>
                  <a:lnTo>
                    <a:pt x="1141" y="1771"/>
                  </a:lnTo>
                  <a:lnTo>
                    <a:pt x="1141" y="1769"/>
                  </a:lnTo>
                  <a:lnTo>
                    <a:pt x="1141" y="1766"/>
                  </a:lnTo>
                  <a:lnTo>
                    <a:pt x="1141" y="1765"/>
                  </a:lnTo>
                  <a:lnTo>
                    <a:pt x="1140" y="1764"/>
                  </a:lnTo>
                  <a:lnTo>
                    <a:pt x="1140" y="1762"/>
                  </a:lnTo>
                  <a:lnTo>
                    <a:pt x="1139" y="1760"/>
                  </a:lnTo>
                  <a:lnTo>
                    <a:pt x="1136" y="1756"/>
                  </a:lnTo>
                  <a:lnTo>
                    <a:pt x="1135" y="1750"/>
                  </a:lnTo>
                  <a:lnTo>
                    <a:pt x="1135" y="1745"/>
                  </a:lnTo>
                  <a:lnTo>
                    <a:pt x="1136" y="1743"/>
                  </a:lnTo>
                  <a:lnTo>
                    <a:pt x="1145" y="1740"/>
                  </a:lnTo>
                  <a:lnTo>
                    <a:pt x="1155" y="1739"/>
                  </a:lnTo>
                  <a:lnTo>
                    <a:pt x="1165" y="1737"/>
                  </a:lnTo>
                  <a:lnTo>
                    <a:pt x="1175" y="1737"/>
                  </a:lnTo>
                  <a:lnTo>
                    <a:pt x="1198" y="1740"/>
                  </a:lnTo>
                  <a:lnTo>
                    <a:pt x="1219" y="1741"/>
                  </a:lnTo>
                  <a:lnTo>
                    <a:pt x="1225" y="1743"/>
                  </a:lnTo>
                  <a:lnTo>
                    <a:pt x="1233" y="1745"/>
                  </a:lnTo>
                  <a:lnTo>
                    <a:pt x="1234" y="1747"/>
                  </a:lnTo>
                  <a:lnTo>
                    <a:pt x="1236" y="1747"/>
                  </a:lnTo>
                  <a:lnTo>
                    <a:pt x="1238" y="1748"/>
                  </a:lnTo>
                  <a:lnTo>
                    <a:pt x="1241" y="1749"/>
                  </a:lnTo>
                  <a:lnTo>
                    <a:pt x="1242" y="1752"/>
                  </a:lnTo>
                  <a:lnTo>
                    <a:pt x="1245" y="1752"/>
                  </a:lnTo>
                  <a:lnTo>
                    <a:pt x="1249" y="1753"/>
                  </a:lnTo>
                  <a:lnTo>
                    <a:pt x="1253" y="1752"/>
                  </a:lnTo>
                  <a:lnTo>
                    <a:pt x="1262" y="1750"/>
                  </a:lnTo>
                  <a:lnTo>
                    <a:pt x="1272" y="1749"/>
                  </a:lnTo>
                  <a:lnTo>
                    <a:pt x="1292" y="1743"/>
                  </a:lnTo>
                  <a:lnTo>
                    <a:pt x="1302" y="1737"/>
                  </a:lnTo>
                  <a:lnTo>
                    <a:pt x="1313" y="1731"/>
                  </a:lnTo>
                  <a:lnTo>
                    <a:pt x="1323" y="1723"/>
                  </a:lnTo>
                  <a:lnTo>
                    <a:pt x="1332" y="1716"/>
                  </a:lnTo>
                  <a:lnTo>
                    <a:pt x="1340" y="1711"/>
                  </a:lnTo>
                  <a:lnTo>
                    <a:pt x="1340" y="1710"/>
                  </a:lnTo>
                  <a:lnTo>
                    <a:pt x="1342" y="1710"/>
                  </a:lnTo>
                  <a:lnTo>
                    <a:pt x="1342" y="1709"/>
                  </a:lnTo>
                  <a:lnTo>
                    <a:pt x="1343" y="1707"/>
                  </a:lnTo>
                  <a:lnTo>
                    <a:pt x="1345" y="1706"/>
                  </a:lnTo>
                  <a:lnTo>
                    <a:pt x="1349" y="1702"/>
                  </a:lnTo>
                  <a:lnTo>
                    <a:pt x="1353" y="1698"/>
                  </a:lnTo>
                  <a:lnTo>
                    <a:pt x="1357" y="1693"/>
                  </a:lnTo>
                  <a:lnTo>
                    <a:pt x="1365" y="1680"/>
                  </a:lnTo>
                  <a:lnTo>
                    <a:pt x="1373" y="1665"/>
                  </a:lnTo>
                  <a:lnTo>
                    <a:pt x="1381" y="1651"/>
                  </a:lnTo>
                  <a:lnTo>
                    <a:pt x="1389" y="1638"/>
                  </a:lnTo>
                  <a:lnTo>
                    <a:pt x="1396" y="1627"/>
                  </a:lnTo>
                  <a:lnTo>
                    <a:pt x="1404" y="1622"/>
                  </a:lnTo>
                  <a:lnTo>
                    <a:pt x="1407" y="1620"/>
                  </a:lnTo>
                  <a:lnTo>
                    <a:pt x="1408" y="1617"/>
                  </a:lnTo>
                  <a:lnTo>
                    <a:pt x="1410" y="1613"/>
                  </a:lnTo>
                  <a:lnTo>
                    <a:pt x="1411" y="1609"/>
                  </a:lnTo>
                  <a:lnTo>
                    <a:pt x="1411" y="1608"/>
                  </a:lnTo>
                  <a:lnTo>
                    <a:pt x="1414" y="1605"/>
                  </a:lnTo>
                  <a:lnTo>
                    <a:pt x="1415" y="1603"/>
                  </a:lnTo>
                  <a:lnTo>
                    <a:pt x="1416" y="1600"/>
                  </a:lnTo>
                  <a:lnTo>
                    <a:pt x="1416" y="1599"/>
                  </a:lnTo>
                  <a:lnTo>
                    <a:pt x="1417" y="1597"/>
                  </a:lnTo>
                  <a:lnTo>
                    <a:pt x="1419" y="1595"/>
                  </a:lnTo>
                  <a:lnTo>
                    <a:pt x="1420" y="1592"/>
                  </a:lnTo>
                  <a:lnTo>
                    <a:pt x="1423" y="1590"/>
                  </a:lnTo>
                  <a:lnTo>
                    <a:pt x="1425" y="1586"/>
                  </a:lnTo>
                  <a:lnTo>
                    <a:pt x="1425" y="1586"/>
                  </a:lnTo>
                  <a:lnTo>
                    <a:pt x="1427" y="1584"/>
                  </a:lnTo>
                  <a:lnTo>
                    <a:pt x="1428" y="1583"/>
                  </a:lnTo>
                  <a:lnTo>
                    <a:pt x="1433" y="1580"/>
                  </a:lnTo>
                  <a:lnTo>
                    <a:pt x="1440" y="1579"/>
                  </a:lnTo>
                  <a:lnTo>
                    <a:pt x="1446" y="1579"/>
                  </a:lnTo>
                  <a:lnTo>
                    <a:pt x="1453" y="1579"/>
                  </a:lnTo>
                  <a:lnTo>
                    <a:pt x="1454" y="1579"/>
                  </a:lnTo>
                  <a:lnTo>
                    <a:pt x="1455" y="1579"/>
                  </a:lnTo>
                  <a:lnTo>
                    <a:pt x="1458" y="1578"/>
                  </a:lnTo>
                  <a:lnTo>
                    <a:pt x="1461" y="1576"/>
                  </a:lnTo>
                  <a:lnTo>
                    <a:pt x="1466" y="1574"/>
                  </a:lnTo>
                  <a:lnTo>
                    <a:pt x="1471" y="1570"/>
                  </a:lnTo>
                  <a:lnTo>
                    <a:pt x="1474" y="1567"/>
                  </a:lnTo>
                  <a:lnTo>
                    <a:pt x="1475" y="1565"/>
                  </a:lnTo>
                  <a:lnTo>
                    <a:pt x="1513" y="1528"/>
                  </a:lnTo>
                  <a:lnTo>
                    <a:pt x="1518" y="1450"/>
                  </a:lnTo>
                  <a:lnTo>
                    <a:pt x="1518" y="1440"/>
                  </a:lnTo>
                  <a:lnTo>
                    <a:pt x="1517" y="1431"/>
                  </a:lnTo>
                  <a:lnTo>
                    <a:pt x="1513" y="1423"/>
                  </a:lnTo>
                  <a:lnTo>
                    <a:pt x="1509" y="1416"/>
                  </a:lnTo>
                  <a:lnTo>
                    <a:pt x="1497" y="1403"/>
                  </a:lnTo>
                  <a:lnTo>
                    <a:pt x="1484" y="1389"/>
                  </a:lnTo>
                  <a:lnTo>
                    <a:pt x="1478" y="1383"/>
                  </a:lnTo>
                  <a:lnTo>
                    <a:pt x="1471" y="1376"/>
                  </a:lnTo>
                  <a:lnTo>
                    <a:pt x="1465" y="1368"/>
                  </a:lnTo>
                  <a:lnTo>
                    <a:pt x="1458" y="1359"/>
                  </a:lnTo>
                  <a:lnTo>
                    <a:pt x="1454" y="1350"/>
                  </a:lnTo>
                  <a:lnTo>
                    <a:pt x="1450" y="1338"/>
                  </a:lnTo>
                  <a:lnTo>
                    <a:pt x="1448" y="1325"/>
                  </a:lnTo>
                  <a:lnTo>
                    <a:pt x="1446" y="1311"/>
                  </a:lnTo>
                  <a:lnTo>
                    <a:pt x="1448" y="1307"/>
                  </a:lnTo>
                  <a:lnTo>
                    <a:pt x="1450" y="1304"/>
                  </a:lnTo>
                  <a:lnTo>
                    <a:pt x="1453" y="1302"/>
                  </a:lnTo>
                  <a:lnTo>
                    <a:pt x="1457" y="1300"/>
                  </a:lnTo>
                  <a:lnTo>
                    <a:pt x="1467" y="1298"/>
                  </a:lnTo>
                  <a:lnTo>
                    <a:pt x="1479" y="1295"/>
                  </a:lnTo>
                  <a:lnTo>
                    <a:pt x="1483" y="1293"/>
                  </a:lnTo>
                  <a:lnTo>
                    <a:pt x="1488" y="1289"/>
                  </a:lnTo>
                  <a:lnTo>
                    <a:pt x="1492" y="1285"/>
                  </a:lnTo>
                  <a:lnTo>
                    <a:pt x="1495" y="1278"/>
                  </a:lnTo>
                  <a:lnTo>
                    <a:pt x="1495" y="1272"/>
                  </a:lnTo>
                  <a:lnTo>
                    <a:pt x="1495" y="1263"/>
                  </a:lnTo>
                  <a:lnTo>
                    <a:pt x="1492" y="1251"/>
                  </a:lnTo>
                  <a:lnTo>
                    <a:pt x="1488" y="1238"/>
                  </a:lnTo>
                  <a:lnTo>
                    <a:pt x="1485" y="1229"/>
                  </a:lnTo>
                  <a:lnTo>
                    <a:pt x="1484" y="1219"/>
                  </a:lnTo>
                  <a:lnTo>
                    <a:pt x="1483" y="1209"/>
                  </a:lnTo>
                  <a:lnTo>
                    <a:pt x="1483" y="1197"/>
                  </a:lnTo>
                  <a:lnTo>
                    <a:pt x="1485" y="1174"/>
                  </a:lnTo>
                  <a:lnTo>
                    <a:pt x="1489" y="1149"/>
                  </a:lnTo>
                  <a:lnTo>
                    <a:pt x="1495" y="1124"/>
                  </a:lnTo>
                  <a:lnTo>
                    <a:pt x="1500" y="1099"/>
                  </a:lnTo>
                  <a:lnTo>
                    <a:pt x="1504" y="1077"/>
                  </a:lnTo>
                  <a:lnTo>
                    <a:pt x="1505" y="1057"/>
                  </a:lnTo>
                  <a:lnTo>
                    <a:pt x="1504" y="1038"/>
                  </a:lnTo>
                  <a:lnTo>
                    <a:pt x="1499" y="1017"/>
                  </a:lnTo>
                  <a:lnTo>
                    <a:pt x="1492" y="994"/>
                  </a:lnTo>
                  <a:lnTo>
                    <a:pt x="1484" y="971"/>
                  </a:lnTo>
                  <a:lnTo>
                    <a:pt x="1475" y="947"/>
                  </a:lnTo>
                  <a:lnTo>
                    <a:pt x="1465" y="926"/>
                  </a:lnTo>
                  <a:lnTo>
                    <a:pt x="1455" y="907"/>
                  </a:lnTo>
                  <a:lnTo>
                    <a:pt x="1446" y="890"/>
                  </a:lnTo>
                  <a:lnTo>
                    <a:pt x="1440" y="879"/>
                  </a:lnTo>
                  <a:lnTo>
                    <a:pt x="1432" y="870"/>
                  </a:lnTo>
                  <a:lnTo>
                    <a:pt x="1421" y="862"/>
                  </a:lnTo>
                  <a:lnTo>
                    <a:pt x="1411" y="854"/>
                  </a:lnTo>
                  <a:lnTo>
                    <a:pt x="1400" y="849"/>
                  </a:lnTo>
                  <a:lnTo>
                    <a:pt x="1389" y="844"/>
                  </a:lnTo>
                  <a:lnTo>
                    <a:pt x="1376" y="839"/>
                  </a:lnTo>
                  <a:lnTo>
                    <a:pt x="1362" y="836"/>
                  </a:lnTo>
                  <a:lnTo>
                    <a:pt x="1349" y="835"/>
                  </a:lnTo>
                  <a:lnTo>
                    <a:pt x="1336" y="833"/>
                  </a:lnTo>
                  <a:lnTo>
                    <a:pt x="1323" y="833"/>
                  </a:lnTo>
                  <a:lnTo>
                    <a:pt x="1310" y="836"/>
                  </a:lnTo>
                  <a:lnTo>
                    <a:pt x="1297" y="839"/>
                  </a:lnTo>
                  <a:lnTo>
                    <a:pt x="1285" y="844"/>
                  </a:lnTo>
                  <a:lnTo>
                    <a:pt x="1275" y="850"/>
                  </a:lnTo>
                  <a:lnTo>
                    <a:pt x="1264" y="858"/>
                  </a:lnTo>
                  <a:lnTo>
                    <a:pt x="1254" y="866"/>
                  </a:lnTo>
                  <a:lnTo>
                    <a:pt x="1243" y="873"/>
                  </a:lnTo>
                  <a:lnTo>
                    <a:pt x="1233" y="877"/>
                  </a:lnTo>
                  <a:lnTo>
                    <a:pt x="1223" y="879"/>
                  </a:lnTo>
                  <a:lnTo>
                    <a:pt x="1211" y="881"/>
                  </a:lnTo>
                  <a:lnTo>
                    <a:pt x="1200" y="881"/>
                  </a:lnTo>
                  <a:lnTo>
                    <a:pt x="1190" y="879"/>
                  </a:lnTo>
                  <a:lnTo>
                    <a:pt x="1179" y="878"/>
                  </a:lnTo>
                  <a:lnTo>
                    <a:pt x="1169" y="874"/>
                  </a:lnTo>
                  <a:lnTo>
                    <a:pt x="1158" y="870"/>
                  </a:lnTo>
                  <a:lnTo>
                    <a:pt x="1148" y="865"/>
                  </a:lnTo>
                  <a:lnTo>
                    <a:pt x="1138" y="860"/>
                  </a:lnTo>
                  <a:lnTo>
                    <a:pt x="1119" y="849"/>
                  </a:lnTo>
                  <a:lnTo>
                    <a:pt x="1101" y="837"/>
                  </a:lnTo>
                  <a:lnTo>
                    <a:pt x="1092" y="831"/>
                  </a:lnTo>
                  <a:lnTo>
                    <a:pt x="1085" y="824"/>
                  </a:lnTo>
                  <a:lnTo>
                    <a:pt x="1080" y="819"/>
                  </a:lnTo>
                  <a:lnTo>
                    <a:pt x="1076" y="814"/>
                  </a:lnTo>
                  <a:lnTo>
                    <a:pt x="1073" y="810"/>
                  </a:lnTo>
                  <a:lnTo>
                    <a:pt x="1072" y="806"/>
                  </a:lnTo>
                  <a:lnTo>
                    <a:pt x="1072" y="802"/>
                  </a:lnTo>
                  <a:lnTo>
                    <a:pt x="1073" y="799"/>
                  </a:lnTo>
                  <a:lnTo>
                    <a:pt x="1080" y="792"/>
                  </a:lnTo>
                  <a:lnTo>
                    <a:pt x="1089" y="785"/>
                  </a:lnTo>
                  <a:lnTo>
                    <a:pt x="1102" y="779"/>
                  </a:lnTo>
                  <a:lnTo>
                    <a:pt x="1117" y="771"/>
                  </a:lnTo>
                  <a:lnTo>
                    <a:pt x="1160" y="747"/>
                  </a:lnTo>
                  <a:lnTo>
                    <a:pt x="1202" y="722"/>
                  </a:lnTo>
                  <a:lnTo>
                    <a:pt x="1212" y="714"/>
                  </a:lnTo>
                  <a:lnTo>
                    <a:pt x="1221" y="708"/>
                  </a:lnTo>
                  <a:lnTo>
                    <a:pt x="1230" y="700"/>
                  </a:lnTo>
                  <a:lnTo>
                    <a:pt x="1238" y="691"/>
                  </a:lnTo>
                  <a:lnTo>
                    <a:pt x="1246" y="682"/>
                  </a:lnTo>
                  <a:lnTo>
                    <a:pt x="1253" y="671"/>
                  </a:lnTo>
                  <a:lnTo>
                    <a:pt x="1259" y="660"/>
                  </a:lnTo>
                  <a:lnTo>
                    <a:pt x="1264" y="648"/>
                  </a:lnTo>
                  <a:lnTo>
                    <a:pt x="1268" y="633"/>
                  </a:lnTo>
                  <a:lnTo>
                    <a:pt x="1271" y="620"/>
                  </a:lnTo>
                  <a:lnTo>
                    <a:pt x="1274" y="607"/>
                  </a:lnTo>
                  <a:lnTo>
                    <a:pt x="1274" y="594"/>
                  </a:lnTo>
                  <a:lnTo>
                    <a:pt x="1272" y="569"/>
                  </a:lnTo>
                  <a:lnTo>
                    <a:pt x="1268" y="547"/>
                  </a:lnTo>
                  <a:lnTo>
                    <a:pt x="1264" y="523"/>
                  </a:lnTo>
                  <a:lnTo>
                    <a:pt x="1259" y="500"/>
                  </a:lnTo>
                  <a:lnTo>
                    <a:pt x="1258" y="488"/>
                  </a:lnTo>
                  <a:lnTo>
                    <a:pt x="1257" y="475"/>
                  </a:lnTo>
                  <a:lnTo>
                    <a:pt x="1257" y="463"/>
                  </a:lnTo>
                  <a:lnTo>
                    <a:pt x="1258" y="449"/>
                  </a:lnTo>
                  <a:lnTo>
                    <a:pt x="1263" y="420"/>
                  </a:lnTo>
                  <a:lnTo>
                    <a:pt x="1268" y="393"/>
                  </a:lnTo>
                  <a:lnTo>
                    <a:pt x="1271" y="378"/>
                  </a:lnTo>
                  <a:lnTo>
                    <a:pt x="1274" y="365"/>
                  </a:lnTo>
                  <a:lnTo>
                    <a:pt x="1275" y="353"/>
                  </a:lnTo>
                  <a:lnTo>
                    <a:pt x="1275" y="343"/>
                  </a:lnTo>
                  <a:lnTo>
                    <a:pt x="1274" y="332"/>
                  </a:lnTo>
                  <a:lnTo>
                    <a:pt x="1271" y="322"/>
                  </a:lnTo>
                  <a:lnTo>
                    <a:pt x="1266" y="314"/>
                  </a:lnTo>
                  <a:lnTo>
                    <a:pt x="1259" y="308"/>
                  </a:lnTo>
                  <a:lnTo>
                    <a:pt x="1250" y="302"/>
                  </a:lnTo>
                  <a:lnTo>
                    <a:pt x="1238" y="297"/>
                  </a:lnTo>
                  <a:lnTo>
                    <a:pt x="1224" y="295"/>
                  </a:lnTo>
                  <a:lnTo>
                    <a:pt x="1206" y="295"/>
                  </a:lnTo>
                  <a:lnTo>
                    <a:pt x="1187" y="293"/>
                  </a:lnTo>
                  <a:lnTo>
                    <a:pt x="1166" y="291"/>
                  </a:lnTo>
                  <a:lnTo>
                    <a:pt x="1145" y="287"/>
                  </a:lnTo>
                  <a:lnTo>
                    <a:pt x="1123" y="283"/>
                  </a:lnTo>
                  <a:lnTo>
                    <a:pt x="1079" y="272"/>
                  </a:lnTo>
                  <a:lnTo>
                    <a:pt x="1038" y="264"/>
                  </a:lnTo>
                  <a:lnTo>
                    <a:pt x="1021" y="261"/>
                  </a:lnTo>
                  <a:lnTo>
                    <a:pt x="1004" y="259"/>
                  </a:lnTo>
                  <a:lnTo>
                    <a:pt x="987" y="259"/>
                  </a:lnTo>
                  <a:lnTo>
                    <a:pt x="969" y="259"/>
                  </a:lnTo>
                  <a:lnTo>
                    <a:pt x="932" y="259"/>
                  </a:lnTo>
                  <a:lnTo>
                    <a:pt x="896" y="262"/>
                  </a:lnTo>
                  <a:lnTo>
                    <a:pt x="859" y="262"/>
                  </a:lnTo>
                  <a:lnTo>
                    <a:pt x="824" y="261"/>
                  </a:lnTo>
                  <a:lnTo>
                    <a:pt x="807" y="259"/>
                  </a:lnTo>
                  <a:lnTo>
                    <a:pt x="790" y="257"/>
                  </a:lnTo>
                  <a:lnTo>
                    <a:pt x="774" y="251"/>
                  </a:lnTo>
                  <a:lnTo>
                    <a:pt x="760" y="246"/>
                  </a:lnTo>
                  <a:lnTo>
                    <a:pt x="748" y="241"/>
                  </a:lnTo>
                  <a:lnTo>
                    <a:pt x="737" y="233"/>
                  </a:lnTo>
                  <a:lnTo>
                    <a:pt x="727" y="224"/>
                  </a:lnTo>
                  <a:lnTo>
                    <a:pt x="716" y="215"/>
                  </a:lnTo>
                  <a:lnTo>
                    <a:pt x="695" y="193"/>
                  </a:lnTo>
                  <a:lnTo>
                    <a:pt x="676" y="168"/>
                  </a:lnTo>
                  <a:lnTo>
                    <a:pt x="656" y="142"/>
                  </a:lnTo>
                  <a:lnTo>
                    <a:pt x="637" y="117"/>
                  </a:lnTo>
                  <a:lnTo>
                    <a:pt x="618" y="94"/>
                  </a:lnTo>
                  <a:lnTo>
                    <a:pt x="599" y="75"/>
                  </a:lnTo>
                  <a:lnTo>
                    <a:pt x="516" y="0"/>
                  </a:lnTo>
                  <a:lnTo>
                    <a:pt x="401" y="210"/>
                  </a:lnTo>
                  <a:lnTo>
                    <a:pt x="397" y="215"/>
                  </a:lnTo>
                  <a:lnTo>
                    <a:pt x="393" y="220"/>
                  </a:lnTo>
                  <a:lnTo>
                    <a:pt x="392" y="221"/>
                  </a:lnTo>
                  <a:lnTo>
                    <a:pt x="391" y="221"/>
                  </a:lnTo>
                  <a:lnTo>
                    <a:pt x="391" y="223"/>
                  </a:lnTo>
                  <a:lnTo>
                    <a:pt x="387" y="227"/>
                  </a:lnTo>
                  <a:lnTo>
                    <a:pt x="384" y="232"/>
                  </a:lnTo>
                  <a:lnTo>
                    <a:pt x="381" y="237"/>
                  </a:lnTo>
                  <a:lnTo>
                    <a:pt x="379" y="242"/>
                  </a:lnTo>
                  <a:lnTo>
                    <a:pt x="375" y="255"/>
                  </a:lnTo>
                  <a:lnTo>
                    <a:pt x="374" y="268"/>
                  </a:lnTo>
                  <a:lnTo>
                    <a:pt x="372" y="295"/>
                  </a:lnTo>
                  <a:lnTo>
                    <a:pt x="372" y="321"/>
                  </a:lnTo>
                  <a:lnTo>
                    <a:pt x="371" y="322"/>
                  </a:lnTo>
                  <a:lnTo>
                    <a:pt x="370" y="323"/>
                  </a:lnTo>
                  <a:lnTo>
                    <a:pt x="375" y="329"/>
                  </a:lnTo>
                  <a:lnTo>
                    <a:pt x="380" y="331"/>
                  </a:lnTo>
                  <a:lnTo>
                    <a:pt x="381" y="331"/>
                  </a:lnTo>
                  <a:lnTo>
                    <a:pt x="383" y="331"/>
                  </a:lnTo>
                  <a:lnTo>
                    <a:pt x="384" y="331"/>
                  </a:lnTo>
                  <a:lnTo>
                    <a:pt x="385" y="332"/>
                  </a:lnTo>
                  <a:lnTo>
                    <a:pt x="387" y="332"/>
                  </a:lnTo>
                  <a:lnTo>
                    <a:pt x="388" y="335"/>
                  </a:lnTo>
                  <a:lnTo>
                    <a:pt x="391" y="338"/>
                  </a:lnTo>
                  <a:lnTo>
                    <a:pt x="391" y="339"/>
                  </a:lnTo>
                  <a:lnTo>
                    <a:pt x="391" y="342"/>
                  </a:lnTo>
                  <a:lnTo>
                    <a:pt x="391" y="357"/>
                  </a:lnTo>
                  <a:lnTo>
                    <a:pt x="388" y="374"/>
                  </a:lnTo>
                  <a:lnTo>
                    <a:pt x="387" y="407"/>
                  </a:lnTo>
                  <a:lnTo>
                    <a:pt x="387" y="410"/>
                  </a:lnTo>
                  <a:lnTo>
                    <a:pt x="385" y="414"/>
                  </a:lnTo>
                  <a:lnTo>
                    <a:pt x="385" y="414"/>
                  </a:lnTo>
                  <a:lnTo>
                    <a:pt x="384" y="415"/>
                  </a:lnTo>
                  <a:lnTo>
                    <a:pt x="381" y="420"/>
                  </a:lnTo>
                  <a:lnTo>
                    <a:pt x="378" y="424"/>
                  </a:lnTo>
                  <a:lnTo>
                    <a:pt x="376" y="425"/>
                  </a:lnTo>
                  <a:lnTo>
                    <a:pt x="375" y="427"/>
                  </a:lnTo>
                  <a:lnTo>
                    <a:pt x="372" y="429"/>
                  </a:lnTo>
                  <a:lnTo>
                    <a:pt x="370" y="431"/>
                  </a:lnTo>
                  <a:lnTo>
                    <a:pt x="370" y="432"/>
                  </a:lnTo>
                  <a:lnTo>
                    <a:pt x="368" y="433"/>
                  </a:lnTo>
                  <a:lnTo>
                    <a:pt x="367" y="435"/>
                  </a:lnTo>
                  <a:lnTo>
                    <a:pt x="366" y="435"/>
                  </a:lnTo>
                  <a:lnTo>
                    <a:pt x="363" y="436"/>
                  </a:lnTo>
                  <a:lnTo>
                    <a:pt x="362" y="437"/>
                  </a:lnTo>
                  <a:lnTo>
                    <a:pt x="362" y="437"/>
                  </a:lnTo>
                  <a:lnTo>
                    <a:pt x="361" y="438"/>
                  </a:lnTo>
                  <a:lnTo>
                    <a:pt x="359" y="438"/>
                  </a:lnTo>
                  <a:lnTo>
                    <a:pt x="358" y="440"/>
                  </a:lnTo>
                  <a:lnTo>
                    <a:pt x="357" y="441"/>
                  </a:lnTo>
                  <a:lnTo>
                    <a:pt x="355" y="442"/>
                  </a:lnTo>
                  <a:lnTo>
                    <a:pt x="353" y="444"/>
                  </a:lnTo>
                  <a:lnTo>
                    <a:pt x="351" y="446"/>
                  </a:lnTo>
                  <a:lnTo>
                    <a:pt x="347" y="450"/>
                  </a:lnTo>
                  <a:lnTo>
                    <a:pt x="346" y="457"/>
                  </a:lnTo>
                  <a:lnTo>
                    <a:pt x="345" y="459"/>
                  </a:lnTo>
                  <a:lnTo>
                    <a:pt x="344" y="463"/>
                  </a:lnTo>
                  <a:lnTo>
                    <a:pt x="342" y="465"/>
                  </a:lnTo>
                  <a:lnTo>
                    <a:pt x="340" y="467"/>
                  </a:lnTo>
                  <a:lnTo>
                    <a:pt x="338" y="470"/>
                  </a:lnTo>
                  <a:lnTo>
                    <a:pt x="337" y="472"/>
                  </a:lnTo>
                  <a:lnTo>
                    <a:pt x="337" y="475"/>
                  </a:lnTo>
                  <a:lnTo>
                    <a:pt x="337" y="476"/>
                  </a:lnTo>
                  <a:lnTo>
                    <a:pt x="336" y="478"/>
                  </a:lnTo>
                  <a:lnTo>
                    <a:pt x="334" y="480"/>
                  </a:lnTo>
                  <a:lnTo>
                    <a:pt x="333" y="483"/>
                  </a:lnTo>
                  <a:lnTo>
                    <a:pt x="332" y="484"/>
                  </a:lnTo>
                  <a:lnTo>
                    <a:pt x="332" y="484"/>
                  </a:lnTo>
                  <a:lnTo>
                    <a:pt x="330" y="487"/>
                  </a:lnTo>
                  <a:lnTo>
                    <a:pt x="329" y="491"/>
                  </a:lnTo>
                  <a:lnTo>
                    <a:pt x="329" y="492"/>
                  </a:lnTo>
                  <a:lnTo>
                    <a:pt x="329" y="493"/>
                  </a:lnTo>
                  <a:lnTo>
                    <a:pt x="330" y="495"/>
                  </a:lnTo>
                  <a:lnTo>
                    <a:pt x="332" y="495"/>
                  </a:lnTo>
                  <a:lnTo>
                    <a:pt x="340" y="499"/>
                  </a:lnTo>
                  <a:lnTo>
                    <a:pt x="349" y="504"/>
                  </a:lnTo>
                  <a:lnTo>
                    <a:pt x="353" y="505"/>
                  </a:lnTo>
                  <a:lnTo>
                    <a:pt x="358" y="508"/>
                  </a:lnTo>
                  <a:lnTo>
                    <a:pt x="359" y="508"/>
                  </a:lnTo>
                  <a:lnTo>
                    <a:pt x="361" y="509"/>
                  </a:lnTo>
                  <a:lnTo>
                    <a:pt x="362" y="510"/>
                  </a:lnTo>
                  <a:lnTo>
                    <a:pt x="363" y="512"/>
                  </a:lnTo>
                  <a:lnTo>
                    <a:pt x="371" y="516"/>
                  </a:lnTo>
                  <a:lnTo>
                    <a:pt x="380" y="520"/>
                  </a:lnTo>
                  <a:lnTo>
                    <a:pt x="387" y="521"/>
                  </a:lnTo>
                  <a:lnTo>
                    <a:pt x="393" y="523"/>
                  </a:lnTo>
                  <a:lnTo>
                    <a:pt x="397" y="523"/>
                  </a:lnTo>
                  <a:lnTo>
                    <a:pt x="405" y="525"/>
                  </a:lnTo>
                  <a:lnTo>
                    <a:pt x="409" y="526"/>
                  </a:lnTo>
                  <a:lnTo>
                    <a:pt x="413" y="527"/>
                  </a:lnTo>
                  <a:lnTo>
                    <a:pt x="414" y="529"/>
                  </a:lnTo>
                  <a:lnTo>
                    <a:pt x="415" y="533"/>
                  </a:lnTo>
                  <a:lnTo>
                    <a:pt x="414" y="534"/>
                  </a:lnTo>
                  <a:lnTo>
                    <a:pt x="413" y="534"/>
                  </a:lnTo>
                  <a:lnTo>
                    <a:pt x="410" y="534"/>
                  </a:lnTo>
                  <a:lnTo>
                    <a:pt x="409" y="534"/>
                  </a:lnTo>
                  <a:lnTo>
                    <a:pt x="408" y="535"/>
                  </a:lnTo>
                  <a:lnTo>
                    <a:pt x="404" y="537"/>
                  </a:lnTo>
                  <a:lnTo>
                    <a:pt x="398" y="538"/>
                  </a:lnTo>
                  <a:lnTo>
                    <a:pt x="381" y="547"/>
                  </a:lnTo>
                  <a:lnTo>
                    <a:pt x="380" y="550"/>
                  </a:lnTo>
                  <a:lnTo>
                    <a:pt x="378" y="552"/>
                  </a:lnTo>
                  <a:lnTo>
                    <a:pt x="376" y="554"/>
                  </a:lnTo>
                  <a:lnTo>
                    <a:pt x="375" y="555"/>
                  </a:lnTo>
                  <a:lnTo>
                    <a:pt x="374" y="556"/>
                  </a:lnTo>
                  <a:lnTo>
                    <a:pt x="372" y="559"/>
                  </a:lnTo>
                  <a:lnTo>
                    <a:pt x="372" y="560"/>
                  </a:lnTo>
                  <a:lnTo>
                    <a:pt x="371" y="563"/>
                  </a:lnTo>
                  <a:lnTo>
                    <a:pt x="370" y="564"/>
                  </a:lnTo>
                  <a:lnTo>
                    <a:pt x="370" y="565"/>
                  </a:lnTo>
                  <a:lnTo>
                    <a:pt x="368" y="568"/>
                  </a:lnTo>
                  <a:lnTo>
                    <a:pt x="367" y="571"/>
                  </a:lnTo>
                  <a:lnTo>
                    <a:pt x="366" y="582"/>
                  </a:lnTo>
                  <a:lnTo>
                    <a:pt x="362" y="598"/>
                  </a:lnTo>
                  <a:lnTo>
                    <a:pt x="361" y="605"/>
                  </a:lnTo>
                  <a:lnTo>
                    <a:pt x="358" y="612"/>
                  </a:lnTo>
                  <a:lnTo>
                    <a:pt x="354" y="618"/>
                  </a:lnTo>
                  <a:lnTo>
                    <a:pt x="351" y="620"/>
                  </a:lnTo>
                  <a:lnTo>
                    <a:pt x="346" y="623"/>
                  </a:lnTo>
                  <a:lnTo>
                    <a:pt x="342" y="628"/>
                  </a:lnTo>
                  <a:lnTo>
                    <a:pt x="341" y="628"/>
                  </a:lnTo>
                  <a:lnTo>
                    <a:pt x="341" y="629"/>
                  </a:lnTo>
                  <a:lnTo>
                    <a:pt x="340" y="629"/>
                  </a:lnTo>
                  <a:lnTo>
                    <a:pt x="340" y="632"/>
                  </a:lnTo>
                  <a:lnTo>
                    <a:pt x="340" y="632"/>
                  </a:lnTo>
                  <a:lnTo>
                    <a:pt x="338" y="633"/>
                  </a:lnTo>
                  <a:lnTo>
                    <a:pt x="337" y="635"/>
                  </a:lnTo>
                  <a:lnTo>
                    <a:pt x="333" y="641"/>
                  </a:lnTo>
                  <a:lnTo>
                    <a:pt x="330" y="648"/>
                  </a:lnTo>
                  <a:lnTo>
                    <a:pt x="330" y="650"/>
                  </a:lnTo>
                  <a:lnTo>
                    <a:pt x="327" y="665"/>
                  </a:lnTo>
                  <a:lnTo>
                    <a:pt x="319" y="687"/>
                  </a:lnTo>
                  <a:lnTo>
                    <a:pt x="311" y="711"/>
                  </a:lnTo>
                  <a:lnTo>
                    <a:pt x="307" y="725"/>
                  </a:lnTo>
                  <a:lnTo>
                    <a:pt x="304" y="734"/>
                  </a:lnTo>
                  <a:lnTo>
                    <a:pt x="299" y="743"/>
                  </a:lnTo>
                  <a:lnTo>
                    <a:pt x="298" y="745"/>
                  </a:lnTo>
                  <a:lnTo>
                    <a:pt x="296" y="746"/>
                  </a:lnTo>
                  <a:lnTo>
                    <a:pt x="294" y="747"/>
                  </a:lnTo>
                  <a:lnTo>
                    <a:pt x="291" y="748"/>
                  </a:lnTo>
                  <a:lnTo>
                    <a:pt x="286" y="748"/>
                  </a:lnTo>
                  <a:lnTo>
                    <a:pt x="281" y="751"/>
                  </a:lnTo>
                  <a:lnTo>
                    <a:pt x="277" y="754"/>
                  </a:lnTo>
                  <a:lnTo>
                    <a:pt x="272" y="756"/>
                  </a:lnTo>
                  <a:lnTo>
                    <a:pt x="261" y="764"/>
                  </a:lnTo>
                  <a:lnTo>
                    <a:pt x="249" y="773"/>
                  </a:lnTo>
                  <a:lnTo>
                    <a:pt x="239" y="782"/>
                  </a:lnTo>
                  <a:lnTo>
                    <a:pt x="226" y="792"/>
                  </a:lnTo>
                  <a:lnTo>
                    <a:pt x="221" y="794"/>
                  </a:lnTo>
                  <a:lnTo>
                    <a:pt x="214" y="797"/>
                  </a:lnTo>
                  <a:lnTo>
                    <a:pt x="206" y="799"/>
                  </a:lnTo>
                  <a:lnTo>
                    <a:pt x="200" y="801"/>
                  </a:lnTo>
                  <a:lnTo>
                    <a:pt x="188" y="802"/>
                  </a:lnTo>
                  <a:lnTo>
                    <a:pt x="163" y="805"/>
                  </a:lnTo>
                  <a:lnTo>
                    <a:pt x="140" y="809"/>
                  </a:lnTo>
                  <a:lnTo>
                    <a:pt x="125" y="813"/>
                  </a:lnTo>
                  <a:lnTo>
                    <a:pt x="120" y="818"/>
                  </a:lnTo>
                  <a:lnTo>
                    <a:pt x="116" y="826"/>
                  </a:lnTo>
                  <a:lnTo>
                    <a:pt x="112" y="836"/>
                  </a:lnTo>
                  <a:lnTo>
                    <a:pt x="108" y="848"/>
                  </a:lnTo>
                  <a:lnTo>
                    <a:pt x="106" y="860"/>
                  </a:lnTo>
                  <a:lnTo>
                    <a:pt x="102" y="871"/>
                  </a:lnTo>
                  <a:lnTo>
                    <a:pt x="96" y="882"/>
                  </a:lnTo>
                  <a:lnTo>
                    <a:pt x="91" y="890"/>
                  </a:lnTo>
                  <a:lnTo>
                    <a:pt x="87" y="895"/>
                  </a:lnTo>
                  <a:lnTo>
                    <a:pt x="86" y="900"/>
                  </a:lnTo>
                  <a:lnTo>
                    <a:pt x="86" y="904"/>
                  </a:lnTo>
                  <a:lnTo>
                    <a:pt x="87" y="907"/>
                  </a:lnTo>
                  <a:lnTo>
                    <a:pt x="90" y="909"/>
                  </a:lnTo>
                  <a:lnTo>
                    <a:pt x="94" y="911"/>
                  </a:lnTo>
                  <a:lnTo>
                    <a:pt x="98" y="912"/>
                  </a:lnTo>
                  <a:lnTo>
                    <a:pt x="103" y="913"/>
                  </a:lnTo>
                  <a:lnTo>
                    <a:pt x="115" y="915"/>
                  </a:lnTo>
                  <a:lnTo>
                    <a:pt x="125" y="917"/>
                  </a:lnTo>
                  <a:lnTo>
                    <a:pt x="130" y="919"/>
                  </a:lnTo>
                  <a:lnTo>
                    <a:pt x="134" y="921"/>
                  </a:lnTo>
                  <a:lnTo>
                    <a:pt x="138" y="922"/>
                  </a:lnTo>
                  <a:lnTo>
                    <a:pt x="141" y="926"/>
                  </a:lnTo>
                  <a:lnTo>
                    <a:pt x="155" y="962"/>
                  </a:lnTo>
                  <a:lnTo>
                    <a:pt x="168" y="989"/>
                  </a:lnTo>
                  <a:lnTo>
                    <a:pt x="176" y="1001"/>
                  </a:lnTo>
                  <a:lnTo>
                    <a:pt x="185" y="1013"/>
                  </a:lnTo>
                  <a:lnTo>
                    <a:pt x="197" y="1024"/>
                  </a:lnTo>
                  <a:lnTo>
                    <a:pt x="211" y="1039"/>
                  </a:lnTo>
                  <a:lnTo>
                    <a:pt x="217" y="1044"/>
                  </a:lnTo>
                  <a:lnTo>
                    <a:pt x="222" y="1049"/>
                  </a:lnTo>
                  <a:lnTo>
                    <a:pt x="225" y="1055"/>
                  </a:lnTo>
                  <a:lnTo>
                    <a:pt x="227" y="1061"/>
                  </a:lnTo>
                  <a:lnTo>
                    <a:pt x="232" y="1073"/>
                  </a:lnTo>
                  <a:lnTo>
                    <a:pt x="238" y="1086"/>
                  </a:lnTo>
                  <a:lnTo>
                    <a:pt x="255" y="1100"/>
                  </a:lnTo>
                  <a:lnTo>
                    <a:pt x="268" y="1109"/>
                  </a:lnTo>
                  <a:lnTo>
                    <a:pt x="260" y="1117"/>
                  </a:lnTo>
                  <a:lnTo>
                    <a:pt x="255" y="1126"/>
                  </a:lnTo>
                  <a:lnTo>
                    <a:pt x="251" y="1136"/>
                  </a:lnTo>
                  <a:lnTo>
                    <a:pt x="249" y="1145"/>
                  </a:lnTo>
                  <a:lnTo>
                    <a:pt x="249" y="1153"/>
                  </a:lnTo>
                  <a:lnTo>
                    <a:pt x="249" y="1162"/>
                  </a:lnTo>
                  <a:lnTo>
                    <a:pt x="252" y="1171"/>
                  </a:lnTo>
                  <a:lnTo>
                    <a:pt x="256" y="1180"/>
                  </a:lnTo>
                  <a:lnTo>
                    <a:pt x="260" y="1188"/>
                  </a:lnTo>
                  <a:lnTo>
                    <a:pt x="265" y="1196"/>
                  </a:lnTo>
                  <a:lnTo>
                    <a:pt x="272" y="1204"/>
                  </a:lnTo>
                  <a:lnTo>
                    <a:pt x="279" y="1210"/>
                  </a:lnTo>
                  <a:lnTo>
                    <a:pt x="287" y="1217"/>
                  </a:lnTo>
                  <a:lnTo>
                    <a:pt x="295" y="1223"/>
                  </a:lnTo>
                  <a:lnTo>
                    <a:pt x="303" y="1229"/>
                  </a:lnTo>
                  <a:lnTo>
                    <a:pt x="312" y="1232"/>
                  </a:lnTo>
                  <a:lnTo>
                    <a:pt x="327" y="1239"/>
                  </a:lnTo>
                  <a:lnTo>
                    <a:pt x="349" y="1251"/>
                  </a:lnTo>
                  <a:lnTo>
                    <a:pt x="370" y="1261"/>
                  </a:lnTo>
                  <a:lnTo>
                    <a:pt x="379" y="1268"/>
                  </a:lnTo>
                  <a:lnTo>
                    <a:pt x="379" y="1278"/>
                  </a:lnTo>
                  <a:lnTo>
                    <a:pt x="375" y="1289"/>
                  </a:lnTo>
                  <a:lnTo>
                    <a:pt x="370" y="1302"/>
                  </a:lnTo>
                  <a:lnTo>
                    <a:pt x="363" y="1316"/>
                  </a:lnTo>
                  <a:lnTo>
                    <a:pt x="351" y="1344"/>
                  </a:lnTo>
                  <a:lnTo>
                    <a:pt x="341" y="1365"/>
                  </a:lnTo>
                  <a:lnTo>
                    <a:pt x="338" y="1372"/>
                  </a:lnTo>
                  <a:lnTo>
                    <a:pt x="334" y="1383"/>
                  </a:lnTo>
                  <a:lnTo>
                    <a:pt x="334" y="1388"/>
                  </a:lnTo>
                  <a:lnTo>
                    <a:pt x="334" y="1393"/>
                  </a:lnTo>
                  <a:lnTo>
                    <a:pt x="336" y="1397"/>
                  </a:lnTo>
                  <a:lnTo>
                    <a:pt x="340" y="1400"/>
                  </a:lnTo>
                  <a:lnTo>
                    <a:pt x="341" y="1401"/>
                  </a:lnTo>
                  <a:lnTo>
                    <a:pt x="342" y="1403"/>
                  </a:lnTo>
                  <a:lnTo>
                    <a:pt x="345" y="1406"/>
                  </a:lnTo>
                  <a:lnTo>
                    <a:pt x="349" y="1410"/>
                  </a:lnTo>
                  <a:lnTo>
                    <a:pt x="351" y="1413"/>
                  </a:lnTo>
                  <a:lnTo>
                    <a:pt x="354" y="1416"/>
                  </a:lnTo>
                  <a:lnTo>
                    <a:pt x="358" y="1422"/>
                  </a:lnTo>
                  <a:lnTo>
                    <a:pt x="363" y="1429"/>
                  </a:lnTo>
                  <a:lnTo>
                    <a:pt x="366" y="1433"/>
                  </a:lnTo>
                  <a:lnTo>
                    <a:pt x="368" y="1437"/>
                  </a:lnTo>
                  <a:lnTo>
                    <a:pt x="368" y="1442"/>
                  </a:lnTo>
                  <a:lnTo>
                    <a:pt x="367" y="1447"/>
                  </a:lnTo>
                  <a:lnTo>
                    <a:pt x="364" y="1452"/>
                  </a:lnTo>
                  <a:lnTo>
                    <a:pt x="361" y="1457"/>
                  </a:lnTo>
                  <a:lnTo>
                    <a:pt x="355" y="1460"/>
                  </a:lnTo>
                  <a:lnTo>
                    <a:pt x="350" y="1463"/>
                  </a:lnTo>
                  <a:lnTo>
                    <a:pt x="341" y="1467"/>
                  </a:lnTo>
                  <a:lnTo>
                    <a:pt x="327" y="1472"/>
                  </a:lnTo>
                  <a:lnTo>
                    <a:pt x="311" y="1478"/>
                  </a:lnTo>
                  <a:lnTo>
                    <a:pt x="299" y="1484"/>
                  </a:lnTo>
                  <a:lnTo>
                    <a:pt x="247" y="1511"/>
                  </a:lnTo>
                  <a:lnTo>
                    <a:pt x="282" y="1578"/>
                  </a:lnTo>
                  <a:lnTo>
                    <a:pt x="289" y="1582"/>
                  </a:lnTo>
                  <a:lnTo>
                    <a:pt x="294" y="1586"/>
                  </a:lnTo>
                  <a:lnTo>
                    <a:pt x="295" y="1587"/>
                  </a:lnTo>
                  <a:lnTo>
                    <a:pt x="296" y="1588"/>
                  </a:lnTo>
                  <a:lnTo>
                    <a:pt x="300" y="1591"/>
                  </a:lnTo>
                  <a:lnTo>
                    <a:pt x="302" y="1593"/>
                  </a:lnTo>
                  <a:lnTo>
                    <a:pt x="303" y="1595"/>
                  </a:lnTo>
                  <a:lnTo>
                    <a:pt x="303" y="1596"/>
                  </a:lnTo>
                  <a:lnTo>
                    <a:pt x="304" y="1599"/>
                  </a:lnTo>
                  <a:lnTo>
                    <a:pt x="306" y="1600"/>
                  </a:lnTo>
                  <a:lnTo>
                    <a:pt x="307" y="1603"/>
                  </a:lnTo>
                  <a:lnTo>
                    <a:pt x="308" y="1604"/>
                  </a:lnTo>
                  <a:lnTo>
                    <a:pt x="308" y="1605"/>
                  </a:lnTo>
                  <a:lnTo>
                    <a:pt x="308" y="1607"/>
                  </a:lnTo>
                  <a:lnTo>
                    <a:pt x="308" y="1607"/>
                  </a:lnTo>
                  <a:lnTo>
                    <a:pt x="310" y="1610"/>
                  </a:lnTo>
                  <a:lnTo>
                    <a:pt x="311" y="1613"/>
                  </a:lnTo>
                  <a:lnTo>
                    <a:pt x="313" y="1616"/>
                  </a:lnTo>
                  <a:lnTo>
                    <a:pt x="316" y="1618"/>
                  </a:lnTo>
                  <a:lnTo>
                    <a:pt x="319" y="1622"/>
                  </a:lnTo>
                  <a:lnTo>
                    <a:pt x="320" y="1627"/>
                  </a:lnTo>
                  <a:lnTo>
                    <a:pt x="321" y="1629"/>
                  </a:lnTo>
                  <a:lnTo>
                    <a:pt x="323" y="1631"/>
                  </a:lnTo>
                  <a:lnTo>
                    <a:pt x="325" y="1631"/>
                  </a:lnTo>
                  <a:lnTo>
                    <a:pt x="325" y="1633"/>
                  </a:lnTo>
                  <a:lnTo>
                    <a:pt x="325" y="1635"/>
                  </a:lnTo>
                  <a:lnTo>
                    <a:pt x="327" y="1637"/>
                  </a:lnTo>
                  <a:lnTo>
                    <a:pt x="328" y="1638"/>
                  </a:lnTo>
                  <a:lnTo>
                    <a:pt x="330" y="1650"/>
                  </a:lnTo>
                  <a:lnTo>
                    <a:pt x="333" y="1663"/>
                  </a:lnTo>
                  <a:lnTo>
                    <a:pt x="334" y="1669"/>
                  </a:lnTo>
                  <a:lnTo>
                    <a:pt x="334" y="1677"/>
                  </a:lnTo>
                  <a:lnTo>
                    <a:pt x="336" y="1689"/>
                  </a:lnTo>
                  <a:lnTo>
                    <a:pt x="337" y="1702"/>
                  </a:lnTo>
                  <a:lnTo>
                    <a:pt x="338" y="1716"/>
                  </a:lnTo>
                  <a:lnTo>
                    <a:pt x="341" y="1728"/>
                  </a:lnTo>
                  <a:lnTo>
                    <a:pt x="341" y="1735"/>
                  </a:lnTo>
                  <a:lnTo>
                    <a:pt x="340" y="1741"/>
                  </a:lnTo>
                  <a:lnTo>
                    <a:pt x="338" y="1747"/>
                  </a:lnTo>
                  <a:lnTo>
                    <a:pt x="337" y="1752"/>
                  </a:lnTo>
                  <a:lnTo>
                    <a:pt x="334" y="1754"/>
                  </a:lnTo>
                  <a:lnTo>
                    <a:pt x="332" y="1758"/>
                  </a:lnTo>
                  <a:lnTo>
                    <a:pt x="332" y="1760"/>
                  </a:lnTo>
                  <a:lnTo>
                    <a:pt x="317" y="1771"/>
                  </a:lnTo>
                  <a:lnTo>
                    <a:pt x="315" y="1773"/>
                  </a:lnTo>
                  <a:lnTo>
                    <a:pt x="313" y="1774"/>
                  </a:lnTo>
                  <a:lnTo>
                    <a:pt x="312" y="1775"/>
                  </a:lnTo>
                  <a:lnTo>
                    <a:pt x="312" y="1775"/>
                  </a:lnTo>
                  <a:lnTo>
                    <a:pt x="311" y="1775"/>
                  </a:lnTo>
                  <a:lnTo>
                    <a:pt x="310" y="1775"/>
                  </a:lnTo>
                  <a:lnTo>
                    <a:pt x="308" y="1775"/>
                  </a:lnTo>
                  <a:lnTo>
                    <a:pt x="308" y="1777"/>
                  </a:lnTo>
                  <a:lnTo>
                    <a:pt x="307" y="1777"/>
                  </a:lnTo>
                  <a:lnTo>
                    <a:pt x="307" y="1777"/>
                  </a:lnTo>
                  <a:lnTo>
                    <a:pt x="306" y="1778"/>
                  </a:lnTo>
                  <a:lnTo>
                    <a:pt x="304" y="1778"/>
                  </a:lnTo>
                  <a:lnTo>
                    <a:pt x="304" y="1778"/>
                  </a:lnTo>
                  <a:lnTo>
                    <a:pt x="303" y="1779"/>
                  </a:lnTo>
                  <a:lnTo>
                    <a:pt x="302" y="1779"/>
                  </a:lnTo>
                  <a:lnTo>
                    <a:pt x="298" y="1781"/>
                  </a:lnTo>
                  <a:lnTo>
                    <a:pt x="294" y="1782"/>
                  </a:lnTo>
                  <a:lnTo>
                    <a:pt x="294" y="1783"/>
                  </a:lnTo>
                  <a:lnTo>
                    <a:pt x="293" y="1783"/>
                  </a:lnTo>
                  <a:lnTo>
                    <a:pt x="290" y="1784"/>
                  </a:lnTo>
                  <a:lnTo>
                    <a:pt x="289" y="1784"/>
                  </a:lnTo>
                  <a:lnTo>
                    <a:pt x="289" y="1786"/>
                  </a:lnTo>
                  <a:lnTo>
                    <a:pt x="287" y="1786"/>
                  </a:lnTo>
                  <a:lnTo>
                    <a:pt x="286" y="1786"/>
                  </a:lnTo>
                  <a:lnTo>
                    <a:pt x="285" y="1787"/>
                  </a:lnTo>
                  <a:lnTo>
                    <a:pt x="283" y="1788"/>
                  </a:lnTo>
                  <a:lnTo>
                    <a:pt x="282" y="1788"/>
                  </a:lnTo>
                  <a:lnTo>
                    <a:pt x="281" y="1790"/>
                  </a:lnTo>
                  <a:lnTo>
                    <a:pt x="281" y="1790"/>
                  </a:lnTo>
                  <a:lnTo>
                    <a:pt x="281" y="1791"/>
                  </a:lnTo>
                  <a:lnTo>
                    <a:pt x="278" y="1794"/>
                  </a:lnTo>
                  <a:lnTo>
                    <a:pt x="276" y="1796"/>
                  </a:lnTo>
                  <a:lnTo>
                    <a:pt x="273" y="1798"/>
                  </a:lnTo>
                  <a:lnTo>
                    <a:pt x="270" y="1800"/>
                  </a:lnTo>
                  <a:lnTo>
                    <a:pt x="268" y="1801"/>
                  </a:lnTo>
                  <a:lnTo>
                    <a:pt x="265" y="1804"/>
                  </a:lnTo>
                  <a:lnTo>
                    <a:pt x="264" y="1805"/>
                  </a:lnTo>
                  <a:lnTo>
                    <a:pt x="262" y="1807"/>
                  </a:lnTo>
                  <a:lnTo>
                    <a:pt x="259" y="1812"/>
                  </a:lnTo>
                  <a:lnTo>
                    <a:pt x="255" y="1816"/>
                  </a:lnTo>
                  <a:lnTo>
                    <a:pt x="251" y="1818"/>
                  </a:lnTo>
                  <a:lnTo>
                    <a:pt x="247" y="1821"/>
                  </a:lnTo>
                  <a:lnTo>
                    <a:pt x="244" y="1825"/>
                  </a:lnTo>
                  <a:lnTo>
                    <a:pt x="240" y="1828"/>
                  </a:lnTo>
                  <a:lnTo>
                    <a:pt x="235" y="1832"/>
                  </a:lnTo>
                  <a:lnTo>
                    <a:pt x="230" y="1834"/>
                  </a:lnTo>
                  <a:lnTo>
                    <a:pt x="214" y="1838"/>
                  </a:lnTo>
                  <a:lnTo>
                    <a:pt x="197" y="1842"/>
                  </a:lnTo>
                  <a:lnTo>
                    <a:pt x="163" y="1846"/>
                  </a:lnTo>
                  <a:lnTo>
                    <a:pt x="138" y="1847"/>
                  </a:lnTo>
                  <a:lnTo>
                    <a:pt x="137" y="1847"/>
                  </a:lnTo>
                  <a:lnTo>
                    <a:pt x="137" y="1849"/>
                  </a:lnTo>
                  <a:lnTo>
                    <a:pt x="134" y="1850"/>
                  </a:lnTo>
                  <a:lnTo>
                    <a:pt x="134" y="1851"/>
                  </a:lnTo>
                  <a:lnTo>
                    <a:pt x="133" y="1855"/>
                  </a:lnTo>
                  <a:lnTo>
                    <a:pt x="132" y="1859"/>
                  </a:lnTo>
                  <a:lnTo>
                    <a:pt x="132" y="1862"/>
                  </a:lnTo>
                  <a:lnTo>
                    <a:pt x="132" y="1864"/>
                  </a:lnTo>
                  <a:lnTo>
                    <a:pt x="130" y="1869"/>
                  </a:lnTo>
                  <a:lnTo>
                    <a:pt x="129" y="1875"/>
                  </a:lnTo>
                  <a:lnTo>
                    <a:pt x="128" y="1876"/>
                  </a:lnTo>
                  <a:lnTo>
                    <a:pt x="126" y="1877"/>
                  </a:lnTo>
                  <a:lnTo>
                    <a:pt x="126" y="1879"/>
                  </a:lnTo>
                  <a:lnTo>
                    <a:pt x="125" y="1880"/>
                  </a:lnTo>
                  <a:lnTo>
                    <a:pt x="124" y="1880"/>
                  </a:lnTo>
                  <a:lnTo>
                    <a:pt x="124" y="1881"/>
                  </a:lnTo>
                  <a:lnTo>
                    <a:pt x="123" y="1884"/>
                  </a:lnTo>
                  <a:lnTo>
                    <a:pt x="120" y="1885"/>
                  </a:lnTo>
                  <a:lnTo>
                    <a:pt x="94" y="1913"/>
                  </a:lnTo>
                  <a:lnTo>
                    <a:pt x="86" y="1919"/>
                  </a:lnTo>
                  <a:lnTo>
                    <a:pt x="77" y="1924"/>
                  </a:lnTo>
                  <a:lnTo>
                    <a:pt x="66" y="1930"/>
                  </a:lnTo>
                  <a:lnTo>
                    <a:pt x="56" y="1934"/>
                  </a:lnTo>
                  <a:lnTo>
                    <a:pt x="56" y="1935"/>
                  </a:lnTo>
                  <a:lnTo>
                    <a:pt x="54" y="1935"/>
                  </a:lnTo>
                  <a:lnTo>
                    <a:pt x="49" y="1938"/>
                  </a:lnTo>
                  <a:lnTo>
                    <a:pt x="45" y="1940"/>
                  </a:lnTo>
                  <a:lnTo>
                    <a:pt x="32" y="1945"/>
                  </a:lnTo>
                  <a:lnTo>
                    <a:pt x="17" y="1951"/>
                  </a:lnTo>
                  <a:lnTo>
                    <a:pt x="15" y="1951"/>
                  </a:lnTo>
                  <a:lnTo>
                    <a:pt x="13" y="1952"/>
                  </a:lnTo>
                  <a:lnTo>
                    <a:pt x="9" y="1955"/>
                  </a:lnTo>
                  <a:lnTo>
                    <a:pt x="3" y="1957"/>
                  </a:lnTo>
                  <a:lnTo>
                    <a:pt x="2" y="1957"/>
                  </a:lnTo>
                  <a:lnTo>
                    <a:pt x="1" y="1957"/>
                  </a:lnTo>
                  <a:lnTo>
                    <a:pt x="0" y="1958"/>
                  </a:lnTo>
                  <a:lnTo>
                    <a:pt x="0" y="1961"/>
                  </a:lnTo>
                  <a:lnTo>
                    <a:pt x="2" y="1968"/>
                  </a:lnTo>
                  <a:lnTo>
                    <a:pt x="6" y="1975"/>
                  </a:lnTo>
                  <a:lnTo>
                    <a:pt x="6" y="1987"/>
                  </a:lnTo>
                  <a:lnTo>
                    <a:pt x="6" y="2002"/>
                  </a:lnTo>
                  <a:lnTo>
                    <a:pt x="7" y="2003"/>
                  </a:lnTo>
                  <a:lnTo>
                    <a:pt x="7" y="2004"/>
                  </a:lnTo>
                  <a:lnTo>
                    <a:pt x="14" y="2015"/>
                  </a:lnTo>
                  <a:lnTo>
                    <a:pt x="19" y="2028"/>
                  </a:lnTo>
                  <a:lnTo>
                    <a:pt x="22" y="2032"/>
                  </a:lnTo>
                  <a:lnTo>
                    <a:pt x="23" y="2037"/>
                  </a:lnTo>
                  <a:lnTo>
                    <a:pt x="24" y="2040"/>
                  </a:lnTo>
                  <a:lnTo>
                    <a:pt x="26" y="2042"/>
                  </a:lnTo>
                  <a:lnTo>
                    <a:pt x="28" y="2046"/>
                  </a:lnTo>
                  <a:lnTo>
                    <a:pt x="31" y="2053"/>
                  </a:lnTo>
                  <a:lnTo>
                    <a:pt x="31" y="2060"/>
                  </a:lnTo>
                  <a:lnTo>
                    <a:pt x="30" y="2066"/>
                  </a:lnTo>
                  <a:lnTo>
                    <a:pt x="30" y="2068"/>
                  </a:lnTo>
                  <a:lnTo>
                    <a:pt x="30" y="2071"/>
                  </a:lnTo>
                  <a:lnTo>
                    <a:pt x="28" y="2072"/>
                  </a:lnTo>
                  <a:lnTo>
                    <a:pt x="28" y="2075"/>
                  </a:lnTo>
                  <a:lnTo>
                    <a:pt x="11" y="2131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30" name="Freeform 54"/>
            <p:cNvSpPr>
              <a:spLocks/>
            </p:cNvSpPr>
            <p:nvPr/>
          </p:nvSpPr>
          <p:spPr bwMode="auto">
            <a:xfrm>
              <a:off x="5956300" y="3055938"/>
              <a:ext cx="827088" cy="1003300"/>
            </a:xfrm>
            <a:custGeom>
              <a:avLst/>
              <a:gdLst/>
              <a:ahLst/>
              <a:cxnLst>
                <a:cxn ang="0">
                  <a:pos x="309" y="1314"/>
                </a:cxn>
                <a:cxn ang="0">
                  <a:pos x="361" y="1242"/>
                </a:cxn>
                <a:cxn ang="0">
                  <a:pos x="326" y="1193"/>
                </a:cxn>
                <a:cxn ang="0">
                  <a:pos x="312" y="1155"/>
                </a:cxn>
                <a:cxn ang="0">
                  <a:pos x="307" y="1127"/>
                </a:cxn>
                <a:cxn ang="0">
                  <a:pos x="329" y="1064"/>
                </a:cxn>
                <a:cxn ang="0">
                  <a:pos x="364" y="920"/>
                </a:cxn>
                <a:cxn ang="0">
                  <a:pos x="436" y="879"/>
                </a:cxn>
                <a:cxn ang="0">
                  <a:pos x="414" y="823"/>
                </a:cxn>
                <a:cxn ang="0">
                  <a:pos x="356" y="800"/>
                </a:cxn>
                <a:cxn ang="0">
                  <a:pos x="325" y="801"/>
                </a:cxn>
                <a:cxn ang="0">
                  <a:pos x="324" y="645"/>
                </a:cxn>
                <a:cxn ang="0">
                  <a:pos x="253" y="535"/>
                </a:cxn>
                <a:cxn ang="0">
                  <a:pos x="399" y="432"/>
                </a:cxn>
                <a:cxn ang="0">
                  <a:pos x="513" y="407"/>
                </a:cxn>
                <a:cxn ang="0">
                  <a:pos x="614" y="317"/>
                </a:cxn>
                <a:cxn ang="0">
                  <a:pos x="654" y="130"/>
                </a:cxn>
                <a:cxn ang="0">
                  <a:pos x="690" y="104"/>
                </a:cxn>
                <a:cxn ang="0">
                  <a:pos x="784" y="7"/>
                </a:cxn>
                <a:cxn ang="0">
                  <a:pos x="822" y="40"/>
                </a:cxn>
                <a:cxn ang="0">
                  <a:pos x="893" y="262"/>
                </a:cxn>
                <a:cxn ang="0">
                  <a:pos x="1188" y="272"/>
                </a:cxn>
                <a:cxn ang="0">
                  <a:pos x="1265" y="439"/>
                </a:cxn>
                <a:cxn ang="0">
                  <a:pos x="1468" y="309"/>
                </a:cxn>
                <a:cxn ang="0">
                  <a:pos x="1618" y="326"/>
                </a:cxn>
                <a:cxn ang="0">
                  <a:pos x="1752" y="491"/>
                </a:cxn>
                <a:cxn ang="0">
                  <a:pos x="1808" y="563"/>
                </a:cxn>
                <a:cxn ang="0">
                  <a:pos x="1949" y="534"/>
                </a:cxn>
                <a:cxn ang="0">
                  <a:pos x="2215" y="524"/>
                </a:cxn>
                <a:cxn ang="0">
                  <a:pos x="2238" y="571"/>
                </a:cxn>
                <a:cxn ang="0">
                  <a:pos x="2220" y="696"/>
                </a:cxn>
                <a:cxn ang="0">
                  <a:pos x="2197" y="705"/>
                </a:cxn>
                <a:cxn ang="0">
                  <a:pos x="2167" y="733"/>
                </a:cxn>
                <a:cxn ang="0">
                  <a:pos x="2040" y="783"/>
                </a:cxn>
                <a:cxn ang="0">
                  <a:pos x="1962" y="856"/>
                </a:cxn>
                <a:cxn ang="0">
                  <a:pos x="1915" y="925"/>
                </a:cxn>
                <a:cxn ang="0">
                  <a:pos x="1872" y="1099"/>
                </a:cxn>
                <a:cxn ang="0">
                  <a:pos x="1764" y="1161"/>
                </a:cxn>
                <a:cxn ang="0">
                  <a:pos x="1738" y="1308"/>
                </a:cxn>
                <a:cxn ang="0">
                  <a:pos x="1630" y="1526"/>
                </a:cxn>
                <a:cxn ang="0">
                  <a:pos x="1494" y="1476"/>
                </a:cxn>
                <a:cxn ang="0">
                  <a:pos x="1400" y="1565"/>
                </a:cxn>
                <a:cxn ang="0">
                  <a:pos x="1274" y="1698"/>
                </a:cxn>
                <a:cxn ang="0">
                  <a:pos x="1119" y="1749"/>
                </a:cxn>
                <a:cxn ang="0">
                  <a:pos x="1067" y="1981"/>
                </a:cxn>
                <a:cxn ang="0">
                  <a:pos x="1043" y="2138"/>
                </a:cxn>
                <a:cxn ang="0">
                  <a:pos x="1127" y="2293"/>
                </a:cxn>
                <a:cxn ang="0">
                  <a:pos x="964" y="2507"/>
                </a:cxn>
                <a:cxn ang="0">
                  <a:pos x="906" y="2435"/>
                </a:cxn>
                <a:cxn ang="0">
                  <a:pos x="686" y="2401"/>
                </a:cxn>
                <a:cxn ang="0">
                  <a:pos x="517" y="2402"/>
                </a:cxn>
                <a:cxn ang="0">
                  <a:pos x="462" y="2562"/>
                </a:cxn>
                <a:cxn ang="0">
                  <a:pos x="364" y="2691"/>
                </a:cxn>
                <a:cxn ang="0">
                  <a:pos x="198" y="2675"/>
                </a:cxn>
                <a:cxn ang="0">
                  <a:pos x="135" y="2632"/>
                </a:cxn>
                <a:cxn ang="0">
                  <a:pos x="44" y="2399"/>
                </a:cxn>
                <a:cxn ang="0">
                  <a:pos x="91" y="2125"/>
                </a:cxn>
                <a:cxn ang="0">
                  <a:pos x="41" y="1918"/>
                </a:cxn>
                <a:cxn ang="0">
                  <a:pos x="14" y="1768"/>
                </a:cxn>
                <a:cxn ang="0">
                  <a:pos x="215" y="1783"/>
                </a:cxn>
                <a:cxn ang="0">
                  <a:pos x="202" y="1636"/>
                </a:cxn>
                <a:cxn ang="0">
                  <a:pos x="177" y="1459"/>
                </a:cxn>
                <a:cxn ang="0">
                  <a:pos x="189" y="1388"/>
                </a:cxn>
              </a:cxnLst>
              <a:rect l="0" t="0" r="r" b="b"/>
              <a:pathLst>
                <a:path w="2249" h="2732">
                  <a:moveTo>
                    <a:pt x="208" y="1336"/>
                  </a:moveTo>
                  <a:lnTo>
                    <a:pt x="241" y="1320"/>
                  </a:lnTo>
                  <a:lnTo>
                    <a:pt x="246" y="1316"/>
                  </a:lnTo>
                  <a:lnTo>
                    <a:pt x="250" y="1312"/>
                  </a:lnTo>
                  <a:lnTo>
                    <a:pt x="254" y="1312"/>
                  </a:lnTo>
                  <a:lnTo>
                    <a:pt x="257" y="1312"/>
                  </a:lnTo>
                  <a:lnTo>
                    <a:pt x="259" y="1310"/>
                  </a:lnTo>
                  <a:lnTo>
                    <a:pt x="262" y="1310"/>
                  </a:lnTo>
                  <a:lnTo>
                    <a:pt x="287" y="1310"/>
                  </a:lnTo>
                  <a:lnTo>
                    <a:pt x="288" y="1310"/>
                  </a:lnTo>
                  <a:lnTo>
                    <a:pt x="290" y="1311"/>
                  </a:lnTo>
                  <a:lnTo>
                    <a:pt x="292" y="1311"/>
                  </a:lnTo>
                  <a:lnTo>
                    <a:pt x="295" y="1312"/>
                  </a:lnTo>
                  <a:lnTo>
                    <a:pt x="297" y="1312"/>
                  </a:lnTo>
                  <a:lnTo>
                    <a:pt x="300" y="1312"/>
                  </a:lnTo>
                  <a:lnTo>
                    <a:pt x="301" y="1314"/>
                  </a:lnTo>
                  <a:lnTo>
                    <a:pt x="304" y="1314"/>
                  </a:lnTo>
                  <a:lnTo>
                    <a:pt x="309" y="1314"/>
                  </a:lnTo>
                  <a:lnTo>
                    <a:pt x="318" y="1312"/>
                  </a:lnTo>
                  <a:lnTo>
                    <a:pt x="327" y="1310"/>
                  </a:lnTo>
                  <a:lnTo>
                    <a:pt x="334" y="1307"/>
                  </a:lnTo>
                  <a:lnTo>
                    <a:pt x="350" y="1305"/>
                  </a:lnTo>
                  <a:lnTo>
                    <a:pt x="365" y="1301"/>
                  </a:lnTo>
                  <a:lnTo>
                    <a:pt x="368" y="1299"/>
                  </a:lnTo>
                  <a:lnTo>
                    <a:pt x="371" y="1295"/>
                  </a:lnTo>
                  <a:lnTo>
                    <a:pt x="371" y="1288"/>
                  </a:lnTo>
                  <a:lnTo>
                    <a:pt x="369" y="1274"/>
                  </a:lnTo>
                  <a:lnTo>
                    <a:pt x="368" y="1261"/>
                  </a:lnTo>
                  <a:lnTo>
                    <a:pt x="368" y="1254"/>
                  </a:lnTo>
                  <a:lnTo>
                    <a:pt x="368" y="1251"/>
                  </a:lnTo>
                  <a:lnTo>
                    <a:pt x="368" y="1250"/>
                  </a:lnTo>
                  <a:lnTo>
                    <a:pt x="367" y="1248"/>
                  </a:lnTo>
                  <a:lnTo>
                    <a:pt x="367" y="1247"/>
                  </a:lnTo>
                  <a:lnTo>
                    <a:pt x="365" y="1246"/>
                  </a:lnTo>
                  <a:lnTo>
                    <a:pt x="364" y="1244"/>
                  </a:lnTo>
                  <a:lnTo>
                    <a:pt x="361" y="1242"/>
                  </a:lnTo>
                  <a:lnTo>
                    <a:pt x="358" y="1234"/>
                  </a:lnTo>
                  <a:lnTo>
                    <a:pt x="354" y="1226"/>
                  </a:lnTo>
                  <a:lnTo>
                    <a:pt x="354" y="1225"/>
                  </a:lnTo>
                  <a:lnTo>
                    <a:pt x="354" y="1223"/>
                  </a:lnTo>
                  <a:lnTo>
                    <a:pt x="352" y="1222"/>
                  </a:lnTo>
                  <a:lnTo>
                    <a:pt x="350" y="1218"/>
                  </a:lnTo>
                  <a:lnTo>
                    <a:pt x="347" y="1212"/>
                  </a:lnTo>
                  <a:lnTo>
                    <a:pt x="344" y="1209"/>
                  </a:lnTo>
                  <a:lnTo>
                    <a:pt x="342" y="1205"/>
                  </a:lnTo>
                  <a:lnTo>
                    <a:pt x="339" y="1204"/>
                  </a:lnTo>
                  <a:lnTo>
                    <a:pt x="337" y="1203"/>
                  </a:lnTo>
                  <a:lnTo>
                    <a:pt x="335" y="1201"/>
                  </a:lnTo>
                  <a:lnTo>
                    <a:pt x="333" y="1200"/>
                  </a:lnTo>
                  <a:lnTo>
                    <a:pt x="331" y="1200"/>
                  </a:lnTo>
                  <a:lnTo>
                    <a:pt x="329" y="1200"/>
                  </a:lnTo>
                  <a:lnTo>
                    <a:pt x="327" y="1199"/>
                  </a:lnTo>
                  <a:lnTo>
                    <a:pt x="326" y="1196"/>
                  </a:lnTo>
                  <a:lnTo>
                    <a:pt x="326" y="1193"/>
                  </a:lnTo>
                  <a:lnTo>
                    <a:pt x="326" y="1187"/>
                  </a:lnTo>
                  <a:lnTo>
                    <a:pt x="329" y="1179"/>
                  </a:lnTo>
                  <a:lnTo>
                    <a:pt x="329" y="1176"/>
                  </a:lnTo>
                  <a:lnTo>
                    <a:pt x="329" y="1175"/>
                  </a:lnTo>
                  <a:lnTo>
                    <a:pt x="330" y="1167"/>
                  </a:lnTo>
                  <a:lnTo>
                    <a:pt x="333" y="1161"/>
                  </a:lnTo>
                  <a:lnTo>
                    <a:pt x="335" y="1154"/>
                  </a:lnTo>
                  <a:lnTo>
                    <a:pt x="335" y="1149"/>
                  </a:lnTo>
                  <a:lnTo>
                    <a:pt x="334" y="1148"/>
                  </a:lnTo>
                  <a:lnTo>
                    <a:pt x="331" y="1146"/>
                  </a:lnTo>
                  <a:lnTo>
                    <a:pt x="330" y="1148"/>
                  </a:lnTo>
                  <a:lnTo>
                    <a:pt x="327" y="1149"/>
                  </a:lnTo>
                  <a:lnTo>
                    <a:pt x="325" y="1150"/>
                  </a:lnTo>
                  <a:lnTo>
                    <a:pt x="321" y="1152"/>
                  </a:lnTo>
                  <a:lnTo>
                    <a:pt x="317" y="1153"/>
                  </a:lnTo>
                  <a:lnTo>
                    <a:pt x="314" y="1153"/>
                  </a:lnTo>
                  <a:lnTo>
                    <a:pt x="314" y="1153"/>
                  </a:lnTo>
                  <a:lnTo>
                    <a:pt x="312" y="1155"/>
                  </a:lnTo>
                  <a:lnTo>
                    <a:pt x="309" y="1155"/>
                  </a:lnTo>
                  <a:lnTo>
                    <a:pt x="304" y="1157"/>
                  </a:lnTo>
                  <a:lnTo>
                    <a:pt x="300" y="1157"/>
                  </a:lnTo>
                  <a:lnTo>
                    <a:pt x="291" y="1155"/>
                  </a:lnTo>
                  <a:lnTo>
                    <a:pt x="286" y="1153"/>
                  </a:lnTo>
                  <a:lnTo>
                    <a:pt x="280" y="1149"/>
                  </a:lnTo>
                  <a:lnTo>
                    <a:pt x="273" y="1144"/>
                  </a:lnTo>
                  <a:lnTo>
                    <a:pt x="269" y="1141"/>
                  </a:lnTo>
                  <a:lnTo>
                    <a:pt x="267" y="1137"/>
                  </a:lnTo>
                  <a:lnTo>
                    <a:pt x="267" y="1135"/>
                  </a:lnTo>
                  <a:lnTo>
                    <a:pt x="269" y="1129"/>
                  </a:lnTo>
                  <a:lnTo>
                    <a:pt x="273" y="1127"/>
                  </a:lnTo>
                  <a:lnTo>
                    <a:pt x="276" y="1125"/>
                  </a:lnTo>
                  <a:lnTo>
                    <a:pt x="280" y="1125"/>
                  </a:lnTo>
                  <a:lnTo>
                    <a:pt x="286" y="1125"/>
                  </a:lnTo>
                  <a:lnTo>
                    <a:pt x="295" y="1127"/>
                  </a:lnTo>
                  <a:lnTo>
                    <a:pt x="304" y="1127"/>
                  </a:lnTo>
                  <a:lnTo>
                    <a:pt x="307" y="1127"/>
                  </a:lnTo>
                  <a:lnTo>
                    <a:pt x="309" y="1127"/>
                  </a:lnTo>
                  <a:lnTo>
                    <a:pt x="310" y="1125"/>
                  </a:lnTo>
                  <a:lnTo>
                    <a:pt x="312" y="1125"/>
                  </a:lnTo>
                  <a:lnTo>
                    <a:pt x="314" y="1125"/>
                  </a:lnTo>
                  <a:lnTo>
                    <a:pt x="318" y="1124"/>
                  </a:lnTo>
                  <a:lnTo>
                    <a:pt x="329" y="1116"/>
                  </a:lnTo>
                  <a:lnTo>
                    <a:pt x="341" y="1106"/>
                  </a:lnTo>
                  <a:lnTo>
                    <a:pt x="343" y="1102"/>
                  </a:lnTo>
                  <a:lnTo>
                    <a:pt x="344" y="1094"/>
                  </a:lnTo>
                  <a:lnTo>
                    <a:pt x="346" y="1086"/>
                  </a:lnTo>
                  <a:lnTo>
                    <a:pt x="347" y="1080"/>
                  </a:lnTo>
                  <a:lnTo>
                    <a:pt x="347" y="1077"/>
                  </a:lnTo>
                  <a:lnTo>
                    <a:pt x="344" y="1074"/>
                  </a:lnTo>
                  <a:lnTo>
                    <a:pt x="341" y="1072"/>
                  </a:lnTo>
                  <a:lnTo>
                    <a:pt x="339" y="1072"/>
                  </a:lnTo>
                  <a:lnTo>
                    <a:pt x="333" y="1069"/>
                  </a:lnTo>
                  <a:lnTo>
                    <a:pt x="329" y="1065"/>
                  </a:lnTo>
                  <a:lnTo>
                    <a:pt x="329" y="1064"/>
                  </a:lnTo>
                  <a:lnTo>
                    <a:pt x="325" y="1060"/>
                  </a:lnTo>
                  <a:lnTo>
                    <a:pt x="324" y="1056"/>
                  </a:lnTo>
                  <a:lnTo>
                    <a:pt x="331" y="1048"/>
                  </a:lnTo>
                  <a:lnTo>
                    <a:pt x="337" y="1039"/>
                  </a:lnTo>
                  <a:lnTo>
                    <a:pt x="342" y="1025"/>
                  </a:lnTo>
                  <a:lnTo>
                    <a:pt x="347" y="1009"/>
                  </a:lnTo>
                  <a:lnTo>
                    <a:pt x="347" y="998"/>
                  </a:lnTo>
                  <a:lnTo>
                    <a:pt x="346" y="988"/>
                  </a:lnTo>
                  <a:lnTo>
                    <a:pt x="344" y="976"/>
                  </a:lnTo>
                  <a:lnTo>
                    <a:pt x="343" y="966"/>
                  </a:lnTo>
                  <a:lnTo>
                    <a:pt x="344" y="963"/>
                  </a:lnTo>
                  <a:lnTo>
                    <a:pt x="344" y="961"/>
                  </a:lnTo>
                  <a:lnTo>
                    <a:pt x="346" y="959"/>
                  </a:lnTo>
                  <a:lnTo>
                    <a:pt x="346" y="958"/>
                  </a:lnTo>
                  <a:lnTo>
                    <a:pt x="348" y="955"/>
                  </a:lnTo>
                  <a:lnTo>
                    <a:pt x="351" y="951"/>
                  </a:lnTo>
                  <a:lnTo>
                    <a:pt x="358" y="936"/>
                  </a:lnTo>
                  <a:lnTo>
                    <a:pt x="364" y="920"/>
                  </a:lnTo>
                  <a:lnTo>
                    <a:pt x="367" y="917"/>
                  </a:lnTo>
                  <a:lnTo>
                    <a:pt x="371" y="915"/>
                  </a:lnTo>
                  <a:lnTo>
                    <a:pt x="380" y="913"/>
                  </a:lnTo>
                  <a:lnTo>
                    <a:pt x="390" y="912"/>
                  </a:lnTo>
                  <a:lnTo>
                    <a:pt x="399" y="910"/>
                  </a:lnTo>
                  <a:lnTo>
                    <a:pt x="410" y="908"/>
                  </a:lnTo>
                  <a:lnTo>
                    <a:pt x="414" y="908"/>
                  </a:lnTo>
                  <a:lnTo>
                    <a:pt x="418" y="907"/>
                  </a:lnTo>
                  <a:lnTo>
                    <a:pt x="418" y="907"/>
                  </a:lnTo>
                  <a:lnTo>
                    <a:pt x="419" y="906"/>
                  </a:lnTo>
                  <a:lnTo>
                    <a:pt x="426" y="900"/>
                  </a:lnTo>
                  <a:lnTo>
                    <a:pt x="431" y="894"/>
                  </a:lnTo>
                  <a:lnTo>
                    <a:pt x="431" y="893"/>
                  </a:lnTo>
                  <a:lnTo>
                    <a:pt x="431" y="891"/>
                  </a:lnTo>
                  <a:lnTo>
                    <a:pt x="432" y="891"/>
                  </a:lnTo>
                  <a:lnTo>
                    <a:pt x="432" y="887"/>
                  </a:lnTo>
                  <a:lnTo>
                    <a:pt x="433" y="883"/>
                  </a:lnTo>
                  <a:lnTo>
                    <a:pt x="436" y="879"/>
                  </a:lnTo>
                  <a:lnTo>
                    <a:pt x="439" y="873"/>
                  </a:lnTo>
                  <a:lnTo>
                    <a:pt x="439" y="869"/>
                  </a:lnTo>
                  <a:lnTo>
                    <a:pt x="439" y="866"/>
                  </a:lnTo>
                  <a:lnTo>
                    <a:pt x="439" y="865"/>
                  </a:lnTo>
                  <a:lnTo>
                    <a:pt x="437" y="864"/>
                  </a:lnTo>
                  <a:lnTo>
                    <a:pt x="436" y="864"/>
                  </a:lnTo>
                  <a:lnTo>
                    <a:pt x="435" y="864"/>
                  </a:lnTo>
                  <a:lnTo>
                    <a:pt x="433" y="862"/>
                  </a:lnTo>
                  <a:lnTo>
                    <a:pt x="431" y="861"/>
                  </a:lnTo>
                  <a:lnTo>
                    <a:pt x="428" y="860"/>
                  </a:lnTo>
                  <a:lnTo>
                    <a:pt x="427" y="860"/>
                  </a:lnTo>
                  <a:lnTo>
                    <a:pt x="424" y="857"/>
                  </a:lnTo>
                  <a:lnTo>
                    <a:pt x="422" y="855"/>
                  </a:lnTo>
                  <a:lnTo>
                    <a:pt x="420" y="855"/>
                  </a:lnTo>
                  <a:lnTo>
                    <a:pt x="418" y="848"/>
                  </a:lnTo>
                  <a:lnTo>
                    <a:pt x="416" y="839"/>
                  </a:lnTo>
                  <a:lnTo>
                    <a:pt x="414" y="832"/>
                  </a:lnTo>
                  <a:lnTo>
                    <a:pt x="414" y="823"/>
                  </a:lnTo>
                  <a:lnTo>
                    <a:pt x="413" y="819"/>
                  </a:lnTo>
                  <a:lnTo>
                    <a:pt x="410" y="815"/>
                  </a:lnTo>
                  <a:lnTo>
                    <a:pt x="406" y="814"/>
                  </a:lnTo>
                  <a:lnTo>
                    <a:pt x="399" y="813"/>
                  </a:lnTo>
                  <a:lnTo>
                    <a:pt x="397" y="814"/>
                  </a:lnTo>
                  <a:lnTo>
                    <a:pt x="396" y="815"/>
                  </a:lnTo>
                  <a:lnTo>
                    <a:pt x="393" y="815"/>
                  </a:lnTo>
                  <a:lnTo>
                    <a:pt x="390" y="817"/>
                  </a:lnTo>
                  <a:lnTo>
                    <a:pt x="388" y="818"/>
                  </a:lnTo>
                  <a:lnTo>
                    <a:pt x="381" y="818"/>
                  </a:lnTo>
                  <a:lnTo>
                    <a:pt x="376" y="818"/>
                  </a:lnTo>
                  <a:lnTo>
                    <a:pt x="372" y="817"/>
                  </a:lnTo>
                  <a:lnTo>
                    <a:pt x="367" y="814"/>
                  </a:lnTo>
                  <a:lnTo>
                    <a:pt x="363" y="811"/>
                  </a:lnTo>
                  <a:lnTo>
                    <a:pt x="360" y="809"/>
                  </a:lnTo>
                  <a:lnTo>
                    <a:pt x="359" y="805"/>
                  </a:lnTo>
                  <a:lnTo>
                    <a:pt x="359" y="804"/>
                  </a:lnTo>
                  <a:lnTo>
                    <a:pt x="356" y="800"/>
                  </a:lnTo>
                  <a:lnTo>
                    <a:pt x="354" y="796"/>
                  </a:lnTo>
                  <a:lnTo>
                    <a:pt x="352" y="796"/>
                  </a:lnTo>
                  <a:lnTo>
                    <a:pt x="351" y="796"/>
                  </a:lnTo>
                  <a:lnTo>
                    <a:pt x="350" y="794"/>
                  </a:lnTo>
                  <a:lnTo>
                    <a:pt x="347" y="793"/>
                  </a:lnTo>
                  <a:lnTo>
                    <a:pt x="343" y="794"/>
                  </a:lnTo>
                  <a:lnTo>
                    <a:pt x="343" y="794"/>
                  </a:lnTo>
                  <a:lnTo>
                    <a:pt x="342" y="794"/>
                  </a:lnTo>
                  <a:lnTo>
                    <a:pt x="341" y="796"/>
                  </a:lnTo>
                  <a:lnTo>
                    <a:pt x="341" y="796"/>
                  </a:lnTo>
                  <a:lnTo>
                    <a:pt x="338" y="797"/>
                  </a:lnTo>
                  <a:lnTo>
                    <a:pt x="337" y="797"/>
                  </a:lnTo>
                  <a:lnTo>
                    <a:pt x="335" y="798"/>
                  </a:lnTo>
                  <a:lnTo>
                    <a:pt x="334" y="798"/>
                  </a:lnTo>
                  <a:lnTo>
                    <a:pt x="333" y="798"/>
                  </a:lnTo>
                  <a:lnTo>
                    <a:pt x="330" y="800"/>
                  </a:lnTo>
                  <a:lnTo>
                    <a:pt x="327" y="800"/>
                  </a:lnTo>
                  <a:lnTo>
                    <a:pt x="325" y="801"/>
                  </a:lnTo>
                  <a:lnTo>
                    <a:pt x="318" y="804"/>
                  </a:lnTo>
                  <a:lnTo>
                    <a:pt x="312" y="805"/>
                  </a:lnTo>
                  <a:lnTo>
                    <a:pt x="310" y="806"/>
                  </a:lnTo>
                  <a:lnTo>
                    <a:pt x="309" y="806"/>
                  </a:lnTo>
                  <a:lnTo>
                    <a:pt x="286" y="805"/>
                  </a:lnTo>
                  <a:lnTo>
                    <a:pt x="283" y="741"/>
                  </a:lnTo>
                  <a:lnTo>
                    <a:pt x="282" y="725"/>
                  </a:lnTo>
                  <a:lnTo>
                    <a:pt x="280" y="711"/>
                  </a:lnTo>
                  <a:lnTo>
                    <a:pt x="280" y="704"/>
                  </a:lnTo>
                  <a:lnTo>
                    <a:pt x="282" y="699"/>
                  </a:lnTo>
                  <a:lnTo>
                    <a:pt x="284" y="692"/>
                  </a:lnTo>
                  <a:lnTo>
                    <a:pt x="288" y="687"/>
                  </a:lnTo>
                  <a:lnTo>
                    <a:pt x="300" y="678"/>
                  </a:lnTo>
                  <a:lnTo>
                    <a:pt x="308" y="670"/>
                  </a:lnTo>
                  <a:lnTo>
                    <a:pt x="316" y="662"/>
                  </a:lnTo>
                  <a:lnTo>
                    <a:pt x="321" y="654"/>
                  </a:lnTo>
                  <a:lnTo>
                    <a:pt x="322" y="649"/>
                  </a:lnTo>
                  <a:lnTo>
                    <a:pt x="324" y="645"/>
                  </a:lnTo>
                  <a:lnTo>
                    <a:pt x="324" y="640"/>
                  </a:lnTo>
                  <a:lnTo>
                    <a:pt x="324" y="635"/>
                  </a:lnTo>
                  <a:lnTo>
                    <a:pt x="320" y="622"/>
                  </a:lnTo>
                  <a:lnTo>
                    <a:pt x="314" y="606"/>
                  </a:lnTo>
                  <a:lnTo>
                    <a:pt x="309" y="594"/>
                  </a:lnTo>
                  <a:lnTo>
                    <a:pt x="304" y="585"/>
                  </a:lnTo>
                  <a:lnTo>
                    <a:pt x="299" y="577"/>
                  </a:lnTo>
                  <a:lnTo>
                    <a:pt x="292" y="571"/>
                  </a:lnTo>
                  <a:lnTo>
                    <a:pt x="284" y="565"/>
                  </a:lnTo>
                  <a:lnTo>
                    <a:pt x="275" y="563"/>
                  </a:lnTo>
                  <a:lnTo>
                    <a:pt x="265" y="560"/>
                  </a:lnTo>
                  <a:lnTo>
                    <a:pt x="250" y="559"/>
                  </a:lnTo>
                  <a:lnTo>
                    <a:pt x="248" y="559"/>
                  </a:lnTo>
                  <a:lnTo>
                    <a:pt x="245" y="558"/>
                  </a:lnTo>
                  <a:lnTo>
                    <a:pt x="244" y="555"/>
                  </a:lnTo>
                  <a:lnTo>
                    <a:pt x="244" y="552"/>
                  </a:lnTo>
                  <a:lnTo>
                    <a:pt x="248" y="545"/>
                  </a:lnTo>
                  <a:lnTo>
                    <a:pt x="253" y="535"/>
                  </a:lnTo>
                  <a:lnTo>
                    <a:pt x="261" y="525"/>
                  </a:lnTo>
                  <a:lnTo>
                    <a:pt x="270" y="517"/>
                  </a:lnTo>
                  <a:lnTo>
                    <a:pt x="278" y="511"/>
                  </a:lnTo>
                  <a:lnTo>
                    <a:pt x="284" y="507"/>
                  </a:lnTo>
                  <a:lnTo>
                    <a:pt x="297" y="501"/>
                  </a:lnTo>
                  <a:lnTo>
                    <a:pt x="316" y="496"/>
                  </a:lnTo>
                  <a:lnTo>
                    <a:pt x="325" y="494"/>
                  </a:lnTo>
                  <a:lnTo>
                    <a:pt x="333" y="490"/>
                  </a:lnTo>
                  <a:lnTo>
                    <a:pt x="338" y="487"/>
                  </a:lnTo>
                  <a:lnTo>
                    <a:pt x="342" y="483"/>
                  </a:lnTo>
                  <a:lnTo>
                    <a:pt x="354" y="463"/>
                  </a:lnTo>
                  <a:lnTo>
                    <a:pt x="367" y="440"/>
                  </a:lnTo>
                  <a:lnTo>
                    <a:pt x="372" y="435"/>
                  </a:lnTo>
                  <a:lnTo>
                    <a:pt x="376" y="431"/>
                  </a:lnTo>
                  <a:lnTo>
                    <a:pt x="381" y="429"/>
                  </a:lnTo>
                  <a:lnTo>
                    <a:pt x="386" y="428"/>
                  </a:lnTo>
                  <a:lnTo>
                    <a:pt x="393" y="429"/>
                  </a:lnTo>
                  <a:lnTo>
                    <a:pt x="399" y="432"/>
                  </a:lnTo>
                  <a:lnTo>
                    <a:pt x="407" y="436"/>
                  </a:lnTo>
                  <a:lnTo>
                    <a:pt x="415" y="444"/>
                  </a:lnTo>
                  <a:lnTo>
                    <a:pt x="420" y="448"/>
                  </a:lnTo>
                  <a:lnTo>
                    <a:pt x="426" y="452"/>
                  </a:lnTo>
                  <a:lnTo>
                    <a:pt x="431" y="454"/>
                  </a:lnTo>
                  <a:lnTo>
                    <a:pt x="436" y="456"/>
                  </a:lnTo>
                  <a:lnTo>
                    <a:pt x="441" y="456"/>
                  </a:lnTo>
                  <a:lnTo>
                    <a:pt x="447" y="454"/>
                  </a:lnTo>
                  <a:lnTo>
                    <a:pt x="452" y="453"/>
                  </a:lnTo>
                  <a:lnTo>
                    <a:pt x="457" y="452"/>
                  </a:lnTo>
                  <a:lnTo>
                    <a:pt x="467" y="445"/>
                  </a:lnTo>
                  <a:lnTo>
                    <a:pt x="477" y="437"/>
                  </a:lnTo>
                  <a:lnTo>
                    <a:pt x="484" y="428"/>
                  </a:lnTo>
                  <a:lnTo>
                    <a:pt x="491" y="418"/>
                  </a:lnTo>
                  <a:lnTo>
                    <a:pt x="495" y="414"/>
                  </a:lnTo>
                  <a:lnTo>
                    <a:pt x="500" y="411"/>
                  </a:lnTo>
                  <a:lnTo>
                    <a:pt x="505" y="409"/>
                  </a:lnTo>
                  <a:lnTo>
                    <a:pt x="513" y="407"/>
                  </a:lnTo>
                  <a:lnTo>
                    <a:pt x="530" y="403"/>
                  </a:lnTo>
                  <a:lnTo>
                    <a:pt x="549" y="401"/>
                  </a:lnTo>
                  <a:lnTo>
                    <a:pt x="556" y="398"/>
                  </a:lnTo>
                  <a:lnTo>
                    <a:pt x="566" y="395"/>
                  </a:lnTo>
                  <a:lnTo>
                    <a:pt x="572" y="392"/>
                  </a:lnTo>
                  <a:lnTo>
                    <a:pt x="579" y="388"/>
                  </a:lnTo>
                  <a:lnTo>
                    <a:pt x="584" y="382"/>
                  </a:lnTo>
                  <a:lnTo>
                    <a:pt x="588" y="376"/>
                  </a:lnTo>
                  <a:lnTo>
                    <a:pt x="590" y="368"/>
                  </a:lnTo>
                  <a:lnTo>
                    <a:pt x="590" y="359"/>
                  </a:lnTo>
                  <a:lnTo>
                    <a:pt x="589" y="347"/>
                  </a:lnTo>
                  <a:lnTo>
                    <a:pt x="590" y="338"/>
                  </a:lnTo>
                  <a:lnTo>
                    <a:pt x="592" y="331"/>
                  </a:lnTo>
                  <a:lnTo>
                    <a:pt x="596" y="326"/>
                  </a:lnTo>
                  <a:lnTo>
                    <a:pt x="600" y="324"/>
                  </a:lnTo>
                  <a:lnTo>
                    <a:pt x="603" y="321"/>
                  </a:lnTo>
                  <a:lnTo>
                    <a:pt x="609" y="318"/>
                  </a:lnTo>
                  <a:lnTo>
                    <a:pt x="614" y="317"/>
                  </a:lnTo>
                  <a:lnTo>
                    <a:pt x="620" y="316"/>
                  </a:lnTo>
                  <a:lnTo>
                    <a:pt x="626" y="313"/>
                  </a:lnTo>
                  <a:lnTo>
                    <a:pt x="631" y="310"/>
                  </a:lnTo>
                  <a:lnTo>
                    <a:pt x="635" y="305"/>
                  </a:lnTo>
                  <a:lnTo>
                    <a:pt x="639" y="300"/>
                  </a:lnTo>
                  <a:lnTo>
                    <a:pt x="641" y="292"/>
                  </a:lnTo>
                  <a:lnTo>
                    <a:pt x="644" y="282"/>
                  </a:lnTo>
                  <a:lnTo>
                    <a:pt x="644" y="269"/>
                  </a:lnTo>
                  <a:lnTo>
                    <a:pt x="644" y="265"/>
                  </a:lnTo>
                  <a:lnTo>
                    <a:pt x="643" y="259"/>
                  </a:lnTo>
                  <a:lnTo>
                    <a:pt x="643" y="257"/>
                  </a:lnTo>
                  <a:lnTo>
                    <a:pt x="640" y="241"/>
                  </a:lnTo>
                  <a:lnTo>
                    <a:pt x="637" y="224"/>
                  </a:lnTo>
                  <a:lnTo>
                    <a:pt x="637" y="181"/>
                  </a:lnTo>
                  <a:lnTo>
                    <a:pt x="644" y="164"/>
                  </a:lnTo>
                  <a:lnTo>
                    <a:pt x="651" y="148"/>
                  </a:lnTo>
                  <a:lnTo>
                    <a:pt x="652" y="139"/>
                  </a:lnTo>
                  <a:lnTo>
                    <a:pt x="654" y="130"/>
                  </a:lnTo>
                  <a:lnTo>
                    <a:pt x="656" y="127"/>
                  </a:lnTo>
                  <a:lnTo>
                    <a:pt x="657" y="123"/>
                  </a:lnTo>
                  <a:lnTo>
                    <a:pt x="660" y="122"/>
                  </a:lnTo>
                  <a:lnTo>
                    <a:pt x="664" y="122"/>
                  </a:lnTo>
                  <a:lnTo>
                    <a:pt x="665" y="122"/>
                  </a:lnTo>
                  <a:lnTo>
                    <a:pt x="668" y="121"/>
                  </a:lnTo>
                  <a:lnTo>
                    <a:pt x="669" y="118"/>
                  </a:lnTo>
                  <a:lnTo>
                    <a:pt x="669" y="117"/>
                  </a:lnTo>
                  <a:lnTo>
                    <a:pt x="671" y="116"/>
                  </a:lnTo>
                  <a:lnTo>
                    <a:pt x="675" y="114"/>
                  </a:lnTo>
                  <a:lnTo>
                    <a:pt x="675" y="112"/>
                  </a:lnTo>
                  <a:lnTo>
                    <a:pt x="678" y="110"/>
                  </a:lnTo>
                  <a:lnTo>
                    <a:pt x="682" y="109"/>
                  </a:lnTo>
                  <a:lnTo>
                    <a:pt x="682" y="108"/>
                  </a:lnTo>
                  <a:lnTo>
                    <a:pt x="683" y="108"/>
                  </a:lnTo>
                  <a:lnTo>
                    <a:pt x="686" y="105"/>
                  </a:lnTo>
                  <a:lnTo>
                    <a:pt x="687" y="104"/>
                  </a:lnTo>
                  <a:lnTo>
                    <a:pt x="690" y="104"/>
                  </a:lnTo>
                  <a:lnTo>
                    <a:pt x="692" y="102"/>
                  </a:lnTo>
                  <a:lnTo>
                    <a:pt x="694" y="100"/>
                  </a:lnTo>
                  <a:lnTo>
                    <a:pt x="694" y="99"/>
                  </a:lnTo>
                  <a:lnTo>
                    <a:pt x="698" y="93"/>
                  </a:lnTo>
                  <a:lnTo>
                    <a:pt x="702" y="87"/>
                  </a:lnTo>
                  <a:lnTo>
                    <a:pt x="704" y="83"/>
                  </a:lnTo>
                  <a:lnTo>
                    <a:pt x="707" y="78"/>
                  </a:lnTo>
                  <a:lnTo>
                    <a:pt x="702" y="11"/>
                  </a:lnTo>
                  <a:lnTo>
                    <a:pt x="758" y="2"/>
                  </a:lnTo>
                  <a:lnTo>
                    <a:pt x="763" y="0"/>
                  </a:lnTo>
                  <a:lnTo>
                    <a:pt x="768" y="0"/>
                  </a:lnTo>
                  <a:lnTo>
                    <a:pt x="770" y="0"/>
                  </a:lnTo>
                  <a:lnTo>
                    <a:pt x="772" y="2"/>
                  </a:lnTo>
                  <a:lnTo>
                    <a:pt x="775" y="3"/>
                  </a:lnTo>
                  <a:lnTo>
                    <a:pt x="776" y="6"/>
                  </a:lnTo>
                  <a:lnTo>
                    <a:pt x="777" y="6"/>
                  </a:lnTo>
                  <a:lnTo>
                    <a:pt x="780" y="7"/>
                  </a:lnTo>
                  <a:lnTo>
                    <a:pt x="784" y="7"/>
                  </a:lnTo>
                  <a:lnTo>
                    <a:pt x="787" y="8"/>
                  </a:lnTo>
                  <a:lnTo>
                    <a:pt x="794" y="12"/>
                  </a:lnTo>
                  <a:lnTo>
                    <a:pt x="802" y="15"/>
                  </a:lnTo>
                  <a:lnTo>
                    <a:pt x="804" y="15"/>
                  </a:lnTo>
                  <a:lnTo>
                    <a:pt x="805" y="16"/>
                  </a:lnTo>
                  <a:lnTo>
                    <a:pt x="808" y="17"/>
                  </a:lnTo>
                  <a:lnTo>
                    <a:pt x="808" y="17"/>
                  </a:lnTo>
                  <a:lnTo>
                    <a:pt x="809" y="17"/>
                  </a:lnTo>
                  <a:lnTo>
                    <a:pt x="810" y="20"/>
                  </a:lnTo>
                  <a:lnTo>
                    <a:pt x="811" y="21"/>
                  </a:lnTo>
                  <a:lnTo>
                    <a:pt x="813" y="21"/>
                  </a:lnTo>
                  <a:lnTo>
                    <a:pt x="813" y="23"/>
                  </a:lnTo>
                  <a:lnTo>
                    <a:pt x="815" y="28"/>
                  </a:lnTo>
                  <a:lnTo>
                    <a:pt x="819" y="33"/>
                  </a:lnTo>
                  <a:lnTo>
                    <a:pt x="821" y="34"/>
                  </a:lnTo>
                  <a:lnTo>
                    <a:pt x="821" y="36"/>
                  </a:lnTo>
                  <a:lnTo>
                    <a:pt x="822" y="38"/>
                  </a:lnTo>
                  <a:lnTo>
                    <a:pt x="822" y="40"/>
                  </a:lnTo>
                  <a:lnTo>
                    <a:pt x="822" y="41"/>
                  </a:lnTo>
                  <a:lnTo>
                    <a:pt x="823" y="42"/>
                  </a:lnTo>
                  <a:lnTo>
                    <a:pt x="823" y="44"/>
                  </a:lnTo>
                  <a:lnTo>
                    <a:pt x="825" y="45"/>
                  </a:lnTo>
                  <a:lnTo>
                    <a:pt x="825" y="53"/>
                  </a:lnTo>
                  <a:lnTo>
                    <a:pt x="826" y="61"/>
                  </a:lnTo>
                  <a:lnTo>
                    <a:pt x="827" y="68"/>
                  </a:lnTo>
                  <a:lnTo>
                    <a:pt x="827" y="78"/>
                  </a:lnTo>
                  <a:lnTo>
                    <a:pt x="832" y="233"/>
                  </a:lnTo>
                  <a:lnTo>
                    <a:pt x="832" y="238"/>
                  </a:lnTo>
                  <a:lnTo>
                    <a:pt x="834" y="244"/>
                  </a:lnTo>
                  <a:lnTo>
                    <a:pt x="836" y="248"/>
                  </a:lnTo>
                  <a:lnTo>
                    <a:pt x="839" y="250"/>
                  </a:lnTo>
                  <a:lnTo>
                    <a:pt x="845" y="255"/>
                  </a:lnTo>
                  <a:lnTo>
                    <a:pt x="855" y="259"/>
                  </a:lnTo>
                  <a:lnTo>
                    <a:pt x="866" y="262"/>
                  </a:lnTo>
                  <a:lnTo>
                    <a:pt x="878" y="262"/>
                  </a:lnTo>
                  <a:lnTo>
                    <a:pt x="893" y="262"/>
                  </a:lnTo>
                  <a:lnTo>
                    <a:pt x="907" y="261"/>
                  </a:lnTo>
                  <a:lnTo>
                    <a:pt x="937" y="258"/>
                  </a:lnTo>
                  <a:lnTo>
                    <a:pt x="967" y="255"/>
                  </a:lnTo>
                  <a:lnTo>
                    <a:pt x="981" y="254"/>
                  </a:lnTo>
                  <a:lnTo>
                    <a:pt x="996" y="254"/>
                  </a:lnTo>
                  <a:lnTo>
                    <a:pt x="1008" y="255"/>
                  </a:lnTo>
                  <a:lnTo>
                    <a:pt x="1018" y="259"/>
                  </a:lnTo>
                  <a:lnTo>
                    <a:pt x="1036" y="265"/>
                  </a:lnTo>
                  <a:lnTo>
                    <a:pt x="1053" y="267"/>
                  </a:lnTo>
                  <a:lnTo>
                    <a:pt x="1070" y="269"/>
                  </a:lnTo>
                  <a:lnTo>
                    <a:pt x="1087" y="269"/>
                  </a:lnTo>
                  <a:lnTo>
                    <a:pt x="1121" y="266"/>
                  </a:lnTo>
                  <a:lnTo>
                    <a:pt x="1158" y="265"/>
                  </a:lnTo>
                  <a:lnTo>
                    <a:pt x="1166" y="265"/>
                  </a:lnTo>
                  <a:lnTo>
                    <a:pt x="1172" y="266"/>
                  </a:lnTo>
                  <a:lnTo>
                    <a:pt x="1178" y="267"/>
                  </a:lnTo>
                  <a:lnTo>
                    <a:pt x="1183" y="270"/>
                  </a:lnTo>
                  <a:lnTo>
                    <a:pt x="1188" y="272"/>
                  </a:lnTo>
                  <a:lnTo>
                    <a:pt x="1192" y="275"/>
                  </a:lnTo>
                  <a:lnTo>
                    <a:pt x="1195" y="279"/>
                  </a:lnTo>
                  <a:lnTo>
                    <a:pt x="1197" y="283"/>
                  </a:lnTo>
                  <a:lnTo>
                    <a:pt x="1203" y="291"/>
                  </a:lnTo>
                  <a:lnTo>
                    <a:pt x="1204" y="301"/>
                  </a:lnTo>
                  <a:lnTo>
                    <a:pt x="1205" y="312"/>
                  </a:lnTo>
                  <a:lnTo>
                    <a:pt x="1205" y="324"/>
                  </a:lnTo>
                  <a:lnTo>
                    <a:pt x="1205" y="347"/>
                  </a:lnTo>
                  <a:lnTo>
                    <a:pt x="1204" y="369"/>
                  </a:lnTo>
                  <a:lnTo>
                    <a:pt x="1205" y="380"/>
                  </a:lnTo>
                  <a:lnTo>
                    <a:pt x="1206" y="389"/>
                  </a:lnTo>
                  <a:lnTo>
                    <a:pt x="1210" y="397"/>
                  </a:lnTo>
                  <a:lnTo>
                    <a:pt x="1216" y="403"/>
                  </a:lnTo>
                  <a:lnTo>
                    <a:pt x="1234" y="420"/>
                  </a:lnTo>
                  <a:lnTo>
                    <a:pt x="1251" y="435"/>
                  </a:lnTo>
                  <a:lnTo>
                    <a:pt x="1256" y="437"/>
                  </a:lnTo>
                  <a:lnTo>
                    <a:pt x="1260" y="439"/>
                  </a:lnTo>
                  <a:lnTo>
                    <a:pt x="1265" y="439"/>
                  </a:lnTo>
                  <a:lnTo>
                    <a:pt x="1271" y="439"/>
                  </a:lnTo>
                  <a:lnTo>
                    <a:pt x="1276" y="437"/>
                  </a:lnTo>
                  <a:lnTo>
                    <a:pt x="1282" y="433"/>
                  </a:lnTo>
                  <a:lnTo>
                    <a:pt x="1289" y="429"/>
                  </a:lnTo>
                  <a:lnTo>
                    <a:pt x="1295" y="423"/>
                  </a:lnTo>
                  <a:lnTo>
                    <a:pt x="1323" y="398"/>
                  </a:lnTo>
                  <a:lnTo>
                    <a:pt x="1352" y="372"/>
                  </a:lnTo>
                  <a:lnTo>
                    <a:pt x="1367" y="360"/>
                  </a:lnTo>
                  <a:lnTo>
                    <a:pt x="1384" y="351"/>
                  </a:lnTo>
                  <a:lnTo>
                    <a:pt x="1392" y="346"/>
                  </a:lnTo>
                  <a:lnTo>
                    <a:pt x="1401" y="343"/>
                  </a:lnTo>
                  <a:lnTo>
                    <a:pt x="1412" y="339"/>
                  </a:lnTo>
                  <a:lnTo>
                    <a:pt x="1421" y="338"/>
                  </a:lnTo>
                  <a:lnTo>
                    <a:pt x="1431" y="334"/>
                  </a:lnTo>
                  <a:lnTo>
                    <a:pt x="1441" y="330"/>
                  </a:lnTo>
                  <a:lnTo>
                    <a:pt x="1450" y="324"/>
                  </a:lnTo>
                  <a:lnTo>
                    <a:pt x="1459" y="316"/>
                  </a:lnTo>
                  <a:lnTo>
                    <a:pt x="1468" y="309"/>
                  </a:lnTo>
                  <a:lnTo>
                    <a:pt x="1477" y="304"/>
                  </a:lnTo>
                  <a:lnTo>
                    <a:pt x="1486" y="300"/>
                  </a:lnTo>
                  <a:lnTo>
                    <a:pt x="1497" y="297"/>
                  </a:lnTo>
                  <a:lnTo>
                    <a:pt x="1505" y="308"/>
                  </a:lnTo>
                  <a:lnTo>
                    <a:pt x="1519" y="329"/>
                  </a:lnTo>
                  <a:lnTo>
                    <a:pt x="1527" y="341"/>
                  </a:lnTo>
                  <a:lnTo>
                    <a:pt x="1536" y="352"/>
                  </a:lnTo>
                  <a:lnTo>
                    <a:pt x="1541" y="358"/>
                  </a:lnTo>
                  <a:lnTo>
                    <a:pt x="1547" y="361"/>
                  </a:lnTo>
                  <a:lnTo>
                    <a:pt x="1552" y="364"/>
                  </a:lnTo>
                  <a:lnTo>
                    <a:pt x="1556" y="367"/>
                  </a:lnTo>
                  <a:lnTo>
                    <a:pt x="1562" y="368"/>
                  </a:lnTo>
                  <a:lnTo>
                    <a:pt x="1569" y="368"/>
                  </a:lnTo>
                  <a:lnTo>
                    <a:pt x="1575" y="367"/>
                  </a:lnTo>
                  <a:lnTo>
                    <a:pt x="1582" y="363"/>
                  </a:lnTo>
                  <a:lnTo>
                    <a:pt x="1595" y="354"/>
                  </a:lnTo>
                  <a:lnTo>
                    <a:pt x="1607" y="341"/>
                  </a:lnTo>
                  <a:lnTo>
                    <a:pt x="1618" y="326"/>
                  </a:lnTo>
                  <a:lnTo>
                    <a:pt x="1629" y="313"/>
                  </a:lnTo>
                  <a:lnTo>
                    <a:pt x="1639" y="303"/>
                  </a:lnTo>
                  <a:lnTo>
                    <a:pt x="1649" y="296"/>
                  </a:lnTo>
                  <a:lnTo>
                    <a:pt x="1652" y="297"/>
                  </a:lnTo>
                  <a:lnTo>
                    <a:pt x="1662" y="301"/>
                  </a:lnTo>
                  <a:lnTo>
                    <a:pt x="1673" y="308"/>
                  </a:lnTo>
                  <a:lnTo>
                    <a:pt x="1685" y="316"/>
                  </a:lnTo>
                  <a:lnTo>
                    <a:pt x="1698" y="324"/>
                  </a:lnTo>
                  <a:lnTo>
                    <a:pt x="1709" y="331"/>
                  </a:lnTo>
                  <a:lnTo>
                    <a:pt x="1717" y="337"/>
                  </a:lnTo>
                  <a:lnTo>
                    <a:pt x="1719" y="341"/>
                  </a:lnTo>
                  <a:lnTo>
                    <a:pt x="1724" y="378"/>
                  </a:lnTo>
                  <a:lnTo>
                    <a:pt x="1730" y="422"/>
                  </a:lnTo>
                  <a:lnTo>
                    <a:pt x="1735" y="444"/>
                  </a:lnTo>
                  <a:lnTo>
                    <a:pt x="1740" y="465"/>
                  </a:lnTo>
                  <a:lnTo>
                    <a:pt x="1744" y="474"/>
                  </a:lnTo>
                  <a:lnTo>
                    <a:pt x="1748" y="483"/>
                  </a:lnTo>
                  <a:lnTo>
                    <a:pt x="1752" y="491"/>
                  </a:lnTo>
                  <a:lnTo>
                    <a:pt x="1756" y="497"/>
                  </a:lnTo>
                  <a:lnTo>
                    <a:pt x="1760" y="500"/>
                  </a:lnTo>
                  <a:lnTo>
                    <a:pt x="1764" y="501"/>
                  </a:lnTo>
                  <a:lnTo>
                    <a:pt x="1768" y="500"/>
                  </a:lnTo>
                  <a:lnTo>
                    <a:pt x="1772" y="499"/>
                  </a:lnTo>
                  <a:lnTo>
                    <a:pt x="1781" y="491"/>
                  </a:lnTo>
                  <a:lnTo>
                    <a:pt x="1790" y="482"/>
                  </a:lnTo>
                  <a:lnTo>
                    <a:pt x="1799" y="473"/>
                  </a:lnTo>
                  <a:lnTo>
                    <a:pt x="1807" y="466"/>
                  </a:lnTo>
                  <a:lnTo>
                    <a:pt x="1809" y="463"/>
                  </a:lnTo>
                  <a:lnTo>
                    <a:pt x="1812" y="463"/>
                  </a:lnTo>
                  <a:lnTo>
                    <a:pt x="1813" y="465"/>
                  </a:lnTo>
                  <a:lnTo>
                    <a:pt x="1815" y="467"/>
                  </a:lnTo>
                  <a:lnTo>
                    <a:pt x="1815" y="480"/>
                  </a:lnTo>
                  <a:lnTo>
                    <a:pt x="1815" y="496"/>
                  </a:lnTo>
                  <a:lnTo>
                    <a:pt x="1813" y="513"/>
                  </a:lnTo>
                  <a:lnTo>
                    <a:pt x="1812" y="530"/>
                  </a:lnTo>
                  <a:lnTo>
                    <a:pt x="1808" y="563"/>
                  </a:lnTo>
                  <a:lnTo>
                    <a:pt x="1807" y="593"/>
                  </a:lnTo>
                  <a:lnTo>
                    <a:pt x="1808" y="606"/>
                  </a:lnTo>
                  <a:lnTo>
                    <a:pt x="1809" y="615"/>
                  </a:lnTo>
                  <a:lnTo>
                    <a:pt x="1812" y="619"/>
                  </a:lnTo>
                  <a:lnTo>
                    <a:pt x="1813" y="622"/>
                  </a:lnTo>
                  <a:lnTo>
                    <a:pt x="1816" y="623"/>
                  </a:lnTo>
                  <a:lnTo>
                    <a:pt x="1820" y="624"/>
                  </a:lnTo>
                  <a:lnTo>
                    <a:pt x="1824" y="624"/>
                  </a:lnTo>
                  <a:lnTo>
                    <a:pt x="1829" y="623"/>
                  </a:lnTo>
                  <a:lnTo>
                    <a:pt x="1834" y="622"/>
                  </a:lnTo>
                  <a:lnTo>
                    <a:pt x="1840" y="618"/>
                  </a:lnTo>
                  <a:lnTo>
                    <a:pt x="1854" y="607"/>
                  </a:lnTo>
                  <a:lnTo>
                    <a:pt x="1872" y="590"/>
                  </a:lnTo>
                  <a:lnTo>
                    <a:pt x="1883" y="580"/>
                  </a:lnTo>
                  <a:lnTo>
                    <a:pt x="1896" y="569"/>
                  </a:lnTo>
                  <a:lnTo>
                    <a:pt x="1909" y="560"/>
                  </a:lnTo>
                  <a:lnTo>
                    <a:pt x="1922" y="551"/>
                  </a:lnTo>
                  <a:lnTo>
                    <a:pt x="1949" y="534"/>
                  </a:lnTo>
                  <a:lnTo>
                    <a:pt x="1978" y="518"/>
                  </a:lnTo>
                  <a:lnTo>
                    <a:pt x="2008" y="504"/>
                  </a:lnTo>
                  <a:lnTo>
                    <a:pt x="2040" y="491"/>
                  </a:lnTo>
                  <a:lnTo>
                    <a:pt x="2070" y="477"/>
                  </a:lnTo>
                  <a:lnTo>
                    <a:pt x="2099" y="462"/>
                  </a:lnTo>
                  <a:lnTo>
                    <a:pt x="2155" y="432"/>
                  </a:lnTo>
                  <a:lnTo>
                    <a:pt x="2190" y="499"/>
                  </a:lnTo>
                  <a:lnTo>
                    <a:pt x="2197" y="503"/>
                  </a:lnTo>
                  <a:lnTo>
                    <a:pt x="2202" y="507"/>
                  </a:lnTo>
                  <a:lnTo>
                    <a:pt x="2203" y="508"/>
                  </a:lnTo>
                  <a:lnTo>
                    <a:pt x="2204" y="509"/>
                  </a:lnTo>
                  <a:lnTo>
                    <a:pt x="2208" y="512"/>
                  </a:lnTo>
                  <a:lnTo>
                    <a:pt x="2210" y="514"/>
                  </a:lnTo>
                  <a:lnTo>
                    <a:pt x="2211" y="516"/>
                  </a:lnTo>
                  <a:lnTo>
                    <a:pt x="2211" y="517"/>
                  </a:lnTo>
                  <a:lnTo>
                    <a:pt x="2212" y="520"/>
                  </a:lnTo>
                  <a:lnTo>
                    <a:pt x="2214" y="521"/>
                  </a:lnTo>
                  <a:lnTo>
                    <a:pt x="2215" y="524"/>
                  </a:lnTo>
                  <a:lnTo>
                    <a:pt x="2216" y="525"/>
                  </a:lnTo>
                  <a:lnTo>
                    <a:pt x="2216" y="526"/>
                  </a:lnTo>
                  <a:lnTo>
                    <a:pt x="2216" y="528"/>
                  </a:lnTo>
                  <a:lnTo>
                    <a:pt x="2216" y="528"/>
                  </a:lnTo>
                  <a:lnTo>
                    <a:pt x="2218" y="531"/>
                  </a:lnTo>
                  <a:lnTo>
                    <a:pt x="2219" y="534"/>
                  </a:lnTo>
                  <a:lnTo>
                    <a:pt x="2221" y="537"/>
                  </a:lnTo>
                  <a:lnTo>
                    <a:pt x="2224" y="539"/>
                  </a:lnTo>
                  <a:lnTo>
                    <a:pt x="2227" y="543"/>
                  </a:lnTo>
                  <a:lnTo>
                    <a:pt x="2228" y="548"/>
                  </a:lnTo>
                  <a:lnTo>
                    <a:pt x="2229" y="550"/>
                  </a:lnTo>
                  <a:lnTo>
                    <a:pt x="2231" y="552"/>
                  </a:lnTo>
                  <a:lnTo>
                    <a:pt x="2233" y="552"/>
                  </a:lnTo>
                  <a:lnTo>
                    <a:pt x="2233" y="554"/>
                  </a:lnTo>
                  <a:lnTo>
                    <a:pt x="2233" y="556"/>
                  </a:lnTo>
                  <a:lnTo>
                    <a:pt x="2235" y="558"/>
                  </a:lnTo>
                  <a:lnTo>
                    <a:pt x="2236" y="559"/>
                  </a:lnTo>
                  <a:lnTo>
                    <a:pt x="2238" y="571"/>
                  </a:lnTo>
                  <a:lnTo>
                    <a:pt x="2241" y="584"/>
                  </a:lnTo>
                  <a:lnTo>
                    <a:pt x="2242" y="590"/>
                  </a:lnTo>
                  <a:lnTo>
                    <a:pt x="2242" y="598"/>
                  </a:lnTo>
                  <a:lnTo>
                    <a:pt x="2244" y="610"/>
                  </a:lnTo>
                  <a:lnTo>
                    <a:pt x="2245" y="623"/>
                  </a:lnTo>
                  <a:lnTo>
                    <a:pt x="2246" y="637"/>
                  </a:lnTo>
                  <a:lnTo>
                    <a:pt x="2249" y="649"/>
                  </a:lnTo>
                  <a:lnTo>
                    <a:pt x="2249" y="656"/>
                  </a:lnTo>
                  <a:lnTo>
                    <a:pt x="2248" y="662"/>
                  </a:lnTo>
                  <a:lnTo>
                    <a:pt x="2246" y="668"/>
                  </a:lnTo>
                  <a:lnTo>
                    <a:pt x="2245" y="673"/>
                  </a:lnTo>
                  <a:lnTo>
                    <a:pt x="2242" y="675"/>
                  </a:lnTo>
                  <a:lnTo>
                    <a:pt x="2240" y="679"/>
                  </a:lnTo>
                  <a:lnTo>
                    <a:pt x="2240" y="681"/>
                  </a:lnTo>
                  <a:lnTo>
                    <a:pt x="2225" y="692"/>
                  </a:lnTo>
                  <a:lnTo>
                    <a:pt x="2223" y="694"/>
                  </a:lnTo>
                  <a:lnTo>
                    <a:pt x="2221" y="695"/>
                  </a:lnTo>
                  <a:lnTo>
                    <a:pt x="2220" y="696"/>
                  </a:lnTo>
                  <a:lnTo>
                    <a:pt x="2220" y="696"/>
                  </a:lnTo>
                  <a:lnTo>
                    <a:pt x="2219" y="696"/>
                  </a:lnTo>
                  <a:lnTo>
                    <a:pt x="2218" y="696"/>
                  </a:lnTo>
                  <a:lnTo>
                    <a:pt x="2216" y="696"/>
                  </a:lnTo>
                  <a:lnTo>
                    <a:pt x="2216" y="698"/>
                  </a:lnTo>
                  <a:lnTo>
                    <a:pt x="2215" y="698"/>
                  </a:lnTo>
                  <a:lnTo>
                    <a:pt x="2215" y="698"/>
                  </a:lnTo>
                  <a:lnTo>
                    <a:pt x="2214" y="699"/>
                  </a:lnTo>
                  <a:lnTo>
                    <a:pt x="2212" y="699"/>
                  </a:lnTo>
                  <a:lnTo>
                    <a:pt x="2212" y="699"/>
                  </a:lnTo>
                  <a:lnTo>
                    <a:pt x="2211" y="700"/>
                  </a:lnTo>
                  <a:lnTo>
                    <a:pt x="2210" y="700"/>
                  </a:lnTo>
                  <a:lnTo>
                    <a:pt x="2206" y="702"/>
                  </a:lnTo>
                  <a:lnTo>
                    <a:pt x="2202" y="703"/>
                  </a:lnTo>
                  <a:lnTo>
                    <a:pt x="2202" y="704"/>
                  </a:lnTo>
                  <a:lnTo>
                    <a:pt x="2201" y="704"/>
                  </a:lnTo>
                  <a:lnTo>
                    <a:pt x="2198" y="705"/>
                  </a:lnTo>
                  <a:lnTo>
                    <a:pt x="2197" y="705"/>
                  </a:lnTo>
                  <a:lnTo>
                    <a:pt x="2197" y="707"/>
                  </a:lnTo>
                  <a:lnTo>
                    <a:pt x="2195" y="707"/>
                  </a:lnTo>
                  <a:lnTo>
                    <a:pt x="2194" y="707"/>
                  </a:lnTo>
                  <a:lnTo>
                    <a:pt x="2193" y="708"/>
                  </a:lnTo>
                  <a:lnTo>
                    <a:pt x="2191" y="709"/>
                  </a:lnTo>
                  <a:lnTo>
                    <a:pt x="2190" y="709"/>
                  </a:lnTo>
                  <a:lnTo>
                    <a:pt x="2189" y="711"/>
                  </a:lnTo>
                  <a:lnTo>
                    <a:pt x="2189" y="711"/>
                  </a:lnTo>
                  <a:lnTo>
                    <a:pt x="2189" y="712"/>
                  </a:lnTo>
                  <a:lnTo>
                    <a:pt x="2186" y="715"/>
                  </a:lnTo>
                  <a:lnTo>
                    <a:pt x="2184" y="717"/>
                  </a:lnTo>
                  <a:lnTo>
                    <a:pt x="2181" y="719"/>
                  </a:lnTo>
                  <a:lnTo>
                    <a:pt x="2178" y="721"/>
                  </a:lnTo>
                  <a:lnTo>
                    <a:pt x="2176" y="722"/>
                  </a:lnTo>
                  <a:lnTo>
                    <a:pt x="2173" y="725"/>
                  </a:lnTo>
                  <a:lnTo>
                    <a:pt x="2172" y="726"/>
                  </a:lnTo>
                  <a:lnTo>
                    <a:pt x="2170" y="728"/>
                  </a:lnTo>
                  <a:lnTo>
                    <a:pt x="2167" y="733"/>
                  </a:lnTo>
                  <a:lnTo>
                    <a:pt x="2163" y="737"/>
                  </a:lnTo>
                  <a:lnTo>
                    <a:pt x="2159" y="739"/>
                  </a:lnTo>
                  <a:lnTo>
                    <a:pt x="2155" y="742"/>
                  </a:lnTo>
                  <a:lnTo>
                    <a:pt x="2152" y="746"/>
                  </a:lnTo>
                  <a:lnTo>
                    <a:pt x="2148" y="749"/>
                  </a:lnTo>
                  <a:lnTo>
                    <a:pt x="2143" y="753"/>
                  </a:lnTo>
                  <a:lnTo>
                    <a:pt x="2138" y="755"/>
                  </a:lnTo>
                  <a:lnTo>
                    <a:pt x="2122" y="759"/>
                  </a:lnTo>
                  <a:lnTo>
                    <a:pt x="2105" y="763"/>
                  </a:lnTo>
                  <a:lnTo>
                    <a:pt x="2071" y="767"/>
                  </a:lnTo>
                  <a:lnTo>
                    <a:pt x="2046" y="768"/>
                  </a:lnTo>
                  <a:lnTo>
                    <a:pt x="2045" y="768"/>
                  </a:lnTo>
                  <a:lnTo>
                    <a:pt x="2045" y="770"/>
                  </a:lnTo>
                  <a:lnTo>
                    <a:pt x="2042" y="771"/>
                  </a:lnTo>
                  <a:lnTo>
                    <a:pt x="2042" y="772"/>
                  </a:lnTo>
                  <a:lnTo>
                    <a:pt x="2041" y="776"/>
                  </a:lnTo>
                  <a:lnTo>
                    <a:pt x="2040" y="780"/>
                  </a:lnTo>
                  <a:lnTo>
                    <a:pt x="2040" y="783"/>
                  </a:lnTo>
                  <a:lnTo>
                    <a:pt x="2040" y="785"/>
                  </a:lnTo>
                  <a:lnTo>
                    <a:pt x="2038" y="790"/>
                  </a:lnTo>
                  <a:lnTo>
                    <a:pt x="2037" y="796"/>
                  </a:lnTo>
                  <a:lnTo>
                    <a:pt x="2036" y="797"/>
                  </a:lnTo>
                  <a:lnTo>
                    <a:pt x="2034" y="798"/>
                  </a:lnTo>
                  <a:lnTo>
                    <a:pt x="2034" y="800"/>
                  </a:lnTo>
                  <a:lnTo>
                    <a:pt x="2033" y="801"/>
                  </a:lnTo>
                  <a:lnTo>
                    <a:pt x="2032" y="801"/>
                  </a:lnTo>
                  <a:lnTo>
                    <a:pt x="2032" y="802"/>
                  </a:lnTo>
                  <a:lnTo>
                    <a:pt x="2031" y="805"/>
                  </a:lnTo>
                  <a:lnTo>
                    <a:pt x="2028" y="806"/>
                  </a:lnTo>
                  <a:lnTo>
                    <a:pt x="2002" y="834"/>
                  </a:lnTo>
                  <a:lnTo>
                    <a:pt x="1994" y="840"/>
                  </a:lnTo>
                  <a:lnTo>
                    <a:pt x="1985" y="845"/>
                  </a:lnTo>
                  <a:lnTo>
                    <a:pt x="1974" y="851"/>
                  </a:lnTo>
                  <a:lnTo>
                    <a:pt x="1964" y="855"/>
                  </a:lnTo>
                  <a:lnTo>
                    <a:pt x="1964" y="856"/>
                  </a:lnTo>
                  <a:lnTo>
                    <a:pt x="1962" y="856"/>
                  </a:lnTo>
                  <a:lnTo>
                    <a:pt x="1957" y="859"/>
                  </a:lnTo>
                  <a:lnTo>
                    <a:pt x="1953" y="861"/>
                  </a:lnTo>
                  <a:lnTo>
                    <a:pt x="1940" y="866"/>
                  </a:lnTo>
                  <a:lnTo>
                    <a:pt x="1925" y="872"/>
                  </a:lnTo>
                  <a:lnTo>
                    <a:pt x="1923" y="872"/>
                  </a:lnTo>
                  <a:lnTo>
                    <a:pt x="1921" y="873"/>
                  </a:lnTo>
                  <a:lnTo>
                    <a:pt x="1917" y="876"/>
                  </a:lnTo>
                  <a:lnTo>
                    <a:pt x="1911" y="878"/>
                  </a:lnTo>
                  <a:lnTo>
                    <a:pt x="1910" y="878"/>
                  </a:lnTo>
                  <a:lnTo>
                    <a:pt x="1909" y="878"/>
                  </a:lnTo>
                  <a:lnTo>
                    <a:pt x="1908" y="879"/>
                  </a:lnTo>
                  <a:lnTo>
                    <a:pt x="1908" y="882"/>
                  </a:lnTo>
                  <a:lnTo>
                    <a:pt x="1910" y="889"/>
                  </a:lnTo>
                  <a:lnTo>
                    <a:pt x="1914" y="896"/>
                  </a:lnTo>
                  <a:lnTo>
                    <a:pt x="1914" y="908"/>
                  </a:lnTo>
                  <a:lnTo>
                    <a:pt x="1914" y="923"/>
                  </a:lnTo>
                  <a:lnTo>
                    <a:pt x="1915" y="924"/>
                  </a:lnTo>
                  <a:lnTo>
                    <a:pt x="1915" y="925"/>
                  </a:lnTo>
                  <a:lnTo>
                    <a:pt x="1922" y="936"/>
                  </a:lnTo>
                  <a:lnTo>
                    <a:pt x="1927" y="949"/>
                  </a:lnTo>
                  <a:lnTo>
                    <a:pt x="1930" y="953"/>
                  </a:lnTo>
                  <a:lnTo>
                    <a:pt x="1931" y="958"/>
                  </a:lnTo>
                  <a:lnTo>
                    <a:pt x="1932" y="961"/>
                  </a:lnTo>
                  <a:lnTo>
                    <a:pt x="1934" y="963"/>
                  </a:lnTo>
                  <a:lnTo>
                    <a:pt x="1936" y="967"/>
                  </a:lnTo>
                  <a:lnTo>
                    <a:pt x="1939" y="974"/>
                  </a:lnTo>
                  <a:lnTo>
                    <a:pt x="1939" y="981"/>
                  </a:lnTo>
                  <a:lnTo>
                    <a:pt x="1938" y="987"/>
                  </a:lnTo>
                  <a:lnTo>
                    <a:pt x="1938" y="989"/>
                  </a:lnTo>
                  <a:lnTo>
                    <a:pt x="1938" y="992"/>
                  </a:lnTo>
                  <a:lnTo>
                    <a:pt x="1936" y="993"/>
                  </a:lnTo>
                  <a:lnTo>
                    <a:pt x="1936" y="996"/>
                  </a:lnTo>
                  <a:lnTo>
                    <a:pt x="1919" y="1052"/>
                  </a:lnTo>
                  <a:lnTo>
                    <a:pt x="1908" y="1070"/>
                  </a:lnTo>
                  <a:lnTo>
                    <a:pt x="1893" y="1083"/>
                  </a:lnTo>
                  <a:lnTo>
                    <a:pt x="1872" y="1099"/>
                  </a:lnTo>
                  <a:lnTo>
                    <a:pt x="1855" y="1107"/>
                  </a:lnTo>
                  <a:lnTo>
                    <a:pt x="1838" y="1116"/>
                  </a:lnTo>
                  <a:lnTo>
                    <a:pt x="1833" y="1119"/>
                  </a:lnTo>
                  <a:lnTo>
                    <a:pt x="1828" y="1123"/>
                  </a:lnTo>
                  <a:lnTo>
                    <a:pt x="1825" y="1127"/>
                  </a:lnTo>
                  <a:lnTo>
                    <a:pt x="1821" y="1132"/>
                  </a:lnTo>
                  <a:lnTo>
                    <a:pt x="1816" y="1141"/>
                  </a:lnTo>
                  <a:lnTo>
                    <a:pt x="1812" y="1152"/>
                  </a:lnTo>
                  <a:lnTo>
                    <a:pt x="1809" y="1155"/>
                  </a:lnTo>
                  <a:lnTo>
                    <a:pt x="1807" y="1159"/>
                  </a:lnTo>
                  <a:lnTo>
                    <a:pt x="1804" y="1162"/>
                  </a:lnTo>
                  <a:lnTo>
                    <a:pt x="1800" y="1165"/>
                  </a:lnTo>
                  <a:lnTo>
                    <a:pt x="1796" y="1166"/>
                  </a:lnTo>
                  <a:lnTo>
                    <a:pt x="1791" y="1167"/>
                  </a:lnTo>
                  <a:lnTo>
                    <a:pt x="1786" y="1166"/>
                  </a:lnTo>
                  <a:lnTo>
                    <a:pt x="1778" y="1163"/>
                  </a:lnTo>
                  <a:lnTo>
                    <a:pt x="1770" y="1161"/>
                  </a:lnTo>
                  <a:lnTo>
                    <a:pt x="1764" y="1161"/>
                  </a:lnTo>
                  <a:lnTo>
                    <a:pt x="1758" y="1161"/>
                  </a:lnTo>
                  <a:lnTo>
                    <a:pt x="1753" y="1163"/>
                  </a:lnTo>
                  <a:lnTo>
                    <a:pt x="1744" y="1170"/>
                  </a:lnTo>
                  <a:lnTo>
                    <a:pt x="1731" y="1179"/>
                  </a:lnTo>
                  <a:lnTo>
                    <a:pt x="1728" y="1182"/>
                  </a:lnTo>
                  <a:lnTo>
                    <a:pt x="1726" y="1184"/>
                  </a:lnTo>
                  <a:lnTo>
                    <a:pt x="1724" y="1188"/>
                  </a:lnTo>
                  <a:lnTo>
                    <a:pt x="1723" y="1193"/>
                  </a:lnTo>
                  <a:lnTo>
                    <a:pt x="1723" y="1203"/>
                  </a:lnTo>
                  <a:lnTo>
                    <a:pt x="1724" y="1213"/>
                  </a:lnTo>
                  <a:lnTo>
                    <a:pt x="1730" y="1235"/>
                  </a:lnTo>
                  <a:lnTo>
                    <a:pt x="1732" y="1252"/>
                  </a:lnTo>
                  <a:lnTo>
                    <a:pt x="1731" y="1268"/>
                  </a:lnTo>
                  <a:lnTo>
                    <a:pt x="1730" y="1284"/>
                  </a:lnTo>
                  <a:lnTo>
                    <a:pt x="1730" y="1290"/>
                  </a:lnTo>
                  <a:lnTo>
                    <a:pt x="1730" y="1297"/>
                  </a:lnTo>
                  <a:lnTo>
                    <a:pt x="1734" y="1303"/>
                  </a:lnTo>
                  <a:lnTo>
                    <a:pt x="1738" y="1308"/>
                  </a:lnTo>
                  <a:lnTo>
                    <a:pt x="1741" y="1312"/>
                  </a:lnTo>
                  <a:lnTo>
                    <a:pt x="1743" y="1316"/>
                  </a:lnTo>
                  <a:lnTo>
                    <a:pt x="1743" y="1320"/>
                  </a:lnTo>
                  <a:lnTo>
                    <a:pt x="1740" y="1325"/>
                  </a:lnTo>
                  <a:lnTo>
                    <a:pt x="1732" y="1335"/>
                  </a:lnTo>
                  <a:lnTo>
                    <a:pt x="1721" y="1344"/>
                  </a:lnTo>
                  <a:lnTo>
                    <a:pt x="1707" y="1353"/>
                  </a:lnTo>
                  <a:lnTo>
                    <a:pt x="1696" y="1363"/>
                  </a:lnTo>
                  <a:lnTo>
                    <a:pt x="1689" y="1369"/>
                  </a:lnTo>
                  <a:lnTo>
                    <a:pt x="1685" y="1373"/>
                  </a:lnTo>
                  <a:lnTo>
                    <a:pt x="1681" y="1378"/>
                  </a:lnTo>
                  <a:lnTo>
                    <a:pt x="1680" y="1383"/>
                  </a:lnTo>
                  <a:lnTo>
                    <a:pt x="1652" y="1507"/>
                  </a:lnTo>
                  <a:lnTo>
                    <a:pt x="1651" y="1513"/>
                  </a:lnTo>
                  <a:lnTo>
                    <a:pt x="1649" y="1516"/>
                  </a:lnTo>
                  <a:lnTo>
                    <a:pt x="1645" y="1519"/>
                  </a:lnTo>
                  <a:lnTo>
                    <a:pt x="1641" y="1523"/>
                  </a:lnTo>
                  <a:lnTo>
                    <a:pt x="1630" y="1526"/>
                  </a:lnTo>
                  <a:lnTo>
                    <a:pt x="1618" y="1528"/>
                  </a:lnTo>
                  <a:lnTo>
                    <a:pt x="1605" y="1530"/>
                  </a:lnTo>
                  <a:lnTo>
                    <a:pt x="1592" y="1531"/>
                  </a:lnTo>
                  <a:lnTo>
                    <a:pt x="1579" y="1533"/>
                  </a:lnTo>
                  <a:lnTo>
                    <a:pt x="1567" y="1539"/>
                  </a:lnTo>
                  <a:lnTo>
                    <a:pt x="1561" y="1543"/>
                  </a:lnTo>
                  <a:lnTo>
                    <a:pt x="1554" y="1544"/>
                  </a:lnTo>
                  <a:lnTo>
                    <a:pt x="1549" y="1544"/>
                  </a:lnTo>
                  <a:lnTo>
                    <a:pt x="1543" y="1543"/>
                  </a:lnTo>
                  <a:lnTo>
                    <a:pt x="1537" y="1541"/>
                  </a:lnTo>
                  <a:lnTo>
                    <a:pt x="1532" y="1537"/>
                  </a:lnTo>
                  <a:lnTo>
                    <a:pt x="1527" y="1533"/>
                  </a:lnTo>
                  <a:lnTo>
                    <a:pt x="1523" y="1530"/>
                  </a:lnTo>
                  <a:lnTo>
                    <a:pt x="1515" y="1518"/>
                  </a:lnTo>
                  <a:lnTo>
                    <a:pt x="1507" y="1505"/>
                  </a:lnTo>
                  <a:lnTo>
                    <a:pt x="1501" y="1492"/>
                  </a:lnTo>
                  <a:lnTo>
                    <a:pt x="1497" y="1480"/>
                  </a:lnTo>
                  <a:lnTo>
                    <a:pt x="1494" y="1476"/>
                  </a:lnTo>
                  <a:lnTo>
                    <a:pt x="1492" y="1472"/>
                  </a:lnTo>
                  <a:lnTo>
                    <a:pt x="1489" y="1469"/>
                  </a:lnTo>
                  <a:lnTo>
                    <a:pt x="1486" y="1467"/>
                  </a:lnTo>
                  <a:lnTo>
                    <a:pt x="1480" y="1464"/>
                  </a:lnTo>
                  <a:lnTo>
                    <a:pt x="1472" y="1463"/>
                  </a:lnTo>
                  <a:lnTo>
                    <a:pt x="1464" y="1464"/>
                  </a:lnTo>
                  <a:lnTo>
                    <a:pt x="1456" y="1468"/>
                  </a:lnTo>
                  <a:lnTo>
                    <a:pt x="1447" y="1473"/>
                  </a:lnTo>
                  <a:lnTo>
                    <a:pt x="1439" y="1479"/>
                  </a:lnTo>
                  <a:lnTo>
                    <a:pt x="1430" y="1486"/>
                  </a:lnTo>
                  <a:lnTo>
                    <a:pt x="1422" y="1494"/>
                  </a:lnTo>
                  <a:lnTo>
                    <a:pt x="1416" y="1503"/>
                  </a:lnTo>
                  <a:lnTo>
                    <a:pt x="1409" y="1511"/>
                  </a:lnTo>
                  <a:lnTo>
                    <a:pt x="1404" y="1520"/>
                  </a:lnTo>
                  <a:lnTo>
                    <a:pt x="1400" y="1530"/>
                  </a:lnTo>
                  <a:lnTo>
                    <a:pt x="1397" y="1537"/>
                  </a:lnTo>
                  <a:lnTo>
                    <a:pt x="1396" y="1545"/>
                  </a:lnTo>
                  <a:lnTo>
                    <a:pt x="1400" y="1565"/>
                  </a:lnTo>
                  <a:lnTo>
                    <a:pt x="1408" y="1583"/>
                  </a:lnTo>
                  <a:lnTo>
                    <a:pt x="1409" y="1587"/>
                  </a:lnTo>
                  <a:lnTo>
                    <a:pt x="1409" y="1592"/>
                  </a:lnTo>
                  <a:lnTo>
                    <a:pt x="1409" y="1596"/>
                  </a:lnTo>
                  <a:lnTo>
                    <a:pt x="1408" y="1600"/>
                  </a:lnTo>
                  <a:lnTo>
                    <a:pt x="1407" y="1605"/>
                  </a:lnTo>
                  <a:lnTo>
                    <a:pt x="1403" y="1608"/>
                  </a:lnTo>
                  <a:lnTo>
                    <a:pt x="1399" y="1612"/>
                  </a:lnTo>
                  <a:lnTo>
                    <a:pt x="1392" y="1616"/>
                  </a:lnTo>
                  <a:lnTo>
                    <a:pt x="1382" y="1622"/>
                  </a:lnTo>
                  <a:lnTo>
                    <a:pt x="1370" y="1629"/>
                  </a:lnTo>
                  <a:lnTo>
                    <a:pt x="1360" y="1637"/>
                  </a:lnTo>
                  <a:lnTo>
                    <a:pt x="1349" y="1646"/>
                  </a:lnTo>
                  <a:lnTo>
                    <a:pt x="1328" y="1663"/>
                  </a:lnTo>
                  <a:lnTo>
                    <a:pt x="1307" y="1679"/>
                  </a:lnTo>
                  <a:lnTo>
                    <a:pt x="1297" y="1687"/>
                  </a:lnTo>
                  <a:lnTo>
                    <a:pt x="1286" y="1693"/>
                  </a:lnTo>
                  <a:lnTo>
                    <a:pt x="1274" y="1698"/>
                  </a:lnTo>
                  <a:lnTo>
                    <a:pt x="1264" y="1702"/>
                  </a:lnTo>
                  <a:lnTo>
                    <a:pt x="1252" y="1705"/>
                  </a:lnTo>
                  <a:lnTo>
                    <a:pt x="1240" y="1705"/>
                  </a:lnTo>
                  <a:lnTo>
                    <a:pt x="1229" y="1704"/>
                  </a:lnTo>
                  <a:lnTo>
                    <a:pt x="1216" y="1700"/>
                  </a:lnTo>
                  <a:lnTo>
                    <a:pt x="1212" y="1698"/>
                  </a:lnTo>
                  <a:lnTo>
                    <a:pt x="1206" y="1700"/>
                  </a:lnTo>
                  <a:lnTo>
                    <a:pt x="1203" y="1701"/>
                  </a:lnTo>
                  <a:lnTo>
                    <a:pt x="1197" y="1704"/>
                  </a:lnTo>
                  <a:lnTo>
                    <a:pt x="1188" y="1711"/>
                  </a:lnTo>
                  <a:lnTo>
                    <a:pt x="1178" y="1721"/>
                  </a:lnTo>
                  <a:lnTo>
                    <a:pt x="1166" y="1731"/>
                  </a:lnTo>
                  <a:lnTo>
                    <a:pt x="1153" y="1739"/>
                  </a:lnTo>
                  <a:lnTo>
                    <a:pt x="1146" y="1743"/>
                  </a:lnTo>
                  <a:lnTo>
                    <a:pt x="1138" y="1745"/>
                  </a:lnTo>
                  <a:lnTo>
                    <a:pt x="1131" y="1748"/>
                  </a:lnTo>
                  <a:lnTo>
                    <a:pt x="1121" y="1748"/>
                  </a:lnTo>
                  <a:lnTo>
                    <a:pt x="1119" y="1749"/>
                  </a:lnTo>
                  <a:lnTo>
                    <a:pt x="1116" y="1751"/>
                  </a:lnTo>
                  <a:lnTo>
                    <a:pt x="1114" y="1753"/>
                  </a:lnTo>
                  <a:lnTo>
                    <a:pt x="1112" y="1757"/>
                  </a:lnTo>
                  <a:lnTo>
                    <a:pt x="1110" y="1765"/>
                  </a:lnTo>
                  <a:lnTo>
                    <a:pt x="1110" y="1775"/>
                  </a:lnTo>
                  <a:lnTo>
                    <a:pt x="1110" y="1798"/>
                  </a:lnTo>
                  <a:lnTo>
                    <a:pt x="1110" y="1815"/>
                  </a:lnTo>
                  <a:lnTo>
                    <a:pt x="1110" y="1825"/>
                  </a:lnTo>
                  <a:lnTo>
                    <a:pt x="1111" y="1841"/>
                  </a:lnTo>
                  <a:lnTo>
                    <a:pt x="1114" y="1858"/>
                  </a:lnTo>
                  <a:lnTo>
                    <a:pt x="1116" y="1876"/>
                  </a:lnTo>
                  <a:lnTo>
                    <a:pt x="1123" y="1909"/>
                  </a:lnTo>
                  <a:lnTo>
                    <a:pt x="1125" y="1925"/>
                  </a:lnTo>
                  <a:lnTo>
                    <a:pt x="1116" y="1939"/>
                  </a:lnTo>
                  <a:lnTo>
                    <a:pt x="1107" y="1949"/>
                  </a:lnTo>
                  <a:lnTo>
                    <a:pt x="1097" y="1959"/>
                  </a:lnTo>
                  <a:lnTo>
                    <a:pt x="1086" y="1966"/>
                  </a:lnTo>
                  <a:lnTo>
                    <a:pt x="1067" y="1981"/>
                  </a:lnTo>
                  <a:lnTo>
                    <a:pt x="1046" y="1998"/>
                  </a:lnTo>
                  <a:lnTo>
                    <a:pt x="1043" y="2000"/>
                  </a:lnTo>
                  <a:lnTo>
                    <a:pt x="1042" y="2004"/>
                  </a:lnTo>
                  <a:lnTo>
                    <a:pt x="1040" y="2007"/>
                  </a:lnTo>
                  <a:lnTo>
                    <a:pt x="1040" y="2011"/>
                  </a:lnTo>
                  <a:lnTo>
                    <a:pt x="1042" y="2019"/>
                  </a:lnTo>
                  <a:lnTo>
                    <a:pt x="1044" y="2027"/>
                  </a:lnTo>
                  <a:lnTo>
                    <a:pt x="1046" y="2036"/>
                  </a:lnTo>
                  <a:lnTo>
                    <a:pt x="1047" y="2045"/>
                  </a:lnTo>
                  <a:lnTo>
                    <a:pt x="1047" y="2054"/>
                  </a:lnTo>
                  <a:lnTo>
                    <a:pt x="1043" y="2062"/>
                  </a:lnTo>
                  <a:lnTo>
                    <a:pt x="1029" y="2085"/>
                  </a:lnTo>
                  <a:lnTo>
                    <a:pt x="1022" y="2097"/>
                  </a:lnTo>
                  <a:lnTo>
                    <a:pt x="1022" y="2102"/>
                  </a:lnTo>
                  <a:lnTo>
                    <a:pt x="1025" y="2109"/>
                  </a:lnTo>
                  <a:lnTo>
                    <a:pt x="1031" y="2118"/>
                  </a:lnTo>
                  <a:lnTo>
                    <a:pt x="1039" y="2133"/>
                  </a:lnTo>
                  <a:lnTo>
                    <a:pt x="1043" y="2138"/>
                  </a:lnTo>
                  <a:lnTo>
                    <a:pt x="1048" y="2143"/>
                  </a:lnTo>
                  <a:lnTo>
                    <a:pt x="1053" y="2147"/>
                  </a:lnTo>
                  <a:lnTo>
                    <a:pt x="1060" y="2152"/>
                  </a:lnTo>
                  <a:lnTo>
                    <a:pt x="1074" y="2161"/>
                  </a:lnTo>
                  <a:lnTo>
                    <a:pt x="1089" y="2169"/>
                  </a:lnTo>
                  <a:lnTo>
                    <a:pt x="1103" y="2177"/>
                  </a:lnTo>
                  <a:lnTo>
                    <a:pt x="1116" y="2184"/>
                  </a:lnTo>
                  <a:lnTo>
                    <a:pt x="1124" y="2189"/>
                  </a:lnTo>
                  <a:lnTo>
                    <a:pt x="1128" y="2193"/>
                  </a:lnTo>
                  <a:lnTo>
                    <a:pt x="1131" y="2199"/>
                  </a:lnTo>
                  <a:lnTo>
                    <a:pt x="1132" y="2208"/>
                  </a:lnTo>
                  <a:lnTo>
                    <a:pt x="1133" y="2220"/>
                  </a:lnTo>
                  <a:lnTo>
                    <a:pt x="1133" y="2232"/>
                  </a:lnTo>
                  <a:lnTo>
                    <a:pt x="1133" y="2254"/>
                  </a:lnTo>
                  <a:lnTo>
                    <a:pt x="1131" y="2273"/>
                  </a:lnTo>
                  <a:lnTo>
                    <a:pt x="1128" y="2280"/>
                  </a:lnTo>
                  <a:lnTo>
                    <a:pt x="1128" y="2287"/>
                  </a:lnTo>
                  <a:lnTo>
                    <a:pt x="1127" y="2293"/>
                  </a:lnTo>
                  <a:lnTo>
                    <a:pt x="1128" y="2300"/>
                  </a:lnTo>
                  <a:lnTo>
                    <a:pt x="1131" y="2310"/>
                  </a:lnTo>
                  <a:lnTo>
                    <a:pt x="1133" y="2320"/>
                  </a:lnTo>
                  <a:lnTo>
                    <a:pt x="1137" y="2329"/>
                  </a:lnTo>
                  <a:lnTo>
                    <a:pt x="1141" y="2338"/>
                  </a:lnTo>
                  <a:lnTo>
                    <a:pt x="1141" y="2343"/>
                  </a:lnTo>
                  <a:lnTo>
                    <a:pt x="1142" y="2350"/>
                  </a:lnTo>
                  <a:lnTo>
                    <a:pt x="1141" y="2355"/>
                  </a:lnTo>
                  <a:lnTo>
                    <a:pt x="1140" y="2363"/>
                  </a:lnTo>
                  <a:lnTo>
                    <a:pt x="1131" y="2411"/>
                  </a:lnTo>
                  <a:lnTo>
                    <a:pt x="1090" y="2433"/>
                  </a:lnTo>
                  <a:lnTo>
                    <a:pt x="1069" y="2447"/>
                  </a:lnTo>
                  <a:lnTo>
                    <a:pt x="1046" y="2464"/>
                  </a:lnTo>
                  <a:lnTo>
                    <a:pt x="1019" y="2482"/>
                  </a:lnTo>
                  <a:lnTo>
                    <a:pt x="995" y="2496"/>
                  </a:lnTo>
                  <a:lnTo>
                    <a:pt x="981" y="2503"/>
                  </a:lnTo>
                  <a:lnTo>
                    <a:pt x="970" y="2505"/>
                  </a:lnTo>
                  <a:lnTo>
                    <a:pt x="964" y="2507"/>
                  </a:lnTo>
                  <a:lnTo>
                    <a:pt x="959" y="2507"/>
                  </a:lnTo>
                  <a:lnTo>
                    <a:pt x="954" y="2505"/>
                  </a:lnTo>
                  <a:lnTo>
                    <a:pt x="950" y="2504"/>
                  </a:lnTo>
                  <a:lnTo>
                    <a:pt x="945" y="2503"/>
                  </a:lnTo>
                  <a:lnTo>
                    <a:pt x="941" y="2499"/>
                  </a:lnTo>
                  <a:lnTo>
                    <a:pt x="937" y="2495"/>
                  </a:lnTo>
                  <a:lnTo>
                    <a:pt x="934" y="2490"/>
                  </a:lnTo>
                  <a:lnTo>
                    <a:pt x="930" y="2484"/>
                  </a:lnTo>
                  <a:lnTo>
                    <a:pt x="928" y="2477"/>
                  </a:lnTo>
                  <a:lnTo>
                    <a:pt x="927" y="2469"/>
                  </a:lnTo>
                  <a:lnTo>
                    <a:pt x="925" y="2460"/>
                  </a:lnTo>
                  <a:lnTo>
                    <a:pt x="924" y="2454"/>
                  </a:lnTo>
                  <a:lnTo>
                    <a:pt x="923" y="2449"/>
                  </a:lnTo>
                  <a:lnTo>
                    <a:pt x="920" y="2445"/>
                  </a:lnTo>
                  <a:lnTo>
                    <a:pt x="917" y="2441"/>
                  </a:lnTo>
                  <a:lnTo>
                    <a:pt x="913" y="2439"/>
                  </a:lnTo>
                  <a:lnTo>
                    <a:pt x="910" y="2436"/>
                  </a:lnTo>
                  <a:lnTo>
                    <a:pt x="906" y="2435"/>
                  </a:lnTo>
                  <a:lnTo>
                    <a:pt x="900" y="2433"/>
                  </a:lnTo>
                  <a:lnTo>
                    <a:pt x="890" y="2432"/>
                  </a:lnTo>
                  <a:lnTo>
                    <a:pt x="878" y="2433"/>
                  </a:lnTo>
                  <a:lnTo>
                    <a:pt x="865" y="2435"/>
                  </a:lnTo>
                  <a:lnTo>
                    <a:pt x="851" y="2436"/>
                  </a:lnTo>
                  <a:lnTo>
                    <a:pt x="821" y="2440"/>
                  </a:lnTo>
                  <a:lnTo>
                    <a:pt x="791" y="2441"/>
                  </a:lnTo>
                  <a:lnTo>
                    <a:pt x="776" y="2440"/>
                  </a:lnTo>
                  <a:lnTo>
                    <a:pt x="762" y="2437"/>
                  </a:lnTo>
                  <a:lnTo>
                    <a:pt x="755" y="2435"/>
                  </a:lnTo>
                  <a:lnTo>
                    <a:pt x="749" y="2432"/>
                  </a:lnTo>
                  <a:lnTo>
                    <a:pt x="743" y="2430"/>
                  </a:lnTo>
                  <a:lnTo>
                    <a:pt x="737" y="2426"/>
                  </a:lnTo>
                  <a:lnTo>
                    <a:pt x="725" y="2416"/>
                  </a:lnTo>
                  <a:lnTo>
                    <a:pt x="715" y="2410"/>
                  </a:lnTo>
                  <a:lnTo>
                    <a:pt x="704" y="2406"/>
                  </a:lnTo>
                  <a:lnTo>
                    <a:pt x="695" y="2402"/>
                  </a:lnTo>
                  <a:lnTo>
                    <a:pt x="686" y="2401"/>
                  </a:lnTo>
                  <a:lnTo>
                    <a:pt x="678" y="2401"/>
                  </a:lnTo>
                  <a:lnTo>
                    <a:pt x="670" y="2402"/>
                  </a:lnTo>
                  <a:lnTo>
                    <a:pt x="664" y="2403"/>
                  </a:lnTo>
                  <a:lnTo>
                    <a:pt x="651" y="2407"/>
                  </a:lnTo>
                  <a:lnTo>
                    <a:pt x="636" y="2410"/>
                  </a:lnTo>
                  <a:lnTo>
                    <a:pt x="630" y="2410"/>
                  </a:lnTo>
                  <a:lnTo>
                    <a:pt x="623" y="2410"/>
                  </a:lnTo>
                  <a:lnTo>
                    <a:pt x="615" y="2409"/>
                  </a:lnTo>
                  <a:lnTo>
                    <a:pt x="607" y="2405"/>
                  </a:lnTo>
                  <a:lnTo>
                    <a:pt x="597" y="2399"/>
                  </a:lnTo>
                  <a:lnTo>
                    <a:pt x="585" y="2395"/>
                  </a:lnTo>
                  <a:lnTo>
                    <a:pt x="575" y="2393"/>
                  </a:lnTo>
                  <a:lnTo>
                    <a:pt x="564" y="2392"/>
                  </a:lnTo>
                  <a:lnTo>
                    <a:pt x="554" y="2392"/>
                  </a:lnTo>
                  <a:lnTo>
                    <a:pt x="543" y="2392"/>
                  </a:lnTo>
                  <a:lnTo>
                    <a:pt x="534" y="2394"/>
                  </a:lnTo>
                  <a:lnTo>
                    <a:pt x="525" y="2398"/>
                  </a:lnTo>
                  <a:lnTo>
                    <a:pt x="517" y="2402"/>
                  </a:lnTo>
                  <a:lnTo>
                    <a:pt x="509" y="2409"/>
                  </a:lnTo>
                  <a:lnTo>
                    <a:pt x="503" y="2415"/>
                  </a:lnTo>
                  <a:lnTo>
                    <a:pt x="499" y="2424"/>
                  </a:lnTo>
                  <a:lnTo>
                    <a:pt x="495" y="2435"/>
                  </a:lnTo>
                  <a:lnTo>
                    <a:pt x="492" y="2447"/>
                  </a:lnTo>
                  <a:lnTo>
                    <a:pt x="491" y="2460"/>
                  </a:lnTo>
                  <a:lnTo>
                    <a:pt x="492" y="2475"/>
                  </a:lnTo>
                  <a:lnTo>
                    <a:pt x="492" y="2483"/>
                  </a:lnTo>
                  <a:lnTo>
                    <a:pt x="492" y="2490"/>
                  </a:lnTo>
                  <a:lnTo>
                    <a:pt x="491" y="2496"/>
                  </a:lnTo>
                  <a:lnTo>
                    <a:pt x="490" y="2501"/>
                  </a:lnTo>
                  <a:lnTo>
                    <a:pt x="484" y="2512"/>
                  </a:lnTo>
                  <a:lnTo>
                    <a:pt x="479" y="2521"/>
                  </a:lnTo>
                  <a:lnTo>
                    <a:pt x="473" y="2530"/>
                  </a:lnTo>
                  <a:lnTo>
                    <a:pt x="467" y="2541"/>
                  </a:lnTo>
                  <a:lnTo>
                    <a:pt x="465" y="2547"/>
                  </a:lnTo>
                  <a:lnTo>
                    <a:pt x="464" y="2554"/>
                  </a:lnTo>
                  <a:lnTo>
                    <a:pt x="462" y="2562"/>
                  </a:lnTo>
                  <a:lnTo>
                    <a:pt x="462" y="2569"/>
                  </a:lnTo>
                  <a:lnTo>
                    <a:pt x="464" y="2580"/>
                  </a:lnTo>
                  <a:lnTo>
                    <a:pt x="469" y="2594"/>
                  </a:lnTo>
                  <a:lnTo>
                    <a:pt x="477" y="2610"/>
                  </a:lnTo>
                  <a:lnTo>
                    <a:pt x="484" y="2627"/>
                  </a:lnTo>
                  <a:lnTo>
                    <a:pt x="491" y="2643"/>
                  </a:lnTo>
                  <a:lnTo>
                    <a:pt x="496" y="2657"/>
                  </a:lnTo>
                  <a:lnTo>
                    <a:pt x="498" y="2662"/>
                  </a:lnTo>
                  <a:lnTo>
                    <a:pt x="498" y="2668"/>
                  </a:lnTo>
                  <a:lnTo>
                    <a:pt x="496" y="2672"/>
                  </a:lnTo>
                  <a:lnTo>
                    <a:pt x="494" y="2673"/>
                  </a:lnTo>
                  <a:lnTo>
                    <a:pt x="481" y="2677"/>
                  </a:lnTo>
                  <a:lnTo>
                    <a:pt x="461" y="2679"/>
                  </a:lnTo>
                  <a:lnTo>
                    <a:pt x="440" y="2681"/>
                  </a:lnTo>
                  <a:lnTo>
                    <a:pt x="416" y="2683"/>
                  </a:lnTo>
                  <a:lnTo>
                    <a:pt x="393" y="2686"/>
                  </a:lnTo>
                  <a:lnTo>
                    <a:pt x="372" y="2689"/>
                  </a:lnTo>
                  <a:lnTo>
                    <a:pt x="364" y="2691"/>
                  </a:lnTo>
                  <a:lnTo>
                    <a:pt x="356" y="2694"/>
                  </a:lnTo>
                  <a:lnTo>
                    <a:pt x="351" y="2696"/>
                  </a:lnTo>
                  <a:lnTo>
                    <a:pt x="347" y="2699"/>
                  </a:lnTo>
                  <a:lnTo>
                    <a:pt x="320" y="2732"/>
                  </a:lnTo>
                  <a:lnTo>
                    <a:pt x="278" y="2686"/>
                  </a:lnTo>
                  <a:lnTo>
                    <a:pt x="276" y="2686"/>
                  </a:lnTo>
                  <a:lnTo>
                    <a:pt x="275" y="2685"/>
                  </a:lnTo>
                  <a:lnTo>
                    <a:pt x="274" y="2683"/>
                  </a:lnTo>
                  <a:lnTo>
                    <a:pt x="271" y="2682"/>
                  </a:lnTo>
                  <a:lnTo>
                    <a:pt x="269" y="2682"/>
                  </a:lnTo>
                  <a:lnTo>
                    <a:pt x="263" y="2681"/>
                  </a:lnTo>
                  <a:lnTo>
                    <a:pt x="257" y="2679"/>
                  </a:lnTo>
                  <a:lnTo>
                    <a:pt x="250" y="2678"/>
                  </a:lnTo>
                  <a:lnTo>
                    <a:pt x="242" y="2677"/>
                  </a:lnTo>
                  <a:lnTo>
                    <a:pt x="231" y="2679"/>
                  </a:lnTo>
                  <a:lnTo>
                    <a:pt x="219" y="2679"/>
                  </a:lnTo>
                  <a:lnTo>
                    <a:pt x="207" y="2678"/>
                  </a:lnTo>
                  <a:lnTo>
                    <a:pt x="198" y="2675"/>
                  </a:lnTo>
                  <a:lnTo>
                    <a:pt x="193" y="2673"/>
                  </a:lnTo>
                  <a:lnTo>
                    <a:pt x="189" y="2669"/>
                  </a:lnTo>
                  <a:lnTo>
                    <a:pt x="184" y="2664"/>
                  </a:lnTo>
                  <a:lnTo>
                    <a:pt x="180" y="2660"/>
                  </a:lnTo>
                  <a:lnTo>
                    <a:pt x="180" y="2658"/>
                  </a:lnTo>
                  <a:lnTo>
                    <a:pt x="180" y="2657"/>
                  </a:lnTo>
                  <a:lnTo>
                    <a:pt x="177" y="2657"/>
                  </a:lnTo>
                  <a:lnTo>
                    <a:pt x="176" y="2656"/>
                  </a:lnTo>
                  <a:lnTo>
                    <a:pt x="174" y="2653"/>
                  </a:lnTo>
                  <a:lnTo>
                    <a:pt x="174" y="2652"/>
                  </a:lnTo>
                  <a:lnTo>
                    <a:pt x="165" y="2647"/>
                  </a:lnTo>
                  <a:lnTo>
                    <a:pt x="156" y="2644"/>
                  </a:lnTo>
                  <a:lnTo>
                    <a:pt x="155" y="2644"/>
                  </a:lnTo>
                  <a:lnTo>
                    <a:pt x="154" y="2643"/>
                  </a:lnTo>
                  <a:lnTo>
                    <a:pt x="152" y="2641"/>
                  </a:lnTo>
                  <a:lnTo>
                    <a:pt x="146" y="2636"/>
                  </a:lnTo>
                  <a:lnTo>
                    <a:pt x="139" y="2635"/>
                  </a:lnTo>
                  <a:lnTo>
                    <a:pt x="135" y="2632"/>
                  </a:lnTo>
                  <a:lnTo>
                    <a:pt x="133" y="2632"/>
                  </a:lnTo>
                  <a:lnTo>
                    <a:pt x="131" y="2630"/>
                  </a:lnTo>
                  <a:lnTo>
                    <a:pt x="129" y="2627"/>
                  </a:lnTo>
                  <a:lnTo>
                    <a:pt x="127" y="2624"/>
                  </a:lnTo>
                  <a:lnTo>
                    <a:pt x="126" y="2622"/>
                  </a:lnTo>
                  <a:lnTo>
                    <a:pt x="126" y="2618"/>
                  </a:lnTo>
                  <a:lnTo>
                    <a:pt x="126" y="2613"/>
                  </a:lnTo>
                  <a:lnTo>
                    <a:pt x="126" y="2602"/>
                  </a:lnTo>
                  <a:lnTo>
                    <a:pt x="123" y="2592"/>
                  </a:lnTo>
                  <a:lnTo>
                    <a:pt x="122" y="2579"/>
                  </a:lnTo>
                  <a:lnTo>
                    <a:pt x="118" y="2566"/>
                  </a:lnTo>
                  <a:lnTo>
                    <a:pt x="109" y="2537"/>
                  </a:lnTo>
                  <a:lnTo>
                    <a:pt x="99" y="2505"/>
                  </a:lnTo>
                  <a:lnTo>
                    <a:pt x="86" y="2477"/>
                  </a:lnTo>
                  <a:lnTo>
                    <a:pt x="74" y="2449"/>
                  </a:lnTo>
                  <a:lnTo>
                    <a:pt x="61" y="2426"/>
                  </a:lnTo>
                  <a:lnTo>
                    <a:pt x="50" y="2409"/>
                  </a:lnTo>
                  <a:lnTo>
                    <a:pt x="44" y="2399"/>
                  </a:lnTo>
                  <a:lnTo>
                    <a:pt x="40" y="2389"/>
                  </a:lnTo>
                  <a:lnTo>
                    <a:pt x="38" y="2377"/>
                  </a:lnTo>
                  <a:lnTo>
                    <a:pt x="38" y="2364"/>
                  </a:lnTo>
                  <a:lnTo>
                    <a:pt x="40" y="2351"/>
                  </a:lnTo>
                  <a:lnTo>
                    <a:pt x="41" y="2337"/>
                  </a:lnTo>
                  <a:lnTo>
                    <a:pt x="45" y="2322"/>
                  </a:lnTo>
                  <a:lnTo>
                    <a:pt x="49" y="2308"/>
                  </a:lnTo>
                  <a:lnTo>
                    <a:pt x="59" y="2279"/>
                  </a:lnTo>
                  <a:lnTo>
                    <a:pt x="71" y="2252"/>
                  </a:lnTo>
                  <a:lnTo>
                    <a:pt x="80" y="2228"/>
                  </a:lnTo>
                  <a:lnTo>
                    <a:pt x="88" y="2208"/>
                  </a:lnTo>
                  <a:lnTo>
                    <a:pt x="91" y="2201"/>
                  </a:lnTo>
                  <a:lnTo>
                    <a:pt x="92" y="2191"/>
                  </a:lnTo>
                  <a:lnTo>
                    <a:pt x="93" y="2182"/>
                  </a:lnTo>
                  <a:lnTo>
                    <a:pt x="95" y="2174"/>
                  </a:lnTo>
                  <a:lnTo>
                    <a:pt x="93" y="2156"/>
                  </a:lnTo>
                  <a:lnTo>
                    <a:pt x="92" y="2140"/>
                  </a:lnTo>
                  <a:lnTo>
                    <a:pt x="91" y="2125"/>
                  </a:lnTo>
                  <a:lnTo>
                    <a:pt x="89" y="2112"/>
                  </a:lnTo>
                  <a:lnTo>
                    <a:pt x="89" y="2105"/>
                  </a:lnTo>
                  <a:lnTo>
                    <a:pt x="91" y="2100"/>
                  </a:lnTo>
                  <a:lnTo>
                    <a:pt x="92" y="2095"/>
                  </a:lnTo>
                  <a:lnTo>
                    <a:pt x="93" y="2091"/>
                  </a:lnTo>
                  <a:lnTo>
                    <a:pt x="97" y="2083"/>
                  </a:lnTo>
                  <a:lnTo>
                    <a:pt x="100" y="2074"/>
                  </a:lnTo>
                  <a:lnTo>
                    <a:pt x="103" y="2062"/>
                  </a:lnTo>
                  <a:lnTo>
                    <a:pt x="104" y="2050"/>
                  </a:lnTo>
                  <a:lnTo>
                    <a:pt x="104" y="2037"/>
                  </a:lnTo>
                  <a:lnTo>
                    <a:pt x="103" y="2027"/>
                  </a:lnTo>
                  <a:lnTo>
                    <a:pt x="101" y="2021"/>
                  </a:lnTo>
                  <a:lnTo>
                    <a:pt x="100" y="2017"/>
                  </a:lnTo>
                  <a:lnTo>
                    <a:pt x="97" y="2014"/>
                  </a:lnTo>
                  <a:lnTo>
                    <a:pt x="95" y="2011"/>
                  </a:lnTo>
                  <a:lnTo>
                    <a:pt x="48" y="1977"/>
                  </a:lnTo>
                  <a:lnTo>
                    <a:pt x="42" y="1926"/>
                  </a:lnTo>
                  <a:lnTo>
                    <a:pt x="41" y="1918"/>
                  </a:lnTo>
                  <a:lnTo>
                    <a:pt x="38" y="1912"/>
                  </a:lnTo>
                  <a:lnTo>
                    <a:pt x="37" y="1906"/>
                  </a:lnTo>
                  <a:lnTo>
                    <a:pt x="33" y="1901"/>
                  </a:lnTo>
                  <a:lnTo>
                    <a:pt x="27" y="1892"/>
                  </a:lnTo>
                  <a:lnTo>
                    <a:pt x="19" y="1884"/>
                  </a:lnTo>
                  <a:lnTo>
                    <a:pt x="12" y="1875"/>
                  </a:lnTo>
                  <a:lnTo>
                    <a:pt x="6" y="1864"/>
                  </a:lnTo>
                  <a:lnTo>
                    <a:pt x="3" y="1859"/>
                  </a:lnTo>
                  <a:lnTo>
                    <a:pt x="2" y="1853"/>
                  </a:lnTo>
                  <a:lnTo>
                    <a:pt x="0" y="1845"/>
                  </a:lnTo>
                  <a:lnTo>
                    <a:pt x="0" y="1837"/>
                  </a:lnTo>
                  <a:lnTo>
                    <a:pt x="0" y="1823"/>
                  </a:lnTo>
                  <a:lnTo>
                    <a:pt x="0" y="1809"/>
                  </a:lnTo>
                  <a:lnTo>
                    <a:pt x="2" y="1798"/>
                  </a:lnTo>
                  <a:lnTo>
                    <a:pt x="4" y="1787"/>
                  </a:lnTo>
                  <a:lnTo>
                    <a:pt x="6" y="1779"/>
                  </a:lnTo>
                  <a:lnTo>
                    <a:pt x="10" y="1773"/>
                  </a:lnTo>
                  <a:lnTo>
                    <a:pt x="14" y="1768"/>
                  </a:lnTo>
                  <a:lnTo>
                    <a:pt x="17" y="1764"/>
                  </a:lnTo>
                  <a:lnTo>
                    <a:pt x="23" y="1761"/>
                  </a:lnTo>
                  <a:lnTo>
                    <a:pt x="29" y="1761"/>
                  </a:lnTo>
                  <a:lnTo>
                    <a:pt x="37" y="1761"/>
                  </a:lnTo>
                  <a:lnTo>
                    <a:pt x="45" y="1762"/>
                  </a:lnTo>
                  <a:lnTo>
                    <a:pt x="65" y="1769"/>
                  </a:lnTo>
                  <a:lnTo>
                    <a:pt x="89" y="1781"/>
                  </a:lnTo>
                  <a:lnTo>
                    <a:pt x="101" y="1785"/>
                  </a:lnTo>
                  <a:lnTo>
                    <a:pt x="117" y="1790"/>
                  </a:lnTo>
                  <a:lnTo>
                    <a:pt x="137" y="1794"/>
                  </a:lnTo>
                  <a:lnTo>
                    <a:pt x="157" y="1796"/>
                  </a:lnTo>
                  <a:lnTo>
                    <a:pt x="168" y="1798"/>
                  </a:lnTo>
                  <a:lnTo>
                    <a:pt x="178" y="1798"/>
                  </a:lnTo>
                  <a:lnTo>
                    <a:pt x="188" y="1796"/>
                  </a:lnTo>
                  <a:lnTo>
                    <a:pt x="197" y="1795"/>
                  </a:lnTo>
                  <a:lnTo>
                    <a:pt x="205" y="1792"/>
                  </a:lnTo>
                  <a:lnTo>
                    <a:pt x="211" y="1789"/>
                  </a:lnTo>
                  <a:lnTo>
                    <a:pt x="215" y="1783"/>
                  </a:lnTo>
                  <a:lnTo>
                    <a:pt x="219" y="1778"/>
                  </a:lnTo>
                  <a:lnTo>
                    <a:pt x="222" y="1766"/>
                  </a:lnTo>
                  <a:lnTo>
                    <a:pt x="223" y="1753"/>
                  </a:lnTo>
                  <a:lnTo>
                    <a:pt x="223" y="1740"/>
                  </a:lnTo>
                  <a:lnTo>
                    <a:pt x="222" y="1727"/>
                  </a:lnTo>
                  <a:lnTo>
                    <a:pt x="220" y="1714"/>
                  </a:lnTo>
                  <a:lnTo>
                    <a:pt x="220" y="1700"/>
                  </a:lnTo>
                  <a:lnTo>
                    <a:pt x="220" y="1687"/>
                  </a:lnTo>
                  <a:lnTo>
                    <a:pt x="223" y="1673"/>
                  </a:lnTo>
                  <a:lnTo>
                    <a:pt x="224" y="1667"/>
                  </a:lnTo>
                  <a:lnTo>
                    <a:pt x="225" y="1662"/>
                  </a:lnTo>
                  <a:lnTo>
                    <a:pt x="224" y="1656"/>
                  </a:lnTo>
                  <a:lnTo>
                    <a:pt x="224" y="1653"/>
                  </a:lnTo>
                  <a:lnTo>
                    <a:pt x="220" y="1649"/>
                  </a:lnTo>
                  <a:lnTo>
                    <a:pt x="215" y="1645"/>
                  </a:lnTo>
                  <a:lnTo>
                    <a:pt x="210" y="1642"/>
                  </a:lnTo>
                  <a:lnTo>
                    <a:pt x="205" y="1638"/>
                  </a:lnTo>
                  <a:lnTo>
                    <a:pt x="202" y="1636"/>
                  </a:lnTo>
                  <a:lnTo>
                    <a:pt x="201" y="1632"/>
                  </a:lnTo>
                  <a:lnTo>
                    <a:pt x="199" y="1626"/>
                  </a:lnTo>
                  <a:lnTo>
                    <a:pt x="199" y="1621"/>
                  </a:lnTo>
                  <a:lnTo>
                    <a:pt x="201" y="1592"/>
                  </a:lnTo>
                  <a:lnTo>
                    <a:pt x="202" y="1566"/>
                  </a:lnTo>
                  <a:lnTo>
                    <a:pt x="202" y="1553"/>
                  </a:lnTo>
                  <a:lnTo>
                    <a:pt x="199" y="1541"/>
                  </a:lnTo>
                  <a:lnTo>
                    <a:pt x="198" y="1536"/>
                  </a:lnTo>
                  <a:lnTo>
                    <a:pt x="195" y="1531"/>
                  </a:lnTo>
                  <a:lnTo>
                    <a:pt x="193" y="1524"/>
                  </a:lnTo>
                  <a:lnTo>
                    <a:pt x="189" y="1519"/>
                  </a:lnTo>
                  <a:lnTo>
                    <a:pt x="184" y="1514"/>
                  </a:lnTo>
                  <a:lnTo>
                    <a:pt x="181" y="1507"/>
                  </a:lnTo>
                  <a:lnTo>
                    <a:pt x="178" y="1501"/>
                  </a:lnTo>
                  <a:lnTo>
                    <a:pt x="177" y="1496"/>
                  </a:lnTo>
                  <a:lnTo>
                    <a:pt x="176" y="1482"/>
                  </a:lnTo>
                  <a:lnTo>
                    <a:pt x="176" y="1471"/>
                  </a:lnTo>
                  <a:lnTo>
                    <a:pt x="177" y="1459"/>
                  </a:lnTo>
                  <a:lnTo>
                    <a:pt x="178" y="1446"/>
                  </a:lnTo>
                  <a:lnTo>
                    <a:pt x="180" y="1433"/>
                  </a:lnTo>
                  <a:lnTo>
                    <a:pt x="177" y="1420"/>
                  </a:lnTo>
                  <a:lnTo>
                    <a:pt x="176" y="1413"/>
                  </a:lnTo>
                  <a:lnTo>
                    <a:pt x="177" y="1405"/>
                  </a:lnTo>
                  <a:lnTo>
                    <a:pt x="177" y="1405"/>
                  </a:lnTo>
                  <a:lnTo>
                    <a:pt x="177" y="1404"/>
                  </a:lnTo>
                  <a:lnTo>
                    <a:pt x="178" y="1404"/>
                  </a:lnTo>
                  <a:lnTo>
                    <a:pt x="180" y="1403"/>
                  </a:lnTo>
                  <a:lnTo>
                    <a:pt x="180" y="1401"/>
                  </a:lnTo>
                  <a:lnTo>
                    <a:pt x="180" y="1400"/>
                  </a:lnTo>
                  <a:lnTo>
                    <a:pt x="181" y="1400"/>
                  </a:lnTo>
                  <a:lnTo>
                    <a:pt x="182" y="1399"/>
                  </a:lnTo>
                  <a:lnTo>
                    <a:pt x="182" y="1399"/>
                  </a:lnTo>
                  <a:lnTo>
                    <a:pt x="184" y="1397"/>
                  </a:lnTo>
                  <a:lnTo>
                    <a:pt x="184" y="1397"/>
                  </a:lnTo>
                  <a:lnTo>
                    <a:pt x="186" y="1394"/>
                  </a:lnTo>
                  <a:lnTo>
                    <a:pt x="189" y="1388"/>
                  </a:lnTo>
                  <a:lnTo>
                    <a:pt x="190" y="1388"/>
                  </a:lnTo>
                  <a:lnTo>
                    <a:pt x="191" y="1388"/>
                  </a:lnTo>
                  <a:lnTo>
                    <a:pt x="191" y="1384"/>
                  </a:lnTo>
                  <a:lnTo>
                    <a:pt x="193" y="1382"/>
                  </a:lnTo>
                  <a:lnTo>
                    <a:pt x="194" y="1380"/>
                  </a:lnTo>
                  <a:lnTo>
                    <a:pt x="208" y="133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31" name="Freeform 56"/>
            <p:cNvSpPr>
              <a:spLocks/>
            </p:cNvSpPr>
            <p:nvPr/>
          </p:nvSpPr>
          <p:spPr bwMode="auto">
            <a:xfrm>
              <a:off x="5692775" y="2995613"/>
              <a:ext cx="522288" cy="534987"/>
            </a:xfrm>
            <a:custGeom>
              <a:avLst/>
              <a:gdLst/>
              <a:ahLst/>
              <a:cxnLst>
                <a:cxn ang="0">
                  <a:pos x="1015" y="841"/>
                </a:cxn>
                <a:cxn ang="0">
                  <a:pos x="1029" y="769"/>
                </a:cxn>
                <a:cxn ang="0">
                  <a:pos x="963" y="722"/>
                </a:cxn>
                <a:cxn ang="0">
                  <a:pos x="999" y="670"/>
                </a:cxn>
                <a:cxn ang="0">
                  <a:pos x="1087" y="598"/>
                </a:cxn>
                <a:cxn ang="0">
                  <a:pos x="1141" y="615"/>
                </a:cxn>
                <a:cxn ang="0">
                  <a:pos x="1199" y="591"/>
                </a:cxn>
                <a:cxn ang="0">
                  <a:pos x="1281" y="558"/>
                </a:cxn>
                <a:cxn ang="0">
                  <a:pos x="1307" y="494"/>
                </a:cxn>
                <a:cxn ang="0">
                  <a:pos x="1350" y="468"/>
                </a:cxn>
                <a:cxn ang="0">
                  <a:pos x="1352" y="387"/>
                </a:cxn>
                <a:cxn ang="0">
                  <a:pos x="1379" y="285"/>
                </a:cxn>
                <a:cxn ang="0">
                  <a:pos x="1397" y="272"/>
                </a:cxn>
                <a:cxn ang="0">
                  <a:pos x="1413" y="256"/>
                </a:cxn>
                <a:cxn ang="0">
                  <a:pos x="1380" y="175"/>
                </a:cxn>
                <a:cxn ang="0">
                  <a:pos x="1313" y="228"/>
                </a:cxn>
                <a:cxn ang="0">
                  <a:pos x="837" y="18"/>
                </a:cxn>
                <a:cxn ang="0">
                  <a:pos x="831" y="118"/>
                </a:cxn>
                <a:cxn ang="0">
                  <a:pos x="787" y="128"/>
                </a:cxn>
                <a:cxn ang="0">
                  <a:pos x="697" y="129"/>
                </a:cxn>
                <a:cxn ang="0">
                  <a:pos x="662" y="108"/>
                </a:cxn>
                <a:cxn ang="0">
                  <a:pos x="642" y="4"/>
                </a:cxn>
                <a:cxn ang="0">
                  <a:pos x="334" y="131"/>
                </a:cxn>
                <a:cxn ang="0">
                  <a:pos x="246" y="141"/>
                </a:cxn>
                <a:cxn ang="0">
                  <a:pos x="149" y="150"/>
                </a:cxn>
                <a:cxn ang="0">
                  <a:pos x="72" y="174"/>
                </a:cxn>
                <a:cxn ang="0">
                  <a:pos x="5" y="197"/>
                </a:cxn>
                <a:cxn ang="0">
                  <a:pos x="97" y="272"/>
                </a:cxn>
                <a:cxn ang="0">
                  <a:pos x="145" y="230"/>
                </a:cxn>
                <a:cxn ang="0">
                  <a:pos x="266" y="254"/>
                </a:cxn>
                <a:cxn ang="0">
                  <a:pos x="344" y="251"/>
                </a:cxn>
                <a:cxn ang="0">
                  <a:pos x="364" y="345"/>
                </a:cxn>
                <a:cxn ang="0">
                  <a:pos x="297" y="449"/>
                </a:cxn>
                <a:cxn ang="0">
                  <a:pos x="296" y="517"/>
                </a:cxn>
                <a:cxn ang="0">
                  <a:pos x="408" y="558"/>
                </a:cxn>
                <a:cxn ang="0">
                  <a:pos x="492" y="557"/>
                </a:cxn>
                <a:cxn ang="0">
                  <a:pos x="481" y="685"/>
                </a:cxn>
                <a:cxn ang="0">
                  <a:pos x="455" y="795"/>
                </a:cxn>
                <a:cxn ang="0">
                  <a:pos x="455" y="887"/>
                </a:cxn>
                <a:cxn ang="0">
                  <a:pos x="446" y="994"/>
                </a:cxn>
                <a:cxn ang="0">
                  <a:pos x="463" y="1110"/>
                </a:cxn>
                <a:cxn ang="0">
                  <a:pos x="426" y="1151"/>
                </a:cxn>
                <a:cxn ang="0">
                  <a:pos x="442" y="1219"/>
                </a:cxn>
                <a:cxn ang="0">
                  <a:pos x="700" y="1454"/>
                </a:cxn>
                <a:cxn ang="0">
                  <a:pos x="829" y="1423"/>
                </a:cxn>
                <a:cxn ang="0">
                  <a:pos x="816" y="1368"/>
                </a:cxn>
                <a:cxn ang="0">
                  <a:pos x="731" y="1330"/>
                </a:cxn>
                <a:cxn ang="0">
                  <a:pos x="674" y="1278"/>
                </a:cxn>
                <a:cxn ang="0">
                  <a:pos x="666" y="1205"/>
                </a:cxn>
                <a:cxn ang="0">
                  <a:pos x="616" y="1118"/>
                </a:cxn>
                <a:cxn ang="0">
                  <a:pos x="570" y="936"/>
                </a:cxn>
                <a:cxn ang="0">
                  <a:pos x="593" y="882"/>
                </a:cxn>
                <a:cxn ang="0">
                  <a:pos x="649" y="861"/>
                </a:cxn>
                <a:cxn ang="0">
                  <a:pos x="627" y="973"/>
                </a:cxn>
                <a:cxn ang="0">
                  <a:pos x="701" y="935"/>
                </a:cxn>
                <a:cxn ang="0">
                  <a:pos x="786" y="896"/>
                </a:cxn>
                <a:cxn ang="0">
                  <a:pos x="803" y="984"/>
                </a:cxn>
                <a:cxn ang="0">
                  <a:pos x="838" y="1014"/>
                </a:cxn>
              </a:cxnLst>
              <a:rect l="0" t="0" r="r" b="b"/>
              <a:pathLst>
                <a:path w="1422" h="1454">
                  <a:moveTo>
                    <a:pt x="1001" y="968"/>
                  </a:moveTo>
                  <a:lnTo>
                    <a:pt x="998" y="904"/>
                  </a:lnTo>
                  <a:lnTo>
                    <a:pt x="997" y="888"/>
                  </a:lnTo>
                  <a:lnTo>
                    <a:pt x="995" y="874"/>
                  </a:lnTo>
                  <a:lnTo>
                    <a:pt x="995" y="867"/>
                  </a:lnTo>
                  <a:lnTo>
                    <a:pt x="997" y="862"/>
                  </a:lnTo>
                  <a:lnTo>
                    <a:pt x="999" y="855"/>
                  </a:lnTo>
                  <a:lnTo>
                    <a:pt x="1003" y="850"/>
                  </a:lnTo>
                  <a:lnTo>
                    <a:pt x="1015" y="841"/>
                  </a:lnTo>
                  <a:lnTo>
                    <a:pt x="1023" y="833"/>
                  </a:lnTo>
                  <a:lnTo>
                    <a:pt x="1031" y="825"/>
                  </a:lnTo>
                  <a:lnTo>
                    <a:pt x="1036" y="817"/>
                  </a:lnTo>
                  <a:lnTo>
                    <a:pt x="1037" y="812"/>
                  </a:lnTo>
                  <a:lnTo>
                    <a:pt x="1039" y="808"/>
                  </a:lnTo>
                  <a:lnTo>
                    <a:pt x="1039" y="803"/>
                  </a:lnTo>
                  <a:lnTo>
                    <a:pt x="1039" y="798"/>
                  </a:lnTo>
                  <a:lnTo>
                    <a:pt x="1035" y="785"/>
                  </a:lnTo>
                  <a:lnTo>
                    <a:pt x="1029" y="769"/>
                  </a:lnTo>
                  <a:lnTo>
                    <a:pt x="1024" y="757"/>
                  </a:lnTo>
                  <a:lnTo>
                    <a:pt x="1019" y="748"/>
                  </a:lnTo>
                  <a:lnTo>
                    <a:pt x="1014" y="740"/>
                  </a:lnTo>
                  <a:lnTo>
                    <a:pt x="1007" y="734"/>
                  </a:lnTo>
                  <a:lnTo>
                    <a:pt x="999" y="728"/>
                  </a:lnTo>
                  <a:lnTo>
                    <a:pt x="990" y="726"/>
                  </a:lnTo>
                  <a:lnTo>
                    <a:pt x="980" y="723"/>
                  </a:lnTo>
                  <a:lnTo>
                    <a:pt x="965" y="722"/>
                  </a:lnTo>
                  <a:lnTo>
                    <a:pt x="963" y="722"/>
                  </a:lnTo>
                  <a:lnTo>
                    <a:pt x="960" y="721"/>
                  </a:lnTo>
                  <a:lnTo>
                    <a:pt x="959" y="718"/>
                  </a:lnTo>
                  <a:lnTo>
                    <a:pt x="959" y="715"/>
                  </a:lnTo>
                  <a:lnTo>
                    <a:pt x="963" y="708"/>
                  </a:lnTo>
                  <a:lnTo>
                    <a:pt x="968" y="698"/>
                  </a:lnTo>
                  <a:lnTo>
                    <a:pt x="976" y="688"/>
                  </a:lnTo>
                  <a:lnTo>
                    <a:pt x="985" y="680"/>
                  </a:lnTo>
                  <a:lnTo>
                    <a:pt x="993" y="674"/>
                  </a:lnTo>
                  <a:lnTo>
                    <a:pt x="999" y="670"/>
                  </a:lnTo>
                  <a:lnTo>
                    <a:pt x="1012" y="664"/>
                  </a:lnTo>
                  <a:lnTo>
                    <a:pt x="1031" y="659"/>
                  </a:lnTo>
                  <a:lnTo>
                    <a:pt x="1040" y="657"/>
                  </a:lnTo>
                  <a:lnTo>
                    <a:pt x="1048" y="653"/>
                  </a:lnTo>
                  <a:lnTo>
                    <a:pt x="1053" y="650"/>
                  </a:lnTo>
                  <a:lnTo>
                    <a:pt x="1057" y="646"/>
                  </a:lnTo>
                  <a:lnTo>
                    <a:pt x="1069" y="626"/>
                  </a:lnTo>
                  <a:lnTo>
                    <a:pt x="1082" y="603"/>
                  </a:lnTo>
                  <a:lnTo>
                    <a:pt x="1087" y="598"/>
                  </a:lnTo>
                  <a:lnTo>
                    <a:pt x="1091" y="594"/>
                  </a:lnTo>
                  <a:lnTo>
                    <a:pt x="1096" y="592"/>
                  </a:lnTo>
                  <a:lnTo>
                    <a:pt x="1101" y="591"/>
                  </a:lnTo>
                  <a:lnTo>
                    <a:pt x="1108" y="592"/>
                  </a:lnTo>
                  <a:lnTo>
                    <a:pt x="1114" y="595"/>
                  </a:lnTo>
                  <a:lnTo>
                    <a:pt x="1122" y="599"/>
                  </a:lnTo>
                  <a:lnTo>
                    <a:pt x="1130" y="607"/>
                  </a:lnTo>
                  <a:lnTo>
                    <a:pt x="1135" y="611"/>
                  </a:lnTo>
                  <a:lnTo>
                    <a:pt x="1141" y="615"/>
                  </a:lnTo>
                  <a:lnTo>
                    <a:pt x="1146" y="617"/>
                  </a:lnTo>
                  <a:lnTo>
                    <a:pt x="1151" y="619"/>
                  </a:lnTo>
                  <a:lnTo>
                    <a:pt x="1156" y="619"/>
                  </a:lnTo>
                  <a:lnTo>
                    <a:pt x="1162" y="617"/>
                  </a:lnTo>
                  <a:lnTo>
                    <a:pt x="1167" y="616"/>
                  </a:lnTo>
                  <a:lnTo>
                    <a:pt x="1172" y="615"/>
                  </a:lnTo>
                  <a:lnTo>
                    <a:pt x="1182" y="608"/>
                  </a:lnTo>
                  <a:lnTo>
                    <a:pt x="1192" y="600"/>
                  </a:lnTo>
                  <a:lnTo>
                    <a:pt x="1199" y="591"/>
                  </a:lnTo>
                  <a:lnTo>
                    <a:pt x="1206" y="581"/>
                  </a:lnTo>
                  <a:lnTo>
                    <a:pt x="1210" y="577"/>
                  </a:lnTo>
                  <a:lnTo>
                    <a:pt x="1215" y="574"/>
                  </a:lnTo>
                  <a:lnTo>
                    <a:pt x="1220" y="572"/>
                  </a:lnTo>
                  <a:lnTo>
                    <a:pt x="1228" y="570"/>
                  </a:lnTo>
                  <a:lnTo>
                    <a:pt x="1245" y="566"/>
                  </a:lnTo>
                  <a:lnTo>
                    <a:pt x="1264" y="564"/>
                  </a:lnTo>
                  <a:lnTo>
                    <a:pt x="1271" y="561"/>
                  </a:lnTo>
                  <a:lnTo>
                    <a:pt x="1281" y="558"/>
                  </a:lnTo>
                  <a:lnTo>
                    <a:pt x="1287" y="555"/>
                  </a:lnTo>
                  <a:lnTo>
                    <a:pt x="1294" y="551"/>
                  </a:lnTo>
                  <a:lnTo>
                    <a:pt x="1299" y="545"/>
                  </a:lnTo>
                  <a:lnTo>
                    <a:pt x="1303" y="539"/>
                  </a:lnTo>
                  <a:lnTo>
                    <a:pt x="1305" y="531"/>
                  </a:lnTo>
                  <a:lnTo>
                    <a:pt x="1305" y="522"/>
                  </a:lnTo>
                  <a:lnTo>
                    <a:pt x="1304" y="510"/>
                  </a:lnTo>
                  <a:lnTo>
                    <a:pt x="1305" y="501"/>
                  </a:lnTo>
                  <a:lnTo>
                    <a:pt x="1307" y="494"/>
                  </a:lnTo>
                  <a:lnTo>
                    <a:pt x="1311" y="489"/>
                  </a:lnTo>
                  <a:lnTo>
                    <a:pt x="1315" y="487"/>
                  </a:lnTo>
                  <a:lnTo>
                    <a:pt x="1318" y="484"/>
                  </a:lnTo>
                  <a:lnTo>
                    <a:pt x="1324" y="481"/>
                  </a:lnTo>
                  <a:lnTo>
                    <a:pt x="1329" y="480"/>
                  </a:lnTo>
                  <a:lnTo>
                    <a:pt x="1335" y="479"/>
                  </a:lnTo>
                  <a:lnTo>
                    <a:pt x="1341" y="476"/>
                  </a:lnTo>
                  <a:lnTo>
                    <a:pt x="1346" y="473"/>
                  </a:lnTo>
                  <a:lnTo>
                    <a:pt x="1350" y="468"/>
                  </a:lnTo>
                  <a:lnTo>
                    <a:pt x="1354" y="463"/>
                  </a:lnTo>
                  <a:lnTo>
                    <a:pt x="1356" y="455"/>
                  </a:lnTo>
                  <a:lnTo>
                    <a:pt x="1359" y="445"/>
                  </a:lnTo>
                  <a:lnTo>
                    <a:pt x="1359" y="432"/>
                  </a:lnTo>
                  <a:lnTo>
                    <a:pt x="1359" y="428"/>
                  </a:lnTo>
                  <a:lnTo>
                    <a:pt x="1358" y="422"/>
                  </a:lnTo>
                  <a:lnTo>
                    <a:pt x="1358" y="420"/>
                  </a:lnTo>
                  <a:lnTo>
                    <a:pt x="1355" y="404"/>
                  </a:lnTo>
                  <a:lnTo>
                    <a:pt x="1352" y="387"/>
                  </a:lnTo>
                  <a:lnTo>
                    <a:pt x="1352" y="344"/>
                  </a:lnTo>
                  <a:lnTo>
                    <a:pt x="1359" y="327"/>
                  </a:lnTo>
                  <a:lnTo>
                    <a:pt x="1366" y="311"/>
                  </a:lnTo>
                  <a:lnTo>
                    <a:pt x="1367" y="302"/>
                  </a:lnTo>
                  <a:lnTo>
                    <a:pt x="1369" y="293"/>
                  </a:lnTo>
                  <a:lnTo>
                    <a:pt x="1371" y="290"/>
                  </a:lnTo>
                  <a:lnTo>
                    <a:pt x="1372" y="286"/>
                  </a:lnTo>
                  <a:lnTo>
                    <a:pt x="1375" y="285"/>
                  </a:lnTo>
                  <a:lnTo>
                    <a:pt x="1379" y="285"/>
                  </a:lnTo>
                  <a:lnTo>
                    <a:pt x="1380" y="285"/>
                  </a:lnTo>
                  <a:lnTo>
                    <a:pt x="1383" y="284"/>
                  </a:lnTo>
                  <a:lnTo>
                    <a:pt x="1384" y="281"/>
                  </a:lnTo>
                  <a:lnTo>
                    <a:pt x="1384" y="280"/>
                  </a:lnTo>
                  <a:lnTo>
                    <a:pt x="1386" y="279"/>
                  </a:lnTo>
                  <a:lnTo>
                    <a:pt x="1390" y="277"/>
                  </a:lnTo>
                  <a:lnTo>
                    <a:pt x="1390" y="275"/>
                  </a:lnTo>
                  <a:lnTo>
                    <a:pt x="1393" y="273"/>
                  </a:lnTo>
                  <a:lnTo>
                    <a:pt x="1397" y="272"/>
                  </a:lnTo>
                  <a:lnTo>
                    <a:pt x="1397" y="271"/>
                  </a:lnTo>
                  <a:lnTo>
                    <a:pt x="1398" y="271"/>
                  </a:lnTo>
                  <a:lnTo>
                    <a:pt x="1401" y="268"/>
                  </a:lnTo>
                  <a:lnTo>
                    <a:pt x="1402" y="267"/>
                  </a:lnTo>
                  <a:lnTo>
                    <a:pt x="1405" y="267"/>
                  </a:lnTo>
                  <a:lnTo>
                    <a:pt x="1407" y="265"/>
                  </a:lnTo>
                  <a:lnTo>
                    <a:pt x="1409" y="263"/>
                  </a:lnTo>
                  <a:lnTo>
                    <a:pt x="1409" y="262"/>
                  </a:lnTo>
                  <a:lnTo>
                    <a:pt x="1413" y="256"/>
                  </a:lnTo>
                  <a:lnTo>
                    <a:pt x="1417" y="250"/>
                  </a:lnTo>
                  <a:lnTo>
                    <a:pt x="1419" y="246"/>
                  </a:lnTo>
                  <a:lnTo>
                    <a:pt x="1422" y="241"/>
                  </a:lnTo>
                  <a:lnTo>
                    <a:pt x="1417" y="174"/>
                  </a:lnTo>
                  <a:lnTo>
                    <a:pt x="1383" y="182"/>
                  </a:lnTo>
                  <a:lnTo>
                    <a:pt x="1383" y="180"/>
                  </a:lnTo>
                  <a:lnTo>
                    <a:pt x="1383" y="178"/>
                  </a:lnTo>
                  <a:lnTo>
                    <a:pt x="1381" y="176"/>
                  </a:lnTo>
                  <a:lnTo>
                    <a:pt x="1380" y="175"/>
                  </a:lnTo>
                  <a:lnTo>
                    <a:pt x="1379" y="175"/>
                  </a:lnTo>
                  <a:lnTo>
                    <a:pt x="1373" y="176"/>
                  </a:lnTo>
                  <a:lnTo>
                    <a:pt x="1367" y="180"/>
                  </a:lnTo>
                  <a:lnTo>
                    <a:pt x="1354" y="188"/>
                  </a:lnTo>
                  <a:lnTo>
                    <a:pt x="1343" y="196"/>
                  </a:lnTo>
                  <a:lnTo>
                    <a:pt x="1333" y="207"/>
                  </a:lnTo>
                  <a:lnTo>
                    <a:pt x="1322" y="218"/>
                  </a:lnTo>
                  <a:lnTo>
                    <a:pt x="1318" y="222"/>
                  </a:lnTo>
                  <a:lnTo>
                    <a:pt x="1313" y="228"/>
                  </a:lnTo>
                  <a:lnTo>
                    <a:pt x="1307" y="230"/>
                  </a:lnTo>
                  <a:lnTo>
                    <a:pt x="1300" y="233"/>
                  </a:lnTo>
                  <a:lnTo>
                    <a:pt x="1125" y="260"/>
                  </a:lnTo>
                  <a:lnTo>
                    <a:pt x="984" y="210"/>
                  </a:lnTo>
                  <a:lnTo>
                    <a:pt x="989" y="170"/>
                  </a:lnTo>
                  <a:lnTo>
                    <a:pt x="998" y="69"/>
                  </a:lnTo>
                  <a:lnTo>
                    <a:pt x="842" y="18"/>
                  </a:lnTo>
                  <a:lnTo>
                    <a:pt x="840" y="18"/>
                  </a:lnTo>
                  <a:lnTo>
                    <a:pt x="837" y="18"/>
                  </a:lnTo>
                  <a:lnTo>
                    <a:pt x="836" y="20"/>
                  </a:lnTo>
                  <a:lnTo>
                    <a:pt x="835" y="21"/>
                  </a:lnTo>
                  <a:lnTo>
                    <a:pt x="832" y="25"/>
                  </a:lnTo>
                  <a:lnTo>
                    <a:pt x="831" y="31"/>
                  </a:lnTo>
                  <a:lnTo>
                    <a:pt x="831" y="48"/>
                  </a:lnTo>
                  <a:lnTo>
                    <a:pt x="831" y="68"/>
                  </a:lnTo>
                  <a:lnTo>
                    <a:pt x="832" y="90"/>
                  </a:lnTo>
                  <a:lnTo>
                    <a:pt x="832" y="110"/>
                  </a:lnTo>
                  <a:lnTo>
                    <a:pt x="831" y="118"/>
                  </a:lnTo>
                  <a:lnTo>
                    <a:pt x="829" y="125"/>
                  </a:lnTo>
                  <a:lnTo>
                    <a:pt x="828" y="131"/>
                  </a:lnTo>
                  <a:lnTo>
                    <a:pt x="824" y="135"/>
                  </a:lnTo>
                  <a:lnTo>
                    <a:pt x="821" y="136"/>
                  </a:lnTo>
                  <a:lnTo>
                    <a:pt x="818" y="137"/>
                  </a:lnTo>
                  <a:lnTo>
                    <a:pt x="812" y="137"/>
                  </a:lnTo>
                  <a:lnTo>
                    <a:pt x="808" y="136"/>
                  </a:lnTo>
                  <a:lnTo>
                    <a:pt x="798" y="132"/>
                  </a:lnTo>
                  <a:lnTo>
                    <a:pt x="787" y="128"/>
                  </a:lnTo>
                  <a:lnTo>
                    <a:pt x="776" y="123"/>
                  </a:lnTo>
                  <a:lnTo>
                    <a:pt x="765" y="118"/>
                  </a:lnTo>
                  <a:lnTo>
                    <a:pt x="755" y="115"/>
                  </a:lnTo>
                  <a:lnTo>
                    <a:pt x="746" y="114"/>
                  </a:lnTo>
                  <a:lnTo>
                    <a:pt x="738" y="114"/>
                  </a:lnTo>
                  <a:lnTo>
                    <a:pt x="730" y="115"/>
                  </a:lnTo>
                  <a:lnTo>
                    <a:pt x="721" y="118"/>
                  </a:lnTo>
                  <a:lnTo>
                    <a:pt x="713" y="122"/>
                  </a:lnTo>
                  <a:lnTo>
                    <a:pt x="697" y="129"/>
                  </a:lnTo>
                  <a:lnTo>
                    <a:pt x="681" y="137"/>
                  </a:lnTo>
                  <a:lnTo>
                    <a:pt x="675" y="140"/>
                  </a:lnTo>
                  <a:lnTo>
                    <a:pt x="670" y="140"/>
                  </a:lnTo>
                  <a:lnTo>
                    <a:pt x="666" y="139"/>
                  </a:lnTo>
                  <a:lnTo>
                    <a:pt x="663" y="135"/>
                  </a:lnTo>
                  <a:lnTo>
                    <a:pt x="662" y="129"/>
                  </a:lnTo>
                  <a:lnTo>
                    <a:pt x="661" y="124"/>
                  </a:lnTo>
                  <a:lnTo>
                    <a:pt x="661" y="116"/>
                  </a:lnTo>
                  <a:lnTo>
                    <a:pt x="662" y="108"/>
                  </a:lnTo>
                  <a:lnTo>
                    <a:pt x="667" y="76"/>
                  </a:lnTo>
                  <a:lnTo>
                    <a:pt x="671" y="52"/>
                  </a:lnTo>
                  <a:lnTo>
                    <a:pt x="671" y="35"/>
                  </a:lnTo>
                  <a:lnTo>
                    <a:pt x="668" y="23"/>
                  </a:lnTo>
                  <a:lnTo>
                    <a:pt x="666" y="18"/>
                  </a:lnTo>
                  <a:lnTo>
                    <a:pt x="662" y="14"/>
                  </a:lnTo>
                  <a:lnTo>
                    <a:pt x="658" y="10"/>
                  </a:lnTo>
                  <a:lnTo>
                    <a:pt x="651" y="6"/>
                  </a:lnTo>
                  <a:lnTo>
                    <a:pt x="642" y="4"/>
                  </a:lnTo>
                  <a:lnTo>
                    <a:pt x="625" y="1"/>
                  </a:lnTo>
                  <a:lnTo>
                    <a:pt x="617" y="1"/>
                  </a:lnTo>
                  <a:lnTo>
                    <a:pt x="610" y="0"/>
                  </a:lnTo>
                  <a:lnTo>
                    <a:pt x="604" y="1"/>
                  </a:lnTo>
                  <a:lnTo>
                    <a:pt x="602" y="1"/>
                  </a:lnTo>
                  <a:lnTo>
                    <a:pt x="466" y="183"/>
                  </a:lnTo>
                  <a:lnTo>
                    <a:pt x="396" y="116"/>
                  </a:lnTo>
                  <a:lnTo>
                    <a:pt x="352" y="125"/>
                  </a:lnTo>
                  <a:lnTo>
                    <a:pt x="334" y="131"/>
                  </a:lnTo>
                  <a:lnTo>
                    <a:pt x="322" y="135"/>
                  </a:lnTo>
                  <a:lnTo>
                    <a:pt x="311" y="140"/>
                  </a:lnTo>
                  <a:lnTo>
                    <a:pt x="297" y="148"/>
                  </a:lnTo>
                  <a:lnTo>
                    <a:pt x="292" y="150"/>
                  </a:lnTo>
                  <a:lnTo>
                    <a:pt x="286" y="152"/>
                  </a:lnTo>
                  <a:lnTo>
                    <a:pt x="280" y="152"/>
                  </a:lnTo>
                  <a:lnTo>
                    <a:pt x="273" y="150"/>
                  </a:lnTo>
                  <a:lnTo>
                    <a:pt x="260" y="146"/>
                  </a:lnTo>
                  <a:lnTo>
                    <a:pt x="246" y="141"/>
                  </a:lnTo>
                  <a:lnTo>
                    <a:pt x="233" y="136"/>
                  </a:lnTo>
                  <a:lnTo>
                    <a:pt x="218" y="129"/>
                  </a:lnTo>
                  <a:lnTo>
                    <a:pt x="205" y="125"/>
                  </a:lnTo>
                  <a:lnTo>
                    <a:pt x="194" y="123"/>
                  </a:lnTo>
                  <a:lnTo>
                    <a:pt x="183" y="123"/>
                  </a:lnTo>
                  <a:lnTo>
                    <a:pt x="175" y="125"/>
                  </a:lnTo>
                  <a:lnTo>
                    <a:pt x="167" y="129"/>
                  </a:lnTo>
                  <a:lnTo>
                    <a:pt x="161" y="136"/>
                  </a:lnTo>
                  <a:lnTo>
                    <a:pt x="149" y="150"/>
                  </a:lnTo>
                  <a:lnTo>
                    <a:pt x="140" y="166"/>
                  </a:lnTo>
                  <a:lnTo>
                    <a:pt x="135" y="174"/>
                  </a:lnTo>
                  <a:lnTo>
                    <a:pt x="130" y="180"/>
                  </a:lnTo>
                  <a:lnTo>
                    <a:pt x="123" y="184"/>
                  </a:lnTo>
                  <a:lnTo>
                    <a:pt x="115" y="188"/>
                  </a:lnTo>
                  <a:lnTo>
                    <a:pt x="107" y="188"/>
                  </a:lnTo>
                  <a:lnTo>
                    <a:pt x="97" y="187"/>
                  </a:lnTo>
                  <a:lnTo>
                    <a:pt x="85" y="182"/>
                  </a:lnTo>
                  <a:lnTo>
                    <a:pt x="72" y="174"/>
                  </a:lnTo>
                  <a:lnTo>
                    <a:pt x="61" y="167"/>
                  </a:lnTo>
                  <a:lnTo>
                    <a:pt x="51" y="165"/>
                  </a:lnTo>
                  <a:lnTo>
                    <a:pt x="42" y="163"/>
                  </a:lnTo>
                  <a:lnTo>
                    <a:pt x="33" y="166"/>
                  </a:lnTo>
                  <a:lnTo>
                    <a:pt x="26" y="169"/>
                  </a:lnTo>
                  <a:lnTo>
                    <a:pt x="20" y="174"/>
                  </a:lnTo>
                  <a:lnTo>
                    <a:pt x="13" y="182"/>
                  </a:lnTo>
                  <a:lnTo>
                    <a:pt x="9" y="190"/>
                  </a:lnTo>
                  <a:lnTo>
                    <a:pt x="5" y="197"/>
                  </a:lnTo>
                  <a:lnTo>
                    <a:pt x="3" y="207"/>
                  </a:lnTo>
                  <a:lnTo>
                    <a:pt x="0" y="216"/>
                  </a:lnTo>
                  <a:lnTo>
                    <a:pt x="0" y="225"/>
                  </a:lnTo>
                  <a:lnTo>
                    <a:pt x="0" y="233"/>
                  </a:lnTo>
                  <a:lnTo>
                    <a:pt x="3" y="241"/>
                  </a:lnTo>
                  <a:lnTo>
                    <a:pt x="5" y="247"/>
                  </a:lnTo>
                  <a:lnTo>
                    <a:pt x="9" y="251"/>
                  </a:lnTo>
                  <a:lnTo>
                    <a:pt x="42" y="281"/>
                  </a:lnTo>
                  <a:lnTo>
                    <a:pt x="97" y="272"/>
                  </a:lnTo>
                  <a:lnTo>
                    <a:pt x="103" y="269"/>
                  </a:lnTo>
                  <a:lnTo>
                    <a:pt x="110" y="264"/>
                  </a:lnTo>
                  <a:lnTo>
                    <a:pt x="116" y="258"/>
                  </a:lnTo>
                  <a:lnTo>
                    <a:pt x="123" y="250"/>
                  </a:lnTo>
                  <a:lnTo>
                    <a:pt x="128" y="242"/>
                  </a:lnTo>
                  <a:lnTo>
                    <a:pt x="135" y="235"/>
                  </a:lnTo>
                  <a:lnTo>
                    <a:pt x="139" y="233"/>
                  </a:lnTo>
                  <a:lnTo>
                    <a:pt x="141" y="231"/>
                  </a:lnTo>
                  <a:lnTo>
                    <a:pt x="145" y="230"/>
                  </a:lnTo>
                  <a:lnTo>
                    <a:pt x="149" y="230"/>
                  </a:lnTo>
                  <a:lnTo>
                    <a:pt x="158" y="231"/>
                  </a:lnTo>
                  <a:lnTo>
                    <a:pt x="170" y="237"/>
                  </a:lnTo>
                  <a:lnTo>
                    <a:pt x="182" y="242"/>
                  </a:lnTo>
                  <a:lnTo>
                    <a:pt x="194" y="246"/>
                  </a:lnTo>
                  <a:lnTo>
                    <a:pt x="211" y="248"/>
                  </a:lnTo>
                  <a:lnTo>
                    <a:pt x="229" y="251"/>
                  </a:lnTo>
                  <a:lnTo>
                    <a:pt x="246" y="254"/>
                  </a:lnTo>
                  <a:lnTo>
                    <a:pt x="266" y="254"/>
                  </a:lnTo>
                  <a:lnTo>
                    <a:pt x="281" y="252"/>
                  </a:lnTo>
                  <a:lnTo>
                    <a:pt x="297" y="248"/>
                  </a:lnTo>
                  <a:lnTo>
                    <a:pt x="305" y="247"/>
                  </a:lnTo>
                  <a:lnTo>
                    <a:pt x="313" y="246"/>
                  </a:lnTo>
                  <a:lnTo>
                    <a:pt x="320" y="246"/>
                  </a:lnTo>
                  <a:lnTo>
                    <a:pt x="328" y="246"/>
                  </a:lnTo>
                  <a:lnTo>
                    <a:pt x="334" y="247"/>
                  </a:lnTo>
                  <a:lnTo>
                    <a:pt x="339" y="248"/>
                  </a:lnTo>
                  <a:lnTo>
                    <a:pt x="344" y="251"/>
                  </a:lnTo>
                  <a:lnTo>
                    <a:pt x="348" y="254"/>
                  </a:lnTo>
                  <a:lnTo>
                    <a:pt x="356" y="262"/>
                  </a:lnTo>
                  <a:lnTo>
                    <a:pt x="361" y="271"/>
                  </a:lnTo>
                  <a:lnTo>
                    <a:pt x="365" y="281"/>
                  </a:lnTo>
                  <a:lnTo>
                    <a:pt x="366" y="293"/>
                  </a:lnTo>
                  <a:lnTo>
                    <a:pt x="368" y="305"/>
                  </a:lnTo>
                  <a:lnTo>
                    <a:pt x="368" y="318"/>
                  </a:lnTo>
                  <a:lnTo>
                    <a:pt x="366" y="332"/>
                  </a:lnTo>
                  <a:lnTo>
                    <a:pt x="364" y="345"/>
                  </a:lnTo>
                  <a:lnTo>
                    <a:pt x="361" y="358"/>
                  </a:lnTo>
                  <a:lnTo>
                    <a:pt x="356" y="371"/>
                  </a:lnTo>
                  <a:lnTo>
                    <a:pt x="351" y="383"/>
                  </a:lnTo>
                  <a:lnTo>
                    <a:pt x="345" y="394"/>
                  </a:lnTo>
                  <a:lnTo>
                    <a:pt x="339" y="403"/>
                  </a:lnTo>
                  <a:lnTo>
                    <a:pt x="332" y="411"/>
                  </a:lnTo>
                  <a:lnTo>
                    <a:pt x="317" y="425"/>
                  </a:lnTo>
                  <a:lnTo>
                    <a:pt x="303" y="441"/>
                  </a:lnTo>
                  <a:lnTo>
                    <a:pt x="297" y="449"/>
                  </a:lnTo>
                  <a:lnTo>
                    <a:pt x="293" y="456"/>
                  </a:lnTo>
                  <a:lnTo>
                    <a:pt x="289" y="464"/>
                  </a:lnTo>
                  <a:lnTo>
                    <a:pt x="286" y="472"/>
                  </a:lnTo>
                  <a:lnTo>
                    <a:pt x="284" y="480"/>
                  </a:lnTo>
                  <a:lnTo>
                    <a:pt x="284" y="488"/>
                  </a:lnTo>
                  <a:lnTo>
                    <a:pt x="284" y="496"/>
                  </a:lnTo>
                  <a:lnTo>
                    <a:pt x="286" y="502"/>
                  </a:lnTo>
                  <a:lnTo>
                    <a:pt x="290" y="510"/>
                  </a:lnTo>
                  <a:lnTo>
                    <a:pt x="296" y="517"/>
                  </a:lnTo>
                  <a:lnTo>
                    <a:pt x="303" y="523"/>
                  </a:lnTo>
                  <a:lnTo>
                    <a:pt x="313" y="530"/>
                  </a:lnTo>
                  <a:lnTo>
                    <a:pt x="327" y="539"/>
                  </a:lnTo>
                  <a:lnTo>
                    <a:pt x="340" y="547"/>
                  </a:lnTo>
                  <a:lnTo>
                    <a:pt x="353" y="553"/>
                  </a:lnTo>
                  <a:lnTo>
                    <a:pt x="365" y="557"/>
                  </a:lnTo>
                  <a:lnTo>
                    <a:pt x="378" y="560"/>
                  </a:lnTo>
                  <a:lnTo>
                    <a:pt x="392" y="561"/>
                  </a:lnTo>
                  <a:lnTo>
                    <a:pt x="408" y="558"/>
                  </a:lnTo>
                  <a:lnTo>
                    <a:pt x="425" y="553"/>
                  </a:lnTo>
                  <a:lnTo>
                    <a:pt x="445" y="548"/>
                  </a:lnTo>
                  <a:lnTo>
                    <a:pt x="463" y="541"/>
                  </a:lnTo>
                  <a:lnTo>
                    <a:pt x="470" y="539"/>
                  </a:lnTo>
                  <a:lnTo>
                    <a:pt x="475" y="539"/>
                  </a:lnTo>
                  <a:lnTo>
                    <a:pt x="480" y="540"/>
                  </a:lnTo>
                  <a:lnTo>
                    <a:pt x="485" y="544"/>
                  </a:lnTo>
                  <a:lnTo>
                    <a:pt x="489" y="551"/>
                  </a:lnTo>
                  <a:lnTo>
                    <a:pt x="492" y="557"/>
                  </a:lnTo>
                  <a:lnTo>
                    <a:pt x="496" y="566"/>
                  </a:lnTo>
                  <a:lnTo>
                    <a:pt x="498" y="575"/>
                  </a:lnTo>
                  <a:lnTo>
                    <a:pt x="501" y="595"/>
                  </a:lnTo>
                  <a:lnTo>
                    <a:pt x="502" y="615"/>
                  </a:lnTo>
                  <a:lnTo>
                    <a:pt x="502" y="633"/>
                  </a:lnTo>
                  <a:lnTo>
                    <a:pt x="500" y="646"/>
                  </a:lnTo>
                  <a:lnTo>
                    <a:pt x="492" y="664"/>
                  </a:lnTo>
                  <a:lnTo>
                    <a:pt x="484" y="677"/>
                  </a:lnTo>
                  <a:lnTo>
                    <a:pt x="481" y="685"/>
                  </a:lnTo>
                  <a:lnTo>
                    <a:pt x="479" y="693"/>
                  </a:lnTo>
                  <a:lnTo>
                    <a:pt x="477" y="704"/>
                  </a:lnTo>
                  <a:lnTo>
                    <a:pt x="479" y="717"/>
                  </a:lnTo>
                  <a:lnTo>
                    <a:pt x="479" y="731"/>
                  </a:lnTo>
                  <a:lnTo>
                    <a:pt x="479" y="742"/>
                  </a:lnTo>
                  <a:lnTo>
                    <a:pt x="477" y="751"/>
                  </a:lnTo>
                  <a:lnTo>
                    <a:pt x="475" y="759"/>
                  </a:lnTo>
                  <a:lnTo>
                    <a:pt x="467" y="774"/>
                  </a:lnTo>
                  <a:lnTo>
                    <a:pt x="455" y="795"/>
                  </a:lnTo>
                  <a:lnTo>
                    <a:pt x="450" y="808"/>
                  </a:lnTo>
                  <a:lnTo>
                    <a:pt x="446" y="819"/>
                  </a:lnTo>
                  <a:lnTo>
                    <a:pt x="443" y="829"/>
                  </a:lnTo>
                  <a:lnTo>
                    <a:pt x="443" y="840"/>
                  </a:lnTo>
                  <a:lnTo>
                    <a:pt x="443" y="848"/>
                  </a:lnTo>
                  <a:lnTo>
                    <a:pt x="445" y="857"/>
                  </a:lnTo>
                  <a:lnTo>
                    <a:pt x="447" y="865"/>
                  </a:lnTo>
                  <a:lnTo>
                    <a:pt x="450" y="871"/>
                  </a:lnTo>
                  <a:lnTo>
                    <a:pt x="455" y="887"/>
                  </a:lnTo>
                  <a:lnTo>
                    <a:pt x="459" y="901"/>
                  </a:lnTo>
                  <a:lnTo>
                    <a:pt x="460" y="910"/>
                  </a:lnTo>
                  <a:lnTo>
                    <a:pt x="460" y="918"/>
                  </a:lnTo>
                  <a:lnTo>
                    <a:pt x="459" y="929"/>
                  </a:lnTo>
                  <a:lnTo>
                    <a:pt x="457" y="938"/>
                  </a:lnTo>
                  <a:lnTo>
                    <a:pt x="453" y="951"/>
                  </a:lnTo>
                  <a:lnTo>
                    <a:pt x="450" y="965"/>
                  </a:lnTo>
                  <a:lnTo>
                    <a:pt x="447" y="980"/>
                  </a:lnTo>
                  <a:lnTo>
                    <a:pt x="446" y="994"/>
                  </a:lnTo>
                  <a:lnTo>
                    <a:pt x="445" y="1024"/>
                  </a:lnTo>
                  <a:lnTo>
                    <a:pt x="445" y="1052"/>
                  </a:lnTo>
                  <a:lnTo>
                    <a:pt x="446" y="1061"/>
                  </a:lnTo>
                  <a:lnTo>
                    <a:pt x="449" y="1070"/>
                  </a:lnTo>
                  <a:lnTo>
                    <a:pt x="453" y="1079"/>
                  </a:lnTo>
                  <a:lnTo>
                    <a:pt x="458" y="1088"/>
                  </a:lnTo>
                  <a:lnTo>
                    <a:pt x="462" y="1097"/>
                  </a:lnTo>
                  <a:lnTo>
                    <a:pt x="463" y="1107"/>
                  </a:lnTo>
                  <a:lnTo>
                    <a:pt x="463" y="1110"/>
                  </a:lnTo>
                  <a:lnTo>
                    <a:pt x="463" y="1116"/>
                  </a:lnTo>
                  <a:lnTo>
                    <a:pt x="462" y="1121"/>
                  </a:lnTo>
                  <a:lnTo>
                    <a:pt x="460" y="1126"/>
                  </a:lnTo>
                  <a:lnTo>
                    <a:pt x="457" y="1131"/>
                  </a:lnTo>
                  <a:lnTo>
                    <a:pt x="451" y="1135"/>
                  </a:lnTo>
                  <a:lnTo>
                    <a:pt x="445" y="1139"/>
                  </a:lnTo>
                  <a:lnTo>
                    <a:pt x="438" y="1143"/>
                  </a:lnTo>
                  <a:lnTo>
                    <a:pt x="432" y="1146"/>
                  </a:lnTo>
                  <a:lnTo>
                    <a:pt x="426" y="1151"/>
                  </a:lnTo>
                  <a:lnTo>
                    <a:pt x="421" y="1156"/>
                  </a:lnTo>
                  <a:lnTo>
                    <a:pt x="417" y="1164"/>
                  </a:lnTo>
                  <a:lnTo>
                    <a:pt x="417" y="1168"/>
                  </a:lnTo>
                  <a:lnTo>
                    <a:pt x="417" y="1173"/>
                  </a:lnTo>
                  <a:lnTo>
                    <a:pt x="419" y="1178"/>
                  </a:lnTo>
                  <a:lnTo>
                    <a:pt x="420" y="1182"/>
                  </a:lnTo>
                  <a:lnTo>
                    <a:pt x="425" y="1194"/>
                  </a:lnTo>
                  <a:lnTo>
                    <a:pt x="432" y="1206"/>
                  </a:lnTo>
                  <a:lnTo>
                    <a:pt x="442" y="1219"/>
                  </a:lnTo>
                  <a:lnTo>
                    <a:pt x="453" y="1232"/>
                  </a:lnTo>
                  <a:lnTo>
                    <a:pt x="466" y="1245"/>
                  </a:lnTo>
                  <a:lnTo>
                    <a:pt x="479" y="1258"/>
                  </a:lnTo>
                  <a:lnTo>
                    <a:pt x="506" y="1283"/>
                  </a:lnTo>
                  <a:lnTo>
                    <a:pt x="532" y="1307"/>
                  </a:lnTo>
                  <a:lnTo>
                    <a:pt x="555" y="1324"/>
                  </a:lnTo>
                  <a:lnTo>
                    <a:pt x="569" y="1335"/>
                  </a:lnTo>
                  <a:lnTo>
                    <a:pt x="625" y="1377"/>
                  </a:lnTo>
                  <a:lnTo>
                    <a:pt x="700" y="1454"/>
                  </a:lnTo>
                  <a:lnTo>
                    <a:pt x="784" y="1431"/>
                  </a:lnTo>
                  <a:lnTo>
                    <a:pt x="795" y="1430"/>
                  </a:lnTo>
                  <a:lnTo>
                    <a:pt x="807" y="1431"/>
                  </a:lnTo>
                  <a:lnTo>
                    <a:pt x="814" y="1432"/>
                  </a:lnTo>
                  <a:lnTo>
                    <a:pt x="818" y="1432"/>
                  </a:lnTo>
                  <a:lnTo>
                    <a:pt x="823" y="1431"/>
                  </a:lnTo>
                  <a:lnTo>
                    <a:pt x="825" y="1428"/>
                  </a:lnTo>
                  <a:lnTo>
                    <a:pt x="828" y="1427"/>
                  </a:lnTo>
                  <a:lnTo>
                    <a:pt x="829" y="1423"/>
                  </a:lnTo>
                  <a:lnTo>
                    <a:pt x="829" y="1419"/>
                  </a:lnTo>
                  <a:lnTo>
                    <a:pt x="831" y="1414"/>
                  </a:lnTo>
                  <a:lnTo>
                    <a:pt x="831" y="1405"/>
                  </a:lnTo>
                  <a:lnTo>
                    <a:pt x="829" y="1397"/>
                  </a:lnTo>
                  <a:lnTo>
                    <a:pt x="828" y="1389"/>
                  </a:lnTo>
                  <a:lnTo>
                    <a:pt x="825" y="1383"/>
                  </a:lnTo>
                  <a:lnTo>
                    <a:pt x="823" y="1377"/>
                  </a:lnTo>
                  <a:lnTo>
                    <a:pt x="820" y="1372"/>
                  </a:lnTo>
                  <a:lnTo>
                    <a:pt x="816" y="1368"/>
                  </a:lnTo>
                  <a:lnTo>
                    <a:pt x="812" y="1364"/>
                  </a:lnTo>
                  <a:lnTo>
                    <a:pt x="802" y="1359"/>
                  </a:lnTo>
                  <a:lnTo>
                    <a:pt x="790" y="1355"/>
                  </a:lnTo>
                  <a:lnTo>
                    <a:pt x="776" y="1351"/>
                  </a:lnTo>
                  <a:lnTo>
                    <a:pt x="760" y="1350"/>
                  </a:lnTo>
                  <a:lnTo>
                    <a:pt x="753" y="1347"/>
                  </a:lnTo>
                  <a:lnTo>
                    <a:pt x="746" y="1343"/>
                  </a:lnTo>
                  <a:lnTo>
                    <a:pt x="739" y="1337"/>
                  </a:lnTo>
                  <a:lnTo>
                    <a:pt x="731" y="1330"/>
                  </a:lnTo>
                  <a:lnTo>
                    <a:pt x="723" y="1322"/>
                  </a:lnTo>
                  <a:lnTo>
                    <a:pt x="715" y="1316"/>
                  </a:lnTo>
                  <a:lnTo>
                    <a:pt x="708" y="1311"/>
                  </a:lnTo>
                  <a:lnTo>
                    <a:pt x="698" y="1307"/>
                  </a:lnTo>
                  <a:lnTo>
                    <a:pt x="689" y="1301"/>
                  </a:lnTo>
                  <a:lnTo>
                    <a:pt x="683" y="1298"/>
                  </a:lnTo>
                  <a:lnTo>
                    <a:pt x="679" y="1291"/>
                  </a:lnTo>
                  <a:lnTo>
                    <a:pt x="676" y="1284"/>
                  </a:lnTo>
                  <a:lnTo>
                    <a:pt x="674" y="1278"/>
                  </a:lnTo>
                  <a:lnTo>
                    <a:pt x="674" y="1270"/>
                  </a:lnTo>
                  <a:lnTo>
                    <a:pt x="674" y="1262"/>
                  </a:lnTo>
                  <a:lnTo>
                    <a:pt x="675" y="1254"/>
                  </a:lnTo>
                  <a:lnTo>
                    <a:pt x="678" y="1239"/>
                  </a:lnTo>
                  <a:lnTo>
                    <a:pt x="678" y="1226"/>
                  </a:lnTo>
                  <a:lnTo>
                    <a:pt x="678" y="1219"/>
                  </a:lnTo>
                  <a:lnTo>
                    <a:pt x="675" y="1212"/>
                  </a:lnTo>
                  <a:lnTo>
                    <a:pt x="671" y="1209"/>
                  </a:lnTo>
                  <a:lnTo>
                    <a:pt x="666" y="1205"/>
                  </a:lnTo>
                  <a:lnTo>
                    <a:pt x="647" y="1198"/>
                  </a:lnTo>
                  <a:lnTo>
                    <a:pt x="634" y="1197"/>
                  </a:lnTo>
                  <a:lnTo>
                    <a:pt x="629" y="1194"/>
                  </a:lnTo>
                  <a:lnTo>
                    <a:pt x="625" y="1189"/>
                  </a:lnTo>
                  <a:lnTo>
                    <a:pt x="623" y="1181"/>
                  </a:lnTo>
                  <a:lnTo>
                    <a:pt x="623" y="1169"/>
                  </a:lnTo>
                  <a:lnTo>
                    <a:pt x="621" y="1151"/>
                  </a:lnTo>
                  <a:lnTo>
                    <a:pt x="619" y="1134"/>
                  </a:lnTo>
                  <a:lnTo>
                    <a:pt x="616" y="1118"/>
                  </a:lnTo>
                  <a:lnTo>
                    <a:pt x="613" y="1100"/>
                  </a:lnTo>
                  <a:lnTo>
                    <a:pt x="611" y="1073"/>
                  </a:lnTo>
                  <a:lnTo>
                    <a:pt x="607" y="1037"/>
                  </a:lnTo>
                  <a:lnTo>
                    <a:pt x="604" y="1019"/>
                  </a:lnTo>
                  <a:lnTo>
                    <a:pt x="602" y="1003"/>
                  </a:lnTo>
                  <a:lnTo>
                    <a:pt x="599" y="989"/>
                  </a:lnTo>
                  <a:lnTo>
                    <a:pt x="595" y="977"/>
                  </a:lnTo>
                  <a:lnTo>
                    <a:pt x="581" y="955"/>
                  </a:lnTo>
                  <a:lnTo>
                    <a:pt x="570" y="936"/>
                  </a:lnTo>
                  <a:lnTo>
                    <a:pt x="569" y="933"/>
                  </a:lnTo>
                  <a:lnTo>
                    <a:pt x="568" y="929"/>
                  </a:lnTo>
                  <a:lnTo>
                    <a:pt x="568" y="923"/>
                  </a:lnTo>
                  <a:lnTo>
                    <a:pt x="569" y="919"/>
                  </a:lnTo>
                  <a:lnTo>
                    <a:pt x="572" y="914"/>
                  </a:lnTo>
                  <a:lnTo>
                    <a:pt x="574" y="908"/>
                  </a:lnTo>
                  <a:lnTo>
                    <a:pt x="578" y="902"/>
                  </a:lnTo>
                  <a:lnTo>
                    <a:pt x="583" y="896"/>
                  </a:lnTo>
                  <a:lnTo>
                    <a:pt x="593" y="882"/>
                  </a:lnTo>
                  <a:lnTo>
                    <a:pt x="607" y="865"/>
                  </a:lnTo>
                  <a:lnTo>
                    <a:pt x="615" y="857"/>
                  </a:lnTo>
                  <a:lnTo>
                    <a:pt x="624" y="851"/>
                  </a:lnTo>
                  <a:lnTo>
                    <a:pt x="628" y="849"/>
                  </a:lnTo>
                  <a:lnTo>
                    <a:pt x="632" y="849"/>
                  </a:lnTo>
                  <a:lnTo>
                    <a:pt x="637" y="850"/>
                  </a:lnTo>
                  <a:lnTo>
                    <a:pt x="641" y="851"/>
                  </a:lnTo>
                  <a:lnTo>
                    <a:pt x="646" y="855"/>
                  </a:lnTo>
                  <a:lnTo>
                    <a:pt x="649" y="861"/>
                  </a:lnTo>
                  <a:lnTo>
                    <a:pt x="651" y="867"/>
                  </a:lnTo>
                  <a:lnTo>
                    <a:pt x="651" y="874"/>
                  </a:lnTo>
                  <a:lnTo>
                    <a:pt x="650" y="889"/>
                  </a:lnTo>
                  <a:lnTo>
                    <a:pt x="645" y="906"/>
                  </a:lnTo>
                  <a:lnTo>
                    <a:pt x="640" y="923"/>
                  </a:lnTo>
                  <a:lnTo>
                    <a:pt x="633" y="940"/>
                  </a:lnTo>
                  <a:lnTo>
                    <a:pt x="628" y="957"/>
                  </a:lnTo>
                  <a:lnTo>
                    <a:pt x="627" y="972"/>
                  </a:lnTo>
                  <a:lnTo>
                    <a:pt x="627" y="973"/>
                  </a:lnTo>
                  <a:lnTo>
                    <a:pt x="628" y="974"/>
                  </a:lnTo>
                  <a:lnTo>
                    <a:pt x="629" y="974"/>
                  </a:lnTo>
                  <a:lnTo>
                    <a:pt x="632" y="974"/>
                  </a:lnTo>
                  <a:lnTo>
                    <a:pt x="637" y="973"/>
                  </a:lnTo>
                  <a:lnTo>
                    <a:pt x="644" y="970"/>
                  </a:lnTo>
                  <a:lnTo>
                    <a:pt x="658" y="964"/>
                  </a:lnTo>
                  <a:lnTo>
                    <a:pt x="667" y="960"/>
                  </a:lnTo>
                  <a:lnTo>
                    <a:pt x="683" y="950"/>
                  </a:lnTo>
                  <a:lnTo>
                    <a:pt x="701" y="935"/>
                  </a:lnTo>
                  <a:lnTo>
                    <a:pt x="723" y="917"/>
                  </a:lnTo>
                  <a:lnTo>
                    <a:pt x="746" y="902"/>
                  </a:lnTo>
                  <a:lnTo>
                    <a:pt x="756" y="896"/>
                  </a:lnTo>
                  <a:lnTo>
                    <a:pt x="767" y="893"/>
                  </a:lnTo>
                  <a:lnTo>
                    <a:pt x="770" y="892"/>
                  </a:lnTo>
                  <a:lnTo>
                    <a:pt x="776" y="892"/>
                  </a:lnTo>
                  <a:lnTo>
                    <a:pt x="780" y="892"/>
                  </a:lnTo>
                  <a:lnTo>
                    <a:pt x="784" y="895"/>
                  </a:lnTo>
                  <a:lnTo>
                    <a:pt x="786" y="896"/>
                  </a:lnTo>
                  <a:lnTo>
                    <a:pt x="790" y="900"/>
                  </a:lnTo>
                  <a:lnTo>
                    <a:pt x="793" y="904"/>
                  </a:lnTo>
                  <a:lnTo>
                    <a:pt x="795" y="910"/>
                  </a:lnTo>
                  <a:lnTo>
                    <a:pt x="797" y="917"/>
                  </a:lnTo>
                  <a:lnTo>
                    <a:pt x="798" y="925"/>
                  </a:lnTo>
                  <a:lnTo>
                    <a:pt x="799" y="934"/>
                  </a:lnTo>
                  <a:lnTo>
                    <a:pt x="799" y="944"/>
                  </a:lnTo>
                  <a:lnTo>
                    <a:pt x="801" y="967"/>
                  </a:lnTo>
                  <a:lnTo>
                    <a:pt x="803" y="984"/>
                  </a:lnTo>
                  <a:lnTo>
                    <a:pt x="804" y="991"/>
                  </a:lnTo>
                  <a:lnTo>
                    <a:pt x="807" y="997"/>
                  </a:lnTo>
                  <a:lnTo>
                    <a:pt x="810" y="1002"/>
                  </a:lnTo>
                  <a:lnTo>
                    <a:pt x="814" y="1006"/>
                  </a:lnTo>
                  <a:lnTo>
                    <a:pt x="818" y="1010"/>
                  </a:lnTo>
                  <a:lnTo>
                    <a:pt x="820" y="1012"/>
                  </a:lnTo>
                  <a:lnTo>
                    <a:pt x="825" y="1014"/>
                  </a:lnTo>
                  <a:lnTo>
                    <a:pt x="829" y="1014"/>
                  </a:lnTo>
                  <a:lnTo>
                    <a:pt x="838" y="1014"/>
                  </a:lnTo>
                  <a:lnTo>
                    <a:pt x="849" y="1012"/>
                  </a:lnTo>
                  <a:lnTo>
                    <a:pt x="871" y="1003"/>
                  </a:lnTo>
                  <a:lnTo>
                    <a:pt x="895" y="991"/>
                  </a:lnTo>
                  <a:lnTo>
                    <a:pt x="906" y="986"/>
                  </a:lnTo>
                  <a:lnTo>
                    <a:pt x="918" y="981"/>
                  </a:lnTo>
                  <a:lnTo>
                    <a:pt x="929" y="977"/>
                  </a:lnTo>
                  <a:lnTo>
                    <a:pt x="939" y="974"/>
                  </a:lnTo>
                  <a:lnTo>
                    <a:pt x="1001" y="968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32" name="Freeform 58"/>
            <p:cNvSpPr>
              <a:spLocks noEditPoints="1"/>
            </p:cNvSpPr>
            <p:nvPr/>
          </p:nvSpPr>
          <p:spPr bwMode="auto">
            <a:xfrm>
              <a:off x="5434013" y="3081338"/>
              <a:ext cx="682625" cy="488950"/>
            </a:xfrm>
            <a:custGeom>
              <a:avLst/>
              <a:gdLst/>
              <a:ahLst/>
              <a:cxnLst>
                <a:cxn ang="0">
                  <a:pos x="1516" y="1134"/>
                </a:cxn>
                <a:cxn ang="0">
                  <a:pos x="1393" y="1071"/>
                </a:cxn>
                <a:cxn ang="0">
                  <a:pos x="1370" y="975"/>
                </a:cxn>
                <a:cxn ang="0">
                  <a:pos x="1308" y="789"/>
                </a:cxn>
                <a:cxn ang="0">
                  <a:pos x="1287" y="666"/>
                </a:cxn>
                <a:cxn ang="0">
                  <a:pos x="1354" y="659"/>
                </a:cxn>
                <a:cxn ang="0">
                  <a:pos x="1371" y="730"/>
                </a:cxn>
                <a:cxn ang="0">
                  <a:pos x="1497" y="674"/>
                </a:cxn>
                <a:cxn ang="0">
                  <a:pos x="1524" y="782"/>
                </a:cxn>
                <a:cxn ang="0">
                  <a:pos x="1729" y="739"/>
                </a:cxn>
                <a:cxn ang="0">
                  <a:pos x="1761" y="727"/>
                </a:cxn>
                <a:cxn ang="0">
                  <a:pos x="1786" y="747"/>
                </a:cxn>
                <a:cxn ang="0">
                  <a:pos x="1833" y="756"/>
                </a:cxn>
                <a:cxn ang="0">
                  <a:pos x="1856" y="797"/>
                </a:cxn>
                <a:cxn ang="0">
                  <a:pos x="1838" y="839"/>
                </a:cxn>
                <a:cxn ang="0">
                  <a:pos x="1767" y="888"/>
                </a:cxn>
                <a:cxn ang="0">
                  <a:pos x="1743" y="989"/>
                </a:cxn>
                <a:cxn ang="0">
                  <a:pos x="1760" y="1039"/>
                </a:cxn>
                <a:cxn ang="0">
                  <a:pos x="1692" y="1060"/>
                </a:cxn>
                <a:cxn ang="0">
                  <a:pos x="1733" y="1086"/>
                </a:cxn>
                <a:cxn ang="0">
                  <a:pos x="1748" y="1108"/>
                </a:cxn>
                <a:cxn ang="0">
                  <a:pos x="1761" y="1138"/>
                </a:cxn>
                <a:cxn ang="0">
                  <a:pos x="1786" y="1181"/>
                </a:cxn>
                <a:cxn ang="0">
                  <a:pos x="1737" y="1245"/>
                </a:cxn>
                <a:cxn ang="0">
                  <a:pos x="1676" y="1245"/>
                </a:cxn>
                <a:cxn ang="0">
                  <a:pos x="1612" y="1239"/>
                </a:cxn>
                <a:cxn ang="0">
                  <a:pos x="1563" y="1221"/>
                </a:cxn>
                <a:cxn ang="0">
                  <a:pos x="853" y="0"/>
                </a:cxn>
                <a:cxn ang="0">
                  <a:pos x="1024" y="16"/>
                </a:cxn>
                <a:cxn ang="0">
                  <a:pos x="1068" y="115"/>
                </a:cxn>
                <a:cxn ang="0">
                  <a:pos x="988" y="250"/>
                </a:cxn>
                <a:cxn ang="0">
                  <a:pos x="1096" y="331"/>
                </a:cxn>
                <a:cxn ang="0">
                  <a:pos x="1205" y="365"/>
                </a:cxn>
                <a:cxn ang="0">
                  <a:pos x="1179" y="529"/>
                </a:cxn>
                <a:cxn ang="0">
                  <a:pos x="1164" y="680"/>
                </a:cxn>
                <a:cxn ang="0">
                  <a:pos x="1162" y="858"/>
                </a:cxn>
                <a:cxn ang="0">
                  <a:pos x="1125" y="926"/>
                </a:cxn>
                <a:cxn ang="0">
                  <a:pos x="1236" y="1077"/>
                </a:cxn>
                <a:cxn ang="0">
                  <a:pos x="1172" y="1184"/>
                </a:cxn>
                <a:cxn ang="0">
                  <a:pos x="983" y="1323"/>
                </a:cxn>
                <a:cxn ang="0">
                  <a:pos x="890" y="1296"/>
                </a:cxn>
                <a:cxn ang="0">
                  <a:pos x="801" y="1247"/>
                </a:cxn>
                <a:cxn ang="0">
                  <a:pos x="762" y="1291"/>
                </a:cxn>
                <a:cxn ang="0">
                  <a:pos x="686" y="1261"/>
                </a:cxn>
                <a:cxn ang="0">
                  <a:pos x="550" y="1253"/>
                </a:cxn>
                <a:cxn ang="0">
                  <a:pos x="421" y="1321"/>
                </a:cxn>
                <a:cxn ang="0">
                  <a:pos x="313" y="1239"/>
                </a:cxn>
                <a:cxn ang="0">
                  <a:pos x="199" y="1163"/>
                </a:cxn>
                <a:cxn ang="0">
                  <a:pos x="41" y="1126"/>
                </a:cxn>
                <a:cxn ang="0">
                  <a:pos x="66" y="985"/>
                </a:cxn>
                <a:cxn ang="0">
                  <a:pos x="9" y="810"/>
                </a:cxn>
                <a:cxn ang="0">
                  <a:pos x="81" y="729"/>
                </a:cxn>
                <a:cxn ang="0">
                  <a:pos x="96" y="523"/>
                </a:cxn>
                <a:cxn ang="0">
                  <a:pos x="211" y="419"/>
                </a:cxn>
                <a:cxn ang="0">
                  <a:pos x="253" y="481"/>
                </a:cxn>
                <a:cxn ang="0">
                  <a:pos x="336" y="394"/>
                </a:cxn>
                <a:cxn ang="0">
                  <a:pos x="465" y="220"/>
                </a:cxn>
                <a:cxn ang="0">
                  <a:pos x="524" y="93"/>
                </a:cxn>
                <a:cxn ang="0">
                  <a:pos x="612" y="81"/>
                </a:cxn>
                <a:cxn ang="0">
                  <a:pos x="709" y="76"/>
                </a:cxn>
              </a:cxnLst>
              <a:rect l="0" t="0" r="r" b="b"/>
              <a:pathLst>
                <a:path w="1858" h="1334">
                  <a:moveTo>
                    <a:pt x="1529" y="1198"/>
                  </a:moveTo>
                  <a:lnTo>
                    <a:pt x="1532" y="1197"/>
                  </a:lnTo>
                  <a:lnTo>
                    <a:pt x="1533" y="1193"/>
                  </a:lnTo>
                  <a:lnTo>
                    <a:pt x="1533" y="1189"/>
                  </a:lnTo>
                  <a:lnTo>
                    <a:pt x="1535" y="1184"/>
                  </a:lnTo>
                  <a:lnTo>
                    <a:pt x="1535" y="1175"/>
                  </a:lnTo>
                  <a:lnTo>
                    <a:pt x="1533" y="1167"/>
                  </a:lnTo>
                  <a:lnTo>
                    <a:pt x="1532" y="1159"/>
                  </a:lnTo>
                  <a:lnTo>
                    <a:pt x="1529" y="1153"/>
                  </a:lnTo>
                  <a:lnTo>
                    <a:pt x="1527" y="1147"/>
                  </a:lnTo>
                  <a:lnTo>
                    <a:pt x="1524" y="1142"/>
                  </a:lnTo>
                  <a:lnTo>
                    <a:pt x="1520" y="1138"/>
                  </a:lnTo>
                  <a:lnTo>
                    <a:pt x="1516" y="1134"/>
                  </a:lnTo>
                  <a:lnTo>
                    <a:pt x="1506" y="1129"/>
                  </a:lnTo>
                  <a:lnTo>
                    <a:pt x="1494" y="1125"/>
                  </a:lnTo>
                  <a:lnTo>
                    <a:pt x="1480" y="1121"/>
                  </a:lnTo>
                  <a:lnTo>
                    <a:pt x="1464" y="1120"/>
                  </a:lnTo>
                  <a:lnTo>
                    <a:pt x="1457" y="1117"/>
                  </a:lnTo>
                  <a:lnTo>
                    <a:pt x="1450" y="1113"/>
                  </a:lnTo>
                  <a:lnTo>
                    <a:pt x="1443" y="1107"/>
                  </a:lnTo>
                  <a:lnTo>
                    <a:pt x="1435" y="1100"/>
                  </a:lnTo>
                  <a:lnTo>
                    <a:pt x="1427" y="1092"/>
                  </a:lnTo>
                  <a:lnTo>
                    <a:pt x="1419" y="1086"/>
                  </a:lnTo>
                  <a:lnTo>
                    <a:pt x="1412" y="1081"/>
                  </a:lnTo>
                  <a:lnTo>
                    <a:pt x="1402" y="1077"/>
                  </a:lnTo>
                  <a:lnTo>
                    <a:pt x="1393" y="1071"/>
                  </a:lnTo>
                  <a:lnTo>
                    <a:pt x="1387" y="1068"/>
                  </a:lnTo>
                  <a:lnTo>
                    <a:pt x="1383" y="1061"/>
                  </a:lnTo>
                  <a:lnTo>
                    <a:pt x="1380" y="1054"/>
                  </a:lnTo>
                  <a:lnTo>
                    <a:pt x="1378" y="1048"/>
                  </a:lnTo>
                  <a:lnTo>
                    <a:pt x="1378" y="1040"/>
                  </a:lnTo>
                  <a:lnTo>
                    <a:pt x="1378" y="1032"/>
                  </a:lnTo>
                  <a:lnTo>
                    <a:pt x="1379" y="1024"/>
                  </a:lnTo>
                  <a:lnTo>
                    <a:pt x="1382" y="1009"/>
                  </a:lnTo>
                  <a:lnTo>
                    <a:pt x="1382" y="996"/>
                  </a:lnTo>
                  <a:lnTo>
                    <a:pt x="1382" y="989"/>
                  </a:lnTo>
                  <a:lnTo>
                    <a:pt x="1379" y="982"/>
                  </a:lnTo>
                  <a:lnTo>
                    <a:pt x="1375" y="979"/>
                  </a:lnTo>
                  <a:lnTo>
                    <a:pt x="1370" y="975"/>
                  </a:lnTo>
                  <a:lnTo>
                    <a:pt x="1351" y="968"/>
                  </a:lnTo>
                  <a:lnTo>
                    <a:pt x="1338" y="967"/>
                  </a:lnTo>
                  <a:lnTo>
                    <a:pt x="1333" y="964"/>
                  </a:lnTo>
                  <a:lnTo>
                    <a:pt x="1329" y="959"/>
                  </a:lnTo>
                  <a:lnTo>
                    <a:pt x="1327" y="951"/>
                  </a:lnTo>
                  <a:lnTo>
                    <a:pt x="1327" y="939"/>
                  </a:lnTo>
                  <a:lnTo>
                    <a:pt x="1325" y="921"/>
                  </a:lnTo>
                  <a:lnTo>
                    <a:pt x="1323" y="904"/>
                  </a:lnTo>
                  <a:lnTo>
                    <a:pt x="1320" y="888"/>
                  </a:lnTo>
                  <a:lnTo>
                    <a:pt x="1317" y="870"/>
                  </a:lnTo>
                  <a:lnTo>
                    <a:pt x="1315" y="843"/>
                  </a:lnTo>
                  <a:lnTo>
                    <a:pt x="1311" y="807"/>
                  </a:lnTo>
                  <a:lnTo>
                    <a:pt x="1308" y="789"/>
                  </a:lnTo>
                  <a:lnTo>
                    <a:pt x="1306" y="773"/>
                  </a:lnTo>
                  <a:lnTo>
                    <a:pt x="1303" y="759"/>
                  </a:lnTo>
                  <a:lnTo>
                    <a:pt x="1299" y="747"/>
                  </a:lnTo>
                  <a:lnTo>
                    <a:pt x="1285" y="725"/>
                  </a:lnTo>
                  <a:lnTo>
                    <a:pt x="1274" y="706"/>
                  </a:lnTo>
                  <a:lnTo>
                    <a:pt x="1273" y="703"/>
                  </a:lnTo>
                  <a:lnTo>
                    <a:pt x="1272" y="699"/>
                  </a:lnTo>
                  <a:lnTo>
                    <a:pt x="1272" y="693"/>
                  </a:lnTo>
                  <a:lnTo>
                    <a:pt x="1273" y="689"/>
                  </a:lnTo>
                  <a:lnTo>
                    <a:pt x="1276" y="684"/>
                  </a:lnTo>
                  <a:lnTo>
                    <a:pt x="1278" y="678"/>
                  </a:lnTo>
                  <a:lnTo>
                    <a:pt x="1282" y="672"/>
                  </a:lnTo>
                  <a:lnTo>
                    <a:pt x="1287" y="666"/>
                  </a:lnTo>
                  <a:lnTo>
                    <a:pt x="1297" y="652"/>
                  </a:lnTo>
                  <a:lnTo>
                    <a:pt x="1311" y="635"/>
                  </a:lnTo>
                  <a:lnTo>
                    <a:pt x="1319" y="627"/>
                  </a:lnTo>
                  <a:lnTo>
                    <a:pt x="1328" y="621"/>
                  </a:lnTo>
                  <a:lnTo>
                    <a:pt x="1332" y="619"/>
                  </a:lnTo>
                  <a:lnTo>
                    <a:pt x="1336" y="619"/>
                  </a:lnTo>
                  <a:lnTo>
                    <a:pt x="1341" y="620"/>
                  </a:lnTo>
                  <a:lnTo>
                    <a:pt x="1345" y="621"/>
                  </a:lnTo>
                  <a:lnTo>
                    <a:pt x="1350" y="625"/>
                  </a:lnTo>
                  <a:lnTo>
                    <a:pt x="1353" y="631"/>
                  </a:lnTo>
                  <a:lnTo>
                    <a:pt x="1355" y="637"/>
                  </a:lnTo>
                  <a:lnTo>
                    <a:pt x="1355" y="644"/>
                  </a:lnTo>
                  <a:lnTo>
                    <a:pt x="1354" y="659"/>
                  </a:lnTo>
                  <a:lnTo>
                    <a:pt x="1349" y="676"/>
                  </a:lnTo>
                  <a:lnTo>
                    <a:pt x="1344" y="693"/>
                  </a:lnTo>
                  <a:lnTo>
                    <a:pt x="1337" y="710"/>
                  </a:lnTo>
                  <a:lnTo>
                    <a:pt x="1332" y="727"/>
                  </a:lnTo>
                  <a:lnTo>
                    <a:pt x="1331" y="742"/>
                  </a:lnTo>
                  <a:lnTo>
                    <a:pt x="1331" y="743"/>
                  </a:lnTo>
                  <a:lnTo>
                    <a:pt x="1332" y="744"/>
                  </a:lnTo>
                  <a:lnTo>
                    <a:pt x="1333" y="744"/>
                  </a:lnTo>
                  <a:lnTo>
                    <a:pt x="1336" y="744"/>
                  </a:lnTo>
                  <a:lnTo>
                    <a:pt x="1341" y="743"/>
                  </a:lnTo>
                  <a:lnTo>
                    <a:pt x="1348" y="740"/>
                  </a:lnTo>
                  <a:lnTo>
                    <a:pt x="1362" y="734"/>
                  </a:lnTo>
                  <a:lnTo>
                    <a:pt x="1371" y="730"/>
                  </a:lnTo>
                  <a:lnTo>
                    <a:pt x="1387" y="720"/>
                  </a:lnTo>
                  <a:lnTo>
                    <a:pt x="1405" y="705"/>
                  </a:lnTo>
                  <a:lnTo>
                    <a:pt x="1427" y="687"/>
                  </a:lnTo>
                  <a:lnTo>
                    <a:pt x="1450" y="672"/>
                  </a:lnTo>
                  <a:lnTo>
                    <a:pt x="1460" y="666"/>
                  </a:lnTo>
                  <a:lnTo>
                    <a:pt x="1471" y="663"/>
                  </a:lnTo>
                  <a:lnTo>
                    <a:pt x="1474" y="662"/>
                  </a:lnTo>
                  <a:lnTo>
                    <a:pt x="1480" y="662"/>
                  </a:lnTo>
                  <a:lnTo>
                    <a:pt x="1484" y="662"/>
                  </a:lnTo>
                  <a:lnTo>
                    <a:pt x="1488" y="665"/>
                  </a:lnTo>
                  <a:lnTo>
                    <a:pt x="1490" y="666"/>
                  </a:lnTo>
                  <a:lnTo>
                    <a:pt x="1494" y="670"/>
                  </a:lnTo>
                  <a:lnTo>
                    <a:pt x="1497" y="674"/>
                  </a:lnTo>
                  <a:lnTo>
                    <a:pt x="1499" y="680"/>
                  </a:lnTo>
                  <a:lnTo>
                    <a:pt x="1501" y="687"/>
                  </a:lnTo>
                  <a:lnTo>
                    <a:pt x="1502" y="695"/>
                  </a:lnTo>
                  <a:lnTo>
                    <a:pt x="1503" y="704"/>
                  </a:lnTo>
                  <a:lnTo>
                    <a:pt x="1503" y="714"/>
                  </a:lnTo>
                  <a:lnTo>
                    <a:pt x="1505" y="737"/>
                  </a:lnTo>
                  <a:lnTo>
                    <a:pt x="1507" y="754"/>
                  </a:lnTo>
                  <a:lnTo>
                    <a:pt x="1508" y="761"/>
                  </a:lnTo>
                  <a:lnTo>
                    <a:pt x="1511" y="767"/>
                  </a:lnTo>
                  <a:lnTo>
                    <a:pt x="1514" y="772"/>
                  </a:lnTo>
                  <a:lnTo>
                    <a:pt x="1518" y="776"/>
                  </a:lnTo>
                  <a:lnTo>
                    <a:pt x="1522" y="780"/>
                  </a:lnTo>
                  <a:lnTo>
                    <a:pt x="1524" y="782"/>
                  </a:lnTo>
                  <a:lnTo>
                    <a:pt x="1529" y="784"/>
                  </a:lnTo>
                  <a:lnTo>
                    <a:pt x="1533" y="784"/>
                  </a:lnTo>
                  <a:lnTo>
                    <a:pt x="1542" y="784"/>
                  </a:lnTo>
                  <a:lnTo>
                    <a:pt x="1553" y="782"/>
                  </a:lnTo>
                  <a:lnTo>
                    <a:pt x="1575" y="773"/>
                  </a:lnTo>
                  <a:lnTo>
                    <a:pt x="1599" y="761"/>
                  </a:lnTo>
                  <a:lnTo>
                    <a:pt x="1610" y="756"/>
                  </a:lnTo>
                  <a:lnTo>
                    <a:pt x="1622" y="751"/>
                  </a:lnTo>
                  <a:lnTo>
                    <a:pt x="1633" y="747"/>
                  </a:lnTo>
                  <a:lnTo>
                    <a:pt x="1643" y="744"/>
                  </a:lnTo>
                  <a:lnTo>
                    <a:pt x="1705" y="738"/>
                  </a:lnTo>
                  <a:lnTo>
                    <a:pt x="1728" y="739"/>
                  </a:lnTo>
                  <a:lnTo>
                    <a:pt x="1729" y="739"/>
                  </a:lnTo>
                  <a:lnTo>
                    <a:pt x="1731" y="738"/>
                  </a:lnTo>
                  <a:lnTo>
                    <a:pt x="1737" y="737"/>
                  </a:lnTo>
                  <a:lnTo>
                    <a:pt x="1744" y="734"/>
                  </a:lnTo>
                  <a:lnTo>
                    <a:pt x="1746" y="733"/>
                  </a:lnTo>
                  <a:lnTo>
                    <a:pt x="1749" y="733"/>
                  </a:lnTo>
                  <a:lnTo>
                    <a:pt x="1752" y="731"/>
                  </a:lnTo>
                  <a:lnTo>
                    <a:pt x="1753" y="731"/>
                  </a:lnTo>
                  <a:lnTo>
                    <a:pt x="1754" y="731"/>
                  </a:lnTo>
                  <a:lnTo>
                    <a:pt x="1756" y="730"/>
                  </a:lnTo>
                  <a:lnTo>
                    <a:pt x="1757" y="730"/>
                  </a:lnTo>
                  <a:lnTo>
                    <a:pt x="1760" y="729"/>
                  </a:lnTo>
                  <a:lnTo>
                    <a:pt x="1760" y="729"/>
                  </a:lnTo>
                  <a:lnTo>
                    <a:pt x="1761" y="727"/>
                  </a:lnTo>
                  <a:lnTo>
                    <a:pt x="1762" y="727"/>
                  </a:lnTo>
                  <a:lnTo>
                    <a:pt x="1762" y="727"/>
                  </a:lnTo>
                  <a:lnTo>
                    <a:pt x="1766" y="726"/>
                  </a:lnTo>
                  <a:lnTo>
                    <a:pt x="1769" y="727"/>
                  </a:lnTo>
                  <a:lnTo>
                    <a:pt x="1770" y="729"/>
                  </a:lnTo>
                  <a:lnTo>
                    <a:pt x="1771" y="729"/>
                  </a:lnTo>
                  <a:lnTo>
                    <a:pt x="1773" y="729"/>
                  </a:lnTo>
                  <a:lnTo>
                    <a:pt x="1775" y="733"/>
                  </a:lnTo>
                  <a:lnTo>
                    <a:pt x="1778" y="737"/>
                  </a:lnTo>
                  <a:lnTo>
                    <a:pt x="1778" y="738"/>
                  </a:lnTo>
                  <a:lnTo>
                    <a:pt x="1779" y="742"/>
                  </a:lnTo>
                  <a:lnTo>
                    <a:pt x="1782" y="744"/>
                  </a:lnTo>
                  <a:lnTo>
                    <a:pt x="1786" y="747"/>
                  </a:lnTo>
                  <a:lnTo>
                    <a:pt x="1791" y="750"/>
                  </a:lnTo>
                  <a:lnTo>
                    <a:pt x="1795" y="751"/>
                  </a:lnTo>
                  <a:lnTo>
                    <a:pt x="1800" y="751"/>
                  </a:lnTo>
                  <a:lnTo>
                    <a:pt x="1807" y="751"/>
                  </a:lnTo>
                  <a:lnTo>
                    <a:pt x="1809" y="750"/>
                  </a:lnTo>
                  <a:lnTo>
                    <a:pt x="1812" y="748"/>
                  </a:lnTo>
                  <a:lnTo>
                    <a:pt x="1815" y="748"/>
                  </a:lnTo>
                  <a:lnTo>
                    <a:pt x="1816" y="747"/>
                  </a:lnTo>
                  <a:lnTo>
                    <a:pt x="1818" y="746"/>
                  </a:lnTo>
                  <a:lnTo>
                    <a:pt x="1825" y="747"/>
                  </a:lnTo>
                  <a:lnTo>
                    <a:pt x="1829" y="748"/>
                  </a:lnTo>
                  <a:lnTo>
                    <a:pt x="1832" y="752"/>
                  </a:lnTo>
                  <a:lnTo>
                    <a:pt x="1833" y="756"/>
                  </a:lnTo>
                  <a:lnTo>
                    <a:pt x="1833" y="765"/>
                  </a:lnTo>
                  <a:lnTo>
                    <a:pt x="1835" y="772"/>
                  </a:lnTo>
                  <a:lnTo>
                    <a:pt x="1837" y="781"/>
                  </a:lnTo>
                  <a:lnTo>
                    <a:pt x="1839" y="788"/>
                  </a:lnTo>
                  <a:lnTo>
                    <a:pt x="1841" y="788"/>
                  </a:lnTo>
                  <a:lnTo>
                    <a:pt x="1843" y="790"/>
                  </a:lnTo>
                  <a:lnTo>
                    <a:pt x="1846" y="793"/>
                  </a:lnTo>
                  <a:lnTo>
                    <a:pt x="1847" y="793"/>
                  </a:lnTo>
                  <a:lnTo>
                    <a:pt x="1850" y="794"/>
                  </a:lnTo>
                  <a:lnTo>
                    <a:pt x="1852" y="795"/>
                  </a:lnTo>
                  <a:lnTo>
                    <a:pt x="1854" y="797"/>
                  </a:lnTo>
                  <a:lnTo>
                    <a:pt x="1855" y="797"/>
                  </a:lnTo>
                  <a:lnTo>
                    <a:pt x="1856" y="797"/>
                  </a:lnTo>
                  <a:lnTo>
                    <a:pt x="1858" y="798"/>
                  </a:lnTo>
                  <a:lnTo>
                    <a:pt x="1858" y="799"/>
                  </a:lnTo>
                  <a:lnTo>
                    <a:pt x="1858" y="802"/>
                  </a:lnTo>
                  <a:lnTo>
                    <a:pt x="1858" y="806"/>
                  </a:lnTo>
                  <a:lnTo>
                    <a:pt x="1855" y="812"/>
                  </a:lnTo>
                  <a:lnTo>
                    <a:pt x="1852" y="816"/>
                  </a:lnTo>
                  <a:lnTo>
                    <a:pt x="1851" y="820"/>
                  </a:lnTo>
                  <a:lnTo>
                    <a:pt x="1851" y="824"/>
                  </a:lnTo>
                  <a:lnTo>
                    <a:pt x="1850" y="824"/>
                  </a:lnTo>
                  <a:lnTo>
                    <a:pt x="1850" y="826"/>
                  </a:lnTo>
                  <a:lnTo>
                    <a:pt x="1850" y="827"/>
                  </a:lnTo>
                  <a:lnTo>
                    <a:pt x="1845" y="833"/>
                  </a:lnTo>
                  <a:lnTo>
                    <a:pt x="1838" y="839"/>
                  </a:lnTo>
                  <a:lnTo>
                    <a:pt x="1837" y="840"/>
                  </a:lnTo>
                  <a:lnTo>
                    <a:pt x="1837" y="840"/>
                  </a:lnTo>
                  <a:lnTo>
                    <a:pt x="1833" y="841"/>
                  </a:lnTo>
                  <a:lnTo>
                    <a:pt x="1829" y="841"/>
                  </a:lnTo>
                  <a:lnTo>
                    <a:pt x="1818" y="843"/>
                  </a:lnTo>
                  <a:lnTo>
                    <a:pt x="1809" y="845"/>
                  </a:lnTo>
                  <a:lnTo>
                    <a:pt x="1799" y="846"/>
                  </a:lnTo>
                  <a:lnTo>
                    <a:pt x="1790" y="848"/>
                  </a:lnTo>
                  <a:lnTo>
                    <a:pt x="1786" y="850"/>
                  </a:lnTo>
                  <a:lnTo>
                    <a:pt x="1783" y="853"/>
                  </a:lnTo>
                  <a:lnTo>
                    <a:pt x="1777" y="869"/>
                  </a:lnTo>
                  <a:lnTo>
                    <a:pt x="1770" y="884"/>
                  </a:lnTo>
                  <a:lnTo>
                    <a:pt x="1767" y="888"/>
                  </a:lnTo>
                  <a:lnTo>
                    <a:pt x="1765" y="891"/>
                  </a:lnTo>
                  <a:lnTo>
                    <a:pt x="1765" y="892"/>
                  </a:lnTo>
                  <a:lnTo>
                    <a:pt x="1763" y="894"/>
                  </a:lnTo>
                  <a:lnTo>
                    <a:pt x="1763" y="896"/>
                  </a:lnTo>
                  <a:lnTo>
                    <a:pt x="1762" y="899"/>
                  </a:lnTo>
                  <a:lnTo>
                    <a:pt x="1763" y="909"/>
                  </a:lnTo>
                  <a:lnTo>
                    <a:pt x="1765" y="921"/>
                  </a:lnTo>
                  <a:lnTo>
                    <a:pt x="1766" y="931"/>
                  </a:lnTo>
                  <a:lnTo>
                    <a:pt x="1766" y="942"/>
                  </a:lnTo>
                  <a:lnTo>
                    <a:pt x="1761" y="958"/>
                  </a:lnTo>
                  <a:lnTo>
                    <a:pt x="1756" y="972"/>
                  </a:lnTo>
                  <a:lnTo>
                    <a:pt x="1750" y="981"/>
                  </a:lnTo>
                  <a:lnTo>
                    <a:pt x="1743" y="989"/>
                  </a:lnTo>
                  <a:lnTo>
                    <a:pt x="1744" y="993"/>
                  </a:lnTo>
                  <a:lnTo>
                    <a:pt x="1748" y="997"/>
                  </a:lnTo>
                  <a:lnTo>
                    <a:pt x="1748" y="998"/>
                  </a:lnTo>
                  <a:lnTo>
                    <a:pt x="1752" y="1002"/>
                  </a:lnTo>
                  <a:lnTo>
                    <a:pt x="1758" y="1005"/>
                  </a:lnTo>
                  <a:lnTo>
                    <a:pt x="1760" y="1005"/>
                  </a:lnTo>
                  <a:lnTo>
                    <a:pt x="1763" y="1007"/>
                  </a:lnTo>
                  <a:lnTo>
                    <a:pt x="1766" y="1010"/>
                  </a:lnTo>
                  <a:lnTo>
                    <a:pt x="1766" y="1013"/>
                  </a:lnTo>
                  <a:lnTo>
                    <a:pt x="1765" y="1019"/>
                  </a:lnTo>
                  <a:lnTo>
                    <a:pt x="1763" y="1027"/>
                  </a:lnTo>
                  <a:lnTo>
                    <a:pt x="1762" y="1035"/>
                  </a:lnTo>
                  <a:lnTo>
                    <a:pt x="1760" y="1039"/>
                  </a:lnTo>
                  <a:lnTo>
                    <a:pt x="1748" y="1049"/>
                  </a:lnTo>
                  <a:lnTo>
                    <a:pt x="1737" y="1057"/>
                  </a:lnTo>
                  <a:lnTo>
                    <a:pt x="1733" y="1058"/>
                  </a:lnTo>
                  <a:lnTo>
                    <a:pt x="1731" y="1058"/>
                  </a:lnTo>
                  <a:lnTo>
                    <a:pt x="1729" y="1058"/>
                  </a:lnTo>
                  <a:lnTo>
                    <a:pt x="1728" y="1060"/>
                  </a:lnTo>
                  <a:lnTo>
                    <a:pt x="1726" y="1060"/>
                  </a:lnTo>
                  <a:lnTo>
                    <a:pt x="1723" y="1060"/>
                  </a:lnTo>
                  <a:lnTo>
                    <a:pt x="1714" y="1060"/>
                  </a:lnTo>
                  <a:lnTo>
                    <a:pt x="1705" y="1058"/>
                  </a:lnTo>
                  <a:lnTo>
                    <a:pt x="1699" y="1058"/>
                  </a:lnTo>
                  <a:lnTo>
                    <a:pt x="1695" y="1058"/>
                  </a:lnTo>
                  <a:lnTo>
                    <a:pt x="1692" y="1060"/>
                  </a:lnTo>
                  <a:lnTo>
                    <a:pt x="1688" y="1062"/>
                  </a:lnTo>
                  <a:lnTo>
                    <a:pt x="1686" y="1068"/>
                  </a:lnTo>
                  <a:lnTo>
                    <a:pt x="1686" y="1070"/>
                  </a:lnTo>
                  <a:lnTo>
                    <a:pt x="1688" y="1074"/>
                  </a:lnTo>
                  <a:lnTo>
                    <a:pt x="1692" y="1077"/>
                  </a:lnTo>
                  <a:lnTo>
                    <a:pt x="1699" y="1082"/>
                  </a:lnTo>
                  <a:lnTo>
                    <a:pt x="1705" y="1086"/>
                  </a:lnTo>
                  <a:lnTo>
                    <a:pt x="1710" y="1088"/>
                  </a:lnTo>
                  <a:lnTo>
                    <a:pt x="1719" y="1090"/>
                  </a:lnTo>
                  <a:lnTo>
                    <a:pt x="1723" y="1090"/>
                  </a:lnTo>
                  <a:lnTo>
                    <a:pt x="1728" y="1088"/>
                  </a:lnTo>
                  <a:lnTo>
                    <a:pt x="1731" y="1088"/>
                  </a:lnTo>
                  <a:lnTo>
                    <a:pt x="1733" y="1086"/>
                  </a:lnTo>
                  <a:lnTo>
                    <a:pt x="1733" y="1086"/>
                  </a:lnTo>
                  <a:lnTo>
                    <a:pt x="1736" y="1086"/>
                  </a:lnTo>
                  <a:lnTo>
                    <a:pt x="1740" y="1085"/>
                  </a:lnTo>
                  <a:lnTo>
                    <a:pt x="1744" y="1083"/>
                  </a:lnTo>
                  <a:lnTo>
                    <a:pt x="1746" y="1082"/>
                  </a:lnTo>
                  <a:lnTo>
                    <a:pt x="1749" y="1081"/>
                  </a:lnTo>
                  <a:lnTo>
                    <a:pt x="1750" y="1079"/>
                  </a:lnTo>
                  <a:lnTo>
                    <a:pt x="1753" y="1081"/>
                  </a:lnTo>
                  <a:lnTo>
                    <a:pt x="1754" y="1082"/>
                  </a:lnTo>
                  <a:lnTo>
                    <a:pt x="1754" y="1087"/>
                  </a:lnTo>
                  <a:lnTo>
                    <a:pt x="1752" y="1094"/>
                  </a:lnTo>
                  <a:lnTo>
                    <a:pt x="1749" y="1100"/>
                  </a:lnTo>
                  <a:lnTo>
                    <a:pt x="1748" y="1108"/>
                  </a:lnTo>
                  <a:lnTo>
                    <a:pt x="1748" y="1109"/>
                  </a:lnTo>
                  <a:lnTo>
                    <a:pt x="1748" y="1112"/>
                  </a:lnTo>
                  <a:lnTo>
                    <a:pt x="1745" y="1120"/>
                  </a:lnTo>
                  <a:lnTo>
                    <a:pt x="1745" y="1126"/>
                  </a:lnTo>
                  <a:lnTo>
                    <a:pt x="1745" y="1129"/>
                  </a:lnTo>
                  <a:lnTo>
                    <a:pt x="1746" y="1132"/>
                  </a:lnTo>
                  <a:lnTo>
                    <a:pt x="1748" y="1133"/>
                  </a:lnTo>
                  <a:lnTo>
                    <a:pt x="1750" y="1133"/>
                  </a:lnTo>
                  <a:lnTo>
                    <a:pt x="1752" y="1133"/>
                  </a:lnTo>
                  <a:lnTo>
                    <a:pt x="1754" y="1134"/>
                  </a:lnTo>
                  <a:lnTo>
                    <a:pt x="1756" y="1136"/>
                  </a:lnTo>
                  <a:lnTo>
                    <a:pt x="1758" y="1137"/>
                  </a:lnTo>
                  <a:lnTo>
                    <a:pt x="1761" y="1138"/>
                  </a:lnTo>
                  <a:lnTo>
                    <a:pt x="1763" y="1142"/>
                  </a:lnTo>
                  <a:lnTo>
                    <a:pt x="1766" y="1145"/>
                  </a:lnTo>
                  <a:lnTo>
                    <a:pt x="1769" y="1151"/>
                  </a:lnTo>
                  <a:lnTo>
                    <a:pt x="1771" y="1155"/>
                  </a:lnTo>
                  <a:lnTo>
                    <a:pt x="1773" y="1156"/>
                  </a:lnTo>
                  <a:lnTo>
                    <a:pt x="1773" y="1158"/>
                  </a:lnTo>
                  <a:lnTo>
                    <a:pt x="1773" y="1159"/>
                  </a:lnTo>
                  <a:lnTo>
                    <a:pt x="1777" y="1167"/>
                  </a:lnTo>
                  <a:lnTo>
                    <a:pt x="1780" y="1175"/>
                  </a:lnTo>
                  <a:lnTo>
                    <a:pt x="1783" y="1177"/>
                  </a:lnTo>
                  <a:lnTo>
                    <a:pt x="1784" y="1179"/>
                  </a:lnTo>
                  <a:lnTo>
                    <a:pt x="1786" y="1180"/>
                  </a:lnTo>
                  <a:lnTo>
                    <a:pt x="1786" y="1181"/>
                  </a:lnTo>
                  <a:lnTo>
                    <a:pt x="1787" y="1183"/>
                  </a:lnTo>
                  <a:lnTo>
                    <a:pt x="1787" y="1184"/>
                  </a:lnTo>
                  <a:lnTo>
                    <a:pt x="1787" y="1187"/>
                  </a:lnTo>
                  <a:lnTo>
                    <a:pt x="1787" y="1194"/>
                  </a:lnTo>
                  <a:lnTo>
                    <a:pt x="1788" y="1207"/>
                  </a:lnTo>
                  <a:lnTo>
                    <a:pt x="1790" y="1221"/>
                  </a:lnTo>
                  <a:lnTo>
                    <a:pt x="1790" y="1228"/>
                  </a:lnTo>
                  <a:lnTo>
                    <a:pt x="1787" y="1232"/>
                  </a:lnTo>
                  <a:lnTo>
                    <a:pt x="1784" y="1234"/>
                  </a:lnTo>
                  <a:lnTo>
                    <a:pt x="1769" y="1238"/>
                  </a:lnTo>
                  <a:lnTo>
                    <a:pt x="1753" y="1240"/>
                  </a:lnTo>
                  <a:lnTo>
                    <a:pt x="1746" y="1243"/>
                  </a:lnTo>
                  <a:lnTo>
                    <a:pt x="1737" y="1245"/>
                  </a:lnTo>
                  <a:lnTo>
                    <a:pt x="1728" y="1247"/>
                  </a:lnTo>
                  <a:lnTo>
                    <a:pt x="1723" y="1247"/>
                  </a:lnTo>
                  <a:lnTo>
                    <a:pt x="1720" y="1247"/>
                  </a:lnTo>
                  <a:lnTo>
                    <a:pt x="1719" y="1245"/>
                  </a:lnTo>
                  <a:lnTo>
                    <a:pt x="1716" y="1245"/>
                  </a:lnTo>
                  <a:lnTo>
                    <a:pt x="1714" y="1245"/>
                  </a:lnTo>
                  <a:lnTo>
                    <a:pt x="1711" y="1244"/>
                  </a:lnTo>
                  <a:lnTo>
                    <a:pt x="1709" y="1244"/>
                  </a:lnTo>
                  <a:lnTo>
                    <a:pt x="1707" y="1243"/>
                  </a:lnTo>
                  <a:lnTo>
                    <a:pt x="1706" y="1243"/>
                  </a:lnTo>
                  <a:lnTo>
                    <a:pt x="1681" y="1243"/>
                  </a:lnTo>
                  <a:lnTo>
                    <a:pt x="1678" y="1243"/>
                  </a:lnTo>
                  <a:lnTo>
                    <a:pt x="1676" y="1245"/>
                  </a:lnTo>
                  <a:lnTo>
                    <a:pt x="1673" y="1245"/>
                  </a:lnTo>
                  <a:lnTo>
                    <a:pt x="1669" y="1245"/>
                  </a:lnTo>
                  <a:lnTo>
                    <a:pt x="1665" y="1249"/>
                  </a:lnTo>
                  <a:lnTo>
                    <a:pt x="1660" y="1253"/>
                  </a:lnTo>
                  <a:lnTo>
                    <a:pt x="1627" y="1269"/>
                  </a:lnTo>
                  <a:lnTo>
                    <a:pt x="1617" y="1256"/>
                  </a:lnTo>
                  <a:lnTo>
                    <a:pt x="1616" y="1252"/>
                  </a:lnTo>
                  <a:lnTo>
                    <a:pt x="1614" y="1248"/>
                  </a:lnTo>
                  <a:lnTo>
                    <a:pt x="1614" y="1245"/>
                  </a:lnTo>
                  <a:lnTo>
                    <a:pt x="1614" y="1244"/>
                  </a:lnTo>
                  <a:lnTo>
                    <a:pt x="1613" y="1243"/>
                  </a:lnTo>
                  <a:lnTo>
                    <a:pt x="1613" y="1243"/>
                  </a:lnTo>
                  <a:lnTo>
                    <a:pt x="1612" y="1239"/>
                  </a:lnTo>
                  <a:lnTo>
                    <a:pt x="1610" y="1235"/>
                  </a:lnTo>
                  <a:lnTo>
                    <a:pt x="1609" y="1234"/>
                  </a:lnTo>
                  <a:lnTo>
                    <a:pt x="1609" y="1234"/>
                  </a:lnTo>
                  <a:lnTo>
                    <a:pt x="1609" y="1231"/>
                  </a:lnTo>
                  <a:lnTo>
                    <a:pt x="1607" y="1230"/>
                  </a:lnTo>
                  <a:lnTo>
                    <a:pt x="1603" y="1230"/>
                  </a:lnTo>
                  <a:lnTo>
                    <a:pt x="1588" y="1228"/>
                  </a:lnTo>
                  <a:lnTo>
                    <a:pt x="1575" y="1227"/>
                  </a:lnTo>
                  <a:lnTo>
                    <a:pt x="1574" y="1226"/>
                  </a:lnTo>
                  <a:lnTo>
                    <a:pt x="1573" y="1226"/>
                  </a:lnTo>
                  <a:lnTo>
                    <a:pt x="1571" y="1226"/>
                  </a:lnTo>
                  <a:lnTo>
                    <a:pt x="1567" y="1223"/>
                  </a:lnTo>
                  <a:lnTo>
                    <a:pt x="1563" y="1221"/>
                  </a:lnTo>
                  <a:lnTo>
                    <a:pt x="1529" y="1198"/>
                  </a:lnTo>
                  <a:close/>
                  <a:moveTo>
                    <a:pt x="746" y="51"/>
                  </a:moveTo>
                  <a:lnTo>
                    <a:pt x="801" y="42"/>
                  </a:lnTo>
                  <a:lnTo>
                    <a:pt x="807" y="39"/>
                  </a:lnTo>
                  <a:lnTo>
                    <a:pt x="814" y="34"/>
                  </a:lnTo>
                  <a:lnTo>
                    <a:pt x="820" y="28"/>
                  </a:lnTo>
                  <a:lnTo>
                    <a:pt x="827" y="20"/>
                  </a:lnTo>
                  <a:lnTo>
                    <a:pt x="832" y="12"/>
                  </a:lnTo>
                  <a:lnTo>
                    <a:pt x="839" y="5"/>
                  </a:lnTo>
                  <a:lnTo>
                    <a:pt x="843" y="3"/>
                  </a:lnTo>
                  <a:lnTo>
                    <a:pt x="845" y="1"/>
                  </a:lnTo>
                  <a:lnTo>
                    <a:pt x="849" y="0"/>
                  </a:lnTo>
                  <a:lnTo>
                    <a:pt x="853" y="0"/>
                  </a:lnTo>
                  <a:lnTo>
                    <a:pt x="862" y="1"/>
                  </a:lnTo>
                  <a:lnTo>
                    <a:pt x="874" y="7"/>
                  </a:lnTo>
                  <a:lnTo>
                    <a:pt x="886" y="12"/>
                  </a:lnTo>
                  <a:lnTo>
                    <a:pt x="898" y="16"/>
                  </a:lnTo>
                  <a:lnTo>
                    <a:pt x="915" y="18"/>
                  </a:lnTo>
                  <a:lnTo>
                    <a:pt x="933" y="21"/>
                  </a:lnTo>
                  <a:lnTo>
                    <a:pt x="950" y="24"/>
                  </a:lnTo>
                  <a:lnTo>
                    <a:pt x="970" y="24"/>
                  </a:lnTo>
                  <a:lnTo>
                    <a:pt x="985" y="22"/>
                  </a:lnTo>
                  <a:lnTo>
                    <a:pt x="1001" y="18"/>
                  </a:lnTo>
                  <a:lnTo>
                    <a:pt x="1009" y="17"/>
                  </a:lnTo>
                  <a:lnTo>
                    <a:pt x="1017" y="16"/>
                  </a:lnTo>
                  <a:lnTo>
                    <a:pt x="1024" y="16"/>
                  </a:lnTo>
                  <a:lnTo>
                    <a:pt x="1032" y="16"/>
                  </a:lnTo>
                  <a:lnTo>
                    <a:pt x="1038" y="17"/>
                  </a:lnTo>
                  <a:lnTo>
                    <a:pt x="1043" y="18"/>
                  </a:lnTo>
                  <a:lnTo>
                    <a:pt x="1048" y="21"/>
                  </a:lnTo>
                  <a:lnTo>
                    <a:pt x="1052" y="24"/>
                  </a:lnTo>
                  <a:lnTo>
                    <a:pt x="1060" y="32"/>
                  </a:lnTo>
                  <a:lnTo>
                    <a:pt x="1065" y="41"/>
                  </a:lnTo>
                  <a:lnTo>
                    <a:pt x="1069" y="51"/>
                  </a:lnTo>
                  <a:lnTo>
                    <a:pt x="1070" y="63"/>
                  </a:lnTo>
                  <a:lnTo>
                    <a:pt x="1072" y="75"/>
                  </a:lnTo>
                  <a:lnTo>
                    <a:pt x="1072" y="88"/>
                  </a:lnTo>
                  <a:lnTo>
                    <a:pt x="1070" y="102"/>
                  </a:lnTo>
                  <a:lnTo>
                    <a:pt x="1068" y="115"/>
                  </a:lnTo>
                  <a:lnTo>
                    <a:pt x="1065" y="128"/>
                  </a:lnTo>
                  <a:lnTo>
                    <a:pt x="1060" y="141"/>
                  </a:lnTo>
                  <a:lnTo>
                    <a:pt x="1055" y="153"/>
                  </a:lnTo>
                  <a:lnTo>
                    <a:pt x="1049" y="164"/>
                  </a:lnTo>
                  <a:lnTo>
                    <a:pt x="1043" y="173"/>
                  </a:lnTo>
                  <a:lnTo>
                    <a:pt x="1036" y="181"/>
                  </a:lnTo>
                  <a:lnTo>
                    <a:pt x="1021" y="195"/>
                  </a:lnTo>
                  <a:lnTo>
                    <a:pt x="1007" y="211"/>
                  </a:lnTo>
                  <a:lnTo>
                    <a:pt x="1001" y="219"/>
                  </a:lnTo>
                  <a:lnTo>
                    <a:pt x="997" y="226"/>
                  </a:lnTo>
                  <a:lnTo>
                    <a:pt x="993" y="234"/>
                  </a:lnTo>
                  <a:lnTo>
                    <a:pt x="990" y="242"/>
                  </a:lnTo>
                  <a:lnTo>
                    <a:pt x="988" y="250"/>
                  </a:lnTo>
                  <a:lnTo>
                    <a:pt x="988" y="258"/>
                  </a:lnTo>
                  <a:lnTo>
                    <a:pt x="988" y="266"/>
                  </a:lnTo>
                  <a:lnTo>
                    <a:pt x="990" y="272"/>
                  </a:lnTo>
                  <a:lnTo>
                    <a:pt x="994" y="280"/>
                  </a:lnTo>
                  <a:lnTo>
                    <a:pt x="1000" y="287"/>
                  </a:lnTo>
                  <a:lnTo>
                    <a:pt x="1007" y="293"/>
                  </a:lnTo>
                  <a:lnTo>
                    <a:pt x="1017" y="300"/>
                  </a:lnTo>
                  <a:lnTo>
                    <a:pt x="1031" y="309"/>
                  </a:lnTo>
                  <a:lnTo>
                    <a:pt x="1044" y="317"/>
                  </a:lnTo>
                  <a:lnTo>
                    <a:pt x="1057" y="323"/>
                  </a:lnTo>
                  <a:lnTo>
                    <a:pt x="1069" y="327"/>
                  </a:lnTo>
                  <a:lnTo>
                    <a:pt x="1082" y="330"/>
                  </a:lnTo>
                  <a:lnTo>
                    <a:pt x="1096" y="331"/>
                  </a:lnTo>
                  <a:lnTo>
                    <a:pt x="1112" y="328"/>
                  </a:lnTo>
                  <a:lnTo>
                    <a:pt x="1129" y="323"/>
                  </a:lnTo>
                  <a:lnTo>
                    <a:pt x="1149" y="318"/>
                  </a:lnTo>
                  <a:lnTo>
                    <a:pt x="1167" y="311"/>
                  </a:lnTo>
                  <a:lnTo>
                    <a:pt x="1174" y="309"/>
                  </a:lnTo>
                  <a:lnTo>
                    <a:pt x="1179" y="309"/>
                  </a:lnTo>
                  <a:lnTo>
                    <a:pt x="1184" y="310"/>
                  </a:lnTo>
                  <a:lnTo>
                    <a:pt x="1189" y="314"/>
                  </a:lnTo>
                  <a:lnTo>
                    <a:pt x="1193" y="321"/>
                  </a:lnTo>
                  <a:lnTo>
                    <a:pt x="1196" y="327"/>
                  </a:lnTo>
                  <a:lnTo>
                    <a:pt x="1200" y="336"/>
                  </a:lnTo>
                  <a:lnTo>
                    <a:pt x="1202" y="345"/>
                  </a:lnTo>
                  <a:lnTo>
                    <a:pt x="1205" y="365"/>
                  </a:lnTo>
                  <a:lnTo>
                    <a:pt x="1206" y="385"/>
                  </a:lnTo>
                  <a:lnTo>
                    <a:pt x="1206" y="403"/>
                  </a:lnTo>
                  <a:lnTo>
                    <a:pt x="1204" y="416"/>
                  </a:lnTo>
                  <a:lnTo>
                    <a:pt x="1196" y="434"/>
                  </a:lnTo>
                  <a:lnTo>
                    <a:pt x="1188" y="447"/>
                  </a:lnTo>
                  <a:lnTo>
                    <a:pt x="1185" y="455"/>
                  </a:lnTo>
                  <a:lnTo>
                    <a:pt x="1183" y="463"/>
                  </a:lnTo>
                  <a:lnTo>
                    <a:pt x="1181" y="474"/>
                  </a:lnTo>
                  <a:lnTo>
                    <a:pt x="1183" y="487"/>
                  </a:lnTo>
                  <a:lnTo>
                    <a:pt x="1183" y="501"/>
                  </a:lnTo>
                  <a:lnTo>
                    <a:pt x="1183" y="512"/>
                  </a:lnTo>
                  <a:lnTo>
                    <a:pt x="1181" y="521"/>
                  </a:lnTo>
                  <a:lnTo>
                    <a:pt x="1179" y="529"/>
                  </a:lnTo>
                  <a:lnTo>
                    <a:pt x="1171" y="544"/>
                  </a:lnTo>
                  <a:lnTo>
                    <a:pt x="1159" y="565"/>
                  </a:lnTo>
                  <a:lnTo>
                    <a:pt x="1154" y="578"/>
                  </a:lnTo>
                  <a:lnTo>
                    <a:pt x="1150" y="589"/>
                  </a:lnTo>
                  <a:lnTo>
                    <a:pt x="1147" y="599"/>
                  </a:lnTo>
                  <a:lnTo>
                    <a:pt x="1147" y="610"/>
                  </a:lnTo>
                  <a:lnTo>
                    <a:pt x="1147" y="618"/>
                  </a:lnTo>
                  <a:lnTo>
                    <a:pt x="1149" y="627"/>
                  </a:lnTo>
                  <a:lnTo>
                    <a:pt x="1151" y="635"/>
                  </a:lnTo>
                  <a:lnTo>
                    <a:pt x="1154" y="641"/>
                  </a:lnTo>
                  <a:lnTo>
                    <a:pt x="1159" y="657"/>
                  </a:lnTo>
                  <a:lnTo>
                    <a:pt x="1163" y="671"/>
                  </a:lnTo>
                  <a:lnTo>
                    <a:pt x="1164" y="680"/>
                  </a:lnTo>
                  <a:lnTo>
                    <a:pt x="1164" y="688"/>
                  </a:lnTo>
                  <a:lnTo>
                    <a:pt x="1163" y="699"/>
                  </a:lnTo>
                  <a:lnTo>
                    <a:pt x="1161" y="708"/>
                  </a:lnTo>
                  <a:lnTo>
                    <a:pt x="1157" y="721"/>
                  </a:lnTo>
                  <a:lnTo>
                    <a:pt x="1154" y="735"/>
                  </a:lnTo>
                  <a:lnTo>
                    <a:pt x="1151" y="750"/>
                  </a:lnTo>
                  <a:lnTo>
                    <a:pt x="1150" y="764"/>
                  </a:lnTo>
                  <a:lnTo>
                    <a:pt x="1149" y="794"/>
                  </a:lnTo>
                  <a:lnTo>
                    <a:pt x="1149" y="822"/>
                  </a:lnTo>
                  <a:lnTo>
                    <a:pt x="1150" y="831"/>
                  </a:lnTo>
                  <a:lnTo>
                    <a:pt x="1153" y="840"/>
                  </a:lnTo>
                  <a:lnTo>
                    <a:pt x="1157" y="849"/>
                  </a:lnTo>
                  <a:lnTo>
                    <a:pt x="1162" y="858"/>
                  </a:lnTo>
                  <a:lnTo>
                    <a:pt x="1166" y="867"/>
                  </a:lnTo>
                  <a:lnTo>
                    <a:pt x="1167" y="877"/>
                  </a:lnTo>
                  <a:lnTo>
                    <a:pt x="1167" y="880"/>
                  </a:lnTo>
                  <a:lnTo>
                    <a:pt x="1167" y="886"/>
                  </a:lnTo>
                  <a:lnTo>
                    <a:pt x="1166" y="891"/>
                  </a:lnTo>
                  <a:lnTo>
                    <a:pt x="1164" y="896"/>
                  </a:lnTo>
                  <a:lnTo>
                    <a:pt x="1161" y="901"/>
                  </a:lnTo>
                  <a:lnTo>
                    <a:pt x="1155" y="905"/>
                  </a:lnTo>
                  <a:lnTo>
                    <a:pt x="1149" y="909"/>
                  </a:lnTo>
                  <a:lnTo>
                    <a:pt x="1142" y="913"/>
                  </a:lnTo>
                  <a:lnTo>
                    <a:pt x="1136" y="916"/>
                  </a:lnTo>
                  <a:lnTo>
                    <a:pt x="1130" y="921"/>
                  </a:lnTo>
                  <a:lnTo>
                    <a:pt x="1125" y="926"/>
                  </a:lnTo>
                  <a:lnTo>
                    <a:pt x="1121" y="934"/>
                  </a:lnTo>
                  <a:lnTo>
                    <a:pt x="1121" y="938"/>
                  </a:lnTo>
                  <a:lnTo>
                    <a:pt x="1121" y="943"/>
                  </a:lnTo>
                  <a:lnTo>
                    <a:pt x="1123" y="948"/>
                  </a:lnTo>
                  <a:lnTo>
                    <a:pt x="1124" y="952"/>
                  </a:lnTo>
                  <a:lnTo>
                    <a:pt x="1129" y="964"/>
                  </a:lnTo>
                  <a:lnTo>
                    <a:pt x="1136" y="976"/>
                  </a:lnTo>
                  <a:lnTo>
                    <a:pt x="1146" y="989"/>
                  </a:lnTo>
                  <a:lnTo>
                    <a:pt x="1157" y="1002"/>
                  </a:lnTo>
                  <a:lnTo>
                    <a:pt x="1170" y="1015"/>
                  </a:lnTo>
                  <a:lnTo>
                    <a:pt x="1183" y="1028"/>
                  </a:lnTo>
                  <a:lnTo>
                    <a:pt x="1210" y="1053"/>
                  </a:lnTo>
                  <a:lnTo>
                    <a:pt x="1236" y="1077"/>
                  </a:lnTo>
                  <a:lnTo>
                    <a:pt x="1259" y="1094"/>
                  </a:lnTo>
                  <a:lnTo>
                    <a:pt x="1273" y="1105"/>
                  </a:lnTo>
                  <a:lnTo>
                    <a:pt x="1329" y="1147"/>
                  </a:lnTo>
                  <a:lnTo>
                    <a:pt x="1248" y="1164"/>
                  </a:lnTo>
                  <a:lnTo>
                    <a:pt x="1217" y="1166"/>
                  </a:lnTo>
                  <a:lnTo>
                    <a:pt x="1214" y="1166"/>
                  </a:lnTo>
                  <a:lnTo>
                    <a:pt x="1212" y="1164"/>
                  </a:lnTo>
                  <a:lnTo>
                    <a:pt x="1206" y="1163"/>
                  </a:lnTo>
                  <a:lnTo>
                    <a:pt x="1196" y="1164"/>
                  </a:lnTo>
                  <a:lnTo>
                    <a:pt x="1187" y="1166"/>
                  </a:lnTo>
                  <a:lnTo>
                    <a:pt x="1183" y="1167"/>
                  </a:lnTo>
                  <a:lnTo>
                    <a:pt x="1179" y="1175"/>
                  </a:lnTo>
                  <a:lnTo>
                    <a:pt x="1172" y="1184"/>
                  </a:lnTo>
                  <a:lnTo>
                    <a:pt x="1162" y="1192"/>
                  </a:lnTo>
                  <a:lnTo>
                    <a:pt x="1151" y="1201"/>
                  </a:lnTo>
                  <a:lnTo>
                    <a:pt x="1124" y="1219"/>
                  </a:lnTo>
                  <a:lnTo>
                    <a:pt x="1094" y="1239"/>
                  </a:lnTo>
                  <a:lnTo>
                    <a:pt x="1064" y="1257"/>
                  </a:lnTo>
                  <a:lnTo>
                    <a:pt x="1036" y="1277"/>
                  </a:lnTo>
                  <a:lnTo>
                    <a:pt x="1024" y="1287"/>
                  </a:lnTo>
                  <a:lnTo>
                    <a:pt x="1015" y="1296"/>
                  </a:lnTo>
                  <a:lnTo>
                    <a:pt x="1009" y="1306"/>
                  </a:lnTo>
                  <a:lnTo>
                    <a:pt x="1006" y="1315"/>
                  </a:lnTo>
                  <a:lnTo>
                    <a:pt x="1004" y="1317"/>
                  </a:lnTo>
                  <a:lnTo>
                    <a:pt x="1001" y="1319"/>
                  </a:lnTo>
                  <a:lnTo>
                    <a:pt x="983" y="1323"/>
                  </a:lnTo>
                  <a:lnTo>
                    <a:pt x="963" y="1329"/>
                  </a:lnTo>
                  <a:lnTo>
                    <a:pt x="953" y="1332"/>
                  </a:lnTo>
                  <a:lnTo>
                    <a:pt x="942" y="1333"/>
                  </a:lnTo>
                  <a:lnTo>
                    <a:pt x="930" y="1334"/>
                  </a:lnTo>
                  <a:lnTo>
                    <a:pt x="919" y="1333"/>
                  </a:lnTo>
                  <a:lnTo>
                    <a:pt x="916" y="1332"/>
                  </a:lnTo>
                  <a:lnTo>
                    <a:pt x="912" y="1329"/>
                  </a:lnTo>
                  <a:lnTo>
                    <a:pt x="909" y="1324"/>
                  </a:lnTo>
                  <a:lnTo>
                    <a:pt x="907" y="1320"/>
                  </a:lnTo>
                  <a:lnTo>
                    <a:pt x="904" y="1317"/>
                  </a:lnTo>
                  <a:lnTo>
                    <a:pt x="902" y="1315"/>
                  </a:lnTo>
                  <a:lnTo>
                    <a:pt x="898" y="1306"/>
                  </a:lnTo>
                  <a:lnTo>
                    <a:pt x="890" y="1296"/>
                  </a:lnTo>
                  <a:lnTo>
                    <a:pt x="882" y="1287"/>
                  </a:lnTo>
                  <a:lnTo>
                    <a:pt x="875" y="1283"/>
                  </a:lnTo>
                  <a:lnTo>
                    <a:pt x="860" y="1275"/>
                  </a:lnTo>
                  <a:lnTo>
                    <a:pt x="843" y="1265"/>
                  </a:lnTo>
                  <a:lnTo>
                    <a:pt x="834" y="1261"/>
                  </a:lnTo>
                  <a:lnTo>
                    <a:pt x="826" y="1257"/>
                  </a:lnTo>
                  <a:lnTo>
                    <a:pt x="817" y="1255"/>
                  </a:lnTo>
                  <a:lnTo>
                    <a:pt x="809" y="1253"/>
                  </a:lnTo>
                  <a:lnTo>
                    <a:pt x="807" y="1252"/>
                  </a:lnTo>
                  <a:lnTo>
                    <a:pt x="806" y="1251"/>
                  </a:lnTo>
                  <a:lnTo>
                    <a:pt x="805" y="1248"/>
                  </a:lnTo>
                  <a:lnTo>
                    <a:pt x="802" y="1247"/>
                  </a:lnTo>
                  <a:lnTo>
                    <a:pt x="801" y="1247"/>
                  </a:lnTo>
                  <a:lnTo>
                    <a:pt x="793" y="1247"/>
                  </a:lnTo>
                  <a:lnTo>
                    <a:pt x="788" y="1248"/>
                  </a:lnTo>
                  <a:lnTo>
                    <a:pt x="785" y="1249"/>
                  </a:lnTo>
                  <a:lnTo>
                    <a:pt x="782" y="1252"/>
                  </a:lnTo>
                  <a:lnTo>
                    <a:pt x="781" y="1256"/>
                  </a:lnTo>
                  <a:lnTo>
                    <a:pt x="781" y="1257"/>
                  </a:lnTo>
                  <a:lnTo>
                    <a:pt x="777" y="1265"/>
                  </a:lnTo>
                  <a:lnTo>
                    <a:pt x="773" y="1273"/>
                  </a:lnTo>
                  <a:lnTo>
                    <a:pt x="772" y="1277"/>
                  </a:lnTo>
                  <a:lnTo>
                    <a:pt x="771" y="1281"/>
                  </a:lnTo>
                  <a:lnTo>
                    <a:pt x="768" y="1285"/>
                  </a:lnTo>
                  <a:lnTo>
                    <a:pt x="764" y="1289"/>
                  </a:lnTo>
                  <a:lnTo>
                    <a:pt x="762" y="1291"/>
                  </a:lnTo>
                  <a:lnTo>
                    <a:pt x="758" y="1292"/>
                  </a:lnTo>
                  <a:lnTo>
                    <a:pt x="754" y="1294"/>
                  </a:lnTo>
                  <a:lnTo>
                    <a:pt x="751" y="1295"/>
                  </a:lnTo>
                  <a:lnTo>
                    <a:pt x="748" y="1295"/>
                  </a:lnTo>
                  <a:lnTo>
                    <a:pt x="747" y="1295"/>
                  </a:lnTo>
                  <a:lnTo>
                    <a:pt x="746" y="1296"/>
                  </a:lnTo>
                  <a:lnTo>
                    <a:pt x="743" y="1298"/>
                  </a:lnTo>
                  <a:lnTo>
                    <a:pt x="741" y="1299"/>
                  </a:lnTo>
                  <a:lnTo>
                    <a:pt x="738" y="1299"/>
                  </a:lnTo>
                  <a:lnTo>
                    <a:pt x="737" y="1298"/>
                  </a:lnTo>
                  <a:lnTo>
                    <a:pt x="724" y="1287"/>
                  </a:lnTo>
                  <a:lnTo>
                    <a:pt x="699" y="1270"/>
                  </a:lnTo>
                  <a:lnTo>
                    <a:pt x="686" y="1261"/>
                  </a:lnTo>
                  <a:lnTo>
                    <a:pt x="674" y="1253"/>
                  </a:lnTo>
                  <a:lnTo>
                    <a:pt x="663" y="1249"/>
                  </a:lnTo>
                  <a:lnTo>
                    <a:pt x="657" y="1247"/>
                  </a:lnTo>
                  <a:lnTo>
                    <a:pt x="656" y="1247"/>
                  </a:lnTo>
                  <a:lnTo>
                    <a:pt x="639" y="1249"/>
                  </a:lnTo>
                  <a:lnTo>
                    <a:pt x="626" y="1252"/>
                  </a:lnTo>
                  <a:lnTo>
                    <a:pt x="607" y="1249"/>
                  </a:lnTo>
                  <a:lnTo>
                    <a:pt x="584" y="1245"/>
                  </a:lnTo>
                  <a:lnTo>
                    <a:pt x="572" y="1245"/>
                  </a:lnTo>
                  <a:lnTo>
                    <a:pt x="561" y="1247"/>
                  </a:lnTo>
                  <a:lnTo>
                    <a:pt x="558" y="1248"/>
                  </a:lnTo>
                  <a:lnTo>
                    <a:pt x="552" y="1249"/>
                  </a:lnTo>
                  <a:lnTo>
                    <a:pt x="550" y="1253"/>
                  </a:lnTo>
                  <a:lnTo>
                    <a:pt x="546" y="1257"/>
                  </a:lnTo>
                  <a:lnTo>
                    <a:pt x="542" y="1261"/>
                  </a:lnTo>
                  <a:lnTo>
                    <a:pt x="535" y="1264"/>
                  </a:lnTo>
                  <a:lnTo>
                    <a:pt x="527" y="1266"/>
                  </a:lnTo>
                  <a:lnTo>
                    <a:pt x="521" y="1269"/>
                  </a:lnTo>
                  <a:lnTo>
                    <a:pt x="508" y="1273"/>
                  </a:lnTo>
                  <a:lnTo>
                    <a:pt x="495" y="1278"/>
                  </a:lnTo>
                  <a:lnTo>
                    <a:pt x="480" y="1289"/>
                  </a:lnTo>
                  <a:lnTo>
                    <a:pt x="466" y="1300"/>
                  </a:lnTo>
                  <a:lnTo>
                    <a:pt x="454" y="1310"/>
                  </a:lnTo>
                  <a:lnTo>
                    <a:pt x="442" y="1315"/>
                  </a:lnTo>
                  <a:lnTo>
                    <a:pt x="432" y="1319"/>
                  </a:lnTo>
                  <a:lnTo>
                    <a:pt x="421" y="1321"/>
                  </a:lnTo>
                  <a:lnTo>
                    <a:pt x="416" y="1321"/>
                  </a:lnTo>
                  <a:lnTo>
                    <a:pt x="411" y="1320"/>
                  </a:lnTo>
                  <a:lnTo>
                    <a:pt x="406" y="1319"/>
                  </a:lnTo>
                  <a:lnTo>
                    <a:pt x="401" y="1316"/>
                  </a:lnTo>
                  <a:lnTo>
                    <a:pt x="389" y="1308"/>
                  </a:lnTo>
                  <a:lnTo>
                    <a:pt x="376" y="1298"/>
                  </a:lnTo>
                  <a:lnTo>
                    <a:pt x="361" y="1281"/>
                  </a:lnTo>
                  <a:lnTo>
                    <a:pt x="346" y="1261"/>
                  </a:lnTo>
                  <a:lnTo>
                    <a:pt x="338" y="1252"/>
                  </a:lnTo>
                  <a:lnTo>
                    <a:pt x="329" y="1245"/>
                  </a:lnTo>
                  <a:lnTo>
                    <a:pt x="325" y="1241"/>
                  </a:lnTo>
                  <a:lnTo>
                    <a:pt x="319" y="1240"/>
                  </a:lnTo>
                  <a:lnTo>
                    <a:pt x="313" y="1239"/>
                  </a:lnTo>
                  <a:lnTo>
                    <a:pt x="308" y="1239"/>
                  </a:lnTo>
                  <a:lnTo>
                    <a:pt x="280" y="1238"/>
                  </a:lnTo>
                  <a:lnTo>
                    <a:pt x="259" y="1236"/>
                  </a:lnTo>
                  <a:lnTo>
                    <a:pt x="251" y="1235"/>
                  </a:lnTo>
                  <a:lnTo>
                    <a:pt x="245" y="1232"/>
                  </a:lnTo>
                  <a:lnTo>
                    <a:pt x="238" y="1230"/>
                  </a:lnTo>
                  <a:lnTo>
                    <a:pt x="233" y="1226"/>
                  </a:lnTo>
                  <a:lnTo>
                    <a:pt x="228" y="1222"/>
                  </a:lnTo>
                  <a:lnTo>
                    <a:pt x="224" y="1217"/>
                  </a:lnTo>
                  <a:lnTo>
                    <a:pt x="220" y="1210"/>
                  </a:lnTo>
                  <a:lnTo>
                    <a:pt x="216" y="1204"/>
                  </a:lnTo>
                  <a:lnTo>
                    <a:pt x="208" y="1185"/>
                  </a:lnTo>
                  <a:lnTo>
                    <a:pt x="199" y="1163"/>
                  </a:lnTo>
                  <a:lnTo>
                    <a:pt x="195" y="1158"/>
                  </a:lnTo>
                  <a:lnTo>
                    <a:pt x="190" y="1153"/>
                  </a:lnTo>
                  <a:lnTo>
                    <a:pt x="183" y="1150"/>
                  </a:lnTo>
                  <a:lnTo>
                    <a:pt x="176" y="1149"/>
                  </a:lnTo>
                  <a:lnTo>
                    <a:pt x="159" y="1147"/>
                  </a:lnTo>
                  <a:lnTo>
                    <a:pt x="139" y="1150"/>
                  </a:lnTo>
                  <a:lnTo>
                    <a:pt x="118" y="1151"/>
                  </a:lnTo>
                  <a:lnTo>
                    <a:pt x="98" y="1153"/>
                  </a:lnTo>
                  <a:lnTo>
                    <a:pt x="89" y="1153"/>
                  </a:lnTo>
                  <a:lnTo>
                    <a:pt x="81" y="1153"/>
                  </a:lnTo>
                  <a:lnTo>
                    <a:pt x="74" y="1150"/>
                  </a:lnTo>
                  <a:lnTo>
                    <a:pt x="67" y="1146"/>
                  </a:lnTo>
                  <a:lnTo>
                    <a:pt x="41" y="1126"/>
                  </a:lnTo>
                  <a:lnTo>
                    <a:pt x="41" y="1126"/>
                  </a:lnTo>
                  <a:lnTo>
                    <a:pt x="53" y="1082"/>
                  </a:lnTo>
                  <a:lnTo>
                    <a:pt x="55" y="1071"/>
                  </a:lnTo>
                  <a:lnTo>
                    <a:pt x="60" y="1065"/>
                  </a:lnTo>
                  <a:lnTo>
                    <a:pt x="66" y="1060"/>
                  </a:lnTo>
                  <a:lnTo>
                    <a:pt x="71" y="1056"/>
                  </a:lnTo>
                  <a:lnTo>
                    <a:pt x="75" y="1051"/>
                  </a:lnTo>
                  <a:lnTo>
                    <a:pt x="79" y="1045"/>
                  </a:lnTo>
                  <a:lnTo>
                    <a:pt x="80" y="1037"/>
                  </a:lnTo>
                  <a:lnTo>
                    <a:pt x="80" y="1026"/>
                  </a:lnTo>
                  <a:lnTo>
                    <a:pt x="77" y="1013"/>
                  </a:lnTo>
                  <a:lnTo>
                    <a:pt x="72" y="999"/>
                  </a:lnTo>
                  <a:lnTo>
                    <a:pt x="66" y="985"/>
                  </a:lnTo>
                  <a:lnTo>
                    <a:pt x="58" y="971"/>
                  </a:lnTo>
                  <a:lnTo>
                    <a:pt x="40" y="941"/>
                  </a:lnTo>
                  <a:lnTo>
                    <a:pt x="23" y="911"/>
                  </a:lnTo>
                  <a:lnTo>
                    <a:pt x="15" y="896"/>
                  </a:lnTo>
                  <a:lnTo>
                    <a:pt x="8" y="880"/>
                  </a:lnTo>
                  <a:lnTo>
                    <a:pt x="3" y="866"/>
                  </a:lnTo>
                  <a:lnTo>
                    <a:pt x="0" y="850"/>
                  </a:lnTo>
                  <a:lnTo>
                    <a:pt x="0" y="844"/>
                  </a:lnTo>
                  <a:lnTo>
                    <a:pt x="0" y="837"/>
                  </a:lnTo>
                  <a:lnTo>
                    <a:pt x="2" y="829"/>
                  </a:lnTo>
                  <a:lnTo>
                    <a:pt x="3" y="823"/>
                  </a:lnTo>
                  <a:lnTo>
                    <a:pt x="7" y="816"/>
                  </a:lnTo>
                  <a:lnTo>
                    <a:pt x="9" y="810"/>
                  </a:lnTo>
                  <a:lnTo>
                    <a:pt x="15" y="803"/>
                  </a:lnTo>
                  <a:lnTo>
                    <a:pt x="20" y="797"/>
                  </a:lnTo>
                  <a:lnTo>
                    <a:pt x="33" y="785"/>
                  </a:lnTo>
                  <a:lnTo>
                    <a:pt x="43" y="776"/>
                  </a:lnTo>
                  <a:lnTo>
                    <a:pt x="49" y="771"/>
                  </a:lnTo>
                  <a:lnTo>
                    <a:pt x="51" y="764"/>
                  </a:lnTo>
                  <a:lnTo>
                    <a:pt x="54" y="755"/>
                  </a:lnTo>
                  <a:lnTo>
                    <a:pt x="57" y="744"/>
                  </a:lnTo>
                  <a:lnTo>
                    <a:pt x="58" y="742"/>
                  </a:lnTo>
                  <a:lnTo>
                    <a:pt x="62" y="738"/>
                  </a:lnTo>
                  <a:lnTo>
                    <a:pt x="67" y="735"/>
                  </a:lnTo>
                  <a:lnTo>
                    <a:pt x="74" y="731"/>
                  </a:lnTo>
                  <a:lnTo>
                    <a:pt x="81" y="729"/>
                  </a:lnTo>
                  <a:lnTo>
                    <a:pt x="88" y="725"/>
                  </a:lnTo>
                  <a:lnTo>
                    <a:pt x="93" y="720"/>
                  </a:lnTo>
                  <a:lnTo>
                    <a:pt x="97" y="716"/>
                  </a:lnTo>
                  <a:lnTo>
                    <a:pt x="100" y="706"/>
                  </a:lnTo>
                  <a:lnTo>
                    <a:pt x="102" y="699"/>
                  </a:lnTo>
                  <a:lnTo>
                    <a:pt x="105" y="689"/>
                  </a:lnTo>
                  <a:lnTo>
                    <a:pt x="105" y="680"/>
                  </a:lnTo>
                  <a:lnTo>
                    <a:pt x="105" y="661"/>
                  </a:lnTo>
                  <a:lnTo>
                    <a:pt x="104" y="641"/>
                  </a:lnTo>
                  <a:lnTo>
                    <a:pt x="98" y="602"/>
                  </a:lnTo>
                  <a:lnTo>
                    <a:pt x="97" y="567"/>
                  </a:lnTo>
                  <a:lnTo>
                    <a:pt x="96" y="547"/>
                  </a:lnTo>
                  <a:lnTo>
                    <a:pt x="96" y="523"/>
                  </a:lnTo>
                  <a:lnTo>
                    <a:pt x="97" y="512"/>
                  </a:lnTo>
                  <a:lnTo>
                    <a:pt x="100" y="502"/>
                  </a:lnTo>
                  <a:lnTo>
                    <a:pt x="101" y="498"/>
                  </a:lnTo>
                  <a:lnTo>
                    <a:pt x="104" y="495"/>
                  </a:lnTo>
                  <a:lnTo>
                    <a:pt x="106" y="493"/>
                  </a:lnTo>
                  <a:lnTo>
                    <a:pt x="110" y="492"/>
                  </a:lnTo>
                  <a:lnTo>
                    <a:pt x="119" y="489"/>
                  </a:lnTo>
                  <a:lnTo>
                    <a:pt x="130" y="484"/>
                  </a:lnTo>
                  <a:lnTo>
                    <a:pt x="142" y="475"/>
                  </a:lnTo>
                  <a:lnTo>
                    <a:pt x="153" y="466"/>
                  </a:lnTo>
                  <a:lnTo>
                    <a:pt x="177" y="445"/>
                  </a:lnTo>
                  <a:lnTo>
                    <a:pt x="199" y="425"/>
                  </a:lnTo>
                  <a:lnTo>
                    <a:pt x="211" y="419"/>
                  </a:lnTo>
                  <a:lnTo>
                    <a:pt x="220" y="413"/>
                  </a:lnTo>
                  <a:lnTo>
                    <a:pt x="225" y="412"/>
                  </a:lnTo>
                  <a:lnTo>
                    <a:pt x="229" y="412"/>
                  </a:lnTo>
                  <a:lnTo>
                    <a:pt x="233" y="413"/>
                  </a:lnTo>
                  <a:lnTo>
                    <a:pt x="237" y="415"/>
                  </a:lnTo>
                  <a:lnTo>
                    <a:pt x="241" y="419"/>
                  </a:lnTo>
                  <a:lnTo>
                    <a:pt x="244" y="423"/>
                  </a:lnTo>
                  <a:lnTo>
                    <a:pt x="246" y="429"/>
                  </a:lnTo>
                  <a:lnTo>
                    <a:pt x="249" y="436"/>
                  </a:lnTo>
                  <a:lnTo>
                    <a:pt x="250" y="445"/>
                  </a:lnTo>
                  <a:lnTo>
                    <a:pt x="251" y="455"/>
                  </a:lnTo>
                  <a:lnTo>
                    <a:pt x="253" y="467"/>
                  </a:lnTo>
                  <a:lnTo>
                    <a:pt x="253" y="481"/>
                  </a:lnTo>
                  <a:lnTo>
                    <a:pt x="254" y="500"/>
                  </a:lnTo>
                  <a:lnTo>
                    <a:pt x="255" y="512"/>
                  </a:lnTo>
                  <a:lnTo>
                    <a:pt x="258" y="516"/>
                  </a:lnTo>
                  <a:lnTo>
                    <a:pt x="259" y="518"/>
                  </a:lnTo>
                  <a:lnTo>
                    <a:pt x="262" y="519"/>
                  </a:lnTo>
                  <a:lnTo>
                    <a:pt x="265" y="519"/>
                  </a:lnTo>
                  <a:lnTo>
                    <a:pt x="271" y="516"/>
                  </a:lnTo>
                  <a:lnTo>
                    <a:pt x="278" y="508"/>
                  </a:lnTo>
                  <a:lnTo>
                    <a:pt x="285" y="496"/>
                  </a:lnTo>
                  <a:lnTo>
                    <a:pt x="293" y="483"/>
                  </a:lnTo>
                  <a:lnTo>
                    <a:pt x="309" y="453"/>
                  </a:lnTo>
                  <a:lnTo>
                    <a:pt x="325" y="421"/>
                  </a:lnTo>
                  <a:lnTo>
                    <a:pt x="336" y="394"/>
                  </a:lnTo>
                  <a:lnTo>
                    <a:pt x="346" y="378"/>
                  </a:lnTo>
                  <a:lnTo>
                    <a:pt x="359" y="360"/>
                  </a:lnTo>
                  <a:lnTo>
                    <a:pt x="374" y="344"/>
                  </a:lnTo>
                  <a:lnTo>
                    <a:pt x="390" y="328"/>
                  </a:lnTo>
                  <a:lnTo>
                    <a:pt x="407" y="313"/>
                  </a:lnTo>
                  <a:lnTo>
                    <a:pt x="441" y="284"/>
                  </a:lnTo>
                  <a:lnTo>
                    <a:pt x="475" y="255"/>
                  </a:lnTo>
                  <a:lnTo>
                    <a:pt x="476" y="254"/>
                  </a:lnTo>
                  <a:lnTo>
                    <a:pt x="476" y="251"/>
                  </a:lnTo>
                  <a:lnTo>
                    <a:pt x="476" y="247"/>
                  </a:lnTo>
                  <a:lnTo>
                    <a:pt x="475" y="242"/>
                  </a:lnTo>
                  <a:lnTo>
                    <a:pt x="470" y="232"/>
                  </a:lnTo>
                  <a:lnTo>
                    <a:pt x="465" y="220"/>
                  </a:lnTo>
                  <a:lnTo>
                    <a:pt x="452" y="194"/>
                  </a:lnTo>
                  <a:lnTo>
                    <a:pt x="441" y="173"/>
                  </a:lnTo>
                  <a:lnTo>
                    <a:pt x="438" y="160"/>
                  </a:lnTo>
                  <a:lnTo>
                    <a:pt x="437" y="149"/>
                  </a:lnTo>
                  <a:lnTo>
                    <a:pt x="438" y="140"/>
                  </a:lnTo>
                  <a:lnTo>
                    <a:pt x="442" y="132"/>
                  </a:lnTo>
                  <a:lnTo>
                    <a:pt x="448" y="126"/>
                  </a:lnTo>
                  <a:lnTo>
                    <a:pt x="455" y="120"/>
                  </a:lnTo>
                  <a:lnTo>
                    <a:pt x="463" y="115"/>
                  </a:lnTo>
                  <a:lnTo>
                    <a:pt x="474" y="111"/>
                  </a:lnTo>
                  <a:lnTo>
                    <a:pt x="493" y="105"/>
                  </a:lnTo>
                  <a:lnTo>
                    <a:pt x="514" y="97"/>
                  </a:lnTo>
                  <a:lnTo>
                    <a:pt x="524" y="93"/>
                  </a:lnTo>
                  <a:lnTo>
                    <a:pt x="533" y="89"/>
                  </a:lnTo>
                  <a:lnTo>
                    <a:pt x="541" y="84"/>
                  </a:lnTo>
                  <a:lnTo>
                    <a:pt x="547" y="77"/>
                  </a:lnTo>
                  <a:lnTo>
                    <a:pt x="552" y="71"/>
                  </a:lnTo>
                  <a:lnTo>
                    <a:pt x="558" y="66"/>
                  </a:lnTo>
                  <a:lnTo>
                    <a:pt x="561" y="63"/>
                  </a:lnTo>
                  <a:lnTo>
                    <a:pt x="565" y="60"/>
                  </a:lnTo>
                  <a:lnTo>
                    <a:pt x="569" y="59"/>
                  </a:lnTo>
                  <a:lnTo>
                    <a:pt x="573" y="60"/>
                  </a:lnTo>
                  <a:lnTo>
                    <a:pt x="577" y="60"/>
                  </a:lnTo>
                  <a:lnTo>
                    <a:pt x="581" y="62"/>
                  </a:lnTo>
                  <a:lnTo>
                    <a:pt x="594" y="72"/>
                  </a:lnTo>
                  <a:lnTo>
                    <a:pt x="612" y="81"/>
                  </a:lnTo>
                  <a:lnTo>
                    <a:pt x="622" y="83"/>
                  </a:lnTo>
                  <a:lnTo>
                    <a:pt x="632" y="83"/>
                  </a:lnTo>
                  <a:lnTo>
                    <a:pt x="643" y="81"/>
                  </a:lnTo>
                  <a:lnTo>
                    <a:pt x="652" y="79"/>
                  </a:lnTo>
                  <a:lnTo>
                    <a:pt x="662" y="76"/>
                  </a:lnTo>
                  <a:lnTo>
                    <a:pt x="671" y="73"/>
                  </a:lnTo>
                  <a:lnTo>
                    <a:pt x="682" y="71"/>
                  </a:lnTo>
                  <a:lnTo>
                    <a:pt x="691" y="71"/>
                  </a:lnTo>
                  <a:lnTo>
                    <a:pt x="697" y="71"/>
                  </a:lnTo>
                  <a:lnTo>
                    <a:pt x="703" y="73"/>
                  </a:lnTo>
                  <a:lnTo>
                    <a:pt x="704" y="75"/>
                  </a:lnTo>
                  <a:lnTo>
                    <a:pt x="707" y="76"/>
                  </a:lnTo>
                  <a:lnTo>
                    <a:pt x="709" y="76"/>
                  </a:lnTo>
                  <a:lnTo>
                    <a:pt x="713" y="76"/>
                  </a:lnTo>
                  <a:lnTo>
                    <a:pt x="720" y="77"/>
                  </a:lnTo>
                  <a:lnTo>
                    <a:pt x="726" y="80"/>
                  </a:lnTo>
                  <a:lnTo>
                    <a:pt x="730" y="80"/>
                  </a:lnTo>
                  <a:lnTo>
                    <a:pt x="733" y="80"/>
                  </a:lnTo>
                  <a:lnTo>
                    <a:pt x="735" y="79"/>
                  </a:lnTo>
                  <a:lnTo>
                    <a:pt x="737" y="76"/>
                  </a:lnTo>
                  <a:lnTo>
                    <a:pt x="746" y="51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33" name="Freeform 61"/>
            <p:cNvSpPr>
              <a:spLocks/>
            </p:cNvSpPr>
            <p:nvPr/>
          </p:nvSpPr>
          <p:spPr bwMode="auto">
            <a:xfrm>
              <a:off x="3659188" y="1944688"/>
              <a:ext cx="1058862" cy="769937"/>
            </a:xfrm>
            <a:custGeom>
              <a:avLst/>
              <a:gdLst/>
              <a:ahLst/>
              <a:cxnLst>
                <a:cxn ang="0">
                  <a:pos x="1654" y="489"/>
                </a:cxn>
                <a:cxn ang="0">
                  <a:pos x="1532" y="385"/>
                </a:cxn>
                <a:cxn ang="0">
                  <a:pos x="1327" y="362"/>
                </a:cxn>
                <a:cxn ang="0">
                  <a:pos x="1394" y="130"/>
                </a:cxn>
                <a:cxn ang="0">
                  <a:pos x="1436" y="56"/>
                </a:cxn>
                <a:cxn ang="0">
                  <a:pos x="1165" y="0"/>
                </a:cxn>
                <a:cxn ang="0">
                  <a:pos x="867" y="59"/>
                </a:cxn>
                <a:cxn ang="0">
                  <a:pos x="624" y="52"/>
                </a:cxn>
                <a:cxn ang="0">
                  <a:pos x="629" y="195"/>
                </a:cxn>
                <a:cxn ang="0">
                  <a:pos x="575" y="328"/>
                </a:cxn>
                <a:cxn ang="0">
                  <a:pos x="442" y="400"/>
                </a:cxn>
                <a:cxn ang="0">
                  <a:pos x="394" y="559"/>
                </a:cxn>
                <a:cxn ang="0">
                  <a:pos x="290" y="687"/>
                </a:cxn>
                <a:cxn ang="0">
                  <a:pos x="159" y="863"/>
                </a:cxn>
                <a:cxn ang="0">
                  <a:pos x="285" y="861"/>
                </a:cxn>
                <a:cxn ang="0">
                  <a:pos x="476" y="857"/>
                </a:cxn>
                <a:cxn ang="0">
                  <a:pos x="673" y="793"/>
                </a:cxn>
                <a:cxn ang="0">
                  <a:pos x="824" y="839"/>
                </a:cxn>
                <a:cxn ang="0">
                  <a:pos x="828" y="1044"/>
                </a:cxn>
                <a:cxn ang="0">
                  <a:pos x="710" y="1126"/>
                </a:cxn>
                <a:cxn ang="0">
                  <a:pos x="554" y="1247"/>
                </a:cxn>
                <a:cxn ang="0">
                  <a:pos x="418" y="1324"/>
                </a:cxn>
                <a:cxn ang="0">
                  <a:pos x="441" y="1537"/>
                </a:cxn>
                <a:cxn ang="0">
                  <a:pos x="203" y="1766"/>
                </a:cxn>
                <a:cxn ang="0">
                  <a:pos x="5" y="1979"/>
                </a:cxn>
                <a:cxn ang="0">
                  <a:pos x="140" y="1978"/>
                </a:cxn>
                <a:cxn ang="0">
                  <a:pos x="171" y="2096"/>
                </a:cxn>
                <a:cxn ang="0">
                  <a:pos x="280" y="2042"/>
                </a:cxn>
                <a:cxn ang="0">
                  <a:pos x="327" y="2003"/>
                </a:cxn>
                <a:cxn ang="0">
                  <a:pos x="407" y="1905"/>
                </a:cxn>
                <a:cxn ang="0">
                  <a:pos x="442" y="1872"/>
                </a:cxn>
                <a:cxn ang="0">
                  <a:pos x="464" y="1893"/>
                </a:cxn>
                <a:cxn ang="0">
                  <a:pos x="515" y="1907"/>
                </a:cxn>
                <a:cxn ang="0">
                  <a:pos x="568" y="1952"/>
                </a:cxn>
                <a:cxn ang="0">
                  <a:pos x="605" y="1905"/>
                </a:cxn>
                <a:cxn ang="0">
                  <a:pos x="643" y="1843"/>
                </a:cxn>
                <a:cxn ang="0">
                  <a:pos x="866" y="1626"/>
                </a:cxn>
                <a:cxn ang="0">
                  <a:pos x="955" y="1521"/>
                </a:cxn>
                <a:cxn ang="0">
                  <a:pos x="1095" y="1514"/>
                </a:cxn>
                <a:cxn ang="0">
                  <a:pos x="1265" y="1493"/>
                </a:cxn>
                <a:cxn ang="0">
                  <a:pos x="1235" y="1392"/>
                </a:cxn>
                <a:cxn ang="0">
                  <a:pos x="1301" y="1247"/>
                </a:cxn>
                <a:cxn ang="0">
                  <a:pos x="1473" y="1251"/>
                </a:cxn>
                <a:cxn ang="0">
                  <a:pos x="1671" y="1293"/>
                </a:cxn>
                <a:cxn ang="0">
                  <a:pos x="2036" y="1180"/>
                </a:cxn>
                <a:cxn ang="0">
                  <a:pos x="2281" y="1141"/>
                </a:cxn>
                <a:cxn ang="0">
                  <a:pos x="2459" y="1164"/>
                </a:cxn>
                <a:cxn ang="0">
                  <a:pos x="2714" y="1156"/>
                </a:cxn>
                <a:cxn ang="0">
                  <a:pos x="2758" y="1058"/>
                </a:cxn>
                <a:cxn ang="0">
                  <a:pos x="2811" y="928"/>
                </a:cxn>
                <a:cxn ang="0">
                  <a:pos x="2786" y="844"/>
                </a:cxn>
                <a:cxn ang="0">
                  <a:pos x="2740" y="812"/>
                </a:cxn>
                <a:cxn ang="0">
                  <a:pos x="2649" y="776"/>
                </a:cxn>
                <a:cxn ang="0">
                  <a:pos x="2573" y="797"/>
                </a:cxn>
                <a:cxn ang="0">
                  <a:pos x="2464" y="776"/>
                </a:cxn>
                <a:cxn ang="0">
                  <a:pos x="2298" y="652"/>
                </a:cxn>
                <a:cxn ang="0">
                  <a:pos x="2077" y="521"/>
                </a:cxn>
                <a:cxn ang="0">
                  <a:pos x="2052" y="500"/>
                </a:cxn>
                <a:cxn ang="0">
                  <a:pos x="2029" y="470"/>
                </a:cxn>
                <a:cxn ang="0">
                  <a:pos x="1984" y="442"/>
                </a:cxn>
              </a:cxnLst>
              <a:rect l="0" t="0" r="r" b="b"/>
              <a:pathLst>
                <a:path w="2876" h="2097">
                  <a:moveTo>
                    <a:pt x="1945" y="393"/>
                  </a:moveTo>
                  <a:lnTo>
                    <a:pt x="1927" y="398"/>
                  </a:lnTo>
                  <a:lnTo>
                    <a:pt x="1906" y="402"/>
                  </a:lnTo>
                  <a:lnTo>
                    <a:pt x="1883" y="406"/>
                  </a:lnTo>
                  <a:lnTo>
                    <a:pt x="1862" y="410"/>
                  </a:lnTo>
                  <a:lnTo>
                    <a:pt x="1840" y="412"/>
                  </a:lnTo>
                  <a:lnTo>
                    <a:pt x="1819" y="416"/>
                  </a:lnTo>
                  <a:lnTo>
                    <a:pt x="1800" y="421"/>
                  </a:lnTo>
                  <a:lnTo>
                    <a:pt x="1781" y="427"/>
                  </a:lnTo>
                  <a:lnTo>
                    <a:pt x="1757" y="437"/>
                  </a:lnTo>
                  <a:lnTo>
                    <a:pt x="1717" y="453"/>
                  </a:lnTo>
                  <a:lnTo>
                    <a:pt x="1698" y="462"/>
                  </a:lnTo>
                  <a:lnTo>
                    <a:pt x="1682" y="470"/>
                  </a:lnTo>
                  <a:lnTo>
                    <a:pt x="1669" y="476"/>
                  </a:lnTo>
                  <a:lnTo>
                    <a:pt x="1664" y="480"/>
                  </a:lnTo>
                  <a:lnTo>
                    <a:pt x="1661" y="484"/>
                  </a:lnTo>
                  <a:lnTo>
                    <a:pt x="1658" y="487"/>
                  </a:lnTo>
                  <a:lnTo>
                    <a:pt x="1654" y="489"/>
                  </a:lnTo>
                  <a:lnTo>
                    <a:pt x="1652" y="491"/>
                  </a:lnTo>
                  <a:lnTo>
                    <a:pt x="1648" y="489"/>
                  </a:lnTo>
                  <a:lnTo>
                    <a:pt x="1645" y="489"/>
                  </a:lnTo>
                  <a:lnTo>
                    <a:pt x="1641" y="487"/>
                  </a:lnTo>
                  <a:lnTo>
                    <a:pt x="1637" y="484"/>
                  </a:lnTo>
                  <a:lnTo>
                    <a:pt x="1631" y="476"/>
                  </a:lnTo>
                  <a:lnTo>
                    <a:pt x="1623" y="467"/>
                  </a:lnTo>
                  <a:lnTo>
                    <a:pt x="1615" y="455"/>
                  </a:lnTo>
                  <a:lnTo>
                    <a:pt x="1607" y="444"/>
                  </a:lnTo>
                  <a:lnTo>
                    <a:pt x="1592" y="417"/>
                  </a:lnTo>
                  <a:lnTo>
                    <a:pt x="1577" y="395"/>
                  </a:lnTo>
                  <a:lnTo>
                    <a:pt x="1569" y="386"/>
                  </a:lnTo>
                  <a:lnTo>
                    <a:pt x="1563" y="379"/>
                  </a:lnTo>
                  <a:lnTo>
                    <a:pt x="1559" y="377"/>
                  </a:lnTo>
                  <a:lnTo>
                    <a:pt x="1556" y="376"/>
                  </a:lnTo>
                  <a:lnTo>
                    <a:pt x="1552" y="376"/>
                  </a:lnTo>
                  <a:lnTo>
                    <a:pt x="1550" y="376"/>
                  </a:lnTo>
                  <a:lnTo>
                    <a:pt x="1532" y="385"/>
                  </a:lnTo>
                  <a:lnTo>
                    <a:pt x="1509" y="398"/>
                  </a:lnTo>
                  <a:lnTo>
                    <a:pt x="1496" y="403"/>
                  </a:lnTo>
                  <a:lnTo>
                    <a:pt x="1484" y="406"/>
                  </a:lnTo>
                  <a:lnTo>
                    <a:pt x="1479" y="406"/>
                  </a:lnTo>
                  <a:lnTo>
                    <a:pt x="1473" y="406"/>
                  </a:lnTo>
                  <a:lnTo>
                    <a:pt x="1467" y="404"/>
                  </a:lnTo>
                  <a:lnTo>
                    <a:pt x="1464" y="402"/>
                  </a:lnTo>
                  <a:lnTo>
                    <a:pt x="1453" y="396"/>
                  </a:lnTo>
                  <a:lnTo>
                    <a:pt x="1443" y="391"/>
                  </a:lnTo>
                  <a:lnTo>
                    <a:pt x="1431" y="387"/>
                  </a:lnTo>
                  <a:lnTo>
                    <a:pt x="1419" y="383"/>
                  </a:lnTo>
                  <a:lnTo>
                    <a:pt x="1396" y="378"/>
                  </a:lnTo>
                  <a:lnTo>
                    <a:pt x="1372" y="373"/>
                  </a:lnTo>
                  <a:lnTo>
                    <a:pt x="1354" y="369"/>
                  </a:lnTo>
                  <a:lnTo>
                    <a:pt x="1339" y="366"/>
                  </a:lnTo>
                  <a:lnTo>
                    <a:pt x="1334" y="365"/>
                  </a:lnTo>
                  <a:lnTo>
                    <a:pt x="1330" y="364"/>
                  </a:lnTo>
                  <a:lnTo>
                    <a:pt x="1327" y="362"/>
                  </a:lnTo>
                  <a:lnTo>
                    <a:pt x="1326" y="361"/>
                  </a:lnTo>
                  <a:lnTo>
                    <a:pt x="1325" y="359"/>
                  </a:lnTo>
                  <a:lnTo>
                    <a:pt x="1325" y="355"/>
                  </a:lnTo>
                  <a:lnTo>
                    <a:pt x="1325" y="352"/>
                  </a:lnTo>
                  <a:lnTo>
                    <a:pt x="1327" y="347"/>
                  </a:lnTo>
                  <a:lnTo>
                    <a:pt x="1331" y="335"/>
                  </a:lnTo>
                  <a:lnTo>
                    <a:pt x="1339" y="318"/>
                  </a:lnTo>
                  <a:lnTo>
                    <a:pt x="1343" y="308"/>
                  </a:lnTo>
                  <a:lnTo>
                    <a:pt x="1346" y="296"/>
                  </a:lnTo>
                  <a:lnTo>
                    <a:pt x="1348" y="284"/>
                  </a:lnTo>
                  <a:lnTo>
                    <a:pt x="1350" y="272"/>
                  </a:lnTo>
                  <a:lnTo>
                    <a:pt x="1354" y="249"/>
                  </a:lnTo>
                  <a:lnTo>
                    <a:pt x="1356" y="224"/>
                  </a:lnTo>
                  <a:lnTo>
                    <a:pt x="1360" y="209"/>
                  </a:lnTo>
                  <a:lnTo>
                    <a:pt x="1365" y="190"/>
                  </a:lnTo>
                  <a:lnTo>
                    <a:pt x="1373" y="169"/>
                  </a:lnTo>
                  <a:lnTo>
                    <a:pt x="1382" y="149"/>
                  </a:lnTo>
                  <a:lnTo>
                    <a:pt x="1394" y="130"/>
                  </a:lnTo>
                  <a:lnTo>
                    <a:pt x="1406" y="113"/>
                  </a:lnTo>
                  <a:lnTo>
                    <a:pt x="1413" y="106"/>
                  </a:lnTo>
                  <a:lnTo>
                    <a:pt x="1419" y="101"/>
                  </a:lnTo>
                  <a:lnTo>
                    <a:pt x="1426" y="97"/>
                  </a:lnTo>
                  <a:lnTo>
                    <a:pt x="1431" y="94"/>
                  </a:lnTo>
                  <a:lnTo>
                    <a:pt x="1435" y="93"/>
                  </a:lnTo>
                  <a:lnTo>
                    <a:pt x="1440" y="90"/>
                  </a:lnTo>
                  <a:lnTo>
                    <a:pt x="1447" y="85"/>
                  </a:lnTo>
                  <a:lnTo>
                    <a:pt x="1452" y="81"/>
                  </a:lnTo>
                  <a:lnTo>
                    <a:pt x="1456" y="75"/>
                  </a:lnTo>
                  <a:lnTo>
                    <a:pt x="1458" y="69"/>
                  </a:lnTo>
                  <a:lnTo>
                    <a:pt x="1460" y="67"/>
                  </a:lnTo>
                  <a:lnTo>
                    <a:pt x="1460" y="64"/>
                  </a:lnTo>
                  <a:lnTo>
                    <a:pt x="1458" y="62"/>
                  </a:lnTo>
                  <a:lnTo>
                    <a:pt x="1457" y="60"/>
                  </a:lnTo>
                  <a:lnTo>
                    <a:pt x="1452" y="58"/>
                  </a:lnTo>
                  <a:lnTo>
                    <a:pt x="1445" y="56"/>
                  </a:lnTo>
                  <a:lnTo>
                    <a:pt x="1436" y="56"/>
                  </a:lnTo>
                  <a:lnTo>
                    <a:pt x="1424" y="58"/>
                  </a:lnTo>
                  <a:lnTo>
                    <a:pt x="1398" y="63"/>
                  </a:lnTo>
                  <a:lnTo>
                    <a:pt x="1369" y="69"/>
                  </a:lnTo>
                  <a:lnTo>
                    <a:pt x="1354" y="72"/>
                  </a:lnTo>
                  <a:lnTo>
                    <a:pt x="1338" y="75"/>
                  </a:lnTo>
                  <a:lnTo>
                    <a:pt x="1324" y="77"/>
                  </a:lnTo>
                  <a:lnTo>
                    <a:pt x="1309" y="77"/>
                  </a:lnTo>
                  <a:lnTo>
                    <a:pt x="1295" y="77"/>
                  </a:lnTo>
                  <a:lnTo>
                    <a:pt x="1283" y="75"/>
                  </a:lnTo>
                  <a:lnTo>
                    <a:pt x="1276" y="72"/>
                  </a:lnTo>
                  <a:lnTo>
                    <a:pt x="1271" y="71"/>
                  </a:lnTo>
                  <a:lnTo>
                    <a:pt x="1266" y="67"/>
                  </a:lnTo>
                  <a:lnTo>
                    <a:pt x="1262" y="64"/>
                  </a:lnTo>
                  <a:lnTo>
                    <a:pt x="1241" y="47"/>
                  </a:lnTo>
                  <a:lnTo>
                    <a:pt x="1218" y="30"/>
                  </a:lnTo>
                  <a:lnTo>
                    <a:pt x="1193" y="15"/>
                  </a:lnTo>
                  <a:lnTo>
                    <a:pt x="1169" y="1"/>
                  </a:lnTo>
                  <a:lnTo>
                    <a:pt x="1165" y="0"/>
                  </a:lnTo>
                  <a:lnTo>
                    <a:pt x="1161" y="0"/>
                  </a:lnTo>
                  <a:lnTo>
                    <a:pt x="1156" y="0"/>
                  </a:lnTo>
                  <a:lnTo>
                    <a:pt x="1152" y="3"/>
                  </a:lnTo>
                  <a:lnTo>
                    <a:pt x="1143" y="8"/>
                  </a:lnTo>
                  <a:lnTo>
                    <a:pt x="1133" y="16"/>
                  </a:lnTo>
                  <a:lnTo>
                    <a:pt x="1121" y="24"/>
                  </a:lnTo>
                  <a:lnTo>
                    <a:pt x="1110" y="32"/>
                  </a:lnTo>
                  <a:lnTo>
                    <a:pt x="1097" y="39"/>
                  </a:lnTo>
                  <a:lnTo>
                    <a:pt x="1086" y="43"/>
                  </a:lnTo>
                  <a:lnTo>
                    <a:pt x="1042" y="54"/>
                  </a:lnTo>
                  <a:lnTo>
                    <a:pt x="1002" y="62"/>
                  </a:lnTo>
                  <a:lnTo>
                    <a:pt x="982" y="64"/>
                  </a:lnTo>
                  <a:lnTo>
                    <a:pt x="963" y="66"/>
                  </a:lnTo>
                  <a:lnTo>
                    <a:pt x="943" y="67"/>
                  </a:lnTo>
                  <a:lnTo>
                    <a:pt x="923" y="67"/>
                  </a:lnTo>
                  <a:lnTo>
                    <a:pt x="905" y="66"/>
                  </a:lnTo>
                  <a:lnTo>
                    <a:pt x="885" y="63"/>
                  </a:lnTo>
                  <a:lnTo>
                    <a:pt x="867" y="59"/>
                  </a:lnTo>
                  <a:lnTo>
                    <a:pt x="849" y="54"/>
                  </a:lnTo>
                  <a:lnTo>
                    <a:pt x="829" y="47"/>
                  </a:lnTo>
                  <a:lnTo>
                    <a:pt x="811" y="39"/>
                  </a:lnTo>
                  <a:lnTo>
                    <a:pt x="791" y="30"/>
                  </a:lnTo>
                  <a:lnTo>
                    <a:pt x="773" y="20"/>
                  </a:lnTo>
                  <a:lnTo>
                    <a:pt x="760" y="13"/>
                  </a:lnTo>
                  <a:lnTo>
                    <a:pt x="748" y="8"/>
                  </a:lnTo>
                  <a:lnTo>
                    <a:pt x="738" y="5"/>
                  </a:lnTo>
                  <a:lnTo>
                    <a:pt x="726" y="4"/>
                  </a:lnTo>
                  <a:lnTo>
                    <a:pt x="714" y="4"/>
                  </a:lnTo>
                  <a:lnTo>
                    <a:pt x="704" y="5"/>
                  </a:lnTo>
                  <a:lnTo>
                    <a:pt x="692" y="8"/>
                  </a:lnTo>
                  <a:lnTo>
                    <a:pt x="681" y="12"/>
                  </a:lnTo>
                  <a:lnTo>
                    <a:pt x="671" y="16"/>
                  </a:lnTo>
                  <a:lnTo>
                    <a:pt x="660" y="22"/>
                  </a:lnTo>
                  <a:lnTo>
                    <a:pt x="651" y="29"/>
                  </a:lnTo>
                  <a:lnTo>
                    <a:pt x="642" y="35"/>
                  </a:lnTo>
                  <a:lnTo>
                    <a:pt x="624" y="52"/>
                  </a:lnTo>
                  <a:lnTo>
                    <a:pt x="608" y="69"/>
                  </a:lnTo>
                  <a:lnTo>
                    <a:pt x="604" y="76"/>
                  </a:lnTo>
                  <a:lnTo>
                    <a:pt x="600" y="84"/>
                  </a:lnTo>
                  <a:lnTo>
                    <a:pt x="596" y="92"/>
                  </a:lnTo>
                  <a:lnTo>
                    <a:pt x="594" y="101"/>
                  </a:lnTo>
                  <a:lnTo>
                    <a:pt x="592" y="110"/>
                  </a:lnTo>
                  <a:lnTo>
                    <a:pt x="591" y="119"/>
                  </a:lnTo>
                  <a:lnTo>
                    <a:pt x="591" y="130"/>
                  </a:lnTo>
                  <a:lnTo>
                    <a:pt x="591" y="139"/>
                  </a:lnTo>
                  <a:lnTo>
                    <a:pt x="591" y="149"/>
                  </a:lnTo>
                  <a:lnTo>
                    <a:pt x="594" y="157"/>
                  </a:lnTo>
                  <a:lnTo>
                    <a:pt x="596" y="166"/>
                  </a:lnTo>
                  <a:lnTo>
                    <a:pt x="600" y="174"/>
                  </a:lnTo>
                  <a:lnTo>
                    <a:pt x="604" y="181"/>
                  </a:lnTo>
                  <a:lnTo>
                    <a:pt x="609" y="186"/>
                  </a:lnTo>
                  <a:lnTo>
                    <a:pt x="617" y="190"/>
                  </a:lnTo>
                  <a:lnTo>
                    <a:pt x="624" y="194"/>
                  </a:lnTo>
                  <a:lnTo>
                    <a:pt x="629" y="195"/>
                  </a:lnTo>
                  <a:lnTo>
                    <a:pt x="633" y="198"/>
                  </a:lnTo>
                  <a:lnTo>
                    <a:pt x="636" y="200"/>
                  </a:lnTo>
                  <a:lnTo>
                    <a:pt x="638" y="204"/>
                  </a:lnTo>
                  <a:lnTo>
                    <a:pt x="642" y="215"/>
                  </a:lnTo>
                  <a:lnTo>
                    <a:pt x="643" y="225"/>
                  </a:lnTo>
                  <a:lnTo>
                    <a:pt x="645" y="251"/>
                  </a:lnTo>
                  <a:lnTo>
                    <a:pt x="645" y="276"/>
                  </a:lnTo>
                  <a:lnTo>
                    <a:pt x="643" y="292"/>
                  </a:lnTo>
                  <a:lnTo>
                    <a:pt x="641" y="305"/>
                  </a:lnTo>
                  <a:lnTo>
                    <a:pt x="638" y="310"/>
                  </a:lnTo>
                  <a:lnTo>
                    <a:pt x="636" y="314"/>
                  </a:lnTo>
                  <a:lnTo>
                    <a:pt x="633" y="317"/>
                  </a:lnTo>
                  <a:lnTo>
                    <a:pt x="629" y="321"/>
                  </a:lnTo>
                  <a:lnTo>
                    <a:pt x="622" y="325"/>
                  </a:lnTo>
                  <a:lnTo>
                    <a:pt x="613" y="327"/>
                  </a:lnTo>
                  <a:lnTo>
                    <a:pt x="604" y="328"/>
                  </a:lnTo>
                  <a:lnTo>
                    <a:pt x="595" y="328"/>
                  </a:lnTo>
                  <a:lnTo>
                    <a:pt x="575" y="328"/>
                  </a:lnTo>
                  <a:lnTo>
                    <a:pt x="556" y="330"/>
                  </a:lnTo>
                  <a:lnTo>
                    <a:pt x="547" y="334"/>
                  </a:lnTo>
                  <a:lnTo>
                    <a:pt x="539" y="338"/>
                  </a:lnTo>
                  <a:lnTo>
                    <a:pt x="536" y="342"/>
                  </a:lnTo>
                  <a:lnTo>
                    <a:pt x="532" y="345"/>
                  </a:lnTo>
                  <a:lnTo>
                    <a:pt x="530" y="349"/>
                  </a:lnTo>
                  <a:lnTo>
                    <a:pt x="527" y="355"/>
                  </a:lnTo>
                  <a:lnTo>
                    <a:pt x="519" y="373"/>
                  </a:lnTo>
                  <a:lnTo>
                    <a:pt x="511" y="386"/>
                  </a:lnTo>
                  <a:lnTo>
                    <a:pt x="503" y="395"/>
                  </a:lnTo>
                  <a:lnTo>
                    <a:pt x="496" y="402"/>
                  </a:lnTo>
                  <a:lnTo>
                    <a:pt x="489" y="404"/>
                  </a:lnTo>
                  <a:lnTo>
                    <a:pt x="481" y="406"/>
                  </a:lnTo>
                  <a:lnTo>
                    <a:pt x="473" y="406"/>
                  </a:lnTo>
                  <a:lnTo>
                    <a:pt x="466" y="404"/>
                  </a:lnTo>
                  <a:lnTo>
                    <a:pt x="458" y="403"/>
                  </a:lnTo>
                  <a:lnTo>
                    <a:pt x="450" y="402"/>
                  </a:lnTo>
                  <a:lnTo>
                    <a:pt x="442" y="400"/>
                  </a:lnTo>
                  <a:lnTo>
                    <a:pt x="434" y="402"/>
                  </a:lnTo>
                  <a:lnTo>
                    <a:pt x="426" y="404"/>
                  </a:lnTo>
                  <a:lnTo>
                    <a:pt x="418" y="410"/>
                  </a:lnTo>
                  <a:lnTo>
                    <a:pt x="411" y="417"/>
                  </a:lnTo>
                  <a:lnTo>
                    <a:pt x="404" y="430"/>
                  </a:lnTo>
                  <a:lnTo>
                    <a:pt x="401" y="437"/>
                  </a:lnTo>
                  <a:lnTo>
                    <a:pt x="399" y="445"/>
                  </a:lnTo>
                  <a:lnTo>
                    <a:pt x="399" y="454"/>
                  </a:lnTo>
                  <a:lnTo>
                    <a:pt x="400" y="463"/>
                  </a:lnTo>
                  <a:lnTo>
                    <a:pt x="403" y="483"/>
                  </a:lnTo>
                  <a:lnTo>
                    <a:pt x="405" y="502"/>
                  </a:lnTo>
                  <a:lnTo>
                    <a:pt x="407" y="512"/>
                  </a:lnTo>
                  <a:lnTo>
                    <a:pt x="407" y="522"/>
                  </a:lnTo>
                  <a:lnTo>
                    <a:pt x="407" y="530"/>
                  </a:lnTo>
                  <a:lnTo>
                    <a:pt x="405" y="539"/>
                  </a:lnTo>
                  <a:lnTo>
                    <a:pt x="403" y="547"/>
                  </a:lnTo>
                  <a:lnTo>
                    <a:pt x="399" y="553"/>
                  </a:lnTo>
                  <a:lnTo>
                    <a:pt x="394" y="559"/>
                  </a:lnTo>
                  <a:lnTo>
                    <a:pt x="386" y="564"/>
                  </a:lnTo>
                  <a:lnTo>
                    <a:pt x="373" y="570"/>
                  </a:lnTo>
                  <a:lnTo>
                    <a:pt x="358" y="581"/>
                  </a:lnTo>
                  <a:lnTo>
                    <a:pt x="344" y="593"/>
                  </a:lnTo>
                  <a:lnTo>
                    <a:pt x="331" y="606"/>
                  </a:lnTo>
                  <a:lnTo>
                    <a:pt x="318" y="618"/>
                  </a:lnTo>
                  <a:lnTo>
                    <a:pt x="305" y="628"/>
                  </a:lnTo>
                  <a:lnTo>
                    <a:pt x="294" y="636"/>
                  </a:lnTo>
                  <a:lnTo>
                    <a:pt x="286" y="640"/>
                  </a:lnTo>
                  <a:lnTo>
                    <a:pt x="284" y="641"/>
                  </a:lnTo>
                  <a:lnTo>
                    <a:pt x="282" y="642"/>
                  </a:lnTo>
                  <a:lnTo>
                    <a:pt x="282" y="645"/>
                  </a:lnTo>
                  <a:lnTo>
                    <a:pt x="284" y="648"/>
                  </a:lnTo>
                  <a:lnTo>
                    <a:pt x="288" y="653"/>
                  </a:lnTo>
                  <a:lnTo>
                    <a:pt x="290" y="659"/>
                  </a:lnTo>
                  <a:lnTo>
                    <a:pt x="292" y="670"/>
                  </a:lnTo>
                  <a:lnTo>
                    <a:pt x="290" y="679"/>
                  </a:lnTo>
                  <a:lnTo>
                    <a:pt x="290" y="687"/>
                  </a:lnTo>
                  <a:lnTo>
                    <a:pt x="288" y="693"/>
                  </a:lnTo>
                  <a:lnTo>
                    <a:pt x="285" y="699"/>
                  </a:lnTo>
                  <a:lnTo>
                    <a:pt x="282" y="703"/>
                  </a:lnTo>
                  <a:lnTo>
                    <a:pt x="278" y="705"/>
                  </a:lnTo>
                  <a:lnTo>
                    <a:pt x="273" y="708"/>
                  </a:lnTo>
                  <a:lnTo>
                    <a:pt x="252" y="716"/>
                  </a:lnTo>
                  <a:lnTo>
                    <a:pt x="227" y="726"/>
                  </a:lnTo>
                  <a:lnTo>
                    <a:pt x="220" y="733"/>
                  </a:lnTo>
                  <a:lnTo>
                    <a:pt x="212" y="739"/>
                  </a:lnTo>
                  <a:lnTo>
                    <a:pt x="205" y="747"/>
                  </a:lnTo>
                  <a:lnTo>
                    <a:pt x="199" y="756"/>
                  </a:lnTo>
                  <a:lnTo>
                    <a:pt x="192" y="765"/>
                  </a:lnTo>
                  <a:lnTo>
                    <a:pt x="187" y="775"/>
                  </a:lnTo>
                  <a:lnTo>
                    <a:pt x="182" y="785"/>
                  </a:lnTo>
                  <a:lnTo>
                    <a:pt x="176" y="795"/>
                  </a:lnTo>
                  <a:lnTo>
                    <a:pt x="169" y="818"/>
                  </a:lnTo>
                  <a:lnTo>
                    <a:pt x="162" y="840"/>
                  </a:lnTo>
                  <a:lnTo>
                    <a:pt x="159" y="863"/>
                  </a:lnTo>
                  <a:lnTo>
                    <a:pt x="158" y="886"/>
                  </a:lnTo>
                  <a:lnTo>
                    <a:pt x="159" y="894"/>
                  </a:lnTo>
                  <a:lnTo>
                    <a:pt x="161" y="897"/>
                  </a:lnTo>
                  <a:lnTo>
                    <a:pt x="165" y="900"/>
                  </a:lnTo>
                  <a:lnTo>
                    <a:pt x="170" y="901"/>
                  </a:lnTo>
                  <a:lnTo>
                    <a:pt x="175" y="900"/>
                  </a:lnTo>
                  <a:lnTo>
                    <a:pt x="183" y="897"/>
                  </a:lnTo>
                  <a:lnTo>
                    <a:pt x="190" y="894"/>
                  </a:lnTo>
                  <a:lnTo>
                    <a:pt x="199" y="888"/>
                  </a:lnTo>
                  <a:lnTo>
                    <a:pt x="216" y="878"/>
                  </a:lnTo>
                  <a:lnTo>
                    <a:pt x="233" y="867"/>
                  </a:lnTo>
                  <a:lnTo>
                    <a:pt x="242" y="863"/>
                  </a:lnTo>
                  <a:lnTo>
                    <a:pt x="250" y="860"/>
                  </a:lnTo>
                  <a:lnTo>
                    <a:pt x="258" y="857"/>
                  </a:lnTo>
                  <a:lnTo>
                    <a:pt x="264" y="857"/>
                  </a:lnTo>
                  <a:lnTo>
                    <a:pt x="272" y="857"/>
                  </a:lnTo>
                  <a:lnTo>
                    <a:pt x="278" y="858"/>
                  </a:lnTo>
                  <a:lnTo>
                    <a:pt x="285" y="861"/>
                  </a:lnTo>
                  <a:lnTo>
                    <a:pt x="290" y="863"/>
                  </a:lnTo>
                  <a:lnTo>
                    <a:pt x="301" y="869"/>
                  </a:lnTo>
                  <a:lnTo>
                    <a:pt x="311" y="875"/>
                  </a:lnTo>
                  <a:lnTo>
                    <a:pt x="315" y="877"/>
                  </a:lnTo>
                  <a:lnTo>
                    <a:pt x="320" y="879"/>
                  </a:lnTo>
                  <a:lnTo>
                    <a:pt x="326" y="879"/>
                  </a:lnTo>
                  <a:lnTo>
                    <a:pt x="332" y="879"/>
                  </a:lnTo>
                  <a:lnTo>
                    <a:pt x="339" y="878"/>
                  </a:lnTo>
                  <a:lnTo>
                    <a:pt x="345" y="875"/>
                  </a:lnTo>
                  <a:lnTo>
                    <a:pt x="353" y="870"/>
                  </a:lnTo>
                  <a:lnTo>
                    <a:pt x="362" y="863"/>
                  </a:lnTo>
                  <a:lnTo>
                    <a:pt x="369" y="860"/>
                  </a:lnTo>
                  <a:lnTo>
                    <a:pt x="378" y="857"/>
                  </a:lnTo>
                  <a:lnTo>
                    <a:pt x="387" y="854"/>
                  </a:lnTo>
                  <a:lnTo>
                    <a:pt x="399" y="854"/>
                  </a:lnTo>
                  <a:lnTo>
                    <a:pt x="422" y="853"/>
                  </a:lnTo>
                  <a:lnTo>
                    <a:pt x="449" y="856"/>
                  </a:lnTo>
                  <a:lnTo>
                    <a:pt x="476" y="857"/>
                  </a:lnTo>
                  <a:lnTo>
                    <a:pt x="501" y="858"/>
                  </a:lnTo>
                  <a:lnTo>
                    <a:pt x="513" y="858"/>
                  </a:lnTo>
                  <a:lnTo>
                    <a:pt x="523" y="857"/>
                  </a:lnTo>
                  <a:lnTo>
                    <a:pt x="534" y="856"/>
                  </a:lnTo>
                  <a:lnTo>
                    <a:pt x="541" y="853"/>
                  </a:lnTo>
                  <a:lnTo>
                    <a:pt x="553" y="849"/>
                  </a:lnTo>
                  <a:lnTo>
                    <a:pt x="566" y="848"/>
                  </a:lnTo>
                  <a:lnTo>
                    <a:pt x="581" y="846"/>
                  </a:lnTo>
                  <a:lnTo>
                    <a:pt x="595" y="845"/>
                  </a:lnTo>
                  <a:lnTo>
                    <a:pt x="609" y="844"/>
                  </a:lnTo>
                  <a:lnTo>
                    <a:pt x="622" y="841"/>
                  </a:lnTo>
                  <a:lnTo>
                    <a:pt x="636" y="839"/>
                  </a:lnTo>
                  <a:lnTo>
                    <a:pt x="646" y="832"/>
                  </a:lnTo>
                  <a:lnTo>
                    <a:pt x="653" y="827"/>
                  </a:lnTo>
                  <a:lnTo>
                    <a:pt x="659" y="818"/>
                  </a:lnTo>
                  <a:lnTo>
                    <a:pt x="664" y="807"/>
                  </a:lnTo>
                  <a:lnTo>
                    <a:pt x="670" y="797"/>
                  </a:lnTo>
                  <a:lnTo>
                    <a:pt x="673" y="793"/>
                  </a:lnTo>
                  <a:lnTo>
                    <a:pt x="676" y="789"/>
                  </a:lnTo>
                  <a:lnTo>
                    <a:pt x="680" y="785"/>
                  </a:lnTo>
                  <a:lnTo>
                    <a:pt x="683" y="782"/>
                  </a:lnTo>
                  <a:lnTo>
                    <a:pt x="687" y="781"/>
                  </a:lnTo>
                  <a:lnTo>
                    <a:pt x="692" y="781"/>
                  </a:lnTo>
                  <a:lnTo>
                    <a:pt x="697" y="782"/>
                  </a:lnTo>
                  <a:lnTo>
                    <a:pt x="702" y="785"/>
                  </a:lnTo>
                  <a:lnTo>
                    <a:pt x="709" y="789"/>
                  </a:lnTo>
                  <a:lnTo>
                    <a:pt x="717" y="792"/>
                  </a:lnTo>
                  <a:lnTo>
                    <a:pt x="727" y="793"/>
                  </a:lnTo>
                  <a:lnTo>
                    <a:pt x="736" y="794"/>
                  </a:lnTo>
                  <a:lnTo>
                    <a:pt x="757" y="797"/>
                  </a:lnTo>
                  <a:lnTo>
                    <a:pt x="773" y="802"/>
                  </a:lnTo>
                  <a:lnTo>
                    <a:pt x="786" y="809"/>
                  </a:lnTo>
                  <a:lnTo>
                    <a:pt x="798" y="815"/>
                  </a:lnTo>
                  <a:lnTo>
                    <a:pt x="808" y="823"/>
                  </a:lnTo>
                  <a:lnTo>
                    <a:pt x="816" y="831"/>
                  </a:lnTo>
                  <a:lnTo>
                    <a:pt x="824" y="839"/>
                  </a:lnTo>
                  <a:lnTo>
                    <a:pt x="830" y="846"/>
                  </a:lnTo>
                  <a:lnTo>
                    <a:pt x="837" y="856"/>
                  </a:lnTo>
                  <a:lnTo>
                    <a:pt x="841" y="865"/>
                  </a:lnTo>
                  <a:lnTo>
                    <a:pt x="845" y="874"/>
                  </a:lnTo>
                  <a:lnTo>
                    <a:pt x="847" y="884"/>
                  </a:lnTo>
                  <a:lnTo>
                    <a:pt x="850" y="896"/>
                  </a:lnTo>
                  <a:lnTo>
                    <a:pt x="853" y="908"/>
                  </a:lnTo>
                  <a:lnTo>
                    <a:pt x="855" y="935"/>
                  </a:lnTo>
                  <a:lnTo>
                    <a:pt x="858" y="967"/>
                  </a:lnTo>
                  <a:lnTo>
                    <a:pt x="859" y="986"/>
                  </a:lnTo>
                  <a:lnTo>
                    <a:pt x="859" y="1002"/>
                  </a:lnTo>
                  <a:lnTo>
                    <a:pt x="859" y="1014"/>
                  </a:lnTo>
                  <a:lnTo>
                    <a:pt x="858" y="1024"/>
                  </a:lnTo>
                  <a:lnTo>
                    <a:pt x="855" y="1031"/>
                  </a:lnTo>
                  <a:lnTo>
                    <a:pt x="851" y="1036"/>
                  </a:lnTo>
                  <a:lnTo>
                    <a:pt x="847" y="1040"/>
                  </a:lnTo>
                  <a:lnTo>
                    <a:pt x="841" y="1043"/>
                  </a:lnTo>
                  <a:lnTo>
                    <a:pt x="828" y="1044"/>
                  </a:lnTo>
                  <a:lnTo>
                    <a:pt x="810" y="1045"/>
                  </a:lnTo>
                  <a:lnTo>
                    <a:pt x="799" y="1047"/>
                  </a:lnTo>
                  <a:lnTo>
                    <a:pt x="786" y="1048"/>
                  </a:lnTo>
                  <a:lnTo>
                    <a:pt x="773" y="1051"/>
                  </a:lnTo>
                  <a:lnTo>
                    <a:pt x="759" y="1056"/>
                  </a:lnTo>
                  <a:lnTo>
                    <a:pt x="744" y="1060"/>
                  </a:lnTo>
                  <a:lnTo>
                    <a:pt x="728" y="1061"/>
                  </a:lnTo>
                  <a:lnTo>
                    <a:pt x="713" y="1062"/>
                  </a:lnTo>
                  <a:lnTo>
                    <a:pt x="697" y="1065"/>
                  </a:lnTo>
                  <a:lnTo>
                    <a:pt x="694" y="1066"/>
                  </a:lnTo>
                  <a:lnTo>
                    <a:pt x="693" y="1069"/>
                  </a:lnTo>
                  <a:lnTo>
                    <a:pt x="693" y="1071"/>
                  </a:lnTo>
                  <a:lnTo>
                    <a:pt x="694" y="1075"/>
                  </a:lnTo>
                  <a:lnTo>
                    <a:pt x="697" y="1083"/>
                  </a:lnTo>
                  <a:lnTo>
                    <a:pt x="702" y="1094"/>
                  </a:lnTo>
                  <a:lnTo>
                    <a:pt x="706" y="1107"/>
                  </a:lnTo>
                  <a:lnTo>
                    <a:pt x="709" y="1120"/>
                  </a:lnTo>
                  <a:lnTo>
                    <a:pt x="710" y="1126"/>
                  </a:lnTo>
                  <a:lnTo>
                    <a:pt x="709" y="1133"/>
                  </a:lnTo>
                  <a:lnTo>
                    <a:pt x="707" y="1141"/>
                  </a:lnTo>
                  <a:lnTo>
                    <a:pt x="705" y="1147"/>
                  </a:lnTo>
                  <a:lnTo>
                    <a:pt x="700" y="1158"/>
                  </a:lnTo>
                  <a:lnTo>
                    <a:pt x="693" y="1167"/>
                  </a:lnTo>
                  <a:lnTo>
                    <a:pt x="688" y="1176"/>
                  </a:lnTo>
                  <a:lnTo>
                    <a:pt x="681" y="1183"/>
                  </a:lnTo>
                  <a:lnTo>
                    <a:pt x="675" y="1190"/>
                  </a:lnTo>
                  <a:lnTo>
                    <a:pt x="668" y="1196"/>
                  </a:lnTo>
                  <a:lnTo>
                    <a:pt x="660" y="1201"/>
                  </a:lnTo>
                  <a:lnTo>
                    <a:pt x="653" y="1206"/>
                  </a:lnTo>
                  <a:lnTo>
                    <a:pt x="637" y="1215"/>
                  </a:lnTo>
                  <a:lnTo>
                    <a:pt x="619" y="1222"/>
                  </a:lnTo>
                  <a:lnTo>
                    <a:pt x="599" y="1228"/>
                  </a:lnTo>
                  <a:lnTo>
                    <a:pt x="577" y="1235"/>
                  </a:lnTo>
                  <a:lnTo>
                    <a:pt x="568" y="1238"/>
                  </a:lnTo>
                  <a:lnTo>
                    <a:pt x="561" y="1243"/>
                  </a:lnTo>
                  <a:lnTo>
                    <a:pt x="554" y="1247"/>
                  </a:lnTo>
                  <a:lnTo>
                    <a:pt x="549" y="1252"/>
                  </a:lnTo>
                  <a:lnTo>
                    <a:pt x="543" y="1256"/>
                  </a:lnTo>
                  <a:lnTo>
                    <a:pt x="535" y="1260"/>
                  </a:lnTo>
                  <a:lnTo>
                    <a:pt x="523" y="1261"/>
                  </a:lnTo>
                  <a:lnTo>
                    <a:pt x="509" y="1261"/>
                  </a:lnTo>
                  <a:lnTo>
                    <a:pt x="477" y="1257"/>
                  </a:lnTo>
                  <a:lnTo>
                    <a:pt x="456" y="1253"/>
                  </a:lnTo>
                  <a:lnTo>
                    <a:pt x="451" y="1255"/>
                  </a:lnTo>
                  <a:lnTo>
                    <a:pt x="447" y="1255"/>
                  </a:lnTo>
                  <a:lnTo>
                    <a:pt x="443" y="1257"/>
                  </a:lnTo>
                  <a:lnTo>
                    <a:pt x="438" y="1260"/>
                  </a:lnTo>
                  <a:lnTo>
                    <a:pt x="428" y="1268"/>
                  </a:lnTo>
                  <a:lnTo>
                    <a:pt x="416" y="1281"/>
                  </a:lnTo>
                  <a:lnTo>
                    <a:pt x="411" y="1287"/>
                  </a:lnTo>
                  <a:lnTo>
                    <a:pt x="408" y="1295"/>
                  </a:lnTo>
                  <a:lnTo>
                    <a:pt x="408" y="1302"/>
                  </a:lnTo>
                  <a:lnTo>
                    <a:pt x="411" y="1310"/>
                  </a:lnTo>
                  <a:lnTo>
                    <a:pt x="418" y="1324"/>
                  </a:lnTo>
                  <a:lnTo>
                    <a:pt x="430" y="1340"/>
                  </a:lnTo>
                  <a:lnTo>
                    <a:pt x="435" y="1349"/>
                  </a:lnTo>
                  <a:lnTo>
                    <a:pt x="442" y="1358"/>
                  </a:lnTo>
                  <a:lnTo>
                    <a:pt x="446" y="1368"/>
                  </a:lnTo>
                  <a:lnTo>
                    <a:pt x="450" y="1379"/>
                  </a:lnTo>
                  <a:lnTo>
                    <a:pt x="452" y="1389"/>
                  </a:lnTo>
                  <a:lnTo>
                    <a:pt x="454" y="1401"/>
                  </a:lnTo>
                  <a:lnTo>
                    <a:pt x="451" y="1414"/>
                  </a:lnTo>
                  <a:lnTo>
                    <a:pt x="447" y="1429"/>
                  </a:lnTo>
                  <a:lnTo>
                    <a:pt x="442" y="1443"/>
                  </a:lnTo>
                  <a:lnTo>
                    <a:pt x="435" y="1461"/>
                  </a:lnTo>
                  <a:lnTo>
                    <a:pt x="432" y="1470"/>
                  </a:lnTo>
                  <a:lnTo>
                    <a:pt x="430" y="1480"/>
                  </a:lnTo>
                  <a:lnTo>
                    <a:pt x="429" y="1486"/>
                  </a:lnTo>
                  <a:lnTo>
                    <a:pt x="429" y="1491"/>
                  </a:lnTo>
                  <a:lnTo>
                    <a:pt x="435" y="1515"/>
                  </a:lnTo>
                  <a:lnTo>
                    <a:pt x="439" y="1532"/>
                  </a:lnTo>
                  <a:lnTo>
                    <a:pt x="441" y="1537"/>
                  </a:lnTo>
                  <a:lnTo>
                    <a:pt x="441" y="1541"/>
                  </a:lnTo>
                  <a:lnTo>
                    <a:pt x="439" y="1545"/>
                  </a:lnTo>
                  <a:lnTo>
                    <a:pt x="438" y="1548"/>
                  </a:lnTo>
                  <a:lnTo>
                    <a:pt x="434" y="1554"/>
                  </a:lnTo>
                  <a:lnTo>
                    <a:pt x="429" y="1562"/>
                  </a:lnTo>
                  <a:lnTo>
                    <a:pt x="421" y="1575"/>
                  </a:lnTo>
                  <a:lnTo>
                    <a:pt x="413" y="1593"/>
                  </a:lnTo>
                  <a:lnTo>
                    <a:pt x="408" y="1604"/>
                  </a:lnTo>
                  <a:lnTo>
                    <a:pt x="403" y="1613"/>
                  </a:lnTo>
                  <a:lnTo>
                    <a:pt x="397" y="1622"/>
                  </a:lnTo>
                  <a:lnTo>
                    <a:pt x="390" y="1631"/>
                  </a:lnTo>
                  <a:lnTo>
                    <a:pt x="374" y="1648"/>
                  </a:lnTo>
                  <a:lnTo>
                    <a:pt x="356" y="1663"/>
                  </a:lnTo>
                  <a:lnTo>
                    <a:pt x="314" y="1693"/>
                  </a:lnTo>
                  <a:lnTo>
                    <a:pt x="268" y="1720"/>
                  </a:lnTo>
                  <a:lnTo>
                    <a:pt x="246" y="1735"/>
                  </a:lnTo>
                  <a:lnTo>
                    <a:pt x="224" y="1749"/>
                  </a:lnTo>
                  <a:lnTo>
                    <a:pt x="203" y="1766"/>
                  </a:lnTo>
                  <a:lnTo>
                    <a:pt x="184" y="1782"/>
                  </a:lnTo>
                  <a:lnTo>
                    <a:pt x="175" y="1791"/>
                  </a:lnTo>
                  <a:lnTo>
                    <a:pt x="167" y="1800"/>
                  </a:lnTo>
                  <a:lnTo>
                    <a:pt x="161" y="1811"/>
                  </a:lnTo>
                  <a:lnTo>
                    <a:pt x="154" y="1821"/>
                  </a:lnTo>
                  <a:lnTo>
                    <a:pt x="148" y="1831"/>
                  </a:lnTo>
                  <a:lnTo>
                    <a:pt x="144" y="1842"/>
                  </a:lnTo>
                  <a:lnTo>
                    <a:pt x="140" y="1854"/>
                  </a:lnTo>
                  <a:lnTo>
                    <a:pt x="137" y="1867"/>
                  </a:lnTo>
                  <a:lnTo>
                    <a:pt x="135" y="1875"/>
                  </a:lnTo>
                  <a:lnTo>
                    <a:pt x="129" y="1882"/>
                  </a:lnTo>
                  <a:lnTo>
                    <a:pt x="122" y="1892"/>
                  </a:lnTo>
                  <a:lnTo>
                    <a:pt x="112" y="1899"/>
                  </a:lnTo>
                  <a:lnTo>
                    <a:pt x="89" y="1918"/>
                  </a:lnTo>
                  <a:lnTo>
                    <a:pt x="64" y="1933"/>
                  </a:lnTo>
                  <a:lnTo>
                    <a:pt x="18" y="1961"/>
                  </a:lnTo>
                  <a:lnTo>
                    <a:pt x="0" y="1974"/>
                  </a:lnTo>
                  <a:lnTo>
                    <a:pt x="5" y="1979"/>
                  </a:lnTo>
                  <a:lnTo>
                    <a:pt x="9" y="1984"/>
                  </a:lnTo>
                  <a:lnTo>
                    <a:pt x="12" y="1994"/>
                  </a:lnTo>
                  <a:lnTo>
                    <a:pt x="16" y="2001"/>
                  </a:lnTo>
                  <a:lnTo>
                    <a:pt x="19" y="2008"/>
                  </a:lnTo>
                  <a:lnTo>
                    <a:pt x="26" y="2015"/>
                  </a:lnTo>
                  <a:lnTo>
                    <a:pt x="38" y="2026"/>
                  </a:lnTo>
                  <a:lnTo>
                    <a:pt x="47" y="2041"/>
                  </a:lnTo>
                  <a:lnTo>
                    <a:pt x="80" y="2008"/>
                  </a:lnTo>
                  <a:lnTo>
                    <a:pt x="128" y="1966"/>
                  </a:lnTo>
                  <a:lnTo>
                    <a:pt x="131" y="1965"/>
                  </a:lnTo>
                  <a:lnTo>
                    <a:pt x="132" y="1965"/>
                  </a:lnTo>
                  <a:lnTo>
                    <a:pt x="133" y="1965"/>
                  </a:lnTo>
                  <a:lnTo>
                    <a:pt x="135" y="1966"/>
                  </a:lnTo>
                  <a:lnTo>
                    <a:pt x="137" y="1969"/>
                  </a:lnTo>
                  <a:lnTo>
                    <a:pt x="139" y="1974"/>
                  </a:lnTo>
                  <a:lnTo>
                    <a:pt x="139" y="1975"/>
                  </a:lnTo>
                  <a:lnTo>
                    <a:pt x="140" y="1977"/>
                  </a:lnTo>
                  <a:lnTo>
                    <a:pt x="140" y="1978"/>
                  </a:lnTo>
                  <a:lnTo>
                    <a:pt x="140" y="1979"/>
                  </a:lnTo>
                  <a:lnTo>
                    <a:pt x="141" y="1983"/>
                  </a:lnTo>
                  <a:lnTo>
                    <a:pt x="142" y="1987"/>
                  </a:lnTo>
                  <a:lnTo>
                    <a:pt x="146" y="2004"/>
                  </a:lnTo>
                  <a:lnTo>
                    <a:pt x="149" y="2022"/>
                  </a:lnTo>
                  <a:lnTo>
                    <a:pt x="153" y="2033"/>
                  </a:lnTo>
                  <a:lnTo>
                    <a:pt x="157" y="2045"/>
                  </a:lnTo>
                  <a:lnTo>
                    <a:pt x="157" y="2050"/>
                  </a:lnTo>
                  <a:lnTo>
                    <a:pt x="158" y="2055"/>
                  </a:lnTo>
                  <a:lnTo>
                    <a:pt x="161" y="2071"/>
                  </a:lnTo>
                  <a:lnTo>
                    <a:pt x="163" y="2089"/>
                  </a:lnTo>
                  <a:lnTo>
                    <a:pt x="163" y="2092"/>
                  </a:lnTo>
                  <a:lnTo>
                    <a:pt x="163" y="2093"/>
                  </a:lnTo>
                  <a:lnTo>
                    <a:pt x="165" y="2094"/>
                  </a:lnTo>
                  <a:lnTo>
                    <a:pt x="165" y="2096"/>
                  </a:lnTo>
                  <a:lnTo>
                    <a:pt x="166" y="2097"/>
                  </a:lnTo>
                  <a:lnTo>
                    <a:pt x="169" y="2097"/>
                  </a:lnTo>
                  <a:lnTo>
                    <a:pt x="171" y="2096"/>
                  </a:lnTo>
                  <a:lnTo>
                    <a:pt x="176" y="2089"/>
                  </a:lnTo>
                  <a:lnTo>
                    <a:pt x="187" y="2083"/>
                  </a:lnTo>
                  <a:lnTo>
                    <a:pt x="199" y="2076"/>
                  </a:lnTo>
                  <a:lnTo>
                    <a:pt x="207" y="2073"/>
                  </a:lnTo>
                  <a:lnTo>
                    <a:pt x="208" y="2073"/>
                  </a:lnTo>
                  <a:lnTo>
                    <a:pt x="210" y="2072"/>
                  </a:lnTo>
                  <a:lnTo>
                    <a:pt x="213" y="2071"/>
                  </a:lnTo>
                  <a:lnTo>
                    <a:pt x="234" y="2068"/>
                  </a:lnTo>
                  <a:lnTo>
                    <a:pt x="252" y="2060"/>
                  </a:lnTo>
                  <a:lnTo>
                    <a:pt x="269" y="2053"/>
                  </a:lnTo>
                  <a:lnTo>
                    <a:pt x="272" y="2051"/>
                  </a:lnTo>
                  <a:lnTo>
                    <a:pt x="273" y="2050"/>
                  </a:lnTo>
                  <a:lnTo>
                    <a:pt x="273" y="2049"/>
                  </a:lnTo>
                  <a:lnTo>
                    <a:pt x="275" y="2047"/>
                  </a:lnTo>
                  <a:lnTo>
                    <a:pt x="275" y="2046"/>
                  </a:lnTo>
                  <a:lnTo>
                    <a:pt x="276" y="2045"/>
                  </a:lnTo>
                  <a:lnTo>
                    <a:pt x="277" y="2045"/>
                  </a:lnTo>
                  <a:lnTo>
                    <a:pt x="280" y="2042"/>
                  </a:lnTo>
                  <a:lnTo>
                    <a:pt x="285" y="2035"/>
                  </a:lnTo>
                  <a:lnTo>
                    <a:pt x="290" y="2029"/>
                  </a:lnTo>
                  <a:lnTo>
                    <a:pt x="290" y="2028"/>
                  </a:lnTo>
                  <a:lnTo>
                    <a:pt x="292" y="2026"/>
                  </a:lnTo>
                  <a:lnTo>
                    <a:pt x="293" y="2025"/>
                  </a:lnTo>
                  <a:lnTo>
                    <a:pt x="295" y="2024"/>
                  </a:lnTo>
                  <a:lnTo>
                    <a:pt x="298" y="2021"/>
                  </a:lnTo>
                  <a:lnTo>
                    <a:pt x="301" y="2020"/>
                  </a:lnTo>
                  <a:lnTo>
                    <a:pt x="303" y="2018"/>
                  </a:lnTo>
                  <a:lnTo>
                    <a:pt x="305" y="2016"/>
                  </a:lnTo>
                  <a:lnTo>
                    <a:pt x="306" y="2016"/>
                  </a:lnTo>
                  <a:lnTo>
                    <a:pt x="307" y="2015"/>
                  </a:lnTo>
                  <a:lnTo>
                    <a:pt x="310" y="2012"/>
                  </a:lnTo>
                  <a:lnTo>
                    <a:pt x="314" y="2011"/>
                  </a:lnTo>
                  <a:lnTo>
                    <a:pt x="316" y="2009"/>
                  </a:lnTo>
                  <a:lnTo>
                    <a:pt x="318" y="2008"/>
                  </a:lnTo>
                  <a:lnTo>
                    <a:pt x="322" y="2005"/>
                  </a:lnTo>
                  <a:lnTo>
                    <a:pt x="327" y="2003"/>
                  </a:lnTo>
                  <a:lnTo>
                    <a:pt x="333" y="1998"/>
                  </a:lnTo>
                  <a:lnTo>
                    <a:pt x="341" y="1995"/>
                  </a:lnTo>
                  <a:lnTo>
                    <a:pt x="352" y="1990"/>
                  </a:lnTo>
                  <a:lnTo>
                    <a:pt x="365" y="1981"/>
                  </a:lnTo>
                  <a:lnTo>
                    <a:pt x="377" y="1971"/>
                  </a:lnTo>
                  <a:lnTo>
                    <a:pt x="383" y="1964"/>
                  </a:lnTo>
                  <a:lnTo>
                    <a:pt x="383" y="1962"/>
                  </a:lnTo>
                  <a:lnTo>
                    <a:pt x="384" y="1962"/>
                  </a:lnTo>
                  <a:lnTo>
                    <a:pt x="388" y="1945"/>
                  </a:lnTo>
                  <a:lnTo>
                    <a:pt x="390" y="1928"/>
                  </a:lnTo>
                  <a:lnTo>
                    <a:pt x="391" y="1927"/>
                  </a:lnTo>
                  <a:lnTo>
                    <a:pt x="391" y="1926"/>
                  </a:lnTo>
                  <a:lnTo>
                    <a:pt x="394" y="1923"/>
                  </a:lnTo>
                  <a:lnTo>
                    <a:pt x="395" y="1919"/>
                  </a:lnTo>
                  <a:lnTo>
                    <a:pt x="399" y="1915"/>
                  </a:lnTo>
                  <a:lnTo>
                    <a:pt x="401" y="1910"/>
                  </a:lnTo>
                  <a:lnTo>
                    <a:pt x="405" y="1907"/>
                  </a:lnTo>
                  <a:lnTo>
                    <a:pt x="407" y="1905"/>
                  </a:lnTo>
                  <a:lnTo>
                    <a:pt x="409" y="1903"/>
                  </a:lnTo>
                  <a:lnTo>
                    <a:pt x="412" y="1901"/>
                  </a:lnTo>
                  <a:lnTo>
                    <a:pt x="412" y="1899"/>
                  </a:lnTo>
                  <a:lnTo>
                    <a:pt x="413" y="1899"/>
                  </a:lnTo>
                  <a:lnTo>
                    <a:pt x="413" y="1898"/>
                  </a:lnTo>
                  <a:lnTo>
                    <a:pt x="415" y="1898"/>
                  </a:lnTo>
                  <a:lnTo>
                    <a:pt x="416" y="1897"/>
                  </a:lnTo>
                  <a:lnTo>
                    <a:pt x="416" y="1896"/>
                  </a:lnTo>
                  <a:lnTo>
                    <a:pt x="420" y="1894"/>
                  </a:lnTo>
                  <a:lnTo>
                    <a:pt x="422" y="1890"/>
                  </a:lnTo>
                  <a:lnTo>
                    <a:pt x="425" y="1888"/>
                  </a:lnTo>
                  <a:lnTo>
                    <a:pt x="429" y="1884"/>
                  </a:lnTo>
                  <a:lnTo>
                    <a:pt x="430" y="1882"/>
                  </a:lnTo>
                  <a:lnTo>
                    <a:pt x="433" y="1882"/>
                  </a:lnTo>
                  <a:lnTo>
                    <a:pt x="434" y="1881"/>
                  </a:lnTo>
                  <a:lnTo>
                    <a:pt x="435" y="1880"/>
                  </a:lnTo>
                  <a:lnTo>
                    <a:pt x="438" y="1876"/>
                  </a:lnTo>
                  <a:lnTo>
                    <a:pt x="442" y="1872"/>
                  </a:lnTo>
                  <a:lnTo>
                    <a:pt x="445" y="1871"/>
                  </a:lnTo>
                  <a:lnTo>
                    <a:pt x="449" y="1869"/>
                  </a:lnTo>
                  <a:lnTo>
                    <a:pt x="451" y="1869"/>
                  </a:lnTo>
                  <a:lnTo>
                    <a:pt x="454" y="1872"/>
                  </a:lnTo>
                  <a:lnTo>
                    <a:pt x="455" y="1872"/>
                  </a:lnTo>
                  <a:lnTo>
                    <a:pt x="456" y="1872"/>
                  </a:lnTo>
                  <a:lnTo>
                    <a:pt x="458" y="1877"/>
                  </a:lnTo>
                  <a:lnTo>
                    <a:pt x="459" y="1881"/>
                  </a:lnTo>
                  <a:lnTo>
                    <a:pt x="459" y="1882"/>
                  </a:lnTo>
                  <a:lnTo>
                    <a:pt x="459" y="1884"/>
                  </a:lnTo>
                  <a:lnTo>
                    <a:pt x="460" y="1885"/>
                  </a:lnTo>
                  <a:lnTo>
                    <a:pt x="460" y="1886"/>
                  </a:lnTo>
                  <a:lnTo>
                    <a:pt x="460" y="1888"/>
                  </a:lnTo>
                  <a:lnTo>
                    <a:pt x="462" y="1889"/>
                  </a:lnTo>
                  <a:lnTo>
                    <a:pt x="463" y="1889"/>
                  </a:lnTo>
                  <a:lnTo>
                    <a:pt x="463" y="1890"/>
                  </a:lnTo>
                  <a:lnTo>
                    <a:pt x="464" y="1892"/>
                  </a:lnTo>
                  <a:lnTo>
                    <a:pt x="464" y="1893"/>
                  </a:lnTo>
                  <a:lnTo>
                    <a:pt x="466" y="1894"/>
                  </a:lnTo>
                  <a:lnTo>
                    <a:pt x="466" y="1894"/>
                  </a:lnTo>
                  <a:lnTo>
                    <a:pt x="468" y="1894"/>
                  </a:lnTo>
                  <a:lnTo>
                    <a:pt x="469" y="1894"/>
                  </a:lnTo>
                  <a:lnTo>
                    <a:pt x="471" y="1896"/>
                  </a:lnTo>
                  <a:lnTo>
                    <a:pt x="473" y="1896"/>
                  </a:lnTo>
                  <a:lnTo>
                    <a:pt x="475" y="1897"/>
                  </a:lnTo>
                  <a:lnTo>
                    <a:pt x="479" y="1898"/>
                  </a:lnTo>
                  <a:lnTo>
                    <a:pt x="485" y="1898"/>
                  </a:lnTo>
                  <a:lnTo>
                    <a:pt x="492" y="1899"/>
                  </a:lnTo>
                  <a:lnTo>
                    <a:pt x="498" y="1899"/>
                  </a:lnTo>
                  <a:lnTo>
                    <a:pt x="501" y="1901"/>
                  </a:lnTo>
                  <a:lnTo>
                    <a:pt x="503" y="1901"/>
                  </a:lnTo>
                  <a:lnTo>
                    <a:pt x="506" y="1903"/>
                  </a:lnTo>
                  <a:lnTo>
                    <a:pt x="510" y="1905"/>
                  </a:lnTo>
                  <a:lnTo>
                    <a:pt x="511" y="1905"/>
                  </a:lnTo>
                  <a:lnTo>
                    <a:pt x="513" y="1905"/>
                  </a:lnTo>
                  <a:lnTo>
                    <a:pt x="515" y="1907"/>
                  </a:lnTo>
                  <a:lnTo>
                    <a:pt x="518" y="1910"/>
                  </a:lnTo>
                  <a:lnTo>
                    <a:pt x="519" y="1911"/>
                  </a:lnTo>
                  <a:lnTo>
                    <a:pt x="520" y="1913"/>
                  </a:lnTo>
                  <a:lnTo>
                    <a:pt x="520" y="1914"/>
                  </a:lnTo>
                  <a:lnTo>
                    <a:pt x="522" y="1916"/>
                  </a:lnTo>
                  <a:lnTo>
                    <a:pt x="524" y="1919"/>
                  </a:lnTo>
                  <a:lnTo>
                    <a:pt x="526" y="1923"/>
                  </a:lnTo>
                  <a:lnTo>
                    <a:pt x="527" y="1927"/>
                  </a:lnTo>
                  <a:lnTo>
                    <a:pt x="531" y="1933"/>
                  </a:lnTo>
                  <a:lnTo>
                    <a:pt x="534" y="1940"/>
                  </a:lnTo>
                  <a:lnTo>
                    <a:pt x="537" y="1944"/>
                  </a:lnTo>
                  <a:lnTo>
                    <a:pt x="541" y="1948"/>
                  </a:lnTo>
                  <a:lnTo>
                    <a:pt x="545" y="1948"/>
                  </a:lnTo>
                  <a:lnTo>
                    <a:pt x="548" y="1950"/>
                  </a:lnTo>
                  <a:lnTo>
                    <a:pt x="548" y="1950"/>
                  </a:lnTo>
                  <a:lnTo>
                    <a:pt x="548" y="1952"/>
                  </a:lnTo>
                  <a:lnTo>
                    <a:pt x="557" y="1953"/>
                  </a:lnTo>
                  <a:lnTo>
                    <a:pt x="568" y="1952"/>
                  </a:lnTo>
                  <a:lnTo>
                    <a:pt x="569" y="1952"/>
                  </a:lnTo>
                  <a:lnTo>
                    <a:pt x="569" y="1952"/>
                  </a:lnTo>
                  <a:lnTo>
                    <a:pt x="570" y="1950"/>
                  </a:lnTo>
                  <a:lnTo>
                    <a:pt x="575" y="1947"/>
                  </a:lnTo>
                  <a:lnTo>
                    <a:pt x="581" y="1945"/>
                  </a:lnTo>
                  <a:lnTo>
                    <a:pt x="582" y="1944"/>
                  </a:lnTo>
                  <a:lnTo>
                    <a:pt x="587" y="1940"/>
                  </a:lnTo>
                  <a:lnTo>
                    <a:pt x="590" y="1933"/>
                  </a:lnTo>
                  <a:lnTo>
                    <a:pt x="591" y="1933"/>
                  </a:lnTo>
                  <a:lnTo>
                    <a:pt x="592" y="1932"/>
                  </a:lnTo>
                  <a:lnTo>
                    <a:pt x="594" y="1931"/>
                  </a:lnTo>
                  <a:lnTo>
                    <a:pt x="594" y="1928"/>
                  </a:lnTo>
                  <a:lnTo>
                    <a:pt x="595" y="1923"/>
                  </a:lnTo>
                  <a:lnTo>
                    <a:pt x="598" y="1916"/>
                  </a:lnTo>
                  <a:lnTo>
                    <a:pt x="599" y="1914"/>
                  </a:lnTo>
                  <a:lnTo>
                    <a:pt x="600" y="1910"/>
                  </a:lnTo>
                  <a:lnTo>
                    <a:pt x="603" y="1909"/>
                  </a:lnTo>
                  <a:lnTo>
                    <a:pt x="605" y="1905"/>
                  </a:lnTo>
                  <a:lnTo>
                    <a:pt x="609" y="1896"/>
                  </a:lnTo>
                  <a:lnTo>
                    <a:pt x="615" y="1885"/>
                  </a:lnTo>
                  <a:lnTo>
                    <a:pt x="620" y="1875"/>
                  </a:lnTo>
                  <a:lnTo>
                    <a:pt x="622" y="1864"/>
                  </a:lnTo>
                  <a:lnTo>
                    <a:pt x="622" y="1863"/>
                  </a:lnTo>
                  <a:lnTo>
                    <a:pt x="624" y="1862"/>
                  </a:lnTo>
                  <a:lnTo>
                    <a:pt x="624" y="1862"/>
                  </a:lnTo>
                  <a:lnTo>
                    <a:pt x="624" y="1859"/>
                  </a:lnTo>
                  <a:lnTo>
                    <a:pt x="625" y="1855"/>
                  </a:lnTo>
                  <a:lnTo>
                    <a:pt x="626" y="1850"/>
                  </a:lnTo>
                  <a:lnTo>
                    <a:pt x="628" y="1850"/>
                  </a:lnTo>
                  <a:lnTo>
                    <a:pt x="628" y="1848"/>
                  </a:lnTo>
                  <a:lnTo>
                    <a:pt x="629" y="1847"/>
                  </a:lnTo>
                  <a:lnTo>
                    <a:pt x="629" y="1847"/>
                  </a:lnTo>
                  <a:lnTo>
                    <a:pt x="630" y="1846"/>
                  </a:lnTo>
                  <a:lnTo>
                    <a:pt x="630" y="1846"/>
                  </a:lnTo>
                  <a:lnTo>
                    <a:pt x="633" y="1846"/>
                  </a:lnTo>
                  <a:lnTo>
                    <a:pt x="643" y="1843"/>
                  </a:lnTo>
                  <a:lnTo>
                    <a:pt x="655" y="1842"/>
                  </a:lnTo>
                  <a:lnTo>
                    <a:pt x="698" y="1835"/>
                  </a:lnTo>
                  <a:lnTo>
                    <a:pt x="726" y="1831"/>
                  </a:lnTo>
                  <a:lnTo>
                    <a:pt x="731" y="1830"/>
                  </a:lnTo>
                  <a:lnTo>
                    <a:pt x="736" y="1826"/>
                  </a:lnTo>
                  <a:lnTo>
                    <a:pt x="742" y="1822"/>
                  </a:lnTo>
                  <a:lnTo>
                    <a:pt x="745" y="1817"/>
                  </a:lnTo>
                  <a:lnTo>
                    <a:pt x="751" y="1811"/>
                  </a:lnTo>
                  <a:lnTo>
                    <a:pt x="756" y="1801"/>
                  </a:lnTo>
                  <a:lnTo>
                    <a:pt x="761" y="1791"/>
                  </a:lnTo>
                  <a:lnTo>
                    <a:pt x="766" y="1778"/>
                  </a:lnTo>
                  <a:lnTo>
                    <a:pt x="820" y="1650"/>
                  </a:lnTo>
                  <a:lnTo>
                    <a:pt x="823" y="1646"/>
                  </a:lnTo>
                  <a:lnTo>
                    <a:pt x="828" y="1642"/>
                  </a:lnTo>
                  <a:lnTo>
                    <a:pt x="833" y="1639"/>
                  </a:lnTo>
                  <a:lnTo>
                    <a:pt x="840" y="1637"/>
                  </a:lnTo>
                  <a:lnTo>
                    <a:pt x="854" y="1631"/>
                  </a:lnTo>
                  <a:lnTo>
                    <a:pt x="866" y="1626"/>
                  </a:lnTo>
                  <a:lnTo>
                    <a:pt x="871" y="1623"/>
                  </a:lnTo>
                  <a:lnTo>
                    <a:pt x="874" y="1618"/>
                  </a:lnTo>
                  <a:lnTo>
                    <a:pt x="876" y="1614"/>
                  </a:lnTo>
                  <a:lnTo>
                    <a:pt x="878" y="1609"/>
                  </a:lnTo>
                  <a:lnTo>
                    <a:pt x="878" y="1597"/>
                  </a:lnTo>
                  <a:lnTo>
                    <a:pt x="878" y="1584"/>
                  </a:lnTo>
                  <a:lnTo>
                    <a:pt x="878" y="1571"/>
                  </a:lnTo>
                  <a:lnTo>
                    <a:pt x="880" y="1559"/>
                  </a:lnTo>
                  <a:lnTo>
                    <a:pt x="883" y="1554"/>
                  </a:lnTo>
                  <a:lnTo>
                    <a:pt x="887" y="1549"/>
                  </a:lnTo>
                  <a:lnTo>
                    <a:pt x="891" y="1544"/>
                  </a:lnTo>
                  <a:lnTo>
                    <a:pt x="897" y="1540"/>
                  </a:lnTo>
                  <a:lnTo>
                    <a:pt x="919" y="1528"/>
                  </a:lnTo>
                  <a:lnTo>
                    <a:pt x="938" y="1520"/>
                  </a:lnTo>
                  <a:lnTo>
                    <a:pt x="942" y="1520"/>
                  </a:lnTo>
                  <a:lnTo>
                    <a:pt x="947" y="1519"/>
                  </a:lnTo>
                  <a:lnTo>
                    <a:pt x="951" y="1520"/>
                  </a:lnTo>
                  <a:lnTo>
                    <a:pt x="955" y="1521"/>
                  </a:lnTo>
                  <a:lnTo>
                    <a:pt x="959" y="1524"/>
                  </a:lnTo>
                  <a:lnTo>
                    <a:pt x="963" y="1527"/>
                  </a:lnTo>
                  <a:lnTo>
                    <a:pt x="965" y="1532"/>
                  </a:lnTo>
                  <a:lnTo>
                    <a:pt x="969" y="1537"/>
                  </a:lnTo>
                  <a:lnTo>
                    <a:pt x="977" y="1550"/>
                  </a:lnTo>
                  <a:lnTo>
                    <a:pt x="991" y="1570"/>
                  </a:lnTo>
                  <a:lnTo>
                    <a:pt x="999" y="1579"/>
                  </a:lnTo>
                  <a:lnTo>
                    <a:pt x="1007" y="1584"/>
                  </a:lnTo>
                  <a:lnTo>
                    <a:pt x="1011" y="1586"/>
                  </a:lnTo>
                  <a:lnTo>
                    <a:pt x="1015" y="1586"/>
                  </a:lnTo>
                  <a:lnTo>
                    <a:pt x="1019" y="1586"/>
                  </a:lnTo>
                  <a:lnTo>
                    <a:pt x="1023" y="1583"/>
                  </a:lnTo>
                  <a:lnTo>
                    <a:pt x="1046" y="1553"/>
                  </a:lnTo>
                  <a:lnTo>
                    <a:pt x="1067" y="1525"/>
                  </a:lnTo>
                  <a:lnTo>
                    <a:pt x="1074" y="1521"/>
                  </a:lnTo>
                  <a:lnTo>
                    <a:pt x="1080" y="1517"/>
                  </a:lnTo>
                  <a:lnTo>
                    <a:pt x="1087" y="1515"/>
                  </a:lnTo>
                  <a:lnTo>
                    <a:pt x="1095" y="1514"/>
                  </a:lnTo>
                  <a:lnTo>
                    <a:pt x="1103" y="1515"/>
                  </a:lnTo>
                  <a:lnTo>
                    <a:pt x="1112" y="1516"/>
                  </a:lnTo>
                  <a:lnTo>
                    <a:pt x="1122" y="1521"/>
                  </a:lnTo>
                  <a:lnTo>
                    <a:pt x="1134" y="1528"/>
                  </a:lnTo>
                  <a:lnTo>
                    <a:pt x="1144" y="1532"/>
                  </a:lnTo>
                  <a:lnTo>
                    <a:pt x="1156" y="1536"/>
                  </a:lnTo>
                  <a:lnTo>
                    <a:pt x="1169" y="1538"/>
                  </a:lnTo>
                  <a:lnTo>
                    <a:pt x="1185" y="1540"/>
                  </a:lnTo>
                  <a:lnTo>
                    <a:pt x="1199" y="1540"/>
                  </a:lnTo>
                  <a:lnTo>
                    <a:pt x="1214" y="1538"/>
                  </a:lnTo>
                  <a:lnTo>
                    <a:pt x="1227" y="1536"/>
                  </a:lnTo>
                  <a:lnTo>
                    <a:pt x="1237" y="1532"/>
                  </a:lnTo>
                  <a:lnTo>
                    <a:pt x="1246" y="1527"/>
                  </a:lnTo>
                  <a:lnTo>
                    <a:pt x="1254" y="1519"/>
                  </a:lnTo>
                  <a:lnTo>
                    <a:pt x="1259" y="1510"/>
                  </a:lnTo>
                  <a:lnTo>
                    <a:pt x="1263" y="1502"/>
                  </a:lnTo>
                  <a:lnTo>
                    <a:pt x="1265" y="1497"/>
                  </a:lnTo>
                  <a:lnTo>
                    <a:pt x="1265" y="1493"/>
                  </a:lnTo>
                  <a:lnTo>
                    <a:pt x="1263" y="1489"/>
                  </a:lnTo>
                  <a:lnTo>
                    <a:pt x="1262" y="1485"/>
                  </a:lnTo>
                  <a:lnTo>
                    <a:pt x="1258" y="1481"/>
                  </a:lnTo>
                  <a:lnTo>
                    <a:pt x="1256" y="1478"/>
                  </a:lnTo>
                  <a:lnTo>
                    <a:pt x="1250" y="1476"/>
                  </a:lnTo>
                  <a:lnTo>
                    <a:pt x="1245" y="1473"/>
                  </a:lnTo>
                  <a:lnTo>
                    <a:pt x="1239" y="1470"/>
                  </a:lnTo>
                  <a:lnTo>
                    <a:pt x="1235" y="1468"/>
                  </a:lnTo>
                  <a:lnTo>
                    <a:pt x="1231" y="1463"/>
                  </a:lnTo>
                  <a:lnTo>
                    <a:pt x="1228" y="1457"/>
                  </a:lnTo>
                  <a:lnTo>
                    <a:pt x="1225" y="1451"/>
                  </a:lnTo>
                  <a:lnTo>
                    <a:pt x="1225" y="1444"/>
                  </a:lnTo>
                  <a:lnTo>
                    <a:pt x="1224" y="1438"/>
                  </a:lnTo>
                  <a:lnTo>
                    <a:pt x="1224" y="1430"/>
                  </a:lnTo>
                  <a:lnTo>
                    <a:pt x="1225" y="1415"/>
                  </a:lnTo>
                  <a:lnTo>
                    <a:pt x="1229" y="1402"/>
                  </a:lnTo>
                  <a:lnTo>
                    <a:pt x="1232" y="1397"/>
                  </a:lnTo>
                  <a:lnTo>
                    <a:pt x="1235" y="1392"/>
                  </a:lnTo>
                  <a:lnTo>
                    <a:pt x="1239" y="1388"/>
                  </a:lnTo>
                  <a:lnTo>
                    <a:pt x="1241" y="1385"/>
                  </a:lnTo>
                  <a:lnTo>
                    <a:pt x="1269" y="1378"/>
                  </a:lnTo>
                  <a:lnTo>
                    <a:pt x="1301" y="1370"/>
                  </a:lnTo>
                  <a:lnTo>
                    <a:pt x="1308" y="1367"/>
                  </a:lnTo>
                  <a:lnTo>
                    <a:pt x="1314" y="1364"/>
                  </a:lnTo>
                  <a:lnTo>
                    <a:pt x="1320" y="1359"/>
                  </a:lnTo>
                  <a:lnTo>
                    <a:pt x="1324" y="1354"/>
                  </a:lnTo>
                  <a:lnTo>
                    <a:pt x="1326" y="1347"/>
                  </a:lnTo>
                  <a:lnTo>
                    <a:pt x="1327" y="1340"/>
                  </a:lnTo>
                  <a:lnTo>
                    <a:pt x="1326" y="1330"/>
                  </a:lnTo>
                  <a:lnTo>
                    <a:pt x="1322" y="1320"/>
                  </a:lnTo>
                  <a:lnTo>
                    <a:pt x="1310" y="1293"/>
                  </a:lnTo>
                  <a:lnTo>
                    <a:pt x="1299" y="1266"/>
                  </a:lnTo>
                  <a:lnTo>
                    <a:pt x="1297" y="1260"/>
                  </a:lnTo>
                  <a:lnTo>
                    <a:pt x="1297" y="1255"/>
                  </a:lnTo>
                  <a:lnTo>
                    <a:pt x="1299" y="1251"/>
                  </a:lnTo>
                  <a:lnTo>
                    <a:pt x="1301" y="1247"/>
                  </a:lnTo>
                  <a:lnTo>
                    <a:pt x="1307" y="1243"/>
                  </a:lnTo>
                  <a:lnTo>
                    <a:pt x="1313" y="1241"/>
                  </a:lnTo>
                  <a:lnTo>
                    <a:pt x="1322" y="1241"/>
                  </a:lnTo>
                  <a:lnTo>
                    <a:pt x="1334" y="1241"/>
                  </a:lnTo>
                  <a:lnTo>
                    <a:pt x="1348" y="1243"/>
                  </a:lnTo>
                  <a:lnTo>
                    <a:pt x="1363" y="1241"/>
                  </a:lnTo>
                  <a:lnTo>
                    <a:pt x="1376" y="1240"/>
                  </a:lnTo>
                  <a:lnTo>
                    <a:pt x="1389" y="1238"/>
                  </a:lnTo>
                  <a:lnTo>
                    <a:pt x="1402" y="1235"/>
                  </a:lnTo>
                  <a:lnTo>
                    <a:pt x="1416" y="1234"/>
                  </a:lnTo>
                  <a:lnTo>
                    <a:pt x="1430" y="1231"/>
                  </a:lnTo>
                  <a:lnTo>
                    <a:pt x="1444" y="1231"/>
                  </a:lnTo>
                  <a:lnTo>
                    <a:pt x="1452" y="1231"/>
                  </a:lnTo>
                  <a:lnTo>
                    <a:pt x="1457" y="1232"/>
                  </a:lnTo>
                  <a:lnTo>
                    <a:pt x="1461" y="1235"/>
                  </a:lnTo>
                  <a:lnTo>
                    <a:pt x="1465" y="1238"/>
                  </a:lnTo>
                  <a:lnTo>
                    <a:pt x="1469" y="1244"/>
                  </a:lnTo>
                  <a:lnTo>
                    <a:pt x="1473" y="1251"/>
                  </a:lnTo>
                  <a:lnTo>
                    <a:pt x="1475" y="1258"/>
                  </a:lnTo>
                  <a:lnTo>
                    <a:pt x="1479" y="1265"/>
                  </a:lnTo>
                  <a:lnTo>
                    <a:pt x="1483" y="1266"/>
                  </a:lnTo>
                  <a:lnTo>
                    <a:pt x="1487" y="1269"/>
                  </a:lnTo>
                  <a:lnTo>
                    <a:pt x="1494" y="1270"/>
                  </a:lnTo>
                  <a:lnTo>
                    <a:pt x="1500" y="1270"/>
                  </a:lnTo>
                  <a:lnTo>
                    <a:pt x="1518" y="1273"/>
                  </a:lnTo>
                  <a:lnTo>
                    <a:pt x="1538" y="1277"/>
                  </a:lnTo>
                  <a:lnTo>
                    <a:pt x="1559" y="1282"/>
                  </a:lnTo>
                  <a:lnTo>
                    <a:pt x="1579" y="1289"/>
                  </a:lnTo>
                  <a:lnTo>
                    <a:pt x="1598" y="1295"/>
                  </a:lnTo>
                  <a:lnTo>
                    <a:pt x="1617" y="1299"/>
                  </a:lnTo>
                  <a:lnTo>
                    <a:pt x="1624" y="1300"/>
                  </a:lnTo>
                  <a:lnTo>
                    <a:pt x="1632" y="1300"/>
                  </a:lnTo>
                  <a:lnTo>
                    <a:pt x="1639" y="1300"/>
                  </a:lnTo>
                  <a:lnTo>
                    <a:pt x="1645" y="1299"/>
                  </a:lnTo>
                  <a:lnTo>
                    <a:pt x="1657" y="1295"/>
                  </a:lnTo>
                  <a:lnTo>
                    <a:pt x="1671" y="1293"/>
                  </a:lnTo>
                  <a:lnTo>
                    <a:pt x="1686" y="1291"/>
                  </a:lnTo>
                  <a:lnTo>
                    <a:pt x="1702" y="1291"/>
                  </a:lnTo>
                  <a:lnTo>
                    <a:pt x="1736" y="1294"/>
                  </a:lnTo>
                  <a:lnTo>
                    <a:pt x="1770" y="1296"/>
                  </a:lnTo>
                  <a:lnTo>
                    <a:pt x="1788" y="1298"/>
                  </a:lnTo>
                  <a:lnTo>
                    <a:pt x="1805" y="1299"/>
                  </a:lnTo>
                  <a:lnTo>
                    <a:pt x="1821" y="1299"/>
                  </a:lnTo>
                  <a:lnTo>
                    <a:pt x="1836" y="1298"/>
                  </a:lnTo>
                  <a:lnTo>
                    <a:pt x="1851" y="1295"/>
                  </a:lnTo>
                  <a:lnTo>
                    <a:pt x="1865" y="1291"/>
                  </a:lnTo>
                  <a:lnTo>
                    <a:pt x="1877" y="1286"/>
                  </a:lnTo>
                  <a:lnTo>
                    <a:pt x="1889" y="1279"/>
                  </a:lnTo>
                  <a:lnTo>
                    <a:pt x="2002" y="1184"/>
                  </a:lnTo>
                  <a:lnTo>
                    <a:pt x="2009" y="1180"/>
                  </a:lnTo>
                  <a:lnTo>
                    <a:pt x="2015" y="1179"/>
                  </a:lnTo>
                  <a:lnTo>
                    <a:pt x="2022" y="1179"/>
                  </a:lnTo>
                  <a:lnTo>
                    <a:pt x="2029" y="1179"/>
                  </a:lnTo>
                  <a:lnTo>
                    <a:pt x="2036" y="1180"/>
                  </a:lnTo>
                  <a:lnTo>
                    <a:pt x="2044" y="1180"/>
                  </a:lnTo>
                  <a:lnTo>
                    <a:pt x="2052" y="1179"/>
                  </a:lnTo>
                  <a:lnTo>
                    <a:pt x="2060" y="1177"/>
                  </a:lnTo>
                  <a:lnTo>
                    <a:pt x="2074" y="1171"/>
                  </a:lnTo>
                  <a:lnTo>
                    <a:pt x="2093" y="1160"/>
                  </a:lnTo>
                  <a:lnTo>
                    <a:pt x="2111" y="1151"/>
                  </a:lnTo>
                  <a:lnTo>
                    <a:pt x="2123" y="1143"/>
                  </a:lnTo>
                  <a:lnTo>
                    <a:pt x="2132" y="1139"/>
                  </a:lnTo>
                  <a:lnTo>
                    <a:pt x="2141" y="1136"/>
                  </a:lnTo>
                  <a:lnTo>
                    <a:pt x="2153" y="1133"/>
                  </a:lnTo>
                  <a:lnTo>
                    <a:pt x="2165" y="1132"/>
                  </a:lnTo>
                  <a:lnTo>
                    <a:pt x="2178" y="1130"/>
                  </a:lnTo>
                  <a:lnTo>
                    <a:pt x="2191" y="1129"/>
                  </a:lnTo>
                  <a:lnTo>
                    <a:pt x="2205" y="1129"/>
                  </a:lnTo>
                  <a:lnTo>
                    <a:pt x="2218" y="1130"/>
                  </a:lnTo>
                  <a:lnTo>
                    <a:pt x="2246" y="1133"/>
                  </a:lnTo>
                  <a:lnTo>
                    <a:pt x="2271" y="1138"/>
                  </a:lnTo>
                  <a:lnTo>
                    <a:pt x="2281" y="1141"/>
                  </a:lnTo>
                  <a:lnTo>
                    <a:pt x="2290" y="1145"/>
                  </a:lnTo>
                  <a:lnTo>
                    <a:pt x="2298" y="1149"/>
                  </a:lnTo>
                  <a:lnTo>
                    <a:pt x="2305" y="1154"/>
                  </a:lnTo>
                  <a:lnTo>
                    <a:pt x="2312" y="1159"/>
                  </a:lnTo>
                  <a:lnTo>
                    <a:pt x="2320" y="1164"/>
                  </a:lnTo>
                  <a:lnTo>
                    <a:pt x="2328" y="1167"/>
                  </a:lnTo>
                  <a:lnTo>
                    <a:pt x="2336" y="1170"/>
                  </a:lnTo>
                  <a:lnTo>
                    <a:pt x="2344" y="1170"/>
                  </a:lnTo>
                  <a:lnTo>
                    <a:pt x="2352" y="1170"/>
                  </a:lnTo>
                  <a:lnTo>
                    <a:pt x="2359" y="1170"/>
                  </a:lnTo>
                  <a:lnTo>
                    <a:pt x="2367" y="1168"/>
                  </a:lnTo>
                  <a:lnTo>
                    <a:pt x="2384" y="1166"/>
                  </a:lnTo>
                  <a:lnTo>
                    <a:pt x="2400" y="1162"/>
                  </a:lnTo>
                  <a:lnTo>
                    <a:pt x="2409" y="1162"/>
                  </a:lnTo>
                  <a:lnTo>
                    <a:pt x="2418" y="1162"/>
                  </a:lnTo>
                  <a:lnTo>
                    <a:pt x="2428" y="1162"/>
                  </a:lnTo>
                  <a:lnTo>
                    <a:pt x="2437" y="1163"/>
                  </a:lnTo>
                  <a:lnTo>
                    <a:pt x="2459" y="1164"/>
                  </a:lnTo>
                  <a:lnTo>
                    <a:pt x="2493" y="1164"/>
                  </a:lnTo>
                  <a:lnTo>
                    <a:pt x="2509" y="1163"/>
                  </a:lnTo>
                  <a:lnTo>
                    <a:pt x="2523" y="1163"/>
                  </a:lnTo>
                  <a:lnTo>
                    <a:pt x="2533" y="1163"/>
                  </a:lnTo>
                  <a:lnTo>
                    <a:pt x="2539" y="1166"/>
                  </a:lnTo>
                  <a:lnTo>
                    <a:pt x="2549" y="1172"/>
                  </a:lnTo>
                  <a:lnTo>
                    <a:pt x="2558" y="1179"/>
                  </a:lnTo>
                  <a:lnTo>
                    <a:pt x="2567" y="1184"/>
                  </a:lnTo>
                  <a:lnTo>
                    <a:pt x="2577" y="1188"/>
                  </a:lnTo>
                  <a:lnTo>
                    <a:pt x="2586" y="1190"/>
                  </a:lnTo>
                  <a:lnTo>
                    <a:pt x="2595" y="1192"/>
                  </a:lnTo>
                  <a:lnTo>
                    <a:pt x="2603" y="1193"/>
                  </a:lnTo>
                  <a:lnTo>
                    <a:pt x="2612" y="1194"/>
                  </a:lnTo>
                  <a:lnTo>
                    <a:pt x="2629" y="1193"/>
                  </a:lnTo>
                  <a:lnTo>
                    <a:pt x="2646" y="1189"/>
                  </a:lnTo>
                  <a:lnTo>
                    <a:pt x="2663" y="1183"/>
                  </a:lnTo>
                  <a:lnTo>
                    <a:pt x="2680" y="1175"/>
                  </a:lnTo>
                  <a:lnTo>
                    <a:pt x="2714" y="1156"/>
                  </a:lnTo>
                  <a:lnTo>
                    <a:pt x="2749" y="1137"/>
                  </a:lnTo>
                  <a:lnTo>
                    <a:pt x="2768" y="1126"/>
                  </a:lnTo>
                  <a:lnTo>
                    <a:pt x="2787" y="1119"/>
                  </a:lnTo>
                  <a:lnTo>
                    <a:pt x="2807" y="1111"/>
                  </a:lnTo>
                  <a:lnTo>
                    <a:pt x="2826" y="1105"/>
                  </a:lnTo>
                  <a:lnTo>
                    <a:pt x="2836" y="1104"/>
                  </a:lnTo>
                  <a:lnTo>
                    <a:pt x="2876" y="1088"/>
                  </a:lnTo>
                  <a:lnTo>
                    <a:pt x="2807" y="1086"/>
                  </a:lnTo>
                  <a:lnTo>
                    <a:pt x="2794" y="1086"/>
                  </a:lnTo>
                  <a:lnTo>
                    <a:pt x="2779" y="1086"/>
                  </a:lnTo>
                  <a:lnTo>
                    <a:pt x="2772" y="1085"/>
                  </a:lnTo>
                  <a:lnTo>
                    <a:pt x="2766" y="1083"/>
                  </a:lnTo>
                  <a:lnTo>
                    <a:pt x="2764" y="1082"/>
                  </a:lnTo>
                  <a:lnTo>
                    <a:pt x="2762" y="1079"/>
                  </a:lnTo>
                  <a:lnTo>
                    <a:pt x="2761" y="1077"/>
                  </a:lnTo>
                  <a:lnTo>
                    <a:pt x="2760" y="1074"/>
                  </a:lnTo>
                  <a:lnTo>
                    <a:pt x="2760" y="1066"/>
                  </a:lnTo>
                  <a:lnTo>
                    <a:pt x="2758" y="1058"/>
                  </a:lnTo>
                  <a:lnTo>
                    <a:pt x="2758" y="1051"/>
                  </a:lnTo>
                  <a:lnTo>
                    <a:pt x="2760" y="1043"/>
                  </a:lnTo>
                  <a:lnTo>
                    <a:pt x="2766" y="1034"/>
                  </a:lnTo>
                  <a:lnTo>
                    <a:pt x="2774" y="1024"/>
                  </a:lnTo>
                  <a:lnTo>
                    <a:pt x="2783" y="1015"/>
                  </a:lnTo>
                  <a:lnTo>
                    <a:pt x="2794" y="1007"/>
                  </a:lnTo>
                  <a:lnTo>
                    <a:pt x="2815" y="992"/>
                  </a:lnTo>
                  <a:lnTo>
                    <a:pt x="2833" y="976"/>
                  </a:lnTo>
                  <a:lnTo>
                    <a:pt x="2862" y="947"/>
                  </a:lnTo>
                  <a:lnTo>
                    <a:pt x="2826" y="935"/>
                  </a:lnTo>
                  <a:lnTo>
                    <a:pt x="2825" y="934"/>
                  </a:lnTo>
                  <a:lnTo>
                    <a:pt x="2825" y="933"/>
                  </a:lnTo>
                  <a:lnTo>
                    <a:pt x="2824" y="933"/>
                  </a:lnTo>
                  <a:lnTo>
                    <a:pt x="2824" y="933"/>
                  </a:lnTo>
                  <a:lnTo>
                    <a:pt x="2823" y="931"/>
                  </a:lnTo>
                  <a:lnTo>
                    <a:pt x="2821" y="931"/>
                  </a:lnTo>
                  <a:lnTo>
                    <a:pt x="2817" y="931"/>
                  </a:lnTo>
                  <a:lnTo>
                    <a:pt x="2811" y="928"/>
                  </a:lnTo>
                  <a:lnTo>
                    <a:pt x="2804" y="922"/>
                  </a:lnTo>
                  <a:lnTo>
                    <a:pt x="2800" y="916"/>
                  </a:lnTo>
                  <a:lnTo>
                    <a:pt x="2798" y="905"/>
                  </a:lnTo>
                  <a:lnTo>
                    <a:pt x="2796" y="900"/>
                  </a:lnTo>
                  <a:lnTo>
                    <a:pt x="2796" y="896"/>
                  </a:lnTo>
                  <a:lnTo>
                    <a:pt x="2798" y="892"/>
                  </a:lnTo>
                  <a:lnTo>
                    <a:pt x="2799" y="890"/>
                  </a:lnTo>
                  <a:lnTo>
                    <a:pt x="2802" y="884"/>
                  </a:lnTo>
                  <a:lnTo>
                    <a:pt x="2804" y="874"/>
                  </a:lnTo>
                  <a:lnTo>
                    <a:pt x="2806" y="869"/>
                  </a:lnTo>
                  <a:lnTo>
                    <a:pt x="2806" y="863"/>
                  </a:lnTo>
                  <a:lnTo>
                    <a:pt x="2804" y="860"/>
                  </a:lnTo>
                  <a:lnTo>
                    <a:pt x="2803" y="857"/>
                  </a:lnTo>
                  <a:lnTo>
                    <a:pt x="2800" y="854"/>
                  </a:lnTo>
                  <a:lnTo>
                    <a:pt x="2799" y="852"/>
                  </a:lnTo>
                  <a:lnTo>
                    <a:pt x="2796" y="849"/>
                  </a:lnTo>
                  <a:lnTo>
                    <a:pt x="2794" y="846"/>
                  </a:lnTo>
                  <a:lnTo>
                    <a:pt x="2786" y="844"/>
                  </a:lnTo>
                  <a:lnTo>
                    <a:pt x="2772" y="840"/>
                  </a:lnTo>
                  <a:lnTo>
                    <a:pt x="2758" y="836"/>
                  </a:lnTo>
                  <a:lnTo>
                    <a:pt x="2752" y="833"/>
                  </a:lnTo>
                  <a:lnTo>
                    <a:pt x="2749" y="832"/>
                  </a:lnTo>
                  <a:lnTo>
                    <a:pt x="2747" y="831"/>
                  </a:lnTo>
                  <a:lnTo>
                    <a:pt x="2744" y="831"/>
                  </a:lnTo>
                  <a:lnTo>
                    <a:pt x="2743" y="831"/>
                  </a:lnTo>
                  <a:lnTo>
                    <a:pt x="2741" y="828"/>
                  </a:lnTo>
                  <a:lnTo>
                    <a:pt x="2739" y="826"/>
                  </a:lnTo>
                  <a:lnTo>
                    <a:pt x="2738" y="824"/>
                  </a:lnTo>
                  <a:lnTo>
                    <a:pt x="2736" y="823"/>
                  </a:lnTo>
                  <a:lnTo>
                    <a:pt x="2736" y="818"/>
                  </a:lnTo>
                  <a:lnTo>
                    <a:pt x="2738" y="816"/>
                  </a:lnTo>
                  <a:lnTo>
                    <a:pt x="2739" y="816"/>
                  </a:lnTo>
                  <a:lnTo>
                    <a:pt x="2740" y="815"/>
                  </a:lnTo>
                  <a:lnTo>
                    <a:pt x="2740" y="814"/>
                  </a:lnTo>
                  <a:lnTo>
                    <a:pt x="2740" y="812"/>
                  </a:lnTo>
                  <a:lnTo>
                    <a:pt x="2740" y="812"/>
                  </a:lnTo>
                  <a:lnTo>
                    <a:pt x="2741" y="811"/>
                  </a:lnTo>
                  <a:lnTo>
                    <a:pt x="2743" y="810"/>
                  </a:lnTo>
                  <a:lnTo>
                    <a:pt x="2743" y="809"/>
                  </a:lnTo>
                  <a:lnTo>
                    <a:pt x="2745" y="799"/>
                  </a:lnTo>
                  <a:lnTo>
                    <a:pt x="2748" y="790"/>
                  </a:lnTo>
                  <a:lnTo>
                    <a:pt x="2748" y="789"/>
                  </a:lnTo>
                  <a:lnTo>
                    <a:pt x="2748" y="786"/>
                  </a:lnTo>
                  <a:lnTo>
                    <a:pt x="2744" y="780"/>
                  </a:lnTo>
                  <a:lnTo>
                    <a:pt x="2740" y="777"/>
                  </a:lnTo>
                  <a:lnTo>
                    <a:pt x="2739" y="776"/>
                  </a:lnTo>
                  <a:lnTo>
                    <a:pt x="2739" y="776"/>
                  </a:lnTo>
                  <a:lnTo>
                    <a:pt x="2735" y="775"/>
                  </a:lnTo>
                  <a:lnTo>
                    <a:pt x="2732" y="775"/>
                  </a:lnTo>
                  <a:lnTo>
                    <a:pt x="2710" y="772"/>
                  </a:lnTo>
                  <a:lnTo>
                    <a:pt x="2693" y="771"/>
                  </a:lnTo>
                  <a:lnTo>
                    <a:pt x="2675" y="771"/>
                  </a:lnTo>
                  <a:lnTo>
                    <a:pt x="2658" y="773"/>
                  </a:lnTo>
                  <a:lnTo>
                    <a:pt x="2649" y="776"/>
                  </a:lnTo>
                  <a:lnTo>
                    <a:pt x="2641" y="778"/>
                  </a:lnTo>
                  <a:lnTo>
                    <a:pt x="2638" y="781"/>
                  </a:lnTo>
                  <a:lnTo>
                    <a:pt x="2635" y="785"/>
                  </a:lnTo>
                  <a:lnTo>
                    <a:pt x="2634" y="786"/>
                  </a:lnTo>
                  <a:lnTo>
                    <a:pt x="2633" y="788"/>
                  </a:lnTo>
                  <a:lnTo>
                    <a:pt x="2632" y="788"/>
                  </a:lnTo>
                  <a:lnTo>
                    <a:pt x="2630" y="788"/>
                  </a:lnTo>
                  <a:lnTo>
                    <a:pt x="2621" y="794"/>
                  </a:lnTo>
                  <a:lnTo>
                    <a:pt x="2609" y="801"/>
                  </a:lnTo>
                  <a:lnTo>
                    <a:pt x="2603" y="802"/>
                  </a:lnTo>
                  <a:lnTo>
                    <a:pt x="2594" y="802"/>
                  </a:lnTo>
                  <a:lnTo>
                    <a:pt x="2583" y="801"/>
                  </a:lnTo>
                  <a:lnTo>
                    <a:pt x="2578" y="799"/>
                  </a:lnTo>
                  <a:lnTo>
                    <a:pt x="2577" y="798"/>
                  </a:lnTo>
                  <a:lnTo>
                    <a:pt x="2577" y="798"/>
                  </a:lnTo>
                  <a:lnTo>
                    <a:pt x="2575" y="798"/>
                  </a:lnTo>
                  <a:lnTo>
                    <a:pt x="2574" y="797"/>
                  </a:lnTo>
                  <a:lnTo>
                    <a:pt x="2573" y="797"/>
                  </a:lnTo>
                  <a:lnTo>
                    <a:pt x="2571" y="797"/>
                  </a:lnTo>
                  <a:lnTo>
                    <a:pt x="2571" y="795"/>
                  </a:lnTo>
                  <a:lnTo>
                    <a:pt x="2570" y="795"/>
                  </a:lnTo>
                  <a:lnTo>
                    <a:pt x="2569" y="795"/>
                  </a:lnTo>
                  <a:lnTo>
                    <a:pt x="2569" y="794"/>
                  </a:lnTo>
                  <a:lnTo>
                    <a:pt x="2567" y="794"/>
                  </a:lnTo>
                  <a:lnTo>
                    <a:pt x="2566" y="794"/>
                  </a:lnTo>
                  <a:lnTo>
                    <a:pt x="2557" y="792"/>
                  </a:lnTo>
                  <a:lnTo>
                    <a:pt x="2549" y="790"/>
                  </a:lnTo>
                  <a:lnTo>
                    <a:pt x="2533" y="788"/>
                  </a:lnTo>
                  <a:lnTo>
                    <a:pt x="2510" y="786"/>
                  </a:lnTo>
                  <a:lnTo>
                    <a:pt x="2488" y="784"/>
                  </a:lnTo>
                  <a:lnTo>
                    <a:pt x="2473" y="782"/>
                  </a:lnTo>
                  <a:lnTo>
                    <a:pt x="2472" y="782"/>
                  </a:lnTo>
                  <a:lnTo>
                    <a:pt x="2468" y="781"/>
                  </a:lnTo>
                  <a:lnTo>
                    <a:pt x="2467" y="778"/>
                  </a:lnTo>
                  <a:lnTo>
                    <a:pt x="2465" y="776"/>
                  </a:lnTo>
                  <a:lnTo>
                    <a:pt x="2464" y="776"/>
                  </a:lnTo>
                  <a:lnTo>
                    <a:pt x="2463" y="776"/>
                  </a:lnTo>
                  <a:lnTo>
                    <a:pt x="2456" y="769"/>
                  </a:lnTo>
                  <a:lnTo>
                    <a:pt x="2450" y="761"/>
                  </a:lnTo>
                  <a:lnTo>
                    <a:pt x="2405" y="737"/>
                  </a:lnTo>
                  <a:lnTo>
                    <a:pt x="2370" y="738"/>
                  </a:lnTo>
                  <a:lnTo>
                    <a:pt x="2352" y="739"/>
                  </a:lnTo>
                  <a:lnTo>
                    <a:pt x="2333" y="739"/>
                  </a:lnTo>
                  <a:lnTo>
                    <a:pt x="2316" y="738"/>
                  </a:lnTo>
                  <a:lnTo>
                    <a:pt x="2301" y="735"/>
                  </a:lnTo>
                  <a:lnTo>
                    <a:pt x="2299" y="727"/>
                  </a:lnTo>
                  <a:lnTo>
                    <a:pt x="2301" y="709"/>
                  </a:lnTo>
                  <a:lnTo>
                    <a:pt x="2303" y="691"/>
                  </a:lnTo>
                  <a:lnTo>
                    <a:pt x="2305" y="678"/>
                  </a:lnTo>
                  <a:lnTo>
                    <a:pt x="2306" y="670"/>
                  </a:lnTo>
                  <a:lnTo>
                    <a:pt x="2307" y="663"/>
                  </a:lnTo>
                  <a:lnTo>
                    <a:pt x="2306" y="658"/>
                  </a:lnTo>
                  <a:lnTo>
                    <a:pt x="2305" y="655"/>
                  </a:lnTo>
                  <a:lnTo>
                    <a:pt x="2298" y="652"/>
                  </a:lnTo>
                  <a:lnTo>
                    <a:pt x="2286" y="649"/>
                  </a:lnTo>
                  <a:lnTo>
                    <a:pt x="2272" y="645"/>
                  </a:lnTo>
                  <a:lnTo>
                    <a:pt x="2261" y="640"/>
                  </a:lnTo>
                  <a:lnTo>
                    <a:pt x="2254" y="632"/>
                  </a:lnTo>
                  <a:lnTo>
                    <a:pt x="2244" y="623"/>
                  </a:lnTo>
                  <a:lnTo>
                    <a:pt x="2234" y="612"/>
                  </a:lnTo>
                  <a:lnTo>
                    <a:pt x="2221" y="599"/>
                  </a:lnTo>
                  <a:lnTo>
                    <a:pt x="2206" y="586"/>
                  </a:lnTo>
                  <a:lnTo>
                    <a:pt x="2195" y="577"/>
                  </a:lnTo>
                  <a:lnTo>
                    <a:pt x="2150" y="535"/>
                  </a:lnTo>
                  <a:lnTo>
                    <a:pt x="2097" y="529"/>
                  </a:lnTo>
                  <a:lnTo>
                    <a:pt x="2089" y="526"/>
                  </a:lnTo>
                  <a:lnTo>
                    <a:pt x="2081" y="523"/>
                  </a:lnTo>
                  <a:lnTo>
                    <a:pt x="2080" y="522"/>
                  </a:lnTo>
                  <a:lnTo>
                    <a:pt x="2080" y="522"/>
                  </a:lnTo>
                  <a:lnTo>
                    <a:pt x="2078" y="522"/>
                  </a:lnTo>
                  <a:lnTo>
                    <a:pt x="2078" y="521"/>
                  </a:lnTo>
                  <a:lnTo>
                    <a:pt x="2077" y="521"/>
                  </a:lnTo>
                  <a:lnTo>
                    <a:pt x="2076" y="521"/>
                  </a:lnTo>
                  <a:lnTo>
                    <a:pt x="2072" y="519"/>
                  </a:lnTo>
                  <a:lnTo>
                    <a:pt x="2069" y="518"/>
                  </a:lnTo>
                  <a:lnTo>
                    <a:pt x="2068" y="518"/>
                  </a:lnTo>
                  <a:lnTo>
                    <a:pt x="2067" y="517"/>
                  </a:lnTo>
                  <a:lnTo>
                    <a:pt x="2065" y="517"/>
                  </a:lnTo>
                  <a:lnTo>
                    <a:pt x="2061" y="513"/>
                  </a:lnTo>
                  <a:lnTo>
                    <a:pt x="2059" y="509"/>
                  </a:lnTo>
                  <a:lnTo>
                    <a:pt x="2057" y="508"/>
                  </a:lnTo>
                  <a:lnTo>
                    <a:pt x="2057" y="506"/>
                  </a:lnTo>
                  <a:lnTo>
                    <a:pt x="2056" y="506"/>
                  </a:lnTo>
                  <a:lnTo>
                    <a:pt x="2056" y="506"/>
                  </a:lnTo>
                  <a:lnTo>
                    <a:pt x="2055" y="505"/>
                  </a:lnTo>
                  <a:lnTo>
                    <a:pt x="2055" y="504"/>
                  </a:lnTo>
                  <a:lnTo>
                    <a:pt x="2053" y="502"/>
                  </a:lnTo>
                  <a:lnTo>
                    <a:pt x="2052" y="501"/>
                  </a:lnTo>
                  <a:lnTo>
                    <a:pt x="2052" y="500"/>
                  </a:lnTo>
                  <a:lnTo>
                    <a:pt x="2052" y="500"/>
                  </a:lnTo>
                  <a:lnTo>
                    <a:pt x="2051" y="497"/>
                  </a:lnTo>
                  <a:lnTo>
                    <a:pt x="2050" y="496"/>
                  </a:lnTo>
                  <a:lnTo>
                    <a:pt x="2048" y="495"/>
                  </a:lnTo>
                  <a:lnTo>
                    <a:pt x="2048" y="493"/>
                  </a:lnTo>
                  <a:lnTo>
                    <a:pt x="2048" y="492"/>
                  </a:lnTo>
                  <a:lnTo>
                    <a:pt x="2048" y="491"/>
                  </a:lnTo>
                  <a:lnTo>
                    <a:pt x="2046" y="491"/>
                  </a:lnTo>
                  <a:lnTo>
                    <a:pt x="2044" y="489"/>
                  </a:lnTo>
                  <a:lnTo>
                    <a:pt x="2043" y="488"/>
                  </a:lnTo>
                  <a:lnTo>
                    <a:pt x="2042" y="484"/>
                  </a:lnTo>
                  <a:lnTo>
                    <a:pt x="2039" y="481"/>
                  </a:lnTo>
                  <a:lnTo>
                    <a:pt x="2038" y="480"/>
                  </a:lnTo>
                  <a:lnTo>
                    <a:pt x="2036" y="478"/>
                  </a:lnTo>
                  <a:lnTo>
                    <a:pt x="2034" y="475"/>
                  </a:lnTo>
                  <a:lnTo>
                    <a:pt x="2032" y="474"/>
                  </a:lnTo>
                  <a:lnTo>
                    <a:pt x="2031" y="474"/>
                  </a:lnTo>
                  <a:lnTo>
                    <a:pt x="2031" y="472"/>
                  </a:lnTo>
                  <a:lnTo>
                    <a:pt x="2029" y="470"/>
                  </a:lnTo>
                  <a:lnTo>
                    <a:pt x="2026" y="468"/>
                  </a:lnTo>
                  <a:lnTo>
                    <a:pt x="2021" y="464"/>
                  </a:lnTo>
                  <a:lnTo>
                    <a:pt x="2017" y="462"/>
                  </a:lnTo>
                  <a:lnTo>
                    <a:pt x="2014" y="459"/>
                  </a:lnTo>
                  <a:lnTo>
                    <a:pt x="2012" y="458"/>
                  </a:lnTo>
                  <a:lnTo>
                    <a:pt x="2010" y="458"/>
                  </a:lnTo>
                  <a:lnTo>
                    <a:pt x="2009" y="457"/>
                  </a:lnTo>
                  <a:lnTo>
                    <a:pt x="2006" y="455"/>
                  </a:lnTo>
                  <a:lnTo>
                    <a:pt x="2004" y="454"/>
                  </a:lnTo>
                  <a:lnTo>
                    <a:pt x="2001" y="453"/>
                  </a:lnTo>
                  <a:lnTo>
                    <a:pt x="1998" y="453"/>
                  </a:lnTo>
                  <a:lnTo>
                    <a:pt x="1995" y="450"/>
                  </a:lnTo>
                  <a:lnTo>
                    <a:pt x="1992" y="447"/>
                  </a:lnTo>
                  <a:lnTo>
                    <a:pt x="1989" y="447"/>
                  </a:lnTo>
                  <a:lnTo>
                    <a:pt x="1987" y="446"/>
                  </a:lnTo>
                  <a:lnTo>
                    <a:pt x="1985" y="445"/>
                  </a:lnTo>
                  <a:lnTo>
                    <a:pt x="1985" y="444"/>
                  </a:lnTo>
                  <a:lnTo>
                    <a:pt x="1984" y="442"/>
                  </a:lnTo>
                  <a:lnTo>
                    <a:pt x="1983" y="442"/>
                  </a:lnTo>
                  <a:lnTo>
                    <a:pt x="1981" y="441"/>
                  </a:lnTo>
                  <a:lnTo>
                    <a:pt x="1981" y="441"/>
                  </a:lnTo>
                  <a:lnTo>
                    <a:pt x="1978" y="438"/>
                  </a:lnTo>
                  <a:lnTo>
                    <a:pt x="1975" y="436"/>
                  </a:lnTo>
                  <a:lnTo>
                    <a:pt x="1972" y="430"/>
                  </a:lnTo>
                  <a:lnTo>
                    <a:pt x="1968" y="427"/>
                  </a:lnTo>
                  <a:lnTo>
                    <a:pt x="1945" y="393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34" name="Freeform 63"/>
            <p:cNvSpPr>
              <a:spLocks/>
            </p:cNvSpPr>
            <p:nvPr/>
          </p:nvSpPr>
          <p:spPr bwMode="auto">
            <a:xfrm>
              <a:off x="3063875" y="2682875"/>
              <a:ext cx="957263" cy="688975"/>
            </a:xfrm>
            <a:custGeom>
              <a:avLst/>
              <a:gdLst/>
              <a:ahLst/>
              <a:cxnLst>
                <a:cxn ang="0">
                  <a:pos x="1520" y="165"/>
                </a:cxn>
                <a:cxn ang="0">
                  <a:pos x="1219" y="323"/>
                </a:cxn>
                <a:cxn ang="0">
                  <a:pos x="1246" y="402"/>
                </a:cxn>
                <a:cxn ang="0">
                  <a:pos x="1232" y="434"/>
                </a:cxn>
                <a:cxn ang="0">
                  <a:pos x="1138" y="445"/>
                </a:cxn>
                <a:cxn ang="0">
                  <a:pos x="1092" y="476"/>
                </a:cxn>
                <a:cxn ang="0">
                  <a:pos x="1081" y="535"/>
                </a:cxn>
                <a:cxn ang="0">
                  <a:pos x="1058" y="552"/>
                </a:cxn>
                <a:cxn ang="0">
                  <a:pos x="1038" y="581"/>
                </a:cxn>
                <a:cxn ang="0">
                  <a:pos x="1064" y="604"/>
                </a:cxn>
                <a:cxn ang="0">
                  <a:pos x="1128" y="653"/>
                </a:cxn>
                <a:cxn ang="0">
                  <a:pos x="1111" y="696"/>
                </a:cxn>
                <a:cxn ang="0">
                  <a:pos x="1083" y="722"/>
                </a:cxn>
                <a:cxn ang="0">
                  <a:pos x="1066" y="740"/>
                </a:cxn>
                <a:cxn ang="0">
                  <a:pos x="1021" y="748"/>
                </a:cxn>
                <a:cxn ang="0">
                  <a:pos x="894" y="819"/>
                </a:cxn>
                <a:cxn ang="0">
                  <a:pos x="839" y="941"/>
                </a:cxn>
                <a:cxn ang="0">
                  <a:pos x="715" y="1024"/>
                </a:cxn>
                <a:cxn ang="0">
                  <a:pos x="277" y="1173"/>
                </a:cxn>
                <a:cxn ang="0">
                  <a:pos x="181" y="1193"/>
                </a:cxn>
                <a:cxn ang="0">
                  <a:pos x="10" y="1461"/>
                </a:cxn>
                <a:cxn ang="0">
                  <a:pos x="108" y="1787"/>
                </a:cxn>
                <a:cxn ang="0">
                  <a:pos x="255" y="1838"/>
                </a:cxn>
                <a:cxn ang="0">
                  <a:pos x="406" y="1769"/>
                </a:cxn>
                <a:cxn ang="0">
                  <a:pos x="642" y="1651"/>
                </a:cxn>
                <a:cxn ang="0">
                  <a:pos x="801" y="1579"/>
                </a:cxn>
                <a:cxn ang="0">
                  <a:pos x="1028" y="1391"/>
                </a:cxn>
                <a:cxn ang="0">
                  <a:pos x="1147" y="1443"/>
                </a:cxn>
                <a:cxn ang="0">
                  <a:pos x="1220" y="1605"/>
                </a:cxn>
                <a:cxn ang="0">
                  <a:pos x="1233" y="1708"/>
                </a:cxn>
                <a:cxn ang="0">
                  <a:pos x="1334" y="1635"/>
                </a:cxn>
                <a:cxn ang="0">
                  <a:pos x="1501" y="1460"/>
                </a:cxn>
                <a:cxn ang="0">
                  <a:pos x="1568" y="1419"/>
                </a:cxn>
                <a:cxn ang="0">
                  <a:pos x="1616" y="1418"/>
                </a:cxn>
                <a:cxn ang="0">
                  <a:pos x="1679" y="1338"/>
                </a:cxn>
                <a:cxn ang="0">
                  <a:pos x="1734" y="1307"/>
                </a:cxn>
                <a:cxn ang="0">
                  <a:pos x="1760" y="1160"/>
                </a:cxn>
                <a:cxn ang="0">
                  <a:pos x="1873" y="1098"/>
                </a:cxn>
                <a:cxn ang="0">
                  <a:pos x="1952" y="1043"/>
                </a:cxn>
                <a:cxn ang="0">
                  <a:pos x="2015" y="1035"/>
                </a:cxn>
                <a:cxn ang="0">
                  <a:pos x="2119" y="961"/>
                </a:cxn>
                <a:cxn ang="0">
                  <a:pos x="2181" y="924"/>
                </a:cxn>
                <a:cxn ang="0">
                  <a:pos x="2242" y="931"/>
                </a:cxn>
                <a:cxn ang="0">
                  <a:pos x="2278" y="955"/>
                </a:cxn>
                <a:cxn ang="0">
                  <a:pos x="2372" y="951"/>
                </a:cxn>
                <a:cxn ang="0">
                  <a:pos x="2401" y="791"/>
                </a:cxn>
                <a:cxn ang="0">
                  <a:pos x="2589" y="671"/>
                </a:cxn>
                <a:cxn ang="0">
                  <a:pos x="2588" y="542"/>
                </a:cxn>
                <a:cxn ang="0">
                  <a:pos x="2603" y="483"/>
                </a:cxn>
                <a:cxn ang="0">
                  <a:pos x="2528" y="383"/>
                </a:cxn>
                <a:cxn ang="0">
                  <a:pos x="2465" y="352"/>
                </a:cxn>
                <a:cxn ang="0">
                  <a:pos x="2447" y="338"/>
                </a:cxn>
                <a:cxn ang="0">
                  <a:pos x="2384" y="358"/>
                </a:cxn>
                <a:cxn ang="0">
                  <a:pos x="2363" y="317"/>
                </a:cxn>
                <a:cxn ang="0">
                  <a:pos x="2384" y="289"/>
                </a:cxn>
                <a:cxn ang="0">
                  <a:pos x="2406" y="260"/>
                </a:cxn>
                <a:cxn ang="0">
                  <a:pos x="2392" y="221"/>
                </a:cxn>
                <a:cxn ang="0">
                  <a:pos x="2089" y="313"/>
                </a:cxn>
                <a:cxn ang="0">
                  <a:pos x="1738" y="421"/>
                </a:cxn>
                <a:cxn ang="0">
                  <a:pos x="1799" y="175"/>
                </a:cxn>
              </a:cxnLst>
              <a:rect l="0" t="0" r="r" b="b"/>
              <a:pathLst>
                <a:path w="2609" h="1877">
                  <a:moveTo>
                    <a:pt x="1670" y="33"/>
                  </a:moveTo>
                  <a:lnTo>
                    <a:pt x="1671" y="35"/>
                  </a:lnTo>
                  <a:lnTo>
                    <a:pt x="1671" y="39"/>
                  </a:lnTo>
                  <a:lnTo>
                    <a:pt x="1670" y="42"/>
                  </a:lnTo>
                  <a:lnTo>
                    <a:pt x="1669" y="46"/>
                  </a:lnTo>
                  <a:lnTo>
                    <a:pt x="1662" y="55"/>
                  </a:lnTo>
                  <a:lnTo>
                    <a:pt x="1654" y="65"/>
                  </a:lnTo>
                  <a:lnTo>
                    <a:pt x="1644" y="76"/>
                  </a:lnTo>
                  <a:lnTo>
                    <a:pt x="1631" y="88"/>
                  </a:lnTo>
                  <a:lnTo>
                    <a:pt x="1618" y="98"/>
                  </a:lnTo>
                  <a:lnTo>
                    <a:pt x="1603" y="110"/>
                  </a:lnTo>
                  <a:lnTo>
                    <a:pt x="1573" y="132"/>
                  </a:lnTo>
                  <a:lnTo>
                    <a:pt x="1544" y="152"/>
                  </a:lnTo>
                  <a:lnTo>
                    <a:pt x="1531" y="158"/>
                  </a:lnTo>
                  <a:lnTo>
                    <a:pt x="1520" y="165"/>
                  </a:lnTo>
                  <a:lnTo>
                    <a:pt x="1510" y="169"/>
                  </a:lnTo>
                  <a:lnTo>
                    <a:pt x="1504" y="170"/>
                  </a:lnTo>
                  <a:lnTo>
                    <a:pt x="1500" y="173"/>
                  </a:lnTo>
                  <a:lnTo>
                    <a:pt x="1496" y="177"/>
                  </a:lnTo>
                  <a:lnTo>
                    <a:pt x="1491" y="183"/>
                  </a:lnTo>
                  <a:lnTo>
                    <a:pt x="1487" y="190"/>
                  </a:lnTo>
                  <a:lnTo>
                    <a:pt x="1482" y="198"/>
                  </a:lnTo>
                  <a:lnTo>
                    <a:pt x="1475" y="205"/>
                  </a:lnTo>
                  <a:lnTo>
                    <a:pt x="1469" y="212"/>
                  </a:lnTo>
                  <a:lnTo>
                    <a:pt x="1461" y="216"/>
                  </a:lnTo>
                  <a:lnTo>
                    <a:pt x="1275" y="296"/>
                  </a:lnTo>
                  <a:lnTo>
                    <a:pt x="1261" y="302"/>
                  </a:lnTo>
                  <a:lnTo>
                    <a:pt x="1245" y="309"/>
                  </a:lnTo>
                  <a:lnTo>
                    <a:pt x="1229" y="317"/>
                  </a:lnTo>
                  <a:lnTo>
                    <a:pt x="1219" y="323"/>
                  </a:lnTo>
                  <a:lnTo>
                    <a:pt x="1217" y="326"/>
                  </a:lnTo>
                  <a:lnTo>
                    <a:pt x="1217" y="330"/>
                  </a:lnTo>
                  <a:lnTo>
                    <a:pt x="1219" y="335"/>
                  </a:lnTo>
                  <a:lnTo>
                    <a:pt x="1221" y="340"/>
                  </a:lnTo>
                  <a:lnTo>
                    <a:pt x="1228" y="349"/>
                  </a:lnTo>
                  <a:lnTo>
                    <a:pt x="1232" y="358"/>
                  </a:lnTo>
                  <a:lnTo>
                    <a:pt x="1233" y="361"/>
                  </a:lnTo>
                  <a:lnTo>
                    <a:pt x="1236" y="362"/>
                  </a:lnTo>
                  <a:lnTo>
                    <a:pt x="1237" y="366"/>
                  </a:lnTo>
                  <a:lnTo>
                    <a:pt x="1238" y="370"/>
                  </a:lnTo>
                  <a:lnTo>
                    <a:pt x="1242" y="377"/>
                  </a:lnTo>
                  <a:lnTo>
                    <a:pt x="1245" y="387"/>
                  </a:lnTo>
                  <a:lnTo>
                    <a:pt x="1246" y="392"/>
                  </a:lnTo>
                  <a:lnTo>
                    <a:pt x="1246" y="398"/>
                  </a:lnTo>
                  <a:lnTo>
                    <a:pt x="1246" y="402"/>
                  </a:lnTo>
                  <a:lnTo>
                    <a:pt x="1244" y="406"/>
                  </a:lnTo>
                  <a:lnTo>
                    <a:pt x="1244" y="412"/>
                  </a:lnTo>
                  <a:lnTo>
                    <a:pt x="1242" y="420"/>
                  </a:lnTo>
                  <a:lnTo>
                    <a:pt x="1242" y="425"/>
                  </a:lnTo>
                  <a:lnTo>
                    <a:pt x="1242" y="426"/>
                  </a:lnTo>
                  <a:lnTo>
                    <a:pt x="1241" y="426"/>
                  </a:lnTo>
                  <a:lnTo>
                    <a:pt x="1241" y="428"/>
                  </a:lnTo>
                  <a:lnTo>
                    <a:pt x="1241" y="429"/>
                  </a:lnTo>
                  <a:lnTo>
                    <a:pt x="1240" y="430"/>
                  </a:lnTo>
                  <a:lnTo>
                    <a:pt x="1238" y="432"/>
                  </a:lnTo>
                  <a:lnTo>
                    <a:pt x="1237" y="433"/>
                  </a:lnTo>
                  <a:lnTo>
                    <a:pt x="1237" y="433"/>
                  </a:lnTo>
                  <a:lnTo>
                    <a:pt x="1234" y="433"/>
                  </a:lnTo>
                  <a:lnTo>
                    <a:pt x="1233" y="433"/>
                  </a:lnTo>
                  <a:lnTo>
                    <a:pt x="1232" y="434"/>
                  </a:lnTo>
                  <a:lnTo>
                    <a:pt x="1229" y="434"/>
                  </a:lnTo>
                  <a:lnTo>
                    <a:pt x="1227" y="437"/>
                  </a:lnTo>
                  <a:lnTo>
                    <a:pt x="1225" y="438"/>
                  </a:lnTo>
                  <a:lnTo>
                    <a:pt x="1223" y="440"/>
                  </a:lnTo>
                  <a:lnTo>
                    <a:pt x="1219" y="441"/>
                  </a:lnTo>
                  <a:lnTo>
                    <a:pt x="1213" y="441"/>
                  </a:lnTo>
                  <a:lnTo>
                    <a:pt x="1202" y="442"/>
                  </a:lnTo>
                  <a:lnTo>
                    <a:pt x="1187" y="441"/>
                  </a:lnTo>
                  <a:lnTo>
                    <a:pt x="1161" y="438"/>
                  </a:lnTo>
                  <a:lnTo>
                    <a:pt x="1144" y="438"/>
                  </a:lnTo>
                  <a:lnTo>
                    <a:pt x="1143" y="440"/>
                  </a:lnTo>
                  <a:lnTo>
                    <a:pt x="1142" y="442"/>
                  </a:lnTo>
                  <a:lnTo>
                    <a:pt x="1140" y="443"/>
                  </a:lnTo>
                  <a:lnTo>
                    <a:pt x="1140" y="443"/>
                  </a:lnTo>
                  <a:lnTo>
                    <a:pt x="1138" y="445"/>
                  </a:lnTo>
                  <a:lnTo>
                    <a:pt x="1136" y="446"/>
                  </a:lnTo>
                  <a:lnTo>
                    <a:pt x="1135" y="447"/>
                  </a:lnTo>
                  <a:lnTo>
                    <a:pt x="1135" y="449"/>
                  </a:lnTo>
                  <a:lnTo>
                    <a:pt x="1134" y="449"/>
                  </a:lnTo>
                  <a:lnTo>
                    <a:pt x="1132" y="450"/>
                  </a:lnTo>
                  <a:lnTo>
                    <a:pt x="1131" y="451"/>
                  </a:lnTo>
                  <a:lnTo>
                    <a:pt x="1131" y="453"/>
                  </a:lnTo>
                  <a:lnTo>
                    <a:pt x="1130" y="453"/>
                  </a:lnTo>
                  <a:lnTo>
                    <a:pt x="1128" y="454"/>
                  </a:lnTo>
                  <a:lnTo>
                    <a:pt x="1126" y="455"/>
                  </a:lnTo>
                  <a:lnTo>
                    <a:pt x="1125" y="457"/>
                  </a:lnTo>
                  <a:lnTo>
                    <a:pt x="1122" y="458"/>
                  </a:lnTo>
                  <a:lnTo>
                    <a:pt x="1114" y="464"/>
                  </a:lnTo>
                  <a:lnTo>
                    <a:pt x="1106" y="470"/>
                  </a:lnTo>
                  <a:lnTo>
                    <a:pt x="1092" y="476"/>
                  </a:lnTo>
                  <a:lnTo>
                    <a:pt x="1079" y="481"/>
                  </a:lnTo>
                  <a:lnTo>
                    <a:pt x="1075" y="483"/>
                  </a:lnTo>
                  <a:lnTo>
                    <a:pt x="1075" y="484"/>
                  </a:lnTo>
                  <a:lnTo>
                    <a:pt x="1079" y="489"/>
                  </a:lnTo>
                  <a:lnTo>
                    <a:pt x="1083" y="494"/>
                  </a:lnTo>
                  <a:lnTo>
                    <a:pt x="1087" y="500"/>
                  </a:lnTo>
                  <a:lnTo>
                    <a:pt x="1089" y="505"/>
                  </a:lnTo>
                  <a:lnTo>
                    <a:pt x="1091" y="506"/>
                  </a:lnTo>
                  <a:lnTo>
                    <a:pt x="1092" y="510"/>
                  </a:lnTo>
                  <a:lnTo>
                    <a:pt x="1091" y="514"/>
                  </a:lnTo>
                  <a:lnTo>
                    <a:pt x="1091" y="518"/>
                  </a:lnTo>
                  <a:lnTo>
                    <a:pt x="1088" y="525"/>
                  </a:lnTo>
                  <a:lnTo>
                    <a:pt x="1085" y="528"/>
                  </a:lnTo>
                  <a:lnTo>
                    <a:pt x="1084" y="532"/>
                  </a:lnTo>
                  <a:lnTo>
                    <a:pt x="1081" y="535"/>
                  </a:lnTo>
                  <a:lnTo>
                    <a:pt x="1079" y="536"/>
                  </a:lnTo>
                  <a:lnTo>
                    <a:pt x="1077" y="539"/>
                  </a:lnTo>
                  <a:lnTo>
                    <a:pt x="1076" y="540"/>
                  </a:lnTo>
                  <a:lnTo>
                    <a:pt x="1075" y="542"/>
                  </a:lnTo>
                  <a:lnTo>
                    <a:pt x="1074" y="543"/>
                  </a:lnTo>
                  <a:lnTo>
                    <a:pt x="1072" y="543"/>
                  </a:lnTo>
                  <a:lnTo>
                    <a:pt x="1070" y="544"/>
                  </a:lnTo>
                  <a:lnTo>
                    <a:pt x="1067" y="547"/>
                  </a:lnTo>
                  <a:lnTo>
                    <a:pt x="1066" y="548"/>
                  </a:lnTo>
                  <a:lnTo>
                    <a:pt x="1064" y="549"/>
                  </a:lnTo>
                  <a:lnTo>
                    <a:pt x="1063" y="549"/>
                  </a:lnTo>
                  <a:lnTo>
                    <a:pt x="1062" y="551"/>
                  </a:lnTo>
                  <a:lnTo>
                    <a:pt x="1060" y="552"/>
                  </a:lnTo>
                  <a:lnTo>
                    <a:pt x="1059" y="552"/>
                  </a:lnTo>
                  <a:lnTo>
                    <a:pt x="1058" y="552"/>
                  </a:lnTo>
                  <a:lnTo>
                    <a:pt x="1058" y="553"/>
                  </a:lnTo>
                  <a:lnTo>
                    <a:pt x="1057" y="553"/>
                  </a:lnTo>
                  <a:lnTo>
                    <a:pt x="1057" y="555"/>
                  </a:lnTo>
                  <a:lnTo>
                    <a:pt x="1055" y="555"/>
                  </a:lnTo>
                  <a:lnTo>
                    <a:pt x="1053" y="556"/>
                  </a:lnTo>
                  <a:lnTo>
                    <a:pt x="1051" y="559"/>
                  </a:lnTo>
                  <a:lnTo>
                    <a:pt x="1047" y="563"/>
                  </a:lnTo>
                  <a:lnTo>
                    <a:pt x="1043" y="565"/>
                  </a:lnTo>
                  <a:lnTo>
                    <a:pt x="1041" y="566"/>
                  </a:lnTo>
                  <a:lnTo>
                    <a:pt x="1041" y="566"/>
                  </a:lnTo>
                  <a:lnTo>
                    <a:pt x="1038" y="570"/>
                  </a:lnTo>
                  <a:lnTo>
                    <a:pt x="1036" y="570"/>
                  </a:lnTo>
                  <a:lnTo>
                    <a:pt x="1034" y="573"/>
                  </a:lnTo>
                  <a:lnTo>
                    <a:pt x="1036" y="578"/>
                  </a:lnTo>
                  <a:lnTo>
                    <a:pt x="1038" y="581"/>
                  </a:lnTo>
                  <a:lnTo>
                    <a:pt x="1041" y="585"/>
                  </a:lnTo>
                  <a:lnTo>
                    <a:pt x="1042" y="587"/>
                  </a:lnTo>
                  <a:lnTo>
                    <a:pt x="1045" y="590"/>
                  </a:lnTo>
                  <a:lnTo>
                    <a:pt x="1045" y="591"/>
                  </a:lnTo>
                  <a:lnTo>
                    <a:pt x="1046" y="591"/>
                  </a:lnTo>
                  <a:lnTo>
                    <a:pt x="1047" y="593"/>
                  </a:lnTo>
                  <a:lnTo>
                    <a:pt x="1049" y="594"/>
                  </a:lnTo>
                  <a:lnTo>
                    <a:pt x="1051" y="595"/>
                  </a:lnTo>
                  <a:lnTo>
                    <a:pt x="1051" y="595"/>
                  </a:lnTo>
                  <a:lnTo>
                    <a:pt x="1053" y="597"/>
                  </a:lnTo>
                  <a:lnTo>
                    <a:pt x="1057" y="600"/>
                  </a:lnTo>
                  <a:lnTo>
                    <a:pt x="1062" y="603"/>
                  </a:lnTo>
                  <a:lnTo>
                    <a:pt x="1063" y="603"/>
                  </a:lnTo>
                  <a:lnTo>
                    <a:pt x="1063" y="604"/>
                  </a:lnTo>
                  <a:lnTo>
                    <a:pt x="1064" y="604"/>
                  </a:lnTo>
                  <a:lnTo>
                    <a:pt x="1068" y="606"/>
                  </a:lnTo>
                  <a:lnTo>
                    <a:pt x="1071" y="608"/>
                  </a:lnTo>
                  <a:lnTo>
                    <a:pt x="1072" y="611"/>
                  </a:lnTo>
                  <a:lnTo>
                    <a:pt x="1074" y="612"/>
                  </a:lnTo>
                  <a:lnTo>
                    <a:pt x="1077" y="616"/>
                  </a:lnTo>
                  <a:lnTo>
                    <a:pt x="1083" y="617"/>
                  </a:lnTo>
                  <a:lnTo>
                    <a:pt x="1087" y="620"/>
                  </a:lnTo>
                  <a:lnTo>
                    <a:pt x="1091" y="623"/>
                  </a:lnTo>
                  <a:lnTo>
                    <a:pt x="1097" y="628"/>
                  </a:lnTo>
                  <a:lnTo>
                    <a:pt x="1106" y="634"/>
                  </a:lnTo>
                  <a:lnTo>
                    <a:pt x="1111" y="640"/>
                  </a:lnTo>
                  <a:lnTo>
                    <a:pt x="1117" y="644"/>
                  </a:lnTo>
                  <a:lnTo>
                    <a:pt x="1122" y="648"/>
                  </a:lnTo>
                  <a:lnTo>
                    <a:pt x="1128" y="651"/>
                  </a:lnTo>
                  <a:lnTo>
                    <a:pt x="1128" y="653"/>
                  </a:lnTo>
                  <a:lnTo>
                    <a:pt x="1130" y="654"/>
                  </a:lnTo>
                  <a:lnTo>
                    <a:pt x="1130" y="655"/>
                  </a:lnTo>
                  <a:lnTo>
                    <a:pt x="1131" y="655"/>
                  </a:lnTo>
                  <a:lnTo>
                    <a:pt x="1134" y="658"/>
                  </a:lnTo>
                  <a:lnTo>
                    <a:pt x="1136" y="659"/>
                  </a:lnTo>
                  <a:lnTo>
                    <a:pt x="1138" y="659"/>
                  </a:lnTo>
                  <a:lnTo>
                    <a:pt x="1140" y="661"/>
                  </a:lnTo>
                  <a:lnTo>
                    <a:pt x="1140" y="663"/>
                  </a:lnTo>
                  <a:lnTo>
                    <a:pt x="1140" y="667"/>
                  </a:lnTo>
                  <a:lnTo>
                    <a:pt x="1138" y="671"/>
                  </a:lnTo>
                  <a:lnTo>
                    <a:pt x="1135" y="676"/>
                  </a:lnTo>
                  <a:lnTo>
                    <a:pt x="1131" y="680"/>
                  </a:lnTo>
                  <a:lnTo>
                    <a:pt x="1122" y="688"/>
                  </a:lnTo>
                  <a:lnTo>
                    <a:pt x="1114" y="693"/>
                  </a:lnTo>
                  <a:lnTo>
                    <a:pt x="1111" y="696"/>
                  </a:lnTo>
                  <a:lnTo>
                    <a:pt x="1108" y="700"/>
                  </a:lnTo>
                  <a:lnTo>
                    <a:pt x="1106" y="702"/>
                  </a:lnTo>
                  <a:lnTo>
                    <a:pt x="1105" y="702"/>
                  </a:lnTo>
                  <a:lnTo>
                    <a:pt x="1104" y="705"/>
                  </a:lnTo>
                  <a:lnTo>
                    <a:pt x="1101" y="706"/>
                  </a:lnTo>
                  <a:lnTo>
                    <a:pt x="1097" y="709"/>
                  </a:lnTo>
                  <a:lnTo>
                    <a:pt x="1094" y="712"/>
                  </a:lnTo>
                  <a:lnTo>
                    <a:pt x="1092" y="713"/>
                  </a:lnTo>
                  <a:lnTo>
                    <a:pt x="1091" y="714"/>
                  </a:lnTo>
                  <a:lnTo>
                    <a:pt x="1089" y="716"/>
                  </a:lnTo>
                  <a:lnTo>
                    <a:pt x="1087" y="719"/>
                  </a:lnTo>
                  <a:lnTo>
                    <a:pt x="1085" y="719"/>
                  </a:lnTo>
                  <a:lnTo>
                    <a:pt x="1084" y="719"/>
                  </a:lnTo>
                  <a:lnTo>
                    <a:pt x="1084" y="721"/>
                  </a:lnTo>
                  <a:lnTo>
                    <a:pt x="1083" y="722"/>
                  </a:lnTo>
                  <a:lnTo>
                    <a:pt x="1081" y="723"/>
                  </a:lnTo>
                  <a:lnTo>
                    <a:pt x="1080" y="726"/>
                  </a:lnTo>
                  <a:lnTo>
                    <a:pt x="1079" y="727"/>
                  </a:lnTo>
                  <a:lnTo>
                    <a:pt x="1076" y="729"/>
                  </a:lnTo>
                  <a:lnTo>
                    <a:pt x="1075" y="730"/>
                  </a:lnTo>
                  <a:lnTo>
                    <a:pt x="1074" y="731"/>
                  </a:lnTo>
                  <a:lnTo>
                    <a:pt x="1074" y="733"/>
                  </a:lnTo>
                  <a:lnTo>
                    <a:pt x="1072" y="734"/>
                  </a:lnTo>
                  <a:lnTo>
                    <a:pt x="1071" y="735"/>
                  </a:lnTo>
                  <a:lnTo>
                    <a:pt x="1071" y="736"/>
                  </a:lnTo>
                  <a:lnTo>
                    <a:pt x="1070" y="738"/>
                  </a:lnTo>
                  <a:lnTo>
                    <a:pt x="1070" y="738"/>
                  </a:lnTo>
                  <a:lnTo>
                    <a:pt x="1068" y="739"/>
                  </a:lnTo>
                  <a:lnTo>
                    <a:pt x="1067" y="739"/>
                  </a:lnTo>
                  <a:lnTo>
                    <a:pt x="1066" y="740"/>
                  </a:lnTo>
                  <a:lnTo>
                    <a:pt x="1064" y="743"/>
                  </a:lnTo>
                  <a:lnTo>
                    <a:pt x="1063" y="743"/>
                  </a:lnTo>
                  <a:lnTo>
                    <a:pt x="1063" y="744"/>
                  </a:lnTo>
                  <a:lnTo>
                    <a:pt x="1062" y="746"/>
                  </a:lnTo>
                  <a:lnTo>
                    <a:pt x="1060" y="747"/>
                  </a:lnTo>
                  <a:lnTo>
                    <a:pt x="1059" y="748"/>
                  </a:lnTo>
                  <a:lnTo>
                    <a:pt x="1058" y="748"/>
                  </a:lnTo>
                  <a:lnTo>
                    <a:pt x="1054" y="750"/>
                  </a:lnTo>
                  <a:lnTo>
                    <a:pt x="1051" y="750"/>
                  </a:lnTo>
                  <a:lnTo>
                    <a:pt x="1047" y="751"/>
                  </a:lnTo>
                  <a:lnTo>
                    <a:pt x="1043" y="751"/>
                  </a:lnTo>
                  <a:lnTo>
                    <a:pt x="1039" y="750"/>
                  </a:lnTo>
                  <a:lnTo>
                    <a:pt x="1034" y="748"/>
                  </a:lnTo>
                  <a:lnTo>
                    <a:pt x="1028" y="748"/>
                  </a:lnTo>
                  <a:lnTo>
                    <a:pt x="1021" y="748"/>
                  </a:lnTo>
                  <a:lnTo>
                    <a:pt x="1007" y="751"/>
                  </a:lnTo>
                  <a:lnTo>
                    <a:pt x="998" y="752"/>
                  </a:lnTo>
                  <a:lnTo>
                    <a:pt x="995" y="755"/>
                  </a:lnTo>
                  <a:lnTo>
                    <a:pt x="991" y="757"/>
                  </a:lnTo>
                  <a:lnTo>
                    <a:pt x="986" y="759"/>
                  </a:lnTo>
                  <a:lnTo>
                    <a:pt x="979" y="760"/>
                  </a:lnTo>
                  <a:lnTo>
                    <a:pt x="978" y="761"/>
                  </a:lnTo>
                  <a:lnTo>
                    <a:pt x="977" y="763"/>
                  </a:lnTo>
                  <a:lnTo>
                    <a:pt x="974" y="763"/>
                  </a:lnTo>
                  <a:lnTo>
                    <a:pt x="970" y="764"/>
                  </a:lnTo>
                  <a:lnTo>
                    <a:pt x="935" y="785"/>
                  </a:lnTo>
                  <a:lnTo>
                    <a:pt x="915" y="799"/>
                  </a:lnTo>
                  <a:lnTo>
                    <a:pt x="900" y="814"/>
                  </a:lnTo>
                  <a:lnTo>
                    <a:pt x="897" y="815"/>
                  </a:lnTo>
                  <a:lnTo>
                    <a:pt x="894" y="819"/>
                  </a:lnTo>
                  <a:lnTo>
                    <a:pt x="893" y="822"/>
                  </a:lnTo>
                  <a:lnTo>
                    <a:pt x="890" y="824"/>
                  </a:lnTo>
                  <a:lnTo>
                    <a:pt x="883" y="836"/>
                  </a:lnTo>
                  <a:lnTo>
                    <a:pt x="875" y="849"/>
                  </a:lnTo>
                  <a:lnTo>
                    <a:pt x="872" y="862"/>
                  </a:lnTo>
                  <a:lnTo>
                    <a:pt x="866" y="891"/>
                  </a:lnTo>
                  <a:lnTo>
                    <a:pt x="860" y="907"/>
                  </a:lnTo>
                  <a:lnTo>
                    <a:pt x="855" y="921"/>
                  </a:lnTo>
                  <a:lnTo>
                    <a:pt x="852" y="926"/>
                  </a:lnTo>
                  <a:lnTo>
                    <a:pt x="850" y="931"/>
                  </a:lnTo>
                  <a:lnTo>
                    <a:pt x="847" y="935"/>
                  </a:lnTo>
                  <a:lnTo>
                    <a:pt x="843" y="937"/>
                  </a:lnTo>
                  <a:lnTo>
                    <a:pt x="842" y="938"/>
                  </a:lnTo>
                  <a:lnTo>
                    <a:pt x="842" y="939"/>
                  </a:lnTo>
                  <a:lnTo>
                    <a:pt x="839" y="941"/>
                  </a:lnTo>
                  <a:lnTo>
                    <a:pt x="837" y="943"/>
                  </a:lnTo>
                  <a:lnTo>
                    <a:pt x="837" y="943"/>
                  </a:lnTo>
                  <a:lnTo>
                    <a:pt x="835" y="944"/>
                  </a:lnTo>
                  <a:lnTo>
                    <a:pt x="834" y="946"/>
                  </a:lnTo>
                  <a:lnTo>
                    <a:pt x="832" y="947"/>
                  </a:lnTo>
                  <a:lnTo>
                    <a:pt x="830" y="948"/>
                  </a:lnTo>
                  <a:lnTo>
                    <a:pt x="829" y="950"/>
                  </a:lnTo>
                  <a:lnTo>
                    <a:pt x="828" y="951"/>
                  </a:lnTo>
                  <a:lnTo>
                    <a:pt x="826" y="952"/>
                  </a:lnTo>
                  <a:lnTo>
                    <a:pt x="816" y="963"/>
                  </a:lnTo>
                  <a:lnTo>
                    <a:pt x="803" y="972"/>
                  </a:lnTo>
                  <a:lnTo>
                    <a:pt x="774" y="993"/>
                  </a:lnTo>
                  <a:lnTo>
                    <a:pt x="745" y="1011"/>
                  </a:lnTo>
                  <a:lnTo>
                    <a:pt x="731" y="1019"/>
                  </a:lnTo>
                  <a:lnTo>
                    <a:pt x="715" y="1024"/>
                  </a:lnTo>
                  <a:lnTo>
                    <a:pt x="707" y="1026"/>
                  </a:lnTo>
                  <a:lnTo>
                    <a:pt x="698" y="1027"/>
                  </a:lnTo>
                  <a:lnTo>
                    <a:pt x="690" y="1027"/>
                  </a:lnTo>
                  <a:lnTo>
                    <a:pt x="681" y="1026"/>
                  </a:lnTo>
                  <a:lnTo>
                    <a:pt x="672" y="1026"/>
                  </a:lnTo>
                  <a:lnTo>
                    <a:pt x="660" y="1028"/>
                  </a:lnTo>
                  <a:lnTo>
                    <a:pt x="647" y="1031"/>
                  </a:lnTo>
                  <a:lnTo>
                    <a:pt x="633" y="1035"/>
                  </a:lnTo>
                  <a:lnTo>
                    <a:pt x="600" y="1046"/>
                  </a:lnTo>
                  <a:lnTo>
                    <a:pt x="565" y="1061"/>
                  </a:lnTo>
                  <a:lnTo>
                    <a:pt x="528" y="1077"/>
                  </a:lnTo>
                  <a:lnTo>
                    <a:pt x="493" y="1091"/>
                  </a:lnTo>
                  <a:lnTo>
                    <a:pt x="463" y="1104"/>
                  </a:lnTo>
                  <a:lnTo>
                    <a:pt x="439" y="1113"/>
                  </a:lnTo>
                  <a:lnTo>
                    <a:pt x="277" y="1173"/>
                  </a:lnTo>
                  <a:lnTo>
                    <a:pt x="269" y="1175"/>
                  </a:lnTo>
                  <a:lnTo>
                    <a:pt x="264" y="1175"/>
                  </a:lnTo>
                  <a:lnTo>
                    <a:pt x="259" y="1172"/>
                  </a:lnTo>
                  <a:lnTo>
                    <a:pt x="253" y="1169"/>
                  </a:lnTo>
                  <a:lnTo>
                    <a:pt x="247" y="1160"/>
                  </a:lnTo>
                  <a:lnTo>
                    <a:pt x="242" y="1150"/>
                  </a:lnTo>
                  <a:lnTo>
                    <a:pt x="238" y="1146"/>
                  </a:lnTo>
                  <a:lnTo>
                    <a:pt x="235" y="1142"/>
                  </a:lnTo>
                  <a:lnTo>
                    <a:pt x="231" y="1141"/>
                  </a:lnTo>
                  <a:lnTo>
                    <a:pt x="227" y="1141"/>
                  </a:lnTo>
                  <a:lnTo>
                    <a:pt x="222" y="1143"/>
                  </a:lnTo>
                  <a:lnTo>
                    <a:pt x="217" y="1149"/>
                  </a:lnTo>
                  <a:lnTo>
                    <a:pt x="209" y="1156"/>
                  </a:lnTo>
                  <a:lnTo>
                    <a:pt x="200" y="1167"/>
                  </a:lnTo>
                  <a:lnTo>
                    <a:pt x="181" y="1193"/>
                  </a:lnTo>
                  <a:lnTo>
                    <a:pt x="162" y="1220"/>
                  </a:lnTo>
                  <a:lnTo>
                    <a:pt x="141" y="1248"/>
                  </a:lnTo>
                  <a:lnTo>
                    <a:pt x="119" y="1277"/>
                  </a:lnTo>
                  <a:lnTo>
                    <a:pt x="95" y="1305"/>
                  </a:lnTo>
                  <a:lnTo>
                    <a:pt x="72" y="1333"/>
                  </a:lnTo>
                  <a:lnTo>
                    <a:pt x="48" y="1358"/>
                  </a:lnTo>
                  <a:lnTo>
                    <a:pt x="26" y="1380"/>
                  </a:lnTo>
                  <a:lnTo>
                    <a:pt x="15" y="1391"/>
                  </a:lnTo>
                  <a:lnTo>
                    <a:pt x="7" y="1401"/>
                  </a:lnTo>
                  <a:lnTo>
                    <a:pt x="2" y="1410"/>
                  </a:lnTo>
                  <a:lnTo>
                    <a:pt x="0" y="1421"/>
                  </a:lnTo>
                  <a:lnTo>
                    <a:pt x="0" y="1431"/>
                  </a:lnTo>
                  <a:lnTo>
                    <a:pt x="1" y="1440"/>
                  </a:lnTo>
                  <a:lnTo>
                    <a:pt x="5" y="1451"/>
                  </a:lnTo>
                  <a:lnTo>
                    <a:pt x="10" y="1461"/>
                  </a:lnTo>
                  <a:lnTo>
                    <a:pt x="41" y="1506"/>
                  </a:lnTo>
                  <a:lnTo>
                    <a:pt x="81" y="1559"/>
                  </a:lnTo>
                  <a:lnTo>
                    <a:pt x="87" y="1571"/>
                  </a:lnTo>
                  <a:lnTo>
                    <a:pt x="93" y="1584"/>
                  </a:lnTo>
                  <a:lnTo>
                    <a:pt x="98" y="1599"/>
                  </a:lnTo>
                  <a:lnTo>
                    <a:pt x="102" y="1614"/>
                  </a:lnTo>
                  <a:lnTo>
                    <a:pt x="106" y="1631"/>
                  </a:lnTo>
                  <a:lnTo>
                    <a:pt x="108" y="1650"/>
                  </a:lnTo>
                  <a:lnTo>
                    <a:pt x="110" y="1669"/>
                  </a:lnTo>
                  <a:lnTo>
                    <a:pt x="111" y="1689"/>
                  </a:lnTo>
                  <a:lnTo>
                    <a:pt x="112" y="1708"/>
                  </a:lnTo>
                  <a:lnTo>
                    <a:pt x="112" y="1728"/>
                  </a:lnTo>
                  <a:lnTo>
                    <a:pt x="112" y="1748"/>
                  </a:lnTo>
                  <a:lnTo>
                    <a:pt x="111" y="1767"/>
                  </a:lnTo>
                  <a:lnTo>
                    <a:pt x="108" y="1787"/>
                  </a:lnTo>
                  <a:lnTo>
                    <a:pt x="106" y="1805"/>
                  </a:lnTo>
                  <a:lnTo>
                    <a:pt x="103" y="1822"/>
                  </a:lnTo>
                  <a:lnTo>
                    <a:pt x="99" y="1838"/>
                  </a:lnTo>
                  <a:lnTo>
                    <a:pt x="130" y="1863"/>
                  </a:lnTo>
                  <a:lnTo>
                    <a:pt x="141" y="1869"/>
                  </a:lnTo>
                  <a:lnTo>
                    <a:pt x="151" y="1875"/>
                  </a:lnTo>
                  <a:lnTo>
                    <a:pt x="161" y="1877"/>
                  </a:lnTo>
                  <a:lnTo>
                    <a:pt x="171" y="1877"/>
                  </a:lnTo>
                  <a:lnTo>
                    <a:pt x="180" y="1876"/>
                  </a:lnTo>
                  <a:lnTo>
                    <a:pt x="189" y="1873"/>
                  </a:lnTo>
                  <a:lnTo>
                    <a:pt x="200" y="1869"/>
                  </a:lnTo>
                  <a:lnTo>
                    <a:pt x="209" y="1865"/>
                  </a:lnTo>
                  <a:lnTo>
                    <a:pt x="227" y="1854"/>
                  </a:lnTo>
                  <a:lnTo>
                    <a:pt x="246" y="1843"/>
                  </a:lnTo>
                  <a:lnTo>
                    <a:pt x="255" y="1838"/>
                  </a:lnTo>
                  <a:lnTo>
                    <a:pt x="264" y="1834"/>
                  </a:lnTo>
                  <a:lnTo>
                    <a:pt x="274" y="1831"/>
                  </a:lnTo>
                  <a:lnTo>
                    <a:pt x="283" y="1829"/>
                  </a:lnTo>
                  <a:lnTo>
                    <a:pt x="300" y="1826"/>
                  </a:lnTo>
                  <a:lnTo>
                    <a:pt x="319" y="1823"/>
                  </a:lnTo>
                  <a:lnTo>
                    <a:pt x="338" y="1820"/>
                  </a:lnTo>
                  <a:lnTo>
                    <a:pt x="354" y="1817"/>
                  </a:lnTo>
                  <a:lnTo>
                    <a:pt x="362" y="1813"/>
                  </a:lnTo>
                  <a:lnTo>
                    <a:pt x="371" y="1809"/>
                  </a:lnTo>
                  <a:lnTo>
                    <a:pt x="379" y="1803"/>
                  </a:lnTo>
                  <a:lnTo>
                    <a:pt x="388" y="1796"/>
                  </a:lnTo>
                  <a:lnTo>
                    <a:pt x="395" y="1789"/>
                  </a:lnTo>
                  <a:lnTo>
                    <a:pt x="401" y="1782"/>
                  </a:lnTo>
                  <a:lnTo>
                    <a:pt x="405" y="1775"/>
                  </a:lnTo>
                  <a:lnTo>
                    <a:pt x="406" y="1769"/>
                  </a:lnTo>
                  <a:lnTo>
                    <a:pt x="406" y="1767"/>
                  </a:lnTo>
                  <a:lnTo>
                    <a:pt x="406" y="1765"/>
                  </a:lnTo>
                  <a:lnTo>
                    <a:pt x="408" y="1761"/>
                  </a:lnTo>
                  <a:lnTo>
                    <a:pt x="410" y="1758"/>
                  </a:lnTo>
                  <a:lnTo>
                    <a:pt x="413" y="1755"/>
                  </a:lnTo>
                  <a:lnTo>
                    <a:pt x="420" y="1750"/>
                  </a:lnTo>
                  <a:lnTo>
                    <a:pt x="427" y="1746"/>
                  </a:lnTo>
                  <a:lnTo>
                    <a:pt x="444" y="1737"/>
                  </a:lnTo>
                  <a:lnTo>
                    <a:pt x="456" y="1732"/>
                  </a:lnTo>
                  <a:lnTo>
                    <a:pt x="592" y="1656"/>
                  </a:lnTo>
                  <a:lnTo>
                    <a:pt x="603" y="1652"/>
                  </a:lnTo>
                  <a:lnTo>
                    <a:pt x="612" y="1650"/>
                  </a:lnTo>
                  <a:lnTo>
                    <a:pt x="622" y="1650"/>
                  </a:lnTo>
                  <a:lnTo>
                    <a:pt x="633" y="1650"/>
                  </a:lnTo>
                  <a:lnTo>
                    <a:pt x="642" y="1651"/>
                  </a:lnTo>
                  <a:lnTo>
                    <a:pt x="652" y="1650"/>
                  </a:lnTo>
                  <a:lnTo>
                    <a:pt x="661" y="1648"/>
                  </a:lnTo>
                  <a:lnTo>
                    <a:pt x="671" y="1646"/>
                  </a:lnTo>
                  <a:lnTo>
                    <a:pt x="680" y="1642"/>
                  </a:lnTo>
                  <a:lnTo>
                    <a:pt x="689" y="1638"/>
                  </a:lnTo>
                  <a:lnTo>
                    <a:pt x="698" y="1635"/>
                  </a:lnTo>
                  <a:lnTo>
                    <a:pt x="709" y="1633"/>
                  </a:lnTo>
                  <a:lnTo>
                    <a:pt x="747" y="1626"/>
                  </a:lnTo>
                  <a:lnTo>
                    <a:pt x="760" y="1623"/>
                  </a:lnTo>
                  <a:lnTo>
                    <a:pt x="774" y="1617"/>
                  </a:lnTo>
                  <a:lnTo>
                    <a:pt x="781" y="1612"/>
                  </a:lnTo>
                  <a:lnTo>
                    <a:pt x="787" y="1606"/>
                  </a:lnTo>
                  <a:lnTo>
                    <a:pt x="792" y="1601"/>
                  </a:lnTo>
                  <a:lnTo>
                    <a:pt x="795" y="1593"/>
                  </a:lnTo>
                  <a:lnTo>
                    <a:pt x="801" y="1579"/>
                  </a:lnTo>
                  <a:lnTo>
                    <a:pt x="807" y="1564"/>
                  </a:lnTo>
                  <a:lnTo>
                    <a:pt x="813" y="1553"/>
                  </a:lnTo>
                  <a:lnTo>
                    <a:pt x="820" y="1540"/>
                  </a:lnTo>
                  <a:lnTo>
                    <a:pt x="828" y="1529"/>
                  </a:lnTo>
                  <a:lnTo>
                    <a:pt x="835" y="1519"/>
                  </a:lnTo>
                  <a:lnTo>
                    <a:pt x="843" y="1508"/>
                  </a:lnTo>
                  <a:lnTo>
                    <a:pt x="852" y="1499"/>
                  </a:lnTo>
                  <a:lnTo>
                    <a:pt x="862" y="1490"/>
                  </a:lnTo>
                  <a:lnTo>
                    <a:pt x="872" y="1481"/>
                  </a:lnTo>
                  <a:lnTo>
                    <a:pt x="883" y="1473"/>
                  </a:lnTo>
                  <a:lnTo>
                    <a:pt x="894" y="1465"/>
                  </a:lnTo>
                  <a:lnTo>
                    <a:pt x="920" y="1449"/>
                  </a:lnTo>
                  <a:lnTo>
                    <a:pt x="949" y="1434"/>
                  </a:lnTo>
                  <a:lnTo>
                    <a:pt x="988" y="1413"/>
                  </a:lnTo>
                  <a:lnTo>
                    <a:pt x="1028" y="1391"/>
                  </a:lnTo>
                  <a:lnTo>
                    <a:pt x="1067" y="1368"/>
                  </a:lnTo>
                  <a:lnTo>
                    <a:pt x="1109" y="1349"/>
                  </a:lnTo>
                  <a:lnTo>
                    <a:pt x="1117" y="1345"/>
                  </a:lnTo>
                  <a:lnTo>
                    <a:pt x="1123" y="1343"/>
                  </a:lnTo>
                  <a:lnTo>
                    <a:pt x="1130" y="1342"/>
                  </a:lnTo>
                  <a:lnTo>
                    <a:pt x="1135" y="1343"/>
                  </a:lnTo>
                  <a:lnTo>
                    <a:pt x="1139" y="1345"/>
                  </a:lnTo>
                  <a:lnTo>
                    <a:pt x="1143" y="1347"/>
                  </a:lnTo>
                  <a:lnTo>
                    <a:pt x="1147" y="1350"/>
                  </a:lnTo>
                  <a:lnTo>
                    <a:pt x="1148" y="1354"/>
                  </a:lnTo>
                  <a:lnTo>
                    <a:pt x="1152" y="1364"/>
                  </a:lnTo>
                  <a:lnTo>
                    <a:pt x="1153" y="1377"/>
                  </a:lnTo>
                  <a:lnTo>
                    <a:pt x="1153" y="1392"/>
                  </a:lnTo>
                  <a:lnTo>
                    <a:pt x="1152" y="1409"/>
                  </a:lnTo>
                  <a:lnTo>
                    <a:pt x="1147" y="1443"/>
                  </a:lnTo>
                  <a:lnTo>
                    <a:pt x="1142" y="1476"/>
                  </a:lnTo>
                  <a:lnTo>
                    <a:pt x="1140" y="1491"/>
                  </a:lnTo>
                  <a:lnTo>
                    <a:pt x="1139" y="1504"/>
                  </a:lnTo>
                  <a:lnTo>
                    <a:pt x="1139" y="1515"/>
                  </a:lnTo>
                  <a:lnTo>
                    <a:pt x="1142" y="1523"/>
                  </a:lnTo>
                  <a:lnTo>
                    <a:pt x="1148" y="1533"/>
                  </a:lnTo>
                  <a:lnTo>
                    <a:pt x="1157" y="1542"/>
                  </a:lnTo>
                  <a:lnTo>
                    <a:pt x="1166" y="1550"/>
                  </a:lnTo>
                  <a:lnTo>
                    <a:pt x="1178" y="1558"/>
                  </a:lnTo>
                  <a:lnTo>
                    <a:pt x="1189" y="1566"/>
                  </a:lnTo>
                  <a:lnTo>
                    <a:pt x="1199" y="1574"/>
                  </a:lnTo>
                  <a:lnTo>
                    <a:pt x="1210" y="1584"/>
                  </a:lnTo>
                  <a:lnTo>
                    <a:pt x="1217" y="1595"/>
                  </a:lnTo>
                  <a:lnTo>
                    <a:pt x="1220" y="1599"/>
                  </a:lnTo>
                  <a:lnTo>
                    <a:pt x="1220" y="1605"/>
                  </a:lnTo>
                  <a:lnTo>
                    <a:pt x="1220" y="1613"/>
                  </a:lnTo>
                  <a:lnTo>
                    <a:pt x="1220" y="1621"/>
                  </a:lnTo>
                  <a:lnTo>
                    <a:pt x="1219" y="1636"/>
                  </a:lnTo>
                  <a:lnTo>
                    <a:pt x="1219" y="1651"/>
                  </a:lnTo>
                  <a:lnTo>
                    <a:pt x="1220" y="1660"/>
                  </a:lnTo>
                  <a:lnTo>
                    <a:pt x="1223" y="1667"/>
                  </a:lnTo>
                  <a:lnTo>
                    <a:pt x="1227" y="1672"/>
                  </a:lnTo>
                  <a:lnTo>
                    <a:pt x="1230" y="1676"/>
                  </a:lnTo>
                  <a:lnTo>
                    <a:pt x="1234" y="1680"/>
                  </a:lnTo>
                  <a:lnTo>
                    <a:pt x="1238" y="1684"/>
                  </a:lnTo>
                  <a:lnTo>
                    <a:pt x="1241" y="1687"/>
                  </a:lnTo>
                  <a:lnTo>
                    <a:pt x="1242" y="1694"/>
                  </a:lnTo>
                  <a:lnTo>
                    <a:pt x="1241" y="1699"/>
                  </a:lnTo>
                  <a:lnTo>
                    <a:pt x="1238" y="1704"/>
                  </a:lnTo>
                  <a:lnTo>
                    <a:pt x="1233" y="1708"/>
                  </a:lnTo>
                  <a:lnTo>
                    <a:pt x="1229" y="1714"/>
                  </a:lnTo>
                  <a:lnTo>
                    <a:pt x="1228" y="1716"/>
                  </a:lnTo>
                  <a:lnTo>
                    <a:pt x="1229" y="1718"/>
                  </a:lnTo>
                  <a:lnTo>
                    <a:pt x="1232" y="1718"/>
                  </a:lnTo>
                  <a:lnTo>
                    <a:pt x="1234" y="1718"/>
                  </a:lnTo>
                  <a:lnTo>
                    <a:pt x="1238" y="1719"/>
                  </a:lnTo>
                  <a:lnTo>
                    <a:pt x="1242" y="1720"/>
                  </a:lnTo>
                  <a:lnTo>
                    <a:pt x="1257" y="1720"/>
                  </a:lnTo>
                  <a:lnTo>
                    <a:pt x="1268" y="1723"/>
                  </a:lnTo>
                  <a:lnTo>
                    <a:pt x="1288" y="1728"/>
                  </a:lnTo>
                  <a:lnTo>
                    <a:pt x="1300" y="1701"/>
                  </a:lnTo>
                  <a:lnTo>
                    <a:pt x="1308" y="1682"/>
                  </a:lnTo>
                  <a:lnTo>
                    <a:pt x="1319" y="1657"/>
                  </a:lnTo>
                  <a:lnTo>
                    <a:pt x="1327" y="1646"/>
                  </a:lnTo>
                  <a:lnTo>
                    <a:pt x="1334" y="1635"/>
                  </a:lnTo>
                  <a:lnTo>
                    <a:pt x="1338" y="1631"/>
                  </a:lnTo>
                  <a:lnTo>
                    <a:pt x="1342" y="1629"/>
                  </a:lnTo>
                  <a:lnTo>
                    <a:pt x="1346" y="1626"/>
                  </a:lnTo>
                  <a:lnTo>
                    <a:pt x="1348" y="1625"/>
                  </a:lnTo>
                  <a:lnTo>
                    <a:pt x="1359" y="1622"/>
                  </a:lnTo>
                  <a:lnTo>
                    <a:pt x="1368" y="1618"/>
                  </a:lnTo>
                  <a:lnTo>
                    <a:pt x="1382" y="1599"/>
                  </a:lnTo>
                  <a:lnTo>
                    <a:pt x="1411" y="1564"/>
                  </a:lnTo>
                  <a:lnTo>
                    <a:pt x="1427" y="1547"/>
                  </a:lnTo>
                  <a:lnTo>
                    <a:pt x="1440" y="1532"/>
                  </a:lnTo>
                  <a:lnTo>
                    <a:pt x="1449" y="1519"/>
                  </a:lnTo>
                  <a:lnTo>
                    <a:pt x="1452" y="1512"/>
                  </a:lnTo>
                  <a:lnTo>
                    <a:pt x="1452" y="1511"/>
                  </a:lnTo>
                  <a:lnTo>
                    <a:pt x="1495" y="1466"/>
                  </a:lnTo>
                  <a:lnTo>
                    <a:pt x="1501" y="1460"/>
                  </a:lnTo>
                  <a:lnTo>
                    <a:pt x="1509" y="1452"/>
                  </a:lnTo>
                  <a:lnTo>
                    <a:pt x="1513" y="1448"/>
                  </a:lnTo>
                  <a:lnTo>
                    <a:pt x="1517" y="1445"/>
                  </a:lnTo>
                  <a:lnTo>
                    <a:pt x="1522" y="1443"/>
                  </a:lnTo>
                  <a:lnTo>
                    <a:pt x="1526" y="1442"/>
                  </a:lnTo>
                  <a:lnTo>
                    <a:pt x="1529" y="1442"/>
                  </a:lnTo>
                  <a:lnTo>
                    <a:pt x="1530" y="1439"/>
                  </a:lnTo>
                  <a:lnTo>
                    <a:pt x="1540" y="1434"/>
                  </a:lnTo>
                  <a:lnTo>
                    <a:pt x="1551" y="1428"/>
                  </a:lnTo>
                  <a:lnTo>
                    <a:pt x="1554" y="1426"/>
                  </a:lnTo>
                  <a:lnTo>
                    <a:pt x="1556" y="1423"/>
                  </a:lnTo>
                  <a:lnTo>
                    <a:pt x="1557" y="1423"/>
                  </a:lnTo>
                  <a:lnTo>
                    <a:pt x="1561" y="1422"/>
                  </a:lnTo>
                  <a:lnTo>
                    <a:pt x="1565" y="1419"/>
                  </a:lnTo>
                  <a:lnTo>
                    <a:pt x="1568" y="1419"/>
                  </a:lnTo>
                  <a:lnTo>
                    <a:pt x="1572" y="1418"/>
                  </a:lnTo>
                  <a:lnTo>
                    <a:pt x="1574" y="1415"/>
                  </a:lnTo>
                  <a:lnTo>
                    <a:pt x="1580" y="1414"/>
                  </a:lnTo>
                  <a:lnTo>
                    <a:pt x="1586" y="1413"/>
                  </a:lnTo>
                  <a:lnTo>
                    <a:pt x="1594" y="1413"/>
                  </a:lnTo>
                  <a:lnTo>
                    <a:pt x="1599" y="1413"/>
                  </a:lnTo>
                  <a:lnTo>
                    <a:pt x="1601" y="1414"/>
                  </a:lnTo>
                  <a:lnTo>
                    <a:pt x="1602" y="1414"/>
                  </a:lnTo>
                  <a:lnTo>
                    <a:pt x="1603" y="1415"/>
                  </a:lnTo>
                  <a:lnTo>
                    <a:pt x="1605" y="1417"/>
                  </a:lnTo>
                  <a:lnTo>
                    <a:pt x="1607" y="1417"/>
                  </a:lnTo>
                  <a:lnTo>
                    <a:pt x="1608" y="1417"/>
                  </a:lnTo>
                  <a:lnTo>
                    <a:pt x="1610" y="1418"/>
                  </a:lnTo>
                  <a:lnTo>
                    <a:pt x="1614" y="1419"/>
                  </a:lnTo>
                  <a:lnTo>
                    <a:pt x="1616" y="1418"/>
                  </a:lnTo>
                  <a:lnTo>
                    <a:pt x="1619" y="1400"/>
                  </a:lnTo>
                  <a:lnTo>
                    <a:pt x="1622" y="1380"/>
                  </a:lnTo>
                  <a:lnTo>
                    <a:pt x="1623" y="1376"/>
                  </a:lnTo>
                  <a:lnTo>
                    <a:pt x="1625" y="1370"/>
                  </a:lnTo>
                  <a:lnTo>
                    <a:pt x="1629" y="1360"/>
                  </a:lnTo>
                  <a:lnTo>
                    <a:pt x="1636" y="1351"/>
                  </a:lnTo>
                  <a:lnTo>
                    <a:pt x="1640" y="1346"/>
                  </a:lnTo>
                  <a:lnTo>
                    <a:pt x="1644" y="1342"/>
                  </a:lnTo>
                  <a:lnTo>
                    <a:pt x="1648" y="1340"/>
                  </a:lnTo>
                  <a:lnTo>
                    <a:pt x="1652" y="1340"/>
                  </a:lnTo>
                  <a:lnTo>
                    <a:pt x="1653" y="1340"/>
                  </a:lnTo>
                  <a:lnTo>
                    <a:pt x="1662" y="1338"/>
                  </a:lnTo>
                  <a:lnTo>
                    <a:pt x="1671" y="1337"/>
                  </a:lnTo>
                  <a:lnTo>
                    <a:pt x="1675" y="1338"/>
                  </a:lnTo>
                  <a:lnTo>
                    <a:pt x="1679" y="1338"/>
                  </a:lnTo>
                  <a:lnTo>
                    <a:pt x="1682" y="1337"/>
                  </a:lnTo>
                  <a:lnTo>
                    <a:pt x="1686" y="1336"/>
                  </a:lnTo>
                  <a:lnTo>
                    <a:pt x="1687" y="1334"/>
                  </a:lnTo>
                  <a:lnTo>
                    <a:pt x="1688" y="1333"/>
                  </a:lnTo>
                  <a:lnTo>
                    <a:pt x="1690" y="1332"/>
                  </a:lnTo>
                  <a:lnTo>
                    <a:pt x="1691" y="1330"/>
                  </a:lnTo>
                  <a:lnTo>
                    <a:pt x="1693" y="1329"/>
                  </a:lnTo>
                  <a:lnTo>
                    <a:pt x="1697" y="1328"/>
                  </a:lnTo>
                  <a:lnTo>
                    <a:pt x="1699" y="1325"/>
                  </a:lnTo>
                  <a:lnTo>
                    <a:pt x="1701" y="1325"/>
                  </a:lnTo>
                  <a:lnTo>
                    <a:pt x="1703" y="1325"/>
                  </a:lnTo>
                  <a:lnTo>
                    <a:pt x="1709" y="1321"/>
                  </a:lnTo>
                  <a:lnTo>
                    <a:pt x="1716" y="1316"/>
                  </a:lnTo>
                  <a:lnTo>
                    <a:pt x="1725" y="1311"/>
                  </a:lnTo>
                  <a:lnTo>
                    <a:pt x="1734" y="1307"/>
                  </a:lnTo>
                  <a:lnTo>
                    <a:pt x="1735" y="1307"/>
                  </a:lnTo>
                  <a:lnTo>
                    <a:pt x="1737" y="1307"/>
                  </a:lnTo>
                  <a:lnTo>
                    <a:pt x="1737" y="1305"/>
                  </a:lnTo>
                  <a:lnTo>
                    <a:pt x="1739" y="1304"/>
                  </a:lnTo>
                  <a:lnTo>
                    <a:pt x="1741" y="1303"/>
                  </a:lnTo>
                  <a:lnTo>
                    <a:pt x="1746" y="1299"/>
                  </a:lnTo>
                  <a:lnTo>
                    <a:pt x="1751" y="1294"/>
                  </a:lnTo>
                  <a:lnTo>
                    <a:pt x="1754" y="1287"/>
                  </a:lnTo>
                  <a:lnTo>
                    <a:pt x="1756" y="1281"/>
                  </a:lnTo>
                  <a:lnTo>
                    <a:pt x="1760" y="1230"/>
                  </a:lnTo>
                  <a:lnTo>
                    <a:pt x="1762" y="1211"/>
                  </a:lnTo>
                  <a:lnTo>
                    <a:pt x="1763" y="1190"/>
                  </a:lnTo>
                  <a:lnTo>
                    <a:pt x="1763" y="1179"/>
                  </a:lnTo>
                  <a:lnTo>
                    <a:pt x="1760" y="1166"/>
                  </a:lnTo>
                  <a:lnTo>
                    <a:pt x="1760" y="1160"/>
                  </a:lnTo>
                  <a:lnTo>
                    <a:pt x="1760" y="1154"/>
                  </a:lnTo>
                  <a:lnTo>
                    <a:pt x="1762" y="1150"/>
                  </a:lnTo>
                  <a:lnTo>
                    <a:pt x="1765" y="1145"/>
                  </a:lnTo>
                  <a:lnTo>
                    <a:pt x="1782" y="1130"/>
                  </a:lnTo>
                  <a:lnTo>
                    <a:pt x="1797" y="1118"/>
                  </a:lnTo>
                  <a:lnTo>
                    <a:pt x="1805" y="1113"/>
                  </a:lnTo>
                  <a:lnTo>
                    <a:pt x="1814" y="1111"/>
                  </a:lnTo>
                  <a:lnTo>
                    <a:pt x="1824" y="1108"/>
                  </a:lnTo>
                  <a:lnTo>
                    <a:pt x="1839" y="1107"/>
                  </a:lnTo>
                  <a:lnTo>
                    <a:pt x="1844" y="1105"/>
                  </a:lnTo>
                  <a:lnTo>
                    <a:pt x="1850" y="1104"/>
                  </a:lnTo>
                  <a:lnTo>
                    <a:pt x="1858" y="1101"/>
                  </a:lnTo>
                  <a:lnTo>
                    <a:pt x="1866" y="1100"/>
                  </a:lnTo>
                  <a:lnTo>
                    <a:pt x="1869" y="1099"/>
                  </a:lnTo>
                  <a:lnTo>
                    <a:pt x="1873" y="1098"/>
                  </a:lnTo>
                  <a:lnTo>
                    <a:pt x="1874" y="1096"/>
                  </a:lnTo>
                  <a:lnTo>
                    <a:pt x="1875" y="1096"/>
                  </a:lnTo>
                  <a:lnTo>
                    <a:pt x="1878" y="1095"/>
                  </a:lnTo>
                  <a:lnTo>
                    <a:pt x="1882" y="1092"/>
                  </a:lnTo>
                  <a:lnTo>
                    <a:pt x="1884" y="1092"/>
                  </a:lnTo>
                  <a:lnTo>
                    <a:pt x="1886" y="1091"/>
                  </a:lnTo>
                  <a:lnTo>
                    <a:pt x="1892" y="1088"/>
                  </a:lnTo>
                  <a:lnTo>
                    <a:pt x="1900" y="1086"/>
                  </a:lnTo>
                  <a:lnTo>
                    <a:pt x="1912" y="1075"/>
                  </a:lnTo>
                  <a:lnTo>
                    <a:pt x="1926" y="1063"/>
                  </a:lnTo>
                  <a:lnTo>
                    <a:pt x="1938" y="1054"/>
                  </a:lnTo>
                  <a:lnTo>
                    <a:pt x="1950" y="1046"/>
                  </a:lnTo>
                  <a:lnTo>
                    <a:pt x="1951" y="1045"/>
                  </a:lnTo>
                  <a:lnTo>
                    <a:pt x="1952" y="1045"/>
                  </a:lnTo>
                  <a:lnTo>
                    <a:pt x="1952" y="1043"/>
                  </a:lnTo>
                  <a:lnTo>
                    <a:pt x="1954" y="1041"/>
                  </a:lnTo>
                  <a:lnTo>
                    <a:pt x="1956" y="1041"/>
                  </a:lnTo>
                  <a:lnTo>
                    <a:pt x="1960" y="1037"/>
                  </a:lnTo>
                  <a:lnTo>
                    <a:pt x="1966" y="1035"/>
                  </a:lnTo>
                  <a:lnTo>
                    <a:pt x="1966" y="1036"/>
                  </a:lnTo>
                  <a:lnTo>
                    <a:pt x="1967" y="1036"/>
                  </a:lnTo>
                  <a:lnTo>
                    <a:pt x="1972" y="1039"/>
                  </a:lnTo>
                  <a:lnTo>
                    <a:pt x="1976" y="1040"/>
                  </a:lnTo>
                  <a:lnTo>
                    <a:pt x="1980" y="1041"/>
                  </a:lnTo>
                  <a:lnTo>
                    <a:pt x="1983" y="1043"/>
                  </a:lnTo>
                  <a:lnTo>
                    <a:pt x="1986" y="1043"/>
                  </a:lnTo>
                  <a:lnTo>
                    <a:pt x="1994" y="1041"/>
                  </a:lnTo>
                  <a:lnTo>
                    <a:pt x="2002" y="1040"/>
                  </a:lnTo>
                  <a:lnTo>
                    <a:pt x="2006" y="1037"/>
                  </a:lnTo>
                  <a:lnTo>
                    <a:pt x="2015" y="1035"/>
                  </a:lnTo>
                  <a:lnTo>
                    <a:pt x="2026" y="1033"/>
                  </a:lnTo>
                  <a:lnTo>
                    <a:pt x="2028" y="1032"/>
                  </a:lnTo>
                  <a:lnTo>
                    <a:pt x="2032" y="1031"/>
                  </a:lnTo>
                  <a:lnTo>
                    <a:pt x="2048" y="1020"/>
                  </a:lnTo>
                  <a:lnTo>
                    <a:pt x="2048" y="1019"/>
                  </a:lnTo>
                  <a:lnTo>
                    <a:pt x="2058" y="1010"/>
                  </a:lnTo>
                  <a:lnTo>
                    <a:pt x="2070" y="1002"/>
                  </a:lnTo>
                  <a:lnTo>
                    <a:pt x="2072" y="1002"/>
                  </a:lnTo>
                  <a:lnTo>
                    <a:pt x="2072" y="1002"/>
                  </a:lnTo>
                  <a:lnTo>
                    <a:pt x="2073" y="1001"/>
                  </a:lnTo>
                  <a:lnTo>
                    <a:pt x="2075" y="1001"/>
                  </a:lnTo>
                  <a:lnTo>
                    <a:pt x="2075" y="1001"/>
                  </a:lnTo>
                  <a:lnTo>
                    <a:pt x="2077" y="999"/>
                  </a:lnTo>
                  <a:lnTo>
                    <a:pt x="2103" y="978"/>
                  </a:lnTo>
                  <a:lnTo>
                    <a:pt x="2119" y="961"/>
                  </a:lnTo>
                  <a:lnTo>
                    <a:pt x="2134" y="946"/>
                  </a:lnTo>
                  <a:lnTo>
                    <a:pt x="2134" y="944"/>
                  </a:lnTo>
                  <a:lnTo>
                    <a:pt x="2136" y="943"/>
                  </a:lnTo>
                  <a:lnTo>
                    <a:pt x="2138" y="943"/>
                  </a:lnTo>
                  <a:lnTo>
                    <a:pt x="2138" y="942"/>
                  </a:lnTo>
                  <a:lnTo>
                    <a:pt x="2140" y="941"/>
                  </a:lnTo>
                  <a:lnTo>
                    <a:pt x="2142" y="941"/>
                  </a:lnTo>
                  <a:lnTo>
                    <a:pt x="2149" y="939"/>
                  </a:lnTo>
                  <a:lnTo>
                    <a:pt x="2155" y="937"/>
                  </a:lnTo>
                  <a:lnTo>
                    <a:pt x="2162" y="933"/>
                  </a:lnTo>
                  <a:lnTo>
                    <a:pt x="2167" y="930"/>
                  </a:lnTo>
                  <a:lnTo>
                    <a:pt x="2172" y="927"/>
                  </a:lnTo>
                  <a:lnTo>
                    <a:pt x="2177" y="926"/>
                  </a:lnTo>
                  <a:lnTo>
                    <a:pt x="2179" y="925"/>
                  </a:lnTo>
                  <a:lnTo>
                    <a:pt x="2181" y="924"/>
                  </a:lnTo>
                  <a:lnTo>
                    <a:pt x="2184" y="920"/>
                  </a:lnTo>
                  <a:lnTo>
                    <a:pt x="2188" y="917"/>
                  </a:lnTo>
                  <a:lnTo>
                    <a:pt x="2193" y="917"/>
                  </a:lnTo>
                  <a:lnTo>
                    <a:pt x="2205" y="917"/>
                  </a:lnTo>
                  <a:lnTo>
                    <a:pt x="2217" y="916"/>
                  </a:lnTo>
                  <a:lnTo>
                    <a:pt x="2219" y="914"/>
                  </a:lnTo>
                  <a:lnTo>
                    <a:pt x="2221" y="914"/>
                  </a:lnTo>
                  <a:lnTo>
                    <a:pt x="2223" y="916"/>
                  </a:lnTo>
                  <a:lnTo>
                    <a:pt x="2226" y="916"/>
                  </a:lnTo>
                  <a:lnTo>
                    <a:pt x="2228" y="917"/>
                  </a:lnTo>
                  <a:lnTo>
                    <a:pt x="2232" y="920"/>
                  </a:lnTo>
                  <a:lnTo>
                    <a:pt x="2234" y="922"/>
                  </a:lnTo>
                  <a:lnTo>
                    <a:pt x="2235" y="926"/>
                  </a:lnTo>
                  <a:lnTo>
                    <a:pt x="2239" y="929"/>
                  </a:lnTo>
                  <a:lnTo>
                    <a:pt x="2242" y="931"/>
                  </a:lnTo>
                  <a:lnTo>
                    <a:pt x="2242" y="933"/>
                  </a:lnTo>
                  <a:lnTo>
                    <a:pt x="2243" y="933"/>
                  </a:lnTo>
                  <a:lnTo>
                    <a:pt x="2248" y="938"/>
                  </a:lnTo>
                  <a:lnTo>
                    <a:pt x="2253" y="942"/>
                  </a:lnTo>
                  <a:lnTo>
                    <a:pt x="2255" y="942"/>
                  </a:lnTo>
                  <a:lnTo>
                    <a:pt x="2256" y="943"/>
                  </a:lnTo>
                  <a:lnTo>
                    <a:pt x="2257" y="944"/>
                  </a:lnTo>
                  <a:lnTo>
                    <a:pt x="2259" y="944"/>
                  </a:lnTo>
                  <a:lnTo>
                    <a:pt x="2261" y="946"/>
                  </a:lnTo>
                  <a:lnTo>
                    <a:pt x="2264" y="948"/>
                  </a:lnTo>
                  <a:lnTo>
                    <a:pt x="2265" y="950"/>
                  </a:lnTo>
                  <a:lnTo>
                    <a:pt x="2266" y="950"/>
                  </a:lnTo>
                  <a:lnTo>
                    <a:pt x="2270" y="952"/>
                  </a:lnTo>
                  <a:lnTo>
                    <a:pt x="2276" y="954"/>
                  </a:lnTo>
                  <a:lnTo>
                    <a:pt x="2278" y="955"/>
                  </a:lnTo>
                  <a:lnTo>
                    <a:pt x="2281" y="956"/>
                  </a:lnTo>
                  <a:lnTo>
                    <a:pt x="2283" y="959"/>
                  </a:lnTo>
                  <a:lnTo>
                    <a:pt x="2289" y="959"/>
                  </a:lnTo>
                  <a:lnTo>
                    <a:pt x="2295" y="959"/>
                  </a:lnTo>
                  <a:lnTo>
                    <a:pt x="2302" y="959"/>
                  </a:lnTo>
                  <a:lnTo>
                    <a:pt x="2315" y="956"/>
                  </a:lnTo>
                  <a:lnTo>
                    <a:pt x="2320" y="954"/>
                  </a:lnTo>
                  <a:lnTo>
                    <a:pt x="2323" y="951"/>
                  </a:lnTo>
                  <a:lnTo>
                    <a:pt x="2325" y="950"/>
                  </a:lnTo>
                  <a:lnTo>
                    <a:pt x="2328" y="948"/>
                  </a:lnTo>
                  <a:lnTo>
                    <a:pt x="2332" y="948"/>
                  </a:lnTo>
                  <a:lnTo>
                    <a:pt x="2337" y="948"/>
                  </a:lnTo>
                  <a:lnTo>
                    <a:pt x="2342" y="948"/>
                  </a:lnTo>
                  <a:lnTo>
                    <a:pt x="2354" y="950"/>
                  </a:lnTo>
                  <a:lnTo>
                    <a:pt x="2372" y="951"/>
                  </a:lnTo>
                  <a:lnTo>
                    <a:pt x="2375" y="929"/>
                  </a:lnTo>
                  <a:lnTo>
                    <a:pt x="2376" y="921"/>
                  </a:lnTo>
                  <a:lnTo>
                    <a:pt x="2379" y="913"/>
                  </a:lnTo>
                  <a:lnTo>
                    <a:pt x="2383" y="907"/>
                  </a:lnTo>
                  <a:lnTo>
                    <a:pt x="2387" y="900"/>
                  </a:lnTo>
                  <a:lnTo>
                    <a:pt x="2395" y="886"/>
                  </a:lnTo>
                  <a:lnTo>
                    <a:pt x="2402" y="870"/>
                  </a:lnTo>
                  <a:lnTo>
                    <a:pt x="2402" y="857"/>
                  </a:lnTo>
                  <a:lnTo>
                    <a:pt x="2402" y="845"/>
                  </a:lnTo>
                  <a:lnTo>
                    <a:pt x="2404" y="837"/>
                  </a:lnTo>
                  <a:lnTo>
                    <a:pt x="2402" y="828"/>
                  </a:lnTo>
                  <a:lnTo>
                    <a:pt x="2401" y="819"/>
                  </a:lnTo>
                  <a:lnTo>
                    <a:pt x="2400" y="812"/>
                  </a:lnTo>
                  <a:lnTo>
                    <a:pt x="2400" y="801"/>
                  </a:lnTo>
                  <a:lnTo>
                    <a:pt x="2401" y="791"/>
                  </a:lnTo>
                  <a:lnTo>
                    <a:pt x="2402" y="787"/>
                  </a:lnTo>
                  <a:lnTo>
                    <a:pt x="2404" y="782"/>
                  </a:lnTo>
                  <a:lnTo>
                    <a:pt x="2408" y="778"/>
                  </a:lnTo>
                  <a:lnTo>
                    <a:pt x="2412" y="774"/>
                  </a:lnTo>
                  <a:lnTo>
                    <a:pt x="2442" y="743"/>
                  </a:lnTo>
                  <a:lnTo>
                    <a:pt x="2446" y="739"/>
                  </a:lnTo>
                  <a:lnTo>
                    <a:pt x="2450" y="736"/>
                  </a:lnTo>
                  <a:lnTo>
                    <a:pt x="2467" y="730"/>
                  </a:lnTo>
                  <a:lnTo>
                    <a:pt x="2485" y="723"/>
                  </a:lnTo>
                  <a:lnTo>
                    <a:pt x="2502" y="716"/>
                  </a:lnTo>
                  <a:lnTo>
                    <a:pt x="2520" y="706"/>
                  </a:lnTo>
                  <a:lnTo>
                    <a:pt x="2554" y="691"/>
                  </a:lnTo>
                  <a:lnTo>
                    <a:pt x="2584" y="676"/>
                  </a:lnTo>
                  <a:lnTo>
                    <a:pt x="2587" y="674"/>
                  </a:lnTo>
                  <a:lnTo>
                    <a:pt x="2589" y="671"/>
                  </a:lnTo>
                  <a:lnTo>
                    <a:pt x="2591" y="668"/>
                  </a:lnTo>
                  <a:lnTo>
                    <a:pt x="2592" y="665"/>
                  </a:lnTo>
                  <a:lnTo>
                    <a:pt x="2595" y="657"/>
                  </a:lnTo>
                  <a:lnTo>
                    <a:pt x="2596" y="650"/>
                  </a:lnTo>
                  <a:lnTo>
                    <a:pt x="2600" y="644"/>
                  </a:lnTo>
                  <a:lnTo>
                    <a:pt x="2604" y="637"/>
                  </a:lnTo>
                  <a:lnTo>
                    <a:pt x="2605" y="637"/>
                  </a:lnTo>
                  <a:lnTo>
                    <a:pt x="2605" y="636"/>
                  </a:lnTo>
                  <a:lnTo>
                    <a:pt x="2606" y="616"/>
                  </a:lnTo>
                  <a:lnTo>
                    <a:pt x="2604" y="586"/>
                  </a:lnTo>
                  <a:lnTo>
                    <a:pt x="2601" y="570"/>
                  </a:lnTo>
                  <a:lnTo>
                    <a:pt x="2597" y="557"/>
                  </a:lnTo>
                  <a:lnTo>
                    <a:pt x="2595" y="551"/>
                  </a:lnTo>
                  <a:lnTo>
                    <a:pt x="2592" y="545"/>
                  </a:lnTo>
                  <a:lnTo>
                    <a:pt x="2588" y="542"/>
                  </a:lnTo>
                  <a:lnTo>
                    <a:pt x="2584" y="539"/>
                  </a:lnTo>
                  <a:lnTo>
                    <a:pt x="2582" y="536"/>
                  </a:lnTo>
                  <a:lnTo>
                    <a:pt x="2580" y="531"/>
                  </a:lnTo>
                  <a:lnTo>
                    <a:pt x="2579" y="527"/>
                  </a:lnTo>
                  <a:lnTo>
                    <a:pt x="2579" y="521"/>
                  </a:lnTo>
                  <a:lnTo>
                    <a:pt x="2579" y="514"/>
                  </a:lnTo>
                  <a:lnTo>
                    <a:pt x="2582" y="510"/>
                  </a:lnTo>
                  <a:lnTo>
                    <a:pt x="2584" y="508"/>
                  </a:lnTo>
                  <a:lnTo>
                    <a:pt x="2587" y="505"/>
                  </a:lnTo>
                  <a:lnTo>
                    <a:pt x="2593" y="497"/>
                  </a:lnTo>
                  <a:lnTo>
                    <a:pt x="2599" y="491"/>
                  </a:lnTo>
                  <a:lnTo>
                    <a:pt x="2599" y="489"/>
                  </a:lnTo>
                  <a:lnTo>
                    <a:pt x="2600" y="487"/>
                  </a:lnTo>
                  <a:lnTo>
                    <a:pt x="2601" y="487"/>
                  </a:lnTo>
                  <a:lnTo>
                    <a:pt x="2603" y="483"/>
                  </a:lnTo>
                  <a:lnTo>
                    <a:pt x="2605" y="477"/>
                  </a:lnTo>
                  <a:lnTo>
                    <a:pt x="2606" y="471"/>
                  </a:lnTo>
                  <a:lnTo>
                    <a:pt x="2608" y="463"/>
                  </a:lnTo>
                  <a:lnTo>
                    <a:pt x="2609" y="454"/>
                  </a:lnTo>
                  <a:lnTo>
                    <a:pt x="2609" y="447"/>
                  </a:lnTo>
                  <a:lnTo>
                    <a:pt x="2608" y="442"/>
                  </a:lnTo>
                  <a:lnTo>
                    <a:pt x="2606" y="438"/>
                  </a:lnTo>
                  <a:lnTo>
                    <a:pt x="2606" y="436"/>
                  </a:lnTo>
                  <a:lnTo>
                    <a:pt x="2605" y="432"/>
                  </a:lnTo>
                  <a:lnTo>
                    <a:pt x="2586" y="420"/>
                  </a:lnTo>
                  <a:lnTo>
                    <a:pt x="2565" y="403"/>
                  </a:lnTo>
                  <a:lnTo>
                    <a:pt x="2553" y="395"/>
                  </a:lnTo>
                  <a:lnTo>
                    <a:pt x="2541" y="387"/>
                  </a:lnTo>
                  <a:lnTo>
                    <a:pt x="2535" y="385"/>
                  </a:lnTo>
                  <a:lnTo>
                    <a:pt x="2528" y="383"/>
                  </a:lnTo>
                  <a:lnTo>
                    <a:pt x="2521" y="381"/>
                  </a:lnTo>
                  <a:lnTo>
                    <a:pt x="2515" y="381"/>
                  </a:lnTo>
                  <a:lnTo>
                    <a:pt x="2514" y="379"/>
                  </a:lnTo>
                  <a:lnTo>
                    <a:pt x="2511" y="378"/>
                  </a:lnTo>
                  <a:lnTo>
                    <a:pt x="2503" y="374"/>
                  </a:lnTo>
                  <a:lnTo>
                    <a:pt x="2495" y="369"/>
                  </a:lnTo>
                  <a:lnTo>
                    <a:pt x="2490" y="365"/>
                  </a:lnTo>
                  <a:lnTo>
                    <a:pt x="2486" y="362"/>
                  </a:lnTo>
                  <a:lnTo>
                    <a:pt x="2480" y="361"/>
                  </a:lnTo>
                  <a:lnTo>
                    <a:pt x="2472" y="358"/>
                  </a:lnTo>
                  <a:lnTo>
                    <a:pt x="2470" y="357"/>
                  </a:lnTo>
                  <a:lnTo>
                    <a:pt x="2469" y="356"/>
                  </a:lnTo>
                  <a:lnTo>
                    <a:pt x="2468" y="355"/>
                  </a:lnTo>
                  <a:lnTo>
                    <a:pt x="2467" y="353"/>
                  </a:lnTo>
                  <a:lnTo>
                    <a:pt x="2465" y="352"/>
                  </a:lnTo>
                  <a:lnTo>
                    <a:pt x="2463" y="351"/>
                  </a:lnTo>
                  <a:lnTo>
                    <a:pt x="2461" y="349"/>
                  </a:lnTo>
                  <a:lnTo>
                    <a:pt x="2461" y="348"/>
                  </a:lnTo>
                  <a:lnTo>
                    <a:pt x="2460" y="347"/>
                  </a:lnTo>
                  <a:lnTo>
                    <a:pt x="2460" y="345"/>
                  </a:lnTo>
                  <a:lnTo>
                    <a:pt x="2457" y="345"/>
                  </a:lnTo>
                  <a:lnTo>
                    <a:pt x="2456" y="345"/>
                  </a:lnTo>
                  <a:lnTo>
                    <a:pt x="2453" y="344"/>
                  </a:lnTo>
                  <a:lnTo>
                    <a:pt x="2452" y="341"/>
                  </a:lnTo>
                  <a:lnTo>
                    <a:pt x="2451" y="340"/>
                  </a:lnTo>
                  <a:lnTo>
                    <a:pt x="2450" y="340"/>
                  </a:lnTo>
                  <a:lnTo>
                    <a:pt x="2448" y="339"/>
                  </a:lnTo>
                  <a:lnTo>
                    <a:pt x="2448" y="339"/>
                  </a:lnTo>
                  <a:lnTo>
                    <a:pt x="2447" y="339"/>
                  </a:lnTo>
                  <a:lnTo>
                    <a:pt x="2447" y="338"/>
                  </a:lnTo>
                  <a:lnTo>
                    <a:pt x="2446" y="336"/>
                  </a:lnTo>
                  <a:lnTo>
                    <a:pt x="2435" y="338"/>
                  </a:lnTo>
                  <a:lnTo>
                    <a:pt x="2425" y="340"/>
                  </a:lnTo>
                  <a:lnTo>
                    <a:pt x="2414" y="344"/>
                  </a:lnTo>
                  <a:lnTo>
                    <a:pt x="2406" y="345"/>
                  </a:lnTo>
                  <a:lnTo>
                    <a:pt x="2405" y="347"/>
                  </a:lnTo>
                  <a:lnTo>
                    <a:pt x="2404" y="348"/>
                  </a:lnTo>
                  <a:lnTo>
                    <a:pt x="2400" y="351"/>
                  </a:lnTo>
                  <a:lnTo>
                    <a:pt x="2396" y="353"/>
                  </a:lnTo>
                  <a:lnTo>
                    <a:pt x="2395" y="355"/>
                  </a:lnTo>
                  <a:lnTo>
                    <a:pt x="2392" y="356"/>
                  </a:lnTo>
                  <a:lnTo>
                    <a:pt x="2391" y="357"/>
                  </a:lnTo>
                  <a:lnTo>
                    <a:pt x="2389" y="358"/>
                  </a:lnTo>
                  <a:lnTo>
                    <a:pt x="2387" y="358"/>
                  </a:lnTo>
                  <a:lnTo>
                    <a:pt x="2384" y="358"/>
                  </a:lnTo>
                  <a:lnTo>
                    <a:pt x="2383" y="358"/>
                  </a:lnTo>
                  <a:lnTo>
                    <a:pt x="2382" y="358"/>
                  </a:lnTo>
                  <a:lnTo>
                    <a:pt x="2380" y="353"/>
                  </a:lnTo>
                  <a:lnTo>
                    <a:pt x="2380" y="348"/>
                  </a:lnTo>
                  <a:lnTo>
                    <a:pt x="2380" y="347"/>
                  </a:lnTo>
                  <a:lnTo>
                    <a:pt x="2379" y="345"/>
                  </a:lnTo>
                  <a:lnTo>
                    <a:pt x="2378" y="344"/>
                  </a:lnTo>
                  <a:lnTo>
                    <a:pt x="2376" y="341"/>
                  </a:lnTo>
                  <a:lnTo>
                    <a:pt x="2376" y="340"/>
                  </a:lnTo>
                  <a:lnTo>
                    <a:pt x="2376" y="338"/>
                  </a:lnTo>
                  <a:lnTo>
                    <a:pt x="2374" y="335"/>
                  </a:lnTo>
                  <a:lnTo>
                    <a:pt x="2372" y="331"/>
                  </a:lnTo>
                  <a:lnTo>
                    <a:pt x="2368" y="324"/>
                  </a:lnTo>
                  <a:lnTo>
                    <a:pt x="2365" y="318"/>
                  </a:lnTo>
                  <a:lnTo>
                    <a:pt x="2363" y="317"/>
                  </a:lnTo>
                  <a:lnTo>
                    <a:pt x="2363" y="314"/>
                  </a:lnTo>
                  <a:lnTo>
                    <a:pt x="2362" y="313"/>
                  </a:lnTo>
                  <a:lnTo>
                    <a:pt x="2361" y="311"/>
                  </a:lnTo>
                  <a:lnTo>
                    <a:pt x="2361" y="310"/>
                  </a:lnTo>
                  <a:lnTo>
                    <a:pt x="2361" y="310"/>
                  </a:lnTo>
                  <a:lnTo>
                    <a:pt x="2361" y="307"/>
                  </a:lnTo>
                  <a:lnTo>
                    <a:pt x="2361" y="307"/>
                  </a:lnTo>
                  <a:lnTo>
                    <a:pt x="2363" y="306"/>
                  </a:lnTo>
                  <a:lnTo>
                    <a:pt x="2367" y="302"/>
                  </a:lnTo>
                  <a:lnTo>
                    <a:pt x="2371" y="298"/>
                  </a:lnTo>
                  <a:lnTo>
                    <a:pt x="2375" y="296"/>
                  </a:lnTo>
                  <a:lnTo>
                    <a:pt x="2378" y="293"/>
                  </a:lnTo>
                  <a:lnTo>
                    <a:pt x="2380" y="292"/>
                  </a:lnTo>
                  <a:lnTo>
                    <a:pt x="2383" y="290"/>
                  </a:lnTo>
                  <a:lnTo>
                    <a:pt x="2384" y="289"/>
                  </a:lnTo>
                  <a:lnTo>
                    <a:pt x="2384" y="288"/>
                  </a:lnTo>
                  <a:lnTo>
                    <a:pt x="2387" y="288"/>
                  </a:lnTo>
                  <a:lnTo>
                    <a:pt x="2387" y="286"/>
                  </a:lnTo>
                  <a:lnTo>
                    <a:pt x="2388" y="285"/>
                  </a:lnTo>
                  <a:lnTo>
                    <a:pt x="2391" y="284"/>
                  </a:lnTo>
                  <a:lnTo>
                    <a:pt x="2392" y="281"/>
                  </a:lnTo>
                  <a:lnTo>
                    <a:pt x="2393" y="280"/>
                  </a:lnTo>
                  <a:lnTo>
                    <a:pt x="2393" y="277"/>
                  </a:lnTo>
                  <a:lnTo>
                    <a:pt x="2396" y="275"/>
                  </a:lnTo>
                  <a:lnTo>
                    <a:pt x="2399" y="269"/>
                  </a:lnTo>
                  <a:lnTo>
                    <a:pt x="2402" y="266"/>
                  </a:lnTo>
                  <a:lnTo>
                    <a:pt x="2404" y="263"/>
                  </a:lnTo>
                  <a:lnTo>
                    <a:pt x="2405" y="262"/>
                  </a:lnTo>
                  <a:lnTo>
                    <a:pt x="2405" y="262"/>
                  </a:lnTo>
                  <a:lnTo>
                    <a:pt x="2406" y="260"/>
                  </a:lnTo>
                  <a:lnTo>
                    <a:pt x="2412" y="251"/>
                  </a:lnTo>
                  <a:lnTo>
                    <a:pt x="2417" y="242"/>
                  </a:lnTo>
                  <a:lnTo>
                    <a:pt x="2418" y="238"/>
                  </a:lnTo>
                  <a:lnTo>
                    <a:pt x="2417" y="233"/>
                  </a:lnTo>
                  <a:lnTo>
                    <a:pt x="2416" y="228"/>
                  </a:lnTo>
                  <a:lnTo>
                    <a:pt x="2414" y="224"/>
                  </a:lnTo>
                  <a:lnTo>
                    <a:pt x="2414" y="222"/>
                  </a:lnTo>
                  <a:lnTo>
                    <a:pt x="2413" y="222"/>
                  </a:lnTo>
                  <a:lnTo>
                    <a:pt x="2412" y="221"/>
                  </a:lnTo>
                  <a:lnTo>
                    <a:pt x="2410" y="220"/>
                  </a:lnTo>
                  <a:lnTo>
                    <a:pt x="2409" y="220"/>
                  </a:lnTo>
                  <a:lnTo>
                    <a:pt x="2408" y="220"/>
                  </a:lnTo>
                  <a:lnTo>
                    <a:pt x="2401" y="218"/>
                  </a:lnTo>
                  <a:lnTo>
                    <a:pt x="2393" y="220"/>
                  </a:lnTo>
                  <a:lnTo>
                    <a:pt x="2392" y="221"/>
                  </a:lnTo>
                  <a:lnTo>
                    <a:pt x="2391" y="221"/>
                  </a:lnTo>
                  <a:lnTo>
                    <a:pt x="2376" y="225"/>
                  </a:lnTo>
                  <a:lnTo>
                    <a:pt x="2359" y="232"/>
                  </a:lnTo>
                  <a:lnTo>
                    <a:pt x="2340" y="237"/>
                  </a:lnTo>
                  <a:lnTo>
                    <a:pt x="2324" y="241"/>
                  </a:lnTo>
                  <a:lnTo>
                    <a:pt x="2306" y="243"/>
                  </a:lnTo>
                  <a:lnTo>
                    <a:pt x="2287" y="247"/>
                  </a:lnTo>
                  <a:lnTo>
                    <a:pt x="2269" y="255"/>
                  </a:lnTo>
                  <a:lnTo>
                    <a:pt x="2249" y="263"/>
                  </a:lnTo>
                  <a:lnTo>
                    <a:pt x="2213" y="280"/>
                  </a:lnTo>
                  <a:lnTo>
                    <a:pt x="2177" y="296"/>
                  </a:lnTo>
                  <a:lnTo>
                    <a:pt x="2157" y="302"/>
                  </a:lnTo>
                  <a:lnTo>
                    <a:pt x="2134" y="306"/>
                  </a:lnTo>
                  <a:lnTo>
                    <a:pt x="2112" y="310"/>
                  </a:lnTo>
                  <a:lnTo>
                    <a:pt x="2089" y="313"/>
                  </a:lnTo>
                  <a:lnTo>
                    <a:pt x="2066" y="317"/>
                  </a:lnTo>
                  <a:lnTo>
                    <a:pt x="2044" y="321"/>
                  </a:lnTo>
                  <a:lnTo>
                    <a:pt x="2022" y="324"/>
                  </a:lnTo>
                  <a:lnTo>
                    <a:pt x="2000" y="331"/>
                  </a:lnTo>
                  <a:lnTo>
                    <a:pt x="1973" y="341"/>
                  </a:lnTo>
                  <a:lnTo>
                    <a:pt x="1937" y="360"/>
                  </a:lnTo>
                  <a:lnTo>
                    <a:pt x="1894" y="383"/>
                  </a:lnTo>
                  <a:lnTo>
                    <a:pt x="1847" y="407"/>
                  </a:lnTo>
                  <a:lnTo>
                    <a:pt x="1803" y="430"/>
                  </a:lnTo>
                  <a:lnTo>
                    <a:pt x="1767" y="450"/>
                  </a:lnTo>
                  <a:lnTo>
                    <a:pt x="1742" y="462"/>
                  </a:lnTo>
                  <a:lnTo>
                    <a:pt x="1733" y="464"/>
                  </a:lnTo>
                  <a:lnTo>
                    <a:pt x="1733" y="449"/>
                  </a:lnTo>
                  <a:lnTo>
                    <a:pt x="1735" y="434"/>
                  </a:lnTo>
                  <a:lnTo>
                    <a:pt x="1738" y="421"/>
                  </a:lnTo>
                  <a:lnTo>
                    <a:pt x="1742" y="408"/>
                  </a:lnTo>
                  <a:lnTo>
                    <a:pt x="1752" y="386"/>
                  </a:lnTo>
                  <a:lnTo>
                    <a:pt x="1765" y="366"/>
                  </a:lnTo>
                  <a:lnTo>
                    <a:pt x="1779" y="345"/>
                  </a:lnTo>
                  <a:lnTo>
                    <a:pt x="1790" y="326"/>
                  </a:lnTo>
                  <a:lnTo>
                    <a:pt x="1794" y="315"/>
                  </a:lnTo>
                  <a:lnTo>
                    <a:pt x="1799" y="304"/>
                  </a:lnTo>
                  <a:lnTo>
                    <a:pt x="1802" y="292"/>
                  </a:lnTo>
                  <a:lnTo>
                    <a:pt x="1805" y="279"/>
                  </a:lnTo>
                  <a:lnTo>
                    <a:pt x="1809" y="247"/>
                  </a:lnTo>
                  <a:lnTo>
                    <a:pt x="1811" y="224"/>
                  </a:lnTo>
                  <a:lnTo>
                    <a:pt x="1811" y="213"/>
                  </a:lnTo>
                  <a:lnTo>
                    <a:pt x="1810" y="203"/>
                  </a:lnTo>
                  <a:lnTo>
                    <a:pt x="1806" y="190"/>
                  </a:lnTo>
                  <a:lnTo>
                    <a:pt x="1799" y="175"/>
                  </a:lnTo>
                  <a:lnTo>
                    <a:pt x="1786" y="148"/>
                  </a:lnTo>
                  <a:lnTo>
                    <a:pt x="1773" y="120"/>
                  </a:lnTo>
                  <a:lnTo>
                    <a:pt x="1759" y="94"/>
                  </a:lnTo>
                  <a:lnTo>
                    <a:pt x="1743" y="67"/>
                  </a:lnTo>
                  <a:lnTo>
                    <a:pt x="1703" y="0"/>
                  </a:lnTo>
                  <a:lnTo>
                    <a:pt x="1670" y="33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35" name="Freeform 82"/>
            <p:cNvSpPr>
              <a:spLocks/>
            </p:cNvSpPr>
            <p:nvPr/>
          </p:nvSpPr>
          <p:spPr bwMode="auto">
            <a:xfrm>
              <a:off x="3559175" y="3781425"/>
              <a:ext cx="2514600" cy="1700213"/>
            </a:xfrm>
            <a:custGeom>
              <a:avLst/>
              <a:gdLst/>
              <a:ahLst/>
              <a:cxnLst>
                <a:cxn ang="0">
                  <a:pos x="134" y="1609"/>
                </a:cxn>
                <a:cxn ang="0">
                  <a:pos x="40" y="1685"/>
                </a:cxn>
                <a:cxn ang="0">
                  <a:pos x="88" y="1884"/>
                </a:cxn>
                <a:cxn ang="0">
                  <a:pos x="182" y="1975"/>
                </a:cxn>
                <a:cxn ang="0">
                  <a:pos x="362" y="2143"/>
                </a:cxn>
                <a:cxn ang="0">
                  <a:pos x="249" y="2437"/>
                </a:cxn>
                <a:cxn ang="0">
                  <a:pos x="152" y="2697"/>
                </a:cxn>
                <a:cxn ang="0">
                  <a:pos x="299" y="3058"/>
                </a:cxn>
                <a:cxn ang="0">
                  <a:pos x="481" y="3375"/>
                </a:cxn>
                <a:cxn ang="0">
                  <a:pos x="453" y="3547"/>
                </a:cxn>
                <a:cxn ang="0">
                  <a:pos x="766" y="3625"/>
                </a:cxn>
                <a:cxn ang="0">
                  <a:pos x="970" y="3949"/>
                </a:cxn>
                <a:cxn ang="0">
                  <a:pos x="1170" y="4334"/>
                </a:cxn>
                <a:cxn ang="0">
                  <a:pos x="1448" y="4562"/>
                </a:cxn>
                <a:cxn ang="0">
                  <a:pos x="1773" y="4476"/>
                </a:cxn>
                <a:cxn ang="0">
                  <a:pos x="1904" y="4426"/>
                </a:cxn>
                <a:cxn ang="0">
                  <a:pos x="2034" y="4369"/>
                </a:cxn>
                <a:cxn ang="0">
                  <a:pos x="2146" y="4276"/>
                </a:cxn>
                <a:cxn ang="0">
                  <a:pos x="2316" y="4306"/>
                </a:cxn>
                <a:cxn ang="0">
                  <a:pos x="2448" y="4406"/>
                </a:cxn>
                <a:cxn ang="0">
                  <a:pos x="2690" y="4222"/>
                </a:cxn>
                <a:cxn ang="0">
                  <a:pos x="2974" y="4035"/>
                </a:cxn>
                <a:cxn ang="0">
                  <a:pos x="3205" y="3868"/>
                </a:cxn>
                <a:cxn ang="0">
                  <a:pos x="3642" y="4038"/>
                </a:cxn>
                <a:cxn ang="0">
                  <a:pos x="3889" y="4211"/>
                </a:cxn>
                <a:cxn ang="0">
                  <a:pos x="4215" y="4228"/>
                </a:cxn>
                <a:cxn ang="0">
                  <a:pos x="4389" y="4273"/>
                </a:cxn>
                <a:cxn ang="0">
                  <a:pos x="4548" y="3850"/>
                </a:cxn>
                <a:cxn ang="0">
                  <a:pos x="4976" y="3706"/>
                </a:cxn>
                <a:cxn ang="0">
                  <a:pos x="5051" y="3279"/>
                </a:cxn>
                <a:cxn ang="0">
                  <a:pos x="5541" y="2968"/>
                </a:cxn>
                <a:cxn ang="0">
                  <a:pos x="5340" y="2360"/>
                </a:cxn>
                <a:cxn ang="0">
                  <a:pos x="5594" y="2097"/>
                </a:cxn>
                <a:cxn ang="0">
                  <a:pos x="5979" y="1721"/>
                </a:cxn>
                <a:cxn ang="0">
                  <a:pos x="6138" y="1466"/>
                </a:cxn>
                <a:cxn ang="0">
                  <a:pos x="6395" y="1185"/>
                </a:cxn>
                <a:cxn ang="0">
                  <a:pos x="6484" y="1046"/>
                </a:cxn>
                <a:cxn ang="0">
                  <a:pos x="6717" y="931"/>
                </a:cxn>
                <a:cxn ang="0">
                  <a:pos x="6799" y="709"/>
                </a:cxn>
                <a:cxn ang="0">
                  <a:pos x="6641" y="589"/>
                </a:cxn>
                <a:cxn ang="0">
                  <a:pos x="6571" y="0"/>
                </a:cxn>
                <a:cxn ang="0">
                  <a:pos x="6313" y="528"/>
                </a:cxn>
                <a:cxn ang="0">
                  <a:pos x="5586" y="721"/>
                </a:cxn>
                <a:cxn ang="0">
                  <a:pos x="4820" y="646"/>
                </a:cxn>
                <a:cxn ang="0">
                  <a:pos x="4548" y="985"/>
                </a:cxn>
                <a:cxn ang="0">
                  <a:pos x="3807" y="1376"/>
                </a:cxn>
                <a:cxn ang="0">
                  <a:pos x="3362" y="1281"/>
                </a:cxn>
                <a:cxn ang="0">
                  <a:pos x="3248" y="1392"/>
                </a:cxn>
                <a:cxn ang="0">
                  <a:pos x="3055" y="1499"/>
                </a:cxn>
                <a:cxn ang="0">
                  <a:pos x="3120" y="1567"/>
                </a:cxn>
                <a:cxn ang="0">
                  <a:pos x="2941" y="1657"/>
                </a:cxn>
                <a:cxn ang="0">
                  <a:pos x="2832" y="1577"/>
                </a:cxn>
                <a:cxn ang="0">
                  <a:pos x="2577" y="1605"/>
                </a:cxn>
                <a:cxn ang="0">
                  <a:pos x="2114" y="1679"/>
                </a:cxn>
                <a:cxn ang="0">
                  <a:pos x="1717" y="1999"/>
                </a:cxn>
                <a:cxn ang="0">
                  <a:pos x="1583" y="2314"/>
                </a:cxn>
                <a:cxn ang="0">
                  <a:pos x="1400" y="2511"/>
                </a:cxn>
                <a:cxn ang="0">
                  <a:pos x="1141" y="2679"/>
                </a:cxn>
                <a:cxn ang="0">
                  <a:pos x="988" y="2634"/>
                </a:cxn>
                <a:cxn ang="0">
                  <a:pos x="861" y="2339"/>
                </a:cxn>
                <a:cxn ang="0">
                  <a:pos x="766" y="2195"/>
                </a:cxn>
                <a:cxn ang="0">
                  <a:pos x="496" y="1852"/>
                </a:cxn>
              </a:cxnLst>
              <a:rect l="0" t="0" r="r" b="b"/>
              <a:pathLst>
                <a:path w="6843" h="4623">
                  <a:moveTo>
                    <a:pt x="341" y="1521"/>
                  </a:moveTo>
                  <a:lnTo>
                    <a:pt x="344" y="1529"/>
                  </a:lnTo>
                  <a:lnTo>
                    <a:pt x="348" y="1537"/>
                  </a:lnTo>
                  <a:lnTo>
                    <a:pt x="350" y="1541"/>
                  </a:lnTo>
                  <a:lnTo>
                    <a:pt x="351" y="1546"/>
                  </a:lnTo>
                  <a:lnTo>
                    <a:pt x="352" y="1550"/>
                  </a:lnTo>
                  <a:lnTo>
                    <a:pt x="351" y="1554"/>
                  </a:lnTo>
                  <a:lnTo>
                    <a:pt x="348" y="1557"/>
                  </a:lnTo>
                  <a:lnTo>
                    <a:pt x="343" y="1558"/>
                  </a:lnTo>
                  <a:lnTo>
                    <a:pt x="337" y="1560"/>
                  </a:lnTo>
                  <a:lnTo>
                    <a:pt x="327" y="1562"/>
                  </a:lnTo>
                  <a:lnTo>
                    <a:pt x="307" y="1563"/>
                  </a:lnTo>
                  <a:lnTo>
                    <a:pt x="282" y="1564"/>
                  </a:lnTo>
                  <a:lnTo>
                    <a:pt x="233" y="1563"/>
                  </a:lnTo>
                  <a:lnTo>
                    <a:pt x="205" y="1563"/>
                  </a:lnTo>
                  <a:lnTo>
                    <a:pt x="194" y="1560"/>
                  </a:lnTo>
                  <a:lnTo>
                    <a:pt x="182" y="1555"/>
                  </a:lnTo>
                  <a:lnTo>
                    <a:pt x="169" y="1549"/>
                  </a:lnTo>
                  <a:lnTo>
                    <a:pt x="157" y="1540"/>
                  </a:lnTo>
                  <a:lnTo>
                    <a:pt x="144" y="1532"/>
                  </a:lnTo>
                  <a:lnTo>
                    <a:pt x="134" y="1526"/>
                  </a:lnTo>
                  <a:lnTo>
                    <a:pt x="130" y="1524"/>
                  </a:lnTo>
                  <a:lnTo>
                    <a:pt x="126" y="1523"/>
                  </a:lnTo>
                  <a:lnTo>
                    <a:pt x="123" y="1521"/>
                  </a:lnTo>
                  <a:lnTo>
                    <a:pt x="121" y="1523"/>
                  </a:lnTo>
                  <a:lnTo>
                    <a:pt x="123" y="1564"/>
                  </a:lnTo>
                  <a:lnTo>
                    <a:pt x="126" y="1570"/>
                  </a:lnTo>
                  <a:lnTo>
                    <a:pt x="129" y="1572"/>
                  </a:lnTo>
                  <a:lnTo>
                    <a:pt x="130" y="1576"/>
                  </a:lnTo>
                  <a:lnTo>
                    <a:pt x="131" y="1580"/>
                  </a:lnTo>
                  <a:lnTo>
                    <a:pt x="131" y="1580"/>
                  </a:lnTo>
                  <a:lnTo>
                    <a:pt x="133" y="1581"/>
                  </a:lnTo>
                  <a:lnTo>
                    <a:pt x="133" y="1583"/>
                  </a:lnTo>
                  <a:lnTo>
                    <a:pt x="133" y="1584"/>
                  </a:lnTo>
                  <a:lnTo>
                    <a:pt x="134" y="1585"/>
                  </a:lnTo>
                  <a:lnTo>
                    <a:pt x="134" y="1587"/>
                  </a:lnTo>
                  <a:lnTo>
                    <a:pt x="135" y="1589"/>
                  </a:lnTo>
                  <a:lnTo>
                    <a:pt x="137" y="1592"/>
                  </a:lnTo>
                  <a:lnTo>
                    <a:pt x="137" y="1596"/>
                  </a:lnTo>
                  <a:lnTo>
                    <a:pt x="135" y="1601"/>
                  </a:lnTo>
                  <a:lnTo>
                    <a:pt x="134" y="1609"/>
                  </a:lnTo>
                  <a:lnTo>
                    <a:pt x="133" y="1614"/>
                  </a:lnTo>
                  <a:lnTo>
                    <a:pt x="131" y="1617"/>
                  </a:lnTo>
                  <a:lnTo>
                    <a:pt x="129" y="1618"/>
                  </a:lnTo>
                  <a:lnTo>
                    <a:pt x="126" y="1623"/>
                  </a:lnTo>
                  <a:lnTo>
                    <a:pt x="123" y="1626"/>
                  </a:lnTo>
                  <a:lnTo>
                    <a:pt x="121" y="1626"/>
                  </a:lnTo>
                  <a:lnTo>
                    <a:pt x="121" y="1627"/>
                  </a:lnTo>
                  <a:lnTo>
                    <a:pt x="120" y="1630"/>
                  </a:lnTo>
                  <a:lnTo>
                    <a:pt x="114" y="1632"/>
                  </a:lnTo>
                  <a:lnTo>
                    <a:pt x="109" y="1635"/>
                  </a:lnTo>
                  <a:lnTo>
                    <a:pt x="105" y="1639"/>
                  </a:lnTo>
                  <a:lnTo>
                    <a:pt x="100" y="1642"/>
                  </a:lnTo>
                  <a:lnTo>
                    <a:pt x="99" y="1642"/>
                  </a:lnTo>
                  <a:lnTo>
                    <a:pt x="97" y="1642"/>
                  </a:lnTo>
                  <a:lnTo>
                    <a:pt x="97" y="1643"/>
                  </a:lnTo>
                  <a:lnTo>
                    <a:pt x="95" y="1651"/>
                  </a:lnTo>
                  <a:lnTo>
                    <a:pt x="93" y="1652"/>
                  </a:lnTo>
                  <a:lnTo>
                    <a:pt x="92" y="1652"/>
                  </a:lnTo>
                  <a:lnTo>
                    <a:pt x="92" y="1653"/>
                  </a:lnTo>
                  <a:lnTo>
                    <a:pt x="91" y="1656"/>
                  </a:lnTo>
                  <a:lnTo>
                    <a:pt x="89" y="1661"/>
                  </a:lnTo>
                  <a:lnTo>
                    <a:pt x="87" y="1668"/>
                  </a:lnTo>
                  <a:lnTo>
                    <a:pt x="86" y="1670"/>
                  </a:lnTo>
                  <a:lnTo>
                    <a:pt x="84" y="1674"/>
                  </a:lnTo>
                  <a:lnTo>
                    <a:pt x="84" y="1676"/>
                  </a:lnTo>
                  <a:lnTo>
                    <a:pt x="83" y="1676"/>
                  </a:lnTo>
                  <a:lnTo>
                    <a:pt x="80" y="1676"/>
                  </a:lnTo>
                  <a:lnTo>
                    <a:pt x="71" y="1674"/>
                  </a:lnTo>
                  <a:lnTo>
                    <a:pt x="62" y="1673"/>
                  </a:lnTo>
                  <a:lnTo>
                    <a:pt x="57" y="1670"/>
                  </a:lnTo>
                  <a:lnTo>
                    <a:pt x="53" y="1670"/>
                  </a:lnTo>
                  <a:lnTo>
                    <a:pt x="52" y="1672"/>
                  </a:lnTo>
                  <a:lnTo>
                    <a:pt x="50" y="1673"/>
                  </a:lnTo>
                  <a:lnTo>
                    <a:pt x="48" y="1674"/>
                  </a:lnTo>
                  <a:lnTo>
                    <a:pt x="48" y="1674"/>
                  </a:lnTo>
                  <a:lnTo>
                    <a:pt x="46" y="1677"/>
                  </a:lnTo>
                  <a:lnTo>
                    <a:pt x="45" y="1679"/>
                  </a:lnTo>
                  <a:lnTo>
                    <a:pt x="44" y="1679"/>
                  </a:lnTo>
                  <a:lnTo>
                    <a:pt x="42" y="1681"/>
                  </a:lnTo>
                  <a:lnTo>
                    <a:pt x="41" y="1683"/>
                  </a:lnTo>
                  <a:lnTo>
                    <a:pt x="40" y="1685"/>
                  </a:lnTo>
                  <a:lnTo>
                    <a:pt x="38" y="1685"/>
                  </a:lnTo>
                  <a:lnTo>
                    <a:pt x="33" y="1687"/>
                  </a:lnTo>
                  <a:lnTo>
                    <a:pt x="28" y="1693"/>
                  </a:lnTo>
                  <a:lnTo>
                    <a:pt x="21" y="1698"/>
                  </a:lnTo>
                  <a:lnTo>
                    <a:pt x="16" y="1703"/>
                  </a:lnTo>
                  <a:lnTo>
                    <a:pt x="15" y="1703"/>
                  </a:lnTo>
                  <a:lnTo>
                    <a:pt x="14" y="1704"/>
                  </a:lnTo>
                  <a:lnTo>
                    <a:pt x="12" y="1706"/>
                  </a:lnTo>
                  <a:lnTo>
                    <a:pt x="12" y="1706"/>
                  </a:lnTo>
                  <a:lnTo>
                    <a:pt x="11" y="1707"/>
                  </a:lnTo>
                  <a:lnTo>
                    <a:pt x="11" y="1708"/>
                  </a:lnTo>
                  <a:lnTo>
                    <a:pt x="6" y="1715"/>
                  </a:lnTo>
                  <a:lnTo>
                    <a:pt x="3" y="1721"/>
                  </a:lnTo>
                  <a:lnTo>
                    <a:pt x="2" y="1731"/>
                  </a:lnTo>
                  <a:lnTo>
                    <a:pt x="0" y="1740"/>
                  </a:lnTo>
                  <a:lnTo>
                    <a:pt x="0" y="1749"/>
                  </a:lnTo>
                  <a:lnTo>
                    <a:pt x="3" y="1758"/>
                  </a:lnTo>
                  <a:lnTo>
                    <a:pt x="7" y="1768"/>
                  </a:lnTo>
                  <a:lnTo>
                    <a:pt x="12" y="1779"/>
                  </a:lnTo>
                  <a:lnTo>
                    <a:pt x="16" y="1789"/>
                  </a:lnTo>
                  <a:lnTo>
                    <a:pt x="20" y="1799"/>
                  </a:lnTo>
                  <a:lnTo>
                    <a:pt x="20" y="1801"/>
                  </a:lnTo>
                  <a:lnTo>
                    <a:pt x="23" y="1802"/>
                  </a:lnTo>
                  <a:lnTo>
                    <a:pt x="25" y="1806"/>
                  </a:lnTo>
                  <a:lnTo>
                    <a:pt x="29" y="1812"/>
                  </a:lnTo>
                  <a:lnTo>
                    <a:pt x="33" y="1821"/>
                  </a:lnTo>
                  <a:lnTo>
                    <a:pt x="37" y="1830"/>
                  </a:lnTo>
                  <a:lnTo>
                    <a:pt x="40" y="1839"/>
                  </a:lnTo>
                  <a:lnTo>
                    <a:pt x="42" y="1850"/>
                  </a:lnTo>
                  <a:lnTo>
                    <a:pt x="42" y="1856"/>
                  </a:lnTo>
                  <a:lnTo>
                    <a:pt x="44" y="1863"/>
                  </a:lnTo>
                  <a:lnTo>
                    <a:pt x="45" y="1865"/>
                  </a:lnTo>
                  <a:lnTo>
                    <a:pt x="45" y="1869"/>
                  </a:lnTo>
                  <a:lnTo>
                    <a:pt x="46" y="1872"/>
                  </a:lnTo>
                  <a:lnTo>
                    <a:pt x="48" y="1874"/>
                  </a:lnTo>
                  <a:lnTo>
                    <a:pt x="48" y="1874"/>
                  </a:lnTo>
                  <a:lnTo>
                    <a:pt x="49" y="1876"/>
                  </a:lnTo>
                  <a:lnTo>
                    <a:pt x="50" y="1877"/>
                  </a:lnTo>
                  <a:lnTo>
                    <a:pt x="52" y="1877"/>
                  </a:lnTo>
                  <a:lnTo>
                    <a:pt x="70" y="1880"/>
                  </a:lnTo>
                  <a:lnTo>
                    <a:pt x="88" y="1884"/>
                  </a:lnTo>
                  <a:lnTo>
                    <a:pt x="93" y="1887"/>
                  </a:lnTo>
                  <a:lnTo>
                    <a:pt x="97" y="1889"/>
                  </a:lnTo>
                  <a:lnTo>
                    <a:pt x="100" y="1889"/>
                  </a:lnTo>
                  <a:lnTo>
                    <a:pt x="104" y="1891"/>
                  </a:lnTo>
                  <a:lnTo>
                    <a:pt x="109" y="1894"/>
                  </a:lnTo>
                  <a:lnTo>
                    <a:pt x="110" y="1894"/>
                  </a:lnTo>
                  <a:lnTo>
                    <a:pt x="112" y="1894"/>
                  </a:lnTo>
                  <a:lnTo>
                    <a:pt x="112" y="1895"/>
                  </a:lnTo>
                  <a:lnTo>
                    <a:pt x="112" y="1897"/>
                  </a:lnTo>
                  <a:lnTo>
                    <a:pt x="112" y="1898"/>
                  </a:lnTo>
                  <a:lnTo>
                    <a:pt x="113" y="1899"/>
                  </a:lnTo>
                  <a:lnTo>
                    <a:pt x="114" y="1903"/>
                  </a:lnTo>
                  <a:lnTo>
                    <a:pt x="113" y="1907"/>
                  </a:lnTo>
                  <a:lnTo>
                    <a:pt x="113" y="1908"/>
                  </a:lnTo>
                  <a:lnTo>
                    <a:pt x="112" y="1910"/>
                  </a:lnTo>
                  <a:lnTo>
                    <a:pt x="112" y="1919"/>
                  </a:lnTo>
                  <a:lnTo>
                    <a:pt x="112" y="1927"/>
                  </a:lnTo>
                  <a:lnTo>
                    <a:pt x="110" y="1932"/>
                  </a:lnTo>
                  <a:lnTo>
                    <a:pt x="110" y="1936"/>
                  </a:lnTo>
                  <a:lnTo>
                    <a:pt x="110" y="1937"/>
                  </a:lnTo>
                  <a:lnTo>
                    <a:pt x="112" y="1938"/>
                  </a:lnTo>
                  <a:lnTo>
                    <a:pt x="113" y="1940"/>
                  </a:lnTo>
                  <a:lnTo>
                    <a:pt x="114" y="1942"/>
                  </a:lnTo>
                  <a:lnTo>
                    <a:pt x="114" y="1944"/>
                  </a:lnTo>
                  <a:lnTo>
                    <a:pt x="116" y="1945"/>
                  </a:lnTo>
                  <a:lnTo>
                    <a:pt x="120" y="1946"/>
                  </a:lnTo>
                  <a:lnTo>
                    <a:pt x="129" y="1949"/>
                  </a:lnTo>
                  <a:lnTo>
                    <a:pt x="140" y="1953"/>
                  </a:lnTo>
                  <a:lnTo>
                    <a:pt x="146" y="1955"/>
                  </a:lnTo>
                  <a:lnTo>
                    <a:pt x="152" y="1959"/>
                  </a:lnTo>
                  <a:lnTo>
                    <a:pt x="156" y="1961"/>
                  </a:lnTo>
                  <a:lnTo>
                    <a:pt x="159" y="1962"/>
                  </a:lnTo>
                  <a:lnTo>
                    <a:pt x="161" y="1962"/>
                  </a:lnTo>
                  <a:lnTo>
                    <a:pt x="164" y="1965"/>
                  </a:lnTo>
                  <a:lnTo>
                    <a:pt x="167" y="1967"/>
                  </a:lnTo>
                  <a:lnTo>
                    <a:pt x="171" y="1970"/>
                  </a:lnTo>
                  <a:lnTo>
                    <a:pt x="173" y="1971"/>
                  </a:lnTo>
                  <a:lnTo>
                    <a:pt x="177" y="1971"/>
                  </a:lnTo>
                  <a:lnTo>
                    <a:pt x="178" y="1971"/>
                  </a:lnTo>
                  <a:lnTo>
                    <a:pt x="181" y="1972"/>
                  </a:lnTo>
                  <a:lnTo>
                    <a:pt x="182" y="1975"/>
                  </a:lnTo>
                  <a:lnTo>
                    <a:pt x="184" y="1976"/>
                  </a:lnTo>
                  <a:lnTo>
                    <a:pt x="185" y="1976"/>
                  </a:lnTo>
                  <a:lnTo>
                    <a:pt x="189" y="1980"/>
                  </a:lnTo>
                  <a:lnTo>
                    <a:pt x="191" y="1984"/>
                  </a:lnTo>
                  <a:lnTo>
                    <a:pt x="194" y="1984"/>
                  </a:lnTo>
                  <a:lnTo>
                    <a:pt x="197" y="1987"/>
                  </a:lnTo>
                  <a:lnTo>
                    <a:pt x="201" y="1990"/>
                  </a:lnTo>
                  <a:lnTo>
                    <a:pt x="206" y="1996"/>
                  </a:lnTo>
                  <a:lnTo>
                    <a:pt x="211" y="2003"/>
                  </a:lnTo>
                  <a:lnTo>
                    <a:pt x="219" y="2012"/>
                  </a:lnTo>
                  <a:lnTo>
                    <a:pt x="225" y="2022"/>
                  </a:lnTo>
                  <a:lnTo>
                    <a:pt x="227" y="2024"/>
                  </a:lnTo>
                  <a:lnTo>
                    <a:pt x="228" y="2025"/>
                  </a:lnTo>
                  <a:lnTo>
                    <a:pt x="228" y="2029"/>
                  </a:lnTo>
                  <a:lnTo>
                    <a:pt x="229" y="2033"/>
                  </a:lnTo>
                  <a:lnTo>
                    <a:pt x="232" y="2039"/>
                  </a:lnTo>
                  <a:lnTo>
                    <a:pt x="235" y="2048"/>
                  </a:lnTo>
                  <a:lnTo>
                    <a:pt x="239" y="2054"/>
                  </a:lnTo>
                  <a:lnTo>
                    <a:pt x="245" y="2060"/>
                  </a:lnTo>
                  <a:lnTo>
                    <a:pt x="248" y="2063"/>
                  </a:lnTo>
                  <a:lnTo>
                    <a:pt x="250" y="2065"/>
                  </a:lnTo>
                  <a:lnTo>
                    <a:pt x="253" y="2072"/>
                  </a:lnTo>
                  <a:lnTo>
                    <a:pt x="256" y="2077"/>
                  </a:lnTo>
                  <a:lnTo>
                    <a:pt x="257" y="2082"/>
                  </a:lnTo>
                  <a:lnTo>
                    <a:pt x="259" y="2085"/>
                  </a:lnTo>
                  <a:lnTo>
                    <a:pt x="263" y="2086"/>
                  </a:lnTo>
                  <a:lnTo>
                    <a:pt x="267" y="2088"/>
                  </a:lnTo>
                  <a:lnTo>
                    <a:pt x="276" y="2090"/>
                  </a:lnTo>
                  <a:lnTo>
                    <a:pt x="292" y="2093"/>
                  </a:lnTo>
                  <a:lnTo>
                    <a:pt x="300" y="2094"/>
                  </a:lnTo>
                  <a:lnTo>
                    <a:pt x="308" y="2097"/>
                  </a:lnTo>
                  <a:lnTo>
                    <a:pt x="313" y="2099"/>
                  </a:lnTo>
                  <a:lnTo>
                    <a:pt x="317" y="2102"/>
                  </a:lnTo>
                  <a:lnTo>
                    <a:pt x="326" y="2109"/>
                  </a:lnTo>
                  <a:lnTo>
                    <a:pt x="337" y="2115"/>
                  </a:lnTo>
                  <a:lnTo>
                    <a:pt x="344" y="2120"/>
                  </a:lnTo>
                  <a:lnTo>
                    <a:pt x="352" y="2127"/>
                  </a:lnTo>
                  <a:lnTo>
                    <a:pt x="354" y="2129"/>
                  </a:lnTo>
                  <a:lnTo>
                    <a:pt x="356" y="2131"/>
                  </a:lnTo>
                  <a:lnTo>
                    <a:pt x="360" y="2137"/>
                  </a:lnTo>
                  <a:lnTo>
                    <a:pt x="362" y="2143"/>
                  </a:lnTo>
                  <a:lnTo>
                    <a:pt x="367" y="2158"/>
                  </a:lnTo>
                  <a:lnTo>
                    <a:pt x="372" y="2174"/>
                  </a:lnTo>
                  <a:lnTo>
                    <a:pt x="372" y="2188"/>
                  </a:lnTo>
                  <a:lnTo>
                    <a:pt x="372" y="2192"/>
                  </a:lnTo>
                  <a:lnTo>
                    <a:pt x="372" y="2196"/>
                  </a:lnTo>
                  <a:lnTo>
                    <a:pt x="371" y="2201"/>
                  </a:lnTo>
                  <a:lnTo>
                    <a:pt x="369" y="2207"/>
                  </a:lnTo>
                  <a:lnTo>
                    <a:pt x="368" y="2212"/>
                  </a:lnTo>
                  <a:lnTo>
                    <a:pt x="367" y="2217"/>
                  </a:lnTo>
                  <a:lnTo>
                    <a:pt x="364" y="2222"/>
                  </a:lnTo>
                  <a:lnTo>
                    <a:pt x="362" y="2228"/>
                  </a:lnTo>
                  <a:lnTo>
                    <a:pt x="359" y="2242"/>
                  </a:lnTo>
                  <a:lnTo>
                    <a:pt x="351" y="2273"/>
                  </a:lnTo>
                  <a:lnTo>
                    <a:pt x="343" y="2307"/>
                  </a:lnTo>
                  <a:lnTo>
                    <a:pt x="338" y="2330"/>
                  </a:lnTo>
                  <a:lnTo>
                    <a:pt x="338" y="2332"/>
                  </a:lnTo>
                  <a:lnTo>
                    <a:pt x="337" y="2334"/>
                  </a:lnTo>
                  <a:lnTo>
                    <a:pt x="335" y="2334"/>
                  </a:lnTo>
                  <a:lnTo>
                    <a:pt x="335" y="2335"/>
                  </a:lnTo>
                  <a:lnTo>
                    <a:pt x="334" y="2339"/>
                  </a:lnTo>
                  <a:lnTo>
                    <a:pt x="333" y="2341"/>
                  </a:lnTo>
                  <a:lnTo>
                    <a:pt x="329" y="2345"/>
                  </a:lnTo>
                  <a:lnTo>
                    <a:pt x="325" y="2349"/>
                  </a:lnTo>
                  <a:lnTo>
                    <a:pt x="316" y="2354"/>
                  </a:lnTo>
                  <a:lnTo>
                    <a:pt x="308" y="2357"/>
                  </a:lnTo>
                  <a:lnTo>
                    <a:pt x="307" y="2357"/>
                  </a:lnTo>
                  <a:lnTo>
                    <a:pt x="305" y="2358"/>
                  </a:lnTo>
                  <a:lnTo>
                    <a:pt x="300" y="2360"/>
                  </a:lnTo>
                  <a:lnTo>
                    <a:pt x="295" y="2362"/>
                  </a:lnTo>
                  <a:lnTo>
                    <a:pt x="286" y="2362"/>
                  </a:lnTo>
                  <a:lnTo>
                    <a:pt x="276" y="2364"/>
                  </a:lnTo>
                  <a:lnTo>
                    <a:pt x="274" y="2373"/>
                  </a:lnTo>
                  <a:lnTo>
                    <a:pt x="271" y="2383"/>
                  </a:lnTo>
                  <a:lnTo>
                    <a:pt x="270" y="2394"/>
                  </a:lnTo>
                  <a:lnTo>
                    <a:pt x="267" y="2404"/>
                  </a:lnTo>
                  <a:lnTo>
                    <a:pt x="265" y="2411"/>
                  </a:lnTo>
                  <a:lnTo>
                    <a:pt x="261" y="2419"/>
                  </a:lnTo>
                  <a:lnTo>
                    <a:pt x="257" y="2428"/>
                  </a:lnTo>
                  <a:lnTo>
                    <a:pt x="253" y="2433"/>
                  </a:lnTo>
                  <a:lnTo>
                    <a:pt x="250" y="2434"/>
                  </a:lnTo>
                  <a:lnTo>
                    <a:pt x="249" y="2437"/>
                  </a:lnTo>
                  <a:lnTo>
                    <a:pt x="249" y="2438"/>
                  </a:lnTo>
                  <a:lnTo>
                    <a:pt x="248" y="2442"/>
                  </a:lnTo>
                  <a:lnTo>
                    <a:pt x="244" y="2445"/>
                  </a:lnTo>
                  <a:lnTo>
                    <a:pt x="239" y="2447"/>
                  </a:lnTo>
                  <a:lnTo>
                    <a:pt x="232" y="2450"/>
                  </a:lnTo>
                  <a:lnTo>
                    <a:pt x="216" y="2454"/>
                  </a:lnTo>
                  <a:lnTo>
                    <a:pt x="202" y="2459"/>
                  </a:lnTo>
                  <a:lnTo>
                    <a:pt x="202" y="2462"/>
                  </a:lnTo>
                  <a:lnTo>
                    <a:pt x="203" y="2466"/>
                  </a:lnTo>
                  <a:lnTo>
                    <a:pt x="203" y="2472"/>
                  </a:lnTo>
                  <a:lnTo>
                    <a:pt x="202" y="2480"/>
                  </a:lnTo>
                  <a:lnTo>
                    <a:pt x="198" y="2490"/>
                  </a:lnTo>
                  <a:lnTo>
                    <a:pt x="194" y="2500"/>
                  </a:lnTo>
                  <a:lnTo>
                    <a:pt x="188" y="2521"/>
                  </a:lnTo>
                  <a:lnTo>
                    <a:pt x="184" y="2535"/>
                  </a:lnTo>
                  <a:lnTo>
                    <a:pt x="184" y="2536"/>
                  </a:lnTo>
                  <a:lnTo>
                    <a:pt x="182" y="2540"/>
                  </a:lnTo>
                  <a:lnTo>
                    <a:pt x="180" y="2544"/>
                  </a:lnTo>
                  <a:lnTo>
                    <a:pt x="174" y="2551"/>
                  </a:lnTo>
                  <a:lnTo>
                    <a:pt x="171" y="2559"/>
                  </a:lnTo>
                  <a:lnTo>
                    <a:pt x="165" y="2565"/>
                  </a:lnTo>
                  <a:lnTo>
                    <a:pt x="157" y="2579"/>
                  </a:lnTo>
                  <a:lnTo>
                    <a:pt x="150" y="2593"/>
                  </a:lnTo>
                  <a:lnTo>
                    <a:pt x="146" y="2599"/>
                  </a:lnTo>
                  <a:lnTo>
                    <a:pt x="144" y="2600"/>
                  </a:lnTo>
                  <a:lnTo>
                    <a:pt x="144" y="2602"/>
                  </a:lnTo>
                  <a:lnTo>
                    <a:pt x="144" y="2604"/>
                  </a:lnTo>
                  <a:lnTo>
                    <a:pt x="135" y="2616"/>
                  </a:lnTo>
                  <a:lnTo>
                    <a:pt x="126" y="2630"/>
                  </a:lnTo>
                  <a:lnTo>
                    <a:pt x="126" y="2632"/>
                  </a:lnTo>
                  <a:lnTo>
                    <a:pt x="129" y="2644"/>
                  </a:lnTo>
                  <a:lnTo>
                    <a:pt x="133" y="2654"/>
                  </a:lnTo>
                  <a:lnTo>
                    <a:pt x="135" y="2658"/>
                  </a:lnTo>
                  <a:lnTo>
                    <a:pt x="137" y="2662"/>
                  </a:lnTo>
                  <a:lnTo>
                    <a:pt x="137" y="2663"/>
                  </a:lnTo>
                  <a:lnTo>
                    <a:pt x="138" y="2663"/>
                  </a:lnTo>
                  <a:lnTo>
                    <a:pt x="140" y="2666"/>
                  </a:lnTo>
                  <a:lnTo>
                    <a:pt x="143" y="2670"/>
                  </a:lnTo>
                  <a:lnTo>
                    <a:pt x="146" y="2675"/>
                  </a:lnTo>
                  <a:lnTo>
                    <a:pt x="148" y="2681"/>
                  </a:lnTo>
                  <a:lnTo>
                    <a:pt x="152" y="2697"/>
                  </a:lnTo>
                  <a:lnTo>
                    <a:pt x="154" y="2715"/>
                  </a:lnTo>
                  <a:lnTo>
                    <a:pt x="155" y="2732"/>
                  </a:lnTo>
                  <a:lnTo>
                    <a:pt x="155" y="2749"/>
                  </a:lnTo>
                  <a:lnTo>
                    <a:pt x="154" y="2764"/>
                  </a:lnTo>
                  <a:lnTo>
                    <a:pt x="152" y="2773"/>
                  </a:lnTo>
                  <a:lnTo>
                    <a:pt x="144" y="2789"/>
                  </a:lnTo>
                  <a:lnTo>
                    <a:pt x="135" y="2803"/>
                  </a:lnTo>
                  <a:lnTo>
                    <a:pt x="125" y="2816"/>
                  </a:lnTo>
                  <a:lnTo>
                    <a:pt x="113" y="2828"/>
                  </a:lnTo>
                  <a:lnTo>
                    <a:pt x="103" y="2841"/>
                  </a:lnTo>
                  <a:lnTo>
                    <a:pt x="95" y="2853"/>
                  </a:lnTo>
                  <a:lnTo>
                    <a:pt x="91" y="2858"/>
                  </a:lnTo>
                  <a:lnTo>
                    <a:pt x="88" y="2865"/>
                  </a:lnTo>
                  <a:lnTo>
                    <a:pt x="86" y="2870"/>
                  </a:lnTo>
                  <a:lnTo>
                    <a:pt x="84" y="2876"/>
                  </a:lnTo>
                  <a:lnTo>
                    <a:pt x="83" y="2893"/>
                  </a:lnTo>
                  <a:lnTo>
                    <a:pt x="83" y="2906"/>
                  </a:lnTo>
                  <a:lnTo>
                    <a:pt x="84" y="2918"/>
                  </a:lnTo>
                  <a:lnTo>
                    <a:pt x="86" y="2930"/>
                  </a:lnTo>
                  <a:lnTo>
                    <a:pt x="92" y="2952"/>
                  </a:lnTo>
                  <a:lnTo>
                    <a:pt x="100" y="2982"/>
                  </a:lnTo>
                  <a:lnTo>
                    <a:pt x="103" y="2993"/>
                  </a:lnTo>
                  <a:lnTo>
                    <a:pt x="106" y="3003"/>
                  </a:lnTo>
                  <a:lnTo>
                    <a:pt x="112" y="3012"/>
                  </a:lnTo>
                  <a:lnTo>
                    <a:pt x="118" y="3020"/>
                  </a:lnTo>
                  <a:lnTo>
                    <a:pt x="125" y="3027"/>
                  </a:lnTo>
                  <a:lnTo>
                    <a:pt x="131" y="3032"/>
                  </a:lnTo>
                  <a:lnTo>
                    <a:pt x="139" y="3037"/>
                  </a:lnTo>
                  <a:lnTo>
                    <a:pt x="148" y="3040"/>
                  </a:lnTo>
                  <a:lnTo>
                    <a:pt x="157" y="3043"/>
                  </a:lnTo>
                  <a:lnTo>
                    <a:pt x="168" y="3045"/>
                  </a:lnTo>
                  <a:lnTo>
                    <a:pt x="178" y="3046"/>
                  </a:lnTo>
                  <a:lnTo>
                    <a:pt x="189" y="3046"/>
                  </a:lnTo>
                  <a:lnTo>
                    <a:pt x="211" y="3045"/>
                  </a:lnTo>
                  <a:lnTo>
                    <a:pt x="236" y="3043"/>
                  </a:lnTo>
                  <a:lnTo>
                    <a:pt x="248" y="3041"/>
                  </a:lnTo>
                  <a:lnTo>
                    <a:pt x="257" y="3041"/>
                  </a:lnTo>
                  <a:lnTo>
                    <a:pt x="266" y="3043"/>
                  </a:lnTo>
                  <a:lnTo>
                    <a:pt x="274" y="3044"/>
                  </a:lnTo>
                  <a:lnTo>
                    <a:pt x="287" y="3050"/>
                  </a:lnTo>
                  <a:lnTo>
                    <a:pt x="299" y="3058"/>
                  </a:lnTo>
                  <a:lnTo>
                    <a:pt x="312" y="3066"/>
                  </a:lnTo>
                  <a:lnTo>
                    <a:pt x="326" y="3074"/>
                  </a:lnTo>
                  <a:lnTo>
                    <a:pt x="335" y="3077"/>
                  </a:lnTo>
                  <a:lnTo>
                    <a:pt x="344" y="3079"/>
                  </a:lnTo>
                  <a:lnTo>
                    <a:pt x="356" y="3080"/>
                  </a:lnTo>
                  <a:lnTo>
                    <a:pt x="369" y="3082"/>
                  </a:lnTo>
                  <a:lnTo>
                    <a:pt x="482" y="3083"/>
                  </a:lnTo>
                  <a:lnTo>
                    <a:pt x="491" y="3084"/>
                  </a:lnTo>
                  <a:lnTo>
                    <a:pt x="498" y="3087"/>
                  </a:lnTo>
                  <a:lnTo>
                    <a:pt x="503" y="3092"/>
                  </a:lnTo>
                  <a:lnTo>
                    <a:pt x="505" y="3097"/>
                  </a:lnTo>
                  <a:lnTo>
                    <a:pt x="508" y="3105"/>
                  </a:lnTo>
                  <a:lnTo>
                    <a:pt x="508" y="3113"/>
                  </a:lnTo>
                  <a:lnTo>
                    <a:pt x="507" y="3122"/>
                  </a:lnTo>
                  <a:lnTo>
                    <a:pt x="505" y="3133"/>
                  </a:lnTo>
                  <a:lnTo>
                    <a:pt x="500" y="3152"/>
                  </a:lnTo>
                  <a:lnTo>
                    <a:pt x="492" y="3173"/>
                  </a:lnTo>
                  <a:lnTo>
                    <a:pt x="486" y="3192"/>
                  </a:lnTo>
                  <a:lnTo>
                    <a:pt x="481" y="3207"/>
                  </a:lnTo>
                  <a:lnTo>
                    <a:pt x="469" y="3227"/>
                  </a:lnTo>
                  <a:lnTo>
                    <a:pt x="458" y="3243"/>
                  </a:lnTo>
                  <a:lnTo>
                    <a:pt x="454" y="3250"/>
                  </a:lnTo>
                  <a:lnTo>
                    <a:pt x="454" y="3258"/>
                  </a:lnTo>
                  <a:lnTo>
                    <a:pt x="454" y="3264"/>
                  </a:lnTo>
                  <a:lnTo>
                    <a:pt x="456" y="3269"/>
                  </a:lnTo>
                  <a:lnTo>
                    <a:pt x="458" y="3275"/>
                  </a:lnTo>
                  <a:lnTo>
                    <a:pt x="462" y="3282"/>
                  </a:lnTo>
                  <a:lnTo>
                    <a:pt x="466" y="3288"/>
                  </a:lnTo>
                  <a:lnTo>
                    <a:pt x="469" y="3295"/>
                  </a:lnTo>
                  <a:lnTo>
                    <a:pt x="470" y="3300"/>
                  </a:lnTo>
                  <a:lnTo>
                    <a:pt x="471" y="3304"/>
                  </a:lnTo>
                  <a:lnTo>
                    <a:pt x="471" y="3313"/>
                  </a:lnTo>
                  <a:lnTo>
                    <a:pt x="470" y="3320"/>
                  </a:lnTo>
                  <a:lnTo>
                    <a:pt x="467" y="3326"/>
                  </a:lnTo>
                  <a:lnTo>
                    <a:pt x="466" y="3333"/>
                  </a:lnTo>
                  <a:lnTo>
                    <a:pt x="467" y="3341"/>
                  </a:lnTo>
                  <a:lnTo>
                    <a:pt x="470" y="3351"/>
                  </a:lnTo>
                  <a:lnTo>
                    <a:pt x="478" y="3367"/>
                  </a:lnTo>
                  <a:lnTo>
                    <a:pt x="478" y="3368"/>
                  </a:lnTo>
                  <a:lnTo>
                    <a:pt x="479" y="3371"/>
                  </a:lnTo>
                  <a:lnTo>
                    <a:pt x="481" y="3375"/>
                  </a:lnTo>
                  <a:lnTo>
                    <a:pt x="483" y="3379"/>
                  </a:lnTo>
                  <a:lnTo>
                    <a:pt x="482" y="3381"/>
                  </a:lnTo>
                  <a:lnTo>
                    <a:pt x="481" y="3381"/>
                  </a:lnTo>
                  <a:lnTo>
                    <a:pt x="479" y="3381"/>
                  </a:lnTo>
                  <a:lnTo>
                    <a:pt x="478" y="3383"/>
                  </a:lnTo>
                  <a:lnTo>
                    <a:pt x="474" y="3387"/>
                  </a:lnTo>
                  <a:lnTo>
                    <a:pt x="469" y="3389"/>
                  </a:lnTo>
                  <a:lnTo>
                    <a:pt x="462" y="3392"/>
                  </a:lnTo>
                  <a:lnTo>
                    <a:pt x="458" y="3393"/>
                  </a:lnTo>
                  <a:lnTo>
                    <a:pt x="452" y="3396"/>
                  </a:lnTo>
                  <a:lnTo>
                    <a:pt x="445" y="3402"/>
                  </a:lnTo>
                  <a:lnTo>
                    <a:pt x="439" y="3411"/>
                  </a:lnTo>
                  <a:lnTo>
                    <a:pt x="433" y="3421"/>
                  </a:lnTo>
                  <a:lnTo>
                    <a:pt x="428" y="3431"/>
                  </a:lnTo>
                  <a:lnTo>
                    <a:pt x="423" y="3441"/>
                  </a:lnTo>
                  <a:lnTo>
                    <a:pt x="420" y="3451"/>
                  </a:lnTo>
                  <a:lnTo>
                    <a:pt x="419" y="3457"/>
                  </a:lnTo>
                  <a:lnTo>
                    <a:pt x="416" y="3458"/>
                  </a:lnTo>
                  <a:lnTo>
                    <a:pt x="415" y="3461"/>
                  </a:lnTo>
                  <a:lnTo>
                    <a:pt x="415" y="3464"/>
                  </a:lnTo>
                  <a:lnTo>
                    <a:pt x="414" y="3464"/>
                  </a:lnTo>
                  <a:lnTo>
                    <a:pt x="414" y="3465"/>
                  </a:lnTo>
                  <a:lnTo>
                    <a:pt x="411" y="3472"/>
                  </a:lnTo>
                  <a:lnTo>
                    <a:pt x="409" y="3481"/>
                  </a:lnTo>
                  <a:lnTo>
                    <a:pt x="409" y="3486"/>
                  </a:lnTo>
                  <a:lnTo>
                    <a:pt x="407" y="3490"/>
                  </a:lnTo>
                  <a:lnTo>
                    <a:pt x="409" y="3494"/>
                  </a:lnTo>
                  <a:lnTo>
                    <a:pt x="411" y="3496"/>
                  </a:lnTo>
                  <a:lnTo>
                    <a:pt x="413" y="3498"/>
                  </a:lnTo>
                  <a:lnTo>
                    <a:pt x="413" y="3500"/>
                  </a:lnTo>
                  <a:lnTo>
                    <a:pt x="413" y="3502"/>
                  </a:lnTo>
                  <a:lnTo>
                    <a:pt x="414" y="3504"/>
                  </a:lnTo>
                  <a:lnTo>
                    <a:pt x="418" y="3508"/>
                  </a:lnTo>
                  <a:lnTo>
                    <a:pt x="419" y="3515"/>
                  </a:lnTo>
                  <a:lnTo>
                    <a:pt x="419" y="3517"/>
                  </a:lnTo>
                  <a:lnTo>
                    <a:pt x="420" y="3520"/>
                  </a:lnTo>
                  <a:lnTo>
                    <a:pt x="422" y="3523"/>
                  </a:lnTo>
                  <a:lnTo>
                    <a:pt x="441" y="3542"/>
                  </a:lnTo>
                  <a:lnTo>
                    <a:pt x="445" y="3545"/>
                  </a:lnTo>
                  <a:lnTo>
                    <a:pt x="449" y="3547"/>
                  </a:lnTo>
                  <a:lnTo>
                    <a:pt x="453" y="3547"/>
                  </a:lnTo>
                  <a:lnTo>
                    <a:pt x="457" y="3549"/>
                  </a:lnTo>
                  <a:lnTo>
                    <a:pt x="466" y="3547"/>
                  </a:lnTo>
                  <a:lnTo>
                    <a:pt x="475" y="3545"/>
                  </a:lnTo>
                  <a:lnTo>
                    <a:pt x="494" y="3537"/>
                  </a:lnTo>
                  <a:lnTo>
                    <a:pt x="508" y="3532"/>
                  </a:lnTo>
                  <a:lnTo>
                    <a:pt x="529" y="3516"/>
                  </a:lnTo>
                  <a:lnTo>
                    <a:pt x="575" y="3479"/>
                  </a:lnTo>
                  <a:lnTo>
                    <a:pt x="600" y="3461"/>
                  </a:lnTo>
                  <a:lnTo>
                    <a:pt x="622" y="3444"/>
                  </a:lnTo>
                  <a:lnTo>
                    <a:pt x="632" y="3438"/>
                  </a:lnTo>
                  <a:lnTo>
                    <a:pt x="640" y="3432"/>
                  </a:lnTo>
                  <a:lnTo>
                    <a:pt x="647" y="3428"/>
                  </a:lnTo>
                  <a:lnTo>
                    <a:pt x="652" y="3427"/>
                  </a:lnTo>
                  <a:lnTo>
                    <a:pt x="658" y="3426"/>
                  </a:lnTo>
                  <a:lnTo>
                    <a:pt x="665" y="3426"/>
                  </a:lnTo>
                  <a:lnTo>
                    <a:pt x="666" y="3444"/>
                  </a:lnTo>
                  <a:lnTo>
                    <a:pt x="668" y="3457"/>
                  </a:lnTo>
                  <a:lnTo>
                    <a:pt x="669" y="3469"/>
                  </a:lnTo>
                  <a:lnTo>
                    <a:pt x="671" y="3477"/>
                  </a:lnTo>
                  <a:lnTo>
                    <a:pt x="678" y="3492"/>
                  </a:lnTo>
                  <a:lnTo>
                    <a:pt x="689" y="3512"/>
                  </a:lnTo>
                  <a:lnTo>
                    <a:pt x="703" y="3520"/>
                  </a:lnTo>
                  <a:lnTo>
                    <a:pt x="715" y="3529"/>
                  </a:lnTo>
                  <a:lnTo>
                    <a:pt x="715" y="3532"/>
                  </a:lnTo>
                  <a:lnTo>
                    <a:pt x="716" y="3532"/>
                  </a:lnTo>
                  <a:lnTo>
                    <a:pt x="717" y="3532"/>
                  </a:lnTo>
                  <a:lnTo>
                    <a:pt x="719" y="3536"/>
                  </a:lnTo>
                  <a:lnTo>
                    <a:pt x="721" y="3540"/>
                  </a:lnTo>
                  <a:lnTo>
                    <a:pt x="723" y="3544"/>
                  </a:lnTo>
                  <a:lnTo>
                    <a:pt x="724" y="3547"/>
                  </a:lnTo>
                  <a:lnTo>
                    <a:pt x="724" y="3549"/>
                  </a:lnTo>
                  <a:lnTo>
                    <a:pt x="724" y="3550"/>
                  </a:lnTo>
                  <a:lnTo>
                    <a:pt x="725" y="3553"/>
                  </a:lnTo>
                  <a:lnTo>
                    <a:pt x="726" y="3557"/>
                  </a:lnTo>
                  <a:lnTo>
                    <a:pt x="726" y="3557"/>
                  </a:lnTo>
                  <a:lnTo>
                    <a:pt x="728" y="3558"/>
                  </a:lnTo>
                  <a:lnTo>
                    <a:pt x="728" y="3559"/>
                  </a:lnTo>
                  <a:lnTo>
                    <a:pt x="728" y="3559"/>
                  </a:lnTo>
                  <a:lnTo>
                    <a:pt x="746" y="3593"/>
                  </a:lnTo>
                  <a:lnTo>
                    <a:pt x="757" y="3610"/>
                  </a:lnTo>
                  <a:lnTo>
                    <a:pt x="766" y="3625"/>
                  </a:lnTo>
                  <a:lnTo>
                    <a:pt x="844" y="3703"/>
                  </a:lnTo>
                  <a:lnTo>
                    <a:pt x="845" y="3716"/>
                  </a:lnTo>
                  <a:lnTo>
                    <a:pt x="844" y="3740"/>
                  </a:lnTo>
                  <a:lnTo>
                    <a:pt x="845" y="3753"/>
                  </a:lnTo>
                  <a:lnTo>
                    <a:pt x="849" y="3766"/>
                  </a:lnTo>
                  <a:lnTo>
                    <a:pt x="852" y="3771"/>
                  </a:lnTo>
                  <a:lnTo>
                    <a:pt x="856" y="3776"/>
                  </a:lnTo>
                  <a:lnTo>
                    <a:pt x="861" y="3780"/>
                  </a:lnTo>
                  <a:lnTo>
                    <a:pt x="868" y="3783"/>
                  </a:lnTo>
                  <a:lnTo>
                    <a:pt x="886" y="3797"/>
                  </a:lnTo>
                  <a:lnTo>
                    <a:pt x="902" y="3808"/>
                  </a:lnTo>
                  <a:lnTo>
                    <a:pt x="911" y="3809"/>
                  </a:lnTo>
                  <a:lnTo>
                    <a:pt x="924" y="3809"/>
                  </a:lnTo>
                  <a:lnTo>
                    <a:pt x="937" y="3809"/>
                  </a:lnTo>
                  <a:lnTo>
                    <a:pt x="945" y="3810"/>
                  </a:lnTo>
                  <a:lnTo>
                    <a:pt x="949" y="3812"/>
                  </a:lnTo>
                  <a:lnTo>
                    <a:pt x="951" y="3814"/>
                  </a:lnTo>
                  <a:lnTo>
                    <a:pt x="954" y="3817"/>
                  </a:lnTo>
                  <a:lnTo>
                    <a:pt x="955" y="3820"/>
                  </a:lnTo>
                  <a:lnTo>
                    <a:pt x="958" y="3827"/>
                  </a:lnTo>
                  <a:lnTo>
                    <a:pt x="959" y="3835"/>
                  </a:lnTo>
                  <a:lnTo>
                    <a:pt x="959" y="3854"/>
                  </a:lnTo>
                  <a:lnTo>
                    <a:pt x="959" y="3867"/>
                  </a:lnTo>
                  <a:lnTo>
                    <a:pt x="966" y="3874"/>
                  </a:lnTo>
                  <a:lnTo>
                    <a:pt x="974" y="3884"/>
                  </a:lnTo>
                  <a:lnTo>
                    <a:pt x="979" y="3886"/>
                  </a:lnTo>
                  <a:lnTo>
                    <a:pt x="985" y="3889"/>
                  </a:lnTo>
                  <a:lnTo>
                    <a:pt x="991" y="3891"/>
                  </a:lnTo>
                  <a:lnTo>
                    <a:pt x="996" y="3897"/>
                  </a:lnTo>
                  <a:lnTo>
                    <a:pt x="1002" y="3907"/>
                  </a:lnTo>
                  <a:lnTo>
                    <a:pt x="1006" y="3916"/>
                  </a:lnTo>
                  <a:lnTo>
                    <a:pt x="1009" y="3923"/>
                  </a:lnTo>
                  <a:lnTo>
                    <a:pt x="1010" y="3928"/>
                  </a:lnTo>
                  <a:lnTo>
                    <a:pt x="1010" y="3932"/>
                  </a:lnTo>
                  <a:lnTo>
                    <a:pt x="1008" y="3935"/>
                  </a:lnTo>
                  <a:lnTo>
                    <a:pt x="1005" y="3937"/>
                  </a:lnTo>
                  <a:lnTo>
                    <a:pt x="1001" y="3939"/>
                  </a:lnTo>
                  <a:lnTo>
                    <a:pt x="991" y="3941"/>
                  </a:lnTo>
                  <a:lnTo>
                    <a:pt x="980" y="3944"/>
                  </a:lnTo>
                  <a:lnTo>
                    <a:pt x="975" y="3946"/>
                  </a:lnTo>
                  <a:lnTo>
                    <a:pt x="970" y="3949"/>
                  </a:lnTo>
                  <a:lnTo>
                    <a:pt x="966" y="3953"/>
                  </a:lnTo>
                  <a:lnTo>
                    <a:pt x="962" y="3959"/>
                  </a:lnTo>
                  <a:lnTo>
                    <a:pt x="958" y="3969"/>
                  </a:lnTo>
                  <a:lnTo>
                    <a:pt x="957" y="3978"/>
                  </a:lnTo>
                  <a:lnTo>
                    <a:pt x="957" y="3987"/>
                  </a:lnTo>
                  <a:lnTo>
                    <a:pt x="959" y="3995"/>
                  </a:lnTo>
                  <a:lnTo>
                    <a:pt x="963" y="4001"/>
                  </a:lnTo>
                  <a:lnTo>
                    <a:pt x="968" y="4008"/>
                  </a:lnTo>
                  <a:lnTo>
                    <a:pt x="975" y="4014"/>
                  </a:lnTo>
                  <a:lnTo>
                    <a:pt x="983" y="4021"/>
                  </a:lnTo>
                  <a:lnTo>
                    <a:pt x="1017" y="4042"/>
                  </a:lnTo>
                  <a:lnTo>
                    <a:pt x="1047" y="4059"/>
                  </a:lnTo>
                  <a:lnTo>
                    <a:pt x="1056" y="4065"/>
                  </a:lnTo>
                  <a:lnTo>
                    <a:pt x="1063" y="4072"/>
                  </a:lnTo>
                  <a:lnTo>
                    <a:pt x="1069" y="4079"/>
                  </a:lnTo>
                  <a:lnTo>
                    <a:pt x="1073" y="4086"/>
                  </a:lnTo>
                  <a:lnTo>
                    <a:pt x="1074" y="4096"/>
                  </a:lnTo>
                  <a:lnTo>
                    <a:pt x="1076" y="4105"/>
                  </a:lnTo>
                  <a:lnTo>
                    <a:pt x="1074" y="4115"/>
                  </a:lnTo>
                  <a:lnTo>
                    <a:pt x="1072" y="4127"/>
                  </a:lnTo>
                  <a:lnTo>
                    <a:pt x="1068" y="4145"/>
                  </a:lnTo>
                  <a:lnTo>
                    <a:pt x="1065" y="4161"/>
                  </a:lnTo>
                  <a:lnTo>
                    <a:pt x="1064" y="4166"/>
                  </a:lnTo>
                  <a:lnTo>
                    <a:pt x="1064" y="4171"/>
                  </a:lnTo>
                  <a:lnTo>
                    <a:pt x="1065" y="4175"/>
                  </a:lnTo>
                  <a:lnTo>
                    <a:pt x="1067" y="4179"/>
                  </a:lnTo>
                  <a:lnTo>
                    <a:pt x="1070" y="4188"/>
                  </a:lnTo>
                  <a:lnTo>
                    <a:pt x="1073" y="4195"/>
                  </a:lnTo>
                  <a:lnTo>
                    <a:pt x="1089" y="4254"/>
                  </a:lnTo>
                  <a:lnTo>
                    <a:pt x="1124" y="4289"/>
                  </a:lnTo>
                  <a:lnTo>
                    <a:pt x="1128" y="4292"/>
                  </a:lnTo>
                  <a:lnTo>
                    <a:pt x="1133" y="4294"/>
                  </a:lnTo>
                  <a:lnTo>
                    <a:pt x="1135" y="4294"/>
                  </a:lnTo>
                  <a:lnTo>
                    <a:pt x="1145" y="4294"/>
                  </a:lnTo>
                  <a:lnTo>
                    <a:pt x="1153" y="4297"/>
                  </a:lnTo>
                  <a:lnTo>
                    <a:pt x="1158" y="4301"/>
                  </a:lnTo>
                  <a:lnTo>
                    <a:pt x="1163" y="4306"/>
                  </a:lnTo>
                  <a:lnTo>
                    <a:pt x="1166" y="4311"/>
                  </a:lnTo>
                  <a:lnTo>
                    <a:pt x="1167" y="4318"/>
                  </a:lnTo>
                  <a:lnTo>
                    <a:pt x="1169" y="4326"/>
                  </a:lnTo>
                  <a:lnTo>
                    <a:pt x="1170" y="4334"/>
                  </a:lnTo>
                  <a:lnTo>
                    <a:pt x="1170" y="4349"/>
                  </a:lnTo>
                  <a:lnTo>
                    <a:pt x="1171" y="4365"/>
                  </a:lnTo>
                  <a:lnTo>
                    <a:pt x="1172" y="4372"/>
                  </a:lnTo>
                  <a:lnTo>
                    <a:pt x="1176" y="4379"/>
                  </a:lnTo>
                  <a:lnTo>
                    <a:pt x="1180" y="4385"/>
                  </a:lnTo>
                  <a:lnTo>
                    <a:pt x="1186" y="4390"/>
                  </a:lnTo>
                  <a:lnTo>
                    <a:pt x="1192" y="4394"/>
                  </a:lnTo>
                  <a:lnTo>
                    <a:pt x="1197" y="4399"/>
                  </a:lnTo>
                  <a:lnTo>
                    <a:pt x="1203" y="4404"/>
                  </a:lnTo>
                  <a:lnTo>
                    <a:pt x="1206" y="4411"/>
                  </a:lnTo>
                  <a:lnTo>
                    <a:pt x="1214" y="4424"/>
                  </a:lnTo>
                  <a:lnTo>
                    <a:pt x="1220" y="4436"/>
                  </a:lnTo>
                  <a:lnTo>
                    <a:pt x="1223" y="4449"/>
                  </a:lnTo>
                  <a:lnTo>
                    <a:pt x="1227" y="4459"/>
                  </a:lnTo>
                  <a:lnTo>
                    <a:pt x="1230" y="4464"/>
                  </a:lnTo>
                  <a:lnTo>
                    <a:pt x="1231" y="4468"/>
                  </a:lnTo>
                  <a:lnTo>
                    <a:pt x="1234" y="4471"/>
                  </a:lnTo>
                  <a:lnTo>
                    <a:pt x="1238" y="4472"/>
                  </a:lnTo>
                  <a:lnTo>
                    <a:pt x="1255" y="4481"/>
                  </a:lnTo>
                  <a:lnTo>
                    <a:pt x="1267" y="4489"/>
                  </a:lnTo>
                  <a:lnTo>
                    <a:pt x="1274" y="4496"/>
                  </a:lnTo>
                  <a:lnTo>
                    <a:pt x="1278" y="4502"/>
                  </a:lnTo>
                  <a:lnTo>
                    <a:pt x="1284" y="4521"/>
                  </a:lnTo>
                  <a:lnTo>
                    <a:pt x="1291" y="4547"/>
                  </a:lnTo>
                  <a:lnTo>
                    <a:pt x="1301" y="4572"/>
                  </a:lnTo>
                  <a:lnTo>
                    <a:pt x="1310" y="4593"/>
                  </a:lnTo>
                  <a:lnTo>
                    <a:pt x="1314" y="4602"/>
                  </a:lnTo>
                  <a:lnTo>
                    <a:pt x="1319" y="4608"/>
                  </a:lnTo>
                  <a:lnTo>
                    <a:pt x="1324" y="4614"/>
                  </a:lnTo>
                  <a:lnTo>
                    <a:pt x="1331" y="4619"/>
                  </a:lnTo>
                  <a:lnTo>
                    <a:pt x="1337" y="4621"/>
                  </a:lnTo>
                  <a:lnTo>
                    <a:pt x="1344" y="4623"/>
                  </a:lnTo>
                  <a:lnTo>
                    <a:pt x="1353" y="4623"/>
                  </a:lnTo>
                  <a:lnTo>
                    <a:pt x="1362" y="4621"/>
                  </a:lnTo>
                  <a:lnTo>
                    <a:pt x="1373" y="4617"/>
                  </a:lnTo>
                  <a:lnTo>
                    <a:pt x="1383" y="4612"/>
                  </a:lnTo>
                  <a:lnTo>
                    <a:pt x="1396" y="4606"/>
                  </a:lnTo>
                  <a:lnTo>
                    <a:pt x="1411" y="4598"/>
                  </a:lnTo>
                  <a:lnTo>
                    <a:pt x="1425" y="4587"/>
                  </a:lnTo>
                  <a:lnTo>
                    <a:pt x="1437" y="4576"/>
                  </a:lnTo>
                  <a:lnTo>
                    <a:pt x="1448" y="4562"/>
                  </a:lnTo>
                  <a:lnTo>
                    <a:pt x="1459" y="4551"/>
                  </a:lnTo>
                  <a:lnTo>
                    <a:pt x="1469" y="4538"/>
                  </a:lnTo>
                  <a:lnTo>
                    <a:pt x="1482" y="4526"/>
                  </a:lnTo>
                  <a:lnTo>
                    <a:pt x="1489" y="4519"/>
                  </a:lnTo>
                  <a:lnTo>
                    <a:pt x="1497" y="4514"/>
                  </a:lnTo>
                  <a:lnTo>
                    <a:pt x="1505" y="4509"/>
                  </a:lnTo>
                  <a:lnTo>
                    <a:pt x="1514" y="4505"/>
                  </a:lnTo>
                  <a:lnTo>
                    <a:pt x="1520" y="4504"/>
                  </a:lnTo>
                  <a:lnTo>
                    <a:pt x="1528" y="4504"/>
                  </a:lnTo>
                  <a:lnTo>
                    <a:pt x="1536" y="4506"/>
                  </a:lnTo>
                  <a:lnTo>
                    <a:pt x="1545" y="4511"/>
                  </a:lnTo>
                  <a:lnTo>
                    <a:pt x="1564" y="4525"/>
                  </a:lnTo>
                  <a:lnTo>
                    <a:pt x="1584" y="4542"/>
                  </a:lnTo>
                  <a:lnTo>
                    <a:pt x="1622" y="4581"/>
                  </a:lnTo>
                  <a:lnTo>
                    <a:pt x="1655" y="4612"/>
                  </a:lnTo>
                  <a:lnTo>
                    <a:pt x="1660" y="4616"/>
                  </a:lnTo>
                  <a:lnTo>
                    <a:pt x="1666" y="4619"/>
                  </a:lnTo>
                  <a:lnTo>
                    <a:pt x="1671" y="4621"/>
                  </a:lnTo>
                  <a:lnTo>
                    <a:pt x="1677" y="4621"/>
                  </a:lnTo>
                  <a:lnTo>
                    <a:pt x="1683" y="4623"/>
                  </a:lnTo>
                  <a:lnTo>
                    <a:pt x="1688" y="4621"/>
                  </a:lnTo>
                  <a:lnTo>
                    <a:pt x="1694" y="4621"/>
                  </a:lnTo>
                  <a:lnTo>
                    <a:pt x="1698" y="4619"/>
                  </a:lnTo>
                  <a:lnTo>
                    <a:pt x="1704" y="4616"/>
                  </a:lnTo>
                  <a:lnTo>
                    <a:pt x="1709" y="4614"/>
                  </a:lnTo>
                  <a:lnTo>
                    <a:pt x="1713" y="4610"/>
                  </a:lnTo>
                  <a:lnTo>
                    <a:pt x="1715" y="4604"/>
                  </a:lnTo>
                  <a:lnTo>
                    <a:pt x="1718" y="4599"/>
                  </a:lnTo>
                  <a:lnTo>
                    <a:pt x="1721" y="4594"/>
                  </a:lnTo>
                  <a:lnTo>
                    <a:pt x="1722" y="4587"/>
                  </a:lnTo>
                  <a:lnTo>
                    <a:pt x="1722" y="4580"/>
                  </a:lnTo>
                  <a:lnTo>
                    <a:pt x="1722" y="4559"/>
                  </a:lnTo>
                  <a:lnTo>
                    <a:pt x="1723" y="4542"/>
                  </a:lnTo>
                  <a:lnTo>
                    <a:pt x="1724" y="4530"/>
                  </a:lnTo>
                  <a:lnTo>
                    <a:pt x="1728" y="4519"/>
                  </a:lnTo>
                  <a:lnTo>
                    <a:pt x="1734" y="4511"/>
                  </a:lnTo>
                  <a:lnTo>
                    <a:pt x="1740" y="4505"/>
                  </a:lnTo>
                  <a:lnTo>
                    <a:pt x="1749" y="4496"/>
                  </a:lnTo>
                  <a:lnTo>
                    <a:pt x="1762" y="4487"/>
                  </a:lnTo>
                  <a:lnTo>
                    <a:pt x="1772" y="4479"/>
                  </a:lnTo>
                  <a:lnTo>
                    <a:pt x="1773" y="4476"/>
                  </a:lnTo>
                  <a:lnTo>
                    <a:pt x="1775" y="4474"/>
                  </a:lnTo>
                  <a:lnTo>
                    <a:pt x="1782" y="4463"/>
                  </a:lnTo>
                  <a:lnTo>
                    <a:pt x="1787" y="4453"/>
                  </a:lnTo>
                  <a:lnTo>
                    <a:pt x="1787" y="4451"/>
                  </a:lnTo>
                  <a:lnTo>
                    <a:pt x="1787" y="4450"/>
                  </a:lnTo>
                  <a:lnTo>
                    <a:pt x="1789" y="4450"/>
                  </a:lnTo>
                  <a:lnTo>
                    <a:pt x="1789" y="4449"/>
                  </a:lnTo>
                  <a:lnTo>
                    <a:pt x="1792" y="4445"/>
                  </a:lnTo>
                  <a:lnTo>
                    <a:pt x="1796" y="4441"/>
                  </a:lnTo>
                  <a:lnTo>
                    <a:pt x="1798" y="4441"/>
                  </a:lnTo>
                  <a:lnTo>
                    <a:pt x="1804" y="4440"/>
                  </a:lnTo>
                  <a:lnTo>
                    <a:pt x="1812" y="4438"/>
                  </a:lnTo>
                  <a:lnTo>
                    <a:pt x="1815" y="4438"/>
                  </a:lnTo>
                  <a:lnTo>
                    <a:pt x="1816" y="4437"/>
                  </a:lnTo>
                  <a:lnTo>
                    <a:pt x="1819" y="4436"/>
                  </a:lnTo>
                  <a:lnTo>
                    <a:pt x="1820" y="4434"/>
                  </a:lnTo>
                  <a:lnTo>
                    <a:pt x="1823" y="4434"/>
                  </a:lnTo>
                  <a:lnTo>
                    <a:pt x="1825" y="4433"/>
                  </a:lnTo>
                  <a:lnTo>
                    <a:pt x="1828" y="4432"/>
                  </a:lnTo>
                  <a:lnTo>
                    <a:pt x="1833" y="4430"/>
                  </a:lnTo>
                  <a:lnTo>
                    <a:pt x="1838" y="4430"/>
                  </a:lnTo>
                  <a:lnTo>
                    <a:pt x="1842" y="4432"/>
                  </a:lnTo>
                  <a:lnTo>
                    <a:pt x="1849" y="4433"/>
                  </a:lnTo>
                  <a:lnTo>
                    <a:pt x="1854" y="4434"/>
                  </a:lnTo>
                  <a:lnTo>
                    <a:pt x="1859" y="4437"/>
                  </a:lnTo>
                  <a:lnTo>
                    <a:pt x="1864" y="4438"/>
                  </a:lnTo>
                  <a:lnTo>
                    <a:pt x="1866" y="4438"/>
                  </a:lnTo>
                  <a:lnTo>
                    <a:pt x="1867" y="4440"/>
                  </a:lnTo>
                  <a:lnTo>
                    <a:pt x="1868" y="4441"/>
                  </a:lnTo>
                  <a:lnTo>
                    <a:pt x="1871" y="4441"/>
                  </a:lnTo>
                  <a:lnTo>
                    <a:pt x="1875" y="4441"/>
                  </a:lnTo>
                  <a:lnTo>
                    <a:pt x="1879" y="4441"/>
                  </a:lnTo>
                  <a:lnTo>
                    <a:pt x="1887" y="4438"/>
                  </a:lnTo>
                  <a:lnTo>
                    <a:pt x="1891" y="4434"/>
                  </a:lnTo>
                  <a:lnTo>
                    <a:pt x="1893" y="4433"/>
                  </a:lnTo>
                  <a:lnTo>
                    <a:pt x="1896" y="4430"/>
                  </a:lnTo>
                  <a:lnTo>
                    <a:pt x="1898" y="4430"/>
                  </a:lnTo>
                  <a:lnTo>
                    <a:pt x="1900" y="4429"/>
                  </a:lnTo>
                  <a:lnTo>
                    <a:pt x="1900" y="4428"/>
                  </a:lnTo>
                  <a:lnTo>
                    <a:pt x="1901" y="4428"/>
                  </a:lnTo>
                  <a:lnTo>
                    <a:pt x="1904" y="4426"/>
                  </a:lnTo>
                  <a:lnTo>
                    <a:pt x="1906" y="4425"/>
                  </a:lnTo>
                  <a:lnTo>
                    <a:pt x="1908" y="4425"/>
                  </a:lnTo>
                  <a:lnTo>
                    <a:pt x="1908" y="4424"/>
                  </a:lnTo>
                  <a:lnTo>
                    <a:pt x="1913" y="4423"/>
                  </a:lnTo>
                  <a:lnTo>
                    <a:pt x="1918" y="4424"/>
                  </a:lnTo>
                  <a:lnTo>
                    <a:pt x="1921" y="4425"/>
                  </a:lnTo>
                  <a:lnTo>
                    <a:pt x="1922" y="4428"/>
                  </a:lnTo>
                  <a:lnTo>
                    <a:pt x="1925" y="4429"/>
                  </a:lnTo>
                  <a:lnTo>
                    <a:pt x="1925" y="4430"/>
                  </a:lnTo>
                  <a:lnTo>
                    <a:pt x="1925" y="4432"/>
                  </a:lnTo>
                  <a:lnTo>
                    <a:pt x="1926" y="4433"/>
                  </a:lnTo>
                  <a:lnTo>
                    <a:pt x="1927" y="4433"/>
                  </a:lnTo>
                  <a:lnTo>
                    <a:pt x="1927" y="4434"/>
                  </a:lnTo>
                  <a:lnTo>
                    <a:pt x="1928" y="4442"/>
                  </a:lnTo>
                  <a:lnTo>
                    <a:pt x="1931" y="4449"/>
                  </a:lnTo>
                  <a:lnTo>
                    <a:pt x="1932" y="4451"/>
                  </a:lnTo>
                  <a:lnTo>
                    <a:pt x="1935" y="4453"/>
                  </a:lnTo>
                  <a:lnTo>
                    <a:pt x="1939" y="4454"/>
                  </a:lnTo>
                  <a:lnTo>
                    <a:pt x="1944" y="4454"/>
                  </a:lnTo>
                  <a:lnTo>
                    <a:pt x="1945" y="4454"/>
                  </a:lnTo>
                  <a:lnTo>
                    <a:pt x="1951" y="4453"/>
                  </a:lnTo>
                  <a:lnTo>
                    <a:pt x="1956" y="4450"/>
                  </a:lnTo>
                  <a:lnTo>
                    <a:pt x="1961" y="4446"/>
                  </a:lnTo>
                  <a:lnTo>
                    <a:pt x="1965" y="4440"/>
                  </a:lnTo>
                  <a:lnTo>
                    <a:pt x="1969" y="4433"/>
                  </a:lnTo>
                  <a:lnTo>
                    <a:pt x="1973" y="4426"/>
                  </a:lnTo>
                  <a:lnTo>
                    <a:pt x="1976" y="4419"/>
                  </a:lnTo>
                  <a:lnTo>
                    <a:pt x="1977" y="4412"/>
                  </a:lnTo>
                  <a:lnTo>
                    <a:pt x="1978" y="4409"/>
                  </a:lnTo>
                  <a:lnTo>
                    <a:pt x="1979" y="4408"/>
                  </a:lnTo>
                  <a:lnTo>
                    <a:pt x="1982" y="4407"/>
                  </a:lnTo>
                  <a:lnTo>
                    <a:pt x="1985" y="4404"/>
                  </a:lnTo>
                  <a:lnTo>
                    <a:pt x="1987" y="4403"/>
                  </a:lnTo>
                  <a:lnTo>
                    <a:pt x="1990" y="4402"/>
                  </a:lnTo>
                  <a:lnTo>
                    <a:pt x="1994" y="4396"/>
                  </a:lnTo>
                  <a:lnTo>
                    <a:pt x="1999" y="4392"/>
                  </a:lnTo>
                  <a:lnTo>
                    <a:pt x="2007" y="4389"/>
                  </a:lnTo>
                  <a:lnTo>
                    <a:pt x="2016" y="4385"/>
                  </a:lnTo>
                  <a:lnTo>
                    <a:pt x="2024" y="4379"/>
                  </a:lnTo>
                  <a:lnTo>
                    <a:pt x="2032" y="4373"/>
                  </a:lnTo>
                  <a:lnTo>
                    <a:pt x="2034" y="4369"/>
                  </a:lnTo>
                  <a:lnTo>
                    <a:pt x="2037" y="4364"/>
                  </a:lnTo>
                  <a:lnTo>
                    <a:pt x="2040" y="4358"/>
                  </a:lnTo>
                  <a:lnTo>
                    <a:pt x="2041" y="4353"/>
                  </a:lnTo>
                  <a:lnTo>
                    <a:pt x="2042" y="4345"/>
                  </a:lnTo>
                  <a:lnTo>
                    <a:pt x="2048" y="4332"/>
                  </a:lnTo>
                  <a:lnTo>
                    <a:pt x="2053" y="4318"/>
                  </a:lnTo>
                  <a:lnTo>
                    <a:pt x="2057" y="4309"/>
                  </a:lnTo>
                  <a:lnTo>
                    <a:pt x="2075" y="4264"/>
                  </a:lnTo>
                  <a:lnTo>
                    <a:pt x="2075" y="4263"/>
                  </a:lnTo>
                  <a:lnTo>
                    <a:pt x="2075" y="4262"/>
                  </a:lnTo>
                  <a:lnTo>
                    <a:pt x="2076" y="4262"/>
                  </a:lnTo>
                  <a:lnTo>
                    <a:pt x="2078" y="4259"/>
                  </a:lnTo>
                  <a:lnTo>
                    <a:pt x="2079" y="4258"/>
                  </a:lnTo>
                  <a:lnTo>
                    <a:pt x="2083" y="4252"/>
                  </a:lnTo>
                  <a:lnTo>
                    <a:pt x="2085" y="4247"/>
                  </a:lnTo>
                  <a:lnTo>
                    <a:pt x="2085" y="4245"/>
                  </a:lnTo>
                  <a:lnTo>
                    <a:pt x="2087" y="4243"/>
                  </a:lnTo>
                  <a:lnTo>
                    <a:pt x="2088" y="4242"/>
                  </a:lnTo>
                  <a:lnTo>
                    <a:pt x="2089" y="4242"/>
                  </a:lnTo>
                  <a:lnTo>
                    <a:pt x="2093" y="4243"/>
                  </a:lnTo>
                  <a:lnTo>
                    <a:pt x="2097" y="4245"/>
                  </a:lnTo>
                  <a:lnTo>
                    <a:pt x="2099" y="4246"/>
                  </a:lnTo>
                  <a:lnTo>
                    <a:pt x="2100" y="4247"/>
                  </a:lnTo>
                  <a:lnTo>
                    <a:pt x="2102" y="4249"/>
                  </a:lnTo>
                  <a:lnTo>
                    <a:pt x="2104" y="4249"/>
                  </a:lnTo>
                  <a:lnTo>
                    <a:pt x="2104" y="4249"/>
                  </a:lnTo>
                  <a:lnTo>
                    <a:pt x="2104" y="4250"/>
                  </a:lnTo>
                  <a:lnTo>
                    <a:pt x="2105" y="4250"/>
                  </a:lnTo>
                  <a:lnTo>
                    <a:pt x="2106" y="4251"/>
                  </a:lnTo>
                  <a:lnTo>
                    <a:pt x="2108" y="4252"/>
                  </a:lnTo>
                  <a:lnTo>
                    <a:pt x="2108" y="4252"/>
                  </a:lnTo>
                  <a:lnTo>
                    <a:pt x="2117" y="4258"/>
                  </a:lnTo>
                  <a:lnTo>
                    <a:pt x="2126" y="4263"/>
                  </a:lnTo>
                  <a:lnTo>
                    <a:pt x="2130" y="4266"/>
                  </a:lnTo>
                  <a:lnTo>
                    <a:pt x="2134" y="4268"/>
                  </a:lnTo>
                  <a:lnTo>
                    <a:pt x="2136" y="4271"/>
                  </a:lnTo>
                  <a:lnTo>
                    <a:pt x="2139" y="4272"/>
                  </a:lnTo>
                  <a:lnTo>
                    <a:pt x="2140" y="4272"/>
                  </a:lnTo>
                  <a:lnTo>
                    <a:pt x="2143" y="4273"/>
                  </a:lnTo>
                  <a:lnTo>
                    <a:pt x="2144" y="4275"/>
                  </a:lnTo>
                  <a:lnTo>
                    <a:pt x="2146" y="4276"/>
                  </a:lnTo>
                  <a:lnTo>
                    <a:pt x="2147" y="4277"/>
                  </a:lnTo>
                  <a:lnTo>
                    <a:pt x="2148" y="4279"/>
                  </a:lnTo>
                  <a:lnTo>
                    <a:pt x="2150" y="4279"/>
                  </a:lnTo>
                  <a:lnTo>
                    <a:pt x="2153" y="4281"/>
                  </a:lnTo>
                  <a:lnTo>
                    <a:pt x="2156" y="4284"/>
                  </a:lnTo>
                  <a:lnTo>
                    <a:pt x="2157" y="4285"/>
                  </a:lnTo>
                  <a:lnTo>
                    <a:pt x="2159" y="4285"/>
                  </a:lnTo>
                  <a:lnTo>
                    <a:pt x="2167" y="4289"/>
                  </a:lnTo>
                  <a:lnTo>
                    <a:pt x="2173" y="4293"/>
                  </a:lnTo>
                  <a:lnTo>
                    <a:pt x="2174" y="4294"/>
                  </a:lnTo>
                  <a:lnTo>
                    <a:pt x="2174" y="4294"/>
                  </a:lnTo>
                  <a:lnTo>
                    <a:pt x="2177" y="4297"/>
                  </a:lnTo>
                  <a:lnTo>
                    <a:pt x="2180" y="4300"/>
                  </a:lnTo>
                  <a:lnTo>
                    <a:pt x="2181" y="4301"/>
                  </a:lnTo>
                  <a:lnTo>
                    <a:pt x="2182" y="4302"/>
                  </a:lnTo>
                  <a:lnTo>
                    <a:pt x="2185" y="4305"/>
                  </a:lnTo>
                  <a:lnTo>
                    <a:pt x="2186" y="4306"/>
                  </a:lnTo>
                  <a:lnTo>
                    <a:pt x="2190" y="4309"/>
                  </a:lnTo>
                  <a:lnTo>
                    <a:pt x="2191" y="4310"/>
                  </a:lnTo>
                  <a:lnTo>
                    <a:pt x="2194" y="4313"/>
                  </a:lnTo>
                  <a:lnTo>
                    <a:pt x="2198" y="4315"/>
                  </a:lnTo>
                  <a:lnTo>
                    <a:pt x="2199" y="4317"/>
                  </a:lnTo>
                  <a:lnTo>
                    <a:pt x="2201" y="4317"/>
                  </a:lnTo>
                  <a:lnTo>
                    <a:pt x="2215" y="4321"/>
                  </a:lnTo>
                  <a:lnTo>
                    <a:pt x="2225" y="4322"/>
                  </a:lnTo>
                  <a:lnTo>
                    <a:pt x="2236" y="4321"/>
                  </a:lnTo>
                  <a:lnTo>
                    <a:pt x="2250" y="4315"/>
                  </a:lnTo>
                  <a:lnTo>
                    <a:pt x="2266" y="4309"/>
                  </a:lnTo>
                  <a:lnTo>
                    <a:pt x="2283" y="4301"/>
                  </a:lnTo>
                  <a:lnTo>
                    <a:pt x="2286" y="4300"/>
                  </a:lnTo>
                  <a:lnTo>
                    <a:pt x="2289" y="4297"/>
                  </a:lnTo>
                  <a:lnTo>
                    <a:pt x="2293" y="4297"/>
                  </a:lnTo>
                  <a:lnTo>
                    <a:pt x="2297" y="4297"/>
                  </a:lnTo>
                  <a:lnTo>
                    <a:pt x="2299" y="4297"/>
                  </a:lnTo>
                  <a:lnTo>
                    <a:pt x="2301" y="4298"/>
                  </a:lnTo>
                  <a:lnTo>
                    <a:pt x="2301" y="4300"/>
                  </a:lnTo>
                  <a:lnTo>
                    <a:pt x="2303" y="4300"/>
                  </a:lnTo>
                  <a:lnTo>
                    <a:pt x="2306" y="4303"/>
                  </a:lnTo>
                  <a:lnTo>
                    <a:pt x="2312" y="4305"/>
                  </a:lnTo>
                  <a:lnTo>
                    <a:pt x="2314" y="4305"/>
                  </a:lnTo>
                  <a:lnTo>
                    <a:pt x="2316" y="4306"/>
                  </a:lnTo>
                  <a:lnTo>
                    <a:pt x="2318" y="4307"/>
                  </a:lnTo>
                  <a:lnTo>
                    <a:pt x="2320" y="4309"/>
                  </a:lnTo>
                  <a:lnTo>
                    <a:pt x="2321" y="4310"/>
                  </a:lnTo>
                  <a:lnTo>
                    <a:pt x="2322" y="4311"/>
                  </a:lnTo>
                  <a:lnTo>
                    <a:pt x="2324" y="4313"/>
                  </a:lnTo>
                  <a:lnTo>
                    <a:pt x="2327" y="4315"/>
                  </a:lnTo>
                  <a:lnTo>
                    <a:pt x="2333" y="4318"/>
                  </a:lnTo>
                  <a:lnTo>
                    <a:pt x="2335" y="4318"/>
                  </a:lnTo>
                  <a:lnTo>
                    <a:pt x="2338" y="4318"/>
                  </a:lnTo>
                  <a:lnTo>
                    <a:pt x="2341" y="4321"/>
                  </a:lnTo>
                  <a:lnTo>
                    <a:pt x="2343" y="4323"/>
                  </a:lnTo>
                  <a:lnTo>
                    <a:pt x="2346" y="4326"/>
                  </a:lnTo>
                  <a:lnTo>
                    <a:pt x="2347" y="4327"/>
                  </a:lnTo>
                  <a:lnTo>
                    <a:pt x="2347" y="4328"/>
                  </a:lnTo>
                  <a:lnTo>
                    <a:pt x="2350" y="4341"/>
                  </a:lnTo>
                  <a:lnTo>
                    <a:pt x="2354" y="4353"/>
                  </a:lnTo>
                  <a:lnTo>
                    <a:pt x="2354" y="4356"/>
                  </a:lnTo>
                  <a:lnTo>
                    <a:pt x="2355" y="4357"/>
                  </a:lnTo>
                  <a:lnTo>
                    <a:pt x="2356" y="4358"/>
                  </a:lnTo>
                  <a:lnTo>
                    <a:pt x="2369" y="4358"/>
                  </a:lnTo>
                  <a:lnTo>
                    <a:pt x="2382" y="4360"/>
                  </a:lnTo>
                  <a:lnTo>
                    <a:pt x="2393" y="4362"/>
                  </a:lnTo>
                  <a:lnTo>
                    <a:pt x="2405" y="4366"/>
                  </a:lnTo>
                  <a:lnTo>
                    <a:pt x="2406" y="4366"/>
                  </a:lnTo>
                  <a:lnTo>
                    <a:pt x="2407" y="4368"/>
                  </a:lnTo>
                  <a:lnTo>
                    <a:pt x="2411" y="4374"/>
                  </a:lnTo>
                  <a:lnTo>
                    <a:pt x="2415" y="4379"/>
                  </a:lnTo>
                  <a:lnTo>
                    <a:pt x="2416" y="4381"/>
                  </a:lnTo>
                  <a:lnTo>
                    <a:pt x="2419" y="4382"/>
                  </a:lnTo>
                  <a:lnTo>
                    <a:pt x="2420" y="4383"/>
                  </a:lnTo>
                  <a:lnTo>
                    <a:pt x="2422" y="4385"/>
                  </a:lnTo>
                  <a:lnTo>
                    <a:pt x="2426" y="4387"/>
                  </a:lnTo>
                  <a:lnTo>
                    <a:pt x="2428" y="4391"/>
                  </a:lnTo>
                  <a:lnTo>
                    <a:pt x="2429" y="4394"/>
                  </a:lnTo>
                  <a:lnTo>
                    <a:pt x="2432" y="4396"/>
                  </a:lnTo>
                  <a:lnTo>
                    <a:pt x="2437" y="4399"/>
                  </a:lnTo>
                  <a:lnTo>
                    <a:pt x="2443" y="4403"/>
                  </a:lnTo>
                  <a:lnTo>
                    <a:pt x="2444" y="4404"/>
                  </a:lnTo>
                  <a:lnTo>
                    <a:pt x="2445" y="4406"/>
                  </a:lnTo>
                  <a:lnTo>
                    <a:pt x="2446" y="4406"/>
                  </a:lnTo>
                  <a:lnTo>
                    <a:pt x="2448" y="4406"/>
                  </a:lnTo>
                  <a:lnTo>
                    <a:pt x="2449" y="4406"/>
                  </a:lnTo>
                  <a:lnTo>
                    <a:pt x="2450" y="4408"/>
                  </a:lnTo>
                  <a:lnTo>
                    <a:pt x="2453" y="4408"/>
                  </a:lnTo>
                  <a:lnTo>
                    <a:pt x="2456" y="4407"/>
                  </a:lnTo>
                  <a:lnTo>
                    <a:pt x="2458" y="4406"/>
                  </a:lnTo>
                  <a:lnTo>
                    <a:pt x="2465" y="4403"/>
                  </a:lnTo>
                  <a:lnTo>
                    <a:pt x="2467" y="4400"/>
                  </a:lnTo>
                  <a:lnTo>
                    <a:pt x="2470" y="4396"/>
                  </a:lnTo>
                  <a:lnTo>
                    <a:pt x="2474" y="4394"/>
                  </a:lnTo>
                  <a:lnTo>
                    <a:pt x="2478" y="4392"/>
                  </a:lnTo>
                  <a:lnTo>
                    <a:pt x="2480" y="4389"/>
                  </a:lnTo>
                  <a:lnTo>
                    <a:pt x="2484" y="4385"/>
                  </a:lnTo>
                  <a:lnTo>
                    <a:pt x="2488" y="4379"/>
                  </a:lnTo>
                  <a:lnTo>
                    <a:pt x="2495" y="4368"/>
                  </a:lnTo>
                  <a:lnTo>
                    <a:pt x="2503" y="4355"/>
                  </a:lnTo>
                  <a:lnTo>
                    <a:pt x="2509" y="4343"/>
                  </a:lnTo>
                  <a:lnTo>
                    <a:pt x="2517" y="4331"/>
                  </a:lnTo>
                  <a:lnTo>
                    <a:pt x="2520" y="4327"/>
                  </a:lnTo>
                  <a:lnTo>
                    <a:pt x="2524" y="4323"/>
                  </a:lnTo>
                  <a:lnTo>
                    <a:pt x="2528" y="4321"/>
                  </a:lnTo>
                  <a:lnTo>
                    <a:pt x="2531" y="4319"/>
                  </a:lnTo>
                  <a:lnTo>
                    <a:pt x="2535" y="4319"/>
                  </a:lnTo>
                  <a:lnTo>
                    <a:pt x="2539" y="4322"/>
                  </a:lnTo>
                  <a:lnTo>
                    <a:pt x="2541" y="4322"/>
                  </a:lnTo>
                  <a:lnTo>
                    <a:pt x="2542" y="4323"/>
                  </a:lnTo>
                  <a:lnTo>
                    <a:pt x="2543" y="4323"/>
                  </a:lnTo>
                  <a:lnTo>
                    <a:pt x="2545" y="4324"/>
                  </a:lnTo>
                  <a:lnTo>
                    <a:pt x="2546" y="4326"/>
                  </a:lnTo>
                  <a:lnTo>
                    <a:pt x="2548" y="4331"/>
                  </a:lnTo>
                  <a:lnTo>
                    <a:pt x="2552" y="4335"/>
                  </a:lnTo>
                  <a:lnTo>
                    <a:pt x="2559" y="4336"/>
                  </a:lnTo>
                  <a:lnTo>
                    <a:pt x="2563" y="4335"/>
                  </a:lnTo>
                  <a:lnTo>
                    <a:pt x="2568" y="4332"/>
                  </a:lnTo>
                  <a:lnTo>
                    <a:pt x="2572" y="4330"/>
                  </a:lnTo>
                  <a:lnTo>
                    <a:pt x="2588" y="4321"/>
                  </a:lnTo>
                  <a:lnTo>
                    <a:pt x="2602" y="4310"/>
                  </a:lnTo>
                  <a:lnTo>
                    <a:pt x="2615" y="4298"/>
                  </a:lnTo>
                  <a:lnTo>
                    <a:pt x="2628" y="4286"/>
                  </a:lnTo>
                  <a:lnTo>
                    <a:pt x="2653" y="4259"/>
                  </a:lnTo>
                  <a:lnTo>
                    <a:pt x="2678" y="4234"/>
                  </a:lnTo>
                  <a:lnTo>
                    <a:pt x="2690" y="4222"/>
                  </a:lnTo>
                  <a:lnTo>
                    <a:pt x="2703" y="4211"/>
                  </a:lnTo>
                  <a:lnTo>
                    <a:pt x="2716" y="4201"/>
                  </a:lnTo>
                  <a:lnTo>
                    <a:pt x="2730" y="4195"/>
                  </a:lnTo>
                  <a:lnTo>
                    <a:pt x="2738" y="4191"/>
                  </a:lnTo>
                  <a:lnTo>
                    <a:pt x="2745" y="4190"/>
                  </a:lnTo>
                  <a:lnTo>
                    <a:pt x="2753" y="4187"/>
                  </a:lnTo>
                  <a:lnTo>
                    <a:pt x="2760" y="4186"/>
                  </a:lnTo>
                  <a:lnTo>
                    <a:pt x="2768" y="4186"/>
                  </a:lnTo>
                  <a:lnTo>
                    <a:pt x="2777" y="4186"/>
                  </a:lnTo>
                  <a:lnTo>
                    <a:pt x="2787" y="4187"/>
                  </a:lnTo>
                  <a:lnTo>
                    <a:pt x="2796" y="4190"/>
                  </a:lnTo>
                  <a:lnTo>
                    <a:pt x="2804" y="4191"/>
                  </a:lnTo>
                  <a:lnTo>
                    <a:pt x="2810" y="4190"/>
                  </a:lnTo>
                  <a:lnTo>
                    <a:pt x="2815" y="4188"/>
                  </a:lnTo>
                  <a:lnTo>
                    <a:pt x="2818" y="4184"/>
                  </a:lnTo>
                  <a:lnTo>
                    <a:pt x="2821" y="4181"/>
                  </a:lnTo>
                  <a:lnTo>
                    <a:pt x="2822" y="4174"/>
                  </a:lnTo>
                  <a:lnTo>
                    <a:pt x="2822" y="4167"/>
                  </a:lnTo>
                  <a:lnTo>
                    <a:pt x="2821" y="4161"/>
                  </a:lnTo>
                  <a:lnTo>
                    <a:pt x="2814" y="4130"/>
                  </a:lnTo>
                  <a:lnTo>
                    <a:pt x="2811" y="4103"/>
                  </a:lnTo>
                  <a:lnTo>
                    <a:pt x="2823" y="4092"/>
                  </a:lnTo>
                  <a:lnTo>
                    <a:pt x="2848" y="4071"/>
                  </a:lnTo>
                  <a:lnTo>
                    <a:pt x="2875" y="4047"/>
                  </a:lnTo>
                  <a:lnTo>
                    <a:pt x="2892" y="4030"/>
                  </a:lnTo>
                  <a:lnTo>
                    <a:pt x="2898" y="4026"/>
                  </a:lnTo>
                  <a:lnTo>
                    <a:pt x="2902" y="4022"/>
                  </a:lnTo>
                  <a:lnTo>
                    <a:pt x="2907" y="4021"/>
                  </a:lnTo>
                  <a:lnTo>
                    <a:pt x="2911" y="4021"/>
                  </a:lnTo>
                  <a:lnTo>
                    <a:pt x="2915" y="4022"/>
                  </a:lnTo>
                  <a:lnTo>
                    <a:pt x="2919" y="4025"/>
                  </a:lnTo>
                  <a:lnTo>
                    <a:pt x="2924" y="4027"/>
                  </a:lnTo>
                  <a:lnTo>
                    <a:pt x="2928" y="4030"/>
                  </a:lnTo>
                  <a:lnTo>
                    <a:pt x="2934" y="4038"/>
                  </a:lnTo>
                  <a:lnTo>
                    <a:pt x="2942" y="4044"/>
                  </a:lnTo>
                  <a:lnTo>
                    <a:pt x="2946" y="4046"/>
                  </a:lnTo>
                  <a:lnTo>
                    <a:pt x="2950" y="4047"/>
                  </a:lnTo>
                  <a:lnTo>
                    <a:pt x="2953" y="4047"/>
                  </a:lnTo>
                  <a:lnTo>
                    <a:pt x="2957" y="4044"/>
                  </a:lnTo>
                  <a:lnTo>
                    <a:pt x="2966" y="4039"/>
                  </a:lnTo>
                  <a:lnTo>
                    <a:pt x="2974" y="4035"/>
                  </a:lnTo>
                  <a:lnTo>
                    <a:pt x="2980" y="4034"/>
                  </a:lnTo>
                  <a:lnTo>
                    <a:pt x="2985" y="4033"/>
                  </a:lnTo>
                  <a:lnTo>
                    <a:pt x="2991" y="4033"/>
                  </a:lnTo>
                  <a:lnTo>
                    <a:pt x="2996" y="4034"/>
                  </a:lnTo>
                  <a:lnTo>
                    <a:pt x="3001" y="4037"/>
                  </a:lnTo>
                  <a:lnTo>
                    <a:pt x="3006" y="4039"/>
                  </a:lnTo>
                  <a:lnTo>
                    <a:pt x="3017" y="4046"/>
                  </a:lnTo>
                  <a:lnTo>
                    <a:pt x="3030" y="4052"/>
                  </a:lnTo>
                  <a:lnTo>
                    <a:pt x="3038" y="4055"/>
                  </a:lnTo>
                  <a:lnTo>
                    <a:pt x="3046" y="4058"/>
                  </a:lnTo>
                  <a:lnTo>
                    <a:pt x="3056" y="4059"/>
                  </a:lnTo>
                  <a:lnTo>
                    <a:pt x="3068" y="4059"/>
                  </a:lnTo>
                  <a:lnTo>
                    <a:pt x="3074" y="4059"/>
                  </a:lnTo>
                  <a:lnTo>
                    <a:pt x="3080" y="4058"/>
                  </a:lnTo>
                  <a:lnTo>
                    <a:pt x="3085" y="4056"/>
                  </a:lnTo>
                  <a:lnTo>
                    <a:pt x="3089" y="4052"/>
                  </a:lnTo>
                  <a:lnTo>
                    <a:pt x="3091" y="4050"/>
                  </a:lnTo>
                  <a:lnTo>
                    <a:pt x="3094" y="4046"/>
                  </a:lnTo>
                  <a:lnTo>
                    <a:pt x="3097" y="4041"/>
                  </a:lnTo>
                  <a:lnTo>
                    <a:pt x="3098" y="4035"/>
                  </a:lnTo>
                  <a:lnTo>
                    <a:pt x="3100" y="4024"/>
                  </a:lnTo>
                  <a:lnTo>
                    <a:pt x="3102" y="4010"/>
                  </a:lnTo>
                  <a:lnTo>
                    <a:pt x="3103" y="3996"/>
                  </a:lnTo>
                  <a:lnTo>
                    <a:pt x="3104" y="3980"/>
                  </a:lnTo>
                  <a:lnTo>
                    <a:pt x="3104" y="3965"/>
                  </a:lnTo>
                  <a:lnTo>
                    <a:pt x="3107" y="3949"/>
                  </a:lnTo>
                  <a:lnTo>
                    <a:pt x="3110" y="3933"/>
                  </a:lnTo>
                  <a:lnTo>
                    <a:pt x="3115" y="3919"/>
                  </a:lnTo>
                  <a:lnTo>
                    <a:pt x="3117" y="3912"/>
                  </a:lnTo>
                  <a:lnTo>
                    <a:pt x="3123" y="3906"/>
                  </a:lnTo>
                  <a:lnTo>
                    <a:pt x="3127" y="3899"/>
                  </a:lnTo>
                  <a:lnTo>
                    <a:pt x="3132" y="3893"/>
                  </a:lnTo>
                  <a:lnTo>
                    <a:pt x="3138" y="3888"/>
                  </a:lnTo>
                  <a:lnTo>
                    <a:pt x="3145" y="3884"/>
                  </a:lnTo>
                  <a:lnTo>
                    <a:pt x="3153" y="3878"/>
                  </a:lnTo>
                  <a:lnTo>
                    <a:pt x="3162" y="3876"/>
                  </a:lnTo>
                  <a:lnTo>
                    <a:pt x="3172" y="3872"/>
                  </a:lnTo>
                  <a:lnTo>
                    <a:pt x="3183" y="3869"/>
                  </a:lnTo>
                  <a:lnTo>
                    <a:pt x="3191" y="3868"/>
                  </a:lnTo>
                  <a:lnTo>
                    <a:pt x="3199" y="3868"/>
                  </a:lnTo>
                  <a:lnTo>
                    <a:pt x="3205" y="3868"/>
                  </a:lnTo>
                  <a:lnTo>
                    <a:pt x="3212" y="3869"/>
                  </a:lnTo>
                  <a:lnTo>
                    <a:pt x="3217" y="3872"/>
                  </a:lnTo>
                  <a:lnTo>
                    <a:pt x="3221" y="3873"/>
                  </a:lnTo>
                  <a:lnTo>
                    <a:pt x="3229" y="3880"/>
                  </a:lnTo>
                  <a:lnTo>
                    <a:pt x="3235" y="3889"/>
                  </a:lnTo>
                  <a:lnTo>
                    <a:pt x="3240" y="3899"/>
                  </a:lnTo>
                  <a:lnTo>
                    <a:pt x="3244" y="3910"/>
                  </a:lnTo>
                  <a:lnTo>
                    <a:pt x="3248" y="3922"/>
                  </a:lnTo>
                  <a:lnTo>
                    <a:pt x="3252" y="3933"/>
                  </a:lnTo>
                  <a:lnTo>
                    <a:pt x="3257" y="3944"/>
                  </a:lnTo>
                  <a:lnTo>
                    <a:pt x="3265" y="3954"/>
                  </a:lnTo>
                  <a:lnTo>
                    <a:pt x="3269" y="3958"/>
                  </a:lnTo>
                  <a:lnTo>
                    <a:pt x="3273" y="3963"/>
                  </a:lnTo>
                  <a:lnTo>
                    <a:pt x="3278" y="3967"/>
                  </a:lnTo>
                  <a:lnTo>
                    <a:pt x="3285" y="3970"/>
                  </a:lnTo>
                  <a:lnTo>
                    <a:pt x="3291" y="3973"/>
                  </a:lnTo>
                  <a:lnTo>
                    <a:pt x="3299" y="3975"/>
                  </a:lnTo>
                  <a:lnTo>
                    <a:pt x="3307" y="3976"/>
                  </a:lnTo>
                  <a:lnTo>
                    <a:pt x="3318" y="3976"/>
                  </a:lnTo>
                  <a:lnTo>
                    <a:pt x="3461" y="3980"/>
                  </a:lnTo>
                  <a:lnTo>
                    <a:pt x="3468" y="3979"/>
                  </a:lnTo>
                  <a:lnTo>
                    <a:pt x="3475" y="3978"/>
                  </a:lnTo>
                  <a:lnTo>
                    <a:pt x="3482" y="3976"/>
                  </a:lnTo>
                  <a:lnTo>
                    <a:pt x="3490" y="3974"/>
                  </a:lnTo>
                  <a:lnTo>
                    <a:pt x="3506" y="3966"/>
                  </a:lnTo>
                  <a:lnTo>
                    <a:pt x="3522" y="3959"/>
                  </a:lnTo>
                  <a:lnTo>
                    <a:pt x="3539" y="3953"/>
                  </a:lnTo>
                  <a:lnTo>
                    <a:pt x="3554" y="3948"/>
                  </a:lnTo>
                  <a:lnTo>
                    <a:pt x="3562" y="3946"/>
                  </a:lnTo>
                  <a:lnTo>
                    <a:pt x="3570" y="3946"/>
                  </a:lnTo>
                  <a:lnTo>
                    <a:pt x="3577" y="3948"/>
                  </a:lnTo>
                  <a:lnTo>
                    <a:pt x="3584" y="3950"/>
                  </a:lnTo>
                  <a:lnTo>
                    <a:pt x="3592" y="3956"/>
                  </a:lnTo>
                  <a:lnTo>
                    <a:pt x="3601" y="3965"/>
                  </a:lnTo>
                  <a:lnTo>
                    <a:pt x="3612" y="3975"/>
                  </a:lnTo>
                  <a:lnTo>
                    <a:pt x="3621" y="3987"/>
                  </a:lnTo>
                  <a:lnTo>
                    <a:pt x="3629" y="3999"/>
                  </a:lnTo>
                  <a:lnTo>
                    <a:pt x="3635" y="4012"/>
                  </a:lnTo>
                  <a:lnTo>
                    <a:pt x="3641" y="4024"/>
                  </a:lnTo>
                  <a:lnTo>
                    <a:pt x="3642" y="4033"/>
                  </a:lnTo>
                  <a:lnTo>
                    <a:pt x="3642" y="4038"/>
                  </a:lnTo>
                  <a:lnTo>
                    <a:pt x="3643" y="4043"/>
                  </a:lnTo>
                  <a:lnTo>
                    <a:pt x="3645" y="4047"/>
                  </a:lnTo>
                  <a:lnTo>
                    <a:pt x="3647" y="4050"/>
                  </a:lnTo>
                  <a:lnTo>
                    <a:pt x="3652" y="4056"/>
                  </a:lnTo>
                  <a:lnTo>
                    <a:pt x="3660" y="4060"/>
                  </a:lnTo>
                  <a:lnTo>
                    <a:pt x="3680" y="4065"/>
                  </a:lnTo>
                  <a:lnTo>
                    <a:pt x="3701" y="4069"/>
                  </a:lnTo>
                  <a:lnTo>
                    <a:pt x="3713" y="4072"/>
                  </a:lnTo>
                  <a:lnTo>
                    <a:pt x="3723" y="4076"/>
                  </a:lnTo>
                  <a:lnTo>
                    <a:pt x="3734" y="4082"/>
                  </a:lnTo>
                  <a:lnTo>
                    <a:pt x="3743" y="4089"/>
                  </a:lnTo>
                  <a:lnTo>
                    <a:pt x="3747" y="4093"/>
                  </a:lnTo>
                  <a:lnTo>
                    <a:pt x="3749" y="4098"/>
                  </a:lnTo>
                  <a:lnTo>
                    <a:pt x="3753" y="4103"/>
                  </a:lnTo>
                  <a:lnTo>
                    <a:pt x="3756" y="4110"/>
                  </a:lnTo>
                  <a:lnTo>
                    <a:pt x="3758" y="4118"/>
                  </a:lnTo>
                  <a:lnTo>
                    <a:pt x="3760" y="4126"/>
                  </a:lnTo>
                  <a:lnTo>
                    <a:pt x="3760" y="4133"/>
                  </a:lnTo>
                  <a:lnTo>
                    <a:pt x="3761" y="4144"/>
                  </a:lnTo>
                  <a:lnTo>
                    <a:pt x="3761" y="4160"/>
                  </a:lnTo>
                  <a:lnTo>
                    <a:pt x="3764" y="4177"/>
                  </a:lnTo>
                  <a:lnTo>
                    <a:pt x="3768" y="4194"/>
                  </a:lnTo>
                  <a:lnTo>
                    <a:pt x="3774" y="4211"/>
                  </a:lnTo>
                  <a:lnTo>
                    <a:pt x="3778" y="4218"/>
                  </a:lnTo>
                  <a:lnTo>
                    <a:pt x="3783" y="4226"/>
                  </a:lnTo>
                  <a:lnTo>
                    <a:pt x="3788" y="4233"/>
                  </a:lnTo>
                  <a:lnTo>
                    <a:pt x="3794" y="4238"/>
                  </a:lnTo>
                  <a:lnTo>
                    <a:pt x="3800" y="4243"/>
                  </a:lnTo>
                  <a:lnTo>
                    <a:pt x="3808" y="4247"/>
                  </a:lnTo>
                  <a:lnTo>
                    <a:pt x="3816" y="4250"/>
                  </a:lnTo>
                  <a:lnTo>
                    <a:pt x="3824" y="4251"/>
                  </a:lnTo>
                  <a:lnTo>
                    <a:pt x="3833" y="4252"/>
                  </a:lnTo>
                  <a:lnTo>
                    <a:pt x="3841" y="4252"/>
                  </a:lnTo>
                  <a:lnTo>
                    <a:pt x="3849" y="4250"/>
                  </a:lnTo>
                  <a:lnTo>
                    <a:pt x="3855" y="4249"/>
                  </a:lnTo>
                  <a:lnTo>
                    <a:pt x="3860" y="4246"/>
                  </a:lnTo>
                  <a:lnTo>
                    <a:pt x="3866" y="4242"/>
                  </a:lnTo>
                  <a:lnTo>
                    <a:pt x="3871" y="4238"/>
                  </a:lnTo>
                  <a:lnTo>
                    <a:pt x="3875" y="4233"/>
                  </a:lnTo>
                  <a:lnTo>
                    <a:pt x="3883" y="4222"/>
                  </a:lnTo>
                  <a:lnTo>
                    <a:pt x="3889" y="4211"/>
                  </a:lnTo>
                  <a:lnTo>
                    <a:pt x="3894" y="4199"/>
                  </a:lnTo>
                  <a:lnTo>
                    <a:pt x="3900" y="4187"/>
                  </a:lnTo>
                  <a:lnTo>
                    <a:pt x="3906" y="4177"/>
                  </a:lnTo>
                  <a:lnTo>
                    <a:pt x="3914" y="4167"/>
                  </a:lnTo>
                  <a:lnTo>
                    <a:pt x="3918" y="4164"/>
                  </a:lnTo>
                  <a:lnTo>
                    <a:pt x="3922" y="4161"/>
                  </a:lnTo>
                  <a:lnTo>
                    <a:pt x="3927" y="4158"/>
                  </a:lnTo>
                  <a:lnTo>
                    <a:pt x="3932" y="4157"/>
                  </a:lnTo>
                  <a:lnTo>
                    <a:pt x="3939" y="4156"/>
                  </a:lnTo>
                  <a:lnTo>
                    <a:pt x="3945" y="4157"/>
                  </a:lnTo>
                  <a:lnTo>
                    <a:pt x="3953" y="4158"/>
                  </a:lnTo>
                  <a:lnTo>
                    <a:pt x="3962" y="4161"/>
                  </a:lnTo>
                  <a:lnTo>
                    <a:pt x="3972" y="4164"/>
                  </a:lnTo>
                  <a:lnTo>
                    <a:pt x="3982" y="4169"/>
                  </a:lnTo>
                  <a:lnTo>
                    <a:pt x="3994" y="4175"/>
                  </a:lnTo>
                  <a:lnTo>
                    <a:pt x="4007" y="4183"/>
                  </a:lnTo>
                  <a:lnTo>
                    <a:pt x="4020" y="4192"/>
                  </a:lnTo>
                  <a:lnTo>
                    <a:pt x="4032" y="4201"/>
                  </a:lnTo>
                  <a:lnTo>
                    <a:pt x="4041" y="4211"/>
                  </a:lnTo>
                  <a:lnTo>
                    <a:pt x="4050" y="4218"/>
                  </a:lnTo>
                  <a:lnTo>
                    <a:pt x="4066" y="4234"/>
                  </a:lnTo>
                  <a:lnTo>
                    <a:pt x="4079" y="4247"/>
                  </a:lnTo>
                  <a:lnTo>
                    <a:pt x="4085" y="4251"/>
                  </a:lnTo>
                  <a:lnTo>
                    <a:pt x="4093" y="4255"/>
                  </a:lnTo>
                  <a:lnTo>
                    <a:pt x="4100" y="4259"/>
                  </a:lnTo>
                  <a:lnTo>
                    <a:pt x="4109" y="4260"/>
                  </a:lnTo>
                  <a:lnTo>
                    <a:pt x="4117" y="4262"/>
                  </a:lnTo>
                  <a:lnTo>
                    <a:pt x="4127" y="4260"/>
                  </a:lnTo>
                  <a:lnTo>
                    <a:pt x="4139" y="4258"/>
                  </a:lnTo>
                  <a:lnTo>
                    <a:pt x="4153" y="4254"/>
                  </a:lnTo>
                  <a:lnTo>
                    <a:pt x="4166" y="4250"/>
                  </a:lnTo>
                  <a:lnTo>
                    <a:pt x="4180" y="4245"/>
                  </a:lnTo>
                  <a:lnTo>
                    <a:pt x="4189" y="4241"/>
                  </a:lnTo>
                  <a:lnTo>
                    <a:pt x="4198" y="4237"/>
                  </a:lnTo>
                  <a:lnTo>
                    <a:pt x="4202" y="4234"/>
                  </a:lnTo>
                  <a:lnTo>
                    <a:pt x="4206" y="4233"/>
                  </a:lnTo>
                  <a:lnTo>
                    <a:pt x="4208" y="4229"/>
                  </a:lnTo>
                  <a:lnTo>
                    <a:pt x="4212" y="4228"/>
                  </a:lnTo>
                  <a:lnTo>
                    <a:pt x="4214" y="4228"/>
                  </a:lnTo>
                  <a:lnTo>
                    <a:pt x="4215" y="4228"/>
                  </a:lnTo>
                  <a:lnTo>
                    <a:pt x="4215" y="4228"/>
                  </a:lnTo>
                  <a:lnTo>
                    <a:pt x="4217" y="4226"/>
                  </a:lnTo>
                  <a:lnTo>
                    <a:pt x="4220" y="4226"/>
                  </a:lnTo>
                  <a:lnTo>
                    <a:pt x="4223" y="4229"/>
                  </a:lnTo>
                  <a:lnTo>
                    <a:pt x="4224" y="4230"/>
                  </a:lnTo>
                  <a:lnTo>
                    <a:pt x="4231" y="4232"/>
                  </a:lnTo>
                  <a:lnTo>
                    <a:pt x="4238" y="4234"/>
                  </a:lnTo>
                  <a:lnTo>
                    <a:pt x="4245" y="4238"/>
                  </a:lnTo>
                  <a:lnTo>
                    <a:pt x="4250" y="4242"/>
                  </a:lnTo>
                  <a:lnTo>
                    <a:pt x="4257" y="4243"/>
                  </a:lnTo>
                  <a:lnTo>
                    <a:pt x="4267" y="4245"/>
                  </a:lnTo>
                  <a:lnTo>
                    <a:pt x="4282" y="4246"/>
                  </a:lnTo>
                  <a:lnTo>
                    <a:pt x="4297" y="4246"/>
                  </a:lnTo>
                  <a:lnTo>
                    <a:pt x="4312" y="4246"/>
                  </a:lnTo>
                  <a:lnTo>
                    <a:pt x="4326" y="4247"/>
                  </a:lnTo>
                  <a:lnTo>
                    <a:pt x="4331" y="4247"/>
                  </a:lnTo>
                  <a:lnTo>
                    <a:pt x="4335" y="4249"/>
                  </a:lnTo>
                  <a:lnTo>
                    <a:pt x="4339" y="4250"/>
                  </a:lnTo>
                  <a:lnTo>
                    <a:pt x="4340" y="4251"/>
                  </a:lnTo>
                  <a:lnTo>
                    <a:pt x="4342" y="4252"/>
                  </a:lnTo>
                  <a:lnTo>
                    <a:pt x="4344" y="4252"/>
                  </a:lnTo>
                  <a:lnTo>
                    <a:pt x="4346" y="4254"/>
                  </a:lnTo>
                  <a:lnTo>
                    <a:pt x="4347" y="4256"/>
                  </a:lnTo>
                  <a:lnTo>
                    <a:pt x="4348" y="4256"/>
                  </a:lnTo>
                  <a:lnTo>
                    <a:pt x="4351" y="4258"/>
                  </a:lnTo>
                  <a:lnTo>
                    <a:pt x="4352" y="4259"/>
                  </a:lnTo>
                  <a:lnTo>
                    <a:pt x="4355" y="4260"/>
                  </a:lnTo>
                  <a:lnTo>
                    <a:pt x="4355" y="4262"/>
                  </a:lnTo>
                  <a:lnTo>
                    <a:pt x="4356" y="4262"/>
                  </a:lnTo>
                  <a:lnTo>
                    <a:pt x="4357" y="4262"/>
                  </a:lnTo>
                  <a:lnTo>
                    <a:pt x="4357" y="4263"/>
                  </a:lnTo>
                  <a:lnTo>
                    <a:pt x="4359" y="4263"/>
                  </a:lnTo>
                  <a:lnTo>
                    <a:pt x="4360" y="4263"/>
                  </a:lnTo>
                  <a:lnTo>
                    <a:pt x="4361" y="4264"/>
                  </a:lnTo>
                  <a:lnTo>
                    <a:pt x="4363" y="4266"/>
                  </a:lnTo>
                  <a:lnTo>
                    <a:pt x="4363" y="4267"/>
                  </a:lnTo>
                  <a:lnTo>
                    <a:pt x="4364" y="4268"/>
                  </a:lnTo>
                  <a:lnTo>
                    <a:pt x="4365" y="4268"/>
                  </a:lnTo>
                  <a:lnTo>
                    <a:pt x="4371" y="4271"/>
                  </a:lnTo>
                  <a:lnTo>
                    <a:pt x="4376" y="4273"/>
                  </a:lnTo>
                  <a:lnTo>
                    <a:pt x="4380" y="4273"/>
                  </a:lnTo>
                  <a:lnTo>
                    <a:pt x="4389" y="4273"/>
                  </a:lnTo>
                  <a:lnTo>
                    <a:pt x="4397" y="4271"/>
                  </a:lnTo>
                  <a:lnTo>
                    <a:pt x="4403" y="4268"/>
                  </a:lnTo>
                  <a:lnTo>
                    <a:pt x="4410" y="4264"/>
                  </a:lnTo>
                  <a:lnTo>
                    <a:pt x="4414" y="4259"/>
                  </a:lnTo>
                  <a:lnTo>
                    <a:pt x="4418" y="4254"/>
                  </a:lnTo>
                  <a:lnTo>
                    <a:pt x="4419" y="4247"/>
                  </a:lnTo>
                  <a:lnTo>
                    <a:pt x="4422" y="4241"/>
                  </a:lnTo>
                  <a:lnTo>
                    <a:pt x="4422" y="4233"/>
                  </a:lnTo>
                  <a:lnTo>
                    <a:pt x="4422" y="4225"/>
                  </a:lnTo>
                  <a:lnTo>
                    <a:pt x="4420" y="4217"/>
                  </a:lnTo>
                  <a:lnTo>
                    <a:pt x="4419" y="4208"/>
                  </a:lnTo>
                  <a:lnTo>
                    <a:pt x="4414" y="4191"/>
                  </a:lnTo>
                  <a:lnTo>
                    <a:pt x="4406" y="4175"/>
                  </a:lnTo>
                  <a:lnTo>
                    <a:pt x="4405" y="4169"/>
                  </a:lnTo>
                  <a:lnTo>
                    <a:pt x="4403" y="4162"/>
                  </a:lnTo>
                  <a:lnTo>
                    <a:pt x="4403" y="4156"/>
                  </a:lnTo>
                  <a:lnTo>
                    <a:pt x="4405" y="4149"/>
                  </a:lnTo>
                  <a:lnTo>
                    <a:pt x="4410" y="4135"/>
                  </a:lnTo>
                  <a:lnTo>
                    <a:pt x="4416" y="4120"/>
                  </a:lnTo>
                  <a:lnTo>
                    <a:pt x="4424" y="4105"/>
                  </a:lnTo>
                  <a:lnTo>
                    <a:pt x="4431" y="4089"/>
                  </a:lnTo>
                  <a:lnTo>
                    <a:pt x="4433" y="4082"/>
                  </a:lnTo>
                  <a:lnTo>
                    <a:pt x="4436" y="4075"/>
                  </a:lnTo>
                  <a:lnTo>
                    <a:pt x="4437" y="4067"/>
                  </a:lnTo>
                  <a:lnTo>
                    <a:pt x="4439" y="4059"/>
                  </a:lnTo>
                  <a:lnTo>
                    <a:pt x="4439" y="4024"/>
                  </a:lnTo>
                  <a:lnTo>
                    <a:pt x="4440" y="3997"/>
                  </a:lnTo>
                  <a:lnTo>
                    <a:pt x="4441" y="3988"/>
                  </a:lnTo>
                  <a:lnTo>
                    <a:pt x="4442" y="3979"/>
                  </a:lnTo>
                  <a:lnTo>
                    <a:pt x="4444" y="3973"/>
                  </a:lnTo>
                  <a:lnTo>
                    <a:pt x="4448" y="3967"/>
                  </a:lnTo>
                  <a:lnTo>
                    <a:pt x="4456" y="3956"/>
                  </a:lnTo>
                  <a:lnTo>
                    <a:pt x="4467" y="3945"/>
                  </a:lnTo>
                  <a:lnTo>
                    <a:pt x="4484" y="3929"/>
                  </a:lnTo>
                  <a:lnTo>
                    <a:pt x="4507" y="3908"/>
                  </a:lnTo>
                  <a:lnTo>
                    <a:pt x="4517" y="3898"/>
                  </a:lnTo>
                  <a:lnTo>
                    <a:pt x="4525" y="3889"/>
                  </a:lnTo>
                  <a:lnTo>
                    <a:pt x="4531" y="3880"/>
                  </a:lnTo>
                  <a:lnTo>
                    <a:pt x="4537" y="3872"/>
                  </a:lnTo>
                  <a:lnTo>
                    <a:pt x="4543" y="3860"/>
                  </a:lnTo>
                  <a:lnTo>
                    <a:pt x="4548" y="3850"/>
                  </a:lnTo>
                  <a:lnTo>
                    <a:pt x="4552" y="3846"/>
                  </a:lnTo>
                  <a:lnTo>
                    <a:pt x="4556" y="3842"/>
                  </a:lnTo>
                  <a:lnTo>
                    <a:pt x="4561" y="3839"/>
                  </a:lnTo>
                  <a:lnTo>
                    <a:pt x="4567" y="3835"/>
                  </a:lnTo>
                  <a:lnTo>
                    <a:pt x="4585" y="3830"/>
                  </a:lnTo>
                  <a:lnTo>
                    <a:pt x="4614" y="3823"/>
                  </a:lnTo>
                  <a:lnTo>
                    <a:pt x="4639" y="3818"/>
                  </a:lnTo>
                  <a:lnTo>
                    <a:pt x="4671" y="3814"/>
                  </a:lnTo>
                  <a:lnTo>
                    <a:pt x="4711" y="3810"/>
                  </a:lnTo>
                  <a:lnTo>
                    <a:pt x="4751" y="3808"/>
                  </a:lnTo>
                  <a:lnTo>
                    <a:pt x="4771" y="3808"/>
                  </a:lnTo>
                  <a:lnTo>
                    <a:pt x="4790" y="3808"/>
                  </a:lnTo>
                  <a:lnTo>
                    <a:pt x="4809" y="3809"/>
                  </a:lnTo>
                  <a:lnTo>
                    <a:pt x="4827" y="3810"/>
                  </a:lnTo>
                  <a:lnTo>
                    <a:pt x="4841" y="3812"/>
                  </a:lnTo>
                  <a:lnTo>
                    <a:pt x="4854" y="3816"/>
                  </a:lnTo>
                  <a:lnTo>
                    <a:pt x="4865" y="3820"/>
                  </a:lnTo>
                  <a:lnTo>
                    <a:pt x="4873" y="3825"/>
                  </a:lnTo>
                  <a:lnTo>
                    <a:pt x="4877" y="3827"/>
                  </a:lnTo>
                  <a:lnTo>
                    <a:pt x="4881" y="3827"/>
                  </a:lnTo>
                  <a:lnTo>
                    <a:pt x="4885" y="3825"/>
                  </a:lnTo>
                  <a:lnTo>
                    <a:pt x="4888" y="3821"/>
                  </a:lnTo>
                  <a:lnTo>
                    <a:pt x="4898" y="3808"/>
                  </a:lnTo>
                  <a:lnTo>
                    <a:pt x="4907" y="3792"/>
                  </a:lnTo>
                  <a:lnTo>
                    <a:pt x="4924" y="3758"/>
                  </a:lnTo>
                  <a:lnTo>
                    <a:pt x="4934" y="3738"/>
                  </a:lnTo>
                  <a:lnTo>
                    <a:pt x="4940" y="3737"/>
                  </a:lnTo>
                  <a:lnTo>
                    <a:pt x="4945" y="3736"/>
                  </a:lnTo>
                  <a:lnTo>
                    <a:pt x="4950" y="3737"/>
                  </a:lnTo>
                  <a:lnTo>
                    <a:pt x="4955" y="3738"/>
                  </a:lnTo>
                  <a:lnTo>
                    <a:pt x="4960" y="3740"/>
                  </a:lnTo>
                  <a:lnTo>
                    <a:pt x="4967" y="3741"/>
                  </a:lnTo>
                  <a:lnTo>
                    <a:pt x="4972" y="3741"/>
                  </a:lnTo>
                  <a:lnTo>
                    <a:pt x="4977" y="3738"/>
                  </a:lnTo>
                  <a:lnTo>
                    <a:pt x="4980" y="3737"/>
                  </a:lnTo>
                  <a:lnTo>
                    <a:pt x="4981" y="3734"/>
                  </a:lnTo>
                  <a:lnTo>
                    <a:pt x="4981" y="3732"/>
                  </a:lnTo>
                  <a:lnTo>
                    <a:pt x="4981" y="3729"/>
                  </a:lnTo>
                  <a:lnTo>
                    <a:pt x="4981" y="3721"/>
                  </a:lnTo>
                  <a:lnTo>
                    <a:pt x="4979" y="3714"/>
                  </a:lnTo>
                  <a:lnTo>
                    <a:pt x="4976" y="3706"/>
                  </a:lnTo>
                  <a:lnTo>
                    <a:pt x="4975" y="3698"/>
                  </a:lnTo>
                  <a:lnTo>
                    <a:pt x="4974" y="3690"/>
                  </a:lnTo>
                  <a:lnTo>
                    <a:pt x="4975" y="3685"/>
                  </a:lnTo>
                  <a:lnTo>
                    <a:pt x="4981" y="3673"/>
                  </a:lnTo>
                  <a:lnTo>
                    <a:pt x="4987" y="3663"/>
                  </a:lnTo>
                  <a:lnTo>
                    <a:pt x="4989" y="3652"/>
                  </a:lnTo>
                  <a:lnTo>
                    <a:pt x="4992" y="3642"/>
                  </a:lnTo>
                  <a:lnTo>
                    <a:pt x="4996" y="3622"/>
                  </a:lnTo>
                  <a:lnTo>
                    <a:pt x="5002" y="3598"/>
                  </a:lnTo>
                  <a:lnTo>
                    <a:pt x="5005" y="3592"/>
                  </a:lnTo>
                  <a:lnTo>
                    <a:pt x="5008" y="3588"/>
                  </a:lnTo>
                  <a:lnTo>
                    <a:pt x="5011" y="3584"/>
                  </a:lnTo>
                  <a:lnTo>
                    <a:pt x="5017" y="3581"/>
                  </a:lnTo>
                  <a:lnTo>
                    <a:pt x="5026" y="3578"/>
                  </a:lnTo>
                  <a:lnTo>
                    <a:pt x="5036" y="3575"/>
                  </a:lnTo>
                  <a:lnTo>
                    <a:pt x="5045" y="3571"/>
                  </a:lnTo>
                  <a:lnTo>
                    <a:pt x="5053" y="3567"/>
                  </a:lnTo>
                  <a:lnTo>
                    <a:pt x="5056" y="3564"/>
                  </a:lnTo>
                  <a:lnTo>
                    <a:pt x="5059" y="3561"/>
                  </a:lnTo>
                  <a:lnTo>
                    <a:pt x="5060" y="3555"/>
                  </a:lnTo>
                  <a:lnTo>
                    <a:pt x="5061" y="3550"/>
                  </a:lnTo>
                  <a:lnTo>
                    <a:pt x="5061" y="3537"/>
                  </a:lnTo>
                  <a:lnTo>
                    <a:pt x="5060" y="3525"/>
                  </a:lnTo>
                  <a:lnTo>
                    <a:pt x="5057" y="3515"/>
                  </a:lnTo>
                  <a:lnTo>
                    <a:pt x="5055" y="3506"/>
                  </a:lnTo>
                  <a:lnTo>
                    <a:pt x="5048" y="3487"/>
                  </a:lnTo>
                  <a:lnTo>
                    <a:pt x="5039" y="3470"/>
                  </a:lnTo>
                  <a:lnTo>
                    <a:pt x="5031" y="3453"/>
                  </a:lnTo>
                  <a:lnTo>
                    <a:pt x="5023" y="3436"/>
                  </a:lnTo>
                  <a:lnTo>
                    <a:pt x="5021" y="3426"/>
                  </a:lnTo>
                  <a:lnTo>
                    <a:pt x="5018" y="3415"/>
                  </a:lnTo>
                  <a:lnTo>
                    <a:pt x="5015" y="3405"/>
                  </a:lnTo>
                  <a:lnTo>
                    <a:pt x="5014" y="3392"/>
                  </a:lnTo>
                  <a:lnTo>
                    <a:pt x="5015" y="3383"/>
                  </a:lnTo>
                  <a:lnTo>
                    <a:pt x="5018" y="3371"/>
                  </a:lnTo>
                  <a:lnTo>
                    <a:pt x="5023" y="3356"/>
                  </a:lnTo>
                  <a:lnTo>
                    <a:pt x="5030" y="3342"/>
                  </a:lnTo>
                  <a:lnTo>
                    <a:pt x="5036" y="3326"/>
                  </a:lnTo>
                  <a:lnTo>
                    <a:pt x="5042" y="3311"/>
                  </a:lnTo>
                  <a:lnTo>
                    <a:pt x="5047" y="3295"/>
                  </a:lnTo>
                  <a:lnTo>
                    <a:pt x="5051" y="3279"/>
                  </a:lnTo>
                  <a:lnTo>
                    <a:pt x="5053" y="3258"/>
                  </a:lnTo>
                  <a:lnTo>
                    <a:pt x="5056" y="3247"/>
                  </a:lnTo>
                  <a:lnTo>
                    <a:pt x="5057" y="3243"/>
                  </a:lnTo>
                  <a:lnTo>
                    <a:pt x="5060" y="3239"/>
                  </a:lnTo>
                  <a:lnTo>
                    <a:pt x="5062" y="3237"/>
                  </a:lnTo>
                  <a:lnTo>
                    <a:pt x="5065" y="3236"/>
                  </a:lnTo>
                  <a:lnTo>
                    <a:pt x="5082" y="3235"/>
                  </a:lnTo>
                  <a:lnTo>
                    <a:pt x="5110" y="3230"/>
                  </a:lnTo>
                  <a:lnTo>
                    <a:pt x="5127" y="3224"/>
                  </a:lnTo>
                  <a:lnTo>
                    <a:pt x="5146" y="3220"/>
                  </a:lnTo>
                  <a:lnTo>
                    <a:pt x="5167" y="3216"/>
                  </a:lnTo>
                  <a:lnTo>
                    <a:pt x="5188" y="3214"/>
                  </a:lnTo>
                  <a:lnTo>
                    <a:pt x="5230" y="3207"/>
                  </a:lnTo>
                  <a:lnTo>
                    <a:pt x="5272" y="3201"/>
                  </a:lnTo>
                  <a:lnTo>
                    <a:pt x="5291" y="3196"/>
                  </a:lnTo>
                  <a:lnTo>
                    <a:pt x="5311" y="3190"/>
                  </a:lnTo>
                  <a:lnTo>
                    <a:pt x="5328" y="3184"/>
                  </a:lnTo>
                  <a:lnTo>
                    <a:pt x="5345" y="3175"/>
                  </a:lnTo>
                  <a:lnTo>
                    <a:pt x="5352" y="3169"/>
                  </a:lnTo>
                  <a:lnTo>
                    <a:pt x="5359" y="3164"/>
                  </a:lnTo>
                  <a:lnTo>
                    <a:pt x="5366" y="3159"/>
                  </a:lnTo>
                  <a:lnTo>
                    <a:pt x="5371" y="3152"/>
                  </a:lnTo>
                  <a:lnTo>
                    <a:pt x="5376" y="3145"/>
                  </a:lnTo>
                  <a:lnTo>
                    <a:pt x="5382" y="3137"/>
                  </a:lnTo>
                  <a:lnTo>
                    <a:pt x="5386" y="3129"/>
                  </a:lnTo>
                  <a:lnTo>
                    <a:pt x="5389" y="3120"/>
                  </a:lnTo>
                  <a:lnTo>
                    <a:pt x="5401" y="3084"/>
                  </a:lnTo>
                  <a:lnTo>
                    <a:pt x="5412" y="3061"/>
                  </a:lnTo>
                  <a:lnTo>
                    <a:pt x="5416" y="3053"/>
                  </a:lnTo>
                  <a:lnTo>
                    <a:pt x="5421" y="3046"/>
                  </a:lnTo>
                  <a:lnTo>
                    <a:pt x="5425" y="3041"/>
                  </a:lnTo>
                  <a:lnTo>
                    <a:pt x="5430" y="3039"/>
                  </a:lnTo>
                  <a:lnTo>
                    <a:pt x="5455" y="3031"/>
                  </a:lnTo>
                  <a:lnTo>
                    <a:pt x="5498" y="3014"/>
                  </a:lnTo>
                  <a:lnTo>
                    <a:pt x="5510" y="3007"/>
                  </a:lnTo>
                  <a:lnTo>
                    <a:pt x="5519" y="3001"/>
                  </a:lnTo>
                  <a:lnTo>
                    <a:pt x="5527" y="2994"/>
                  </a:lnTo>
                  <a:lnTo>
                    <a:pt x="5532" y="2989"/>
                  </a:lnTo>
                  <a:lnTo>
                    <a:pt x="5537" y="2982"/>
                  </a:lnTo>
                  <a:lnTo>
                    <a:pt x="5540" y="2974"/>
                  </a:lnTo>
                  <a:lnTo>
                    <a:pt x="5541" y="2968"/>
                  </a:lnTo>
                  <a:lnTo>
                    <a:pt x="5542" y="2961"/>
                  </a:lnTo>
                  <a:lnTo>
                    <a:pt x="5539" y="2931"/>
                  </a:lnTo>
                  <a:lnTo>
                    <a:pt x="5532" y="2895"/>
                  </a:lnTo>
                  <a:lnTo>
                    <a:pt x="5532" y="2876"/>
                  </a:lnTo>
                  <a:lnTo>
                    <a:pt x="5533" y="2863"/>
                  </a:lnTo>
                  <a:lnTo>
                    <a:pt x="5536" y="2855"/>
                  </a:lnTo>
                  <a:lnTo>
                    <a:pt x="5540" y="2849"/>
                  </a:lnTo>
                  <a:lnTo>
                    <a:pt x="5545" y="2844"/>
                  </a:lnTo>
                  <a:lnTo>
                    <a:pt x="5552" y="2836"/>
                  </a:lnTo>
                  <a:lnTo>
                    <a:pt x="5558" y="2825"/>
                  </a:lnTo>
                  <a:lnTo>
                    <a:pt x="5566" y="2810"/>
                  </a:lnTo>
                  <a:lnTo>
                    <a:pt x="5575" y="2785"/>
                  </a:lnTo>
                  <a:lnTo>
                    <a:pt x="5582" y="2768"/>
                  </a:lnTo>
                  <a:lnTo>
                    <a:pt x="5583" y="2761"/>
                  </a:lnTo>
                  <a:lnTo>
                    <a:pt x="5584" y="2756"/>
                  </a:lnTo>
                  <a:lnTo>
                    <a:pt x="5584" y="2752"/>
                  </a:lnTo>
                  <a:lnTo>
                    <a:pt x="5583" y="2748"/>
                  </a:lnTo>
                  <a:lnTo>
                    <a:pt x="5571" y="2732"/>
                  </a:lnTo>
                  <a:lnTo>
                    <a:pt x="5546" y="2701"/>
                  </a:lnTo>
                  <a:lnTo>
                    <a:pt x="5542" y="2693"/>
                  </a:lnTo>
                  <a:lnTo>
                    <a:pt x="5540" y="2685"/>
                  </a:lnTo>
                  <a:lnTo>
                    <a:pt x="5540" y="2675"/>
                  </a:lnTo>
                  <a:lnTo>
                    <a:pt x="5539" y="2664"/>
                  </a:lnTo>
                  <a:lnTo>
                    <a:pt x="5539" y="2654"/>
                  </a:lnTo>
                  <a:lnTo>
                    <a:pt x="5536" y="2644"/>
                  </a:lnTo>
                  <a:lnTo>
                    <a:pt x="5533" y="2633"/>
                  </a:lnTo>
                  <a:lnTo>
                    <a:pt x="5528" y="2624"/>
                  </a:lnTo>
                  <a:lnTo>
                    <a:pt x="5520" y="2610"/>
                  </a:lnTo>
                  <a:lnTo>
                    <a:pt x="5511" y="2589"/>
                  </a:lnTo>
                  <a:lnTo>
                    <a:pt x="5503" y="2568"/>
                  </a:lnTo>
                  <a:lnTo>
                    <a:pt x="5497" y="2549"/>
                  </a:lnTo>
                  <a:lnTo>
                    <a:pt x="5486" y="2531"/>
                  </a:lnTo>
                  <a:lnTo>
                    <a:pt x="5469" y="2505"/>
                  </a:lnTo>
                  <a:lnTo>
                    <a:pt x="5447" y="2475"/>
                  </a:lnTo>
                  <a:lnTo>
                    <a:pt x="5422" y="2443"/>
                  </a:lnTo>
                  <a:lnTo>
                    <a:pt x="5396" y="2415"/>
                  </a:lnTo>
                  <a:lnTo>
                    <a:pt x="5372" y="2388"/>
                  </a:lnTo>
                  <a:lnTo>
                    <a:pt x="5362" y="2378"/>
                  </a:lnTo>
                  <a:lnTo>
                    <a:pt x="5353" y="2369"/>
                  </a:lnTo>
                  <a:lnTo>
                    <a:pt x="5345" y="2364"/>
                  </a:lnTo>
                  <a:lnTo>
                    <a:pt x="5340" y="2360"/>
                  </a:lnTo>
                  <a:lnTo>
                    <a:pt x="5320" y="2352"/>
                  </a:lnTo>
                  <a:lnTo>
                    <a:pt x="5299" y="2341"/>
                  </a:lnTo>
                  <a:lnTo>
                    <a:pt x="5289" y="2335"/>
                  </a:lnTo>
                  <a:lnTo>
                    <a:pt x="5278" y="2328"/>
                  </a:lnTo>
                  <a:lnTo>
                    <a:pt x="5270" y="2322"/>
                  </a:lnTo>
                  <a:lnTo>
                    <a:pt x="5264" y="2315"/>
                  </a:lnTo>
                  <a:lnTo>
                    <a:pt x="5257" y="2307"/>
                  </a:lnTo>
                  <a:lnTo>
                    <a:pt x="5255" y="2300"/>
                  </a:lnTo>
                  <a:lnTo>
                    <a:pt x="5253" y="2296"/>
                  </a:lnTo>
                  <a:lnTo>
                    <a:pt x="5253" y="2292"/>
                  </a:lnTo>
                  <a:lnTo>
                    <a:pt x="5253" y="2288"/>
                  </a:lnTo>
                  <a:lnTo>
                    <a:pt x="5255" y="2284"/>
                  </a:lnTo>
                  <a:lnTo>
                    <a:pt x="5259" y="2276"/>
                  </a:lnTo>
                  <a:lnTo>
                    <a:pt x="5267" y="2268"/>
                  </a:lnTo>
                  <a:lnTo>
                    <a:pt x="5278" y="2260"/>
                  </a:lnTo>
                  <a:lnTo>
                    <a:pt x="5293" y="2252"/>
                  </a:lnTo>
                  <a:lnTo>
                    <a:pt x="5302" y="2247"/>
                  </a:lnTo>
                  <a:lnTo>
                    <a:pt x="5314" y="2238"/>
                  </a:lnTo>
                  <a:lnTo>
                    <a:pt x="5327" y="2225"/>
                  </a:lnTo>
                  <a:lnTo>
                    <a:pt x="5342" y="2211"/>
                  </a:lnTo>
                  <a:lnTo>
                    <a:pt x="5375" y="2175"/>
                  </a:lnTo>
                  <a:lnTo>
                    <a:pt x="5409" y="2137"/>
                  </a:lnTo>
                  <a:lnTo>
                    <a:pt x="5443" y="2101"/>
                  </a:lnTo>
                  <a:lnTo>
                    <a:pt x="5472" y="2071"/>
                  </a:lnTo>
                  <a:lnTo>
                    <a:pt x="5484" y="2060"/>
                  </a:lnTo>
                  <a:lnTo>
                    <a:pt x="5494" y="2054"/>
                  </a:lnTo>
                  <a:lnTo>
                    <a:pt x="5498" y="2051"/>
                  </a:lnTo>
                  <a:lnTo>
                    <a:pt x="5502" y="2050"/>
                  </a:lnTo>
                  <a:lnTo>
                    <a:pt x="5505" y="2051"/>
                  </a:lnTo>
                  <a:lnTo>
                    <a:pt x="5506" y="2052"/>
                  </a:lnTo>
                  <a:lnTo>
                    <a:pt x="5512" y="2060"/>
                  </a:lnTo>
                  <a:lnTo>
                    <a:pt x="5519" y="2068"/>
                  </a:lnTo>
                  <a:lnTo>
                    <a:pt x="5527" y="2075"/>
                  </a:lnTo>
                  <a:lnTo>
                    <a:pt x="5535" y="2080"/>
                  </a:lnTo>
                  <a:lnTo>
                    <a:pt x="5542" y="2085"/>
                  </a:lnTo>
                  <a:lnTo>
                    <a:pt x="5550" y="2089"/>
                  </a:lnTo>
                  <a:lnTo>
                    <a:pt x="5558" y="2092"/>
                  </a:lnTo>
                  <a:lnTo>
                    <a:pt x="5567" y="2094"/>
                  </a:lnTo>
                  <a:lnTo>
                    <a:pt x="5576" y="2095"/>
                  </a:lnTo>
                  <a:lnTo>
                    <a:pt x="5584" y="2097"/>
                  </a:lnTo>
                  <a:lnTo>
                    <a:pt x="5594" y="2097"/>
                  </a:lnTo>
                  <a:lnTo>
                    <a:pt x="5604" y="2097"/>
                  </a:lnTo>
                  <a:lnTo>
                    <a:pt x="5622" y="2094"/>
                  </a:lnTo>
                  <a:lnTo>
                    <a:pt x="5642" y="2090"/>
                  </a:lnTo>
                  <a:lnTo>
                    <a:pt x="5660" y="2084"/>
                  </a:lnTo>
                  <a:lnTo>
                    <a:pt x="5679" y="2076"/>
                  </a:lnTo>
                  <a:lnTo>
                    <a:pt x="5697" y="2068"/>
                  </a:lnTo>
                  <a:lnTo>
                    <a:pt x="5715" y="2058"/>
                  </a:lnTo>
                  <a:lnTo>
                    <a:pt x="5731" y="2047"/>
                  </a:lnTo>
                  <a:lnTo>
                    <a:pt x="5747" y="2037"/>
                  </a:lnTo>
                  <a:lnTo>
                    <a:pt x="5761" y="2026"/>
                  </a:lnTo>
                  <a:lnTo>
                    <a:pt x="5773" y="2014"/>
                  </a:lnTo>
                  <a:lnTo>
                    <a:pt x="5788" y="2001"/>
                  </a:lnTo>
                  <a:lnTo>
                    <a:pt x="5800" y="1991"/>
                  </a:lnTo>
                  <a:lnTo>
                    <a:pt x="5809" y="1980"/>
                  </a:lnTo>
                  <a:lnTo>
                    <a:pt x="5817" y="1971"/>
                  </a:lnTo>
                  <a:lnTo>
                    <a:pt x="5821" y="1961"/>
                  </a:lnTo>
                  <a:lnTo>
                    <a:pt x="5825" y="1946"/>
                  </a:lnTo>
                  <a:lnTo>
                    <a:pt x="5826" y="1929"/>
                  </a:lnTo>
                  <a:lnTo>
                    <a:pt x="5826" y="1907"/>
                  </a:lnTo>
                  <a:lnTo>
                    <a:pt x="5828" y="1897"/>
                  </a:lnTo>
                  <a:lnTo>
                    <a:pt x="5832" y="1886"/>
                  </a:lnTo>
                  <a:lnTo>
                    <a:pt x="5837" y="1877"/>
                  </a:lnTo>
                  <a:lnTo>
                    <a:pt x="5843" y="1868"/>
                  </a:lnTo>
                  <a:lnTo>
                    <a:pt x="5851" y="1860"/>
                  </a:lnTo>
                  <a:lnTo>
                    <a:pt x="5860" y="1853"/>
                  </a:lnTo>
                  <a:lnTo>
                    <a:pt x="5871" y="1846"/>
                  </a:lnTo>
                  <a:lnTo>
                    <a:pt x="5881" y="1840"/>
                  </a:lnTo>
                  <a:lnTo>
                    <a:pt x="5928" y="1819"/>
                  </a:lnTo>
                  <a:lnTo>
                    <a:pt x="5966" y="1802"/>
                  </a:lnTo>
                  <a:lnTo>
                    <a:pt x="5974" y="1799"/>
                  </a:lnTo>
                  <a:lnTo>
                    <a:pt x="5981" y="1792"/>
                  </a:lnTo>
                  <a:lnTo>
                    <a:pt x="5986" y="1783"/>
                  </a:lnTo>
                  <a:lnTo>
                    <a:pt x="5991" y="1774"/>
                  </a:lnTo>
                  <a:lnTo>
                    <a:pt x="5994" y="1765"/>
                  </a:lnTo>
                  <a:lnTo>
                    <a:pt x="5995" y="1755"/>
                  </a:lnTo>
                  <a:lnTo>
                    <a:pt x="5995" y="1751"/>
                  </a:lnTo>
                  <a:lnTo>
                    <a:pt x="5994" y="1746"/>
                  </a:lnTo>
                  <a:lnTo>
                    <a:pt x="5991" y="1742"/>
                  </a:lnTo>
                  <a:lnTo>
                    <a:pt x="5990" y="1738"/>
                  </a:lnTo>
                  <a:lnTo>
                    <a:pt x="5983" y="1731"/>
                  </a:lnTo>
                  <a:lnTo>
                    <a:pt x="5979" y="1721"/>
                  </a:lnTo>
                  <a:lnTo>
                    <a:pt x="5978" y="1715"/>
                  </a:lnTo>
                  <a:lnTo>
                    <a:pt x="5978" y="1708"/>
                  </a:lnTo>
                  <a:lnTo>
                    <a:pt x="5981" y="1702"/>
                  </a:lnTo>
                  <a:lnTo>
                    <a:pt x="5983" y="1696"/>
                  </a:lnTo>
                  <a:lnTo>
                    <a:pt x="5989" y="1693"/>
                  </a:lnTo>
                  <a:lnTo>
                    <a:pt x="5995" y="1690"/>
                  </a:lnTo>
                  <a:lnTo>
                    <a:pt x="6002" y="1687"/>
                  </a:lnTo>
                  <a:lnTo>
                    <a:pt x="6009" y="1686"/>
                  </a:lnTo>
                  <a:lnTo>
                    <a:pt x="6017" y="1685"/>
                  </a:lnTo>
                  <a:lnTo>
                    <a:pt x="6025" y="1685"/>
                  </a:lnTo>
                  <a:lnTo>
                    <a:pt x="6033" y="1686"/>
                  </a:lnTo>
                  <a:lnTo>
                    <a:pt x="6041" y="1689"/>
                  </a:lnTo>
                  <a:lnTo>
                    <a:pt x="6049" y="1691"/>
                  </a:lnTo>
                  <a:lnTo>
                    <a:pt x="6055" y="1695"/>
                  </a:lnTo>
                  <a:lnTo>
                    <a:pt x="6058" y="1695"/>
                  </a:lnTo>
                  <a:lnTo>
                    <a:pt x="6063" y="1693"/>
                  </a:lnTo>
                  <a:lnTo>
                    <a:pt x="6071" y="1689"/>
                  </a:lnTo>
                  <a:lnTo>
                    <a:pt x="6080" y="1682"/>
                  </a:lnTo>
                  <a:lnTo>
                    <a:pt x="6104" y="1666"/>
                  </a:lnTo>
                  <a:lnTo>
                    <a:pt x="6130" y="1647"/>
                  </a:lnTo>
                  <a:lnTo>
                    <a:pt x="6156" y="1626"/>
                  </a:lnTo>
                  <a:lnTo>
                    <a:pt x="6179" y="1606"/>
                  </a:lnTo>
                  <a:lnTo>
                    <a:pt x="6189" y="1597"/>
                  </a:lnTo>
                  <a:lnTo>
                    <a:pt x="6196" y="1588"/>
                  </a:lnTo>
                  <a:lnTo>
                    <a:pt x="6202" y="1581"/>
                  </a:lnTo>
                  <a:lnTo>
                    <a:pt x="6206" y="1575"/>
                  </a:lnTo>
                  <a:lnTo>
                    <a:pt x="6204" y="1570"/>
                  </a:lnTo>
                  <a:lnTo>
                    <a:pt x="6202" y="1559"/>
                  </a:lnTo>
                  <a:lnTo>
                    <a:pt x="6199" y="1546"/>
                  </a:lnTo>
                  <a:lnTo>
                    <a:pt x="6198" y="1536"/>
                  </a:lnTo>
                  <a:lnTo>
                    <a:pt x="6198" y="1520"/>
                  </a:lnTo>
                  <a:lnTo>
                    <a:pt x="6196" y="1507"/>
                  </a:lnTo>
                  <a:lnTo>
                    <a:pt x="6194" y="1498"/>
                  </a:lnTo>
                  <a:lnTo>
                    <a:pt x="6191" y="1490"/>
                  </a:lnTo>
                  <a:lnTo>
                    <a:pt x="6187" y="1483"/>
                  </a:lnTo>
                  <a:lnTo>
                    <a:pt x="6183" y="1479"/>
                  </a:lnTo>
                  <a:lnTo>
                    <a:pt x="6178" y="1475"/>
                  </a:lnTo>
                  <a:lnTo>
                    <a:pt x="6173" y="1474"/>
                  </a:lnTo>
                  <a:lnTo>
                    <a:pt x="6161" y="1470"/>
                  </a:lnTo>
                  <a:lnTo>
                    <a:pt x="6145" y="1468"/>
                  </a:lnTo>
                  <a:lnTo>
                    <a:pt x="6138" y="1466"/>
                  </a:lnTo>
                  <a:lnTo>
                    <a:pt x="6130" y="1462"/>
                  </a:lnTo>
                  <a:lnTo>
                    <a:pt x="6121" y="1458"/>
                  </a:lnTo>
                  <a:lnTo>
                    <a:pt x="6113" y="1452"/>
                  </a:lnTo>
                  <a:lnTo>
                    <a:pt x="6109" y="1448"/>
                  </a:lnTo>
                  <a:lnTo>
                    <a:pt x="6106" y="1444"/>
                  </a:lnTo>
                  <a:lnTo>
                    <a:pt x="6105" y="1440"/>
                  </a:lnTo>
                  <a:lnTo>
                    <a:pt x="6106" y="1435"/>
                  </a:lnTo>
                  <a:lnTo>
                    <a:pt x="6110" y="1424"/>
                  </a:lnTo>
                  <a:lnTo>
                    <a:pt x="6117" y="1413"/>
                  </a:lnTo>
                  <a:lnTo>
                    <a:pt x="6125" y="1400"/>
                  </a:lnTo>
                  <a:lnTo>
                    <a:pt x="6134" y="1388"/>
                  </a:lnTo>
                  <a:lnTo>
                    <a:pt x="6140" y="1376"/>
                  </a:lnTo>
                  <a:lnTo>
                    <a:pt x="6145" y="1364"/>
                  </a:lnTo>
                  <a:lnTo>
                    <a:pt x="6149" y="1356"/>
                  </a:lnTo>
                  <a:lnTo>
                    <a:pt x="6152" y="1350"/>
                  </a:lnTo>
                  <a:lnTo>
                    <a:pt x="6155" y="1346"/>
                  </a:lnTo>
                  <a:lnTo>
                    <a:pt x="6157" y="1343"/>
                  </a:lnTo>
                  <a:lnTo>
                    <a:pt x="6161" y="1341"/>
                  </a:lnTo>
                  <a:lnTo>
                    <a:pt x="6164" y="1341"/>
                  </a:lnTo>
                  <a:lnTo>
                    <a:pt x="6168" y="1341"/>
                  </a:lnTo>
                  <a:lnTo>
                    <a:pt x="6172" y="1341"/>
                  </a:lnTo>
                  <a:lnTo>
                    <a:pt x="6179" y="1343"/>
                  </a:lnTo>
                  <a:lnTo>
                    <a:pt x="6189" y="1345"/>
                  </a:lnTo>
                  <a:lnTo>
                    <a:pt x="6194" y="1346"/>
                  </a:lnTo>
                  <a:lnTo>
                    <a:pt x="6199" y="1346"/>
                  </a:lnTo>
                  <a:lnTo>
                    <a:pt x="6206" y="1345"/>
                  </a:lnTo>
                  <a:lnTo>
                    <a:pt x="6211" y="1343"/>
                  </a:lnTo>
                  <a:lnTo>
                    <a:pt x="6229" y="1335"/>
                  </a:lnTo>
                  <a:lnTo>
                    <a:pt x="6248" y="1325"/>
                  </a:lnTo>
                  <a:lnTo>
                    <a:pt x="6266" y="1312"/>
                  </a:lnTo>
                  <a:lnTo>
                    <a:pt x="6284" y="1298"/>
                  </a:lnTo>
                  <a:lnTo>
                    <a:pt x="6301" y="1282"/>
                  </a:lnTo>
                  <a:lnTo>
                    <a:pt x="6317" y="1266"/>
                  </a:lnTo>
                  <a:lnTo>
                    <a:pt x="6330" y="1249"/>
                  </a:lnTo>
                  <a:lnTo>
                    <a:pt x="6342" y="1232"/>
                  </a:lnTo>
                  <a:lnTo>
                    <a:pt x="6350" y="1220"/>
                  </a:lnTo>
                  <a:lnTo>
                    <a:pt x="6360" y="1210"/>
                  </a:lnTo>
                  <a:lnTo>
                    <a:pt x="6370" y="1199"/>
                  </a:lnTo>
                  <a:lnTo>
                    <a:pt x="6382" y="1192"/>
                  </a:lnTo>
                  <a:lnTo>
                    <a:pt x="6389" y="1188"/>
                  </a:lnTo>
                  <a:lnTo>
                    <a:pt x="6395" y="1185"/>
                  </a:lnTo>
                  <a:lnTo>
                    <a:pt x="6402" y="1184"/>
                  </a:lnTo>
                  <a:lnTo>
                    <a:pt x="6410" y="1182"/>
                  </a:lnTo>
                  <a:lnTo>
                    <a:pt x="6416" y="1181"/>
                  </a:lnTo>
                  <a:lnTo>
                    <a:pt x="6423" y="1182"/>
                  </a:lnTo>
                  <a:lnTo>
                    <a:pt x="6431" y="1184"/>
                  </a:lnTo>
                  <a:lnTo>
                    <a:pt x="6438" y="1185"/>
                  </a:lnTo>
                  <a:lnTo>
                    <a:pt x="6444" y="1188"/>
                  </a:lnTo>
                  <a:lnTo>
                    <a:pt x="6450" y="1188"/>
                  </a:lnTo>
                  <a:lnTo>
                    <a:pt x="6457" y="1188"/>
                  </a:lnTo>
                  <a:lnTo>
                    <a:pt x="6466" y="1188"/>
                  </a:lnTo>
                  <a:lnTo>
                    <a:pt x="6465" y="1168"/>
                  </a:lnTo>
                  <a:lnTo>
                    <a:pt x="6465" y="1161"/>
                  </a:lnTo>
                  <a:lnTo>
                    <a:pt x="6466" y="1156"/>
                  </a:lnTo>
                  <a:lnTo>
                    <a:pt x="6466" y="1155"/>
                  </a:lnTo>
                  <a:lnTo>
                    <a:pt x="6466" y="1152"/>
                  </a:lnTo>
                  <a:lnTo>
                    <a:pt x="6466" y="1150"/>
                  </a:lnTo>
                  <a:lnTo>
                    <a:pt x="6466" y="1147"/>
                  </a:lnTo>
                  <a:lnTo>
                    <a:pt x="6467" y="1146"/>
                  </a:lnTo>
                  <a:lnTo>
                    <a:pt x="6467" y="1138"/>
                  </a:lnTo>
                  <a:lnTo>
                    <a:pt x="6469" y="1134"/>
                  </a:lnTo>
                  <a:lnTo>
                    <a:pt x="6471" y="1131"/>
                  </a:lnTo>
                  <a:lnTo>
                    <a:pt x="6472" y="1130"/>
                  </a:lnTo>
                  <a:lnTo>
                    <a:pt x="6472" y="1129"/>
                  </a:lnTo>
                  <a:lnTo>
                    <a:pt x="6474" y="1129"/>
                  </a:lnTo>
                  <a:lnTo>
                    <a:pt x="6475" y="1127"/>
                  </a:lnTo>
                  <a:lnTo>
                    <a:pt x="6475" y="1126"/>
                  </a:lnTo>
                  <a:lnTo>
                    <a:pt x="6479" y="1122"/>
                  </a:lnTo>
                  <a:lnTo>
                    <a:pt x="6480" y="1118"/>
                  </a:lnTo>
                  <a:lnTo>
                    <a:pt x="6480" y="1116"/>
                  </a:lnTo>
                  <a:lnTo>
                    <a:pt x="6482" y="1112"/>
                  </a:lnTo>
                  <a:lnTo>
                    <a:pt x="6482" y="1108"/>
                  </a:lnTo>
                  <a:lnTo>
                    <a:pt x="6486" y="1105"/>
                  </a:lnTo>
                  <a:lnTo>
                    <a:pt x="6491" y="1101"/>
                  </a:lnTo>
                  <a:lnTo>
                    <a:pt x="6495" y="1095"/>
                  </a:lnTo>
                  <a:lnTo>
                    <a:pt x="6496" y="1088"/>
                  </a:lnTo>
                  <a:lnTo>
                    <a:pt x="6497" y="1082"/>
                  </a:lnTo>
                  <a:lnTo>
                    <a:pt x="6496" y="1074"/>
                  </a:lnTo>
                  <a:lnTo>
                    <a:pt x="6493" y="1066"/>
                  </a:lnTo>
                  <a:lnTo>
                    <a:pt x="6491" y="1059"/>
                  </a:lnTo>
                  <a:lnTo>
                    <a:pt x="6487" y="1053"/>
                  </a:lnTo>
                  <a:lnTo>
                    <a:pt x="6484" y="1046"/>
                  </a:lnTo>
                  <a:lnTo>
                    <a:pt x="6484" y="1040"/>
                  </a:lnTo>
                  <a:lnTo>
                    <a:pt x="6486" y="1033"/>
                  </a:lnTo>
                  <a:lnTo>
                    <a:pt x="6488" y="1027"/>
                  </a:lnTo>
                  <a:lnTo>
                    <a:pt x="6491" y="1020"/>
                  </a:lnTo>
                  <a:lnTo>
                    <a:pt x="6495" y="1014"/>
                  </a:lnTo>
                  <a:lnTo>
                    <a:pt x="6499" y="1008"/>
                  </a:lnTo>
                  <a:lnTo>
                    <a:pt x="6503" y="1005"/>
                  </a:lnTo>
                  <a:lnTo>
                    <a:pt x="6512" y="998"/>
                  </a:lnTo>
                  <a:lnTo>
                    <a:pt x="6514" y="993"/>
                  </a:lnTo>
                  <a:lnTo>
                    <a:pt x="6513" y="986"/>
                  </a:lnTo>
                  <a:lnTo>
                    <a:pt x="6508" y="976"/>
                  </a:lnTo>
                  <a:lnTo>
                    <a:pt x="6501" y="964"/>
                  </a:lnTo>
                  <a:lnTo>
                    <a:pt x="6493" y="952"/>
                  </a:lnTo>
                  <a:lnTo>
                    <a:pt x="6492" y="947"/>
                  </a:lnTo>
                  <a:lnTo>
                    <a:pt x="6492" y="942"/>
                  </a:lnTo>
                  <a:lnTo>
                    <a:pt x="6493" y="940"/>
                  </a:lnTo>
                  <a:lnTo>
                    <a:pt x="6496" y="939"/>
                  </a:lnTo>
                  <a:lnTo>
                    <a:pt x="6500" y="939"/>
                  </a:lnTo>
                  <a:lnTo>
                    <a:pt x="6504" y="938"/>
                  </a:lnTo>
                  <a:lnTo>
                    <a:pt x="6521" y="939"/>
                  </a:lnTo>
                  <a:lnTo>
                    <a:pt x="6535" y="942"/>
                  </a:lnTo>
                  <a:lnTo>
                    <a:pt x="6551" y="944"/>
                  </a:lnTo>
                  <a:lnTo>
                    <a:pt x="6568" y="944"/>
                  </a:lnTo>
                  <a:lnTo>
                    <a:pt x="6594" y="943"/>
                  </a:lnTo>
                  <a:lnTo>
                    <a:pt x="6622" y="942"/>
                  </a:lnTo>
                  <a:lnTo>
                    <a:pt x="6635" y="939"/>
                  </a:lnTo>
                  <a:lnTo>
                    <a:pt x="6648" y="936"/>
                  </a:lnTo>
                  <a:lnTo>
                    <a:pt x="6660" y="933"/>
                  </a:lnTo>
                  <a:lnTo>
                    <a:pt x="6671" y="926"/>
                  </a:lnTo>
                  <a:lnTo>
                    <a:pt x="6673" y="923"/>
                  </a:lnTo>
                  <a:lnTo>
                    <a:pt x="6674" y="923"/>
                  </a:lnTo>
                  <a:lnTo>
                    <a:pt x="6682" y="923"/>
                  </a:lnTo>
                  <a:lnTo>
                    <a:pt x="6690" y="923"/>
                  </a:lnTo>
                  <a:lnTo>
                    <a:pt x="6697" y="926"/>
                  </a:lnTo>
                  <a:lnTo>
                    <a:pt x="6705" y="929"/>
                  </a:lnTo>
                  <a:lnTo>
                    <a:pt x="6705" y="930"/>
                  </a:lnTo>
                  <a:lnTo>
                    <a:pt x="6705" y="931"/>
                  </a:lnTo>
                  <a:lnTo>
                    <a:pt x="6711" y="933"/>
                  </a:lnTo>
                  <a:lnTo>
                    <a:pt x="6714" y="931"/>
                  </a:lnTo>
                  <a:lnTo>
                    <a:pt x="6716" y="930"/>
                  </a:lnTo>
                  <a:lnTo>
                    <a:pt x="6717" y="931"/>
                  </a:lnTo>
                  <a:lnTo>
                    <a:pt x="6720" y="931"/>
                  </a:lnTo>
                  <a:lnTo>
                    <a:pt x="6720" y="930"/>
                  </a:lnTo>
                  <a:lnTo>
                    <a:pt x="6720" y="929"/>
                  </a:lnTo>
                  <a:lnTo>
                    <a:pt x="6721" y="929"/>
                  </a:lnTo>
                  <a:lnTo>
                    <a:pt x="6722" y="929"/>
                  </a:lnTo>
                  <a:lnTo>
                    <a:pt x="6722" y="927"/>
                  </a:lnTo>
                  <a:lnTo>
                    <a:pt x="6724" y="926"/>
                  </a:lnTo>
                  <a:lnTo>
                    <a:pt x="6724" y="926"/>
                  </a:lnTo>
                  <a:lnTo>
                    <a:pt x="6724" y="925"/>
                  </a:lnTo>
                  <a:lnTo>
                    <a:pt x="6725" y="923"/>
                  </a:lnTo>
                  <a:lnTo>
                    <a:pt x="6725" y="922"/>
                  </a:lnTo>
                  <a:lnTo>
                    <a:pt x="6726" y="919"/>
                  </a:lnTo>
                  <a:lnTo>
                    <a:pt x="6726" y="917"/>
                  </a:lnTo>
                  <a:lnTo>
                    <a:pt x="6728" y="905"/>
                  </a:lnTo>
                  <a:lnTo>
                    <a:pt x="6731" y="893"/>
                  </a:lnTo>
                  <a:lnTo>
                    <a:pt x="6735" y="880"/>
                  </a:lnTo>
                  <a:lnTo>
                    <a:pt x="6739" y="868"/>
                  </a:lnTo>
                  <a:lnTo>
                    <a:pt x="6741" y="867"/>
                  </a:lnTo>
                  <a:lnTo>
                    <a:pt x="6741" y="865"/>
                  </a:lnTo>
                  <a:lnTo>
                    <a:pt x="6743" y="859"/>
                  </a:lnTo>
                  <a:lnTo>
                    <a:pt x="6746" y="857"/>
                  </a:lnTo>
                  <a:lnTo>
                    <a:pt x="6747" y="857"/>
                  </a:lnTo>
                  <a:lnTo>
                    <a:pt x="6751" y="854"/>
                  </a:lnTo>
                  <a:lnTo>
                    <a:pt x="6754" y="853"/>
                  </a:lnTo>
                  <a:lnTo>
                    <a:pt x="6756" y="851"/>
                  </a:lnTo>
                  <a:lnTo>
                    <a:pt x="6759" y="850"/>
                  </a:lnTo>
                  <a:lnTo>
                    <a:pt x="6760" y="849"/>
                  </a:lnTo>
                  <a:lnTo>
                    <a:pt x="6762" y="848"/>
                  </a:lnTo>
                  <a:lnTo>
                    <a:pt x="6763" y="846"/>
                  </a:lnTo>
                  <a:lnTo>
                    <a:pt x="6764" y="845"/>
                  </a:lnTo>
                  <a:lnTo>
                    <a:pt x="6768" y="841"/>
                  </a:lnTo>
                  <a:lnTo>
                    <a:pt x="6773" y="838"/>
                  </a:lnTo>
                  <a:lnTo>
                    <a:pt x="6779" y="833"/>
                  </a:lnTo>
                  <a:lnTo>
                    <a:pt x="6784" y="829"/>
                  </a:lnTo>
                  <a:lnTo>
                    <a:pt x="6789" y="823"/>
                  </a:lnTo>
                  <a:lnTo>
                    <a:pt x="6793" y="816"/>
                  </a:lnTo>
                  <a:lnTo>
                    <a:pt x="6798" y="807"/>
                  </a:lnTo>
                  <a:lnTo>
                    <a:pt x="6805" y="798"/>
                  </a:lnTo>
                  <a:lnTo>
                    <a:pt x="6843" y="755"/>
                  </a:lnTo>
                  <a:lnTo>
                    <a:pt x="6801" y="709"/>
                  </a:lnTo>
                  <a:lnTo>
                    <a:pt x="6799" y="709"/>
                  </a:lnTo>
                  <a:lnTo>
                    <a:pt x="6798" y="708"/>
                  </a:lnTo>
                  <a:lnTo>
                    <a:pt x="6797" y="706"/>
                  </a:lnTo>
                  <a:lnTo>
                    <a:pt x="6794" y="705"/>
                  </a:lnTo>
                  <a:lnTo>
                    <a:pt x="6792" y="705"/>
                  </a:lnTo>
                  <a:lnTo>
                    <a:pt x="6786" y="704"/>
                  </a:lnTo>
                  <a:lnTo>
                    <a:pt x="6780" y="702"/>
                  </a:lnTo>
                  <a:lnTo>
                    <a:pt x="6773" y="701"/>
                  </a:lnTo>
                  <a:lnTo>
                    <a:pt x="6765" y="700"/>
                  </a:lnTo>
                  <a:lnTo>
                    <a:pt x="6754" y="702"/>
                  </a:lnTo>
                  <a:lnTo>
                    <a:pt x="6742" y="702"/>
                  </a:lnTo>
                  <a:lnTo>
                    <a:pt x="6730" y="701"/>
                  </a:lnTo>
                  <a:lnTo>
                    <a:pt x="6721" y="698"/>
                  </a:lnTo>
                  <a:lnTo>
                    <a:pt x="6716" y="696"/>
                  </a:lnTo>
                  <a:lnTo>
                    <a:pt x="6712" y="692"/>
                  </a:lnTo>
                  <a:lnTo>
                    <a:pt x="6707" y="687"/>
                  </a:lnTo>
                  <a:lnTo>
                    <a:pt x="6703" y="683"/>
                  </a:lnTo>
                  <a:lnTo>
                    <a:pt x="6703" y="681"/>
                  </a:lnTo>
                  <a:lnTo>
                    <a:pt x="6703" y="680"/>
                  </a:lnTo>
                  <a:lnTo>
                    <a:pt x="6700" y="680"/>
                  </a:lnTo>
                  <a:lnTo>
                    <a:pt x="6699" y="679"/>
                  </a:lnTo>
                  <a:lnTo>
                    <a:pt x="6697" y="676"/>
                  </a:lnTo>
                  <a:lnTo>
                    <a:pt x="6697" y="675"/>
                  </a:lnTo>
                  <a:lnTo>
                    <a:pt x="6688" y="670"/>
                  </a:lnTo>
                  <a:lnTo>
                    <a:pt x="6679" y="667"/>
                  </a:lnTo>
                  <a:lnTo>
                    <a:pt x="6678" y="667"/>
                  </a:lnTo>
                  <a:lnTo>
                    <a:pt x="6677" y="666"/>
                  </a:lnTo>
                  <a:lnTo>
                    <a:pt x="6675" y="664"/>
                  </a:lnTo>
                  <a:lnTo>
                    <a:pt x="6669" y="659"/>
                  </a:lnTo>
                  <a:lnTo>
                    <a:pt x="6662" y="658"/>
                  </a:lnTo>
                  <a:lnTo>
                    <a:pt x="6658" y="655"/>
                  </a:lnTo>
                  <a:lnTo>
                    <a:pt x="6656" y="655"/>
                  </a:lnTo>
                  <a:lnTo>
                    <a:pt x="6654" y="653"/>
                  </a:lnTo>
                  <a:lnTo>
                    <a:pt x="6652" y="650"/>
                  </a:lnTo>
                  <a:lnTo>
                    <a:pt x="6650" y="647"/>
                  </a:lnTo>
                  <a:lnTo>
                    <a:pt x="6649" y="645"/>
                  </a:lnTo>
                  <a:lnTo>
                    <a:pt x="6649" y="641"/>
                  </a:lnTo>
                  <a:lnTo>
                    <a:pt x="6649" y="636"/>
                  </a:lnTo>
                  <a:lnTo>
                    <a:pt x="6649" y="625"/>
                  </a:lnTo>
                  <a:lnTo>
                    <a:pt x="6646" y="615"/>
                  </a:lnTo>
                  <a:lnTo>
                    <a:pt x="6645" y="602"/>
                  </a:lnTo>
                  <a:lnTo>
                    <a:pt x="6641" y="589"/>
                  </a:lnTo>
                  <a:lnTo>
                    <a:pt x="6632" y="560"/>
                  </a:lnTo>
                  <a:lnTo>
                    <a:pt x="6622" y="528"/>
                  </a:lnTo>
                  <a:lnTo>
                    <a:pt x="6609" y="500"/>
                  </a:lnTo>
                  <a:lnTo>
                    <a:pt x="6597" y="472"/>
                  </a:lnTo>
                  <a:lnTo>
                    <a:pt x="6584" y="449"/>
                  </a:lnTo>
                  <a:lnTo>
                    <a:pt x="6573" y="432"/>
                  </a:lnTo>
                  <a:lnTo>
                    <a:pt x="6567" y="422"/>
                  </a:lnTo>
                  <a:lnTo>
                    <a:pt x="6563" y="412"/>
                  </a:lnTo>
                  <a:lnTo>
                    <a:pt x="6561" y="400"/>
                  </a:lnTo>
                  <a:lnTo>
                    <a:pt x="6561" y="387"/>
                  </a:lnTo>
                  <a:lnTo>
                    <a:pt x="6563" y="374"/>
                  </a:lnTo>
                  <a:lnTo>
                    <a:pt x="6564" y="360"/>
                  </a:lnTo>
                  <a:lnTo>
                    <a:pt x="6568" y="345"/>
                  </a:lnTo>
                  <a:lnTo>
                    <a:pt x="6572" y="331"/>
                  </a:lnTo>
                  <a:lnTo>
                    <a:pt x="6582" y="302"/>
                  </a:lnTo>
                  <a:lnTo>
                    <a:pt x="6594" y="275"/>
                  </a:lnTo>
                  <a:lnTo>
                    <a:pt x="6603" y="251"/>
                  </a:lnTo>
                  <a:lnTo>
                    <a:pt x="6611" y="231"/>
                  </a:lnTo>
                  <a:lnTo>
                    <a:pt x="6614" y="224"/>
                  </a:lnTo>
                  <a:lnTo>
                    <a:pt x="6615" y="214"/>
                  </a:lnTo>
                  <a:lnTo>
                    <a:pt x="6616" y="205"/>
                  </a:lnTo>
                  <a:lnTo>
                    <a:pt x="6618" y="197"/>
                  </a:lnTo>
                  <a:lnTo>
                    <a:pt x="6616" y="179"/>
                  </a:lnTo>
                  <a:lnTo>
                    <a:pt x="6615" y="163"/>
                  </a:lnTo>
                  <a:lnTo>
                    <a:pt x="6614" y="148"/>
                  </a:lnTo>
                  <a:lnTo>
                    <a:pt x="6612" y="135"/>
                  </a:lnTo>
                  <a:lnTo>
                    <a:pt x="6612" y="128"/>
                  </a:lnTo>
                  <a:lnTo>
                    <a:pt x="6614" y="123"/>
                  </a:lnTo>
                  <a:lnTo>
                    <a:pt x="6615" y="118"/>
                  </a:lnTo>
                  <a:lnTo>
                    <a:pt x="6616" y="114"/>
                  </a:lnTo>
                  <a:lnTo>
                    <a:pt x="6620" y="106"/>
                  </a:lnTo>
                  <a:lnTo>
                    <a:pt x="6623" y="97"/>
                  </a:lnTo>
                  <a:lnTo>
                    <a:pt x="6626" y="85"/>
                  </a:lnTo>
                  <a:lnTo>
                    <a:pt x="6627" y="73"/>
                  </a:lnTo>
                  <a:lnTo>
                    <a:pt x="6627" y="60"/>
                  </a:lnTo>
                  <a:lnTo>
                    <a:pt x="6626" y="50"/>
                  </a:lnTo>
                  <a:lnTo>
                    <a:pt x="6624" y="44"/>
                  </a:lnTo>
                  <a:lnTo>
                    <a:pt x="6623" y="40"/>
                  </a:lnTo>
                  <a:lnTo>
                    <a:pt x="6620" y="37"/>
                  </a:lnTo>
                  <a:lnTo>
                    <a:pt x="6618" y="34"/>
                  </a:lnTo>
                  <a:lnTo>
                    <a:pt x="6571" y="0"/>
                  </a:lnTo>
                  <a:lnTo>
                    <a:pt x="6516" y="33"/>
                  </a:lnTo>
                  <a:lnTo>
                    <a:pt x="6508" y="39"/>
                  </a:lnTo>
                  <a:lnTo>
                    <a:pt x="6500" y="46"/>
                  </a:lnTo>
                  <a:lnTo>
                    <a:pt x="6493" y="52"/>
                  </a:lnTo>
                  <a:lnTo>
                    <a:pt x="6487" y="60"/>
                  </a:lnTo>
                  <a:lnTo>
                    <a:pt x="6476" y="78"/>
                  </a:lnTo>
                  <a:lnTo>
                    <a:pt x="6466" y="98"/>
                  </a:lnTo>
                  <a:lnTo>
                    <a:pt x="6459" y="107"/>
                  </a:lnTo>
                  <a:lnTo>
                    <a:pt x="6452" y="115"/>
                  </a:lnTo>
                  <a:lnTo>
                    <a:pt x="6444" y="122"/>
                  </a:lnTo>
                  <a:lnTo>
                    <a:pt x="6435" y="128"/>
                  </a:lnTo>
                  <a:lnTo>
                    <a:pt x="6425" y="136"/>
                  </a:lnTo>
                  <a:lnTo>
                    <a:pt x="6419" y="142"/>
                  </a:lnTo>
                  <a:lnTo>
                    <a:pt x="6416" y="146"/>
                  </a:lnTo>
                  <a:lnTo>
                    <a:pt x="6414" y="152"/>
                  </a:lnTo>
                  <a:lnTo>
                    <a:pt x="6412" y="156"/>
                  </a:lnTo>
                  <a:lnTo>
                    <a:pt x="6412" y="161"/>
                  </a:lnTo>
                  <a:lnTo>
                    <a:pt x="6412" y="177"/>
                  </a:lnTo>
                  <a:lnTo>
                    <a:pt x="6414" y="192"/>
                  </a:lnTo>
                  <a:lnTo>
                    <a:pt x="6414" y="208"/>
                  </a:lnTo>
                  <a:lnTo>
                    <a:pt x="6414" y="225"/>
                  </a:lnTo>
                  <a:lnTo>
                    <a:pt x="6411" y="246"/>
                  </a:lnTo>
                  <a:lnTo>
                    <a:pt x="6406" y="265"/>
                  </a:lnTo>
                  <a:lnTo>
                    <a:pt x="6399" y="285"/>
                  </a:lnTo>
                  <a:lnTo>
                    <a:pt x="6389" y="303"/>
                  </a:lnTo>
                  <a:lnTo>
                    <a:pt x="6381" y="319"/>
                  </a:lnTo>
                  <a:lnTo>
                    <a:pt x="6376" y="333"/>
                  </a:lnTo>
                  <a:lnTo>
                    <a:pt x="6373" y="345"/>
                  </a:lnTo>
                  <a:lnTo>
                    <a:pt x="6372" y="358"/>
                  </a:lnTo>
                  <a:lnTo>
                    <a:pt x="6372" y="371"/>
                  </a:lnTo>
                  <a:lnTo>
                    <a:pt x="6373" y="384"/>
                  </a:lnTo>
                  <a:lnTo>
                    <a:pt x="6377" y="400"/>
                  </a:lnTo>
                  <a:lnTo>
                    <a:pt x="6380" y="416"/>
                  </a:lnTo>
                  <a:lnTo>
                    <a:pt x="6380" y="421"/>
                  </a:lnTo>
                  <a:lnTo>
                    <a:pt x="6378" y="429"/>
                  </a:lnTo>
                  <a:lnTo>
                    <a:pt x="6376" y="437"/>
                  </a:lnTo>
                  <a:lnTo>
                    <a:pt x="6370" y="446"/>
                  </a:lnTo>
                  <a:lnTo>
                    <a:pt x="6359" y="467"/>
                  </a:lnTo>
                  <a:lnTo>
                    <a:pt x="6344" y="489"/>
                  </a:lnTo>
                  <a:lnTo>
                    <a:pt x="6329" y="511"/>
                  </a:lnTo>
                  <a:lnTo>
                    <a:pt x="6313" y="528"/>
                  </a:lnTo>
                  <a:lnTo>
                    <a:pt x="6306" y="536"/>
                  </a:lnTo>
                  <a:lnTo>
                    <a:pt x="6300" y="541"/>
                  </a:lnTo>
                  <a:lnTo>
                    <a:pt x="6295" y="545"/>
                  </a:lnTo>
                  <a:lnTo>
                    <a:pt x="6291" y="548"/>
                  </a:lnTo>
                  <a:lnTo>
                    <a:pt x="6262" y="553"/>
                  </a:lnTo>
                  <a:lnTo>
                    <a:pt x="6240" y="557"/>
                  </a:lnTo>
                  <a:lnTo>
                    <a:pt x="6224" y="561"/>
                  </a:lnTo>
                  <a:lnTo>
                    <a:pt x="6212" y="568"/>
                  </a:lnTo>
                  <a:lnTo>
                    <a:pt x="6207" y="572"/>
                  </a:lnTo>
                  <a:lnTo>
                    <a:pt x="6202" y="575"/>
                  </a:lnTo>
                  <a:lnTo>
                    <a:pt x="6198" y="582"/>
                  </a:lnTo>
                  <a:lnTo>
                    <a:pt x="6193" y="589"/>
                  </a:lnTo>
                  <a:lnTo>
                    <a:pt x="6181" y="606"/>
                  </a:lnTo>
                  <a:lnTo>
                    <a:pt x="6165" y="629"/>
                  </a:lnTo>
                  <a:lnTo>
                    <a:pt x="6157" y="638"/>
                  </a:lnTo>
                  <a:lnTo>
                    <a:pt x="6145" y="646"/>
                  </a:lnTo>
                  <a:lnTo>
                    <a:pt x="6132" y="655"/>
                  </a:lnTo>
                  <a:lnTo>
                    <a:pt x="6118" y="662"/>
                  </a:lnTo>
                  <a:lnTo>
                    <a:pt x="6089" y="676"/>
                  </a:lnTo>
                  <a:lnTo>
                    <a:pt x="6066" y="688"/>
                  </a:lnTo>
                  <a:lnTo>
                    <a:pt x="6053" y="695"/>
                  </a:lnTo>
                  <a:lnTo>
                    <a:pt x="6034" y="702"/>
                  </a:lnTo>
                  <a:lnTo>
                    <a:pt x="6009" y="710"/>
                  </a:lnTo>
                  <a:lnTo>
                    <a:pt x="5982" y="718"/>
                  </a:lnTo>
                  <a:lnTo>
                    <a:pt x="5915" y="735"/>
                  </a:lnTo>
                  <a:lnTo>
                    <a:pt x="5842" y="751"/>
                  </a:lnTo>
                  <a:lnTo>
                    <a:pt x="5771" y="765"/>
                  </a:lnTo>
                  <a:lnTo>
                    <a:pt x="5710" y="774"/>
                  </a:lnTo>
                  <a:lnTo>
                    <a:pt x="5685" y="777"/>
                  </a:lnTo>
                  <a:lnTo>
                    <a:pt x="5665" y="778"/>
                  </a:lnTo>
                  <a:lnTo>
                    <a:pt x="5658" y="777"/>
                  </a:lnTo>
                  <a:lnTo>
                    <a:pt x="5651" y="777"/>
                  </a:lnTo>
                  <a:lnTo>
                    <a:pt x="5647" y="776"/>
                  </a:lnTo>
                  <a:lnTo>
                    <a:pt x="5645" y="774"/>
                  </a:lnTo>
                  <a:lnTo>
                    <a:pt x="5631" y="755"/>
                  </a:lnTo>
                  <a:lnTo>
                    <a:pt x="5620" y="742"/>
                  </a:lnTo>
                  <a:lnTo>
                    <a:pt x="5614" y="736"/>
                  </a:lnTo>
                  <a:lnTo>
                    <a:pt x="5609" y="731"/>
                  </a:lnTo>
                  <a:lnTo>
                    <a:pt x="5604" y="729"/>
                  </a:lnTo>
                  <a:lnTo>
                    <a:pt x="5599" y="725"/>
                  </a:lnTo>
                  <a:lnTo>
                    <a:pt x="5586" y="721"/>
                  </a:lnTo>
                  <a:lnTo>
                    <a:pt x="5570" y="719"/>
                  </a:lnTo>
                  <a:lnTo>
                    <a:pt x="5549" y="718"/>
                  </a:lnTo>
                  <a:lnTo>
                    <a:pt x="5523" y="718"/>
                  </a:lnTo>
                  <a:lnTo>
                    <a:pt x="5511" y="718"/>
                  </a:lnTo>
                  <a:lnTo>
                    <a:pt x="5501" y="717"/>
                  </a:lnTo>
                  <a:lnTo>
                    <a:pt x="5490" y="714"/>
                  </a:lnTo>
                  <a:lnTo>
                    <a:pt x="5481" y="712"/>
                  </a:lnTo>
                  <a:lnTo>
                    <a:pt x="5472" y="709"/>
                  </a:lnTo>
                  <a:lnTo>
                    <a:pt x="5463" y="705"/>
                  </a:lnTo>
                  <a:lnTo>
                    <a:pt x="5455" y="701"/>
                  </a:lnTo>
                  <a:lnTo>
                    <a:pt x="5447" y="696"/>
                  </a:lnTo>
                  <a:lnTo>
                    <a:pt x="5433" y="684"/>
                  </a:lnTo>
                  <a:lnTo>
                    <a:pt x="5420" y="672"/>
                  </a:lnTo>
                  <a:lnTo>
                    <a:pt x="5406" y="659"/>
                  </a:lnTo>
                  <a:lnTo>
                    <a:pt x="5395" y="645"/>
                  </a:lnTo>
                  <a:lnTo>
                    <a:pt x="5383" y="634"/>
                  </a:lnTo>
                  <a:lnTo>
                    <a:pt x="5371" y="625"/>
                  </a:lnTo>
                  <a:lnTo>
                    <a:pt x="5358" y="617"/>
                  </a:lnTo>
                  <a:lnTo>
                    <a:pt x="5342" y="611"/>
                  </a:lnTo>
                  <a:lnTo>
                    <a:pt x="5327" y="606"/>
                  </a:lnTo>
                  <a:lnTo>
                    <a:pt x="5311" y="602"/>
                  </a:lnTo>
                  <a:lnTo>
                    <a:pt x="5294" y="599"/>
                  </a:lnTo>
                  <a:lnTo>
                    <a:pt x="5277" y="596"/>
                  </a:lnTo>
                  <a:lnTo>
                    <a:pt x="5243" y="592"/>
                  </a:lnTo>
                  <a:lnTo>
                    <a:pt x="5209" y="590"/>
                  </a:lnTo>
                  <a:lnTo>
                    <a:pt x="5178" y="587"/>
                  </a:lnTo>
                  <a:lnTo>
                    <a:pt x="5151" y="582"/>
                  </a:lnTo>
                  <a:lnTo>
                    <a:pt x="5113" y="570"/>
                  </a:lnTo>
                  <a:lnTo>
                    <a:pt x="5070" y="553"/>
                  </a:lnTo>
                  <a:lnTo>
                    <a:pt x="5048" y="547"/>
                  </a:lnTo>
                  <a:lnTo>
                    <a:pt x="5027" y="543"/>
                  </a:lnTo>
                  <a:lnTo>
                    <a:pt x="5018" y="541"/>
                  </a:lnTo>
                  <a:lnTo>
                    <a:pt x="5008" y="543"/>
                  </a:lnTo>
                  <a:lnTo>
                    <a:pt x="4998" y="543"/>
                  </a:lnTo>
                  <a:lnTo>
                    <a:pt x="4991" y="545"/>
                  </a:lnTo>
                  <a:lnTo>
                    <a:pt x="4970" y="556"/>
                  </a:lnTo>
                  <a:lnTo>
                    <a:pt x="4942" y="569"/>
                  </a:lnTo>
                  <a:lnTo>
                    <a:pt x="4911" y="586"/>
                  </a:lnTo>
                  <a:lnTo>
                    <a:pt x="4879" y="606"/>
                  </a:lnTo>
                  <a:lnTo>
                    <a:pt x="4848" y="626"/>
                  </a:lnTo>
                  <a:lnTo>
                    <a:pt x="4820" y="646"/>
                  </a:lnTo>
                  <a:lnTo>
                    <a:pt x="4809" y="655"/>
                  </a:lnTo>
                  <a:lnTo>
                    <a:pt x="4798" y="664"/>
                  </a:lnTo>
                  <a:lnTo>
                    <a:pt x="4789" y="674"/>
                  </a:lnTo>
                  <a:lnTo>
                    <a:pt x="4784" y="681"/>
                  </a:lnTo>
                  <a:lnTo>
                    <a:pt x="4783" y="687"/>
                  </a:lnTo>
                  <a:lnTo>
                    <a:pt x="4786" y="697"/>
                  </a:lnTo>
                  <a:lnTo>
                    <a:pt x="4790" y="710"/>
                  </a:lnTo>
                  <a:lnTo>
                    <a:pt x="4797" y="725"/>
                  </a:lnTo>
                  <a:lnTo>
                    <a:pt x="4803" y="740"/>
                  </a:lnTo>
                  <a:lnTo>
                    <a:pt x="4810" y="756"/>
                  </a:lnTo>
                  <a:lnTo>
                    <a:pt x="4814" y="770"/>
                  </a:lnTo>
                  <a:lnTo>
                    <a:pt x="4817" y="781"/>
                  </a:lnTo>
                  <a:lnTo>
                    <a:pt x="4814" y="786"/>
                  </a:lnTo>
                  <a:lnTo>
                    <a:pt x="4805" y="795"/>
                  </a:lnTo>
                  <a:lnTo>
                    <a:pt x="4792" y="807"/>
                  </a:lnTo>
                  <a:lnTo>
                    <a:pt x="4776" y="821"/>
                  </a:lnTo>
                  <a:lnTo>
                    <a:pt x="4759" y="834"/>
                  </a:lnTo>
                  <a:lnTo>
                    <a:pt x="4745" y="846"/>
                  </a:lnTo>
                  <a:lnTo>
                    <a:pt x="4733" y="855"/>
                  </a:lnTo>
                  <a:lnTo>
                    <a:pt x="4725" y="859"/>
                  </a:lnTo>
                  <a:lnTo>
                    <a:pt x="4712" y="861"/>
                  </a:lnTo>
                  <a:lnTo>
                    <a:pt x="4701" y="861"/>
                  </a:lnTo>
                  <a:lnTo>
                    <a:pt x="4694" y="859"/>
                  </a:lnTo>
                  <a:lnTo>
                    <a:pt x="4688" y="858"/>
                  </a:lnTo>
                  <a:lnTo>
                    <a:pt x="4686" y="858"/>
                  </a:lnTo>
                  <a:lnTo>
                    <a:pt x="4683" y="859"/>
                  </a:lnTo>
                  <a:lnTo>
                    <a:pt x="4681" y="861"/>
                  </a:lnTo>
                  <a:lnTo>
                    <a:pt x="4678" y="865"/>
                  </a:lnTo>
                  <a:lnTo>
                    <a:pt x="4673" y="874"/>
                  </a:lnTo>
                  <a:lnTo>
                    <a:pt x="4665" y="889"/>
                  </a:lnTo>
                  <a:lnTo>
                    <a:pt x="4657" y="902"/>
                  </a:lnTo>
                  <a:lnTo>
                    <a:pt x="4648" y="918"/>
                  </a:lnTo>
                  <a:lnTo>
                    <a:pt x="4637" y="933"/>
                  </a:lnTo>
                  <a:lnTo>
                    <a:pt x="4624" y="946"/>
                  </a:lnTo>
                  <a:lnTo>
                    <a:pt x="4610" y="959"/>
                  </a:lnTo>
                  <a:lnTo>
                    <a:pt x="4595" y="969"/>
                  </a:lnTo>
                  <a:lnTo>
                    <a:pt x="4588" y="973"/>
                  </a:lnTo>
                  <a:lnTo>
                    <a:pt x="4581" y="977"/>
                  </a:lnTo>
                  <a:lnTo>
                    <a:pt x="4573" y="980"/>
                  </a:lnTo>
                  <a:lnTo>
                    <a:pt x="4565" y="981"/>
                  </a:lnTo>
                  <a:lnTo>
                    <a:pt x="4548" y="985"/>
                  </a:lnTo>
                  <a:lnTo>
                    <a:pt x="4530" y="991"/>
                  </a:lnTo>
                  <a:lnTo>
                    <a:pt x="4513" y="1001"/>
                  </a:lnTo>
                  <a:lnTo>
                    <a:pt x="4495" y="1008"/>
                  </a:lnTo>
                  <a:lnTo>
                    <a:pt x="4476" y="1016"/>
                  </a:lnTo>
                  <a:lnTo>
                    <a:pt x="4458" y="1024"/>
                  </a:lnTo>
                  <a:lnTo>
                    <a:pt x="4449" y="1027"/>
                  </a:lnTo>
                  <a:lnTo>
                    <a:pt x="4440" y="1028"/>
                  </a:lnTo>
                  <a:lnTo>
                    <a:pt x="4429" y="1029"/>
                  </a:lnTo>
                  <a:lnTo>
                    <a:pt x="4420" y="1031"/>
                  </a:lnTo>
                  <a:lnTo>
                    <a:pt x="4388" y="1031"/>
                  </a:lnTo>
                  <a:lnTo>
                    <a:pt x="4359" y="1032"/>
                  </a:lnTo>
                  <a:lnTo>
                    <a:pt x="4346" y="1032"/>
                  </a:lnTo>
                  <a:lnTo>
                    <a:pt x="4334" y="1035"/>
                  </a:lnTo>
                  <a:lnTo>
                    <a:pt x="4322" y="1036"/>
                  </a:lnTo>
                  <a:lnTo>
                    <a:pt x="4312" y="1039"/>
                  </a:lnTo>
                  <a:lnTo>
                    <a:pt x="4301" y="1042"/>
                  </a:lnTo>
                  <a:lnTo>
                    <a:pt x="4291" y="1048"/>
                  </a:lnTo>
                  <a:lnTo>
                    <a:pt x="4280" y="1053"/>
                  </a:lnTo>
                  <a:lnTo>
                    <a:pt x="4270" y="1059"/>
                  </a:lnTo>
                  <a:lnTo>
                    <a:pt x="4259" y="1067"/>
                  </a:lnTo>
                  <a:lnTo>
                    <a:pt x="4249" y="1076"/>
                  </a:lnTo>
                  <a:lnTo>
                    <a:pt x="4237" y="1087"/>
                  </a:lnTo>
                  <a:lnTo>
                    <a:pt x="4225" y="1099"/>
                  </a:lnTo>
                  <a:lnTo>
                    <a:pt x="4214" y="1109"/>
                  </a:lnTo>
                  <a:lnTo>
                    <a:pt x="4202" y="1117"/>
                  </a:lnTo>
                  <a:lnTo>
                    <a:pt x="4189" y="1124"/>
                  </a:lnTo>
                  <a:lnTo>
                    <a:pt x="4176" y="1129"/>
                  </a:lnTo>
                  <a:lnTo>
                    <a:pt x="4149" y="1138"/>
                  </a:lnTo>
                  <a:lnTo>
                    <a:pt x="4121" y="1151"/>
                  </a:lnTo>
                  <a:lnTo>
                    <a:pt x="4092" y="1175"/>
                  </a:lnTo>
                  <a:lnTo>
                    <a:pt x="4041" y="1219"/>
                  </a:lnTo>
                  <a:lnTo>
                    <a:pt x="3989" y="1266"/>
                  </a:lnTo>
                  <a:lnTo>
                    <a:pt x="3955" y="1295"/>
                  </a:lnTo>
                  <a:lnTo>
                    <a:pt x="3938" y="1307"/>
                  </a:lnTo>
                  <a:lnTo>
                    <a:pt x="3917" y="1318"/>
                  </a:lnTo>
                  <a:lnTo>
                    <a:pt x="3893" y="1330"/>
                  </a:lnTo>
                  <a:lnTo>
                    <a:pt x="3868" y="1342"/>
                  </a:lnTo>
                  <a:lnTo>
                    <a:pt x="3845" y="1354"/>
                  </a:lnTo>
                  <a:lnTo>
                    <a:pt x="3824" y="1364"/>
                  </a:lnTo>
                  <a:lnTo>
                    <a:pt x="3815" y="1369"/>
                  </a:lnTo>
                  <a:lnTo>
                    <a:pt x="3807" y="1376"/>
                  </a:lnTo>
                  <a:lnTo>
                    <a:pt x="3800" y="1381"/>
                  </a:lnTo>
                  <a:lnTo>
                    <a:pt x="3796" y="1386"/>
                  </a:lnTo>
                  <a:lnTo>
                    <a:pt x="3790" y="1396"/>
                  </a:lnTo>
                  <a:lnTo>
                    <a:pt x="3783" y="1402"/>
                  </a:lnTo>
                  <a:lnTo>
                    <a:pt x="3778" y="1407"/>
                  </a:lnTo>
                  <a:lnTo>
                    <a:pt x="3774" y="1410"/>
                  </a:lnTo>
                  <a:lnTo>
                    <a:pt x="3769" y="1411"/>
                  </a:lnTo>
                  <a:lnTo>
                    <a:pt x="3765" y="1413"/>
                  </a:lnTo>
                  <a:lnTo>
                    <a:pt x="3762" y="1411"/>
                  </a:lnTo>
                  <a:lnTo>
                    <a:pt x="3758" y="1409"/>
                  </a:lnTo>
                  <a:lnTo>
                    <a:pt x="3745" y="1394"/>
                  </a:lnTo>
                  <a:lnTo>
                    <a:pt x="3727" y="1373"/>
                  </a:lnTo>
                  <a:lnTo>
                    <a:pt x="3703" y="1352"/>
                  </a:lnTo>
                  <a:lnTo>
                    <a:pt x="3681" y="1335"/>
                  </a:lnTo>
                  <a:lnTo>
                    <a:pt x="3669" y="1329"/>
                  </a:lnTo>
                  <a:lnTo>
                    <a:pt x="3656" y="1321"/>
                  </a:lnTo>
                  <a:lnTo>
                    <a:pt x="3643" y="1315"/>
                  </a:lnTo>
                  <a:lnTo>
                    <a:pt x="3628" y="1308"/>
                  </a:lnTo>
                  <a:lnTo>
                    <a:pt x="3586" y="1294"/>
                  </a:lnTo>
                  <a:lnTo>
                    <a:pt x="3544" y="1278"/>
                  </a:lnTo>
                  <a:lnTo>
                    <a:pt x="3524" y="1270"/>
                  </a:lnTo>
                  <a:lnTo>
                    <a:pt x="3503" y="1262"/>
                  </a:lnTo>
                  <a:lnTo>
                    <a:pt x="3485" y="1252"/>
                  </a:lnTo>
                  <a:lnTo>
                    <a:pt x="3467" y="1243"/>
                  </a:lnTo>
                  <a:lnTo>
                    <a:pt x="3464" y="1240"/>
                  </a:lnTo>
                  <a:lnTo>
                    <a:pt x="3464" y="1239"/>
                  </a:lnTo>
                  <a:lnTo>
                    <a:pt x="3458" y="1236"/>
                  </a:lnTo>
                  <a:lnTo>
                    <a:pt x="3452" y="1233"/>
                  </a:lnTo>
                  <a:lnTo>
                    <a:pt x="3444" y="1232"/>
                  </a:lnTo>
                  <a:lnTo>
                    <a:pt x="3438" y="1231"/>
                  </a:lnTo>
                  <a:lnTo>
                    <a:pt x="3433" y="1231"/>
                  </a:lnTo>
                  <a:lnTo>
                    <a:pt x="3429" y="1233"/>
                  </a:lnTo>
                  <a:lnTo>
                    <a:pt x="3425" y="1237"/>
                  </a:lnTo>
                  <a:lnTo>
                    <a:pt x="3422" y="1241"/>
                  </a:lnTo>
                  <a:lnTo>
                    <a:pt x="3418" y="1245"/>
                  </a:lnTo>
                  <a:lnTo>
                    <a:pt x="3416" y="1250"/>
                  </a:lnTo>
                  <a:lnTo>
                    <a:pt x="3412" y="1253"/>
                  </a:lnTo>
                  <a:lnTo>
                    <a:pt x="3408" y="1256"/>
                  </a:lnTo>
                  <a:lnTo>
                    <a:pt x="3370" y="1273"/>
                  </a:lnTo>
                  <a:lnTo>
                    <a:pt x="3366" y="1275"/>
                  </a:lnTo>
                  <a:lnTo>
                    <a:pt x="3362" y="1281"/>
                  </a:lnTo>
                  <a:lnTo>
                    <a:pt x="3359" y="1286"/>
                  </a:lnTo>
                  <a:lnTo>
                    <a:pt x="3357" y="1291"/>
                  </a:lnTo>
                  <a:lnTo>
                    <a:pt x="3356" y="1298"/>
                  </a:lnTo>
                  <a:lnTo>
                    <a:pt x="3356" y="1303"/>
                  </a:lnTo>
                  <a:lnTo>
                    <a:pt x="3356" y="1307"/>
                  </a:lnTo>
                  <a:lnTo>
                    <a:pt x="3358" y="1309"/>
                  </a:lnTo>
                  <a:lnTo>
                    <a:pt x="3358" y="1311"/>
                  </a:lnTo>
                  <a:lnTo>
                    <a:pt x="3358" y="1312"/>
                  </a:lnTo>
                  <a:lnTo>
                    <a:pt x="3361" y="1322"/>
                  </a:lnTo>
                  <a:lnTo>
                    <a:pt x="3359" y="1333"/>
                  </a:lnTo>
                  <a:lnTo>
                    <a:pt x="3356" y="1339"/>
                  </a:lnTo>
                  <a:lnTo>
                    <a:pt x="3350" y="1346"/>
                  </a:lnTo>
                  <a:lnTo>
                    <a:pt x="3345" y="1351"/>
                  </a:lnTo>
                  <a:lnTo>
                    <a:pt x="3341" y="1358"/>
                  </a:lnTo>
                  <a:lnTo>
                    <a:pt x="3340" y="1359"/>
                  </a:lnTo>
                  <a:lnTo>
                    <a:pt x="3339" y="1359"/>
                  </a:lnTo>
                  <a:lnTo>
                    <a:pt x="3337" y="1359"/>
                  </a:lnTo>
                  <a:lnTo>
                    <a:pt x="3323" y="1380"/>
                  </a:lnTo>
                  <a:lnTo>
                    <a:pt x="3322" y="1381"/>
                  </a:lnTo>
                  <a:lnTo>
                    <a:pt x="3320" y="1383"/>
                  </a:lnTo>
                  <a:lnTo>
                    <a:pt x="3318" y="1389"/>
                  </a:lnTo>
                  <a:lnTo>
                    <a:pt x="3316" y="1394"/>
                  </a:lnTo>
                  <a:lnTo>
                    <a:pt x="3314" y="1401"/>
                  </a:lnTo>
                  <a:lnTo>
                    <a:pt x="3311" y="1406"/>
                  </a:lnTo>
                  <a:lnTo>
                    <a:pt x="3310" y="1411"/>
                  </a:lnTo>
                  <a:lnTo>
                    <a:pt x="3308" y="1417"/>
                  </a:lnTo>
                  <a:lnTo>
                    <a:pt x="3306" y="1422"/>
                  </a:lnTo>
                  <a:lnTo>
                    <a:pt x="3303" y="1423"/>
                  </a:lnTo>
                  <a:lnTo>
                    <a:pt x="3301" y="1423"/>
                  </a:lnTo>
                  <a:lnTo>
                    <a:pt x="3298" y="1423"/>
                  </a:lnTo>
                  <a:lnTo>
                    <a:pt x="3297" y="1422"/>
                  </a:lnTo>
                  <a:lnTo>
                    <a:pt x="3289" y="1417"/>
                  </a:lnTo>
                  <a:lnTo>
                    <a:pt x="3281" y="1410"/>
                  </a:lnTo>
                  <a:lnTo>
                    <a:pt x="3277" y="1407"/>
                  </a:lnTo>
                  <a:lnTo>
                    <a:pt x="3273" y="1406"/>
                  </a:lnTo>
                  <a:lnTo>
                    <a:pt x="3267" y="1403"/>
                  </a:lnTo>
                  <a:lnTo>
                    <a:pt x="3263" y="1401"/>
                  </a:lnTo>
                  <a:lnTo>
                    <a:pt x="3261" y="1401"/>
                  </a:lnTo>
                  <a:lnTo>
                    <a:pt x="3255" y="1398"/>
                  </a:lnTo>
                  <a:lnTo>
                    <a:pt x="3250" y="1394"/>
                  </a:lnTo>
                  <a:lnTo>
                    <a:pt x="3248" y="1392"/>
                  </a:lnTo>
                  <a:lnTo>
                    <a:pt x="3247" y="1389"/>
                  </a:lnTo>
                  <a:lnTo>
                    <a:pt x="3244" y="1389"/>
                  </a:lnTo>
                  <a:lnTo>
                    <a:pt x="3242" y="1388"/>
                  </a:lnTo>
                  <a:lnTo>
                    <a:pt x="3238" y="1388"/>
                  </a:lnTo>
                  <a:lnTo>
                    <a:pt x="3238" y="1389"/>
                  </a:lnTo>
                  <a:lnTo>
                    <a:pt x="3236" y="1389"/>
                  </a:lnTo>
                  <a:lnTo>
                    <a:pt x="3231" y="1390"/>
                  </a:lnTo>
                  <a:lnTo>
                    <a:pt x="3226" y="1393"/>
                  </a:lnTo>
                  <a:lnTo>
                    <a:pt x="3221" y="1397"/>
                  </a:lnTo>
                  <a:lnTo>
                    <a:pt x="3217" y="1401"/>
                  </a:lnTo>
                  <a:lnTo>
                    <a:pt x="3206" y="1405"/>
                  </a:lnTo>
                  <a:lnTo>
                    <a:pt x="3185" y="1409"/>
                  </a:lnTo>
                  <a:lnTo>
                    <a:pt x="3165" y="1413"/>
                  </a:lnTo>
                  <a:lnTo>
                    <a:pt x="3150" y="1415"/>
                  </a:lnTo>
                  <a:lnTo>
                    <a:pt x="3141" y="1418"/>
                  </a:lnTo>
                  <a:lnTo>
                    <a:pt x="3131" y="1418"/>
                  </a:lnTo>
                  <a:lnTo>
                    <a:pt x="3128" y="1417"/>
                  </a:lnTo>
                  <a:lnTo>
                    <a:pt x="3125" y="1417"/>
                  </a:lnTo>
                  <a:lnTo>
                    <a:pt x="3100" y="1417"/>
                  </a:lnTo>
                  <a:lnTo>
                    <a:pt x="3081" y="1418"/>
                  </a:lnTo>
                  <a:lnTo>
                    <a:pt x="3073" y="1420"/>
                  </a:lnTo>
                  <a:lnTo>
                    <a:pt x="3065" y="1424"/>
                  </a:lnTo>
                  <a:lnTo>
                    <a:pt x="3059" y="1428"/>
                  </a:lnTo>
                  <a:lnTo>
                    <a:pt x="3051" y="1435"/>
                  </a:lnTo>
                  <a:lnTo>
                    <a:pt x="3047" y="1441"/>
                  </a:lnTo>
                  <a:lnTo>
                    <a:pt x="3042" y="1449"/>
                  </a:lnTo>
                  <a:lnTo>
                    <a:pt x="3038" y="1458"/>
                  </a:lnTo>
                  <a:lnTo>
                    <a:pt x="3035" y="1468"/>
                  </a:lnTo>
                  <a:lnTo>
                    <a:pt x="3032" y="1477"/>
                  </a:lnTo>
                  <a:lnTo>
                    <a:pt x="3032" y="1483"/>
                  </a:lnTo>
                  <a:lnTo>
                    <a:pt x="3034" y="1487"/>
                  </a:lnTo>
                  <a:lnTo>
                    <a:pt x="3035" y="1489"/>
                  </a:lnTo>
                  <a:lnTo>
                    <a:pt x="3036" y="1490"/>
                  </a:lnTo>
                  <a:lnTo>
                    <a:pt x="3039" y="1491"/>
                  </a:lnTo>
                  <a:lnTo>
                    <a:pt x="3042" y="1491"/>
                  </a:lnTo>
                  <a:lnTo>
                    <a:pt x="3047" y="1494"/>
                  </a:lnTo>
                  <a:lnTo>
                    <a:pt x="3051" y="1498"/>
                  </a:lnTo>
                  <a:lnTo>
                    <a:pt x="3052" y="1498"/>
                  </a:lnTo>
                  <a:lnTo>
                    <a:pt x="3053" y="1499"/>
                  </a:lnTo>
                  <a:lnTo>
                    <a:pt x="3053" y="1499"/>
                  </a:lnTo>
                  <a:lnTo>
                    <a:pt x="3055" y="1499"/>
                  </a:lnTo>
                  <a:lnTo>
                    <a:pt x="3056" y="1500"/>
                  </a:lnTo>
                  <a:lnTo>
                    <a:pt x="3056" y="1500"/>
                  </a:lnTo>
                  <a:lnTo>
                    <a:pt x="3059" y="1502"/>
                  </a:lnTo>
                  <a:lnTo>
                    <a:pt x="3060" y="1503"/>
                  </a:lnTo>
                  <a:lnTo>
                    <a:pt x="3066" y="1507"/>
                  </a:lnTo>
                  <a:lnTo>
                    <a:pt x="3074" y="1511"/>
                  </a:lnTo>
                  <a:lnTo>
                    <a:pt x="3077" y="1513"/>
                  </a:lnTo>
                  <a:lnTo>
                    <a:pt x="3081" y="1516"/>
                  </a:lnTo>
                  <a:lnTo>
                    <a:pt x="3083" y="1516"/>
                  </a:lnTo>
                  <a:lnTo>
                    <a:pt x="3086" y="1517"/>
                  </a:lnTo>
                  <a:lnTo>
                    <a:pt x="3087" y="1519"/>
                  </a:lnTo>
                  <a:lnTo>
                    <a:pt x="3089" y="1519"/>
                  </a:lnTo>
                  <a:lnTo>
                    <a:pt x="3095" y="1521"/>
                  </a:lnTo>
                  <a:lnTo>
                    <a:pt x="3100" y="1524"/>
                  </a:lnTo>
                  <a:lnTo>
                    <a:pt x="3100" y="1524"/>
                  </a:lnTo>
                  <a:lnTo>
                    <a:pt x="3102" y="1525"/>
                  </a:lnTo>
                  <a:lnTo>
                    <a:pt x="3110" y="1529"/>
                  </a:lnTo>
                  <a:lnTo>
                    <a:pt x="3117" y="1532"/>
                  </a:lnTo>
                  <a:lnTo>
                    <a:pt x="3123" y="1536"/>
                  </a:lnTo>
                  <a:lnTo>
                    <a:pt x="3131" y="1541"/>
                  </a:lnTo>
                  <a:lnTo>
                    <a:pt x="3136" y="1546"/>
                  </a:lnTo>
                  <a:lnTo>
                    <a:pt x="3138" y="1551"/>
                  </a:lnTo>
                  <a:lnTo>
                    <a:pt x="3138" y="1553"/>
                  </a:lnTo>
                  <a:lnTo>
                    <a:pt x="3140" y="1554"/>
                  </a:lnTo>
                  <a:lnTo>
                    <a:pt x="3141" y="1554"/>
                  </a:lnTo>
                  <a:lnTo>
                    <a:pt x="3141" y="1555"/>
                  </a:lnTo>
                  <a:lnTo>
                    <a:pt x="3141" y="1557"/>
                  </a:lnTo>
                  <a:lnTo>
                    <a:pt x="3138" y="1557"/>
                  </a:lnTo>
                  <a:lnTo>
                    <a:pt x="3138" y="1557"/>
                  </a:lnTo>
                  <a:lnTo>
                    <a:pt x="3138" y="1558"/>
                  </a:lnTo>
                  <a:lnTo>
                    <a:pt x="3136" y="1559"/>
                  </a:lnTo>
                  <a:lnTo>
                    <a:pt x="3134" y="1559"/>
                  </a:lnTo>
                  <a:lnTo>
                    <a:pt x="3133" y="1559"/>
                  </a:lnTo>
                  <a:lnTo>
                    <a:pt x="3133" y="1560"/>
                  </a:lnTo>
                  <a:lnTo>
                    <a:pt x="3132" y="1560"/>
                  </a:lnTo>
                  <a:lnTo>
                    <a:pt x="3131" y="1560"/>
                  </a:lnTo>
                  <a:lnTo>
                    <a:pt x="3128" y="1562"/>
                  </a:lnTo>
                  <a:lnTo>
                    <a:pt x="3127" y="1563"/>
                  </a:lnTo>
                  <a:lnTo>
                    <a:pt x="3124" y="1563"/>
                  </a:lnTo>
                  <a:lnTo>
                    <a:pt x="3124" y="1564"/>
                  </a:lnTo>
                  <a:lnTo>
                    <a:pt x="3120" y="1567"/>
                  </a:lnTo>
                  <a:lnTo>
                    <a:pt x="3116" y="1570"/>
                  </a:lnTo>
                  <a:lnTo>
                    <a:pt x="3114" y="1571"/>
                  </a:lnTo>
                  <a:lnTo>
                    <a:pt x="3112" y="1571"/>
                  </a:lnTo>
                  <a:lnTo>
                    <a:pt x="3099" y="1579"/>
                  </a:lnTo>
                  <a:lnTo>
                    <a:pt x="3089" y="1589"/>
                  </a:lnTo>
                  <a:lnTo>
                    <a:pt x="3087" y="1592"/>
                  </a:lnTo>
                  <a:lnTo>
                    <a:pt x="3086" y="1594"/>
                  </a:lnTo>
                  <a:lnTo>
                    <a:pt x="3086" y="1594"/>
                  </a:lnTo>
                  <a:lnTo>
                    <a:pt x="3086" y="1596"/>
                  </a:lnTo>
                  <a:lnTo>
                    <a:pt x="3085" y="1597"/>
                  </a:lnTo>
                  <a:lnTo>
                    <a:pt x="3085" y="1597"/>
                  </a:lnTo>
                  <a:lnTo>
                    <a:pt x="3085" y="1598"/>
                  </a:lnTo>
                  <a:lnTo>
                    <a:pt x="3083" y="1598"/>
                  </a:lnTo>
                  <a:lnTo>
                    <a:pt x="3083" y="1604"/>
                  </a:lnTo>
                  <a:lnTo>
                    <a:pt x="3082" y="1608"/>
                  </a:lnTo>
                  <a:lnTo>
                    <a:pt x="3082" y="1613"/>
                  </a:lnTo>
                  <a:lnTo>
                    <a:pt x="3081" y="1617"/>
                  </a:lnTo>
                  <a:lnTo>
                    <a:pt x="3078" y="1621"/>
                  </a:lnTo>
                  <a:lnTo>
                    <a:pt x="3077" y="1623"/>
                  </a:lnTo>
                  <a:lnTo>
                    <a:pt x="3068" y="1625"/>
                  </a:lnTo>
                  <a:lnTo>
                    <a:pt x="3060" y="1625"/>
                  </a:lnTo>
                  <a:lnTo>
                    <a:pt x="3046" y="1627"/>
                  </a:lnTo>
                  <a:lnTo>
                    <a:pt x="3022" y="1631"/>
                  </a:lnTo>
                  <a:lnTo>
                    <a:pt x="3009" y="1632"/>
                  </a:lnTo>
                  <a:lnTo>
                    <a:pt x="2998" y="1632"/>
                  </a:lnTo>
                  <a:lnTo>
                    <a:pt x="2989" y="1632"/>
                  </a:lnTo>
                  <a:lnTo>
                    <a:pt x="2985" y="1630"/>
                  </a:lnTo>
                  <a:lnTo>
                    <a:pt x="2979" y="1627"/>
                  </a:lnTo>
                  <a:lnTo>
                    <a:pt x="2972" y="1627"/>
                  </a:lnTo>
                  <a:lnTo>
                    <a:pt x="2964" y="1627"/>
                  </a:lnTo>
                  <a:lnTo>
                    <a:pt x="2959" y="1628"/>
                  </a:lnTo>
                  <a:lnTo>
                    <a:pt x="2955" y="1631"/>
                  </a:lnTo>
                  <a:lnTo>
                    <a:pt x="2950" y="1634"/>
                  </a:lnTo>
                  <a:lnTo>
                    <a:pt x="2949" y="1635"/>
                  </a:lnTo>
                  <a:lnTo>
                    <a:pt x="2949" y="1636"/>
                  </a:lnTo>
                  <a:lnTo>
                    <a:pt x="2949" y="1639"/>
                  </a:lnTo>
                  <a:lnTo>
                    <a:pt x="2947" y="1644"/>
                  </a:lnTo>
                  <a:lnTo>
                    <a:pt x="2945" y="1648"/>
                  </a:lnTo>
                  <a:lnTo>
                    <a:pt x="2943" y="1651"/>
                  </a:lnTo>
                  <a:lnTo>
                    <a:pt x="2943" y="1652"/>
                  </a:lnTo>
                  <a:lnTo>
                    <a:pt x="2941" y="1657"/>
                  </a:lnTo>
                  <a:lnTo>
                    <a:pt x="2936" y="1661"/>
                  </a:lnTo>
                  <a:lnTo>
                    <a:pt x="2929" y="1664"/>
                  </a:lnTo>
                  <a:lnTo>
                    <a:pt x="2921" y="1665"/>
                  </a:lnTo>
                  <a:lnTo>
                    <a:pt x="2920" y="1665"/>
                  </a:lnTo>
                  <a:lnTo>
                    <a:pt x="2917" y="1664"/>
                  </a:lnTo>
                  <a:lnTo>
                    <a:pt x="2916" y="1661"/>
                  </a:lnTo>
                  <a:lnTo>
                    <a:pt x="2913" y="1661"/>
                  </a:lnTo>
                  <a:lnTo>
                    <a:pt x="2913" y="1660"/>
                  </a:lnTo>
                  <a:lnTo>
                    <a:pt x="2913" y="1659"/>
                  </a:lnTo>
                  <a:lnTo>
                    <a:pt x="2909" y="1656"/>
                  </a:lnTo>
                  <a:lnTo>
                    <a:pt x="2906" y="1653"/>
                  </a:lnTo>
                  <a:lnTo>
                    <a:pt x="2903" y="1653"/>
                  </a:lnTo>
                  <a:lnTo>
                    <a:pt x="2899" y="1653"/>
                  </a:lnTo>
                  <a:lnTo>
                    <a:pt x="2895" y="1653"/>
                  </a:lnTo>
                  <a:lnTo>
                    <a:pt x="2892" y="1656"/>
                  </a:lnTo>
                  <a:lnTo>
                    <a:pt x="2891" y="1656"/>
                  </a:lnTo>
                  <a:lnTo>
                    <a:pt x="2890" y="1656"/>
                  </a:lnTo>
                  <a:lnTo>
                    <a:pt x="2882" y="1656"/>
                  </a:lnTo>
                  <a:lnTo>
                    <a:pt x="2874" y="1653"/>
                  </a:lnTo>
                  <a:lnTo>
                    <a:pt x="2872" y="1653"/>
                  </a:lnTo>
                  <a:lnTo>
                    <a:pt x="2869" y="1652"/>
                  </a:lnTo>
                  <a:lnTo>
                    <a:pt x="2868" y="1651"/>
                  </a:lnTo>
                  <a:lnTo>
                    <a:pt x="2868" y="1648"/>
                  </a:lnTo>
                  <a:lnTo>
                    <a:pt x="2868" y="1648"/>
                  </a:lnTo>
                  <a:lnTo>
                    <a:pt x="2866" y="1648"/>
                  </a:lnTo>
                  <a:lnTo>
                    <a:pt x="2865" y="1647"/>
                  </a:lnTo>
                  <a:lnTo>
                    <a:pt x="2865" y="1645"/>
                  </a:lnTo>
                  <a:lnTo>
                    <a:pt x="2865" y="1643"/>
                  </a:lnTo>
                  <a:lnTo>
                    <a:pt x="2864" y="1642"/>
                  </a:lnTo>
                  <a:lnTo>
                    <a:pt x="2864" y="1640"/>
                  </a:lnTo>
                  <a:lnTo>
                    <a:pt x="2864" y="1639"/>
                  </a:lnTo>
                  <a:lnTo>
                    <a:pt x="2861" y="1627"/>
                  </a:lnTo>
                  <a:lnTo>
                    <a:pt x="2858" y="1609"/>
                  </a:lnTo>
                  <a:lnTo>
                    <a:pt x="2856" y="1592"/>
                  </a:lnTo>
                  <a:lnTo>
                    <a:pt x="2855" y="1583"/>
                  </a:lnTo>
                  <a:lnTo>
                    <a:pt x="2852" y="1579"/>
                  </a:lnTo>
                  <a:lnTo>
                    <a:pt x="2848" y="1576"/>
                  </a:lnTo>
                  <a:lnTo>
                    <a:pt x="2847" y="1575"/>
                  </a:lnTo>
                  <a:lnTo>
                    <a:pt x="2845" y="1575"/>
                  </a:lnTo>
                  <a:lnTo>
                    <a:pt x="2839" y="1576"/>
                  </a:lnTo>
                  <a:lnTo>
                    <a:pt x="2832" y="1577"/>
                  </a:lnTo>
                  <a:lnTo>
                    <a:pt x="2831" y="1577"/>
                  </a:lnTo>
                  <a:lnTo>
                    <a:pt x="2828" y="1579"/>
                  </a:lnTo>
                  <a:lnTo>
                    <a:pt x="2827" y="1580"/>
                  </a:lnTo>
                  <a:lnTo>
                    <a:pt x="2823" y="1581"/>
                  </a:lnTo>
                  <a:lnTo>
                    <a:pt x="2819" y="1583"/>
                  </a:lnTo>
                  <a:lnTo>
                    <a:pt x="2813" y="1593"/>
                  </a:lnTo>
                  <a:lnTo>
                    <a:pt x="2804" y="1604"/>
                  </a:lnTo>
                  <a:lnTo>
                    <a:pt x="2798" y="1609"/>
                  </a:lnTo>
                  <a:lnTo>
                    <a:pt x="2793" y="1613"/>
                  </a:lnTo>
                  <a:lnTo>
                    <a:pt x="2788" y="1615"/>
                  </a:lnTo>
                  <a:lnTo>
                    <a:pt x="2784" y="1617"/>
                  </a:lnTo>
                  <a:lnTo>
                    <a:pt x="2781" y="1617"/>
                  </a:lnTo>
                  <a:lnTo>
                    <a:pt x="2781" y="1617"/>
                  </a:lnTo>
                  <a:lnTo>
                    <a:pt x="2781" y="1618"/>
                  </a:lnTo>
                  <a:lnTo>
                    <a:pt x="2779" y="1618"/>
                  </a:lnTo>
                  <a:lnTo>
                    <a:pt x="2777" y="1618"/>
                  </a:lnTo>
                  <a:lnTo>
                    <a:pt x="2776" y="1617"/>
                  </a:lnTo>
                  <a:lnTo>
                    <a:pt x="2775" y="1617"/>
                  </a:lnTo>
                  <a:lnTo>
                    <a:pt x="2771" y="1617"/>
                  </a:lnTo>
                  <a:lnTo>
                    <a:pt x="2770" y="1615"/>
                  </a:lnTo>
                  <a:lnTo>
                    <a:pt x="2767" y="1613"/>
                  </a:lnTo>
                  <a:lnTo>
                    <a:pt x="2766" y="1609"/>
                  </a:lnTo>
                  <a:lnTo>
                    <a:pt x="2763" y="1606"/>
                  </a:lnTo>
                  <a:lnTo>
                    <a:pt x="2760" y="1606"/>
                  </a:lnTo>
                  <a:lnTo>
                    <a:pt x="2758" y="1606"/>
                  </a:lnTo>
                  <a:lnTo>
                    <a:pt x="2747" y="1601"/>
                  </a:lnTo>
                  <a:lnTo>
                    <a:pt x="2739" y="1596"/>
                  </a:lnTo>
                  <a:lnTo>
                    <a:pt x="2734" y="1594"/>
                  </a:lnTo>
                  <a:lnTo>
                    <a:pt x="2728" y="1591"/>
                  </a:lnTo>
                  <a:lnTo>
                    <a:pt x="2720" y="1585"/>
                  </a:lnTo>
                  <a:lnTo>
                    <a:pt x="2712" y="1581"/>
                  </a:lnTo>
                  <a:lnTo>
                    <a:pt x="2704" y="1579"/>
                  </a:lnTo>
                  <a:lnTo>
                    <a:pt x="2695" y="1576"/>
                  </a:lnTo>
                  <a:lnTo>
                    <a:pt x="2687" y="1575"/>
                  </a:lnTo>
                  <a:lnTo>
                    <a:pt x="2678" y="1575"/>
                  </a:lnTo>
                  <a:lnTo>
                    <a:pt x="2668" y="1575"/>
                  </a:lnTo>
                  <a:lnTo>
                    <a:pt x="2658" y="1576"/>
                  </a:lnTo>
                  <a:lnTo>
                    <a:pt x="2639" y="1580"/>
                  </a:lnTo>
                  <a:lnTo>
                    <a:pt x="2619" y="1587"/>
                  </a:lnTo>
                  <a:lnTo>
                    <a:pt x="2598" y="1594"/>
                  </a:lnTo>
                  <a:lnTo>
                    <a:pt x="2577" y="1605"/>
                  </a:lnTo>
                  <a:lnTo>
                    <a:pt x="2538" y="1627"/>
                  </a:lnTo>
                  <a:lnTo>
                    <a:pt x="2499" y="1652"/>
                  </a:lnTo>
                  <a:lnTo>
                    <a:pt x="2465" y="1676"/>
                  </a:lnTo>
                  <a:lnTo>
                    <a:pt x="2435" y="1694"/>
                  </a:lnTo>
                  <a:lnTo>
                    <a:pt x="2411" y="1710"/>
                  </a:lnTo>
                  <a:lnTo>
                    <a:pt x="2377" y="1734"/>
                  </a:lnTo>
                  <a:lnTo>
                    <a:pt x="2337" y="1762"/>
                  </a:lnTo>
                  <a:lnTo>
                    <a:pt x="2292" y="1788"/>
                  </a:lnTo>
                  <a:lnTo>
                    <a:pt x="2270" y="1800"/>
                  </a:lnTo>
                  <a:lnTo>
                    <a:pt x="2249" y="1809"/>
                  </a:lnTo>
                  <a:lnTo>
                    <a:pt x="2238" y="1813"/>
                  </a:lnTo>
                  <a:lnTo>
                    <a:pt x="2229" y="1816"/>
                  </a:lnTo>
                  <a:lnTo>
                    <a:pt x="2220" y="1818"/>
                  </a:lnTo>
                  <a:lnTo>
                    <a:pt x="2211" y="1819"/>
                  </a:lnTo>
                  <a:lnTo>
                    <a:pt x="2203" y="1819"/>
                  </a:lnTo>
                  <a:lnTo>
                    <a:pt x="2195" y="1818"/>
                  </a:lnTo>
                  <a:lnTo>
                    <a:pt x="2187" y="1817"/>
                  </a:lnTo>
                  <a:lnTo>
                    <a:pt x="2182" y="1814"/>
                  </a:lnTo>
                  <a:lnTo>
                    <a:pt x="2177" y="1809"/>
                  </a:lnTo>
                  <a:lnTo>
                    <a:pt x="2172" y="1804"/>
                  </a:lnTo>
                  <a:lnTo>
                    <a:pt x="2168" y="1797"/>
                  </a:lnTo>
                  <a:lnTo>
                    <a:pt x="2165" y="1789"/>
                  </a:lnTo>
                  <a:lnTo>
                    <a:pt x="2164" y="1779"/>
                  </a:lnTo>
                  <a:lnTo>
                    <a:pt x="2164" y="1768"/>
                  </a:lnTo>
                  <a:lnTo>
                    <a:pt x="2165" y="1755"/>
                  </a:lnTo>
                  <a:lnTo>
                    <a:pt x="2165" y="1741"/>
                  </a:lnTo>
                  <a:lnTo>
                    <a:pt x="2168" y="1711"/>
                  </a:lnTo>
                  <a:lnTo>
                    <a:pt x="2170" y="1682"/>
                  </a:lnTo>
                  <a:lnTo>
                    <a:pt x="2170" y="1669"/>
                  </a:lnTo>
                  <a:lnTo>
                    <a:pt x="2170" y="1659"/>
                  </a:lnTo>
                  <a:lnTo>
                    <a:pt x="2168" y="1651"/>
                  </a:lnTo>
                  <a:lnTo>
                    <a:pt x="2165" y="1644"/>
                  </a:lnTo>
                  <a:lnTo>
                    <a:pt x="2164" y="1643"/>
                  </a:lnTo>
                  <a:lnTo>
                    <a:pt x="2161" y="1642"/>
                  </a:lnTo>
                  <a:lnTo>
                    <a:pt x="2157" y="1643"/>
                  </a:lnTo>
                  <a:lnTo>
                    <a:pt x="2155" y="1644"/>
                  </a:lnTo>
                  <a:lnTo>
                    <a:pt x="2147" y="1649"/>
                  </a:lnTo>
                  <a:lnTo>
                    <a:pt x="2136" y="1660"/>
                  </a:lnTo>
                  <a:lnTo>
                    <a:pt x="2129" y="1666"/>
                  </a:lnTo>
                  <a:lnTo>
                    <a:pt x="2122" y="1673"/>
                  </a:lnTo>
                  <a:lnTo>
                    <a:pt x="2114" y="1679"/>
                  </a:lnTo>
                  <a:lnTo>
                    <a:pt x="2108" y="1683"/>
                  </a:lnTo>
                  <a:lnTo>
                    <a:pt x="2092" y="1691"/>
                  </a:lnTo>
                  <a:lnTo>
                    <a:pt x="2078" y="1696"/>
                  </a:lnTo>
                  <a:lnTo>
                    <a:pt x="2049" y="1702"/>
                  </a:lnTo>
                  <a:lnTo>
                    <a:pt x="2021" y="1707"/>
                  </a:lnTo>
                  <a:lnTo>
                    <a:pt x="2008" y="1711"/>
                  </a:lnTo>
                  <a:lnTo>
                    <a:pt x="1998" y="1716"/>
                  </a:lnTo>
                  <a:lnTo>
                    <a:pt x="1993" y="1720"/>
                  </a:lnTo>
                  <a:lnTo>
                    <a:pt x="1987" y="1725"/>
                  </a:lnTo>
                  <a:lnTo>
                    <a:pt x="1983" y="1731"/>
                  </a:lnTo>
                  <a:lnTo>
                    <a:pt x="1978" y="1736"/>
                  </a:lnTo>
                  <a:lnTo>
                    <a:pt x="1976" y="1744"/>
                  </a:lnTo>
                  <a:lnTo>
                    <a:pt x="1972" y="1751"/>
                  </a:lnTo>
                  <a:lnTo>
                    <a:pt x="1969" y="1761"/>
                  </a:lnTo>
                  <a:lnTo>
                    <a:pt x="1966" y="1771"/>
                  </a:lnTo>
                  <a:lnTo>
                    <a:pt x="1965" y="1783"/>
                  </a:lnTo>
                  <a:lnTo>
                    <a:pt x="1964" y="1796"/>
                  </a:lnTo>
                  <a:lnTo>
                    <a:pt x="1962" y="1810"/>
                  </a:lnTo>
                  <a:lnTo>
                    <a:pt x="1962" y="1827"/>
                  </a:lnTo>
                  <a:lnTo>
                    <a:pt x="1961" y="1838"/>
                  </a:lnTo>
                  <a:lnTo>
                    <a:pt x="1960" y="1848"/>
                  </a:lnTo>
                  <a:lnTo>
                    <a:pt x="1957" y="1859"/>
                  </a:lnTo>
                  <a:lnTo>
                    <a:pt x="1953" y="1868"/>
                  </a:lnTo>
                  <a:lnTo>
                    <a:pt x="1948" y="1877"/>
                  </a:lnTo>
                  <a:lnTo>
                    <a:pt x="1943" y="1886"/>
                  </a:lnTo>
                  <a:lnTo>
                    <a:pt x="1938" y="1893"/>
                  </a:lnTo>
                  <a:lnTo>
                    <a:pt x="1930" y="1901"/>
                  </a:lnTo>
                  <a:lnTo>
                    <a:pt x="1922" y="1907"/>
                  </a:lnTo>
                  <a:lnTo>
                    <a:pt x="1914" y="1912"/>
                  </a:lnTo>
                  <a:lnTo>
                    <a:pt x="1906" y="1916"/>
                  </a:lnTo>
                  <a:lnTo>
                    <a:pt x="1897" y="1919"/>
                  </a:lnTo>
                  <a:lnTo>
                    <a:pt x="1888" y="1920"/>
                  </a:lnTo>
                  <a:lnTo>
                    <a:pt x="1877" y="1921"/>
                  </a:lnTo>
                  <a:lnTo>
                    <a:pt x="1868" y="1920"/>
                  </a:lnTo>
                  <a:lnTo>
                    <a:pt x="1858" y="1918"/>
                  </a:lnTo>
                  <a:lnTo>
                    <a:pt x="1807" y="1902"/>
                  </a:lnTo>
                  <a:lnTo>
                    <a:pt x="1756" y="1945"/>
                  </a:lnTo>
                  <a:lnTo>
                    <a:pt x="1744" y="1957"/>
                  </a:lnTo>
                  <a:lnTo>
                    <a:pt x="1734" y="1970"/>
                  </a:lnTo>
                  <a:lnTo>
                    <a:pt x="1724" y="1986"/>
                  </a:lnTo>
                  <a:lnTo>
                    <a:pt x="1717" y="1999"/>
                  </a:lnTo>
                  <a:lnTo>
                    <a:pt x="1709" y="2012"/>
                  </a:lnTo>
                  <a:lnTo>
                    <a:pt x="1698" y="2022"/>
                  </a:lnTo>
                  <a:lnTo>
                    <a:pt x="1689" y="2034"/>
                  </a:lnTo>
                  <a:lnTo>
                    <a:pt x="1681" y="2048"/>
                  </a:lnTo>
                  <a:lnTo>
                    <a:pt x="1677" y="2056"/>
                  </a:lnTo>
                  <a:lnTo>
                    <a:pt x="1676" y="2065"/>
                  </a:lnTo>
                  <a:lnTo>
                    <a:pt x="1676" y="2073"/>
                  </a:lnTo>
                  <a:lnTo>
                    <a:pt x="1677" y="2081"/>
                  </a:lnTo>
                  <a:lnTo>
                    <a:pt x="1683" y="2097"/>
                  </a:lnTo>
                  <a:lnTo>
                    <a:pt x="1689" y="2111"/>
                  </a:lnTo>
                  <a:lnTo>
                    <a:pt x="1693" y="2118"/>
                  </a:lnTo>
                  <a:lnTo>
                    <a:pt x="1696" y="2124"/>
                  </a:lnTo>
                  <a:lnTo>
                    <a:pt x="1697" y="2131"/>
                  </a:lnTo>
                  <a:lnTo>
                    <a:pt x="1697" y="2137"/>
                  </a:lnTo>
                  <a:lnTo>
                    <a:pt x="1697" y="2144"/>
                  </a:lnTo>
                  <a:lnTo>
                    <a:pt x="1694" y="2150"/>
                  </a:lnTo>
                  <a:lnTo>
                    <a:pt x="1689" y="2156"/>
                  </a:lnTo>
                  <a:lnTo>
                    <a:pt x="1683" y="2162"/>
                  </a:lnTo>
                  <a:lnTo>
                    <a:pt x="1679" y="2165"/>
                  </a:lnTo>
                  <a:lnTo>
                    <a:pt x="1675" y="2169"/>
                  </a:lnTo>
                  <a:lnTo>
                    <a:pt x="1672" y="2173"/>
                  </a:lnTo>
                  <a:lnTo>
                    <a:pt x="1671" y="2177"/>
                  </a:lnTo>
                  <a:lnTo>
                    <a:pt x="1668" y="2186"/>
                  </a:lnTo>
                  <a:lnTo>
                    <a:pt x="1668" y="2197"/>
                  </a:lnTo>
                  <a:lnTo>
                    <a:pt x="1668" y="2199"/>
                  </a:lnTo>
                  <a:lnTo>
                    <a:pt x="1670" y="2200"/>
                  </a:lnTo>
                  <a:lnTo>
                    <a:pt x="1667" y="2216"/>
                  </a:lnTo>
                  <a:lnTo>
                    <a:pt x="1663" y="2231"/>
                  </a:lnTo>
                  <a:lnTo>
                    <a:pt x="1663" y="2238"/>
                  </a:lnTo>
                  <a:lnTo>
                    <a:pt x="1660" y="2243"/>
                  </a:lnTo>
                  <a:lnTo>
                    <a:pt x="1650" y="2247"/>
                  </a:lnTo>
                  <a:lnTo>
                    <a:pt x="1634" y="2254"/>
                  </a:lnTo>
                  <a:lnTo>
                    <a:pt x="1626" y="2258"/>
                  </a:lnTo>
                  <a:lnTo>
                    <a:pt x="1618" y="2262"/>
                  </a:lnTo>
                  <a:lnTo>
                    <a:pt x="1613" y="2264"/>
                  </a:lnTo>
                  <a:lnTo>
                    <a:pt x="1611" y="2269"/>
                  </a:lnTo>
                  <a:lnTo>
                    <a:pt x="1608" y="2276"/>
                  </a:lnTo>
                  <a:lnTo>
                    <a:pt x="1600" y="2289"/>
                  </a:lnTo>
                  <a:lnTo>
                    <a:pt x="1591" y="2303"/>
                  </a:lnTo>
                  <a:lnTo>
                    <a:pt x="1587" y="2311"/>
                  </a:lnTo>
                  <a:lnTo>
                    <a:pt x="1583" y="2314"/>
                  </a:lnTo>
                  <a:lnTo>
                    <a:pt x="1581" y="2317"/>
                  </a:lnTo>
                  <a:lnTo>
                    <a:pt x="1578" y="2322"/>
                  </a:lnTo>
                  <a:lnTo>
                    <a:pt x="1575" y="2326"/>
                  </a:lnTo>
                  <a:lnTo>
                    <a:pt x="1573" y="2330"/>
                  </a:lnTo>
                  <a:lnTo>
                    <a:pt x="1570" y="2331"/>
                  </a:lnTo>
                  <a:lnTo>
                    <a:pt x="1569" y="2331"/>
                  </a:lnTo>
                  <a:lnTo>
                    <a:pt x="1552" y="2336"/>
                  </a:lnTo>
                  <a:lnTo>
                    <a:pt x="1537" y="2343"/>
                  </a:lnTo>
                  <a:lnTo>
                    <a:pt x="1535" y="2343"/>
                  </a:lnTo>
                  <a:lnTo>
                    <a:pt x="1533" y="2343"/>
                  </a:lnTo>
                  <a:lnTo>
                    <a:pt x="1533" y="2344"/>
                  </a:lnTo>
                  <a:lnTo>
                    <a:pt x="1533" y="2345"/>
                  </a:lnTo>
                  <a:lnTo>
                    <a:pt x="1532" y="2354"/>
                  </a:lnTo>
                  <a:lnTo>
                    <a:pt x="1528" y="2368"/>
                  </a:lnTo>
                  <a:lnTo>
                    <a:pt x="1524" y="2382"/>
                  </a:lnTo>
                  <a:lnTo>
                    <a:pt x="1520" y="2390"/>
                  </a:lnTo>
                  <a:lnTo>
                    <a:pt x="1494" y="2415"/>
                  </a:lnTo>
                  <a:lnTo>
                    <a:pt x="1492" y="2416"/>
                  </a:lnTo>
                  <a:lnTo>
                    <a:pt x="1489" y="2417"/>
                  </a:lnTo>
                  <a:lnTo>
                    <a:pt x="1488" y="2417"/>
                  </a:lnTo>
                  <a:lnTo>
                    <a:pt x="1486" y="2419"/>
                  </a:lnTo>
                  <a:lnTo>
                    <a:pt x="1480" y="2419"/>
                  </a:lnTo>
                  <a:lnTo>
                    <a:pt x="1476" y="2421"/>
                  </a:lnTo>
                  <a:lnTo>
                    <a:pt x="1472" y="2425"/>
                  </a:lnTo>
                  <a:lnTo>
                    <a:pt x="1468" y="2428"/>
                  </a:lnTo>
                  <a:lnTo>
                    <a:pt x="1462" y="2429"/>
                  </a:lnTo>
                  <a:lnTo>
                    <a:pt x="1456" y="2429"/>
                  </a:lnTo>
                  <a:lnTo>
                    <a:pt x="1443" y="2429"/>
                  </a:lnTo>
                  <a:lnTo>
                    <a:pt x="1434" y="2428"/>
                  </a:lnTo>
                  <a:lnTo>
                    <a:pt x="1428" y="2429"/>
                  </a:lnTo>
                  <a:lnTo>
                    <a:pt x="1421" y="2433"/>
                  </a:lnTo>
                  <a:lnTo>
                    <a:pt x="1417" y="2437"/>
                  </a:lnTo>
                  <a:lnTo>
                    <a:pt x="1413" y="2442"/>
                  </a:lnTo>
                  <a:lnTo>
                    <a:pt x="1408" y="2453"/>
                  </a:lnTo>
                  <a:lnTo>
                    <a:pt x="1405" y="2459"/>
                  </a:lnTo>
                  <a:lnTo>
                    <a:pt x="1403" y="2466"/>
                  </a:lnTo>
                  <a:lnTo>
                    <a:pt x="1401" y="2471"/>
                  </a:lnTo>
                  <a:lnTo>
                    <a:pt x="1403" y="2479"/>
                  </a:lnTo>
                  <a:lnTo>
                    <a:pt x="1403" y="2485"/>
                  </a:lnTo>
                  <a:lnTo>
                    <a:pt x="1401" y="2498"/>
                  </a:lnTo>
                  <a:lnTo>
                    <a:pt x="1400" y="2511"/>
                  </a:lnTo>
                  <a:lnTo>
                    <a:pt x="1397" y="2518"/>
                  </a:lnTo>
                  <a:lnTo>
                    <a:pt x="1388" y="2530"/>
                  </a:lnTo>
                  <a:lnTo>
                    <a:pt x="1375" y="2544"/>
                  </a:lnTo>
                  <a:lnTo>
                    <a:pt x="1361" y="2560"/>
                  </a:lnTo>
                  <a:lnTo>
                    <a:pt x="1346" y="2574"/>
                  </a:lnTo>
                  <a:lnTo>
                    <a:pt x="1333" y="2587"/>
                  </a:lnTo>
                  <a:lnTo>
                    <a:pt x="1323" y="2596"/>
                  </a:lnTo>
                  <a:lnTo>
                    <a:pt x="1316" y="2600"/>
                  </a:lnTo>
                  <a:lnTo>
                    <a:pt x="1316" y="2602"/>
                  </a:lnTo>
                  <a:lnTo>
                    <a:pt x="1316" y="2602"/>
                  </a:lnTo>
                  <a:lnTo>
                    <a:pt x="1311" y="2604"/>
                  </a:lnTo>
                  <a:lnTo>
                    <a:pt x="1306" y="2607"/>
                  </a:lnTo>
                  <a:lnTo>
                    <a:pt x="1299" y="2608"/>
                  </a:lnTo>
                  <a:lnTo>
                    <a:pt x="1293" y="2612"/>
                  </a:lnTo>
                  <a:lnTo>
                    <a:pt x="1285" y="2617"/>
                  </a:lnTo>
                  <a:lnTo>
                    <a:pt x="1277" y="2623"/>
                  </a:lnTo>
                  <a:lnTo>
                    <a:pt x="1271" y="2629"/>
                  </a:lnTo>
                  <a:lnTo>
                    <a:pt x="1263" y="2634"/>
                  </a:lnTo>
                  <a:lnTo>
                    <a:pt x="1255" y="2640"/>
                  </a:lnTo>
                  <a:lnTo>
                    <a:pt x="1248" y="2642"/>
                  </a:lnTo>
                  <a:lnTo>
                    <a:pt x="1238" y="2650"/>
                  </a:lnTo>
                  <a:lnTo>
                    <a:pt x="1229" y="2658"/>
                  </a:lnTo>
                  <a:lnTo>
                    <a:pt x="1225" y="2658"/>
                  </a:lnTo>
                  <a:lnTo>
                    <a:pt x="1221" y="2659"/>
                  </a:lnTo>
                  <a:lnTo>
                    <a:pt x="1218" y="2661"/>
                  </a:lnTo>
                  <a:lnTo>
                    <a:pt x="1216" y="2661"/>
                  </a:lnTo>
                  <a:lnTo>
                    <a:pt x="1213" y="2659"/>
                  </a:lnTo>
                  <a:lnTo>
                    <a:pt x="1210" y="2657"/>
                  </a:lnTo>
                  <a:lnTo>
                    <a:pt x="1205" y="2653"/>
                  </a:lnTo>
                  <a:lnTo>
                    <a:pt x="1201" y="2650"/>
                  </a:lnTo>
                  <a:lnTo>
                    <a:pt x="1196" y="2649"/>
                  </a:lnTo>
                  <a:lnTo>
                    <a:pt x="1189" y="2647"/>
                  </a:lnTo>
                  <a:lnTo>
                    <a:pt x="1182" y="2647"/>
                  </a:lnTo>
                  <a:lnTo>
                    <a:pt x="1176" y="2649"/>
                  </a:lnTo>
                  <a:lnTo>
                    <a:pt x="1176" y="2650"/>
                  </a:lnTo>
                  <a:lnTo>
                    <a:pt x="1175" y="2650"/>
                  </a:lnTo>
                  <a:lnTo>
                    <a:pt x="1174" y="2650"/>
                  </a:lnTo>
                  <a:lnTo>
                    <a:pt x="1167" y="2654"/>
                  </a:lnTo>
                  <a:lnTo>
                    <a:pt x="1155" y="2662"/>
                  </a:lnTo>
                  <a:lnTo>
                    <a:pt x="1145" y="2672"/>
                  </a:lnTo>
                  <a:lnTo>
                    <a:pt x="1141" y="2679"/>
                  </a:lnTo>
                  <a:lnTo>
                    <a:pt x="1141" y="2680"/>
                  </a:lnTo>
                  <a:lnTo>
                    <a:pt x="1138" y="2684"/>
                  </a:lnTo>
                  <a:lnTo>
                    <a:pt x="1133" y="2685"/>
                  </a:lnTo>
                  <a:lnTo>
                    <a:pt x="1131" y="2688"/>
                  </a:lnTo>
                  <a:lnTo>
                    <a:pt x="1127" y="2692"/>
                  </a:lnTo>
                  <a:lnTo>
                    <a:pt x="1120" y="2698"/>
                  </a:lnTo>
                  <a:lnTo>
                    <a:pt x="1112" y="2704"/>
                  </a:lnTo>
                  <a:lnTo>
                    <a:pt x="1093" y="2714"/>
                  </a:lnTo>
                  <a:lnTo>
                    <a:pt x="1074" y="2723"/>
                  </a:lnTo>
                  <a:lnTo>
                    <a:pt x="1059" y="2726"/>
                  </a:lnTo>
                  <a:lnTo>
                    <a:pt x="1050" y="2726"/>
                  </a:lnTo>
                  <a:lnTo>
                    <a:pt x="1047" y="2725"/>
                  </a:lnTo>
                  <a:lnTo>
                    <a:pt x="1046" y="2722"/>
                  </a:lnTo>
                  <a:lnTo>
                    <a:pt x="1044" y="2718"/>
                  </a:lnTo>
                  <a:lnTo>
                    <a:pt x="1044" y="2713"/>
                  </a:lnTo>
                  <a:lnTo>
                    <a:pt x="1044" y="2712"/>
                  </a:lnTo>
                  <a:lnTo>
                    <a:pt x="1043" y="2712"/>
                  </a:lnTo>
                  <a:lnTo>
                    <a:pt x="1038" y="2706"/>
                  </a:lnTo>
                  <a:lnTo>
                    <a:pt x="1035" y="2701"/>
                  </a:lnTo>
                  <a:lnTo>
                    <a:pt x="1035" y="2700"/>
                  </a:lnTo>
                  <a:lnTo>
                    <a:pt x="1033" y="2696"/>
                  </a:lnTo>
                  <a:lnTo>
                    <a:pt x="1030" y="2693"/>
                  </a:lnTo>
                  <a:lnTo>
                    <a:pt x="1030" y="2692"/>
                  </a:lnTo>
                  <a:lnTo>
                    <a:pt x="1030" y="2689"/>
                  </a:lnTo>
                  <a:lnTo>
                    <a:pt x="1027" y="2688"/>
                  </a:lnTo>
                  <a:lnTo>
                    <a:pt x="1023" y="2685"/>
                  </a:lnTo>
                  <a:lnTo>
                    <a:pt x="1018" y="2680"/>
                  </a:lnTo>
                  <a:lnTo>
                    <a:pt x="1014" y="2675"/>
                  </a:lnTo>
                  <a:lnTo>
                    <a:pt x="1012" y="2670"/>
                  </a:lnTo>
                  <a:lnTo>
                    <a:pt x="1012" y="2668"/>
                  </a:lnTo>
                  <a:lnTo>
                    <a:pt x="1010" y="2666"/>
                  </a:lnTo>
                  <a:lnTo>
                    <a:pt x="1008" y="2664"/>
                  </a:lnTo>
                  <a:lnTo>
                    <a:pt x="1008" y="2663"/>
                  </a:lnTo>
                  <a:lnTo>
                    <a:pt x="1002" y="2655"/>
                  </a:lnTo>
                  <a:lnTo>
                    <a:pt x="996" y="2647"/>
                  </a:lnTo>
                  <a:lnTo>
                    <a:pt x="995" y="2644"/>
                  </a:lnTo>
                  <a:lnTo>
                    <a:pt x="992" y="2640"/>
                  </a:lnTo>
                  <a:lnTo>
                    <a:pt x="992" y="2638"/>
                  </a:lnTo>
                  <a:lnTo>
                    <a:pt x="991" y="2637"/>
                  </a:lnTo>
                  <a:lnTo>
                    <a:pt x="989" y="2636"/>
                  </a:lnTo>
                  <a:lnTo>
                    <a:pt x="988" y="2634"/>
                  </a:lnTo>
                  <a:lnTo>
                    <a:pt x="987" y="2633"/>
                  </a:lnTo>
                  <a:lnTo>
                    <a:pt x="985" y="2630"/>
                  </a:lnTo>
                  <a:lnTo>
                    <a:pt x="983" y="2628"/>
                  </a:lnTo>
                  <a:lnTo>
                    <a:pt x="981" y="2624"/>
                  </a:lnTo>
                  <a:lnTo>
                    <a:pt x="979" y="2621"/>
                  </a:lnTo>
                  <a:lnTo>
                    <a:pt x="976" y="2619"/>
                  </a:lnTo>
                  <a:lnTo>
                    <a:pt x="974" y="2616"/>
                  </a:lnTo>
                  <a:lnTo>
                    <a:pt x="972" y="2612"/>
                  </a:lnTo>
                  <a:lnTo>
                    <a:pt x="971" y="2608"/>
                  </a:lnTo>
                  <a:lnTo>
                    <a:pt x="967" y="2604"/>
                  </a:lnTo>
                  <a:lnTo>
                    <a:pt x="964" y="2598"/>
                  </a:lnTo>
                  <a:lnTo>
                    <a:pt x="962" y="2590"/>
                  </a:lnTo>
                  <a:lnTo>
                    <a:pt x="959" y="2582"/>
                  </a:lnTo>
                  <a:lnTo>
                    <a:pt x="955" y="2565"/>
                  </a:lnTo>
                  <a:lnTo>
                    <a:pt x="953" y="2556"/>
                  </a:lnTo>
                  <a:lnTo>
                    <a:pt x="951" y="2552"/>
                  </a:lnTo>
                  <a:lnTo>
                    <a:pt x="950" y="2547"/>
                  </a:lnTo>
                  <a:lnTo>
                    <a:pt x="946" y="2535"/>
                  </a:lnTo>
                  <a:lnTo>
                    <a:pt x="942" y="2523"/>
                  </a:lnTo>
                  <a:lnTo>
                    <a:pt x="934" y="2508"/>
                  </a:lnTo>
                  <a:lnTo>
                    <a:pt x="929" y="2493"/>
                  </a:lnTo>
                  <a:lnTo>
                    <a:pt x="929" y="2490"/>
                  </a:lnTo>
                  <a:lnTo>
                    <a:pt x="925" y="2479"/>
                  </a:lnTo>
                  <a:lnTo>
                    <a:pt x="920" y="2467"/>
                  </a:lnTo>
                  <a:lnTo>
                    <a:pt x="916" y="2460"/>
                  </a:lnTo>
                  <a:lnTo>
                    <a:pt x="913" y="2453"/>
                  </a:lnTo>
                  <a:lnTo>
                    <a:pt x="904" y="2437"/>
                  </a:lnTo>
                  <a:lnTo>
                    <a:pt x="895" y="2422"/>
                  </a:lnTo>
                  <a:lnTo>
                    <a:pt x="894" y="2420"/>
                  </a:lnTo>
                  <a:lnTo>
                    <a:pt x="893" y="2419"/>
                  </a:lnTo>
                  <a:lnTo>
                    <a:pt x="890" y="2416"/>
                  </a:lnTo>
                  <a:lnTo>
                    <a:pt x="889" y="2415"/>
                  </a:lnTo>
                  <a:lnTo>
                    <a:pt x="886" y="2412"/>
                  </a:lnTo>
                  <a:lnTo>
                    <a:pt x="886" y="2409"/>
                  </a:lnTo>
                  <a:lnTo>
                    <a:pt x="882" y="2402"/>
                  </a:lnTo>
                  <a:lnTo>
                    <a:pt x="879" y="2395"/>
                  </a:lnTo>
                  <a:lnTo>
                    <a:pt x="877" y="2385"/>
                  </a:lnTo>
                  <a:lnTo>
                    <a:pt x="873" y="2369"/>
                  </a:lnTo>
                  <a:lnTo>
                    <a:pt x="868" y="2353"/>
                  </a:lnTo>
                  <a:lnTo>
                    <a:pt x="865" y="2345"/>
                  </a:lnTo>
                  <a:lnTo>
                    <a:pt x="861" y="2339"/>
                  </a:lnTo>
                  <a:lnTo>
                    <a:pt x="857" y="2332"/>
                  </a:lnTo>
                  <a:lnTo>
                    <a:pt x="856" y="2328"/>
                  </a:lnTo>
                  <a:lnTo>
                    <a:pt x="853" y="2326"/>
                  </a:lnTo>
                  <a:lnTo>
                    <a:pt x="852" y="2324"/>
                  </a:lnTo>
                  <a:lnTo>
                    <a:pt x="851" y="2323"/>
                  </a:lnTo>
                  <a:lnTo>
                    <a:pt x="849" y="2322"/>
                  </a:lnTo>
                  <a:lnTo>
                    <a:pt x="848" y="2320"/>
                  </a:lnTo>
                  <a:lnTo>
                    <a:pt x="847" y="2319"/>
                  </a:lnTo>
                  <a:lnTo>
                    <a:pt x="845" y="2318"/>
                  </a:lnTo>
                  <a:lnTo>
                    <a:pt x="845" y="2317"/>
                  </a:lnTo>
                  <a:lnTo>
                    <a:pt x="839" y="2313"/>
                  </a:lnTo>
                  <a:lnTo>
                    <a:pt x="832" y="2307"/>
                  </a:lnTo>
                  <a:lnTo>
                    <a:pt x="830" y="2305"/>
                  </a:lnTo>
                  <a:lnTo>
                    <a:pt x="827" y="2302"/>
                  </a:lnTo>
                  <a:lnTo>
                    <a:pt x="822" y="2300"/>
                  </a:lnTo>
                  <a:lnTo>
                    <a:pt x="818" y="2297"/>
                  </a:lnTo>
                  <a:lnTo>
                    <a:pt x="817" y="2296"/>
                  </a:lnTo>
                  <a:lnTo>
                    <a:pt x="815" y="2294"/>
                  </a:lnTo>
                  <a:lnTo>
                    <a:pt x="815" y="2293"/>
                  </a:lnTo>
                  <a:lnTo>
                    <a:pt x="814" y="2292"/>
                  </a:lnTo>
                  <a:lnTo>
                    <a:pt x="813" y="2289"/>
                  </a:lnTo>
                  <a:lnTo>
                    <a:pt x="811" y="2286"/>
                  </a:lnTo>
                  <a:lnTo>
                    <a:pt x="810" y="2285"/>
                  </a:lnTo>
                  <a:lnTo>
                    <a:pt x="808" y="2284"/>
                  </a:lnTo>
                  <a:lnTo>
                    <a:pt x="808" y="2283"/>
                  </a:lnTo>
                  <a:lnTo>
                    <a:pt x="808" y="2281"/>
                  </a:lnTo>
                  <a:lnTo>
                    <a:pt x="805" y="2279"/>
                  </a:lnTo>
                  <a:lnTo>
                    <a:pt x="801" y="2276"/>
                  </a:lnTo>
                  <a:lnTo>
                    <a:pt x="800" y="2275"/>
                  </a:lnTo>
                  <a:lnTo>
                    <a:pt x="798" y="2272"/>
                  </a:lnTo>
                  <a:lnTo>
                    <a:pt x="794" y="2269"/>
                  </a:lnTo>
                  <a:lnTo>
                    <a:pt x="792" y="2266"/>
                  </a:lnTo>
                  <a:lnTo>
                    <a:pt x="789" y="2260"/>
                  </a:lnTo>
                  <a:lnTo>
                    <a:pt x="788" y="2255"/>
                  </a:lnTo>
                  <a:lnTo>
                    <a:pt x="785" y="2245"/>
                  </a:lnTo>
                  <a:lnTo>
                    <a:pt x="783" y="2237"/>
                  </a:lnTo>
                  <a:lnTo>
                    <a:pt x="776" y="2220"/>
                  </a:lnTo>
                  <a:lnTo>
                    <a:pt x="771" y="2204"/>
                  </a:lnTo>
                  <a:lnTo>
                    <a:pt x="768" y="2200"/>
                  </a:lnTo>
                  <a:lnTo>
                    <a:pt x="766" y="2197"/>
                  </a:lnTo>
                  <a:lnTo>
                    <a:pt x="766" y="2195"/>
                  </a:lnTo>
                  <a:lnTo>
                    <a:pt x="766" y="2194"/>
                  </a:lnTo>
                  <a:lnTo>
                    <a:pt x="762" y="2188"/>
                  </a:lnTo>
                  <a:lnTo>
                    <a:pt x="759" y="2183"/>
                  </a:lnTo>
                  <a:lnTo>
                    <a:pt x="757" y="2179"/>
                  </a:lnTo>
                  <a:lnTo>
                    <a:pt x="754" y="2177"/>
                  </a:lnTo>
                  <a:lnTo>
                    <a:pt x="753" y="2174"/>
                  </a:lnTo>
                  <a:lnTo>
                    <a:pt x="751" y="2171"/>
                  </a:lnTo>
                  <a:lnTo>
                    <a:pt x="751" y="2170"/>
                  </a:lnTo>
                  <a:lnTo>
                    <a:pt x="746" y="2161"/>
                  </a:lnTo>
                  <a:lnTo>
                    <a:pt x="741" y="2150"/>
                  </a:lnTo>
                  <a:lnTo>
                    <a:pt x="740" y="2148"/>
                  </a:lnTo>
                  <a:lnTo>
                    <a:pt x="737" y="2144"/>
                  </a:lnTo>
                  <a:lnTo>
                    <a:pt x="733" y="2140"/>
                  </a:lnTo>
                  <a:lnTo>
                    <a:pt x="728" y="2136"/>
                  </a:lnTo>
                  <a:lnTo>
                    <a:pt x="717" y="2128"/>
                  </a:lnTo>
                  <a:lnTo>
                    <a:pt x="704" y="2122"/>
                  </a:lnTo>
                  <a:lnTo>
                    <a:pt x="692" y="2114"/>
                  </a:lnTo>
                  <a:lnTo>
                    <a:pt x="681" y="2107"/>
                  </a:lnTo>
                  <a:lnTo>
                    <a:pt x="671" y="2102"/>
                  </a:lnTo>
                  <a:lnTo>
                    <a:pt x="666" y="2095"/>
                  </a:lnTo>
                  <a:lnTo>
                    <a:pt x="664" y="2081"/>
                  </a:lnTo>
                  <a:lnTo>
                    <a:pt x="661" y="2055"/>
                  </a:lnTo>
                  <a:lnTo>
                    <a:pt x="660" y="2029"/>
                  </a:lnTo>
                  <a:lnTo>
                    <a:pt x="660" y="2010"/>
                  </a:lnTo>
                  <a:lnTo>
                    <a:pt x="660" y="1993"/>
                  </a:lnTo>
                  <a:lnTo>
                    <a:pt x="656" y="1971"/>
                  </a:lnTo>
                  <a:lnTo>
                    <a:pt x="651" y="1945"/>
                  </a:lnTo>
                  <a:lnTo>
                    <a:pt x="643" y="1918"/>
                  </a:lnTo>
                  <a:lnTo>
                    <a:pt x="637" y="1904"/>
                  </a:lnTo>
                  <a:lnTo>
                    <a:pt x="632" y="1893"/>
                  </a:lnTo>
                  <a:lnTo>
                    <a:pt x="626" y="1881"/>
                  </a:lnTo>
                  <a:lnTo>
                    <a:pt x="619" y="1870"/>
                  </a:lnTo>
                  <a:lnTo>
                    <a:pt x="613" y="1863"/>
                  </a:lnTo>
                  <a:lnTo>
                    <a:pt x="606" y="1856"/>
                  </a:lnTo>
                  <a:lnTo>
                    <a:pt x="600" y="1852"/>
                  </a:lnTo>
                  <a:lnTo>
                    <a:pt x="592" y="1851"/>
                  </a:lnTo>
                  <a:lnTo>
                    <a:pt x="567" y="1852"/>
                  </a:lnTo>
                  <a:lnTo>
                    <a:pt x="533" y="1856"/>
                  </a:lnTo>
                  <a:lnTo>
                    <a:pt x="517" y="1856"/>
                  </a:lnTo>
                  <a:lnTo>
                    <a:pt x="503" y="1855"/>
                  </a:lnTo>
                  <a:lnTo>
                    <a:pt x="496" y="1852"/>
                  </a:lnTo>
                  <a:lnTo>
                    <a:pt x="491" y="1851"/>
                  </a:lnTo>
                  <a:lnTo>
                    <a:pt x="487" y="1847"/>
                  </a:lnTo>
                  <a:lnTo>
                    <a:pt x="484" y="1843"/>
                  </a:lnTo>
                  <a:lnTo>
                    <a:pt x="469" y="1813"/>
                  </a:lnTo>
                  <a:lnTo>
                    <a:pt x="454" y="1782"/>
                  </a:lnTo>
                  <a:lnTo>
                    <a:pt x="450" y="1765"/>
                  </a:lnTo>
                  <a:lnTo>
                    <a:pt x="448" y="1749"/>
                  </a:lnTo>
                  <a:lnTo>
                    <a:pt x="448" y="1740"/>
                  </a:lnTo>
                  <a:lnTo>
                    <a:pt x="449" y="1732"/>
                  </a:lnTo>
                  <a:lnTo>
                    <a:pt x="450" y="1724"/>
                  </a:lnTo>
                  <a:lnTo>
                    <a:pt x="454" y="1715"/>
                  </a:lnTo>
                  <a:lnTo>
                    <a:pt x="460" y="1700"/>
                  </a:lnTo>
                  <a:lnTo>
                    <a:pt x="464" y="1686"/>
                  </a:lnTo>
                  <a:lnTo>
                    <a:pt x="466" y="1673"/>
                  </a:lnTo>
                  <a:lnTo>
                    <a:pt x="466" y="1661"/>
                  </a:lnTo>
                  <a:lnTo>
                    <a:pt x="465" y="1649"/>
                  </a:lnTo>
                  <a:lnTo>
                    <a:pt x="461" y="1640"/>
                  </a:lnTo>
                  <a:lnTo>
                    <a:pt x="457" y="1630"/>
                  </a:lnTo>
                  <a:lnTo>
                    <a:pt x="452" y="1621"/>
                  </a:lnTo>
                  <a:lnTo>
                    <a:pt x="445" y="1613"/>
                  </a:lnTo>
                  <a:lnTo>
                    <a:pt x="437" y="1604"/>
                  </a:lnTo>
                  <a:lnTo>
                    <a:pt x="430" y="1596"/>
                  </a:lnTo>
                  <a:lnTo>
                    <a:pt x="422" y="1589"/>
                  </a:lnTo>
                  <a:lnTo>
                    <a:pt x="403" y="1574"/>
                  </a:lnTo>
                  <a:lnTo>
                    <a:pt x="385" y="1559"/>
                  </a:lnTo>
                  <a:lnTo>
                    <a:pt x="341" y="1521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36" name="Freeform 84"/>
            <p:cNvSpPr>
              <a:spLocks noEditPoints="1"/>
            </p:cNvSpPr>
            <p:nvPr/>
          </p:nvSpPr>
          <p:spPr bwMode="auto">
            <a:xfrm>
              <a:off x="5934075" y="3829050"/>
              <a:ext cx="1147763" cy="1733550"/>
            </a:xfrm>
            <a:custGeom>
              <a:avLst/>
              <a:gdLst/>
              <a:ahLst/>
              <a:cxnLst>
                <a:cxn ang="0">
                  <a:pos x="2346" y="3783"/>
                </a:cxn>
                <a:cxn ang="0">
                  <a:pos x="2302" y="3870"/>
                </a:cxn>
                <a:cxn ang="0">
                  <a:pos x="2383" y="3876"/>
                </a:cxn>
                <a:cxn ang="0">
                  <a:pos x="231" y="998"/>
                </a:cxn>
                <a:cxn ang="0">
                  <a:pos x="332" y="1113"/>
                </a:cxn>
                <a:cxn ang="0">
                  <a:pos x="303" y="1244"/>
                </a:cxn>
                <a:cxn ang="0">
                  <a:pos x="332" y="1358"/>
                </a:cxn>
                <a:cxn ang="0">
                  <a:pos x="315" y="1443"/>
                </a:cxn>
                <a:cxn ang="0">
                  <a:pos x="320" y="1751"/>
                </a:cxn>
                <a:cxn ang="0">
                  <a:pos x="204" y="2010"/>
                </a:cxn>
                <a:cxn ang="0">
                  <a:pos x="300" y="2250"/>
                </a:cxn>
                <a:cxn ang="0">
                  <a:pos x="634" y="2534"/>
                </a:cxn>
                <a:cxn ang="0">
                  <a:pos x="834" y="2842"/>
                </a:cxn>
                <a:cxn ang="0">
                  <a:pos x="1067" y="2989"/>
                </a:cxn>
                <a:cxn ang="0">
                  <a:pos x="1385" y="3037"/>
                </a:cxn>
                <a:cxn ang="0">
                  <a:pos x="1720" y="3100"/>
                </a:cxn>
                <a:cxn ang="0">
                  <a:pos x="1810" y="3388"/>
                </a:cxn>
                <a:cxn ang="0">
                  <a:pos x="1633" y="3734"/>
                </a:cxn>
                <a:cxn ang="0">
                  <a:pos x="2023" y="3924"/>
                </a:cxn>
                <a:cxn ang="0">
                  <a:pos x="2138" y="4157"/>
                </a:cxn>
                <a:cxn ang="0">
                  <a:pos x="2179" y="4303"/>
                </a:cxn>
                <a:cxn ang="0">
                  <a:pos x="2247" y="4459"/>
                </a:cxn>
                <a:cxn ang="0">
                  <a:pos x="2273" y="4582"/>
                </a:cxn>
                <a:cxn ang="0">
                  <a:pos x="2481" y="4713"/>
                </a:cxn>
                <a:cxn ang="0">
                  <a:pos x="2712" y="4401"/>
                </a:cxn>
                <a:cxn ang="0">
                  <a:pos x="2634" y="4097"/>
                </a:cxn>
                <a:cxn ang="0">
                  <a:pos x="2473" y="3829"/>
                </a:cxn>
                <a:cxn ang="0">
                  <a:pos x="2514" y="3468"/>
                </a:cxn>
                <a:cxn ang="0">
                  <a:pos x="2812" y="3110"/>
                </a:cxn>
                <a:cxn ang="0">
                  <a:pos x="2983" y="2841"/>
                </a:cxn>
                <a:cxn ang="0">
                  <a:pos x="3054" y="2664"/>
                </a:cxn>
                <a:cxn ang="0">
                  <a:pos x="2987" y="2557"/>
                </a:cxn>
                <a:cxn ang="0">
                  <a:pos x="2851" y="2456"/>
                </a:cxn>
                <a:cxn ang="0">
                  <a:pos x="2812" y="2415"/>
                </a:cxn>
                <a:cxn ang="0">
                  <a:pos x="2775" y="2307"/>
                </a:cxn>
                <a:cxn ang="0">
                  <a:pos x="2758" y="2123"/>
                </a:cxn>
                <a:cxn ang="0">
                  <a:pos x="2697" y="1971"/>
                </a:cxn>
                <a:cxn ang="0">
                  <a:pos x="2770" y="1831"/>
                </a:cxn>
                <a:cxn ang="0">
                  <a:pos x="2752" y="1757"/>
                </a:cxn>
                <a:cxn ang="0">
                  <a:pos x="2800" y="1658"/>
                </a:cxn>
                <a:cxn ang="0">
                  <a:pos x="2859" y="1520"/>
                </a:cxn>
                <a:cxn ang="0">
                  <a:pos x="2854" y="1355"/>
                </a:cxn>
                <a:cxn ang="0">
                  <a:pos x="2852" y="1305"/>
                </a:cxn>
                <a:cxn ang="0">
                  <a:pos x="2850" y="1197"/>
                </a:cxn>
                <a:cxn ang="0">
                  <a:pos x="2831" y="963"/>
                </a:cxn>
                <a:cxn ang="0">
                  <a:pos x="2689" y="902"/>
                </a:cxn>
                <a:cxn ang="0">
                  <a:pos x="2634" y="830"/>
                </a:cxn>
                <a:cxn ang="0">
                  <a:pos x="2574" y="735"/>
                </a:cxn>
                <a:cxn ang="0">
                  <a:pos x="2557" y="585"/>
                </a:cxn>
                <a:cxn ang="0">
                  <a:pos x="2591" y="369"/>
                </a:cxn>
                <a:cxn ang="0">
                  <a:pos x="2333" y="172"/>
                </a:cxn>
                <a:cxn ang="0">
                  <a:pos x="2142" y="72"/>
                </a:cxn>
                <a:cxn ang="0">
                  <a:pos x="1908" y="362"/>
                </a:cxn>
                <a:cxn ang="0">
                  <a:pos x="1789" y="382"/>
                </a:cxn>
                <a:cxn ang="0">
                  <a:pos x="1486" y="341"/>
                </a:cxn>
                <a:cxn ang="0">
                  <a:pos x="1407" y="345"/>
                </a:cxn>
                <a:cxn ang="0">
                  <a:pos x="1297" y="343"/>
                </a:cxn>
                <a:cxn ang="0">
                  <a:pos x="999" y="395"/>
                </a:cxn>
                <a:cxn ang="0">
                  <a:pos x="722" y="299"/>
                </a:cxn>
                <a:cxn ang="0">
                  <a:pos x="520" y="465"/>
                </a:cxn>
                <a:cxn ang="0">
                  <a:pos x="294" y="723"/>
                </a:cxn>
                <a:cxn ang="0">
                  <a:pos x="225" y="796"/>
                </a:cxn>
                <a:cxn ang="0">
                  <a:pos x="22" y="926"/>
                </a:cxn>
              </a:cxnLst>
              <a:rect l="0" t="0" r="r" b="b"/>
              <a:pathLst>
                <a:path w="3121" h="4718">
                  <a:moveTo>
                    <a:pt x="2391" y="3857"/>
                  </a:moveTo>
                  <a:lnTo>
                    <a:pt x="2393" y="3849"/>
                  </a:lnTo>
                  <a:lnTo>
                    <a:pt x="2395" y="3842"/>
                  </a:lnTo>
                  <a:lnTo>
                    <a:pt x="2396" y="3835"/>
                  </a:lnTo>
                  <a:lnTo>
                    <a:pt x="2399" y="3829"/>
                  </a:lnTo>
                  <a:lnTo>
                    <a:pt x="2400" y="3827"/>
                  </a:lnTo>
                  <a:lnTo>
                    <a:pt x="2401" y="3823"/>
                  </a:lnTo>
                  <a:lnTo>
                    <a:pt x="2401" y="3818"/>
                  </a:lnTo>
                  <a:lnTo>
                    <a:pt x="2401" y="3813"/>
                  </a:lnTo>
                  <a:lnTo>
                    <a:pt x="2400" y="3804"/>
                  </a:lnTo>
                  <a:lnTo>
                    <a:pt x="2399" y="3797"/>
                  </a:lnTo>
                  <a:lnTo>
                    <a:pt x="2393" y="3792"/>
                  </a:lnTo>
                  <a:lnTo>
                    <a:pt x="2393" y="3792"/>
                  </a:lnTo>
                  <a:lnTo>
                    <a:pt x="2392" y="3792"/>
                  </a:lnTo>
                  <a:lnTo>
                    <a:pt x="2392" y="3791"/>
                  </a:lnTo>
                  <a:lnTo>
                    <a:pt x="2391" y="3791"/>
                  </a:lnTo>
                  <a:lnTo>
                    <a:pt x="2389" y="3791"/>
                  </a:lnTo>
                  <a:lnTo>
                    <a:pt x="2388" y="3789"/>
                  </a:lnTo>
                  <a:lnTo>
                    <a:pt x="2387" y="3789"/>
                  </a:lnTo>
                  <a:lnTo>
                    <a:pt x="2387" y="3788"/>
                  </a:lnTo>
                  <a:lnTo>
                    <a:pt x="2384" y="3787"/>
                  </a:lnTo>
                  <a:lnTo>
                    <a:pt x="2383" y="3787"/>
                  </a:lnTo>
                  <a:lnTo>
                    <a:pt x="2379" y="3784"/>
                  </a:lnTo>
                  <a:lnTo>
                    <a:pt x="2376" y="3783"/>
                  </a:lnTo>
                  <a:lnTo>
                    <a:pt x="2375" y="3781"/>
                  </a:lnTo>
                  <a:lnTo>
                    <a:pt x="2374" y="3780"/>
                  </a:lnTo>
                  <a:lnTo>
                    <a:pt x="2370" y="3778"/>
                  </a:lnTo>
                  <a:lnTo>
                    <a:pt x="2366" y="3772"/>
                  </a:lnTo>
                  <a:lnTo>
                    <a:pt x="2364" y="3771"/>
                  </a:lnTo>
                  <a:lnTo>
                    <a:pt x="2362" y="3768"/>
                  </a:lnTo>
                  <a:lnTo>
                    <a:pt x="2359" y="3768"/>
                  </a:lnTo>
                  <a:lnTo>
                    <a:pt x="2355" y="3768"/>
                  </a:lnTo>
                  <a:lnTo>
                    <a:pt x="2350" y="3776"/>
                  </a:lnTo>
                  <a:lnTo>
                    <a:pt x="2346" y="3783"/>
                  </a:lnTo>
                  <a:lnTo>
                    <a:pt x="2346" y="3784"/>
                  </a:lnTo>
                  <a:lnTo>
                    <a:pt x="2345" y="3785"/>
                  </a:lnTo>
                  <a:lnTo>
                    <a:pt x="2340" y="3796"/>
                  </a:lnTo>
                  <a:lnTo>
                    <a:pt x="2334" y="3805"/>
                  </a:lnTo>
                  <a:lnTo>
                    <a:pt x="2333" y="3806"/>
                  </a:lnTo>
                  <a:lnTo>
                    <a:pt x="2333" y="3809"/>
                  </a:lnTo>
                  <a:lnTo>
                    <a:pt x="2332" y="3809"/>
                  </a:lnTo>
                  <a:lnTo>
                    <a:pt x="2332" y="3809"/>
                  </a:lnTo>
                  <a:lnTo>
                    <a:pt x="2332" y="3810"/>
                  </a:lnTo>
                  <a:lnTo>
                    <a:pt x="2332" y="3810"/>
                  </a:lnTo>
                  <a:lnTo>
                    <a:pt x="2328" y="3814"/>
                  </a:lnTo>
                  <a:lnTo>
                    <a:pt x="2324" y="3821"/>
                  </a:lnTo>
                  <a:lnTo>
                    <a:pt x="2321" y="3827"/>
                  </a:lnTo>
                  <a:lnTo>
                    <a:pt x="2321" y="3832"/>
                  </a:lnTo>
                  <a:lnTo>
                    <a:pt x="2321" y="3834"/>
                  </a:lnTo>
                  <a:lnTo>
                    <a:pt x="2320" y="3838"/>
                  </a:lnTo>
                  <a:lnTo>
                    <a:pt x="2319" y="3843"/>
                  </a:lnTo>
                  <a:lnTo>
                    <a:pt x="2316" y="3848"/>
                  </a:lnTo>
                  <a:lnTo>
                    <a:pt x="2312" y="3852"/>
                  </a:lnTo>
                  <a:lnTo>
                    <a:pt x="2312" y="3853"/>
                  </a:lnTo>
                  <a:lnTo>
                    <a:pt x="2311" y="3855"/>
                  </a:lnTo>
                  <a:lnTo>
                    <a:pt x="2311" y="3855"/>
                  </a:lnTo>
                  <a:lnTo>
                    <a:pt x="2310" y="3856"/>
                  </a:lnTo>
                  <a:lnTo>
                    <a:pt x="2310" y="3856"/>
                  </a:lnTo>
                  <a:lnTo>
                    <a:pt x="2310" y="3856"/>
                  </a:lnTo>
                  <a:lnTo>
                    <a:pt x="2308" y="3857"/>
                  </a:lnTo>
                  <a:lnTo>
                    <a:pt x="2307" y="3859"/>
                  </a:lnTo>
                  <a:lnTo>
                    <a:pt x="2307" y="3860"/>
                  </a:lnTo>
                  <a:lnTo>
                    <a:pt x="2306" y="3860"/>
                  </a:lnTo>
                  <a:lnTo>
                    <a:pt x="2304" y="3861"/>
                  </a:lnTo>
                  <a:lnTo>
                    <a:pt x="2304" y="3863"/>
                  </a:lnTo>
                  <a:lnTo>
                    <a:pt x="2304" y="3864"/>
                  </a:lnTo>
                  <a:lnTo>
                    <a:pt x="2303" y="3866"/>
                  </a:lnTo>
                  <a:lnTo>
                    <a:pt x="2302" y="3870"/>
                  </a:lnTo>
                  <a:lnTo>
                    <a:pt x="2303" y="3873"/>
                  </a:lnTo>
                  <a:lnTo>
                    <a:pt x="2306" y="3878"/>
                  </a:lnTo>
                  <a:lnTo>
                    <a:pt x="2311" y="3880"/>
                  </a:lnTo>
                  <a:lnTo>
                    <a:pt x="2316" y="3882"/>
                  </a:lnTo>
                  <a:lnTo>
                    <a:pt x="2319" y="3883"/>
                  </a:lnTo>
                  <a:lnTo>
                    <a:pt x="2321" y="3883"/>
                  </a:lnTo>
                  <a:lnTo>
                    <a:pt x="2324" y="3885"/>
                  </a:lnTo>
                  <a:lnTo>
                    <a:pt x="2327" y="3886"/>
                  </a:lnTo>
                  <a:lnTo>
                    <a:pt x="2329" y="3886"/>
                  </a:lnTo>
                  <a:lnTo>
                    <a:pt x="2332" y="3887"/>
                  </a:lnTo>
                  <a:lnTo>
                    <a:pt x="2334" y="3890"/>
                  </a:lnTo>
                  <a:lnTo>
                    <a:pt x="2337" y="3891"/>
                  </a:lnTo>
                  <a:lnTo>
                    <a:pt x="2338" y="3891"/>
                  </a:lnTo>
                  <a:lnTo>
                    <a:pt x="2340" y="3893"/>
                  </a:lnTo>
                  <a:lnTo>
                    <a:pt x="2341" y="3893"/>
                  </a:lnTo>
                  <a:lnTo>
                    <a:pt x="2341" y="3894"/>
                  </a:lnTo>
                  <a:lnTo>
                    <a:pt x="2341" y="3894"/>
                  </a:lnTo>
                  <a:lnTo>
                    <a:pt x="2342" y="3894"/>
                  </a:lnTo>
                  <a:lnTo>
                    <a:pt x="2344" y="3895"/>
                  </a:lnTo>
                  <a:lnTo>
                    <a:pt x="2345" y="3897"/>
                  </a:lnTo>
                  <a:lnTo>
                    <a:pt x="2347" y="3898"/>
                  </a:lnTo>
                  <a:lnTo>
                    <a:pt x="2350" y="3899"/>
                  </a:lnTo>
                  <a:lnTo>
                    <a:pt x="2353" y="3902"/>
                  </a:lnTo>
                  <a:lnTo>
                    <a:pt x="2354" y="3903"/>
                  </a:lnTo>
                  <a:lnTo>
                    <a:pt x="2355" y="3904"/>
                  </a:lnTo>
                  <a:lnTo>
                    <a:pt x="2357" y="3906"/>
                  </a:lnTo>
                  <a:lnTo>
                    <a:pt x="2358" y="3906"/>
                  </a:lnTo>
                  <a:lnTo>
                    <a:pt x="2361" y="3906"/>
                  </a:lnTo>
                  <a:lnTo>
                    <a:pt x="2362" y="3904"/>
                  </a:lnTo>
                  <a:lnTo>
                    <a:pt x="2370" y="3894"/>
                  </a:lnTo>
                  <a:lnTo>
                    <a:pt x="2378" y="3882"/>
                  </a:lnTo>
                  <a:lnTo>
                    <a:pt x="2380" y="3880"/>
                  </a:lnTo>
                  <a:lnTo>
                    <a:pt x="2383" y="3876"/>
                  </a:lnTo>
                  <a:lnTo>
                    <a:pt x="2383" y="3876"/>
                  </a:lnTo>
                  <a:lnTo>
                    <a:pt x="2383" y="3874"/>
                  </a:lnTo>
                  <a:lnTo>
                    <a:pt x="2383" y="3873"/>
                  </a:lnTo>
                  <a:lnTo>
                    <a:pt x="2383" y="3873"/>
                  </a:lnTo>
                  <a:lnTo>
                    <a:pt x="2384" y="3872"/>
                  </a:lnTo>
                  <a:lnTo>
                    <a:pt x="2384" y="3870"/>
                  </a:lnTo>
                  <a:lnTo>
                    <a:pt x="2385" y="3869"/>
                  </a:lnTo>
                  <a:lnTo>
                    <a:pt x="2385" y="3869"/>
                  </a:lnTo>
                  <a:lnTo>
                    <a:pt x="2387" y="3869"/>
                  </a:lnTo>
                  <a:lnTo>
                    <a:pt x="2387" y="3868"/>
                  </a:lnTo>
                  <a:lnTo>
                    <a:pt x="2387" y="3866"/>
                  </a:lnTo>
                  <a:lnTo>
                    <a:pt x="2388" y="3866"/>
                  </a:lnTo>
                  <a:lnTo>
                    <a:pt x="2388" y="3865"/>
                  </a:lnTo>
                  <a:lnTo>
                    <a:pt x="2388" y="3864"/>
                  </a:lnTo>
                  <a:lnTo>
                    <a:pt x="2388" y="3864"/>
                  </a:lnTo>
                  <a:lnTo>
                    <a:pt x="2388" y="3864"/>
                  </a:lnTo>
                  <a:lnTo>
                    <a:pt x="2388" y="3863"/>
                  </a:lnTo>
                  <a:lnTo>
                    <a:pt x="2388" y="3863"/>
                  </a:lnTo>
                  <a:lnTo>
                    <a:pt x="2389" y="3861"/>
                  </a:lnTo>
                  <a:lnTo>
                    <a:pt x="2389" y="3860"/>
                  </a:lnTo>
                  <a:lnTo>
                    <a:pt x="2389" y="3859"/>
                  </a:lnTo>
                  <a:lnTo>
                    <a:pt x="2391" y="3859"/>
                  </a:lnTo>
                  <a:lnTo>
                    <a:pt x="2391" y="3857"/>
                  </a:lnTo>
                  <a:close/>
                  <a:moveTo>
                    <a:pt x="1" y="1061"/>
                  </a:moveTo>
                  <a:lnTo>
                    <a:pt x="19" y="1058"/>
                  </a:lnTo>
                  <a:lnTo>
                    <a:pt x="40" y="1054"/>
                  </a:lnTo>
                  <a:lnTo>
                    <a:pt x="62" y="1049"/>
                  </a:lnTo>
                  <a:lnTo>
                    <a:pt x="85" y="1042"/>
                  </a:lnTo>
                  <a:lnTo>
                    <a:pt x="125" y="1029"/>
                  </a:lnTo>
                  <a:lnTo>
                    <a:pt x="153" y="1020"/>
                  </a:lnTo>
                  <a:lnTo>
                    <a:pt x="178" y="1010"/>
                  </a:lnTo>
                  <a:lnTo>
                    <a:pt x="198" y="1003"/>
                  </a:lnTo>
                  <a:lnTo>
                    <a:pt x="209" y="1000"/>
                  </a:lnTo>
                  <a:lnTo>
                    <a:pt x="219" y="999"/>
                  </a:lnTo>
                  <a:lnTo>
                    <a:pt x="231" y="998"/>
                  </a:lnTo>
                  <a:lnTo>
                    <a:pt x="244" y="999"/>
                  </a:lnTo>
                  <a:lnTo>
                    <a:pt x="253" y="999"/>
                  </a:lnTo>
                  <a:lnTo>
                    <a:pt x="260" y="1000"/>
                  </a:lnTo>
                  <a:lnTo>
                    <a:pt x="265" y="1003"/>
                  </a:lnTo>
                  <a:lnTo>
                    <a:pt x="269" y="1006"/>
                  </a:lnTo>
                  <a:lnTo>
                    <a:pt x="272" y="1008"/>
                  </a:lnTo>
                  <a:lnTo>
                    <a:pt x="273" y="1011"/>
                  </a:lnTo>
                  <a:lnTo>
                    <a:pt x="274" y="1015"/>
                  </a:lnTo>
                  <a:lnTo>
                    <a:pt x="276" y="1017"/>
                  </a:lnTo>
                  <a:lnTo>
                    <a:pt x="277" y="1025"/>
                  </a:lnTo>
                  <a:lnTo>
                    <a:pt x="278" y="1033"/>
                  </a:lnTo>
                  <a:lnTo>
                    <a:pt x="280" y="1038"/>
                  </a:lnTo>
                  <a:lnTo>
                    <a:pt x="282" y="1042"/>
                  </a:lnTo>
                  <a:lnTo>
                    <a:pt x="286" y="1046"/>
                  </a:lnTo>
                  <a:lnTo>
                    <a:pt x="290" y="1050"/>
                  </a:lnTo>
                  <a:lnTo>
                    <a:pt x="295" y="1053"/>
                  </a:lnTo>
                  <a:lnTo>
                    <a:pt x="300" y="1057"/>
                  </a:lnTo>
                  <a:lnTo>
                    <a:pt x="303" y="1059"/>
                  </a:lnTo>
                  <a:lnTo>
                    <a:pt x="307" y="1062"/>
                  </a:lnTo>
                  <a:lnTo>
                    <a:pt x="312" y="1065"/>
                  </a:lnTo>
                  <a:lnTo>
                    <a:pt x="317" y="1068"/>
                  </a:lnTo>
                  <a:lnTo>
                    <a:pt x="319" y="1076"/>
                  </a:lnTo>
                  <a:lnTo>
                    <a:pt x="319" y="1086"/>
                  </a:lnTo>
                  <a:lnTo>
                    <a:pt x="320" y="1089"/>
                  </a:lnTo>
                  <a:lnTo>
                    <a:pt x="323" y="1093"/>
                  </a:lnTo>
                  <a:lnTo>
                    <a:pt x="324" y="1093"/>
                  </a:lnTo>
                  <a:lnTo>
                    <a:pt x="324" y="1096"/>
                  </a:lnTo>
                  <a:lnTo>
                    <a:pt x="324" y="1096"/>
                  </a:lnTo>
                  <a:lnTo>
                    <a:pt x="325" y="1096"/>
                  </a:lnTo>
                  <a:lnTo>
                    <a:pt x="327" y="1099"/>
                  </a:lnTo>
                  <a:lnTo>
                    <a:pt x="328" y="1101"/>
                  </a:lnTo>
                  <a:lnTo>
                    <a:pt x="329" y="1104"/>
                  </a:lnTo>
                  <a:lnTo>
                    <a:pt x="329" y="1106"/>
                  </a:lnTo>
                  <a:lnTo>
                    <a:pt x="332" y="1113"/>
                  </a:lnTo>
                  <a:lnTo>
                    <a:pt x="331" y="1120"/>
                  </a:lnTo>
                  <a:lnTo>
                    <a:pt x="329" y="1121"/>
                  </a:lnTo>
                  <a:lnTo>
                    <a:pt x="327" y="1123"/>
                  </a:lnTo>
                  <a:lnTo>
                    <a:pt x="325" y="1125"/>
                  </a:lnTo>
                  <a:lnTo>
                    <a:pt x="324" y="1126"/>
                  </a:lnTo>
                  <a:lnTo>
                    <a:pt x="320" y="1129"/>
                  </a:lnTo>
                  <a:lnTo>
                    <a:pt x="316" y="1134"/>
                  </a:lnTo>
                  <a:lnTo>
                    <a:pt x="312" y="1139"/>
                  </a:lnTo>
                  <a:lnTo>
                    <a:pt x="311" y="1143"/>
                  </a:lnTo>
                  <a:lnTo>
                    <a:pt x="311" y="1146"/>
                  </a:lnTo>
                  <a:lnTo>
                    <a:pt x="310" y="1146"/>
                  </a:lnTo>
                  <a:lnTo>
                    <a:pt x="308" y="1147"/>
                  </a:lnTo>
                  <a:lnTo>
                    <a:pt x="308" y="1159"/>
                  </a:lnTo>
                  <a:lnTo>
                    <a:pt x="308" y="1172"/>
                  </a:lnTo>
                  <a:lnTo>
                    <a:pt x="308" y="1174"/>
                  </a:lnTo>
                  <a:lnTo>
                    <a:pt x="310" y="1184"/>
                  </a:lnTo>
                  <a:lnTo>
                    <a:pt x="310" y="1191"/>
                  </a:lnTo>
                  <a:lnTo>
                    <a:pt x="307" y="1199"/>
                  </a:lnTo>
                  <a:lnTo>
                    <a:pt x="304" y="1207"/>
                  </a:lnTo>
                  <a:lnTo>
                    <a:pt x="303" y="1210"/>
                  </a:lnTo>
                  <a:lnTo>
                    <a:pt x="302" y="1212"/>
                  </a:lnTo>
                  <a:lnTo>
                    <a:pt x="302" y="1212"/>
                  </a:lnTo>
                  <a:lnTo>
                    <a:pt x="300" y="1214"/>
                  </a:lnTo>
                  <a:lnTo>
                    <a:pt x="299" y="1214"/>
                  </a:lnTo>
                  <a:lnTo>
                    <a:pt x="299" y="1215"/>
                  </a:lnTo>
                  <a:lnTo>
                    <a:pt x="299" y="1216"/>
                  </a:lnTo>
                  <a:lnTo>
                    <a:pt x="299" y="1218"/>
                  </a:lnTo>
                  <a:lnTo>
                    <a:pt x="298" y="1219"/>
                  </a:lnTo>
                  <a:lnTo>
                    <a:pt x="297" y="1223"/>
                  </a:lnTo>
                  <a:lnTo>
                    <a:pt x="298" y="1229"/>
                  </a:lnTo>
                  <a:lnTo>
                    <a:pt x="300" y="1236"/>
                  </a:lnTo>
                  <a:lnTo>
                    <a:pt x="302" y="1240"/>
                  </a:lnTo>
                  <a:lnTo>
                    <a:pt x="303" y="1242"/>
                  </a:lnTo>
                  <a:lnTo>
                    <a:pt x="303" y="1244"/>
                  </a:lnTo>
                  <a:lnTo>
                    <a:pt x="306" y="1250"/>
                  </a:lnTo>
                  <a:lnTo>
                    <a:pt x="308" y="1258"/>
                  </a:lnTo>
                  <a:lnTo>
                    <a:pt x="310" y="1258"/>
                  </a:lnTo>
                  <a:lnTo>
                    <a:pt x="311" y="1258"/>
                  </a:lnTo>
                  <a:lnTo>
                    <a:pt x="311" y="1261"/>
                  </a:lnTo>
                  <a:lnTo>
                    <a:pt x="312" y="1262"/>
                  </a:lnTo>
                  <a:lnTo>
                    <a:pt x="314" y="1263"/>
                  </a:lnTo>
                  <a:lnTo>
                    <a:pt x="316" y="1265"/>
                  </a:lnTo>
                  <a:lnTo>
                    <a:pt x="316" y="1266"/>
                  </a:lnTo>
                  <a:lnTo>
                    <a:pt x="317" y="1267"/>
                  </a:lnTo>
                  <a:lnTo>
                    <a:pt x="320" y="1270"/>
                  </a:lnTo>
                  <a:lnTo>
                    <a:pt x="323" y="1273"/>
                  </a:lnTo>
                  <a:lnTo>
                    <a:pt x="324" y="1273"/>
                  </a:lnTo>
                  <a:lnTo>
                    <a:pt x="325" y="1274"/>
                  </a:lnTo>
                  <a:lnTo>
                    <a:pt x="328" y="1275"/>
                  </a:lnTo>
                  <a:lnTo>
                    <a:pt x="329" y="1276"/>
                  </a:lnTo>
                  <a:lnTo>
                    <a:pt x="329" y="1278"/>
                  </a:lnTo>
                  <a:lnTo>
                    <a:pt x="332" y="1280"/>
                  </a:lnTo>
                  <a:lnTo>
                    <a:pt x="334" y="1283"/>
                  </a:lnTo>
                  <a:lnTo>
                    <a:pt x="338" y="1286"/>
                  </a:lnTo>
                  <a:lnTo>
                    <a:pt x="341" y="1288"/>
                  </a:lnTo>
                  <a:lnTo>
                    <a:pt x="340" y="1300"/>
                  </a:lnTo>
                  <a:lnTo>
                    <a:pt x="338" y="1312"/>
                  </a:lnTo>
                  <a:lnTo>
                    <a:pt x="336" y="1316"/>
                  </a:lnTo>
                  <a:lnTo>
                    <a:pt x="333" y="1320"/>
                  </a:lnTo>
                  <a:lnTo>
                    <a:pt x="332" y="1321"/>
                  </a:lnTo>
                  <a:lnTo>
                    <a:pt x="328" y="1326"/>
                  </a:lnTo>
                  <a:lnTo>
                    <a:pt x="325" y="1331"/>
                  </a:lnTo>
                  <a:lnTo>
                    <a:pt x="325" y="1335"/>
                  </a:lnTo>
                  <a:lnTo>
                    <a:pt x="325" y="1341"/>
                  </a:lnTo>
                  <a:lnTo>
                    <a:pt x="328" y="1350"/>
                  </a:lnTo>
                  <a:lnTo>
                    <a:pt x="331" y="1355"/>
                  </a:lnTo>
                  <a:lnTo>
                    <a:pt x="331" y="1356"/>
                  </a:lnTo>
                  <a:lnTo>
                    <a:pt x="332" y="1358"/>
                  </a:lnTo>
                  <a:lnTo>
                    <a:pt x="336" y="1360"/>
                  </a:lnTo>
                  <a:lnTo>
                    <a:pt x="340" y="1364"/>
                  </a:lnTo>
                  <a:lnTo>
                    <a:pt x="341" y="1365"/>
                  </a:lnTo>
                  <a:lnTo>
                    <a:pt x="342" y="1368"/>
                  </a:lnTo>
                  <a:lnTo>
                    <a:pt x="344" y="1369"/>
                  </a:lnTo>
                  <a:lnTo>
                    <a:pt x="345" y="1371"/>
                  </a:lnTo>
                  <a:lnTo>
                    <a:pt x="346" y="1371"/>
                  </a:lnTo>
                  <a:lnTo>
                    <a:pt x="348" y="1372"/>
                  </a:lnTo>
                  <a:lnTo>
                    <a:pt x="350" y="1376"/>
                  </a:lnTo>
                  <a:lnTo>
                    <a:pt x="353" y="1381"/>
                  </a:lnTo>
                  <a:lnTo>
                    <a:pt x="353" y="1384"/>
                  </a:lnTo>
                  <a:lnTo>
                    <a:pt x="353" y="1384"/>
                  </a:lnTo>
                  <a:lnTo>
                    <a:pt x="354" y="1386"/>
                  </a:lnTo>
                  <a:lnTo>
                    <a:pt x="354" y="1389"/>
                  </a:lnTo>
                  <a:lnTo>
                    <a:pt x="351" y="1393"/>
                  </a:lnTo>
                  <a:lnTo>
                    <a:pt x="349" y="1397"/>
                  </a:lnTo>
                  <a:lnTo>
                    <a:pt x="342" y="1403"/>
                  </a:lnTo>
                  <a:lnTo>
                    <a:pt x="338" y="1406"/>
                  </a:lnTo>
                  <a:lnTo>
                    <a:pt x="336" y="1407"/>
                  </a:lnTo>
                  <a:lnTo>
                    <a:pt x="334" y="1407"/>
                  </a:lnTo>
                  <a:lnTo>
                    <a:pt x="334" y="1409"/>
                  </a:lnTo>
                  <a:lnTo>
                    <a:pt x="332" y="1411"/>
                  </a:lnTo>
                  <a:lnTo>
                    <a:pt x="331" y="1413"/>
                  </a:lnTo>
                  <a:lnTo>
                    <a:pt x="331" y="1415"/>
                  </a:lnTo>
                  <a:lnTo>
                    <a:pt x="329" y="1416"/>
                  </a:lnTo>
                  <a:lnTo>
                    <a:pt x="325" y="1419"/>
                  </a:lnTo>
                  <a:lnTo>
                    <a:pt x="321" y="1424"/>
                  </a:lnTo>
                  <a:lnTo>
                    <a:pt x="319" y="1431"/>
                  </a:lnTo>
                  <a:lnTo>
                    <a:pt x="316" y="1433"/>
                  </a:lnTo>
                  <a:lnTo>
                    <a:pt x="315" y="1436"/>
                  </a:lnTo>
                  <a:lnTo>
                    <a:pt x="314" y="1439"/>
                  </a:lnTo>
                  <a:lnTo>
                    <a:pt x="314" y="1440"/>
                  </a:lnTo>
                  <a:lnTo>
                    <a:pt x="314" y="1441"/>
                  </a:lnTo>
                  <a:lnTo>
                    <a:pt x="315" y="1443"/>
                  </a:lnTo>
                  <a:lnTo>
                    <a:pt x="316" y="1443"/>
                  </a:lnTo>
                  <a:lnTo>
                    <a:pt x="317" y="1443"/>
                  </a:lnTo>
                  <a:lnTo>
                    <a:pt x="317" y="1445"/>
                  </a:lnTo>
                  <a:lnTo>
                    <a:pt x="324" y="1456"/>
                  </a:lnTo>
                  <a:lnTo>
                    <a:pt x="329" y="1466"/>
                  </a:lnTo>
                  <a:lnTo>
                    <a:pt x="332" y="1470"/>
                  </a:lnTo>
                  <a:lnTo>
                    <a:pt x="333" y="1479"/>
                  </a:lnTo>
                  <a:lnTo>
                    <a:pt x="334" y="1491"/>
                  </a:lnTo>
                  <a:lnTo>
                    <a:pt x="334" y="1504"/>
                  </a:lnTo>
                  <a:lnTo>
                    <a:pt x="336" y="1530"/>
                  </a:lnTo>
                  <a:lnTo>
                    <a:pt x="336" y="1547"/>
                  </a:lnTo>
                  <a:lnTo>
                    <a:pt x="336" y="1550"/>
                  </a:lnTo>
                  <a:lnTo>
                    <a:pt x="337" y="1552"/>
                  </a:lnTo>
                  <a:lnTo>
                    <a:pt x="342" y="1556"/>
                  </a:lnTo>
                  <a:lnTo>
                    <a:pt x="345" y="1562"/>
                  </a:lnTo>
                  <a:lnTo>
                    <a:pt x="346" y="1568"/>
                  </a:lnTo>
                  <a:lnTo>
                    <a:pt x="346" y="1576"/>
                  </a:lnTo>
                  <a:lnTo>
                    <a:pt x="346" y="1583"/>
                  </a:lnTo>
                  <a:lnTo>
                    <a:pt x="345" y="1589"/>
                  </a:lnTo>
                  <a:lnTo>
                    <a:pt x="342" y="1596"/>
                  </a:lnTo>
                  <a:lnTo>
                    <a:pt x="341" y="1600"/>
                  </a:lnTo>
                  <a:lnTo>
                    <a:pt x="329" y="1607"/>
                  </a:lnTo>
                  <a:lnTo>
                    <a:pt x="320" y="1618"/>
                  </a:lnTo>
                  <a:lnTo>
                    <a:pt x="317" y="1630"/>
                  </a:lnTo>
                  <a:lnTo>
                    <a:pt x="317" y="1641"/>
                  </a:lnTo>
                  <a:lnTo>
                    <a:pt x="317" y="1653"/>
                  </a:lnTo>
                  <a:lnTo>
                    <a:pt x="319" y="1664"/>
                  </a:lnTo>
                  <a:lnTo>
                    <a:pt x="321" y="1685"/>
                  </a:lnTo>
                  <a:lnTo>
                    <a:pt x="325" y="1706"/>
                  </a:lnTo>
                  <a:lnTo>
                    <a:pt x="325" y="1715"/>
                  </a:lnTo>
                  <a:lnTo>
                    <a:pt x="327" y="1724"/>
                  </a:lnTo>
                  <a:lnTo>
                    <a:pt x="325" y="1734"/>
                  </a:lnTo>
                  <a:lnTo>
                    <a:pt x="324" y="1743"/>
                  </a:lnTo>
                  <a:lnTo>
                    <a:pt x="320" y="1751"/>
                  </a:lnTo>
                  <a:lnTo>
                    <a:pt x="315" y="1760"/>
                  </a:lnTo>
                  <a:lnTo>
                    <a:pt x="307" y="1770"/>
                  </a:lnTo>
                  <a:lnTo>
                    <a:pt x="298" y="1777"/>
                  </a:lnTo>
                  <a:lnTo>
                    <a:pt x="293" y="1783"/>
                  </a:lnTo>
                  <a:lnTo>
                    <a:pt x="290" y="1788"/>
                  </a:lnTo>
                  <a:lnTo>
                    <a:pt x="289" y="1793"/>
                  </a:lnTo>
                  <a:lnTo>
                    <a:pt x="287" y="1800"/>
                  </a:lnTo>
                  <a:lnTo>
                    <a:pt x="285" y="1805"/>
                  </a:lnTo>
                  <a:lnTo>
                    <a:pt x="282" y="1811"/>
                  </a:lnTo>
                  <a:lnTo>
                    <a:pt x="276" y="1817"/>
                  </a:lnTo>
                  <a:lnTo>
                    <a:pt x="266" y="1821"/>
                  </a:lnTo>
                  <a:lnTo>
                    <a:pt x="259" y="1825"/>
                  </a:lnTo>
                  <a:lnTo>
                    <a:pt x="252" y="1830"/>
                  </a:lnTo>
                  <a:lnTo>
                    <a:pt x="248" y="1835"/>
                  </a:lnTo>
                  <a:lnTo>
                    <a:pt x="244" y="1840"/>
                  </a:lnTo>
                  <a:lnTo>
                    <a:pt x="240" y="1855"/>
                  </a:lnTo>
                  <a:lnTo>
                    <a:pt x="238" y="1869"/>
                  </a:lnTo>
                  <a:lnTo>
                    <a:pt x="236" y="1883"/>
                  </a:lnTo>
                  <a:lnTo>
                    <a:pt x="234" y="1897"/>
                  </a:lnTo>
                  <a:lnTo>
                    <a:pt x="232" y="1902"/>
                  </a:lnTo>
                  <a:lnTo>
                    <a:pt x="230" y="1907"/>
                  </a:lnTo>
                  <a:lnTo>
                    <a:pt x="227" y="1911"/>
                  </a:lnTo>
                  <a:lnTo>
                    <a:pt x="223" y="1915"/>
                  </a:lnTo>
                  <a:lnTo>
                    <a:pt x="212" y="1923"/>
                  </a:lnTo>
                  <a:lnTo>
                    <a:pt x="202" y="1928"/>
                  </a:lnTo>
                  <a:lnTo>
                    <a:pt x="195" y="1933"/>
                  </a:lnTo>
                  <a:lnTo>
                    <a:pt x="189" y="1938"/>
                  </a:lnTo>
                  <a:lnTo>
                    <a:pt x="187" y="1944"/>
                  </a:lnTo>
                  <a:lnTo>
                    <a:pt x="187" y="1951"/>
                  </a:lnTo>
                  <a:lnTo>
                    <a:pt x="188" y="1959"/>
                  </a:lnTo>
                  <a:lnTo>
                    <a:pt x="192" y="1970"/>
                  </a:lnTo>
                  <a:lnTo>
                    <a:pt x="197" y="1988"/>
                  </a:lnTo>
                  <a:lnTo>
                    <a:pt x="201" y="2004"/>
                  </a:lnTo>
                  <a:lnTo>
                    <a:pt x="204" y="2010"/>
                  </a:lnTo>
                  <a:lnTo>
                    <a:pt x="206" y="2018"/>
                  </a:lnTo>
                  <a:lnTo>
                    <a:pt x="212" y="2026"/>
                  </a:lnTo>
                  <a:lnTo>
                    <a:pt x="219" y="2034"/>
                  </a:lnTo>
                  <a:lnTo>
                    <a:pt x="238" y="2055"/>
                  </a:lnTo>
                  <a:lnTo>
                    <a:pt x="255" y="2076"/>
                  </a:lnTo>
                  <a:lnTo>
                    <a:pt x="270" y="2098"/>
                  </a:lnTo>
                  <a:lnTo>
                    <a:pt x="285" y="2120"/>
                  </a:lnTo>
                  <a:lnTo>
                    <a:pt x="289" y="2128"/>
                  </a:lnTo>
                  <a:lnTo>
                    <a:pt x="291" y="2135"/>
                  </a:lnTo>
                  <a:lnTo>
                    <a:pt x="293" y="2141"/>
                  </a:lnTo>
                  <a:lnTo>
                    <a:pt x="293" y="2146"/>
                  </a:lnTo>
                  <a:lnTo>
                    <a:pt x="290" y="2150"/>
                  </a:lnTo>
                  <a:lnTo>
                    <a:pt x="287" y="2154"/>
                  </a:lnTo>
                  <a:lnTo>
                    <a:pt x="285" y="2157"/>
                  </a:lnTo>
                  <a:lnTo>
                    <a:pt x="281" y="2161"/>
                  </a:lnTo>
                  <a:lnTo>
                    <a:pt x="272" y="2167"/>
                  </a:lnTo>
                  <a:lnTo>
                    <a:pt x="261" y="2175"/>
                  </a:lnTo>
                  <a:lnTo>
                    <a:pt x="257" y="2179"/>
                  </a:lnTo>
                  <a:lnTo>
                    <a:pt x="252" y="2184"/>
                  </a:lnTo>
                  <a:lnTo>
                    <a:pt x="249" y="2190"/>
                  </a:lnTo>
                  <a:lnTo>
                    <a:pt x="247" y="2196"/>
                  </a:lnTo>
                  <a:lnTo>
                    <a:pt x="244" y="2207"/>
                  </a:lnTo>
                  <a:lnTo>
                    <a:pt x="242" y="2216"/>
                  </a:lnTo>
                  <a:lnTo>
                    <a:pt x="242" y="2222"/>
                  </a:lnTo>
                  <a:lnTo>
                    <a:pt x="243" y="2227"/>
                  </a:lnTo>
                  <a:lnTo>
                    <a:pt x="244" y="2231"/>
                  </a:lnTo>
                  <a:lnTo>
                    <a:pt x="247" y="2234"/>
                  </a:lnTo>
                  <a:lnTo>
                    <a:pt x="251" y="2237"/>
                  </a:lnTo>
                  <a:lnTo>
                    <a:pt x="256" y="2238"/>
                  </a:lnTo>
                  <a:lnTo>
                    <a:pt x="266" y="2241"/>
                  </a:lnTo>
                  <a:lnTo>
                    <a:pt x="280" y="2242"/>
                  </a:lnTo>
                  <a:lnTo>
                    <a:pt x="286" y="2244"/>
                  </a:lnTo>
                  <a:lnTo>
                    <a:pt x="293" y="2246"/>
                  </a:lnTo>
                  <a:lnTo>
                    <a:pt x="300" y="2250"/>
                  </a:lnTo>
                  <a:lnTo>
                    <a:pt x="308" y="2254"/>
                  </a:lnTo>
                  <a:lnTo>
                    <a:pt x="320" y="2261"/>
                  </a:lnTo>
                  <a:lnTo>
                    <a:pt x="328" y="2271"/>
                  </a:lnTo>
                  <a:lnTo>
                    <a:pt x="332" y="2280"/>
                  </a:lnTo>
                  <a:lnTo>
                    <a:pt x="336" y="2289"/>
                  </a:lnTo>
                  <a:lnTo>
                    <a:pt x="340" y="2310"/>
                  </a:lnTo>
                  <a:lnTo>
                    <a:pt x="349" y="2335"/>
                  </a:lnTo>
                  <a:lnTo>
                    <a:pt x="370" y="2343"/>
                  </a:lnTo>
                  <a:lnTo>
                    <a:pt x="416" y="2358"/>
                  </a:lnTo>
                  <a:lnTo>
                    <a:pt x="443" y="2369"/>
                  </a:lnTo>
                  <a:lnTo>
                    <a:pt x="468" y="2378"/>
                  </a:lnTo>
                  <a:lnTo>
                    <a:pt x="488" y="2388"/>
                  </a:lnTo>
                  <a:lnTo>
                    <a:pt x="502" y="2396"/>
                  </a:lnTo>
                  <a:lnTo>
                    <a:pt x="506" y="2400"/>
                  </a:lnTo>
                  <a:lnTo>
                    <a:pt x="512" y="2403"/>
                  </a:lnTo>
                  <a:lnTo>
                    <a:pt x="519" y="2404"/>
                  </a:lnTo>
                  <a:lnTo>
                    <a:pt x="525" y="2404"/>
                  </a:lnTo>
                  <a:lnTo>
                    <a:pt x="541" y="2404"/>
                  </a:lnTo>
                  <a:lnTo>
                    <a:pt x="557" y="2403"/>
                  </a:lnTo>
                  <a:lnTo>
                    <a:pt x="571" y="2404"/>
                  </a:lnTo>
                  <a:lnTo>
                    <a:pt x="586" y="2405"/>
                  </a:lnTo>
                  <a:lnTo>
                    <a:pt x="592" y="2408"/>
                  </a:lnTo>
                  <a:lnTo>
                    <a:pt x="597" y="2412"/>
                  </a:lnTo>
                  <a:lnTo>
                    <a:pt x="601" y="2417"/>
                  </a:lnTo>
                  <a:lnTo>
                    <a:pt x="605" y="2424"/>
                  </a:lnTo>
                  <a:lnTo>
                    <a:pt x="608" y="2435"/>
                  </a:lnTo>
                  <a:lnTo>
                    <a:pt x="610" y="2447"/>
                  </a:lnTo>
                  <a:lnTo>
                    <a:pt x="610" y="2459"/>
                  </a:lnTo>
                  <a:lnTo>
                    <a:pt x="612" y="2471"/>
                  </a:lnTo>
                  <a:lnTo>
                    <a:pt x="612" y="2483"/>
                  </a:lnTo>
                  <a:lnTo>
                    <a:pt x="614" y="2494"/>
                  </a:lnTo>
                  <a:lnTo>
                    <a:pt x="618" y="2506"/>
                  </a:lnTo>
                  <a:lnTo>
                    <a:pt x="625" y="2519"/>
                  </a:lnTo>
                  <a:lnTo>
                    <a:pt x="634" y="2534"/>
                  </a:lnTo>
                  <a:lnTo>
                    <a:pt x="644" y="2547"/>
                  </a:lnTo>
                  <a:lnTo>
                    <a:pt x="656" y="2561"/>
                  </a:lnTo>
                  <a:lnTo>
                    <a:pt x="669" y="2574"/>
                  </a:lnTo>
                  <a:lnTo>
                    <a:pt x="694" y="2599"/>
                  </a:lnTo>
                  <a:lnTo>
                    <a:pt x="720" y="2622"/>
                  </a:lnTo>
                  <a:lnTo>
                    <a:pt x="726" y="2628"/>
                  </a:lnTo>
                  <a:lnTo>
                    <a:pt x="729" y="2634"/>
                  </a:lnTo>
                  <a:lnTo>
                    <a:pt x="733" y="2640"/>
                  </a:lnTo>
                  <a:lnTo>
                    <a:pt x="736" y="2647"/>
                  </a:lnTo>
                  <a:lnTo>
                    <a:pt x="743" y="2662"/>
                  </a:lnTo>
                  <a:lnTo>
                    <a:pt x="748" y="2677"/>
                  </a:lnTo>
                  <a:lnTo>
                    <a:pt x="753" y="2693"/>
                  </a:lnTo>
                  <a:lnTo>
                    <a:pt x="760" y="2709"/>
                  </a:lnTo>
                  <a:lnTo>
                    <a:pt x="765" y="2717"/>
                  </a:lnTo>
                  <a:lnTo>
                    <a:pt x="769" y="2723"/>
                  </a:lnTo>
                  <a:lnTo>
                    <a:pt x="775" y="2731"/>
                  </a:lnTo>
                  <a:lnTo>
                    <a:pt x="782" y="2736"/>
                  </a:lnTo>
                  <a:lnTo>
                    <a:pt x="791" y="2744"/>
                  </a:lnTo>
                  <a:lnTo>
                    <a:pt x="800" y="2749"/>
                  </a:lnTo>
                  <a:lnTo>
                    <a:pt x="811" y="2755"/>
                  </a:lnTo>
                  <a:lnTo>
                    <a:pt x="821" y="2760"/>
                  </a:lnTo>
                  <a:lnTo>
                    <a:pt x="843" y="2768"/>
                  </a:lnTo>
                  <a:lnTo>
                    <a:pt x="866" y="2776"/>
                  </a:lnTo>
                  <a:lnTo>
                    <a:pt x="877" y="2781"/>
                  </a:lnTo>
                  <a:lnTo>
                    <a:pt x="884" y="2786"/>
                  </a:lnTo>
                  <a:lnTo>
                    <a:pt x="885" y="2789"/>
                  </a:lnTo>
                  <a:lnTo>
                    <a:pt x="885" y="2791"/>
                  </a:lnTo>
                  <a:lnTo>
                    <a:pt x="884" y="2794"/>
                  </a:lnTo>
                  <a:lnTo>
                    <a:pt x="883" y="2796"/>
                  </a:lnTo>
                  <a:lnTo>
                    <a:pt x="869" y="2808"/>
                  </a:lnTo>
                  <a:lnTo>
                    <a:pt x="851" y="2823"/>
                  </a:lnTo>
                  <a:lnTo>
                    <a:pt x="841" y="2833"/>
                  </a:lnTo>
                  <a:lnTo>
                    <a:pt x="835" y="2841"/>
                  </a:lnTo>
                  <a:lnTo>
                    <a:pt x="834" y="2842"/>
                  </a:lnTo>
                  <a:lnTo>
                    <a:pt x="834" y="2845"/>
                  </a:lnTo>
                  <a:lnTo>
                    <a:pt x="835" y="2846"/>
                  </a:lnTo>
                  <a:lnTo>
                    <a:pt x="837" y="2847"/>
                  </a:lnTo>
                  <a:lnTo>
                    <a:pt x="842" y="2850"/>
                  </a:lnTo>
                  <a:lnTo>
                    <a:pt x="850" y="2855"/>
                  </a:lnTo>
                  <a:lnTo>
                    <a:pt x="858" y="2862"/>
                  </a:lnTo>
                  <a:lnTo>
                    <a:pt x="867" y="2874"/>
                  </a:lnTo>
                  <a:lnTo>
                    <a:pt x="877" y="2885"/>
                  </a:lnTo>
                  <a:lnTo>
                    <a:pt x="892" y="2900"/>
                  </a:lnTo>
                  <a:lnTo>
                    <a:pt x="898" y="2906"/>
                  </a:lnTo>
                  <a:lnTo>
                    <a:pt x="905" y="2913"/>
                  </a:lnTo>
                  <a:lnTo>
                    <a:pt x="909" y="2918"/>
                  </a:lnTo>
                  <a:lnTo>
                    <a:pt x="910" y="2923"/>
                  </a:lnTo>
                  <a:lnTo>
                    <a:pt x="910" y="2944"/>
                  </a:lnTo>
                  <a:lnTo>
                    <a:pt x="911" y="2961"/>
                  </a:lnTo>
                  <a:lnTo>
                    <a:pt x="911" y="2968"/>
                  </a:lnTo>
                  <a:lnTo>
                    <a:pt x="913" y="2973"/>
                  </a:lnTo>
                  <a:lnTo>
                    <a:pt x="914" y="2977"/>
                  </a:lnTo>
                  <a:lnTo>
                    <a:pt x="917" y="2981"/>
                  </a:lnTo>
                  <a:lnTo>
                    <a:pt x="919" y="2982"/>
                  </a:lnTo>
                  <a:lnTo>
                    <a:pt x="923" y="2985"/>
                  </a:lnTo>
                  <a:lnTo>
                    <a:pt x="928" y="2985"/>
                  </a:lnTo>
                  <a:lnTo>
                    <a:pt x="935" y="2985"/>
                  </a:lnTo>
                  <a:lnTo>
                    <a:pt x="951" y="2982"/>
                  </a:lnTo>
                  <a:lnTo>
                    <a:pt x="971" y="2977"/>
                  </a:lnTo>
                  <a:lnTo>
                    <a:pt x="992" y="2972"/>
                  </a:lnTo>
                  <a:lnTo>
                    <a:pt x="1020" y="2967"/>
                  </a:lnTo>
                  <a:lnTo>
                    <a:pt x="1033" y="2965"/>
                  </a:lnTo>
                  <a:lnTo>
                    <a:pt x="1045" y="2965"/>
                  </a:lnTo>
                  <a:lnTo>
                    <a:pt x="1049" y="2967"/>
                  </a:lnTo>
                  <a:lnTo>
                    <a:pt x="1054" y="2968"/>
                  </a:lnTo>
                  <a:lnTo>
                    <a:pt x="1056" y="2970"/>
                  </a:lnTo>
                  <a:lnTo>
                    <a:pt x="1059" y="2973"/>
                  </a:lnTo>
                  <a:lnTo>
                    <a:pt x="1067" y="2989"/>
                  </a:lnTo>
                  <a:lnTo>
                    <a:pt x="1075" y="3001"/>
                  </a:lnTo>
                  <a:lnTo>
                    <a:pt x="1084" y="3010"/>
                  </a:lnTo>
                  <a:lnTo>
                    <a:pt x="1092" y="3018"/>
                  </a:lnTo>
                  <a:lnTo>
                    <a:pt x="1114" y="3031"/>
                  </a:lnTo>
                  <a:lnTo>
                    <a:pt x="1142" y="3045"/>
                  </a:lnTo>
                  <a:lnTo>
                    <a:pt x="1145" y="3046"/>
                  </a:lnTo>
                  <a:lnTo>
                    <a:pt x="1149" y="3046"/>
                  </a:lnTo>
                  <a:lnTo>
                    <a:pt x="1152" y="3046"/>
                  </a:lnTo>
                  <a:lnTo>
                    <a:pt x="1156" y="3046"/>
                  </a:lnTo>
                  <a:lnTo>
                    <a:pt x="1162" y="3044"/>
                  </a:lnTo>
                  <a:lnTo>
                    <a:pt x="1170" y="3041"/>
                  </a:lnTo>
                  <a:lnTo>
                    <a:pt x="1177" y="3038"/>
                  </a:lnTo>
                  <a:lnTo>
                    <a:pt x="1185" y="3038"/>
                  </a:lnTo>
                  <a:lnTo>
                    <a:pt x="1189" y="3040"/>
                  </a:lnTo>
                  <a:lnTo>
                    <a:pt x="1193" y="3041"/>
                  </a:lnTo>
                  <a:lnTo>
                    <a:pt x="1198" y="3044"/>
                  </a:lnTo>
                  <a:lnTo>
                    <a:pt x="1202" y="3048"/>
                  </a:lnTo>
                  <a:lnTo>
                    <a:pt x="1212" y="3057"/>
                  </a:lnTo>
                  <a:lnTo>
                    <a:pt x="1224" y="3063"/>
                  </a:lnTo>
                  <a:lnTo>
                    <a:pt x="1237" y="3071"/>
                  </a:lnTo>
                  <a:lnTo>
                    <a:pt x="1251" y="3079"/>
                  </a:lnTo>
                  <a:lnTo>
                    <a:pt x="1268" y="3089"/>
                  </a:lnTo>
                  <a:lnTo>
                    <a:pt x="1291" y="3105"/>
                  </a:lnTo>
                  <a:lnTo>
                    <a:pt x="1301" y="3112"/>
                  </a:lnTo>
                  <a:lnTo>
                    <a:pt x="1312" y="3118"/>
                  </a:lnTo>
                  <a:lnTo>
                    <a:pt x="1318" y="3121"/>
                  </a:lnTo>
                  <a:lnTo>
                    <a:pt x="1322" y="3121"/>
                  </a:lnTo>
                  <a:lnTo>
                    <a:pt x="1334" y="3105"/>
                  </a:lnTo>
                  <a:lnTo>
                    <a:pt x="1343" y="3088"/>
                  </a:lnTo>
                  <a:lnTo>
                    <a:pt x="1348" y="3079"/>
                  </a:lnTo>
                  <a:lnTo>
                    <a:pt x="1355" y="3071"/>
                  </a:lnTo>
                  <a:lnTo>
                    <a:pt x="1360" y="3063"/>
                  </a:lnTo>
                  <a:lnTo>
                    <a:pt x="1366" y="3057"/>
                  </a:lnTo>
                  <a:lnTo>
                    <a:pt x="1385" y="3037"/>
                  </a:lnTo>
                  <a:lnTo>
                    <a:pt x="1411" y="3010"/>
                  </a:lnTo>
                  <a:lnTo>
                    <a:pt x="1424" y="2995"/>
                  </a:lnTo>
                  <a:lnTo>
                    <a:pt x="1436" y="2985"/>
                  </a:lnTo>
                  <a:lnTo>
                    <a:pt x="1441" y="2981"/>
                  </a:lnTo>
                  <a:lnTo>
                    <a:pt x="1445" y="2978"/>
                  </a:lnTo>
                  <a:lnTo>
                    <a:pt x="1448" y="2977"/>
                  </a:lnTo>
                  <a:lnTo>
                    <a:pt x="1450" y="2977"/>
                  </a:lnTo>
                  <a:lnTo>
                    <a:pt x="1458" y="2986"/>
                  </a:lnTo>
                  <a:lnTo>
                    <a:pt x="1465" y="2995"/>
                  </a:lnTo>
                  <a:lnTo>
                    <a:pt x="1471" y="3006"/>
                  </a:lnTo>
                  <a:lnTo>
                    <a:pt x="1476" y="3015"/>
                  </a:lnTo>
                  <a:lnTo>
                    <a:pt x="1482" y="3025"/>
                  </a:lnTo>
                  <a:lnTo>
                    <a:pt x="1488" y="3036"/>
                  </a:lnTo>
                  <a:lnTo>
                    <a:pt x="1496" y="3046"/>
                  </a:lnTo>
                  <a:lnTo>
                    <a:pt x="1505" y="3058"/>
                  </a:lnTo>
                  <a:lnTo>
                    <a:pt x="1520" y="3074"/>
                  </a:lnTo>
                  <a:lnTo>
                    <a:pt x="1537" y="3091"/>
                  </a:lnTo>
                  <a:lnTo>
                    <a:pt x="1554" y="3108"/>
                  </a:lnTo>
                  <a:lnTo>
                    <a:pt x="1573" y="3123"/>
                  </a:lnTo>
                  <a:lnTo>
                    <a:pt x="1584" y="3130"/>
                  </a:lnTo>
                  <a:lnTo>
                    <a:pt x="1594" y="3135"/>
                  </a:lnTo>
                  <a:lnTo>
                    <a:pt x="1605" y="3139"/>
                  </a:lnTo>
                  <a:lnTo>
                    <a:pt x="1615" y="3142"/>
                  </a:lnTo>
                  <a:lnTo>
                    <a:pt x="1625" y="3142"/>
                  </a:lnTo>
                  <a:lnTo>
                    <a:pt x="1636" y="3140"/>
                  </a:lnTo>
                  <a:lnTo>
                    <a:pt x="1648" y="3138"/>
                  </a:lnTo>
                  <a:lnTo>
                    <a:pt x="1658" y="3131"/>
                  </a:lnTo>
                  <a:lnTo>
                    <a:pt x="1675" y="3117"/>
                  </a:lnTo>
                  <a:lnTo>
                    <a:pt x="1691" y="3103"/>
                  </a:lnTo>
                  <a:lnTo>
                    <a:pt x="1699" y="3099"/>
                  </a:lnTo>
                  <a:lnTo>
                    <a:pt x="1707" y="3096"/>
                  </a:lnTo>
                  <a:lnTo>
                    <a:pt x="1712" y="3097"/>
                  </a:lnTo>
                  <a:lnTo>
                    <a:pt x="1716" y="3097"/>
                  </a:lnTo>
                  <a:lnTo>
                    <a:pt x="1720" y="3100"/>
                  </a:lnTo>
                  <a:lnTo>
                    <a:pt x="1725" y="3104"/>
                  </a:lnTo>
                  <a:lnTo>
                    <a:pt x="1737" y="3116"/>
                  </a:lnTo>
                  <a:lnTo>
                    <a:pt x="1747" y="3127"/>
                  </a:lnTo>
                  <a:lnTo>
                    <a:pt x="1758" y="3140"/>
                  </a:lnTo>
                  <a:lnTo>
                    <a:pt x="1768" y="3154"/>
                  </a:lnTo>
                  <a:lnTo>
                    <a:pt x="1779" y="3167"/>
                  </a:lnTo>
                  <a:lnTo>
                    <a:pt x="1789" y="3180"/>
                  </a:lnTo>
                  <a:lnTo>
                    <a:pt x="1802" y="3193"/>
                  </a:lnTo>
                  <a:lnTo>
                    <a:pt x="1816" y="3205"/>
                  </a:lnTo>
                  <a:lnTo>
                    <a:pt x="1836" y="3218"/>
                  </a:lnTo>
                  <a:lnTo>
                    <a:pt x="1854" y="3228"/>
                  </a:lnTo>
                  <a:lnTo>
                    <a:pt x="1864" y="3233"/>
                  </a:lnTo>
                  <a:lnTo>
                    <a:pt x="1871" y="3240"/>
                  </a:lnTo>
                  <a:lnTo>
                    <a:pt x="1878" y="3248"/>
                  </a:lnTo>
                  <a:lnTo>
                    <a:pt x="1886" y="3257"/>
                  </a:lnTo>
                  <a:lnTo>
                    <a:pt x="1888" y="3263"/>
                  </a:lnTo>
                  <a:lnTo>
                    <a:pt x="1891" y="3271"/>
                  </a:lnTo>
                  <a:lnTo>
                    <a:pt x="1892" y="3280"/>
                  </a:lnTo>
                  <a:lnTo>
                    <a:pt x="1891" y="3288"/>
                  </a:lnTo>
                  <a:lnTo>
                    <a:pt x="1888" y="3307"/>
                  </a:lnTo>
                  <a:lnTo>
                    <a:pt x="1882" y="3325"/>
                  </a:lnTo>
                  <a:lnTo>
                    <a:pt x="1867" y="3359"/>
                  </a:lnTo>
                  <a:lnTo>
                    <a:pt x="1857" y="3384"/>
                  </a:lnTo>
                  <a:lnTo>
                    <a:pt x="1856" y="3389"/>
                  </a:lnTo>
                  <a:lnTo>
                    <a:pt x="1854" y="3393"/>
                  </a:lnTo>
                  <a:lnTo>
                    <a:pt x="1852" y="3396"/>
                  </a:lnTo>
                  <a:lnTo>
                    <a:pt x="1849" y="3397"/>
                  </a:lnTo>
                  <a:lnTo>
                    <a:pt x="1844" y="3397"/>
                  </a:lnTo>
                  <a:lnTo>
                    <a:pt x="1837" y="3396"/>
                  </a:lnTo>
                  <a:lnTo>
                    <a:pt x="1831" y="3392"/>
                  </a:lnTo>
                  <a:lnTo>
                    <a:pt x="1823" y="3389"/>
                  </a:lnTo>
                  <a:lnTo>
                    <a:pt x="1819" y="3388"/>
                  </a:lnTo>
                  <a:lnTo>
                    <a:pt x="1815" y="3386"/>
                  </a:lnTo>
                  <a:lnTo>
                    <a:pt x="1810" y="3388"/>
                  </a:lnTo>
                  <a:lnTo>
                    <a:pt x="1806" y="3388"/>
                  </a:lnTo>
                  <a:lnTo>
                    <a:pt x="1801" y="3390"/>
                  </a:lnTo>
                  <a:lnTo>
                    <a:pt x="1798" y="3393"/>
                  </a:lnTo>
                  <a:lnTo>
                    <a:pt x="1794" y="3396"/>
                  </a:lnTo>
                  <a:lnTo>
                    <a:pt x="1793" y="3398"/>
                  </a:lnTo>
                  <a:lnTo>
                    <a:pt x="1790" y="3406"/>
                  </a:lnTo>
                  <a:lnTo>
                    <a:pt x="1790" y="3414"/>
                  </a:lnTo>
                  <a:lnTo>
                    <a:pt x="1792" y="3424"/>
                  </a:lnTo>
                  <a:lnTo>
                    <a:pt x="1793" y="3434"/>
                  </a:lnTo>
                  <a:lnTo>
                    <a:pt x="1792" y="3444"/>
                  </a:lnTo>
                  <a:lnTo>
                    <a:pt x="1790" y="3454"/>
                  </a:lnTo>
                  <a:lnTo>
                    <a:pt x="1782" y="3474"/>
                  </a:lnTo>
                  <a:lnTo>
                    <a:pt x="1775" y="3491"/>
                  </a:lnTo>
                  <a:lnTo>
                    <a:pt x="1765" y="3505"/>
                  </a:lnTo>
                  <a:lnTo>
                    <a:pt x="1756" y="3516"/>
                  </a:lnTo>
                  <a:lnTo>
                    <a:pt x="1747" y="3526"/>
                  </a:lnTo>
                  <a:lnTo>
                    <a:pt x="1738" y="3534"/>
                  </a:lnTo>
                  <a:lnTo>
                    <a:pt x="1727" y="3541"/>
                  </a:lnTo>
                  <a:lnTo>
                    <a:pt x="1718" y="3546"/>
                  </a:lnTo>
                  <a:lnTo>
                    <a:pt x="1697" y="3556"/>
                  </a:lnTo>
                  <a:lnTo>
                    <a:pt x="1679" y="3570"/>
                  </a:lnTo>
                  <a:lnTo>
                    <a:pt x="1669" y="3579"/>
                  </a:lnTo>
                  <a:lnTo>
                    <a:pt x="1661" y="3588"/>
                  </a:lnTo>
                  <a:lnTo>
                    <a:pt x="1652" y="3601"/>
                  </a:lnTo>
                  <a:lnTo>
                    <a:pt x="1644" y="3615"/>
                  </a:lnTo>
                  <a:lnTo>
                    <a:pt x="1641" y="3622"/>
                  </a:lnTo>
                  <a:lnTo>
                    <a:pt x="1640" y="3631"/>
                  </a:lnTo>
                  <a:lnTo>
                    <a:pt x="1639" y="3640"/>
                  </a:lnTo>
                  <a:lnTo>
                    <a:pt x="1639" y="3652"/>
                  </a:lnTo>
                  <a:lnTo>
                    <a:pt x="1637" y="3673"/>
                  </a:lnTo>
                  <a:lnTo>
                    <a:pt x="1636" y="3690"/>
                  </a:lnTo>
                  <a:lnTo>
                    <a:pt x="1633" y="3715"/>
                  </a:lnTo>
                  <a:lnTo>
                    <a:pt x="1632" y="3729"/>
                  </a:lnTo>
                  <a:lnTo>
                    <a:pt x="1633" y="3734"/>
                  </a:lnTo>
                  <a:lnTo>
                    <a:pt x="1633" y="3737"/>
                  </a:lnTo>
                  <a:lnTo>
                    <a:pt x="1636" y="3740"/>
                  </a:lnTo>
                  <a:lnTo>
                    <a:pt x="1639" y="3741"/>
                  </a:lnTo>
                  <a:lnTo>
                    <a:pt x="1646" y="3741"/>
                  </a:lnTo>
                  <a:lnTo>
                    <a:pt x="1659" y="3741"/>
                  </a:lnTo>
                  <a:lnTo>
                    <a:pt x="1667" y="3741"/>
                  </a:lnTo>
                  <a:lnTo>
                    <a:pt x="1678" y="3742"/>
                  </a:lnTo>
                  <a:lnTo>
                    <a:pt x="1688" y="3744"/>
                  </a:lnTo>
                  <a:lnTo>
                    <a:pt x="1701" y="3746"/>
                  </a:lnTo>
                  <a:lnTo>
                    <a:pt x="1716" y="3749"/>
                  </a:lnTo>
                  <a:lnTo>
                    <a:pt x="1731" y="3750"/>
                  </a:lnTo>
                  <a:lnTo>
                    <a:pt x="1747" y="3749"/>
                  </a:lnTo>
                  <a:lnTo>
                    <a:pt x="1763" y="3749"/>
                  </a:lnTo>
                  <a:lnTo>
                    <a:pt x="1777" y="3749"/>
                  </a:lnTo>
                  <a:lnTo>
                    <a:pt x="1790" y="3751"/>
                  </a:lnTo>
                  <a:lnTo>
                    <a:pt x="1796" y="3754"/>
                  </a:lnTo>
                  <a:lnTo>
                    <a:pt x="1802" y="3758"/>
                  </a:lnTo>
                  <a:lnTo>
                    <a:pt x="1806" y="3762"/>
                  </a:lnTo>
                  <a:lnTo>
                    <a:pt x="1811" y="3767"/>
                  </a:lnTo>
                  <a:lnTo>
                    <a:pt x="1823" y="3783"/>
                  </a:lnTo>
                  <a:lnTo>
                    <a:pt x="1837" y="3797"/>
                  </a:lnTo>
                  <a:lnTo>
                    <a:pt x="1852" y="3810"/>
                  </a:lnTo>
                  <a:lnTo>
                    <a:pt x="1867" y="3825"/>
                  </a:lnTo>
                  <a:lnTo>
                    <a:pt x="1883" y="3839"/>
                  </a:lnTo>
                  <a:lnTo>
                    <a:pt x="1899" y="3853"/>
                  </a:lnTo>
                  <a:lnTo>
                    <a:pt x="1913" y="3869"/>
                  </a:lnTo>
                  <a:lnTo>
                    <a:pt x="1926" y="3885"/>
                  </a:lnTo>
                  <a:lnTo>
                    <a:pt x="1932" y="3889"/>
                  </a:lnTo>
                  <a:lnTo>
                    <a:pt x="1938" y="3894"/>
                  </a:lnTo>
                  <a:lnTo>
                    <a:pt x="1947" y="3898"/>
                  </a:lnTo>
                  <a:lnTo>
                    <a:pt x="1959" y="3902"/>
                  </a:lnTo>
                  <a:lnTo>
                    <a:pt x="1984" y="3910"/>
                  </a:lnTo>
                  <a:lnTo>
                    <a:pt x="2011" y="3919"/>
                  </a:lnTo>
                  <a:lnTo>
                    <a:pt x="2023" y="3924"/>
                  </a:lnTo>
                  <a:lnTo>
                    <a:pt x="2035" y="3929"/>
                  </a:lnTo>
                  <a:lnTo>
                    <a:pt x="2044" y="3935"/>
                  </a:lnTo>
                  <a:lnTo>
                    <a:pt x="2052" y="3940"/>
                  </a:lnTo>
                  <a:lnTo>
                    <a:pt x="2054" y="3942"/>
                  </a:lnTo>
                  <a:lnTo>
                    <a:pt x="2057" y="3945"/>
                  </a:lnTo>
                  <a:lnTo>
                    <a:pt x="2058" y="3949"/>
                  </a:lnTo>
                  <a:lnTo>
                    <a:pt x="2058" y="3952"/>
                  </a:lnTo>
                  <a:lnTo>
                    <a:pt x="2058" y="3955"/>
                  </a:lnTo>
                  <a:lnTo>
                    <a:pt x="2057" y="3958"/>
                  </a:lnTo>
                  <a:lnTo>
                    <a:pt x="2054" y="3962"/>
                  </a:lnTo>
                  <a:lnTo>
                    <a:pt x="2051" y="3966"/>
                  </a:lnTo>
                  <a:lnTo>
                    <a:pt x="2048" y="3970"/>
                  </a:lnTo>
                  <a:lnTo>
                    <a:pt x="2047" y="3972"/>
                  </a:lnTo>
                  <a:lnTo>
                    <a:pt x="2047" y="3976"/>
                  </a:lnTo>
                  <a:lnTo>
                    <a:pt x="2048" y="3980"/>
                  </a:lnTo>
                  <a:lnTo>
                    <a:pt x="2052" y="3988"/>
                  </a:lnTo>
                  <a:lnTo>
                    <a:pt x="2054" y="3999"/>
                  </a:lnTo>
                  <a:lnTo>
                    <a:pt x="2053" y="4012"/>
                  </a:lnTo>
                  <a:lnTo>
                    <a:pt x="2051" y="4026"/>
                  </a:lnTo>
                  <a:lnTo>
                    <a:pt x="2047" y="4040"/>
                  </a:lnTo>
                  <a:lnTo>
                    <a:pt x="2043" y="4054"/>
                  </a:lnTo>
                  <a:lnTo>
                    <a:pt x="2041" y="4067"/>
                  </a:lnTo>
                  <a:lnTo>
                    <a:pt x="2041" y="4080"/>
                  </a:lnTo>
                  <a:lnTo>
                    <a:pt x="2043" y="4086"/>
                  </a:lnTo>
                  <a:lnTo>
                    <a:pt x="2047" y="4093"/>
                  </a:lnTo>
                  <a:lnTo>
                    <a:pt x="2051" y="4098"/>
                  </a:lnTo>
                  <a:lnTo>
                    <a:pt x="2054" y="4105"/>
                  </a:lnTo>
                  <a:lnTo>
                    <a:pt x="2073" y="4124"/>
                  </a:lnTo>
                  <a:lnTo>
                    <a:pt x="2086" y="4139"/>
                  </a:lnTo>
                  <a:lnTo>
                    <a:pt x="2094" y="4145"/>
                  </a:lnTo>
                  <a:lnTo>
                    <a:pt x="2104" y="4149"/>
                  </a:lnTo>
                  <a:lnTo>
                    <a:pt x="2117" y="4153"/>
                  </a:lnTo>
                  <a:lnTo>
                    <a:pt x="2133" y="4156"/>
                  </a:lnTo>
                  <a:lnTo>
                    <a:pt x="2138" y="4157"/>
                  </a:lnTo>
                  <a:lnTo>
                    <a:pt x="2140" y="4158"/>
                  </a:lnTo>
                  <a:lnTo>
                    <a:pt x="2140" y="4161"/>
                  </a:lnTo>
                  <a:lnTo>
                    <a:pt x="2140" y="4163"/>
                  </a:lnTo>
                  <a:lnTo>
                    <a:pt x="2141" y="4165"/>
                  </a:lnTo>
                  <a:lnTo>
                    <a:pt x="2141" y="4165"/>
                  </a:lnTo>
                  <a:lnTo>
                    <a:pt x="2142" y="4167"/>
                  </a:lnTo>
                  <a:lnTo>
                    <a:pt x="2143" y="4170"/>
                  </a:lnTo>
                  <a:lnTo>
                    <a:pt x="2149" y="4182"/>
                  </a:lnTo>
                  <a:lnTo>
                    <a:pt x="2153" y="4194"/>
                  </a:lnTo>
                  <a:lnTo>
                    <a:pt x="2155" y="4203"/>
                  </a:lnTo>
                  <a:lnTo>
                    <a:pt x="2158" y="4211"/>
                  </a:lnTo>
                  <a:lnTo>
                    <a:pt x="2160" y="4216"/>
                  </a:lnTo>
                  <a:lnTo>
                    <a:pt x="2162" y="4226"/>
                  </a:lnTo>
                  <a:lnTo>
                    <a:pt x="2164" y="4235"/>
                  </a:lnTo>
                  <a:lnTo>
                    <a:pt x="2164" y="4243"/>
                  </a:lnTo>
                  <a:lnTo>
                    <a:pt x="2163" y="4248"/>
                  </a:lnTo>
                  <a:lnTo>
                    <a:pt x="2162" y="4254"/>
                  </a:lnTo>
                  <a:lnTo>
                    <a:pt x="2162" y="4256"/>
                  </a:lnTo>
                  <a:lnTo>
                    <a:pt x="2160" y="4258"/>
                  </a:lnTo>
                  <a:lnTo>
                    <a:pt x="2159" y="4259"/>
                  </a:lnTo>
                  <a:lnTo>
                    <a:pt x="2159" y="4260"/>
                  </a:lnTo>
                  <a:lnTo>
                    <a:pt x="2159" y="4268"/>
                  </a:lnTo>
                  <a:lnTo>
                    <a:pt x="2159" y="4276"/>
                  </a:lnTo>
                  <a:lnTo>
                    <a:pt x="2160" y="4280"/>
                  </a:lnTo>
                  <a:lnTo>
                    <a:pt x="2162" y="4282"/>
                  </a:lnTo>
                  <a:lnTo>
                    <a:pt x="2164" y="4285"/>
                  </a:lnTo>
                  <a:lnTo>
                    <a:pt x="2168" y="4289"/>
                  </a:lnTo>
                  <a:lnTo>
                    <a:pt x="2171" y="4292"/>
                  </a:lnTo>
                  <a:lnTo>
                    <a:pt x="2174" y="4296"/>
                  </a:lnTo>
                  <a:lnTo>
                    <a:pt x="2176" y="4297"/>
                  </a:lnTo>
                  <a:lnTo>
                    <a:pt x="2176" y="4298"/>
                  </a:lnTo>
                  <a:lnTo>
                    <a:pt x="2176" y="4299"/>
                  </a:lnTo>
                  <a:lnTo>
                    <a:pt x="2177" y="4301"/>
                  </a:lnTo>
                  <a:lnTo>
                    <a:pt x="2179" y="4303"/>
                  </a:lnTo>
                  <a:lnTo>
                    <a:pt x="2181" y="4307"/>
                  </a:lnTo>
                  <a:lnTo>
                    <a:pt x="2184" y="4311"/>
                  </a:lnTo>
                  <a:lnTo>
                    <a:pt x="2188" y="4319"/>
                  </a:lnTo>
                  <a:lnTo>
                    <a:pt x="2192" y="4328"/>
                  </a:lnTo>
                  <a:lnTo>
                    <a:pt x="2193" y="4339"/>
                  </a:lnTo>
                  <a:lnTo>
                    <a:pt x="2196" y="4348"/>
                  </a:lnTo>
                  <a:lnTo>
                    <a:pt x="2197" y="4360"/>
                  </a:lnTo>
                  <a:lnTo>
                    <a:pt x="2200" y="4383"/>
                  </a:lnTo>
                  <a:lnTo>
                    <a:pt x="2201" y="4407"/>
                  </a:lnTo>
                  <a:lnTo>
                    <a:pt x="2204" y="4421"/>
                  </a:lnTo>
                  <a:lnTo>
                    <a:pt x="2205" y="4421"/>
                  </a:lnTo>
                  <a:lnTo>
                    <a:pt x="2206" y="4421"/>
                  </a:lnTo>
                  <a:lnTo>
                    <a:pt x="2206" y="4424"/>
                  </a:lnTo>
                  <a:lnTo>
                    <a:pt x="2208" y="4424"/>
                  </a:lnTo>
                  <a:lnTo>
                    <a:pt x="2210" y="4425"/>
                  </a:lnTo>
                  <a:lnTo>
                    <a:pt x="2211" y="4426"/>
                  </a:lnTo>
                  <a:lnTo>
                    <a:pt x="2222" y="4429"/>
                  </a:lnTo>
                  <a:lnTo>
                    <a:pt x="2232" y="4432"/>
                  </a:lnTo>
                  <a:lnTo>
                    <a:pt x="2234" y="4433"/>
                  </a:lnTo>
                  <a:lnTo>
                    <a:pt x="2236" y="4434"/>
                  </a:lnTo>
                  <a:lnTo>
                    <a:pt x="2239" y="4434"/>
                  </a:lnTo>
                  <a:lnTo>
                    <a:pt x="2239" y="4434"/>
                  </a:lnTo>
                  <a:lnTo>
                    <a:pt x="2240" y="4435"/>
                  </a:lnTo>
                  <a:lnTo>
                    <a:pt x="2242" y="4438"/>
                  </a:lnTo>
                  <a:lnTo>
                    <a:pt x="2244" y="4441"/>
                  </a:lnTo>
                  <a:lnTo>
                    <a:pt x="2247" y="4443"/>
                  </a:lnTo>
                  <a:lnTo>
                    <a:pt x="2248" y="4445"/>
                  </a:lnTo>
                  <a:lnTo>
                    <a:pt x="2248" y="4446"/>
                  </a:lnTo>
                  <a:lnTo>
                    <a:pt x="2249" y="4447"/>
                  </a:lnTo>
                  <a:lnTo>
                    <a:pt x="2251" y="4451"/>
                  </a:lnTo>
                  <a:lnTo>
                    <a:pt x="2251" y="4454"/>
                  </a:lnTo>
                  <a:lnTo>
                    <a:pt x="2248" y="4456"/>
                  </a:lnTo>
                  <a:lnTo>
                    <a:pt x="2247" y="4458"/>
                  </a:lnTo>
                  <a:lnTo>
                    <a:pt x="2247" y="4459"/>
                  </a:lnTo>
                  <a:lnTo>
                    <a:pt x="2245" y="4460"/>
                  </a:lnTo>
                  <a:lnTo>
                    <a:pt x="2245" y="4460"/>
                  </a:lnTo>
                  <a:lnTo>
                    <a:pt x="2243" y="4462"/>
                  </a:lnTo>
                  <a:lnTo>
                    <a:pt x="2242" y="4463"/>
                  </a:lnTo>
                  <a:lnTo>
                    <a:pt x="2228" y="4472"/>
                  </a:lnTo>
                  <a:lnTo>
                    <a:pt x="2215" y="4479"/>
                  </a:lnTo>
                  <a:lnTo>
                    <a:pt x="2198" y="4493"/>
                  </a:lnTo>
                  <a:lnTo>
                    <a:pt x="2183" y="4509"/>
                  </a:lnTo>
                  <a:lnTo>
                    <a:pt x="2170" y="4526"/>
                  </a:lnTo>
                  <a:lnTo>
                    <a:pt x="2158" y="4543"/>
                  </a:lnTo>
                  <a:lnTo>
                    <a:pt x="2147" y="4561"/>
                  </a:lnTo>
                  <a:lnTo>
                    <a:pt x="2140" y="4579"/>
                  </a:lnTo>
                  <a:lnTo>
                    <a:pt x="2134" y="4596"/>
                  </a:lnTo>
                  <a:lnTo>
                    <a:pt x="2130" y="4611"/>
                  </a:lnTo>
                  <a:lnTo>
                    <a:pt x="2130" y="4617"/>
                  </a:lnTo>
                  <a:lnTo>
                    <a:pt x="2132" y="4624"/>
                  </a:lnTo>
                  <a:lnTo>
                    <a:pt x="2133" y="4629"/>
                  </a:lnTo>
                  <a:lnTo>
                    <a:pt x="2134" y="4633"/>
                  </a:lnTo>
                  <a:lnTo>
                    <a:pt x="2138" y="4637"/>
                  </a:lnTo>
                  <a:lnTo>
                    <a:pt x="2142" y="4640"/>
                  </a:lnTo>
                  <a:lnTo>
                    <a:pt x="2147" y="4642"/>
                  </a:lnTo>
                  <a:lnTo>
                    <a:pt x="2153" y="4642"/>
                  </a:lnTo>
                  <a:lnTo>
                    <a:pt x="2159" y="4642"/>
                  </a:lnTo>
                  <a:lnTo>
                    <a:pt x="2167" y="4640"/>
                  </a:lnTo>
                  <a:lnTo>
                    <a:pt x="2176" y="4637"/>
                  </a:lnTo>
                  <a:lnTo>
                    <a:pt x="2187" y="4632"/>
                  </a:lnTo>
                  <a:lnTo>
                    <a:pt x="2198" y="4626"/>
                  </a:lnTo>
                  <a:lnTo>
                    <a:pt x="2210" y="4619"/>
                  </a:lnTo>
                  <a:lnTo>
                    <a:pt x="2223" y="4609"/>
                  </a:lnTo>
                  <a:lnTo>
                    <a:pt x="2239" y="4598"/>
                  </a:lnTo>
                  <a:lnTo>
                    <a:pt x="2249" y="4590"/>
                  </a:lnTo>
                  <a:lnTo>
                    <a:pt x="2259" y="4586"/>
                  </a:lnTo>
                  <a:lnTo>
                    <a:pt x="2266" y="4582"/>
                  </a:lnTo>
                  <a:lnTo>
                    <a:pt x="2273" y="4582"/>
                  </a:lnTo>
                  <a:lnTo>
                    <a:pt x="2278" y="4582"/>
                  </a:lnTo>
                  <a:lnTo>
                    <a:pt x="2283" y="4585"/>
                  </a:lnTo>
                  <a:lnTo>
                    <a:pt x="2287" y="4589"/>
                  </a:lnTo>
                  <a:lnTo>
                    <a:pt x="2290" y="4592"/>
                  </a:lnTo>
                  <a:lnTo>
                    <a:pt x="2295" y="4603"/>
                  </a:lnTo>
                  <a:lnTo>
                    <a:pt x="2300" y="4613"/>
                  </a:lnTo>
                  <a:lnTo>
                    <a:pt x="2304" y="4619"/>
                  </a:lnTo>
                  <a:lnTo>
                    <a:pt x="2308" y="4623"/>
                  </a:lnTo>
                  <a:lnTo>
                    <a:pt x="2312" y="4626"/>
                  </a:lnTo>
                  <a:lnTo>
                    <a:pt x="2317" y="4629"/>
                  </a:lnTo>
                  <a:lnTo>
                    <a:pt x="2327" y="4630"/>
                  </a:lnTo>
                  <a:lnTo>
                    <a:pt x="2336" y="4629"/>
                  </a:lnTo>
                  <a:lnTo>
                    <a:pt x="2347" y="4629"/>
                  </a:lnTo>
                  <a:lnTo>
                    <a:pt x="2359" y="4626"/>
                  </a:lnTo>
                  <a:lnTo>
                    <a:pt x="2383" y="4621"/>
                  </a:lnTo>
                  <a:lnTo>
                    <a:pt x="2406" y="4619"/>
                  </a:lnTo>
                  <a:lnTo>
                    <a:pt x="2417" y="4617"/>
                  </a:lnTo>
                  <a:lnTo>
                    <a:pt x="2427" y="4619"/>
                  </a:lnTo>
                  <a:lnTo>
                    <a:pt x="2435" y="4621"/>
                  </a:lnTo>
                  <a:lnTo>
                    <a:pt x="2442" y="4625"/>
                  </a:lnTo>
                  <a:lnTo>
                    <a:pt x="2444" y="4629"/>
                  </a:lnTo>
                  <a:lnTo>
                    <a:pt x="2446" y="4633"/>
                  </a:lnTo>
                  <a:lnTo>
                    <a:pt x="2447" y="4637"/>
                  </a:lnTo>
                  <a:lnTo>
                    <a:pt x="2448" y="4642"/>
                  </a:lnTo>
                  <a:lnTo>
                    <a:pt x="2448" y="4655"/>
                  </a:lnTo>
                  <a:lnTo>
                    <a:pt x="2444" y="4671"/>
                  </a:lnTo>
                  <a:lnTo>
                    <a:pt x="2444" y="4679"/>
                  </a:lnTo>
                  <a:lnTo>
                    <a:pt x="2444" y="4685"/>
                  </a:lnTo>
                  <a:lnTo>
                    <a:pt x="2448" y="4692"/>
                  </a:lnTo>
                  <a:lnTo>
                    <a:pt x="2452" y="4697"/>
                  </a:lnTo>
                  <a:lnTo>
                    <a:pt x="2457" y="4702"/>
                  </a:lnTo>
                  <a:lnTo>
                    <a:pt x="2465" y="4706"/>
                  </a:lnTo>
                  <a:lnTo>
                    <a:pt x="2473" y="4710"/>
                  </a:lnTo>
                  <a:lnTo>
                    <a:pt x="2481" y="4713"/>
                  </a:lnTo>
                  <a:lnTo>
                    <a:pt x="2501" y="4717"/>
                  </a:lnTo>
                  <a:lnTo>
                    <a:pt x="2519" y="4718"/>
                  </a:lnTo>
                  <a:lnTo>
                    <a:pt x="2528" y="4718"/>
                  </a:lnTo>
                  <a:lnTo>
                    <a:pt x="2536" y="4717"/>
                  </a:lnTo>
                  <a:lnTo>
                    <a:pt x="2544" y="4715"/>
                  </a:lnTo>
                  <a:lnTo>
                    <a:pt x="2550" y="4714"/>
                  </a:lnTo>
                  <a:lnTo>
                    <a:pt x="2571" y="4708"/>
                  </a:lnTo>
                  <a:lnTo>
                    <a:pt x="2587" y="4705"/>
                  </a:lnTo>
                  <a:lnTo>
                    <a:pt x="2597" y="4704"/>
                  </a:lnTo>
                  <a:lnTo>
                    <a:pt x="2605" y="4702"/>
                  </a:lnTo>
                  <a:lnTo>
                    <a:pt x="2608" y="4700"/>
                  </a:lnTo>
                  <a:lnTo>
                    <a:pt x="2610" y="4697"/>
                  </a:lnTo>
                  <a:lnTo>
                    <a:pt x="2612" y="4693"/>
                  </a:lnTo>
                  <a:lnTo>
                    <a:pt x="2613" y="4688"/>
                  </a:lnTo>
                  <a:lnTo>
                    <a:pt x="2616" y="4671"/>
                  </a:lnTo>
                  <a:lnTo>
                    <a:pt x="2618" y="4645"/>
                  </a:lnTo>
                  <a:lnTo>
                    <a:pt x="2620" y="4630"/>
                  </a:lnTo>
                  <a:lnTo>
                    <a:pt x="2622" y="4617"/>
                  </a:lnTo>
                  <a:lnTo>
                    <a:pt x="2626" y="4606"/>
                  </a:lnTo>
                  <a:lnTo>
                    <a:pt x="2630" y="4595"/>
                  </a:lnTo>
                  <a:lnTo>
                    <a:pt x="2640" y="4577"/>
                  </a:lnTo>
                  <a:lnTo>
                    <a:pt x="2651" y="4558"/>
                  </a:lnTo>
                  <a:lnTo>
                    <a:pt x="2661" y="4539"/>
                  </a:lnTo>
                  <a:lnTo>
                    <a:pt x="2671" y="4519"/>
                  </a:lnTo>
                  <a:lnTo>
                    <a:pt x="2674" y="4507"/>
                  </a:lnTo>
                  <a:lnTo>
                    <a:pt x="2677" y="4494"/>
                  </a:lnTo>
                  <a:lnTo>
                    <a:pt x="2678" y="4480"/>
                  </a:lnTo>
                  <a:lnTo>
                    <a:pt x="2680" y="4464"/>
                  </a:lnTo>
                  <a:lnTo>
                    <a:pt x="2681" y="4453"/>
                  </a:lnTo>
                  <a:lnTo>
                    <a:pt x="2684" y="4441"/>
                  </a:lnTo>
                  <a:lnTo>
                    <a:pt x="2689" y="4429"/>
                  </a:lnTo>
                  <a:lnTo>
                    <a:pt x="2695" y="4420"/>
                  </a:lnTo>
                  <a:lnTo>
                    <a:pt x="2703" y="4411"/>
                  </a:lnTo>
                  <a:lnTo>
                    <a:pt x="2712" y="4401"/>
                  </a:lnTo>
                  <a:lnTo>
                    <a:pt x="2723" y="4394"/>
                  </a:lnTo>
                  <a:lnTo>
                    <a:pt x="2732" y="4386"/>
                  </a:lnTo>
                  <a:lnTo>
                    <a:pt x="2753" y="4370"/>
                  </a:lnTo>
                  <a:lnTo>
                    <a:pt x="2773" y="4354"/>
                  </a:lnTo>
                  <a:lnTo>
                    <a:pt x="2782" y="4347"/>
                  </a:lnTo>
                  <a:lnTo>
                    <a:pt x="2790" y="4337"/>
                  </a:lnTo>
                  <a:lnTo>
                    <a:pt x="2795" y="4328"/>
                  </a:lnTo>
                  <a:lnTo>
                    <a:pt x="2800" y="4318"/>
                  </a:lnTo>
                  <a:lnTo>
                    <a:pt x="2805" y="4305"/>
                  </a:lnTo>
                  <a:lnTo>
                    <a:pt x="2813" y="4293"/>
                  </a:lnTo>
                  <a:lnTo>
                    <a:pt x="2820" y="4282"/>
                  </a:lnTo>
                  <a:lnTo>
                    <a:pt x="2826" y="4275"/>
                  </a:lnTo>
                  <a:lnTo>
                    <a:pt x="2828" y="4269"/>
                  </a:lnTo>
                  <a:lnTo>
                    <a:pt x="2829" y="4265"/>
                  </a:lnTo>
                  <a:lnTo>
                    <a:pt x="2829" y="4262"/>
                  </a:lnTo>
                  <a:lnTo>
                    <a:pt x="2828" y="4258"/>
                  </a:lnTo>
                  <a:lnTo>
                    <a:pt x="2825" y="4254"/>
                  </a:lnTo>
                  <a:lnTo>
                    <a:pt x="2821" y="4250"/>
                  </a:lnTo>
                  <a:lnTo>
                    <a:pt x="2816" y="4246"/>
                  </a:lnTo>
                  <a:lnTo>
                    <a:pt x="2808" y="4242"/>
                  </a:lnTo>
                  <a:lnTo>
                    <a:pt x="2799" y="4235"/>
                  </a:lnTo>
                  <a:lnTo>
                    <a:pt x="2783" y="4222"/>
                  </a:lnTo>
                  <a:lnTo>
                    <a:pt x="2765" y="4204"/>
                  </a:lnTo>
                  <a:lnTo>
                    <a:pt x="2744" y="4184"/>
                  </a:lnTo>
                  <a:lnTo>
                    <a:pt x="2724" y="4163"/>
                  </a:lnTo>
                  <a:lnTo>
                    <a:pt x="2706" y="4145"/>
                  </a:lnTo>
                  <a:lnTo>
                    <a:pt x="2691" y="4129"/>
                  </a:lnTo>
                  <a:lnTo>
                    <a:pt x="2684" y="4119"/>
                  </a:lnTo>
                  <a:lnTo>
                    <a:pt x="2681" y="4115"/>
                  </a:lnTo>
                  <a:lnTo>
                    <a:pt x="2676" y="4111"/>
                  </a:lnTo>
                  <a:lnTo>
                    <a:pt x="2671" y="4107"/>
                  </a:lnTo>
                  <a:lnTo>
                    <a:pt x="2664" y="4105"/>
                  </a:lnTo>
                  <a:lnTo>
                    <a:pt x="2650" y="4101"/>
                  </a:lnTo>
                  <a:lnTo>
                    <a:pt x="2634" y="4097"/>
                  </a:lnTo>
                  <a:lnTo>
                    <a:pt x="2600" y="4094"/>
                  </a:lnTo>
                  <a:lnTo>
                    <a:pt x="2570" y="4094"/>
                  </a:lnTo>
                  <a:lnTo>
                    <a:pt x="2567" y="4084"/>
                  </a:lnTo>
                  <a:lnTo>
                    <a:pt x="2562" y="4061"/>
                  </a:lnTo>
                  <a:lnTo>
                    <a:pt x="2558" y="4048"/>
                  </a:lnTo>
                  <a:lnTo>
                    <a:pt x="2552" y="4035"/>
                  </a:lnTo>
                  <a:lnTo>
                    <a:pt x="2549" y="4029"/>
                  </a:lnTo>
                  <a:lnTo>
                    <a:pt x="2545" y="4023"/>
                  </a:lnTo>
                  <a:lnTo>
                    <a:pt x="2541" y="4020"/>
                  </a:lnTo>
                  <a:lnTo>
                    <a:pt x="2537" y="4016"/>
                  </a:lnTo>
                  <a:lnTo>
                    <a:pt x="2532" y="4009"/>
                  </a:lnTo>
                  <a:lnTo>
                    <a:pt x="2529" y="4003"/>
                  </a:lnTo>
                  <a:lnTo>
                    <a:pt x="2528" y="3995"/>
                  </a:lnTo>
                  <a:lnTo>
                    <a:pt x="2528" y="3987"/>
                  </a:lnTo>
                  <a:lnTo>
                    <a:pt x="2532" y="3970"/>
                  </a:lnTo>
                  <a:lnTo>
                    <a:pt x="2537" y="3952"/>
                  </a:lnTo>
                  <a:lnTo>
                    <a:pt x="2538" y="3942"/>
                  </a:lnTo>
                  <a:lnTo>
                    <a:pt x="2540" y="3933"/>
                  </a:lnTo>
                  <a:lnTo>
                    <a:pt x="2538" y="3925"/>
                  </a:lnTo>
                  <a:lnTo>
                    <a:pt x="2537" y="3917"/>
                  </a:lnTo>
                  <a:lnTo>
                    <a:pt x="2532" y="3910"/>
                  </a:lnTo>
                  <a:lnTo>
                    <a:pt x="2524" y="3903"/>
                  </a:lnTo>
                  <a:lnTo>
                    <a:pt x="2514" y="3898"/>
                  </a:lnTo>
                  <a:lnTo>
                    <a:pt x="2499" y="3894"/>
                  </a:lnTo>
                  <a:lnTo>
                    <a:pt x="2487" y="3890"/>
                  </a:lnTo>
                  <a:lnTo>
                    <a:pt x="2478" y="3886"/>
                  </a:lnTo>
                  <a:lnTo>
                    <a:pt x="2472" y="3881"/>
                  </a:lnTo>
                  <a:lnTo>
                    <a:pt x="2467" y="3874"/>
                  </a:lnTo>
                  <a:lnTo>
                    <a:pt x="2464" y="3868"/>
                  </a:lnTo>
                  <a:lnTo>
                    <a:pt x="2463" y="3860"/>
                  </a:lnTo>
                  <a:lnTo>
                    <a:pt x="2464" y="3853"/>
                  </a:lnTo>
                  <a:lnTo>
                    <a:pt x="2465" y="3846"/>
                  </a:lnTo>
                  <a:lnTo>
                    <a:pt x="2468" y="3836"/>
                  </a:lnTo>
                  <a:lnTo>
                    <a:pt x="2473" y="3829"/>
                  </a:lnTo>
                  <a:lnTo>
                    <a:pt x="2478" y="3821"/>
                  </a:lnTo>
                  <a:lnTo>
                    <a:pt x="2484" y="3813"/>
                  </a:lnTo>
                  <a:lnTo>
                    <a:pt x="2497" y="3797"/>
                  </a:lnTo>
                  <a:lnTo>
                    <a:pt x="2511" y="3783"/>
                  </a:lnTo>
                  <a:lnTo>
                    <a:pt x="2521" y="3772"/>
                  </a:lnTo>
                  <a:lnTo>
                    <a:pt x="2532" y="3763"/>
                  </a:lnTo>
                  <a:lnTo>
                    <a:pt x="2541" y="3753"/>
                  </a:lnTo>
                  <a:lnTo>
                    <a:pt x="2550" y="3742"/>
                  </a:lnTo>
                  <a:lnTo>
                    <a:pt x="2567" y="3724"/>
                  </a:lnTo>
                  <a:lnTo>
                    <a:pt x="2578" y="3711"/>
                  </a:lnTo>
                  <a:lnTo>
                    <a:pt x="2579" y="3703"/>
                  </a:lnTo>
                  <a:lnTo>
                    <a:pt x="2579" y="3694"/>
                  </a:lnTo>
                  <a:lnTo>
                    <a:pt x="2576" y="3682"/>
                  </a:lnTo>
                  <a:lnTo>
                    <a:pt x="2570" y="3668"/>
                  </a:lnTo>
                  <a:lnTo>
                    <a:pt x="2567" y="3662"/>
                  </a:lnTo>
                  <a:lnTo>
                    <a:pt x="2566" y="3656"/>
                  </a:lnTo>
                  <a:lnTo>
                    <a:pt x="2566" y="3651"/>
                  </a:lnTo>
                  <a:lnTo>
                    <a:pt x="2566" y="3644"/>
                  </a:lnTo>
                  <a:lnTo>
                    <a:pt x="2570" y="3634"/>
                  </a:lnTo>
                  <a:lnTo>
                    <a:pt x="2574" y="3622"/>
                  </a:lnTo>
                  <a:lnTo>
                    <a:pt x="2578" y="3613"/>
                  </a:lnTo>
                  <a:lnTo>
                    <a:pt x="2580" y="3602"/>
                  </a:lnTo>
                  <a:lnTo>
                    <a:pt x="2580" y="3598"/>
                  </a:lnTo>
                  <a:lnTo>
                    <a:pt x="2579" y="3593"/>
                  </a:lnTo>
                  <a:lnTo>
                    <a:pt x="2578" y="3589"/>
                  </a:lnTo>
                  <a:lnTo>
                    <a:pt x="2574" y="3585"/>
                  </a:lnTo>
                  <a:lnTo>
                    <a:pt x="2558" y="3571"/>
                  </a:lnTo>
                  <a:lnTo>
                    <a:pt x="2545" y="3556"/>
                  </a:lnTo>
                  <a:lnTo>
                    <a:pt x="2535" y="3541"/>
                  </a:lnTo>
                  <a:lnTo>
                    <a:pt x="2525" y="3526"/>
                  </a:lnTo>
                  <a:lnTo>
                    <a:pt x="2519" y="3512"/>
                  </a:lnTo>
                  <a:lnTo>
                    <a:pt x="2515" y="3496"/>
                  </a:lnTo>
                  <a:lnTo>
                    <a:pt x="2514" y="3482"/>
                  </a:lnTo>
                  <a:lnTo>
                    <a:pt x="2514" y="3468"/>
                  </a:lnTo>
                  <a:lnTo>
                    <a:pt x="2516" y="3454"/>
                  </a:lnTo>
                  <a:lnTo>
                    <a:pt x="2521" y="3440"/>
                  </a:lnTo>
                  <a:lnTo>
                    <a:pt x="2529" y="3427"/>
                  </a:lnTo>
                  <a:lnTo>
                    <a:pt x="2538" y="3415"/>
                  </a:lnTo>
                  <a:lnTo>
                    <a:pt x="2550" y="3403"/>
                  </a:lnTo>
                  <a:lnTo>
                    <a:pt x="2563" y="3392"/>
                  </a:lnTo>
                  <a:lnTo>
                    <a:pt x="2580" y="3380"/>
                  </a:lnTo>
                  <a:lnTo>
                    <a:pt x="2599" y="3371"/>
                  </a:lnTo>
                  <a:lnTo>
                    <a:pt x="2613" y="3363"/>
                  </a:lnTo>
                  <a:lnTo>
                    <a:pt x="2633" y="3351"/>
                  </a:lnTo>
                  <a:lnTo>
                    <a:pt x="2642" y="3345"/>
                  </a:lnTo>
                  <a:lnTo>
                    <a:pt x="2650" y="3338"/>
                  </a:lnTo>
                  <a:lnTo>
                    <a:pt x="2656" y="3331"/>
                  </a:lnTo>
                  <a:lnTo>
                    <a:pt x="2659" y="3326"/>
                  </a:lnTo>
                  <a:lnTo>
                    <a:pt x="2673" y="3324"/>
                  </a:lnTo>
                  <a:lnTo>
                    <a:pt x="2702" y="3320"/>
                  </a:lnTo>
                  <a:lnTo>
                    <a:pt x="2736" y="3316"/>
                  </a:lnTo>
                  <a:lnTo>
                    <a:pt x="2762" y="3312"/>
                  </a:lnTo>
                  <a:lnTo>
                    <a:pt x="2769" y="3307"/>
                  </a:lnTo>
                  <a:lnTo>
                    <a:pt x="2777" y="3299"/>
                  </a:lnTo>
                  <a:lnTo>
                    <a:pt x="2786" y="3286"/>
                  </a:lnTo>
                  <a:lnTo>
                    <a:pt x="2796" y="3270"/>
                  </a:lnTo>
                  <a:lnTo>
                    <a:pt x="2807" y="3254"/>
                  </a:lnTo>
                  <a:lnTo>
                    <a:pt x="2816" y="3239"/>
                  </a:lnTo>
                  <a:lnTo>
                    <a:pt x="2822" y="3223"/>
                  </a:lnTo>
                  <a:lnTo>
                    <a:pt x="2828" y="3211"/>
                  </a:lnTo>
                  <a:lnTo>
                    <a:pt x="2831" y="3195"/>
                  </a:lnTo>
                  <a:lnTo>
                    <a:pt x="2833" y="3181"/>
                  </a:lnTo>
                  <a:lnTo>
                    <a:pt x="2833" y="3168"/>
                  </a:lnTo>
                  <a:lnTo>
                    <a:pt x="2831" y="3156"/>
                  </a:lnTo>
                  <a:lnTo>
                    <a:pt x="2828" y="3144"/>
                  </a:lnTo>
                  <a:lnTo>
                    <a:pt x="2824" y="3133"/>
                  </a:lnTo>
                  <a:lnTo>
                    <a:pt x="2817" y="3121"/>
                  </a:lnTo>
                  <a:lnTo>
                    <a:pt x="2812" y="3110"/>
                  </a:lnTo>
                  <a:lnTo>
                    <a:pt x="2799" y="3089"/>
                  </a:lnTo>
                  <a:lnTo>
                    <a:pt x="2786" y="3066"/>
                  </a:lnTo>
                  <a:lnTo>
                    <a:pt x="2780" y="3054"/>
                  </a:lnTo>
                  <a:lnTo>
                    <a:pt x="2777" y="3040"/>
                  </a:lnTo>
                  <a:lnTo>
                    <a:pt x="2773" y="3027"/>
                  </a:lnTo>
                  <a:lnTo>
                    <a:pt x="2771" y="3011"/>
                  </a:lnTo>
                  <a:lnTo>
                    <a:pt x="2771" y="3002"/>
                  </a:lnTo>
                  <a:lnTo>
                    <a:pt x="2774" y="2993"/>
                  </a:lnTo>
                  <a:lnTo>
                    <a:pt x="2778" y="2986"/>
                  </a:lnTo>
                  <a:lnTo>
                    <a:pt x="2783" y="2980"/>
                  </a:lnTo>
                  <a:lnTo>
                    <a:pt x="2790" y="2976"/>
                  </a:lnTo>
                  <a:lnTo>
                    <a:pt x="2796" y="2970"/>
                  </a:lnTo>
                  <a:lnTo>
                    <a:pt x="2805" y="2967"/>
                  </a:lnTo>
                  <a:lnTo>
                    <a:pt x="2813" y="2964"/>
                  </a:lnTo>
                  <a:lnTo>
                    <a:pt x="2833" y="2957"/>
                  </a:lnTo>
                  <a:lnTo>
                    <a:pt x="2851" y="2951"/>
                  </a:lnTo>
                  <a:lnTo>
                    <a:pt x="2859" y="2947"/>
                  </a:lnTo>
                  <a:lnTo>
                    <a:pt x="2867" y="2942"/>
                  </a:lnTo>
                  <a:lnTo>
                    <a:pt x="2875" y="2936"/>
                  </a:lnTo>
                  <a:lnTo>
                    <a:pt x="2880" y="2931"/>
                  </a:lnTo>
                  <a:lnTo>
                    <a:pt x="2885" y="2925"/>
                  </a:lnTo>
                  <a:lnTo>
                    <a:pt x="2892" y="2919"/>
                  </a:lnTo>
                  <a:lnTo>
                    <a:pt x="2898" y="2914"/>
                  </a:lnTo>
                  <a:lnTo>
                    <a:pt x="2903" y="2912"/>
                  </a:lnTo>
                  <a:lnTo>
                    <a:pt x="2916" y="2906"/>
                  </a:lnTo>
                  <a:lnTo>
                    <a:pt x="2930" y="2902"/>
                  </a:lnTo>
                  <a:lnTo>
                    <a:pt x="2941" y="2897"/>
                  </a:lnTo>
                  <a:lnTo>
                    <a:pt x="2953" y="2889"/>
                  </a:lnTo>
                  <a:lnTo>
                    <a:pt x="2958" y="2885"/>
                  </a:lnTo>
                  <a:lnTo>
                    <a:pt x="2962" y="2879"/>
                  </a:lnTo>
                  <a:lnTo>
                    <a:pt x="2967" y="2871"/>
                  </a:lnTo>
                  <a:lnTo>
                    <a:pt x="2971" y="2862"/>
                  </a:lnTo>
                  <a:lnTo>
                    <a:pt x="2977" y="2851"/>
                  </a:lnTo>
                  <a:lnTo>
                    <a:pt x="2983" y="2841"/>
                  </a:lnTo>
                  <a:lnTo>
                    <a:pt x="2990" y="2830"/>
                  </a:lnTo>
                  <a:lnTo>
                    <a:pt x="2998" y="2820"/>
                  </a:lnTo>
                  <a:lnTo>
                    <a:pt x="3016" y="2802"/>
                  </a:lnTo>
                  <a:lnTo>
                    <a:pt x="3035" y="2785"/>
                  </a:lnTo>
                  <a:lnTo>
                    <a:pt x="3055" y="2768"/>
                  </a:lnTo>
                  <a:lnTo>
                    <a:pt x="3075" y="2751"/>
                  </a:lnTo>
                  <a:lnTo>
                    <a:pt x="3094" y="2735"/>
                  </a:lnTo>
                  <a:lnTo>
                    <a:pt x="3111" y="2717"/>
                  </a:lnTo>
                  <a:lnTo>
                    <a:pt x="3115" y="2713"/>
                  </a:lnTo>
                  <a:lnTo>
                    <a:pt x="3121" y="2709"/>
                  </a:lnTo>
                  <a:lnTo>
                    <a:pt x="3111" y="2701"/>
                  </a:lnTo>
                  <a:lnTo>
                    <a:pt x="3110" y="2700"/>
                  </a:lnTo>
                  <a:lnTo>
                    <a:pt x="3110" y="2700"/>
                  </a:lnTo>
                  <a:lnTo>
                    <a:pt x="3109" y="2698"/>
                  </a:lnTo>
                  <a:lnTo>
                    <a:pt x="3107" y="2698"/>
                  </a:lnTo>
                  <a:lnTo>
                    <a:pt x="3105" y="2696"/>
                  </a:lnTo>
                  <a:lnTo>
                    <a:pt x="3104" y="2694"/>
                  </a:lnTo>
                  <a:lnTo>
                    <a:pt x="3102" y="2694"/>
                  </a:lnTo>
                  <a:lnTo>
                    <a:pt x="3101" y="2693"/>
                  </a:lnTo>
                  <a:lnTo>
                    <a:pt x="3101" y="2693"/>
                  </a:lnTo>
                  <a:lnTo>
                    <a:pt x="3101" y="2692"/>
                  </a:lnTo>
                  <a:lnTo>
                    <a:pt x="3097" y="2689"/>
                  </a:lnTo>
                  <a:lnTo>
                    <a:pt x="3093" y="2687"/>
                  </a:lnTo>
                  <a:lnTo>
                    <a:pt x="3076" y="2681"/>
                  </a:lnTo>
                  <a:lnTo>
                    <a:pt x="3070" y="2680"/>
                  </a:lnTo>
                  <a:lnTo>
                    <a:pt x="3064" y="2679"/>
                  </a:lnTo>
                  <a:lnTo>
                    <a:pt x="3062" y="2676"/>
                  </a:lnTo>
                  <a:lnTo>
                    <a:pt x="3058" y="2674"/>
                  </a:lnTo>
                  <a:lnTo>
                    <a:pt x="3058" y="2672"/>
                  </a:lnTo>
                  <a:lnTo>
                    <a:pt x="3056" y="2671"/>
                  </a:lnTo>
                  <a:lnTo>
                    <a:pt x="3056" y="2670"/>
                  </a:lnTo>
                  <a:lnTo>
                    <a:pt x="3055" y="2668"/>
                  </a:lnTo>
                  <a:lnTo>
                    <a:pt x="3054" y="2666"/>
                  </a:lnTo>
                  <a:lnTo>
                    <a:pt x="3054" y="2664"/>
                  </a:lnTo>
                  <a:lnTo>
                    <a:pt x="3050" y="2660"/>
                  </a:lnTo>
                  <a:lnTo>
                    <a:pt x="3046" y="2655"/>
                  </a:lnTo>
                  <a:lnTo>
                    <a:pt x="3045" y="2654"/>
                  </a:lnTo>
                  <a:lnTo>
                    <a:pt x="3045" y="2653"/>
                  </a:lnTo>
                  <a:lnTo>
                    <a:pt x="3037" y="2647"/>
                  </a:lnTo>
                  <a:lnTo>
                    <a:pt x="3032" y="2643"/>
                  </a:lnTo>
                  <a:lnTo>
                    <a:pt x="3030" y="2642"/>
                  </a:lnTo>
                  <a:lnTo>
                    <a:pt x="3028" y="2641"/>
                  </a:lnTo>
                  <a:lnTo>
                    <a:pt x="3026" y="2640"/>
                  </a:lnTo>
                  <a:lnTo>
                    <a:pt x="3025" y="2638"/>
                  </a:lnTo>
                  <a:lnTo>
                    <a:pt x="3021" y="2637"/>
                  </a:lnTo>
                  <a:lnTo>
                    <a:pt x="3018" y="2634"/>
                  </a:lnTo>
                  <a:lnTo>
                    <a:pt x="3015" y="2633"/>
                  </a:lnTo>
                  <a:lnTo>
                    <a:pt x="3012" y="2630"/>
                  </a:lnTo>
                  <a:lnTo>
                    <a:pt x="3011" y="2629"/>
                  </a:lnTo>
                  <a:lnTo>
                    <a:pt x="3009" y="2629"/>
                  </a:lnTo>
                  <a:lnTo>
                    <a:pt x="3008" y="2626"/>
                  </a:lnTo>
                  <a:lnTo>
                    <a:pt x="3005" y="2625"/>
                  </a:lnTo>
                  <a:lnTo>
                    <a:pt x="3003" y="2622"/>
                  </a:lnTo>
                  <a:lnTo>
                    <a:pt x="3000" y="2620"/>
                  </a:lnTo>
                  <a:lnTo>
                    <a:pt x="2999" y="2617"/>
                  </a:lnTo>
                  <a:lnTo>
                    <a:pt x="2999" y="2613"/>
                  </a:lnTo>
                  <a:lnTo>
                    <a:pt x="2998" y="2603"/>
                  </a:lnTo>
                  <a:lnTo>
                    <a:pt x="2998" y="2592"/>
                  </a:lnTo>
                  <a:lnTo>
                    <a:pt x="2998" y="2582"/>
                  </a:lnTo>
                  <a:lnTo>
                    <a:pt x="2996" y="2573"/>
                  </a:lnTo>
                  <a:lnTo>
                    <a:pt x="2996" y="2569"/>
                  </a:lnTo>
                  <a:lnTo>
                    <a:pt x="2995" y="2565"/>
                  </a:lnTo>
                  <a:lnTo>
                    <a:pt x="2992" y="2562"/>
                  </a:lnTo>
                  <a:lnTo>
                    <a:pt x="2990" y="2561"/>
                  </a:lnTo>
                  <a:lnTo>
                    <a:pt x="2990" y="2561"/>
                  </a:lnTo>
                  <a:lnTo>
                    <a:pt x="2988" y="2560"/>
                  </a:lnTo>
                  <a:lnTo>
                    <a:pt x="2987" y="2558"/>
                  </a:lnTo>
                  <a:lnTo>
                    <a:pt x="2987" y="2557"/>
                  </a:lnTo>
                  <a:lnTo>
                    <a:pt x="2975" y="2549"/>
                  </a:lnTo>
                  <a:lnTo>
                    <a:pt x="2966" y="2540"/>
                  </a:lnTo>
                  <a:lnTo>
                    <a:pt x="2965" y="2539"/>
                  </a:lnTo>
                  <a:lnTo>
                    <a:pt x="2962" y="2536"/>
                  </a:lnTo>
                  <a:lnTo>
                    <a:pt x="2961" y="2536"/>
                  </a:lnTo>
                  <a:lnTo>
                    <a:pt x="2961" y="2536"/>
                  </a:lnTo>
                  <a:lnTo>
                    <a:pt x="2960" y="2535"/>
                  </a:lnTo>
                  <a:lnTo>
                    <a:pt x="2960" y="2532"/>
                  </a:lnTo>
                  <a:lnTo>
                    <a:pt x="2957" y="2528"/>
                  </a:lnTo>
                  <a:lnTo>
                    <a:pt x="2954" y="2524"/>
                  </a:lnTo>
                  <a:lnTo>
                    <a:pt x="2952" y="2518"/>
                  </a:lnTo>
                  <a:lnTo>
                    <a:pt x="2948" y="2513"/>
                  </a:lnTo>
                  <a:lnTo>
                    <a:pt x="2944" y="2511"/>
                  </a:lnTo>
                  <a:lnTo>
                    <a:pt x="2940" y="2509"/>
                  </a:lnTo>
                  <a:lnTo>
                    <a:pt x="2937" y="2507"/>
                  </a:lnTo>
                  <a:lnTo>
                    <a:pt x="2936" y="2506"/>
                  </a:lnTo>
                  <a:lnTo>
                    <a:pt x="2935" y="2505"/>
                  </a:lnTo>
                  <a:lnTo>
                    <a:pt x="2933" y="2503"/>
                  </a:lnTo>
                  <a:lnTo>
                    <a:pt x="2914" y="2492"/>
                  </a:lnTo>
                  <a:lnTo>
                    <a:pt x="2896" y="2477"/>
                  </a:lnTo>
                  <a:lnTo>
                    <a:pt x="2894" y="2476"/>
                  </a:lnTo>
                  <a:lnTo>
                    <a:pt x="2892" y="2475"/>
                  </a:lnTo>
                  <a:lnTo>
                    <a:pt x="2890" y="2475"/>
                  </a:lnTo>
                  <a:lnTo>
                    <a:pt x="2890" y="2473"/>
                  </a:lnTo>
                  <a:lnTo>
                    <a:pt x="2889" y="2472"/>
                  </a:lnTo>
                  <a:lnTo>
                    <a:pt x="2888" y="2472"/>
                  </a:lnTo>
                  <a:lnTo>
                    <a:pt x="2886" y="2471"/>
                  </a:lnTo>
                  <a:lnTo>
                    <a:pt x="2881" y="2468"/>
                  </a:lnTo>
                  <a:lnTo>
                    <a:pt x="2877" y="2466"/>
                  </a:lnTo>
                  <a:lnTo>
                    <a:pt x="2875" y="2463"/>
                  </a:lnTo>
                  <a:lnTo>
                    <a:pt x="2871" y="2463"/>
                  </a:lnTo>
                  <a:lnTo>
                    <a:pt x="2860" y="2460"/>
                  </a:lnTo>
                  <a:lnTo>
                    <a:pt x="2852" y="2456"/>
                  </a:lnTo>
                  <a:lnTo>
                    <a:pt x="2851" y="2456"/>
                  </a:lnTo>
                  <a:lnTo>
                    <a:pt x="2851" y="2456"/>
                  </a:lnTo>
                  <a:lnTo>
                    <a:pt x="2850" y="2455"/>
                  </a:lnTo>
                  <a:lnTo>
                    <a:pt x="2848" y="2455"/>
                  </a:lnTo>
                  <a:lnTo>
                    <a:pt x="2847" y="2455"/>
                  </a:lnTo>
                  <a:lnTo>
                    <a:pt x="2845" y="2454"/>
                  </a:lnTo>
                  <a:lnTo>
                    <a:pt x="2843" y="2454"/>
                  </a:lnTo>
                  <a:lnTo>
                    <a:pt x="2841" y="2452"/>
                  </a:lnTo>
                  <a:lnTo>
                    <a:pt x="2841" y="2451"/>
                  </a:lnTo>
                  <a:lnTo>
                    <a:pt x="2839" y="2450"/>
                  </a:lnTo>
                  <a:lnTo>
                    <a:pt x="2839" y="2449"/>
                  </a:lnTo>
                  <a:lnTo>
                    <a:pt x="2838" y="2449"/>
                  </a:lnTo>
                  <a:lnTo>
                    <a:pt x="2837" y="2449"/>
                  </a:lnTo>
                  <a:lnTo>
                    <a:pt x="2835" y="2449"/>
                  </a:lnTo>
                  <a:lnTo>
                    <a:pt x="2834" y="2447"/>
                  </a:lnTo>
                  <a:lnTo>
                    <a:pt x="2834" y="2446"/>
                  </a:lnTo>
                  <a:lnTo>
                    <a:pt x="2833" y="2446"/>
                  </a:lnTo>
                  <a:lnTo>
                    <a:pt x="2831" y="2443"/>
                  </a:lnTo>
                  <a:lnTo>
                    <a:pt x="2830" y="2442"/>
                  </a:lnTo>
                  <a:lnTo>
                    <a:pt x="2830" y="2442"/>
                  </a:lnTo>
                  <a:lnTo>
                    <a:pt x="2829" y="2441"/>
                  </a:lnTo>
                  <a:lnTo>
                    <a:pt x="2826" y="2439"/>
                  </a:lnTo>
                  <a:lnTo>
                    <a:pt x="2825" y="2438"/>
                  </a:lnTo>
                  <a:lnTo>
                    <a:pt x="2825" y="2437"/>
                  </a:lnTo>
                  <a:lnTo>
                    <a:pt x="2824" y="2434"/>
                  </a:lnTo>
                  <a:lnTo>
                    <a:pt x="2822" y="2434"/>
                  </a:lnTo>
                  <a:lnTo>
                    <a:pt x="2822" y="2434"/>
                  </a:lnTo>
                  <a:lnTo>
                    <a:pt x="2820" y="2430"/>
                  </a:lnTo>
                  <a:lnTo>
                    <a:pt x="2817" y="2428"/>
                  </a:lnTo>
                  <a:lnTo>
                    <a:pt x="2816" y="2425"/>
                  </a:lnTo>
                  <a:lnTo>
                    <a:pt x="2814" y="2422"/>
                  </a:lnTo>
                  <a:lnTo>
                    <a:pt x="2813" y="2421"/>
                  </a:lnTo>
                  <a:lnTo>
                    <a:pt x="2813" y="2420"/>
                  </a:lnTo>
                  <a:lnTo>
                    <a:pt x="2813" y="2418"/>
                  </a:lnTo>
                  <a:lnTo>
                    <a:pt x="2812" y="2415"/>
                  </a:lnTo>
                  <a:lnTo>
                    <a:pt x="2809" y="2412"/>
                  </a:lnTo>
                  <a:lnTo>
                    <a:pt x="2809" y="2411"/>
                  </a:lnTo>
                  <a:lnTo>
                    <a:pt x="2808" y="2409"/>
                  </a:lnTo>
                  <a:lnTo>
                    <a:pt x="2808" y="2408"/>
                  </a:lnTo>
                  <a:lnTo>
                    <a:pt x="2808" y="2408"/>
                  </a:lnTo>
                  <a:lnTo>
                    <a:pt x="2807" y="2405"/>
                  </a:lnTo>
                  <a:lnTo>
                    <a:pt x="2807" y="2404"/>
                  </a:lnTo>
                  <a:lnTo>
                    <a:pt x="2805" y="2398"/>
                  </a:lnTo>
                  <a:lnTo>
                    <a:pt x="2805" y="2392"/>
                  </a:lnTo>
                  <a:lnTo>
                    <a:pt x="2804" y="2379"/>
                  </a:lnTo>
                  <a:lnTo>
                    <a:pt x="2804" y="2367"/>
                  </a:lnTo>
                  <a:lnTo>
                    <a:pt x="2803" y="2366"/>
                  </a:lnTo>
                  <a:lnTo>
                    <a:pt x="2801" y="2363"/>
                  </a:lnTo>
                  <a:lnTo>
                    <a:pt x="2801" y="2361"/>
                  </a:lnTo>
                  <a:lnTo>
                    <a:pt x="2800" y="2360"/>
                  </a:lnTo>
                  <a:lnTo>
                    <a:pt x="2800" y="2358"/>
                  </a:lnTo>
                  <a:lnTo>
                    <a:pt x="2799" y="2358"/>
                  </a:lnTo>
                  <a:lnTo>
                    <a:pt x="2797" y="2353"/>
                  </a:lnTo>
                  <a:lnTo>
                    <a:pt x="2795" y="2349"/>
                  </a:lnTo>
                  <a:lnTo>
                    <a:pt x="2790" y="2345"/>
                  </a:lnTo>
                  <a:lnTo>
                    <a:pt x="2784" y="2341"/>
                  </a:lnTo>
                  <a:lnTo>
                    <a:pt x="2783" y="2341"/>
                  </a:lnTo>
                  <a:lnTo>
                    <a:pt x="2782" y="2341"/>
                  </a:lnTo>
                  <a:lnTo>
                    <a:pt x="2777" y="2340"/>
                  </a:lnTo>
                  <a:lnTo>
                    <a:pt x="2771" y="2339"/>
                  </a:lnTo>
                  <a:lnTo>
                    <a:pt x="2767" y="2337"/>
                  </a:lnTo>
                  <a:lnTo>
                    <a:pt x="2763" y="2335"/>
                  </a:lnTo>
                  <a:lnTo>
                    <a:pt x="2762" y="2332"/>
                  </a:lnTo>
                  <a:lnTo>
                    <a:pt x="2763" y="2329"/>
                  </a:lnTo>
                  <a:lnTo>
                    <a:pt x="2769" y="2323"/>
                  </a:lnTo>
                  <a:lnTo>
                    <a:pt x="2771" y="2315"/>
                  </a:lnTo>
                  <a:lnTo>
                    <a:pt x="2773" y="2312"/>
                  </a:lnTo>
                  <a:lnTo>
                    <a:pt x="2774" y="2310"/>
                  </a:lnTo>
                  <a:lnTo>
                    <a:pt x="2775" y="2307"/>
                  </a:lnTo>
                  <a:lnTo>
                    <a:pt x="2777" y="2305"/>
                  </a:lnTo>
                  <a:lnTo>
                    <a:pt x="2777" y="2302"/>
                  </a:lnTo>
                  <a:lnTo>
                    <a:pt x="2778" y="2299"/>
                  </a:lnTo>
                  <a:lnTo>
                    <a:pt x="2779" y="2298"/>
                  </a:lnTo>
                  <a:lnTo>
                    <a:pt x="2780" y="2297"/>
                  </a:lnTo>
                  <a:lnTo>
                    <a:pt x="2780" y="2293"/>
                  </a:lnTo>
                  <a:lnTo>
                    <a:pt x="2782" y="2290"/>
                  </a:lnTo>
                  <a:lnTo>
                    <a:pt x="2782" y="2288"/>
                  </a:lnTo>
                  <a:lnTo>
                    <a:pt x="2782" y="2286"/>
                  </a:lnTo>
                  <a:lnTo>
                    <a:pt x="2783" y="2285"/>
                  </a:lnTo>
                  <a:lnTo>
                    <a:pt x="2783" y="2284"/>
                  </a:lnTo>
                  <a:lnTo>
                    <a:pt x="2786" y="2264"/>
                  </a:lnTo>
                  <a:lnTo>
                    <a:pt x="2787" y="2247"/>
                  </a:lnTo>
                  <a:lnTo>
                    <a:pt x="2787" y="2242"/>
                  </a:lnTo>
                  <a:lnTo>
                    <a:pt x="2788" y="2237"/>
                  </a:lnTo>
                  <a:lnTo>
                    <a:pt x="2788" y="2231"/>
                  </a:lnTo>
                  <a:lnTo>
                    <a:pt x="2790" y="2227"/>
                  </a:lnTo>
                  <a:lnTo>
                    <a:pt x="2790" y="2212"/>
                  </a:lnTo>
                  <a:lnTo>
                    <a:pt x="2788" y="2197"/>
                  </a:lnTo>
                  <a:lnTo>
                    <a:pt x="2787" y="2190"/>
                  </a:lnTo>
                  <a:lnTo>
                    <a:pt x="2786" y="2183"/>
                  </a:lnTo>
                  <a:lnTo>
                    <a:pt x="2786" y="2179"/>
                  </a:lnTo>
                  <a:lnTo>
                    <a:pt x="2784" y="2173"/>
                  </a:lnTo>
                  <a:lnTo>
                    <a:pt x="2782" y="2166"/>
                  </a:lnTo>
                  <a:lnTo>
                    <a:pt x="2780" y="2165"/>
                  </a:lnTo>
                  <a:lnTo>
                    <a:pt x="2780" y="2163"/>
                  </a:lnTo>
                  <a:lnTo>
                    <a:pt x="2778" y="2158"/>
                  </a:lnTo>
                  <a:lnTo>
                    <a:pt x="2777" y="2153"/>
                  </a:lnTo>
                  <a:lnTo>
                    <a:pt x="2777" y="2150"/>
                  </a:lnTo>
                  <a:lnTo>
                    <a:pt x="2775" y="2148"/>
                  </a:lnTo>
                  <a:lnTo>
                    <a:pt x="2773" y="2142"/>
                  </a:lnTo>
                  <a:lnTo>
                    <a:pt x="2770" y="2137"/>
                  </a:lnTo>
                  <a:lnTo>
                    <a:pt x="2765" y="2131"/>
                  </a:lnTo>
                  <a:lnTo>
                    <a:pt x="2758" y="2123"/>
                  </a:lnTo>
                  <a:lnTo>
                    <a:pt x="2752" y="2116"/>
                  </a:lnTo>
                  <a:lnTo>
                    <a:pt x="2744" y="2111"/>
                  </a:lnTo>
                  <a:lnTo>
                    <a:pt x="2736" y="2102"/>
                  </a:lnTo>
                  <a:lnTo>
                    <a:pt x="2731" y="2093"/>
                  </a:lnTo>
                  <a:lnTo>
                    <a:pt x="2731" y="2090"/>
                  </a:lnTo>
                  <a:lnTo>
                    <a:pt x="2728" y="2087"/>
                  </a:lnTo>
                  <a:lnTo>
                    <a:pt x="2726" y="2085"/>
                  </a:lnTo>
                  <a:lnTo>
                    <a:pt x="2724" y="2084"/>
                  </a:lnTo>
                  <a:lnTo>
                    <a:pt x="2723" y="2081"/>
                  </a:lnTo>
                  <a:lnTo>
                    <a:pt x="2719" y="2077"/>
                  </a:lnTo>
                  <a:lnTo>
                    <a:pt x="2716" y="2073"/>
                  </a:lnTo>
                  <a:lnTo>
                    <a:pt x="2715" y="2070"/>
                  </a:lnTo>
                  <a:lnTo>
                    <a:pt x="2715" y="2068"/>
                  </a:lnTo>
                  <a:lnTo>
                    <a:pt x="2715" y="2067"/>
                  </a:lnTo>
                  <a:lnTo>
                    <a:pt x="2714" y="2067"/>
                  </a:lnTo>
                  <a:lnTo>
                    <a:pt x="2714" y="2065"/>
                  </a:lnTo>
                  <a:lnTo>
                    <a:pt x="2714" y="2064"/>
                  </a:lnTo>
                  <a:lnTo>
                    <a:pt x="2711" y="2059"/>
                  </a:lnTo>
                  <a:lnTo>
                    <a:pt x="2708" y="2055"/>
                  </a:lnTo>
                  <a:lnTo>
                    <a:pt x="2708" y="2052"/>
                  </a:lnTo>
                  <a:lnTo>
                    <a:pt x="2706" y="2047"/>
                  </a:lnTo>
                  <a:lnTo>
                    <a:pt x="2703" y="2042"/>
                  </a:lnTo>
                  <a:lnTo>
                    <a:pt x="2703" y="2040"/>
                  </a:lnTo>
                  <a:lnTo>
                    <a:pt x="2701" y="2035"/>
                  </a:lnTo>
                  <a:lnTo>
                    <a:pt x="2699" y="2030"/>
                  </a:lnTo>
                  <a:lnTo>
                    <a:pt x="2699" y="2027"/>
                  </a:lnTo>
                  <a:lnTo>
                    <a:pt x="2698" y="2026"/>
                  </a:lnTo>
                  <a:lnTo>
                    <a:pt x="2697" y="2023"/>
                  </a:lnTo>
                  <a:lnTo>
                    <a:pt x="2695" y="2022"/>
                  </a:lnTo>
                  <a:lnTo>
                    <a:pt x="2695" y="2021"/>
                  </a:lnTo>
                  <a:lnTo>
                    <a:pt x="2695" y="2019"/>
                  </a:lnTo>
                  <a:lnTo>
                    <a:pt x="2695" y="2018"/>
                  </a:lnTo>
                  <a:lnTo>
                    <a:pt x="2695" y="1972"/>
                  </a:lnTo>
                  <a:lnTo>
                    <a:pt x="2697" y="1971"/>
                  </a:lnTo>
                  <a:lnTo>
                    <a:pt x="2697" y="1970"/>
                  </a:lnTo>
                  <a:lnTo>
                    <a:pt x="2698" y="1970"/>
                  </a:lnTo>
                  <a:lnTo>
                    <a:pt x="2699" y="1968"/>
                  </a:lnTo>
                  <a:lnTo>
                    <a:pt x="2707" y="1959"/>
                  </a:lnTo>
                  <a:lnTo>
                    <a:pt x="2716" y="1949"/>
                  </a:lnTo>
                  <a:lnTo>
                    <a:pt x="2716" y="1948"/>
                  </a:lnTo>
                  <a:lnTo>
                    <a:pt x="2718" y="1948"/>
                  </a:lnTo>
                  <a:lnTo>
                    <a:pt x="2719" y="1946"/>
                  </a:lnTo>
                  <a:lnTo>
                    <a:pt x="2719" y="1945"/>
                  </a:lnTo>
                  <a:lnTo>
                    <a:pt x="2722" y="1944"/>
                  </a:lnTo>
                  <a:lnTo>
                    <a:pt x="2723" y="1942"/>
                  </a:lnTo>
                  <a:lnTo>
                    <a:pt x="2724" y="1941"/>
                  </a:lnTo>
                  <a:lnTo>
                    <a:pt x="2726" y="1941"/>
                  </a:lnTo>
                  <a:lnTo>
                    <a:pt x="2728" y="1938"/>
                  </a:lnTo>
                  <a:lnTo>
                    <a:pt x="2729" y="1937"/>
                  </a:lnTo>
                  <a:lnTo>
                    <a:pt x="2731" y="1934"/>
                  </a:lnTo>
                  <a:lnTo>
                    <a:pt x="2732" y="1933"/>
                  </a:lnTo>
                  <a:lnTo>
                    <a:pt x="2735" y="1931"/>
                  </a:lnTo>
                  <a:lnTo>
                    <a:pt x="2736" y="1928"/>
                  </a:lnTo>
                  <a:lnTo>
                    <a:pt x="2737" y="1928"/>
                  </a:lnTo>
                  <a:lnTo>
                    <a:pt x="2739" y="1927"/>
                  </a:lnTo>
                  <a:lnTo>
                    <a:pt x="2744" y="1916"/>
                  </a:lnTo>
                  <a:lnTo>
                    <a:pt x="2750" y="1906"/>
                  </a:lnTo>
                  <a:lnTo>
                    <a:pt x="2756" y="1895"/>
                  </a:lnTo>
                  <a:lnTo>
                    <a:pt x="2761" y="1885"/>
                  </a:lnTo>
                  <a:lnTo>
                    <a:pt x="2767" y="1874"/>
                  </a:lnTo>
                  <a:lnTo>
                    <a:pt x="2773" y="1866"/>
                  </a:lnTo>
                  <a:lnTo>
                    <a:pt x="2774" y="1860"/>
                  </a:lnTo>
                  <a:lnTo>
                    <a:pt x="2774" y="1851"/>
                  </a:lnTo>
                  <a:lnTo>
                    <a:pt x="2773" y="1842"/>
                  </a:lnTo>
                  <a:lnTo>
                    <a:pt x="2773" y="1838"/>
                  </a:lnTo>
                  <a:lnTo>
                    <a:pt x="2771" y="1835"/>
                  </a:lnTo>
                  <a:lnTo>
                    <a:pt x="2771" y="1832"/>
                  </a:lnTo>
                  <a:lnTo>
                    <a:pt x="2770" y="1831"/>
                  </a:lnTo>
                  <a:lnTo>
                    <a:pt x="2769" y="1830"/>
                  </a:lnTo>
                  <a:lnTo>
                    <a:pt x="2767" y="1828"/>
                  </a:lnTo>
                  <a:lnTo>
                    <a:pt x="2767" y="1828"/>
                  </a:lnTo>
                  <a:lnTo>
                    <a:pt x="2765" y="1827"/>
                  </a:lnTo>
                  <a:lnTo>
                    <a:pt x="2763" y="1826"/>
                  </a:lnTo>
                  <a:lnTo>
                    <a:pt x="2762" y="1825"/>
                  </a:lnTo>
                  <a:lnTo>
                    <a:pt x="2761" y="1823"/>
                  </a:lnTo>
                  <a:lnTo>
                    <a:pt x="2760" y="1822"/>
                  </a:lnTo>
                  <a:lnTo>
                    <a:pt x="2757" y="1821"/>
                  </a:lnTo>
                  <a:lnTo>
                    <a:pt x="2756" y="1819"/>
                  </a:lnTo>
                  <a:lnTo>
                    <a:pt x="2756" y="1818"/>
                  </a:lnTo>
                  <a:lnTo>
                    <a:pt x="2754" y="1817"/>
                  </a:lnTo>
                  <a:lnTo>
                    <a:pt x="2754" y="1815"/>
                  </a:lnTo>
                  <a:lnTo>
                    <a:pt x="2750" y="1811"/>
                  </a:lnTo>
                  <a:lnTo>
                    <a:pt x="2748" y="1809"/>
                  </a:lnTo>
                  <a:lnTo>
                    <a:pt x="2746" y="1806"/>
                  </a:lnTo>
                  <a:lnTo>
                    <a:pt x="2745" y="1805"/>
                  </a:lnTo>
                  <a:lnTo>
                    <a:pt x="2745" y="1802"/>
                  </a:lnTo>
                  <a:lnTo>
                    <a:pt x="2744" y="1801"/>
                  </a:lnTo>
                  <a:lnTo>
                    <a:pt x="2743" y="1800"/>
                  </a:lnTo>
                  <a:lnTo>
                    <a:pt x="2743" y="1798"/>
                  </a:lnTo>
                  <a:lnTo>
                    <a:pt x="2741" y="1794"/>
                  </a:lnTo>
                  <a:lnTo>
                    <a:pt x="2740" y="1791"/>
                  </a:lnTo>
                  <a:lnTo>
                    <a:pt x="2740" y="1787"/>
                  </a:lnTo>
                  <a:lnTo>
                    <a:pt x="2743" y="1781"/>
                  </a:lnTo>
                  <a:lnTo>
                    <a:pt x="2743" y="1780"/>
                  </a:lnTo>
                  <a:lnTo>
                    <a:pt x="2744" y="1779"/>
                  </a:lnTo>
                  <a:lnTo>
                    <a:pt x="2746" y="1777"/>
                  </a:lnTo>
                  <a:lnTo>
                    <a:pt x="2749" y="1776"/>
                  </a:lnTo>
                  <a:lnTo>
                    <a:pt x="2750" y="1775"/>
                  </a:lnTo>
                  <a:lnTo>
                    <a:pt x="2752" y="1774"/>
                  </a:lnTo>
                  <a:lnTo>
                    <a:pt x="2753" y="1771"/>
                  </a:lnTo>
                  <a:lnTo>
                    <a:pt x="2754" y="1768"/>
                  </a:lnTo>
                  <a:lnTo>
                    <a:pt x="2752" y="1757"/>
                  </a:lnTo>
                  <a:lnTo>
                    <a:pt x="2749" y="1745"/>
                  </a:lnTo>
                  <a:lnTo>
                    <a:pt x="2749" y="1742"/>
                  </a:lnTo>
                  <a:lnTo>
                    <a:pt x="2749" y="1741"/>
                  </a:lnTo>
                  <a:lnTo>
                    <a:pt x="2746" y="1738"/>
                  </a:lnTo>
                  <a:lnTo>
                    <a:pt x="2745" y="1733"/>
                  </a:lnTo>
                  <a:lnTo>
                    <a:pt x="2745" y="1724"/>
                  </a:lnTo>
                  <a:lnTo>
                    <a:pt x="2745" y="1720"/>
                  </a:lnTo>
                  <a:lnTo>
                    <a:pt x="2745" y="1715"/>
                  </a:lnTo>
                  <a:lnTo>
                    <a:pt x="2746" y="1711"/>
                  </a:lnTo>
                  <a:lnTo>
                    <a:pt x="2749" y="1708"/>
                  </a:lnTo>
                  <a:lnTo>
                    <a:pt x="2754" y="1700"/>
                  </a:lnTo>
                  <a:lnTo>
                    <a:pt x="2758" y="1692"/>
                  </a:lnTo>
                  <a:lnTo>
                    <a:pt x="2761" y="1690"/>
                  </a:lnTo>
                  <a:lnTo>
                    <a:pt x="2766" y="1686"/>
                  </a:lnTo>
                  <a:lnTo>
                    <a:pt x="2766" y="1685"/>
                  </a:lnTo>
                  <a:lnTo>
                    <a:pt x="2767" y="1683"/>
                  </a:lnTo>
                  <a:lnTo>
                    <a:pt x="2769" y="1682"/>
                  </a:lnTo>
                  <a:lnTo>
                    <a:pt x="2770" y="1681"/>
                  </a:lnTo>
                  <a:lnTo>
                    <a:pt x="2773" y="1681"/>
                  </a:lnTo>
                  <a:lnTo>
                    <a:pt x="2774" y="1681"/>
                  </a:lnTo>
                  <a:lnTo>
                    <a:pt x="2775" y="1678"/>
                  </a:lnTo>
                  <a:lnTo>
                    <a:pt x="2777" y="1677"/>
                  </a:lnTo>
                  <a:lnTo>
                    <a:pt x="2778" y="1675"/>
                  </a:lnTo>
                  <a:lnTo>
                    <a:pt x="2779" y="1675"/>
                  </a:lnTo>
                  <a:lnTo>
                    <a:pt x="2780" y="1675"/>
                  </a:lnTo>
                  <a:lnTo>
                    <a:pt x="2780" y="1674"/>
                  </a:lnTo>
                  <a:lnTo>
                    <a:pt x="2782" y="1674"/>
                  </a:lnTo>
                  <a:lnTo>
                    <a:pt x="2786" y="1669"/>
                  </a:lnTo>
                  <a:lnTo>
                    <a:pt x="2788" y="1665"/>
                  </a:lnTo>
                  <a:lnTo>
                    <a:pt x="2788" y="1664"/>
                  </a:lnTo>
                  <a:lnTo>
                    <a:pt x="2790" y="1664"/>
                  </a:lnTo>
                  <a:lnTo>
                    <a:pt x="2792" y="1664"/>
                  </a:lnTo>
                  <a:lnTo>
                    <a:pt x="2794" y="1662"/>
                  </a:lnTo>
                  <a:lnTo>
                    <a:pt x="2800" y="1658"/>
                  </a:lnTo>
                  <a:lnTo>
                    <a:pt x="2807" y="1655"/>
                  </a:lnTo>
                  <a:lnTo>
                    <a:pt x="2814" y="1651"/>
                  </a:lnTo>
                  <a:lnTo>
                    <a:pt x="2821" y="1647"/>
                  </a:lnTo>
                  <a:lnTo>
                    <a:pt x="2822" y="1645"/>
                  </a:lnTo>
                  <a:lnTo>
                    <a:pt x="2825" y="1644"/>
                  </a:lnTo>
                  <a:lnTo>
                    <a:pt x="2825" y="1643"/>
                  </a:lnTo>
                  <a:lnTo>
                    <a:pt x="2825" y="1643"/>
                  </a:lnTo>
                  <a:lnTo>
                    <a:pt x="2828" y="1639"/>
                  </a:lnTo>
                  <a:lnTo>
                    <a:pt x="2831" y="1636"/>
                  </a:lnTo>
                  <a:lnTo>
                    <a:pt x="2833" y="1635"/>
                  </a:lnTo>
                  <a:lnTo>
                    <a:pt x="2834" y="1634"/>
                  </a:lnTo>
                  <a:lnTo>
                    <a:pt x="2838" y="1622"/>
                  </a:lnTo>
                  <a:lnTo>
                    <a:pt x="2843" y="1609"/>
                  </a:lnTo>
                  <a:lnTo>
                    <a:pt x="2846" y="1601"/>
                  </a:lnTo>
                  <a:lnTo>
                    <a:pt x="2848" y="1593"/>
                  </a:lnTo>
                  <a:lnTo>
                    <a:pt x="2850" y="1586"/>
                  </a:lnTo>
                  <a:lnTo>
                    <a:pt x="2850" y="1579"/>
                  </a:lnTo>
                  <a:lnTo>
                    <a:pt x="2850" y="1572"/>
                  </a:lnTo>
                  <a:lnTo>
                    <a:pt x="2850" y="1568"/>
                  </a:lnTo>
                  <a:lnTo>
                    <a:pt x="2850" y="1554"/>
                  </a:lnTo>
                  <a:lnTo>
                    <a:pt x="2851" y="1541"/>
                  </a:lnTo>
                  <a:lnTo>
                    <a:pt x="2851" y="1539"/>
                  </a:lnTo>
                  <a:lnTo>
                    <a:pt x="2851" y="1538"/>
                  </a:lnTo>
                  <a:lnTo>
                    <a:pt x="2852" y="1537"/>
                  </a:lnTo>
                  <a:lnTo>
                    <a:pt x="2852" y="1535"/>
                  </a:lnTo>
                  <a:lnTo>
                    <a:pt x="2854" y="1533"/>
                  </a:lnTo>
                  <a:lnTo>
                    <a:pt x="2854" y="1530"/>
                  </a:lnTo>
                  <a:lnTo>
                    <a:pt x="2855" y="1529"/>
                  </a:lnTo>
                  <a:lnTo>
                    <a:pt x="2855" y="1526"/>
                  </a:lnTo>
                  <a:lnTo>
                    <a:pt x="2856" y="1525"/>
                  </a:lnTo>
                  <a:lnTo>
                    <a:pt x="2858" y="1524"/>
                  </a:lnTo>
                  <a:lnTo>
                    <a:pt x="2858" y="1522"/>
                  </a:lnTo>
                  <a:lnTo>
                    <a:pt x="2858" y="1520"/>
                  </a:lnTo>
                  <a:lnTo>
                    <a:pt x="2859" y="1520"/>
                  </a:lnTo>
                  <a:lnTo>
                    <a:pt x="2860" y="1520"/>
                  </a:lnTo>
                  <a:lnTo>
                    <a:pt x="2862" y="1515"/>
                  </a:lnTo>
                  <a:lnTo>
                    <a:pt x="2862" y="1511"/>
                  </a:lnTo>
                  <a:lnTo>
                    <a:pt x="2862" y="1508"/>
                  </a:lnTo>
                  <a:lnTo>
                    <a:pt x="2860" y="1503"/>
                  </a:lnTo>
                  <a:lnTo>
                    <a:pt x="2859" y="1501"/>
                  </a:lnTo>
                  <a:lnTo>
                    <a:pt x="2858" y="1500"/>
                  </a:lnTo>
                  <a:lnTo>
                    <a:pt x="2856" y="1495"/>
                  </a:lnTo>
                  <a:lnTo>
                    <a:pt x="2854" y="1491"/>
                  </a:lnTo>
                  <a:lnTo>
                    <a:pt x="2854" y="1487"/>
                  </a:lnTo>
                  <a:lnTo>
                    <a:pt x="2852" y="1484"/>
                  </a:lnTo>
                  <a:lnTo>
                    <a:pt x="2848" y="1473"/>
                  </a:lnTo>
                  <a:lnTo>
                    <a:pt x="2845" y="1460"/>
                  </a:lnTo>
                  <a:lnTo>
                    <a:pt x="2842" y="1448"/>
                  </a:lnTo>
                  <a:lnTo>
                    <a:pt x="2839" y="1424"/>
                  </a:lnTo>
                  <a:lnTo>
                    <a:pt x="2839" y="1413"/>
                  </a:lnTo>
                  <a:lnTo>
                    <a:pt x="2841" y="1401"/>
                  </a:lnTo>
                  <a:lnTo>
                    <a:pt x="2841" y="1396"/>
                  </a:lnTo>
                  <a:lnTo>
                    <a:pt x="2842" y="1392"/>
                  </a:lnTo>
                  <a:lnTo>
                    <a:pt x="2843" y="1389"/>
                  </a:lnTo>
                  <a:lnTo>
                    <a:pt x="2846" y="1388"/>
                  </a:lnTo>
                  <a:lnTo>
                    <a:pt x="2847" y="1385"/>
                  </a:lnTo>
                  <a:lnTo>
                    <a:pt x="2848" y="1381"/>
                  </a:lnTo>
                  <a:lnTo>
                    <a:pt x="2848" y="1380"/>
                  </a:lnTo>
                  <a:lnTo>
                    <a:pt x="2850" y="1377"/>
                  </a:lnTo>
                  <a:lnTo>
                    <a:pt x="2851" y="1376"/>
                  </a:lnTo>
                  <a:lnTo>
                    <a:pt x="2852" y="1373"/>
                  </a:lnTo>
                  <a:lnTo>
                    <a:pt x="2852" y="1372"/>
                  </a:lnTo>
                  <a:lnTo>
                    <a:pt x="2855" y="1369"/>
                  </a:lnTo>
                  <a:lnTo>
                    <a:pt x="2856" y="1367"/>
                  </a:lnTo>
                  <a:lnTo>
                    <a:pt x="2856" y="1365"/>
                  </a:lnTo>
                  <a:lnTo>
                    <a:pt x="2855" y="1363"/>
                  </a:lnTo>
                  <a:lnTo>
                    <a:pt x="2855" y="1359"/>
                  </a:lnTo>
                  <a:lnTo>
                    <a:pt x="2854" y="1355"/>
                  </a:lnTo>
                  <a:lnTo>
                    <a:pt x="2852" y="1355"/>
                  </a:lnTo>
                  <a:lnTo>
                    <a:pt x="2852" y="1355"/>
                  </a:lnTo>
                  <a:lnTo>
                    <a:pt x="2851" y="1351"/>
                  </a:lnTo>
                  <a:lnTo>
                    <a:pt x="2848" y="1348"/>
                  </a:lnTo>
                  <a:lnTo>
                    <a:pt x="2847" y="1347"/>
                  </a:lnTo>
                  <a:lnTo>
                    <a:pt x="2846" y="1346"/>
                  </a:lnTo>
                  <a:lnTo>
                    <a:pt x="2846" y="1346"/>
                  </a:lnTo>
                  <a:lnTo>
                    <a:pt x="2845" y="1345"/>
                  </a:lnTo>
                  <a:lnTo>
                    <a:pt x="2845" y="1343"/>
                  </a:lnTo>
                  <a:lnTo>
                    <a:pt x="2843" y="1343"/>
                  </a:lnTo>
                  <a:lnTo>
                    <a:pt x="2842" y="1343"/>
                  </a:lnTo>
                  <a:lnTo>
                    <a:pt x="2841" y="1342"/>
                  </a:lnTo>
                  <a:lnTo>
                    <a:pt x="2841" y="1341"/>
                  </a:lnTo>
                  <a:lnTo>
                    <a:pt x="2839" y="1339"/>
                  </a:lnTo>
                  <a:lnTo>
                    <a:pt x="2839" y="1338"/>
                  </a:lnTo>
                  <a:lnTo>
                    <a:pt x="2839" y="1337"/>
                  </a:lnTo>
                  <a:lnTo>
                    <a:pt x="2838" y="1337"/>
                  </a:lnTo>
                  <a:lnTo>
                    <a:pt x="2837" y="1337"/>
                  </a:lnTo>
                  <a:lnTo>
                    <a:pt x="2837" y="1335"/>
                  </a:lnTo>
                  <a:lnTo>
                    <a:pt x="2835" y="1334"/>
                  </a:lnTo>
                  <a:lnTo>
                    <a:pt x="2835" y="1327"/>
                  </a:lnTo>
                  <a:lnTo>
                    <a:pt x="2837" y="1321"/>
                  </a:lnTo>
                  <a:lnTo>
                    <a:pt x="2838" y="1320"/>
                  </a:lnTo>
                  <a:lnTo>
                    <a:pt x="2839" y="1317"/>
                  </a:lnTo>
                  <a:lnTo>
                    <a:pt x="2839" y="1316"/>
                  </a:lnTo>
                  <a:lnTo>
                    <a:pt x="2841" y="1314"/>
                  </a:lnTo>
                  <a:lnTo>
                    <a:pt x="2842" y="1314"/>
                  </a:lnTo>
                  <a:lnTo>
                    <a:pt x="2842" y="1313"/>
                  </a:lnTo>
                  <a:lnTo>
                    <a:pt x="2843" y="1312"/>
                  </a:lnTo>
                  <a:lnTo>
                    <a:pt x="2845" y="1310"/>
                  </a:lnTo>
                  <a:lnTo>
                    <a:pt x="2847" y="1309"/>
                  </a:lnTo>
                  <a:lnTo>
                    <a:pt x="2851" y="1307"/>
                  </a:lnTo>
                  <a:lnTo>
                    <a:pt x="2851" y="1307"/>
                  </a:lnTo>
                  <a:lnTo>
                    <a:pt x="2852" y="1305"/>
                  </a:lnTo>
                  <a:lnTo>
                    <a:pt x="2854" y="1305"/>
                  </a:lnTo>
                  <a:lnTo>
                    <a:pt x="2854" y="1305"/>
                  </a:lnTo>
                  <a:lnTo>
                    <a:pt x="2858" y="1303"/>
                  </a:lnTo>
                  <a:lnTo>
                    <a:pt x="2862" y="1303"/>
                  </a:lnTo>
                  <a:lnTo>
                    <a:pt x="2872" y="1299"/>
                  </a:lnTo>
                  <a:lnTo>
                    <a:pt x="2881" y="1293"/>
                  </a:lnTo>
                  <a:lnTo>
                    <a:pt x="2882" y="1292"/>
                  </a:lnTo>
                  <a:lnTo>
                    <a:pt x="2884" y="1291"/>
                  </a:lnTo>
                  <a:lnTo>
                    <a:pt x="2885" y="1291"/>
                  </a:lnTo>
                  <a:lnTo>
                    <a:pt x="2885" y="1290"/>
                  </a:lnTo>
                  <a:lnTo>
                    <a:pt x="2885" y="1288"/>
                  </a:lnTo>
                  <a:lnTo>
                    <a:pt x="2886" y="1288"/>
                  </a:lnTo>
                  <a:lnTo>
                    <a:pt x="2886" y="1282"/>
                  </a:lnTo>
                  <a:lnTo>
                    <a:pt x="2885" y="1274"/>
                  </a:lnTo>
                  <a:lnTo>
                    <a:pt x="2884" y="1269"/>
                  </a:lnTo>
                  <a:lnTo>
                    <a:pt x="2882" y="1265"/>
                  </a:lnTo>
                  <a:lnTo>
                    <a:pt x="2881" y="1261"/>
                  </a:lnTo>
                  <a:lnTo>
                    <a:pt x="2881" y="1258"/>
                  </a:lnTo>
                  <a:lnTo>
                    <a:pt x="2881" y="1257"/>
                  </a:lnTo>
                  <a:lnTo>
                    <a:pt x="2880" y="1252"/>
                  </a:lnTo>
                  <a:lnTo>
                    <a:pt x="2876" y="1246"/>
                  </a:lnTo>
                  <a:lnTo>
                    <a:pt x="2873" y="1241"/>
                  </a:lnTo>
                  <a:lnTo>
                    <a:pt x="2871" y="1236"/>
                  </a:lnTo>
                  <a:lnTo>
                    <a:pt x="2868" y="1229"/>
                  </a:lnTo>
                  <a:lnTo>
                    <a:pt x="2865" y="1224"/>
                  </a:lnTo>
                  <a:lnTo>
                    <a:pt x="2865" y="1222"/>
                  </a:lnTo>
                  <a:lnTo>
                    <a:pt x="2865" y="1220"/>
                  </a:lnTo>
                  <a:lnTo>
                    <a:pt x="2864" y="1219"/>
                  </a:lnTo>
                  <a:lnTo>
                    <a:pt x="2863" y="1219"/>
                  </a:lnTo>
                  <a:lnTo>
                    <a:pt x="2862" y="1216"/>
                  </a:lnTo>
                  <a:lnTo>
                    <a:pt x="2860" y="1214"/>
                  </a:lnTo>
                  <a:lnTo>
                    <a:pt x="2856" y="1206"/>
                  </a:lnTo>
                  <a:lnTo>
                    <a:pt x="2851" y="1198"/>
                  </a:lnTo>
                  <a:lnTo>
                    <a:pt x="2850" y="1197"/>
                  </a:lnTo>
                  <a:lnTo>
                    <a:pt x="2850" y="1195"/>
                  </a:lnTo>
                  <a:lnTo>
                    <a:pt x="2848" y="1194"/>
                  </a:lnTo>
                  <a:lnTo>
                    <a:pt x="2848" y="1191"/>
                  </a:lnTo>
                  <a:lnTo>
                    <a:pt x="2846" y="1190"/>
                  </a:lnTo>
                  <a:lnTo>
                    <a:pt x="2846" y="1189"/>
                  </a:lnTo>
                  <a:lnTo>
                    <a:pt x="2842" y="1178"/>
                  </a:lnTo>
                  <a:lnTo>
                    <a:pt x="2837" y="1159"/>
                  </a:lnTo>
                  <a:lnTo>
                    <a:pt x="2834" y="1148"/>
                  </a:lnTo>
                  <a:lnTo>
                    <a:pt x="2833" y="1138"/>
                  </a:lnTo>
                  <a:lnTo>
                    <a:pt x="2833" y="1130"/>
                  </a:lnTo>
                  <a:lnTo>
                    <a:pt x="2835" y="1126"/>
                  </a:lnTo>
                  <a:lnTo>
                    <a:pt x="2838" y="1108"/>
                  </a:lnTo>
                  <a:lnTo>
                    <a:pt x="2839" y="1091"/>
                  </a:lnTo>
                  <a:lnTo>
                    <a:pt x="2839" y="1091"/>
                  </a:lnTo>
                  <a:lnTo>
                    <a:pt x="2839" y="1089"/>
                  </a:lnTo>
                  <a:lnTo>
                    <a:pt x="2841" y="1086"/>
                  </a:lnTo>
                  <a:lnTo>
                    <a:pt x="2841" y="1084"/>
                  </a:lnTo>
                  <a:lnTo>
                    <a:pt x="2843" y="1078"/>
                  </a:lnTo>
                  <a:lnTo>
                    <a:pt x="2843" y="1072"/>
                  </a:lnTo>
                  <a:lnTo>
                    <a:pt x="2845" y="1059"/>
                  </a:lnTo>
                  <a:lnTo>
                    <a:pt x="2846" y="1044"/>
                  </a:lnTo>
                  <a:lnTo>
                    <a:pt x="2847" y="1028"/>
                  </a:lnTo>
                  <a:lnTo>
                    <a:pt x="2850" y="1015"/>
                  </a:lnTo>
                  <a:lnTo>
                    <a:pt x="2850" y="1008"/>
                  </a:lnTo>
                  <a:lnTo>
                    <a:pt x="2848" y="998"/>
                  </a:lnTo>
                  <a:lnTo>
                    <a:pt x="2846" y="989"/>
                  </a:lnTo>
                  <a:lnTo>
                    <a:pt x="2843" y="982"/>
                  </a:lnTo>
                  <a:lnTo>
                    <a:pt x="2841" y="977"/>
                  </a:lnTo>
                  <a:lnTo>
                    <a:pt x="2839" y="970"/>
                  </a:lnTo>
                  <a:lnTo>
                    <a:pt x="2837" y="969"/>
                  </a:lnTo>
                  <a:lnTo>
                    <a:pt x="2834" y="968"/>
                  </a:lnTo>
                  <a:lnTo>
                    <a:pt x="2834" y="965"/>
                  </a:lnTo>
                  <a:lnTo>
                    <a:pt x="2833" y="964"/>
                  </a:lnTo>
                  <a:lnTo>
                    <a:pt x="2831" y="963"/>
                  </a:lnTo>
                  <a:lnTo>
                    <a:pt x="2829" y="960"/>
                  </a:lnTo>
                  <a:lnTo>
                    <a:pt x="2828" y="959"/>
                  </a:lnTo>
                  <a:lnTo>
                    <a:pt x="2828" y="956"/>
                  </a:lnTo>
                  <a:lnTo>
                    <a:pt x="2826" y="939"/>
                  </a:lnTo>
                  <a:lnTo>
                    <a:pt x="2825" y="925"/>
                  </a:lnTo>
                  <a:lnTo>
                    <a:pt x="2825" y="923"/>
                  </a:lnTo>
                  <a:lnTo>
                    <a:pt x="2825" y="922"/>
                  </a:lnTo>
                  <a:lnTo>
                    <a:pt x="2824" y="921"/>
                  </a:lnTo>
                  <a:lnTo>
                    <a:pt x="2822" y="919"/>
                  </a:lnTo>
                  <a:lnTo>
                    <a:pt x="2820" y="917"/>
                  </a:lnTo>
                  <a:lnTo>
                    <a:pt x="2817" y="915"/>
                  </a:lnTo>
                  <a:lnTo>
                    <a:pt x="2816" y="915"/>
                  </a:lnTo>
                  <a:lnTo>
                    <a:pt x="2814" y="915"/>
                  </a:lnTo>
                  <a:lnTo>
                    <a:pt x="2813" y="914"/>
                  </a:lnTo>
                  <a:lnTo>
                    <a:pt x="2812" y="913"/>
                  </a:lnTo>
                  <a:lnTo>
                    <a:pt x="2811" y="913"/>
                  </a:lnTo>
                  <a:lnTo>
                    <a:pt x="2808" y="913"/>
                  </a:lnTo>
                  <a:lnTo>
                    <a:pt x="2794" y="906"/>
                  </a:lnTo>
                  <a:lnTo>
                    <a:pt x="2780" y="900"/>
                  </a:lnTo>
                  <a:lnTo>
                    <a:pt x="2778" y="900"/>
                  </a:lnTo>
                  <a:lnTo>
                    <a:pt x="2778" y="900"/>
                  </a:lnTo>
                  <a:lnTo>
                    <a:pt x="2777" y="898"/>
                  </a:lnTo>
                  <a:lnTo>
                    <a:pt x="2769" y="897"/>
                  </a:lnTo>
                  <a:lnTo>
                    <a:pt x="2761" y="897"/>
                  </a:lnTo>
                  <a:lnTo>
                    <a:pt x="2749" y="901"/>
                  </a:lnTo>
                  <a:lnTo>
                    <a:pt x="2728" y="906"/>
                  </a:lnTo>
                  <a:lnTo>
                    <a:pt x="2716" y="909"/>
                  </a:lnTo>
                  <a:lnTo>
                    <a:pt x="2707" y="909"/>
                  </a:lnTo>
                  <a:lnTo>
                    <a:pt x="2703" y="909"/>
                  </a:lnTo>
                  <a:lnTo>
                    <a:pt x="2699" y="909"/>
                  </a:lnTo>
                  <a:lnTo>
                    <a:pt x="2697" y="908"/>
                  </a:lnTo>
                  <a:lnTo>
                    <a:pt x="2695" y="906"/>
                  </a:lnTo>
                  <a:lnTo>
                    <a:pt x="2693" y="904"/>
                  </a:lnTo>
                  <a:lnTo>
                    <a:pt x="2689" y="902"/>
                  </a:lnTo>
                  <a:lnTo>
                    <a:pt x="2688" y="902"/>
                  </a:lnTo>
                  <a:lnTo>
                    <a:pt x="2686" y="901"/>
                  </a:lnTo>
                  <a:lnTo>
                    <a:pt x="2685" y="901"/>
                  </a:lnTo>
                  <a:lnTo>
                    <a:pt x="2685" y="901"/>
                  </a:lnTo>
                  <a:lnTo>
                    <a:pt x="2682" y="898"/>
                  </a:lnTo>
                  <a:lnTo>
                    <a:pt x="2680" y="898"/>
                  </a:lnTo>
                  <a:lnTo>
                    <a:pt x="2678" y="898"/>
                  </a:lnTo>
                  <a:lnTo>
                    <a:pt x="2677" y="897"/>
                  </a:lnTo>
                  <a:lnTo>
                    <a:pt x="2677" y="896"/>
                  </a:lnTo>
                  <a:lnTo>
                    <a:pt x="2674" y="896"/>
                  </a:lnTo>
                  <a:lnTo>
                    <a:pt x="2673" y="895"/>
                  </a:lnTo>
                  <a:lnTo>
                    <a:pt x="2672" y="893"/>
                  </a:lnTo>
                  <a:lnTo>
                    <a:pt x="2672" y="892"/>
                  </a:lnTo>
                  <a:lnTo>
                    <a:pt x="2672" y="891"/>
                  </a:lnTo>
                  <a:lnTo>
                    <a:pt x="2671" y="889"/>
                  </a:lnTo>
                  <a:lnTo>
                    <a:pt x="2669" y="889"/>
                  </a:lnTo>
                  <a:lnTo>
                    <a:pt x="2669" y="887"/>
                  </a:lnTo>
                  <a:lnTo>
                    <a:pt x="2668" y="887"/>
                  </a:lnTo>
                  <a:lnTo>
                    <a:pt x="2667" y="885"/>
                  </a:lnTo>
                  <a:lnTo>
                    <a:pt x="2665" y="871"/>
                  </a:lnTo>
                  <a:lnTo>
                    <a:pt x="2664" y="858"/>
                  </a:lnTo>
                  <a:lnTo>
                    <a:pt x="2663" y="854"/>
                  </a:lnTo>
                  <a:lnTo>
                    <a:pt x="2661" y="849"/>
                  </a:lnTo>
                  <a:lnTo>
                    <a:pt x="2660" y="847"/>
                  </a:lnTo>
                  <a:lnTo>
                    <a:pt x="2659" y="845"/>
                  </a:lnTo>
                  <a:lnTo>
                    <a:pt x="2659" y="844"/>
                  </a:lnTo>
                  <a:lnTo>
                    <a:pt x="2652" y="841"/>
                  </a:lnTo>
                  <a:lnTo>
                    <a:pt x="2646" y="840"/>
                  </a:lnTo>
                  <a:lnTo>
                    <a:pt x="2643" y="838"/>
                  </a:lnTo>
                  <a:lnTo>
                    <a:pt x="2642" y="837"/>
                  </a:lnTo>
                  <a:lnTo>
                    <a:pt x="2640" y="836"/>
                  </a:lnTo>
                  <a:lnTo>
                    <a:pt x="2640" y="834"/>
                  </a:lnTo>
                  <a:lnTo>
                    <a:pt x="2637" y="833"/>
                  </a:lnTo>
                  <a:lnTo>
                    <a:pt x="2634" y="830"/>
                  </a:lnTo>
                  <a:lnTo>
                    <a:pt x="2631" y="828"/>
                  </a:lnTo>
                  <a:lnTo>
                    <a:pt x="2631" y="825"/>
                  </a:lnTo>
                  <a:lnTo>
                    <a:pt x="2631" y="803"/>
                  </a:lnTo>
                  <a:lnTo>
                    <a:pt x="2629" y="799"/>
                  </a:lnTo>
                  <a:lnTo>
                    <a:pt x="2626" y="796"/>
                  </a:lnTo>
                  <a:lnTo>
                    <a:pt x="2625" y="795"/>
                  </a:lnTo>
                  <a:lnTo>
                    <a:pt x="2623" y="794"/>
                  </a:lnTo>
                  <a:lnTo>
                    <a:pt x="2620" y="787"/>
                  </a:lnTo>
                  <a:lnTo>
                    <a:pt x="2616" y="779"/>
                  </a:lnTo>
                  <a:lnTo>
                    <a:pt x="2614" y="778"/>
                  </a:lnTo>
                  <a:lnTo>
                    <a:pt x="2614" y="777"/>
                  </a:lnTo>
                  <a:lnTo>
                    <a:pt x="2613" y="774"/>
                  </a:lnTo>
                  <a:lnTo>
                    <a:pt x="2612" y="772"/>
                  </a:lnTo>
                  <a:lnTo>
                    <a:pt x="2609" y="770"/>
                  </a:lnTo>
                  <a:lnTo>
                    <a:pt x="2609" y="770"/>
                  </a:lnTo>
                  <a:lnTo>
                    <a:pt x="2609" y="768"/>
                  </a:lnTo>
                  <a:lnTo>
                    <a:pt x="2609" y="768"/>
                  </a:lnTo>
                  <a:lnTo>
                    <a:pt x="2608" y="766"/>
                  </a:lnTo>
                  <a:lnTo>
                    <a:pt x="2604" y="761"/>
                  </a:lnTo>
                  <a:lnTo>
                    <a:pt x="2600" y="756"/>
                  </a:lnTo>
                  <a:lnTo>
                    <a:pt x="2600" y="756"/>
                  </a:lnTo>
                  <a:lnTo>
                    <a:pt x="2599" y="755"/>
                  </a:lnTo>
                  <a:lnTo>
                    <a:pt x="2599" y="753"/>
                  </a:lnTo>
                  <a:lnTo>
                    <a:pt x="2597" y="753"/>
                  </a:lnTo>
                  <a:lnTo>
                    <a:pt x="2596" y="752"/>
                  </a:lnTo>
                  <a:lnTo>
                    <a:pt x="2595" y="751"/>
                  </a:lnTo>
                  <a:lnTo>
                    <a:pt x="2593" y="749"/>
                  </a:lnTo>
                  <a:lnTo>
                    <a:pt x="2591" y="748"/>
                  </a:lnTo>
                  <a:lnTo>
                    <a:pt x="2588" y="747"/>
                  </a:lnTo>
                  <a:lnTo>
                    <a:pt x="2587" y="745"/>
                  </a:lnTo>
                  <a:lnTo>
                    <a:pt x="2587" y="744"/>
                  </a:lnTo>
                  <a:lnTo>
                    <a:pt x="2582" y="741"/>
                  </a:lnTo>
                  <a:lnTo>
                    <a:pt x="2576" y="738"/>
                  </a:lnTo>
                  <a:lnTo>
                    <a:pt x="2574" y="735"/>
                  </a:lnTo>
                  <a:lnTo>
                    <a:pt x="2572" y="734"/>
                  </a:lnTo>
                  <a:lnTo>
                    <a:pt x="2572" y="732"/>
                  </a:lnTo>
                  <a:lnTo>
                    <a:pt x="2572" y="732"/>
                  </a:lnTo>
                  <a:lnTo>
                    <a:pt x="2571" y="731"/>
                  </a:lnTo>
                  <a:lnTo>
                    <a:pt x="2571" y="730"/>
                  </a:lnTo>
                  <a:lnTo>
                    <a:pt x="2570" y="715"/>
                  </a:lnTo>
                  <a:lnTo>
                    <a:pt x="2571" y="701"/>
                  </a:lnTo>
                  <a:lnTo>
                    <a:pt x="2572" y="685"/>
                  </a:lnTo>
                  <a:lnTo>
                    <a:pt x="2571" y="668"/>
                  </a:lnTo>
                  <a:lnTo>
                    <a:pt x="2569" y="651"/>
                  </a:lnTo>
                  <a:lnTo>
                    <a:pt x="2567" y="634"/>
                  </a:lnTo>
                  <a:lnTo>
                    <a:pt x="2566" y="632"/>
                  </a:lnTo>
                  <a:lnTo>
                    <a:pt x="2563" y="629"/>
                  </a:lnTo>
                  <a:lnTo>
                    <a:pt x="2562" y="625"/>
                  </a:lnTo>
                  <a:lnTo>
                    <a:pt x="2559" y="621"/>
                  </a:lnTo>
                  <a:lnTo>
                    <a:pt x="2558" y="620"/>
                  </a:lnTo>
                  <a:lnTo>
                    <a:pt x="2555" y="619"/>
                  </a:lnTo>
                  <a:lnTo>
                    <a:pt x="2555" y="619"/>
                  </a:lnTo>
                  <a:lnTo>
                    <a:pt x="2553" y="615"/>
                  </a:lnTo>
                  <a:lnTo>
                    <a:pt x="2550" y="612"/>
                  </a:lnTo>
                  <a:lnTo>
                    <a:pt x="2550" y="612"/>
                  </a:lnTo>
                  <a:lnTo>
                    <a:pt x="2549" y="611"/>
                  </a:lnTo>
                  <a:lnTo>
                    <a:pt x="2549" y="609"/>
                  </a:lnTo>
                  <a:lnTo>
                    <a:pt x="2549" y="609"/>
                  </a:lnTo>
                  <a:lnTo>
                    <a:pt x="2546" y="609"/>
                  </a:lnTo>
                  <a:lnTo>
                    <a:pt x="2545" y="608"/>
                  </a:lnTo>
                  <a:lnTo>
                    <a:pt x="2544" y="605"/>
                  </a:lnTo>
                  <a:lnTo>
                    <a:pt x="2544" y="605"/>
                  </a:lnTo>
                  <a:lnTo>
                    <a:pt x="2542" y="604"/>
                  </a:lnTo>
                  <a:lnTo>
                    <a:pt x="2542" y="602"/>
                  </a:lnTo>
                  <a:lnTo>
                    <a:pt x="2545" y="598"/>
                  </a:lnTo>
                  <a:lnTo>
                    <a:pt x="2549" y="592"/>
                  </a:lnTo>
                  <a:lnTo>
                    <a:pt x="2554" y="587"/>
                  </a:lnTo>
                  <a:lnTo>
                    <a:pt x="2557" y="585"/>
                  </a:lnTo>
                  <a:lnTo>
                    <a:pt x="2559" y="583"/>
                  </a:lnTo>
                  <a:lnTo>
                    <a:pt x="2561" y="582"/>
                  </a:lnTo>
                  <a:lnTo>
                    <a:pt x="2562" y="581"/>
                  </a:lnTo>
                  <a:lnTo>
                    <a:pt x="2563" y="575"/>
                  </a:lnTo>
                  <a:lnTo>
                    <a:pt x="2565" y="569"/>
                  </a:lnTo>
                  <a:lnTo>
                    <a:pt x="2565" y="558"/>
                  </a:lnTo>
                  <a:lnTo>
                    <a:pt x="2565" y="548"/>
                  </a:lnTo>
                  <a:lnTo>
                    <a:pt x="2563" y="547"/>
                  </a:lnTo>
                  <a:lnTo>
                    <a:pt x="2563" y="544"/>
                  </a:lnTo>
                  <a:lnTo>
                    <a:pt x="2563" y="543"/>
                  </a:lnTo>
                  <a:lnTo>
                    <a:pt x="2563" y="540"/>
                  </a:lnTo>
                  <a:lnTo>
                    <a:pt x="2562" y="540"/>
                  </a:lnTo>
                  <a:lnTo>
                    <a:pt x="2562" y="539"/>
                  </a:lnTo>
                  <a:lnTo>
                    <a:pt x="2562" y="537"/>
                  </a:lnTo>
                  <a:lnTo>
                    <a:pt x="2561" y="536"/>
                  </a:lnTo>
                  <a:lnTo>
                    <a:pt x="2561" y="533"/>
                  </a:lnTo>
                  <a:lnTo>
                    <a:pt x="2561" y="531"/>
                  </a:lnTo>
                  <a:lnTo>
                    <a:pt x="2561" y="528"/>
                  </a:lnTo>
                  <a:lnTo>
                    <a:pt x="2559" y="526"/>
                  </a:lnTo>
                  <a:lnTo>
                    <a:pt x="2558" y="523"/>
                  </a:lnTo>
                  <a:lnTo>
                    <a:pt x="2557" y="515"/>
                  </a:lnTo>
                  <a:lnTo>
                    <a:pt x="2558" y="507"/>
                  </a:lnTo>
                  <a:lnTo>
                    <a:pt x="2559" y="506"/>
                  </a:lnTo>
                  <a:lnTo>
                    <a:pt x="2559" y="506"/>
                  </a:lnTo>
                  <a:lnTo>
                    <a:pt x="2562" y="501"/>
                  </a:lnTo>
                  <a:lnTo>
                    <a:pt x="2566" y="497"/>
                  </a:lnTo>
                  <a:lnTo>
                    <a:pt x="2571" y="480"/>
                  </a:lnTo>
                  <a:lnTo>
                    <a:pt x="2575" y="462"/>
                  </a:lnTo>
                  <a:lnTo>
                    <a:pt x="2576" y="442"/>
                  </a:lnTo>
                  <a:lnTo>
                    <a:pt x="2579" y="422"/>
                  </a:lnTo>
                  <a:lnTo>
                    <a:pt x="2582" y="403"/>
                  </a:lnTo>
                  <a:lnTo>
                    <a:pt x="2586" y="384"/>
                  </a:lnTo>
                  <a:lnTo>
                    <a:pt x="2588" y="377"/>
                  </a:lnTo>
                  <a:lnTo>
                    <a:pt x="2591" y="369"/>
                  </a:lnTo>
                  <a:lnTo>
                    <a:pt x="2595" y="362"/>
                  </a:lnTo>
                  <a:lnTo>
                    <a:pt x="2599" y="357"/>
                  </a:lnTo>
                  <a:lnTo>
                    <a:pt x="2617" y="336"/>
                  </a:lnTo>
                  <a:lnTo>
                    <a:pt x="2635" y="310"/>
                  </a:lnTo>
                  <a:lnTo>
                    <a:pt x="2643" y="297"/>
                  </a:lnTo>
                  <a:lnTo>
                    <a:pt x="2648" y="284"/>
                  </a:lnTo>
                  <a:lnTo>
                    <a:pt x="2648" y="277"/>
                  </a:lnTo>
                  <a:lnTo>
                    <a:pt x="2648" y="272"/>
                  </a:lnTo>
                  <a:lnTo>
                    <a:pt x="2647" y="267"/>
                  </a:lnTo>
                  <a:lnTo>
                    <a:pt x="2646" y="261"/>
                  </a:lnTo>
                  <a:lnTo>
                    <a:pt x="2634" y="247"/>
                  </a:lnTo>
                  <a:lnTo>
                    <a:pt x="2617" y="227"/>
                  </a:lnTo>
                  <a:lnTo>
                    <a:pt x="2599" y="206"/>
                  </a:lnTo>
                  <a:lnTo>
                    <a:pt x="2578" y="184"/>
                  </a:lnTo>
                  <a:lnTo>
                    <a:pt x="2555" y="165"/>
                  </a:lnTo>
                  <a:lnTo>
                    <a:pt x="2533" y="146"/>
                  </a:lnTo>
                  <a:lnTo>
                    <a:pt x="2521" y="140"/>
                  </a:lnTo>
                  <a:lnTo>
                    <a:pt x="2511" y="135"/>
                  </a:lnTo>
                  <a:lnTo>
                    <a:pt x="2502" y="131"/>
                  </a:lnTo>
                  <a:lnTo>
                    <a:pt x="2491" y="128"/>
                  </a:lnTo>
                  <a:lnTo>
                    <a:pt x="2482" y="128"/>
                  </a:lnTo>
                  <a:lnTo>
                    <a:pt x="2470" y="129"/>
                  </a:lnTo>
                  <a:lnTo>
                    <a:pt x="2460" y="132"/>
                  </a:lnTo>
                  <a:lnTo>
                    <a:pt x="2450" y="135"/>
                  </a:lnTo>
                  <a:lnTo>
                    <a:pt x="2427" y="144"/>
                  </a:lnTo>
                  <a:lnTo>
                    <a:pt x="2406" y="154"/>
                  </a:lnTo>
                  <a:lnTo>
                    <a:pt x="2385" y="165"/>
                  </a:lnTo>
                  <a:lnTo>
                    <a:pt x="2368" y="172"/>
                  </a:lnTo>
                  <a:lnTo>
                    <a:pt x="2361" y="176"/>
                  </a:lnTo>
                  <a:lnTo>
                    <a:pt x="2353" y="178"/>
                  </a:lnTo>
                  <a:lnTo>
                    <a:pt x="2347" y="179"/>
                  </a:lnTo>
                  <a:lnTo>
                    <a:pt x="2342" y="178"/>
                  </a:lnTo>
                  <a:lnTo>
                    <a:pt x="2337" y="175"/>
                  </a:lnTo>
                  <a:lnTo>
                    <a:pt x="2333" y="172"/>
                  </a:lnTo>
                  <a:lnTo>
                    <a:pt x="2329" y="169"/>
                  </a:lnTo>
                  <a:lnTo>
                    <a:pt x="2327" y="165"/>
                  </a:lnTo>
                  <a:lnTo>
                    <a:pt x="2323" y="155"/>
                  </a:lnTo>
                  <a:lnTo>
                    <a:pt x="2320" y="145"/>
                  </a:lnTo>
                  <a:lnTo>
                    <a:pt x="2320" y="119"/>
                  </a:lnTo>
                  <a:lnTo>
                    <a:pt x="2321" y="90"/>
                  </a:lnTo>
                  <a:lnTo>
                    <a:pt x="2323" y="76"/>
                  </a:lnTo>
                  <a:lnTo>
                    <a:pt x="2323" y="61"/>
                  </a:lnTo>
                  <a:lnTo>
                    <a:pt x="2321" y="48"/>
                  </a:lnTo>
                  <a:lnTo>
                    <a:pt x="2320" y="35"/>
                  </a:lnTo>
                  <a:lnTo>
                    <a:pt x="2316" y="23"/>
                  </a:lnTo>
                  <a:lnTo>
                    <a:pt x="2311" y="14"/>
                  </a:lnTo>
                  <a:lnTo>
                    <a:pt x="2307" y="9"/>
                  </a:lnTo>
                  <a:lnTo>
                    <a:pt x="2303" y="5"/>
                  </a:lnTo>
                  <a:lnTo>
                    <a:pt x="2298" y="2"/>
                  </a:lnTo>
                  <a:lnTo>
                    <a:pt x="2291" y="0"/>
                  </a:lnTo>
                  <a:lnTo>
                    <a:pt x="2286" y="10"/>
                  </a:lnTo>
                  <a:lnTo>
                    <a:pt x="2274" y="35"/>
                  </a:lnTo>
                  <a:lnTo>
                    <a:pt x="2265" y="50"/>
                  </a:lnTo>
                  <a:lnTo>
                    <a:pt x="2256" y="63"/>
                  </a:lnTo>
                  <a:lnTo>
                    <a:pt x="2252" y="69"/>
                  </a:lnTo>
                  <a:lnTo>
                    <a:pt x="2247" y="74"/>
                  </a:lnTo>
                  <a:lnTo>
                    <a:pt x="2242" y="78"/>
                  </a:lnTo>
                  <a:lnTo>
                    <a:pt x="2236" y="82"/>
                  </a:lnTo>
                  <a:lnTo>
                    <a:pt x="2230" y="85"/>
                  </a:lnTo>
                  <a:lnTo>
                    <a:pt x="2222" y="85"/>
                  </a:lnTo>
                  <a:lnTo>
                    <a:pt x="2215" y="85"/>
                  </a:lnTo>
                  <a:lnTo>
                    <a:pt x="2208" y="84"/>
                  </a:lnTo>
                  <a:lnTo>
                    <a:pt x="2192" y="78"/>
                  </a:lnTo>
                  <a:lnTo>
                    <a:pt x="2175" y="73"/>
                  </a:lnTo>
                  <a:lnTo>
                    <a:pt x="2167" y="72"/>
                  </a:lnTo>
                  <a:lnTo>
                    <a:pt x="2158" y="70"/>
                  </a:lnTo>
                  <a:lnTo>
                    <a:pt x="2150" y="70"/>
                  </a:lnTo>
                  <a:lnTo>
                    <a:pt x="2142" y="72"/>
                  </a:lnTo>
                  <a:lnTo>
                    <a:pt x="2134" y="76"/>
                  </a:lnTo>
                  <a:lnTo>
                    <a:pt x="2126" y="81"/>
                  </a:lnTo>
                  <a:lnTo>
                    <a:pt x="2119" y="87"/>
                  </a:lnTo>
                  <a:lnTo>
                    <a:pt x="2112" y="98"/>
                  </a:lnTo>
                  <a:lnTo>
                    <a:pt x="2108" y="106"/>
                  </a:lnTo>
                  <a:lnTo>
                    <a:pt x="2104" y="114"/>
                  </a:lnTo>
                  <a:lnTo>
                    <a:pt x="2103" y="121"/>
                  </a:lnTo>
                  <a:lnTo>
                    <a:pt x="2102" y="131"/>
                  </a:lnTo>
                  <a:lnTo>
                    <a:pt x="2102" y="138"/>
                  </a:lnTo>
                  <a:lnTo>
                    <a:pt x="2103" y="148"/>
                  </a:lnTo>
                  <a:lnTo>
                    <a:pt x="2104" y="155"/>
                  </a:lnTo>
                  <a:lnTo>
                    <a:pt x="2106" y="163"/>
                  </a:lnTo>
                  <a:lnTo>
                    <a:pt x="2112" y="180"/>
                  </a:lnTo>
                  <a:lnTo>
                    <a:pt x="2120" y="196"/>
                  </a:lnTo>
                  <a:lnTo>
                    <a:pt x="2129" y="212"/>
                  </a:lnTo>
                  <a:lnTo>
                    <a:pt x="2138" y="226"/>
                  </a:lnTo>
                  <a:lnTo>
                    <a:pt x="2134" y="233"/>
                  </a:lnTo>
                  <a:lnTo>
                    <a:pt x="2124" y="250"/>
                  </a:lnTo>
                  <a:lnTo>
                    <a:pt x="2119" y="259"/>
                  </a:lnTo>
                  <a:lnTo>
                    <a:pt x="2111" y="267"/>
                  </a:lnTo>
                  <a:lnTo>
                    <a:pt x="2104" y="274"/>
                  </a:lnTo>
                  <a:lnTo>
                    <a:pt x="2096" y="281"/>
                  </a:lnTo>
                  <a:lnTo>
                    <a:pt x="2081" y="288"/>
                  </a:lnTo>
                  <a:lnTo>
                    <a:pt x="2064" y="294"/>
                  </a:lnTo>
                  <a:lnTo>
                    <a:pt x="2056" y="298"/>
                  </a:lnTo>
                  <a:lnTo>
                    <a:pt x="2048" y="302"/>
                  </a:lnTo>
                  <a:lnTo>
                    <a:pt x="2041" y="307"/>
                  </a:lnTo>
                  <a:lnTo>
                    <a:pt x="2035" y="314"/>
                  </a:lnTo>
                  <a:lnTo>
                    <a:pt x="2028" y="318"/>
                  </a:lnTo>
                  <a:lnTo>
                    <a:pt x="2014" y="324"/>
                  </a:lnTo>
                  <a:lnTo>
                    <a:pt x="1996" y="332"/>
                  </a:lnTo>
                  <a:lnTo>
                    <a:pt x="1973" y="341"/>
                  </a:lnTo>
                  <a:lnTo>
                    <a:pt x="1930" y="356"/>
                  </a:lnTo>
                  <a:lnTo>
                    <a:pt x="1908" y="362"/>
                  </a:lnTo>
                  <a:lnTo>
                    <a:pt x="1903" y="362"/>
                  </a:lnTo>
                  <a:lnTo>
                    <a:pt x="1899" y="365"/>
                  </a:lnTo>
                  <a:lnTo>
                    <a:pt x="1896" y="367"/>
                  </a:lnTo>
                  <a:lnTo>
                    <a:pt x="1894" y="369"/>
                  </a:lnTo>
                  <a:lnTo>
                    <a:pt x="1891" y="371"/>
                  </a:lnTo>
                  <a:lnTo>
                    <a:pt x="1890" y="373"/>
                  </a:lnTo>
                  <a:lnTo>
                    <a:pt x="1884" y="383"/>
                  </a:lnTo>
                  <a:lnTo>
                    <a:pt x="1878" y="392"/>
                  </a:lnTo>
                  <a:lnTo>
                    <a:pt x="1877" y="396"/>
                  </a:lnTo>
                  <a:lnTo>
                    <a:pt x="1874" y="397"/>
                  </a:lnTo>
                  <a:lnTo>
                    <a:pt x="1864" y="404"/>
                  </a:lnTo>
                  <a:lnTo>
                    <a:pt x="1847" y="413"/>
                  </a:lnTo>
                  <a:lnTo>
                    <a:pt x="1836" y="417"/>
                  </a:lnTo>
                  <a:lnTo>
                    <a:pt x="1827" y="418"/>
                  </a:lnTo>
                  <a:lnTo>
                    <a:pt x="1823" y="417"/>
                  </a:lnTo>
                  <a:lnTo>
                    <a:pt x="1819" y="416"/>
                  </a:lnTo>
                  <a:lnTo>
                    <a:pt x="1815" y="413"/>
                  </a:lnTo>
                  <a:lnTo>
                    <a:pt x="1813" y="409"/>
                  </a:lnTo>
                  <a:lnTo>
                    <a:pt x="1809" y="408"/>
                  </a:lnTo>
                  <a:lnTo>
                    <a:pt x="1805" y="407"/>
                  </a:lnTo>
                  <a:lnTo>
                    <a:pt x="1803" y="404"/>
                  </a:lnTo>
                  <a:lnTo>
                    <a:pt x="1802" y="403"/>
                  </a:lnTo>
                  <a:lnTo>
                    <a:pt x="1799" y="400"/>
                  </a:lnTo>
                  <a:lnTo>
                    <a:pt x="1798" y="397"/>
                  </a:lnTo>
                  <a:lnTo>
                    <a:pt x="1798" y="396"/>
                  </a:lnTo>
                  <a:lnTo>
                    <a:pt x="1797" y="395"/>
                  </a:lnTo>
                  <a:lnTo>
                    <a:pt x="1796" y="395"/>
                  </a:lnTo>
                  <a:lnTo>
                    <a:pt x="1796" y="395"/>
                  </a:lnTo>
                  <a:lnTo>
                    <a:pt x="1796" y="392"/>
                  </a:lnTo>
                  <a:lnTo>
                    <a:pt x="1794" y="391"/>
                  </a:lnTo>
                  <a:lnTo>
                    <a:pt x="1793" y="390"/>
                  </a:lnTo>
                  <a:lnTo>
                    <a:pt x="1792" y="388"/>
                  </a:lnTo>
                  <a:lnTo>
                    <a:pt x="1790" y="387"/>
                  </a:lnTo>
                  <a:lnTo>
                    <a:pt x="1789" y="382"/>
                  </a:lnTo>
                  <a:lnTo>
                    <a:pt x="1786" y="374"/>
                  </a:lnTo>
                  <a:lnTo>
                    <a:pt x="1785" y="371"/>
                  </a:lnTo>
                  <a:lnTo>
                    <a:pt x="1782" y="369"/>
                  </a:lnTo>
                  <a:lnTo>
                    <a:pt x="1781" y="367"/>
                  </a:lnTo>
                  <a:lnTo>
                    <a:pt x="1779" y="369"/>
                  </a:lnTo>
                  <a:lnTo>
                    <a:pt x="1768" y="374"/>
                  </a:lnTo>
                  <a:lnTo>
                    <a:pt x="1758" y="379"/>
                  </a:lnTo>
                  <a:lnTo>
                    <a:pt x="1750" y="383"/>
                  </a:lnTo>
                  <a:lnTo>
                    <a:pt x="1735" y="388"/>
                  </a:lnTo>
                  <a:lnTo>
                    <a:pt x="1721" y="395"/>
                  </a:lnTo>
                  <a:lnTo>
                    <a:pt x="1713" y="397"/>
                  </a:lnTo>
                  <a:lnTo>
                    <a:pt x="1708" y="400"/>
                  </a:lnTo>
                  <a:lnTo>
                    <a:pt x="1696" y="404"/>
                  </a:lnTo>
                  <a:lnTo>
                    <a:pt x="1683" y="407"/>
                  </a:lnTo>
                  <a:lnTo>
                    <a:pt x="1671" y="408"/>
                  </a:lnTo>
                  <a:lnTo>
                    <a:pt x="1669" y="408"/>
                  </a:lnTo>
                  <a:lnTo>
                    <a:pt x="1665" y="407"/>
                  </a:lnTo>
                  <a:lnTo>
                    <a:pt x="1661" y="404"/>
                  </a:lnTo>
                  <a:lnTo>
                    <a:pt x="1657" y="401"/>
                  </a:lnTo>
                  <a:lnTo>
                    <a:pt x="1652" y="400"/>
                  </a:lnTo>
                  <a:lnTo>
                    <a:pt x="1650" y="400"/>
                  </a:lnTo>
                  <a:lnTo>
                    <a:pt x="1633" y="399"/>
                  </a:lnTo>
                  <a:lnTo>
                    <a:pt x="1610" y="394"/>
                  </a:lnTo>
                  <a:lnTo>
                    <a:pt x="1598" y="390"/>
                  </a:lnTo>
                  <a:lnTo>
                    <a:pt x="1588" y="387"/>
                  </a:lnTo>
                  <a:lnTo>
                    <a:pt x="1580" y="383"/>
                  </a:lnTo>
                  <a:lnTo>
                    <a:pt x="1576" y="379"/>
                  </a:lnTo>
                  <a:lnTo>
                    <a:pt x="1556" y="370"/>
                  </a:lnTo>
                  <a:lnTo>
                    <a:pt x="1538" y="362"/>
                  </a:lnTo>
                  <a:lnTo>
                    <a:pt x="1535" y="362"/>
                  </a:lnTo>
                  <a:lnTo>
                    <a:pt x="1529" y="360"/>
                  </a:lnTo>
                  <a:lnTo>
                    <a:pt x="1523" y="357"/>
                  </a:lnTo>
                  <a:lnTo>
                    <a:pt x="1505" y="349"/>
                  </a:lnTo>
                  <a:lnTo>
                    <a:pt x="1486" y="341"/>
                  </a:lnTo>
                  <a:lnTo>
                    <a:pt x="1480" y="341"/>
                  </a:lnTo>
                  <a:lnTo>
                    <a:pt x="1474" y="341"/>
                  </a:lnTo>
                  <a:lnTo>
                    <a:pt x="1470" y="341"/>
                  </a:lnTo>
                  <a:lnTo>
                    <a:pt x="1469" y="343"/>
                  </a:lnTo>
                  <a:lnTo>
                    <a:pt x="1467" y="344"/>
                  </a:lnTo>
                  <a:lnTo>
                    <a:pt x="1466" y="345"/>
                  </a:lnTo>
                  <a:lnTo>
                    <a:pt x="1465" y="345"/>
                  </a:lnTo>
                  <a:lnTo>
                    <a:pt x="1463" y="348"/>
                  </a:lnTo>
                  <a:lnTo>
                    <a:pt x="1463" y="349"/>
                  </a:lnTo>
                  <a:lnTo>
                    <a:pt x="1461" y="350"/>
                  </a:lnTo>
                  <a:lnTo>
                    <a:pt x="1461" y="352"/>
                  </a:lnTo>
                  <a:lnTo>
                    <a:pt x="1459" y="353"/>
                  </a:lnTo>
                  <a:lnTo>
                    <a:pt x="1458" y="354"/>
                  </a:lnTo>
                  <a:lnTo>
                    <a:pt x="1458" y="354"/>
                  </a:lnTo>
                  <a:lnTo>
                    <a:pt x="1457" y="356"/>
                  </a:lnTo>
                  <a:lnTo>
                    <a:pt x="1455" y="357"/>
                  </a:lnTo>
                  <a:lnTo>
                    <a:pt x="1455" y="357"/>
                  </a:lnTo>
                  <a:lnTo>
                    <a:pt x="1453" y="360"/>
                  </a:lnTo>
                  <a:lnTo>
                    <a:pt x="1450" y="361"/>
                  </a:lnTo>
                  <a:lnTo>
                    <a:pt x="1448" y="362"/>
                  </a:lnTo>
                  <a:lnTo>
                    <a:pt x="1442" y="363"/>
                  </a:lnTo>
                  <a:lnTo>
                    <a:pt x="1438" y="363"/>
                  </a:lnTo>
                  <a:lnTo>
                    <a:pt x="1435" y="362"/>
                  </a:lnTo>
                  <a:lnTo>
                    <a:pt x="1432" y="361"/>
                  </a:lnTo>
                  <a:lnTo>
                    <a:pt x="1427" y="360"/>
                  </a:lnTo>
                  <a:lnTo>
                    <a:pt x="1424" y="357"/>
                  </a:lnTo>
                  <a:lnTo>
                    <a:pt x="1420" y="354"/>
                  </a:lnTo>
                  <a:lnTo>
                    <a:pt x="1420" y="353"/>
                  </a:lnTo>
                  <a:lnTo>
                    <a:pt x="1419" y="352"/>
                  </a:lnTo>
                  <a:lnTo>
                    <a:pt x="1418" y="350"/>
                  </a:lnTo>
                  <a:lnTo>
                    <a:pt x="1416" y="350"/>
                  </a:lnTo>
                  <a:lnTo>
                    <a:pt x="1415" y="350"/>
                  </a:lnTo>
                  <a:lnTo>
                    <a:pt x="1411" y="349"/>
                  </a:lnTo>
                  <a:lnTo>
                    <a:pt x="1407" y="345"/>
                  </a:lnTo>
                  <a:lnTo>
                    <a:pt x="1393" y="343"/>
                  </a:lnTo>
                  <a:lnTo>
                    <a:pt x="1378" y="341"/>
                  </a:lnTo>
                  <a:lnTo>
                    <a:pt x="1374" y="341"/>
                  </a:lnTo>
                  <a:lnTo>
                    <a:pt x="1373" y="341"/>
                  </a:lnTo>
                  <a:lnTo>
                    <a:pt x="1372" y="343"/>
                  </a:lnTo>
                  <a:lnTo>
                    <a:pt x="1369" y="345"/>
                  </a:lnTo>
                  <a:lnTo>
                    <a:pt x="1368" y="346"/>
                  </a:lnTo>
                  <a:lnTo>
                    <a:pt x="1368" y="348"/>
                  </a:lnTo>
                  <a:lnTo>
                    <a:pt x="1368" y="349"/>
                  </a:lnTo>
                  <a:lnTo>
                    <a:pt x="1366" y="349"/>
                  </a:lnTo>
                  <a:lnTo>
                    <a:pt x="1364" y="352"/>
                  </a:lnTo>
                  <a:lnTo>
                    <a:pt x="1363" y="354"/>
                  </a:lnTo>
                  <a:lnTo>
                    <a:pt x="1361" y="354"/>
                  </a:lnTo>
                  <a:lnTo>
                    <a:pt x="1360" y="356"/>
                  </a:lnTo>
                  <a:lnTo>
                    <a:pt x="1359" y="357"/>
                  </a:lnTo>
                  <a:lnTo>
                    <a:pt x="1357" y="358"/>
                  </a:lnTo>
                  <a:lnTo>
                    <a:pt x="1357" y="360"/>
                  </a:lnTo>
                  <a:lnTo>
                    <a:pt x="1355" y="361"/>
                  </a:lnTo>
                  <a:lnTo>
                    <a:pt x="1352" y="362"/>
                  </a:lnTo>
                  <a:lnTo>
                    <a:pt x="1338" y="362"/>
                  </a:lnTo>
                  <a:lnTo>
                    <a:pt x="1325" y="360"/>
                  </a:lnTo>
                  <a:lnTo>
                    <a:pt x="1322" y="358"/>
                  </a:lnTo>
                  <a:lnTo>
                    <a:pt x="1321" y="357"/>
                  </a:lnTo>
                  <a:lnTo>
                    <a:pt x="1319" y="357"/>
                  </a:lnTo>
                  <a:lnTo>
                    <a:pt x="1318" y="357"/>
                  </a:lnTo>
                  <a:lnTo>
                    <a:pt x="1314" y="354"/>
                  </a:lnTo>
                  <a:lnTo>
                    <a:pt x="1312" y="352"/>
                  </a:lnTo>
                  <a:lnTo>
                    <a:pt x="1308" y="349"/>
                  </a:lnTo>
                  <a:lnTo>
                    <a:pt x="1304" y="346"/>
                  </a:lnTo>
                  <a:lnTo>
                    <a:pt x="1302" y="345"/>
                  </a:lnTo>
                  <a:lnTo>
                    <a:pt x="1301" y="345"/>
                  </a:lnTo>
                  <a:lnTo>
                    <a:pt x="1300" y="344"/>
                  </a:lnTo>
                  <a:lnTo>
                    <a:pt x="1298" y="343"/>
                  </a:lnTo>
                  <a:lnTo>
                    <a:pt x="1297" y="343"/>
                  </a:lnTo>
                  <a:lnTo>
                    <a:pt x="1296" y="340"/>
                  </a:lnTo>
                  <a:lnTo>
                    <a:pt x="1295" y="337"/>
                  </a:lnTo>
                  <a:lnTo>
                    <a:pt x="1293" y="337"/>
                  </a:lnTo>
                  <a:lnTo>
                    <a:pt x="1292" y="335"/>
                  </a:lnTo>
                  <a:lnTo>
                    <a:pt x="1291" y="333"/>
                  </a:lnTo>
                  <a:lnTo>
                    <a:pt x="1289" y="332"/>
                  </a:lnTo>
                  <a:lnTo>
                    <a:pt x="1288" y="331"/>
                  </a:lnTo>
                  <a:lnTo>
                    <a:pt x="1288" y="329"/>
                  </a:lnTo>
                  <a:lnTo>
                    <a:pt x="1288" y="328"/>
                  </a:lnTo>
                  <a:lnTo>
                    <a:pt x="1287" y="327"/>
                  </a:lnTo>
                  <a:lnTo>
                    <a:pt x="1285" y="326"/>
                  </a:lnTo>
                  <a:lnTo>
                    <a:pt x="1284" y="324"/>
                  </a:lnTo>
                  <a:lnTo>
                    <a:pt x="1283" y="324"/>
                  </a:lnTo>
                  <a:lnTo>
                    <a:pt x="1281" y="323"/>
                  </a:lnTo>
                  <a:lnTo>
                    <a:pt x="1281" y="322"/>
                  </a:lnTo>
                  <a:lnTo>
                    <a:pt x="1280" y="322"/>
                  </a:lnTo>
                  <a:lnTo>
                    <a:pt x="1270" y="322"/>
                  </a:lnTo>
                  <a:lnTo>
                    <a:pt x="1255" y="320"/>
                  </a:lnTo>
                  <a:lnTo>
                    <a:pt x="1240" y="319"/>
                  </a:lnTo>
                  <a:lnTo>
                    <a:pt x="1229" y="316"/>
                  </a:lnTo>
                  <a:lnTo>
                    <a:pt x="1189" y="307"/>
                  </a:lnTo>
                  <a:lnTo>
                    <a:pt x="1148" y="329"/>
                  </a:lnTo>
                  <a:lnTo>
                    <a:pt x="1127" y="343"/>
                  </a:lnTo>
                  <a:lnTo>
                    <a:pt x="1104" y="360"/>
                  </a:lnTo>
                  <a:lnTo>
                    <a:pt x="1077" y="378"/>
                  </a:lnTo>
                  <a:lnTo>
                    <a:pt x="1053" y="392"/>
                  </a:lnTo>
                  <a:lnTo>
                    <a:pt x="1039" y="399"/>
                  </a:lnTo>
                  <a:lnTo>
                    <a:pt x="1028" y="401"/>
                  </a:lnTo>
                  <a:lnTo>
                    <a:pt x="1022" y="403"/>
                  </a:lnTo>
                  <a:lnTo>
                    <a:pt x="1017" y="403"/>
                  </a:lnTo>
                  <a:lnTo>
                    <a:pt x="1012" y="401"/>
                  </a:lnTo>
                  <a:lnTo>
                    <a:pt x="1008" y="400"/>
                  </a:lnTo>
                  <a:lnTo>
                    <a:pt x="1003" y="399"/>
                  </a:lnTo>
                  <a:lnTo>
                    <a:pt x="999" y="395"/>
                  </a:lnTo>
                  <a:lnTo>
                    <a:pt x="995" y="391"/>
                  </a:lnTo>
                  <a:lnTo>
                    <a:pt x="992" y="386"/>
                  </a:lnTo>
                  <a:lnTo>
                    <a:pt x="988" y="380"/>
                  </a:lnTo>
                  <a:lnTo>
                    <a:pt x="986" y="373"/>
                  </a:lnTo>
                  <a:lnTo>
                    <a:pt x="985" y="365"/>
                  </a:lnTo>
                  <a:lnTo>
                    <a:pt x="983" y="356"/>
                  </a:lnTo>
                  <a:lnTo>
                    <a:pt x="982" y="350"/>
                  </a:lnTo>
                  <a:lnTo>
                    <a:pt x="981" y="345"/>
                  </a:lnTo>
                  <a:lnTo>
                    <a:pt x="978" y="341"/>
                  </a:lnTo>
                  <a:lnTo>
                    <a:pt x="975" y="337"/>
                  </a:lnTo>
                  <a:lnTo>
                    <a:pt x="971" y="335"/>
                  </a:lnTo>
                  <a:lnTo>
                    <a:pt x="968" y="332"/>
                  </a:lnTo>
                  <a:lnTo>
                    <a:pt x="964" y="331"/>
                  </a:lnTo>
                  <a:lnTo>
                    <a:pt x="958" y="329"/>
                  </a:lnTo>
                  <a:lnTo>
                    <a:pt x="948" y="328"/>
                  </a:lnTo>
                  <a:lnTo>
                    <a:pt x="936" y="329"/>
                  </a:lnTo>
                  <a:lnTo>
                    <a:pt x="923" y="331"/>
                  </a:lnTo>
                  <a:lnTo>
                    <a:pt x="909" y="332"/>
                  </a:lnTo>
                  <a:lnTo>
                    <a:pt x="879" y="336"/>
                  </a:lnTo>
                  <a:lnTo>
                    <a:pt x="849" y="337"/>
                  </a:lnTo>
                  <a:lnTo>
                    <a:pt x="834" y="336"/>
                  </a:lnTo>
                  <a:lnTo>
                    <a:pt x="820" y="333"/>
                  </a:lnTo>
                  <a:lnTo>
                    <a:pt x="813" y="331"/>
                  </a:lnTo>
                  <a:lnTo>
                    <a:pt x="807" y="328"/>
                  </a:lnTo>
                  <a:lnTo>
                    <a:pt x="801" y="326"/>
                  </a:lnTo>
                  <a:lnTo>
                    <a:pt x="795" y="322"/>
                  </a:lnTo>
                  <a:lnTo>
                    <a:pt x="783" y="312"/>
                  </a:lnTo>
                  <a:lnTo>
                    <a:pt x="773" y="306"/>
                  </a:lnTo>
                  <a:lnTo>
                    <a:pt x="762" y="302"/>
                  </a:lnTo>
                  <a:lnTo>
                    <a:pt x="753" y="298"/>
                  </a:lnTo>
                  <a:lnTo>
                    <a:pt x="744" y="297"/>
                  </a:lnTo>
                  <a:lnTo>
                    <a:pt x="736" y="297"/>
                  </a:lnTo>
                  <a:lnTo>
                    <a:pt x="728" y="298"/>
                  </a:lnTo>
                  <a:lnTo>
                    <a:pt x="722" y="299"/>
                  </a:lnTo>
                  <a:lnTo>
                    <a:pt x="709" y="303"/>
                  </a:lnTo>
                  <a:lnTo>
                    <a:pt x="694" y="306"/>
                  </a:lnTo>
                  <a:lnTo>
                    <a:pt x="688" y="306"/>
                  </a:lnTo>
                  <a:lnTo>
                    <a:pt x="681" y="306"/>
                  </a:lnTo>
                  <a:lnTo>
                    <a:pt x="673" y="305"/>
                  </a:lnTo>
                  <a:lnTo>
                    <a:pt x="665" y="301"/>
                  </a:lnTo>
                  <a:lnTo>
                    <a:pt x="655" y="295"/>
                  </a:lnTo>
                  <a:lnTo>
                    <a:pt x="643" y="291"/>
                  </a:lnTo>
                  <a:lnTo>
                    <a:pt x="633" y="289"/>
                  </a:lnTo>
                  <a:lnTo>
                    <a:pt x="622" y="288"/>
                  </a:lnTo>
                  <a:lnTo>
                    <a:pt x="612" y="288"/>
                  </a:lnTo>
                  <a:lnTo>
                    <a:pt x="601" y="288"/>
                  </a:lnTo>
                  <a:lnTo>
                    <a:pt x="592" y="290"/>
                  </a:lnTo>
                  <a:lnTo>
                    <a:pt x="583" y="294"/>
                  </a:lnTo>
                  <a:lnTo>
                    <a:pt x="575" y="298"/>
                  </a:lnTo>
                  <a:lnTo>
                    <a:pt x="567" y="305"/>
                  </a:lnTo>
                  <a:lnTo>
                    <a:pt x="561" y="311"/>
                  </a:lnTo>
                  <a:lnTo>
                    <a:pt x="557" y="320"/>
                  </a:lnTo>
                  <a:lnTo>
                    <a:pt x="553" y="331"/>
                  </a:lnTo>
                  <a:lnTo>
                    <a:pt x="550" y="343"/>
                  </a:lnTo>
                  <a:lnTo>
                    <a:pt x="549" y="356"/>
                  </a:lnTo>
                  <a:lnTo>
                    <a:pt x="550" y="371"/>
                  </a:lnTo>
                  <a:lnTo>
                    <a:pt x="550" y="379"/>
                  </a:lnTo>
                  <a:lnTo>
                    <a:pt x="550" y="386"/>
                  </a:lnTo>
                  <a:lnTo>
                    <a:pt x="549" y="392"/>
                  </a:lnTo>
                  <a:lnTo>
                    <a:pt x="548" y="397"/>
                  </a:lnTo>
                  <a:lnTo>
                    <a:pt x="542" y="408"/>
                  </a:lnTo>
                  <a:lnTo>
                    <a:pt x="537" y="417"/>
                  </a:lnTo>
                  <a:lnTo>
                    <a:pt x="531" y="426"/>
                  </a:lnTo>
                  <a:lnTo>
                    <a:pt x="525" y="437"/>
                  </a:lnTo>
                  <a:lnTo>
                    <a:pt x="523" y="443"/>
                  </a:lnTo>
                  <a:lnTo>
                    <a:pt x="522" y="450"/>
                  </a:lnTo>
                  <a:lnTo>
                    <a:pt x="520" y="458"/>
                  </a:lnTo>
                  <a:lnTo>
                    <a:pt x="520" y="465"/>
                  </a:lnTo>
                  <a:lnTo>
                    <a:pt x="522" y="476"/>
                  </a:lnTo>
                  <a:lnTo>
                    <a:pt x="527" y="490"/>
                  </a:lnTo>
                  <a:lnTo>
                    <a:pt x="535" y="506"/>
                  </a:lnTo>
                  <a:lnTo>
                    <a:pt x="542" y="523"/>
                  </a:lnTo>
                  <a:lnTo>
                    <a:pt x="549" y="539"/>
                  </a:lnTo>
                  <a:lnTo>
                    <a:pt x="554" y="553"/>
                  </a:lnTo>
                  <a:lnTo>
                    <a:pt x="556" y="558"/>
                  </a:lnTo>
                  <a:lnTo>
                    <a:pt x="556" y="564"/>
                  </a:lnTo>
                  <a:lnTo>
                    <a:pt x="554" y="568"/>
                  </a:lnTo>
                  <a:lnTo>
                    <a:pt x="552" y="569"/>
                  </a:lnTo>
                  <a:lnTo>
                    <a:pt x="539" y="573"/>
                  </a:lnTo>
                  <a:lnTo>
                    <a:pt x="519" y="575"/>
                  </a:lnTo>
                  <a:lnTo>
                    <a:pt x="498" y="577"/>
                  </a:lnTo>
                  <a:lnTo>
                    <a:pt x="474" y="579"/>
                  </a:lnTo>
                  <a:lnTo>
                    <a:pt x="451" y="582"/>
                  </a:lnTo>
                  <a:lnTo>
                    <a:pt x="430" y="585"/>
                  </a:lnTo>
                  <a:lnTo>
                    <a:pt x="422" y="587"/>
                  </a:lnTo>
                  <a:lnTo>
                    <a:pt x="414" y="590"/>
                  </a:lnTo>
                  <a:lnTo>
                    <a:pt x="409" y="592"/>
                  </a:lnTo>
                  <a:lnTo>
                    <a:pt x="405" y="595"/>
                  </a:lnTo>
                  <a:lnTo>
                    <a:pt x="378" y="628"/>
                  </a:lnTo>
                  <a:lnTo>
                    <a:pt x="340" y="671"/>
                  </a:lnTo>
                  <a:lnTo>
                    <a:pt x="333" y="680"/>
                  </a:lnTo>
                  <a:lnTo>
                    <a:pt x="328" y="689"/>
                  </a:lnTo>
                  <a:lnTo>
                    <a:pt x="324" y="696"/>
                  </a:lnTo>
                  <a:lnTo>
                    <a:pt x="319" y="702"/>
                  </a:lnTo>
                  <a:lnTo>
                    <a:pt x="314" y="706"/>
                  </a:lnTo>
                  <a:lnTo>
                    <a:pt x="308" y="711"/>
                  </a:lnTo>
                  <a:lnTo>
                    <a:pt x="303" y="714"/>
                  </a:lnTo>
                  <a:lnTo>
                    <a:pt x="299" y="718"/>
                  </a:lnTo>
                  <a:lnTo>
                    <a:pt x="298" y="719"/>
                  </a:lnTo>
                  <a:lnTo>
                    <a:pt x="297" y="721"/>
                  </a:lnTo>
                  <a:lnTo>
                    <a:pt x="295" y="722"/>
                  </a:lnTo>
                  <a:lnTo>
                    <a:pt x="294" y="723"/>
                  </a:lnTo>
                  <a:lnTo>
                    <a:pt x="291" y="724"/>
                  </a:lnTo>
                  <a:lnTo>
                    <a:pt x="289" y="726"/>
                  </a:lnTo>
                  <a:lnTo>
                    <a:pt x="286" y="727"/>
                  </a:lnTo>
                  <a:lnTo>
                    <a:pt x="282" y="730"/>
                  </a:lnTo>
                  <a:lnTo>
                    <a:pt x="281" y="730"/>
                  </a:lnTo>
                  <a:lnTo>
                    <a:pt x="278" y="732"/>
                  </a:lnTo>
                  <a:lnTo>
                    <a:pt x="276" y="738"/>
                  </a:lnTo>
                  <a:lnTo>
                    <a:pt x="276" y="740"/>
                  </a:lnTo>
                  <a:lnTo>
                    <a:pt x="274" y="741"/>
                  </a:lnTo>
                  <a:lnTo>
                    <a:pt x="270" y="753"/>
                  </a:lnTo>
                  <a:lnTo>
                    <a:pt x="266" y="766"/>
                  </a:lnTo>
                  <a:lnTo>
                    <a:pt x="263" y="778"/>
                  </a:lnTo>
                  <a:lnTo>
                    <a:pt x="261" y="790"/>
                  </a:lnTo>
                  <a:lnTo>
                    <a:pt x="261" y="792"/>
                  </a:lnTo>
                  <a:lnTo>
                    <a:pt x="260" y="795"/>
                  </a:lnTo>
                  <a:lnTo>
                    <a:pt x="260" y="796"/>
                  </a:lnTo>
                  <a:lnTo>
                    <a:pt x="259" y="798"/>
                  </a:lnTo>
                  <a:lnTo>
                    <a:pt x="259" y="799"/>
                  </a:lnTo>
                  <a:lnTo>
                    <a:pt x="259" y="799"/>
                  </a:lnTo>
                  <a:lnTo>
                    <a:pt x="257" y="800"/>
                  </a:lnTo>
                  <a:lnTo>
                    <a:pt x="257" y="802"/>
                  </a:lnTo>
                  <a:lnTo>
                    <a:pt x="256" y="802"/>
                  </a:lnTo>
                  <a:lnTo>
                    <a:pt x="255" y="802"/>
                  </a:lnTo>
                  <a:lnTo>
                    <a:pt x="255" y="803"/>
                  </a:lnTo>
                  <a:lnTo>
                    <a:pt x="255" y="804"/>
                  </a:lnTo>
                  <a:lnTo>
                    <a:pt x="252" y="804"/>
                  </a:lnTo>
                  <a:lnTo>
                    <a:pt x="251" y="803"/>
                  </a:lnTo>
                  <a:lnTo>
                    <a:pt x="249" y="804"/>
                  </a:lnTo>
                  <a:lnTo>
                    <a:pt x="246" y="806"/>
                  </a:lnTo>
                  <a:lnTo>
                    <a:pt x="240" y="804"/>
                  </a:lnTo>
                  <a:lnTo>
                    <a:pt x="240" y="803"/>
                  </a:lnTo>
                  <a:lnTo>
                    <a:pt x="240" y="802"/>
                  </a:lnTo>
                  <a:lnTo>
                    <a:pt x="232" y="799"/>
                  </a:lnTo>
                  <a:lnTo>
                    <a:pt x="225" y="796"/>
                  </a:lnTo>
                  <a:lnTo>
                    <a:pt x="217" y="796"/>
                  </a:lnTo>
                  <a:lnTo>
                    <a:pt x="209" y="796"/>
                  </a:lnTo>
                  <a:lnTo>
                    <a:pt x="208" y="796"/>
                  </a:lnTo>
                  <a:lnTo>
                    <a:pt x="206" y="799"/>
                  </a:lnTo>
                  <a:lnTo>
                    <a:pt x="195" y="806"/>
                  </a:lnTo>
                  <a:lnTo>
                    <a:pt x="183" y="809"/>
                  </a:lnTo>
                  <a:lnTo>
                    <a:pt x="170" y="812"/>
                  </a:lnTo>
                  <a:lnTo>
                    <a:pt x="157" y="815"/>
                  </a:lnTo>
                  <a:lnTo>
                    <a:pt x="129" y="816"/>
                  </a:lnTo>
                  <a:lnTo>
                    <a:pt x="103" y="817"/>
                  </a:lnTo>
                  <a:lnTo>
                    <a:pt x="86" y="817"/>
                  </a:lnTo>
                  <a:lnTo>
                    <a:pt x="70" y="815"/>
                  </a:lnTo>
                  <a:lnTo>
                    <a:pt x="56" y="812"/>
                  </a:lnTo>
                  <a:lnTo>
                    <a:pt x="39" y="811"/>
                  </a:lnTo>
                  <a:lnTo>
                    <a:pt x="35" y="812"/>
                  </a:lnTo>
                  <a:lnTo>
                    <a:pt x="31" y="812"/>
                  </a:lnTo>
                  <a:lnTo>
                    <a:pt x="28" y="813"/>
                  </a:lnTo>
                  <a:lnTo>
                    <a:pt x="27" y="815"/>
                  </a:lnTo>
                  <a:lnTo>
                    <a:pt x="27" y="820"/>
                  </a:lnTo>
                  <a:lnTo>
                    <a:pt x="28" y="825"/>
                  </a:lnTo>
                  <a:lnTo>
                    <a:pt x="36" y="837"/>
                  </a:lnTo>
                  <a:lnTo>
                    <a:pt x="43" y="849"/>
                  </a:lnTo>
                  <a:lnTo>
                    <a:pt x="48" y="859"/>
                  </a:lnTo>
                  <a:lnTo>
                    <a:pt x="49" y="866"/>
                  </a:lnTo>
                  <a:lnTo>
                    <a:pt x="47" y="871"/>
                  </a:lnTo>
                  <a:lnTo>
                    <a:pt x="38" y="878"/>
                  </a:lnTo>
                  <a:lnTo>
                    <a:pt x="34" y="881"/>
                  </a:lnTo>
                  <a:lnTo>
                    <a:pt x="30" y="887"/>
                  </a:lnTo>
                  <a:lnTo>
                    <a:pt x="26" y="893"/>
                  </a:lnTo>
                  <a:lnTo>
                    <a:pt x="23" y="900"/>
                  </a:lnTo>
                  <a:lnTo>
                    <a:pt x="21" y="906"/>
                  </a:lnTo>
                  <a:lnTo>
                    <a:pt x="19" y="913"/>
                  </a:lnTo>
                  <a:lnTo>
                    <a:pt x="19" y="919"/>
                  </a:lnTo>
                  <a:lnTo>
                    <a:pt x="22" y="926"/>
                  </a:lnTo>
                  <a:lnTo>
                    <a:pt x="26" y="932"/>
                  </a:lnTo>
                  <a:lnTo>
                    <a:pt x="28" y="939"/>
                  </a:lnTo>
                  <a:lnTo>
                    <a:pt x="31" y="947"/>
                  </a:lnTo>
                  <a:lnTo>
                    <a:pt x="32" y="955"/>
                  </a:lnTo>
                  <a:lnTo>
                    <a:pt x="31" y="961"/>
                  </a:lnTo>
                  <a:lnTo>
                    <a:pt x="30" y="968"/>
                  </a:lnTo>
                  <a:lnTo>
                    <a:pt x="26" y="974"/>
                  </a:lnTo>
                  <a:lnTo>
                    <a:pt x="21" y="978"/>
                  </a:lnTo>
                  <a:lnTo>
                    <a:pt x="17" y="981"/>
                  </a:lnTo>
                  <a:lnTo>
                    <a:pt x="17" y="985"/>
                  </a:lnTo>
                  <a:lnTo>
                    <a:pt x="15" y="989"/>
                  </a:lnTo>
                  <a:lnTo>
                    <a:pt x="15" y="991"/>
                  </a:lnTo>
                  <a:lnTo>
                    <a:pt x="14" y="995"/>
                  </a:lnTo>
                  <a:lnTo>
                    <a:pt x="10" y="999"/>
                  </a:lnTo>
                  <a:lnTo>
                    <a:pt x="10" y="1000"/>
                  </a:lnTo>
                  <a:lnTo>
                    <a:pt x="9" y="1002"/>
                  </a:lnTo>
                  <a:lnTo>
                    <a:pt x="7" y="1002"/>
                  </a:lnTo>
                  <a:lnTo>
                    <a:pt x="7" y="1003"/>
                  </a:lnTo>
                  <a:lnTo>
                    <a:pt x="6" y="1004"/>
                  </a:lnTo>
                  <a:lnTo>
                    <a:pt x="4" y="1007"/>
                  </a:lnTo>
                  <a:lnTo>
                    <a:pt x="2" y="1011"/>
                  </a:lnTo>
                  <a:lnTo>
                    <a:pt x="2" y="1019"/>
                  </a:lnTo>
                  <a:lnTo>
                    <a:pt x="1" y="1020"/>
                  </a:lnTo>
                  <a:lnTo>
                    <a:pt x="1" y="1023"/>
                  </a:lnTo>
                  <a:lnTo>
                    <a:pt x="1" y="1025"/>
                  </a:lnTo>
                  <a:lnTo>
                    <a:pt x="1" y="1028"/>
                  </a:lnTo>
                  <a:lnTo>
                    <a:pt x="1" y="1029"/>
                  </a:lnTo>
                  <a:lnTo>
                    <a:pt x="0" y="1034"/>
                  </a:lnTo>
                  <a:lnTo>
                    <a:pt x="0" y="1041"/>
                  </a:lnTo>
                  <a:lnTo>
                    <a:pt x="1" y="1061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37" name="Freeform 87"/>
            <p:cNvSpPr>
              <a:spLocks/>
            </p:cNvSpPr>
            <p:nvPr/>
          </p:nvSpPr>
          <p:spPr bwMode="auto">
            <a:xfrm>
              <a:off x="6330950" y="2900363"/>
              <a:ext cx="2709863" cy="1924050"/>
            </a:xfrm>
            <a:custGeom>
              <a:avLst/>
              <a:gdLst>
                <a:gd name="T0" fmla="*/ 882332 w 7371"/>
                <a:gd name="T1" fmla="*/ 1746265 h 5238"/>
                <a:gd name="T2" fmla="*/ 954390 w 7371"/>
                <a:gd name="T3" fmla="*/ 1592355 h 5238"/>
                <a:gd name="T4" fmla="*/ 934905 w 7371"/>
                <a:gd name="T5" fmla="*/ 1520360 h 5238"/>
                <a:gd name="T6" fmla="*/ 891523 w 7371"/>
                <a:gd name="T7" fmla="*/ 1370858 h 5238"/>
                <a:gd name="T8" fmla="*/ 970933 w 7371"/>
                <a:gd name="T9" fmla="*/ 1208868 h 5238"/>
                <a:gd name="T10" fmla="*/ 1133797 w 7371"/>
                <a:gd name="T11" fmla="*/ 1275353 h 5238"/>
                <a:gd name="T12" fmla="*/ 1180855 w 7371"/>
                <a:gd name="T13" fmla="*/ 1375633 h 5238"/>
                <a:gd name="T14" fmla="*/ 1345557 w 7371"/>
                <a:gd name="T15" fmla="*/ 1636067 h 5238"/>
                <a:gd name="T16" fmla="*/ 1567611 w 7371"/>
                <a:gd name="T17" fmla="*/ 1635700 h 5238"/>
                <a:gd name="T18" fmla="*/ 1710622 w 7371"/>
                <a:gd name="T19" fmla="*/ 1537257 h 5238"/>
                <a:gd name="T20" fmla="*/ 1868706 w 7371"/>
                <a:gd name="T21" fmla="*/ 1491708 h 5238"/>
                <a:gd name="T22" fmla="*/ 1956572 w 7371"/>
                <a:gd name="T23" fmla="*/ 1524768 h 5238"/>
                <a:gd name="T24" fmla="*/ 1985615 w 7371"/>
                <a:gd name="T25" fmla="*/ 1672800 h 5238"/>
                <a:gd name="T26" fmla="*/ 2198478 w 7371"/>
                <a:gd name="T27" fmla="*/ 1788507 h 5238"/>
                <a:gd name="T28" fmla="*/ 2168332 w 7371"/>
                <a:gd name="T29" fmla="*/ 1519992 h 5238"/>
                <a:gd name="T30" fmla="*/ 2203993 w 7371"/>
                <a:gd name="T31" fmla="*/ 1382612 h 5238"/>
                <a:gd name="T32" fmla="*/ 2059511 w 7371"/>
                <a:gd name="T33" fmla="*/ 1341472 h 5238"/>
                <a:gd name="T34" fmla="*/ 2053261 w 7371"/>
                <a:gd name="T35" fmla="*/ 1126954 h 5238"/>
                <a:gd name="T36" fmla="*/ 2155832 w 7371"/>
                <a:gd name="T37" fmla="*/ 984065 h 5238"/>
                <a:gd name="T38" fmla="*/ 2365018 w 7371"/>
                <a:gd name="T39" fmla="*/ 979289 h 5238"/>
                <a:gd name="T40" fmla="*/ 2495897 w 7371"/>
                <a:gd name="T41" fmla="*/ 1124015 h 5238"/>
                <a:gd name="T42" fmla="*/ 2688908 w 7371"/>
                <a:gd name="T43" fmla="*/ 1086916 h 5238"/>
                <a:gd name="T44" fmla="*/ 2563175 w 7371"/>
                <a:gd name="T45" fmla="*/ 868724 h 5238"/>
                <a:gd name="T46" fmla="*/ 2643320 w 7371"/>
                <a:gd name="T47" fmla="*/ 659716 h 5238"/>
                <a:gd name="T48" fmla="*/ 2680820 w 7371"/>
                <a:gd name="T49" fmla="*/ 445198 h 5238"/>
                <a:gd name="T50" fmla="*/ 2617218 w 7371"/>
                <a:gd name="T51" fmla="*/ 235088 h 5238"/>
                <a:gd name="T52" fmla="*/ 2458398 w 7371"/>
                <a:gd name="T53" fmla="*/ 244639 h 5238"/>
                <a:gd name="T54" fmla="*/ 2323107 w 7371"/>
                <a:gd name="T55" fmla="*/ 369162 h 5238"/>
                <a:gd name="T56" fmla="*/ 2135244 w 7371"/>
                <a:gd name="T57" fmla="*/ 475686 h 5238"/>
                <a:gd name="T58" fmla="*/ 1948852 w 7371"/>
                <a:gd name="T59" fmla="*/ 323614 h 5238"/>
                <a:gd name="T60" fmla="*/ 1817237 w 7371"/>
                <a:gd name="T61" fmla="*/ 180357 h 5238"/>
                <a:gd name="T62" fmla="*/ 1703637 w 7371"/>
                <a:gd name="T63" fmla="*/ 85587 h 5238"/>
                <a:gd name="T64" fmla="*/ 1567243 w 7371"/>
                <a:gd name="T65" fmla="*/ 40773 h 5238"/>
                <a:gd name="T66" fmla="*/ 1476436 w 7371"/>
                <a:gd name="T67" fmla="*/ 13958 h 5238"/>
                <a:gd name="T68" fmla="*/ 1381953 w 7371"/>
                <a:gd name="T69" fmla="*/ 17999 h 5238"/>
                <a:gd name="T70" fmla="*/ 1281588 w 7371"/>
                <a:gd name="T71" fmla="*/ 9183 h 5238"/>
                <a:gd name="T72" fmla="*/ 1241147 w 7371"/>
                <a:gd name="T73" fmla="*/ 67955 h 5238"/>
                <a:gd name="T74" fmla="*/ 1281220 w 7371"/>
                <a:gd name="T75" fmla="*/ 205335 h 5238"/>
                <a:gd name="T76" fmla="*/ 1180855 w 7371"/>
                <a:gd name="T77" fmla="*/ 406262 h 5238"/>
                <a:gd name="T78" fmla="*/ 901082 w 7371"/>
                <a:gd name="T79" fmla="*/ 347122 h 5238"/>
                <a:gd name="T80" fmla="*/ 780864 w 7371"/>
                <a:gd name="T81" fmla="*/ 401854 h 5238"/>
                <a:gd name="T82" fmla="*/ 702189 w 7371"/>
                <a:gd name="T83" fmla="*/ 445933 h 5238"/>
                <a:gd name="T84" fmla="*/ 631971 w 7371"/>
                <a:gd name="T85" fmla="*/ 412506 h 5238"/>
                <a:gd name="T86" fmla="*/ 401094 w 7371"/>
                <a:gd name="T87" fmla="*/ 578537 h 5238"/>
                <a:gd name="T88" fmla="*/ 268744 w 7371"/>
                <a:gd name="T89" fmla="*/ 583313 h 5238"/>
                <a:gd name="T90" fmla="*/ 156246 w 7371"/>
                <a:gd name="T91" fmla="*/ 697183 h 5238"/>
                <a:gd name="T92" fmla="*/ 34558 w 7371"/>
                <a:gd name="T93" fmla="*/ 868357 h 5238"/>
                <a:gd name="T94" fmla="*/ 75366 w 7371"/>
                <a:gd name="T95" fmla="*/ 1048714 h 5238"/>
                <a:gd name="T96" fmla="*/ 136026 w 7371"/>
                <a:gd name="T97" fmla="*/ 1061570 h 5238"/>
                <a:gd name="T98" fmla="*/ 263229 w 7371"/>
                <a:gd name="T99" fmla="*/ 1074059 h 5238"/>
                <a:gd name="T100" fmla="*/ 387491 w 7371"/>
                <a:gd name="T101" fmla="*/ 956882 h 5238"/>
                <a:gd name="T102" fmla="*/ 576089 w 7371"/>
                <a:gd name="T103" fmla="*/ 1027042 h 5238"/>
                <a:gd name="T104" fmla="*/ 542267 w 7371"/>
                <a:gd name="T105" fmla="*/ 1156340 h 5238"/>
                <a:gd name="T106" fmla="*/ 580501 w 7371"/>
                <a:gd name="T107" fmla="*/ 1239356 h 5238"/>
                <a:gd name="T108" fmla="*/ 644470 w 7371"/>
                <a:gd name="T109" fmla="*/ 1283067 h 5238"/>
                <a:gd name="T110" fmla="*/ 662484 w 7371"/>
                <a:gd name="T111" fmla="*/ 1403550 h 5238"/>
                <a:gd name="T112" fmla="*/ 646676 w 7371"/>
                <a:gd name="T113" fmla="*/ 1452037 h 5238"/>
                <a:gd name="T114" fmla="*/ 624250 w 7371"/>
                <a:gd name="T115" fmla="*/ 1544236 h 5238"/>
                <a:gd name="T116" fmla="*/ 622412 w 7371"/>
                <a:gd name="T117" fmla="*/ 1604110 h 5238"/>
                <a:gd name="T118" fmla="*/ 606971 w 7371"/>
                <a:gd name="T119" fmla="*/ 1696676 h 5238"/>
                <a:gd name="T120" fmla="*/ 632706 w 7371"/>
                <a:gd name="T121" fmla="*/ 1796955 h 5238"/>
                <a:gd name="T122" fmla="*/ 666896 w 7371"/>
                <a:gd name="T123" fmla="*/ 1838463 h 5238"/>
                <a:gd name="T124" fmla="*/ 727189 w 7371"/>
                <a:gd name="T125" fmla="*/ 1910459 h 523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371"/>
                <a:gd name="T190" fmla="*/ 0 h 5238"/>
                <a:gd name="T191" fmla="*/ 7371 w 7371"/>
                <a:gd name="T192" fmla="*/ 5238 h 523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371" h="5238">
                  <a:moveTo>
                    <a:pt x="2041" y="5238"/>
                  </a:moveTo>
                  <a:lnTo>
                    <a:pt x="2048" y="5233"/>
                  </a:lnTo>
                  <a:lnTo>
                    <a:pt x="2058" y="5229"/>
                  </a:lnTo>
                  <a:lnTo>
                    <a:pt x="2067" y="5225"/>
                  </a:lnTo>
                  <a:lnTo>
                    <a:pt x="2076" y="5223"/>
                  </a:lnTo>
                  <a:lnTo>
                    <a:pt x="2094" y="5220"/>
                  </a:lnTo>
                  <a:lnTo>
                    <a:pt x="2114" y="5217"/>
                  </a:lnTo>
                  <a:lnTo>
                    <a:pt x="2123" y="5216"/>
                  </a:lnTo>
                  <a:lnTo>
                    <a:pt x="2132" y="5213"/>
                  </a:lnTo>
                  <a:lnTo>
                    <a:pt x="2141" y="5209"/>
                  </a:lnTo>
                  <a:lnTo>
                    <a:pt x="2149" y="5205"/>
                  </a:lnTo>
                  <a:lnTo>
                    <a:pt x="2157" y="5200"/>
                  </a:lnTo>
                  <a:lnTo>
                    <a:pt x="2165" y="5192"/>
                  </a:lnTo>
                  <a:lnTo>
                    <a:pt x="2171" y="5183"/>
                  </a:lnTo>
                  <a:lnTo>
                    <a:pt x="2177" y="5172"/>
                  </a:lnTo>
                  <a:lnTo>
                    <a:pt x="2182" y="5161"/>
                  </a:lnTo>
                  <a:lnTo>
                    <a:pt x="2184" y="5148"/>
                  </a:lnTo>
                  <a:lnTo>
                    <a:pt x="2187" y="5134"/>
                  </a:lnTo>
                  <a:lnTo>
                    <a:pt x="2188" y="5121"/>
                  </a:lnTo>
                  <a:lnTo>
                    <a:pt x="2190" y="5095"/>
                  </a:lnTo>
                  <a:lnTo>
                    <a:pt x="2191" y="5069"/>
                  </a:lnTo>
                  <a:lnTo>
                    <a:pt x="2194" y="5057"/>
                  </a:lnTo>
                  <a:lnTo>
                    <a:pt x="2195" y="5046"/>
                  </a:lnTo>
                  <a:lnTo>
                    <a:pt x="2199" y="5034"/>
                  </a:lnTo>
                  <a:lnTo>
                    <a:pt x="2203" y="5023"/>
                  </a:lnTo>
                  <a:lnTo>
                    <a:pt x="2209" y="5014"/>
                  </a:lnTo>
                  <a:lnTo>
                    <a:pt x="2217" y="5006"/>
                  </a:lnTo>
                  <a:lnTo>
                    <a:pt x="2228" y="4998"/>
                  </a:lnTo>
                  <a:lnTo>
                    <a:pt x="2241" y="4993"/>
                  </a:lnTo>
                  <a:lnTo>
                    <a:pt x="2250" y="4989"/>
                  </a:lnTo>
                  <a:lnTo>
                    <a:pt x="2259" y="4984"/>
                  </a:lnTo>
                  <a:lnTo>
                    <a:pt x="2265" y="4978"/>
                  </a:lnTo>
                  <a:lnTo>
                    <a:pt x="2271" y="4971"/>
                  </a:lnTo>
                  <a:lnTo>
                    <a:pt x="2276" y="4963"/>
                  </a:lnTo>
                  <a:lnTo>
                    <a:pt x="2280" y="4954"/>
                  </a:lnTo>
                  <a:lnTo>
                    <a:pt x="2282" y="4945"/>
                  </a:lnTo>
                  <a:lnTo>
                    <a:pt x="2285" y="4934"/>
                  </a:lnTo>
                  <a:lnTo>
                    <a:pt x="2286" y="4924"/>
                  </a:lnTo>
                  <a:lnTo>
                    <a:pt x="2286" y="4917"/>
                  </a:lnTo>
                  <a:lnTo>
                    <a:pt x="2284" y="4912"/>
                  </a:lnTo>
                  <a:lnTo>
                    <a:pt x="2281" y="4907"/>
                  </a:lnTo>
                  <a:lnTo>
                    <a:pt x="2281" y="4903"/>
                  </a:lnTo>
                  <a:lnTo>
                    <a:pt x="2282" y="4898"/>
                  </a:lnTo>
                  <a:lnTo>
                    <a:pt x="2286" y="4891"/>
                  </a:lnTo>
                  <a:lnTo>
                    <a:pt x="2297" y="4882"/>
                  </a:lnTo>
                  <a:lnTo>
                    <a:pt x="2306" y="4877"/>
                  </a:lnTo>
                  <a:lnTo>
                    <a:pt x="2319" y="4873"/>
                  </a:lnTo>
                  <a:lnTo>
                    <a:pt x="2334" y="4870"/>
                  </a:lnTo>
                  <a:lnTo>
                    <a:pt x="2349" y="4866"/>
                  </a:lnTo>
                  <a:lnTo>
                    <a:pt x="2364" y="4864"/>
                  </a:lnTo>
                  <a:lnTo>
                    <a:pt x="2375" y="4861"/>
                  </a:lnTo>
                  <a:lnTo>
                    <a:pt x="2379" y="4860"/>
                  </a:lnTo>
                  <a:lnTo>
                    <a:pt x="2383" y="4857"/>
                  </a:lnTo>
                  <a:lnTo>
                    <a:pt x="2385" y="4855"/>
                  </a:lnTo>
                  <a:lnTo>
                    <a:pt x="2386" y="4852"/>
                  </a:lnTo>
                  <a:lnTo>
                    <a:pt x="2387" y="4832"/>
                  </a:lnTo>
                  <a:lnTo>
                    <a:pt x="2388" y="4811"/>
                  </a:lnTo>
                  <a:lnTo>
                    <a:pt x="2392" y="4792"/>
                  </a:lnTo>
                  <a:lnTo>
                    <a:pt x="2396" y="4773"/>
                  </a:lnTo>
                  <a:lnTo>
                    <a:pt x="2400" y="4754"/>
                  </a:lnTo>
                  <a:lnTo>
                    <a:pt x="2404" y="4734"/>
                  </a:lnTo>
                  <a:lnTo>
                    <a:pt x="2405" y="4716"/>
                  </a:lnTo>
                  <a:lnTo>
                    <a:pt x="2407" y="4696"/>
                  </a:lnTo>
                  <a:lnTo>
                    <a:pt x="2408" y="4683"/>
                  </a:lnTo>
                  <a:lnTo>
                    <a:pt x="2411" y="4671"/>
                  </a:lnTo>
                  <a:lnTo>
                    <a:pt x="2415" y="4664"/>
                  </a:lnTo>
                  <a:lnTo>
                    <a:pt x="2420" y="4656"/>
                  </a:lnTo>
                  <a:lnTo>
                    <a:pt x="2425" y="4648"/>
                  </a:lnTo>
                  <a:lnTo>
                    <a:pt x="2429" y="4640"/>
                  </a:lnTo>
                  <a:lnTo>
                    <a:pt x="2432" y="4630"/>
                  </a:lnTo>
                  <a:lnTo>
                    <a:pt x="2433" y="4618"/>
                  </a:lnTo>
                  <a:lnTo>
                    <a:pt x="2433" y="4614"/>
                  </a:lnTo>
                  <a:lnTo>
                    <a:pt x="2434" y="4609"/>
                  </a:lnTo>
                  <a:lnTo>
                    <a:pt x="2437" y="4605"/>
                  </a:lnTo>
                  <a:lnTo>
                    <a:pt x="2439" y="4601"/>
                  </a:lnTo>
                  <a:lnTo>
                    <a:pt x="2446" y="4594"/>
                  </a:lnTo>
                  <a:lnTo>
                    <a:pt x="2455" y="4586"/>
                  </a:lnTo>
                  <a:lnTo>
                    <a:pt x="2463" y="4579"/>
                  </a:lnTo>
                  <a:lnTo>
                    <a:pt x="2471" y="4569"/>
                  </a:lnTo>
                  <a:lnTo>
                    <a:pt x="2475" y="4565"/>
                  </a:lnTo>
                  <a:lnTo>
                    <a:pt x="2479" y="4560"/>
                  </a:lnTo>
                  <a:lnTo>
                    <a:pt x="2480" y="4555"/>
                  </a:lnTo>
                  <a:lnTo>
                    <a:pt x="2483" y="4550"/>
                  </a:lnTo>
                  <a:lnTo>
                    <a:pt x="2485" y="4542"/>
                  </a:lnTo>
                  <a:lnTo>
                    <a:pt x="2488" y="4535"/>
                  </a:lnTo>
                  <a:lnTo>
                    <a:pt x="2489" y="4534"/>
                  </a:lnTo>
                  <a:lnTo>
                    <a:pt x="2490" y="4533"/>
                  </a:lnTo>
                  <a:lnTo>
                    <a:pt x="2492" y="4533"/>
                  </a:lnTo>
                  <a:lnTo>
                    <a:pt x="2496" y="4531"/>
                  </a:lnTo>
                  <a:lnTo>
                    <a:pt x="2498" y="4529"/>
                  </a:lnTo>
                  <a:lnTo>
                    <a:pt x="2505" y="4525"/>
                  </a:lnTo>
                  <a:lnTo>
                    <a:pt x="2511" y="4520"/>
                  </a:lnTo>
                  <a:lnTo>
                    <a:pt x="2515" y="4516"/>
                  </a:lnTo>
                  <a:lnTo>
                    <a:pt x="2521" y="4511"/>
                  </a:lnTo>
                  <a:lnTo>
                    <a:pt x="2527" y="4504"/>
                  </a:lnTo>
                  <a:lnTo>
                    <a:pt x="2536" y="4492"/>
                  </a:lnTo>
                  <a:lnTo>
                    <a:pt x="2540" y="4484"/>
                  </a:lnTo>
                  <a:lnTo>
                    <a:pt x="2543" y="4479"/>
                  </a:lnTo>
                  <a:lnTo>
                    <a:pt x="2545" y="4474"/>
                  </a:lnTo>
                  <a:lnTo>
                    <a:pt x="2544" y="4469"/>
                  </a:lnTo>
                  <a:lnTo>
                    <a:pt x="2539" y="4452"/>
                  </a:lnTo>
                  <a:lnTo>
                    <a:pt x="2535" y="4433"/>
                  </a:lnTo>
                  <a:lnTo>
                    <a:pt x="2534" y="4427"/>
                  </a:lnTo>
                  <a:lnTo>
                    <a:pt x="2531" y="4419"/>
                  </a:lnTo>
                  <a:lnTo>
                    <a:pt x="2531" y="4410"/>
                  </a:lnTo>
                  <a:lnTo>
                    <a:pt x="2532" y="4405"/>
                  </a:lnTo>
                  <a:lnTo>
                    <a:pt x="2535" y="4399"/>
                  </a:lnTo>
                  <a:lnTo>
                    <a:pt x="2538" y="4392"/>
                  </a:lnTo>
                  <a:lnTo>
                    <a:pt x="2539" y="4388"/>
                  </a:lnTo>
                  <a:lnTo>
                    <a:pt x="2540" y="4384"/>
                  </a:lnTo>
                  <a:lnTo>
                    <a:pt x="2541" y="4382"/>
                  </a:lnTo>
                  <a:lnTo>
                    <a:pt x="2544" y="4381"/>
                  </a:lnTo>
                  <a:lnTo>
                    <a:pt x="2557" y="4378"/>
                  </a:lnTo>
                  <a:lnTo>
                    <a:pt x="2570" y="4377"/>
                  </a:lnTo>
                  <a:lnTo>
                    <a:pt x="2575" y="4374"/>
                  </a:lnTo>
                  <a:lnTo>
                    <a:pt x="2581" y="4372"/>
                  </a:lnTo>
                  <a:lnTo>
                    <a:pt x="2586" y="4359"/>
                  </a:lnTo>
                  <a:lnTo>
                    <a:pt x="2592" y="4347"/>
                  </a:lnTo>
                  <a:lnTo>
                    <a:pt x="2595" y="4340"/>
                  </a:lnTo>
                  <a:lnTo>
                    <a:pt x="2596" y="4335"/>
                  </a:lnTo>
                  <a:lnTo>
                    <a:pt x="2598" y="4327"/>
                  </a:lnTo>
                  <a:lnTo>
                    <a:pt x="2598" y="4321"/>
                  </a:lnTo>
                  <a:lnTo>
                    <a:pt x="2598" y="4320"/>
                  </a:lnTo>
                  <a:lnTo>
                    <a:pt x="2596" y="4320"/>
                  </a:lnTo>
                  <a:lnTo>
                    <a:pt x="2595" y="4318"/>
                  </a:lnTo>
                  <a:lnTo>
                    <a:pt x="2595" y="4317"/>
                  </a:lnTo>
                  <a:lnTo>
                    <a:pt x="2592" y="4314"/>
                  </a:lnTo>
                  <a:lnTo>
                    <a:pt x="2590" y="4313"/>
                  </a:lnTo>
                  <a:lnTo>
                    <a:pt x="2590" y="4312"/>
                  </a:lnTo>
                  <a:lnTo>
                    <a:pt x="2589" y="4310"/>
                  </a:lnTo>
                  <a:lnTo>
                    <a:pt x="2589" y="4309"/>
                  </a:lnTo>
                  <a:lnTo>
                    <a:pt x="2587" y="4308"/>
                  </a:lnTo>
                  <a:lnTo>
                    <a:pt x="2586" y="4305"/>
                  </a:lnTo>
                  <a:lnTo>
                    <a:pt x="2585" y="4301"/>
                  </a:lnTo>
                  <a:lnTo>
                    <a:pt x="2581" y="4300"/>
                  </a:lnTo>
                  <a:lnTo>
                    <a:pt x="2578" y="4297"/>
                  </a:lnTo>
                  <a:lnTo>
                    <a:pt x="2575" y="4293"/>
                  </a:lnTo>
                  <a:lnTo>
                    <a:pt x="2574" y="4289"/>
                  </a:lnTo>
                  <a:lnTo>
                    <a:pt x="2572" y="4282"/>
                  </a:lnTo>
                  <a:lnTo>
                    <a:pt x="2572" y="4271"/>
                  </a:lnTo>
                  <a:lnTo>
                    <a:pt x="2572" y="4262"/>
                  </a:lnTo>
                  <a:lnTo>
                    <a:pt x="2573" y="4253"/>
                  </a:lnTo>
                  <a:lnTo>
                    <a:pt x="2574" y="4245"/>
                  </a:lnTo>
                  <a:lnTo>
                    <a:pt x="2577" y="4240"/>
                  </a:lnTo>
                  <a:lnTo>
                    <a:pt x="2579" y="4238"/>
                  </a:lnTo>
                  <a:lnTo>
                    <a:pt x="2582" y="4238"/>
                  </a:lnTo>
                  <a:lnTo>
                    <a:pt x="2585" y="4237"/>
                  </a:lnTo>
                  <a:lnTo>
                    <a:pt x="2586" y="4236"/>
                  </a:lnTo>
                  <a:lnTo>
                    <a:pt x="2590" y="4235"/>
                  </a:lnTo>
                  <a:lnTo>
                    <a:pt x="2592" y="4232"/>
                  </a:lnTo>
                  <a:lnTo>
                    <a:pt x="2594" y="4231"/>
                  </a:lnTo>
                  <a:lnTo>
                    <a:pt x="2594" y="4229"/>
                  </a:lnTo>
                  <a:lnTo>
                    <a:pt x="2595" y="4227"/>
                  </a:lnTo>
                  <a:lnTo>
                    <a:pt x="2598" y="4224"/>
                  </a:lnTo>
                  <a:lnTo>
                    <a:pt x="2598" y="4219"/>
                  </a:lnTo>
                  <a:lnTo>
                    <a:pt x="2596" y="4211"/>
                  </a:lnTo>
                  <a:lnTo>
                    <a:pt x="2595" y="4203"/>
                  </a:lnTo>
                  <a:lnTo>
                    <a:pt x="2592" y="4195"/>
                  </a:lnTo>
                  <a:lnTo>
                    <a:pt x="2590" y="4187"/>
                  </a:lnTo>
                  <a:lnTo>
                    <a:pt x="2587" y="4182"/>
                  </a:lnTo>
                  <a:lnTo>
                    <a:pt x="2585" y="4180"/>
                  </a:lnTo>
                  <a:lnTo>
                    <a:pt x="2583" y="4178"/>
                  </a:lnTo>
                  <a:lnTo>
                    <a:pt x="2582" y="4177"/>
                  </a:lnTo>
                  <a:lnTo>
                    <a:pt x="2582" y="4176"/>
                  </a:lnTo>
                  <a:lnTo>
                    <a:pt x="2581" y="4174"/>
                  </a:lnTo>
                  <a:lnTo>
                    <a:pt x="2577" y="4173"/>
                  </a:lnTo>
                  <a:lnTo>
                    <a:pt x="2574" y="4170"/>
                  </a:lnTo>
                  <a:lnTo>
                    <a:pt x="2573" y="4168"/>
                  </a:lnTo>
                  <a:lnTo>
                    <a:pt x="2570" y="4165"/>
                  </a:lnTo>
                  <a:lnTo>
                    <a:pt x="2570" y="4163"/>
                  </a:lnTo>
                  <a:lnTo>
                    <a:pt x="2569" y="4160"/>
                  </a:lnTo>
                  <a:lnTo>
                    <a:pt x="2565" y="4156"/>
                  </a:lnTo>
                  <a:lnTo>
                    <a:pt x="2561" y="4152"/>
                  </a:lnTo>
                  <a:lnTo>
                    <a:pt x="2556" y="4147"/>
                  </a:lnTo>
                  <a:lnTo>
                    <a:pt x="2549" y="4143"/>
                  </a:lnTo>
                  <a:lnTo>
                    <a:pt x="2547" y="4143"/>
                  </a:lnTo>
                  <a:lnTo>
                    <a:pt x="2545" y="4142"/>
                  </a:lnTo>
                  <a:lnTo>
                    <a:pt x="2544" y="4140"/>
                  </a:lnTo>
                  <a:lnTo>
                    <a:pt x="2543" y="4139"/>
                  </a:lnTo>
                  <a:lnTo>
                    <a:pt x="2538" y="4136"/>
                  </a:lnTo>
                  <a:lnTo>
                    <a:pt x="2534" y="4133"/>
                  </a:lnTo>
                  <a:lnTo>
                    <a:pt x="2530" y="4130"/>
                  </a:lnTo>
                  <a:lnTo>
                    <a:pt x="2527" y="4127"/>
                  </a:lnTo>
                  <a:lnTo>
                    <a:pt x="2527" y="4126"/>
                  </a:lnTo>
                  <a:lnTo>
                    <a:pt x="2526" y="4125"/>
                  </a:lnTo>
                  <a:lnTo>
                    <a:pt x="2521" y="4114"/>
                  </a:lnTo>
                  <a:lnTo>
                    <a:pt x="2517" y="4102"/>
                  </a:lnTo>
                  <a:lnTo>
                    <a:pt x="2515" y="4101"/>
                  </a:lnTo>
                  <a:lnTo>
                    <a:pt x="2514" y="4098"/>
                  </a:lnTo>
                  <a:lnTo>
                    <a:pt x="2511" y="4092"/>
                  </a:lnTo>
                  <a:lnTo>
                    <a:pt x="2509" y="4087"/>
                  </a:lnTo>
                  <a:lnTo>
                    <a:pt x="2507" y="4083"/>
                  </a:lnTo>
                  <a:lnTo>
                    <a:pt x="2507" y="4079"/>
                  </a:lnTo>
                  <a:lnTo>
                    <a:pt x="2506" y="4078"/>
                  </a:lnTo>
                  <a:lnTo>
                    <a:pt x="2505" y="4075"/>
                  </a:lnTo>
                  <a:lnTo>
                    <a:pt x="2505" y="4072"/>
                  </a:lnTo>
                  <a:lnTo>
                    <a:pt x="2504" y="4071"/>
                  </a:lnTo>
                  <a:lnTo>
                    <a:pt x="2504" y="4064"/>
                  </a:lnTo>
                  <a:lnTo>
                    <a:pt x="2504" y="4055"/>
                  </a:lnTo>
                  <a:lnTo>
                    <a:pt x="2504" y="4054"/>
                  </a:lnTo>
                  <a:lnTo>
                    <a:pt x="2505" y="4051"/>
                  </a:lnTo>
                  <a:lnTo>
                    <a:pt x="2507" y="4049"/>
                  </a:lnTo>
                  <a:lnTo>
                    <a:pt x="2514" y="4038"/>
                  </a:lnTo>
                  <a:lnTo>
                    <a:pt x="2519" y="4028"/>
                  </a:lnTo>
                  <a:lnTo>
                    <a:pt x="2523" y="4023"/>
                  </a:lnTo>
                  <a:lnTo>
                    <a:pt x="2526" y="4017"/>
                  </a:lnTo>
                  <a:lnTo>
                    <a:pt x="2527" y="4015"/>
                  </a:lnTo>
                  <a:lnTo>
                    <a:pt x="2528" y="4013"/>
                  </a:lnTo>
                  <a:lnTo>
                    <a:pt x="2530" y="4004"/>
                  </a:lnTo>
                  <a:lnTo>
                    <a:pt x="2531" y="3994"/>
                  </a:lnTo>
                  <a:lnTo>
                    <a:pt x="2532" y="3986"/>
                  </a:lnTo>
                  <a:lnTo>
                    <a:pt x="2531" y="3979"/>
                  </a:lnTo>
                  <a:lnTo>
                    <a:pt x="2530" y="3974"/>
                  </a:lnTo>
                  <a:lnTo>
                    <a:pt x="2528" y="3969"/>
                  </a:lnTo>
                  <a:lnTo>
                    <a:pt x="2522" y="3960"/>
                  </a:lnTo>
                  <a:lnTo>
                    <a:pt x="2515" y="3952"/>
                  </a:lnTo>
                  <a:lnTo>
                    <a:pt x="2509" y="3943"/>
                  </a:lnTo>
                  <a:lnTo>
                    <a:pt x="2505" y="3934"/>
                  </a:lnTo>
                  <a:lnTo>
                    <a:pt x="2504" y="3928"/>
                  </a:lnTo>
                  <a:lnTo>
                    <a:pt x="2504" y="3922"/>
                  </a:lnTo>
                  <a:lnTo>
                    <a:pt x="2505" y="3915"/>
                  </a:lnTo>
                  <a:lnTo>
                    <a:pt x="2507" y="3908"/>
                  </a:lnTo>
                  <a:lnTo>
                    <a:pt x="2511" y="3893"/>
                  </a:lnTo>
                  <a:lnTo>
                    <a:pt x="2514" y="3880"/>
                  </a:lnTo>
                  <a:lnTo>
                    <a:pt x="2517" y="3868"/>
                  </a:lnTo>
                  <a:lnTo>
                    <a:pt x="2517" y="3858"/>
                  </a:lnTo>
                  <a:lnTo>
                    <a:pt x="2517" y="3847"/>
                  </a:lnTo>
                  <a:lnTo>
                    <a:pt x="2515" y="3838"/>
                  </a:lnTo>
                  <a:lnTo>
                    <a:pt x="2514" y="3829"/>
                  </a:lnTo>
                  <a:lnTo>
                    <a:pt x="2510" y="3820"/>
                  </a:lnTo>
                  <a:lnTo>
                    <a:pt x="2506" y="3813"/>
                  </a:lnTo>
                  <a:lnTo>
                    <a:pt x="2502" y="3805"/>
                  </a:lnTo>
                  <a:lnTo>
                    <a:pt x="2497" y="3799"/>
                  </a:lnTo>
                  <a:lnTo>
                    <a:pt x="2492" y="3792"/>
                  </a:lnTo>
                  <a:lnTo>
                    <a:pt x="2480" y="3779"/>
                  </a:lnTo>
                  <a:lnTo>
                    <a:pt x="2466" y="3768"/>
                  </a:lnTo>
                  <a:lnTo>
                    <a:pt x="2453" y="3757"/>
                  </a:lnTo>
                  <a:lnTo>
                    <a:pt x="2438" y="3745"/>
                  </a:lnTo>
                  <a:lnTo>
                    <a:pt x="2425" y="3732"/>
                  </a:lnTo>
                  <a:lnTo>
                    <a:pt x="2413" y="3718"/>
                  </a:lnTo>
                  <a:lnTo>
                    <a:pt x="2408" y="3711"/>
                  </a:lnTo>
                  <a:lnTo>
                    <a:pt x="2403" y="3702"/>
                  </a:lnTo>
                  <a:lnTo>
                    <a:pt x="2399" y="3694"/>
                  </a:lnTo>
                  <a:lnTo>
                    <a:pt x="2395" y="3685"/>
                  </a:lnTo>
                  <a:lnTo>
                    <a:pt x="2392" y="3675"/>
                  </a:lnTo>
                  <a:lnTo>
                    <a:pt x="2391" y="3664"/>
                  </a:lnTo>
                  <a:lnTo>
                    <a:pt x="2391" y="3652"/>
                  </a:lnTo>
                  <a:lnTo>
                    <a:pt x="2391" y="3639"/>
                  </a:lnTo>
                  <a:lnTo>
                    <a:pt x="2392" y="3632"/>
                  </a:lnTo>
                  <a:lnTo>
                    <a:pt x="2396" y="3624"/>
                  </a:lnTo>
                  <a:lnTo>
                    <a:pt x="2402" y="3618"/>
                  </a:lnTo>
                  <a:lnTo>
                    <a:pt x="2408" y="3613"/>
                  </a:lnTo>
                  <a:lnTo>
                    <a:pt x="2425" y="3604"/>
                  </a:lnTo>
                  <a:lnTo>
                    <a:pt x="2445" y="3595"/>
                  </a:lnTo>
                  <a:lnTo>
                    <a:pt x="2455" y="3591"/>
                  </a:lnTo>
                  <a:lnTo>
                    <a:pt x="2464" y="3587"/>
                  </a:lnTo>
                  <a:lnTo>
                    <a:pt x="2475" y="3582"/>
                  </a:lnTo>
                  <a:lnTo>
                    <a:pt x="2483" y="3575"/>
                  </a:lnTo>
                  <a:lnTo>
                    <a:pt x="2490" y="3569"/>
                  </a:lnTo>
                  <a:lnTo>
                    <a:pt x="2497" y="3561"/>
                  </a:lnTo>
                  <a:lnTo>
                    <a:pt x="2502" y="3552"/>
                  </a:lnTo>
                  <a:lnTo>
                    <a:pt x="2506" y="3540"/>
                  </a:lnTo>
                  <a:lnTo>
                    <a:pt x="2506" y="3536"/>
                  </a:lnTo>
                  <a:lnTo>
                    <a:pt x="2506" y="3531"/>
                  </a:lnTo>
                  <a:lnTo>
                    <a:pt x="2506" y="3528"/>
                  </a:lnTo>
                  <a:lnTo>
                    <a:pt x="2505" y="3526"/>
                  </a:lnTo>
                  <a:lnTo>
                    <a:pt x="2502" y="3520"/>
                  </a:lnTo>
                  <a:lnTo>
                    <a:pt x="2498" y="3516"/>
                  </a:lnTo>
                  <a:lnTo>
                    <a:pt x="2496" y="3510"/>
                  </a:lnTo>
                  <a:lnTo>
                    <a:pt x="2494" y="3503"/>
                  </a:lnTo>
                  <a:lnTo>
                    <a:pt x="2497" y="3492"/>
                  </a:lnTo>
                  <a:lnTo>
                    <a:pt x="2504" y="3477"/>
                  </a:lnTo>
                  <a:lnTo>
                    <a:pt x="2506" y="3471"/>
                  </a:lnTo>
                  <a:lnTo>
                    <a:pt x="2509" y="3464"/>
                  </a:lnTo>
                  <a:lnTo>
                    <a:pt x="2509" y="3459"/>
                  </a:lnTo>
                  <a:lnTo>
                    <a:pt x="2509" y="3454"/>
                  </a:lnTo>
                  <a:lnTo>
                    <a:pt x="2505" y="3444"/>
                  </a:lnTo>
                  <a:lnTo>
                    <a:pt x="2501" y="3438"/>
                  </a:lnTo>
                  <a:lnTo>
                    <a:pt x="2496" y="3430"/>
                  </a:lnTo>
                  <a:lnTo>
                    <a:pt x="2492" y="3422"/>
                  </a:lnTo>
                  <a:lnTo>
                    <a:pt x="2490" y="3418"/>
                  </a:lnTo>
                  <a:lnTo>
                    <a:pt x="2490" y="3414"/>
                  </a:lnTo>
                  <a:lnTo>
                    <a:pt x="2490" y="3409"/>
                  </a:lnTo>
                  <a:lnTo>
                    <a:pt x="2492" y="3404"/>
                  </a:lnTo>
                  <a:lnTo>
                    <a:pt x="2497" y="3391"/>
                  </a:lnTo>
                  <a:lnTo>
                    <a:pt x="2502" y="3379"/>
                  </a:lnTo>
                  <a:lnTo>
                    <a:pt x="2507" y="3369"/>
                  </a:lnTo>
                  <a:lnTo>
                    <a:pt x="2514" y="3358"/>
                  </a:lnTo>
                  <a:lnTo>
                    <a:pt x="2521" y="3349"/>
                  </a:lnTo>
                  <a:lnTo>
                    <a:pt x="2528" y="3341"/>
                  </a:lnTo>
                  <a:lnTo>
                    <a:pt x="2535" y="3333"/>
                  </a:lnTo>
                  <a:lnTo>
                    <a:pt x="2543" y="3327"/>
                  </a:lnTo>
                  <a:lnTo>
                    <a:pt x="2552" y="3320"/>
                  </a:lnTo>
                  <a:lnTo>
                    <a:pt x="2560" y="3315"/>
                  </a:lnTo>
                  <a:lnTo>
                    <a:pt x="2569" y="3311"/>
                  </a:lnTo>
                  <a:lnTo>
                    <a:pt x="2578" y="3307"/>
                  </a:lnTo>
                  <a:lnTo>
                    <a:pt x="2598" y="3301"/>
                  </a:lnTo>
                  <a:lnTo>
                    <a:pt x="2619" y="3295"/>
                  </a:lnTo>
                  <a:lnTo>
                    <a:pt x="2641" y="3291"/>
                  </a:lnTo>
                  <a:lnTo>
                    <a:pt x="2663" y="3289"/>
                  </a:lnTo>
                  <a:lnTo>
                    <a:pt x="2687" y="3287"/>
                  </a:lnTo>
                  <a:lnTo>
                    <a:pt x="2712" y="3287"/>
                  </a:lnTo>
                  <a:lnTo>
                    <a:pt x="2761" y="3285"/>
                  </a:lnTo>
                  <a:lnTo>
                    <a:pt x="2814" y="3281"/>
                  </a:lnTo>
                  <a:lnTo>
                    <a:pt x="2820" y="3278"/>
                  </a:lnTo>
                  <a:lnTo>
                    <a:pt x="2827" y="3274"/>
                  </a:lnTo>
                  <a:lnTo>
                    <a:pt x="2833" y="3269"/>
                  </a:lnTo>
                  <a:lnTo>
                    <a:pt x="2840" y="3263"/>
                  </a:lnTo>
                  <a:lnTo>
                    <a:pt x="2846" y="3259"/>
                  </a:lnTo>
                  <a:lnTo>
                    <a:pt x="2851" y="3255"/>
                  </a:lnTo>
                  <a:lnTo>
                    <a:pt x="2854" y="3255"/>
                  </a:lnTo>
                  <a:lnTo>
                    <a:pt x="2857" y="3256"/>
                  </a:lnTo>
                  <a:lnTo>
                    <a:pt x="2859" y="3257"/>
                  </a:lnTo>
                  <a:lnTo>
                    <a:pt x="2862" y="3260"/>
                  </a:lnTo>
                  <a:lnTo>
                    <a:pt x="2867" y="3267"/>
                  </a:lnTo>
                  <a:lnTo>
                    <a:pt x="2874" y="3270"/>
                  </a:lnTo>
                  <a:lnTo>
                    <a:pt x="2880" y="3274"/>
                  </a:lnTo>
                  <a:lnTo>
                    <a:pt x="2885" y="3278"/>
                  </a:lnTo>
                  <a:lnTo>
                    <a:pt x="2891" y="3282"/>
                  </a:lnTo>
                  <a:lnTo>
                    <a:pt x="2892" y="3287"/>
                  </a:lnTo>
                  <a:lnTo>
                    <a:pt x="2892" y="3290"/>
                  </a:lnTo>
                  <a:lnTo>
                    <a:pt x="2892" y="3293"/>
                  </a:lnTo>
                  <a:lnTo>
                    <a:pt x="2891" y="3297"/>
                  </a:lnTo>
                  <a:lnTo>
                    <a:pt x="2887" y="3301"/>
                  </a:lnTo>
                  <a:lnTo>
                    <a:pt x="2884" y="3306"/>
                  </a:lnTo>
                  <a:lnTo>
                    <a:pt x="2880" y="3312"/>
                  </a:lnTo>
                  <a:lnTo>
                    <a:pt x="2879" y="3319"/>
                  </a:lnTo>
                  <a:lnTo>
                    <a:pt x="2876" y="3327"/>
                  </a:lnTo>
                  <a:lnTo>
                    <a:pt x="2876" y="3335"/>
                  </a:lnTo>
                  <a:lnTo>
                    <a:pt x="2876" y="3341"/>
                  </a:lnTo>
                  <a:lnTo>
                    <a:pt x="2876" y="3349"/>
                  </a:lnTo>
                  <a:lnTo>
                    <a:pt x="2879" y="3357"/>
                  </a:lnTo>
                  <a:lnTo>
                    <a:pt x="2880" y="3365"/>
                  </a:lnTo>
                  <a:lnTo>
                    <a:pt x="2883" y="3371"/>
                  </a:lnTo>
                  <a:lnTo>
                    <a:pt x="2887" y="3378"/>
                  </a:lnTo>
                  <a:lnTo>
                    <a:pt x="2891" y="3383"/>
                  </a:lnTo>
                  <a:lnTo>
                    <a:pt x="2896" y="3388"/>
                  </a:lnTo>
                  <a:lnTo>
                    <a:pt x="2901" y="3393"/>
                  </a:lnTo>
                  <a:lnTo>
                    <a:pt x="2906" y="3396"/>
                  </a:lnTo>
                  <a:lnTo>
                    <a:pt x="2913" y="3399"/>
                  </a:lnTo>
                  <a:lnTo>
                    <a:pt x="2923" y="3403"/>
                  </a:lnTo>
                  <a:lnTo>
                    <a:pt x="2933" y="3408"/>
                  </a:lnTo>
                  <a:lnTo>
                    <a:pt x="2940" y="3416"/>
                  </a:lnTo>
                  <a:lnTo>
                    <a:pt x="2948" y="3425"/>
                  </a:lnTo>
                  <a:lnTo>
                    <a:pt x="2964" y="3446"/>
                  </a:lnTo>
                  <a:lnTo>
                    <a:pt x="2981" y="3467"/>
                  </a:lnTo>
                  <a:lnTo>
                    <a:pt x="2989" y="3477"/>
                  </a:lnTo>
                  <a:lnTo>
                    <a:pt x="2998" y="3485"/>
                  </a:lnTo>
                  <a:lnTo>
                    <a:pt x="3008" y="3492"/>
                  </a:lnTo>
                  <a:lnTo>
                    <a:pt x="3019" y="3495"/>
                  </a:lnTo>
                  <a:lnTo>
                    <a:pt x="3025" y="3497"/>
                  </a:lnTo>
                  <a:lnTo>
                    <a:pt x="3031" y="3497"/>
                  </a:lnTo>
                  <a:lnTo>
                    <a:pt x="3037" y="3495"/>
                  </a:lnTo>
                  <a:lnTo>
                    <a:pt x="3044" y="3494"/>
                  </a:lnTo>
                  <a:lnTo>
                    <a:pt x="3052" y="3493"/>
                  </a:lnTo>
                  <a:lnTo>
                    <a:pt x="3059" y="3489"/>
                  </a:lnTo>
                  <a:lnTo>
                    <a:pt x="3067" y="3485"/>
                  </a:lnTo>
                  <a:lnTo>
                    <a:pt x="3075" y="3480"/>
                  </a:lnTo>
                  <a:lnTo>
                    <a:pt x="3084" y="3472"/>
                  </a:lnTo>
                  <a:lnTo>
                    <a:pt x="3090" y="3464"/>
                  </a:lnTo>
                  <a:lnTo>
                    <a:pt x="3095" y="3454"/>
                  </a:lnTo>
                  <a:lnTo>
                    <a:pt x="3097" y="3444"/>
                  </a:lnTo>
                  <a:lnTo>
                    <a:pt x="3100" y="3424"/>
                  </a:lnTo>
                  <a:lnTo>
                    <a:pt x="3100" y="3401"/>
                  </a:lnTo>
                  <a:lnTo>
                    <a:pt x="3101" y="3390"/>
                  </a:lnTo>
                  <a:lnTo>
                    <a:pt x="3103" y="3379"/>
                  </a:lnTo>
                  <a:lnTo>
                    <a:pt x="3104" y="3369"/>
                  </a:lnTo>
                  <a:lnTo>
                    <a:pt x="3108" y="3358"/>
                  </a:lnTo>
                  <a:lnTo>
                    <a:pt x="3113" y="3349"/>
                  </a:lnTo>
                  <a:lnTo>
                    <a:pt x="3121" y="3341"/>
                  </a:lnTo>
                  <a:lnTo>
                    <a:pt x="3131" y="3333"/>
                  </a:lnTo>
                  <a:lnTo>
                    <a:pt x="3144" y="3328"/>
                  </a:lnTo>
                  <a:lnTo>
                    <a:pt x="3158" y="3321"/>
                  </a:lnTo>
                  <a:lnTo>
                    <a:pt x="3171" y="3314"/>
                  </a:lnTo>
                  <a:lnTo>
                    <a:pt x="3184" y="3304"/>
                  </a:lnTo>
                  <a:lnTo>
                    <a:pt x="3197" y="3294"/>
                  </a:lnTo>
                  <a:lnTo>
                    <a:pt x="3219" y="3277"/>
                  </a:lnTo>
                  <a:lnTo>
                    <a:pt x="3240" y="3264"/>
                  </a:lnTo>
                  <a:lnTo>
                    <a:pt x="3244" y="3263"/>
                  </a:lnTo>
                  <a:lnTo>
                    <a:pt x="3246" y="3263"/>
                  </a:lnTo>
                  <a:lnTo>
                    <a:pt x="3249" y="3264"/>
                  </a:lnTo>
                  <a:lnTo>
                    <a:pt x="3250" y="3268"/>
                  </a:lnTo>
                  <a:lnTo>
                    <a:pt x="3250" y="3273"/>
                  </a:lnTo>
                  <a:lnTo>
                    <a:pt x="3249" y="3281"/>
                  </a:lnTo>
                  <a:lnTo>
                    <a:pt x="3246" y="3291"/>
                  </a:lnTo>
                  <a:lnTo>
                    <a:pt x="3241" y="3304"/>
                  </a:lnTo>
                  <a:lnTo>
                    <a:pt x="3226" y="3341"/>
                  </a:lnTo>
                  <a:lnTo>
                    <a:pt x="3207" y="3379"/>
                  </a:lnTo>
                  <a:lnTo>
                    <a:pt x="3203" y="3387"/>
                  </a:lnTo>
                  <a:lnTo>
                    <a:pt x="3201" y="3396"/>
                  </a:lnTo>
                  <a:lnTo>
                    <a:pt x="3201" y="3403"/>
                  </a:lnTo>
                  <a:lnTo>
                    <a:pt x="3201" y="3409"/>
                  </a:lnTo>
                  <a:lnTo>
                    <a:pt x="3202" y="3414"/>
                  </a:lnTo>
                  <a:lnTo>
                    <a:pt x="3206" y="3418"/>
                  </a:lnTo>
                  <a:lnTo>
                    <a:pt x="3211" y="3421"/>
                  </a:lnTo>
                  <a:lnTo>
                    <a:pt x="3219" y="3421"/>
                  </a:lnTo>
                  <a:lnTo>
                    <a:pt x="3231" y="3422"/>
                  </a:lnTo>
                  <a:lnTo>
                    <a:pt x="3241" y="3425"/>
                  </a:lnTo>
                  <a:lnTo>
                    <a:pt x="3248" y="3429"/>
                  </a:lnTo>
                  <a:lnTo>
                    <a:pt x="3253" y="3435"/>
                  </a:lnTo>
                  <a:lnTo>
                    <a:pt x="3256" y="3442"/>
                  </a:lnTo>
                  <a:lnTo>
                    <a:pt x="3257" y="3450"/>
                  </a:lnTo>
                  <a:lnTo>
                    <a:pt x="3257" y="3459"/>
                  </a:lnTo>
                  <a:lnTo>
                    <a:pt x="3256" y="3468"/>
                  </a:lnTo>
                  <a:lnTo>
                    <a:pt x="3244" y="3510"/>
                  </a:lnTo>
                  <a:lnTo>
                    <a:pt x="3235" y="3546"/>
                  </a:lnTo>
                  <a:lnTo>
                    <a:pt x="3233" y="3561"/>
                  </a:lnTo>
                  <a:lnTo>
                    <a:pt x="3235" y="3577"/>
                  </a:lnTo>
                  <a:lnTo>
                    <a:pt x="3236" y="3595"/>
                  </a:lnTo>
                  <a:lnTo>
                    <a:pt x="3239" y="3613"/>
                  </a:lnTo>
                  <a:lnTo>
                    <a:pt x="3240" y="3632"/>
                  </a:lnTo>
                  <a:lnTo>
                    <a:pt x="3240" y="3649"/>
                  </a:lnTo>
                  <a:lnTo>
                    <a:pt x="3239" y="3656"/>
                  </a:lnTo>
                  <a:lnTo>
                    <a:pt x="3237" y="3664"/>
                  </a:lnTo>
                  <a:lnTo>
                    <a:pt x="3235" y="3671"/>
                  </a:lnTo>
                  <a:lnTo>
                    <a:pt x="3232" y="3676"/>
                  </a:lnTo>
                  <a:lnTo>
                    <a:pt x="3226" y="3692"/>
                  </a:lnTo>
                  <a:lnTo>
                    <a:pt x="3219" y="3719"/>
                  </a:lnTo>
                  <a:lnTo>
                    <a:pt x="3212" y="3745"/>
                  </a:lnTo>
                  <a:lnTo>
                    <a:pt x="3210" y="3764"/>
                  </a:lnTo>
                  <a:lnTo>
                    <a:pt x="3211" y="3771"/>
                  </a:lnTo>
                  <a:lnTo>
                    <a:pt x="3214" y="3779"/>
                  </a:lnTo>
                  <a:lnTo>
                    <a:pt x="3219" y="3787"/>
                  </a:lnTo>
                  <a:lnTo>
                    <a:pt x="3224" y="3794"/>
                  </a:lnTo>
                  <a:lnTo>
                    <a:pt x="3237" y="3808"/>
                  </a:lnTo>
                  <a:lnTo>
                    <a:pt x="3246" y="3822"/>
                  </a:lnTo>
                  <a:lnTo>
                    <a:pt x="3252" y="3834"/>
                  </a:lnTo>
                  <a:lnTo>
                    <a:pt x="3254" y="3847"/>
                  </a:lnTo>
                  <a:lnTo>
                    <a:pt x="3257" y="3862"/>
                  </a:lnTo>
                  <a:lnTo>
                    <a:pt x="3258" y="3876"/>
                  </a:lnTo>
                  <a:lnTo>
                    <a:pt x="3261" y="3891"/>
                  </a:lnTo>
                  <a:lnTo>
                    <a:pt x="3262" y="3905"/>
                  </a:lnTo>
                  <a:lnTo>
                    <a:pt x="3265" y="3918"/>
                  </a:lnTo>
                  <a:lnTo>
                    <a:pt x="3269" y="3931"/>
                  </a:lnTo>
                  <a:lnTo>
                    <a:pt x="3270" y="3938"/>
                  </a:lnTo>
                  <a:lnTo>
                    <a:pt x="3271" y="3944"/>
                  </a:lnTo>
                  <a:lnTo>
                    <a:pt x="3270" y="3951"/>
                  </a:lnTo>
                  <a:lnTo>
                    <a:pt x="3269" y="3956"/>
                  </a:lnTo>
                  <a:lnTo>
                    <a:pt x="3265" y="3968"/>
                  </a:lnTo>
                  <a:lnTo>
                    <a:pt x="3258" y="3979"/>
                  </a:lnTo>
                  <a:lnTo>
                    <a:pt x="3253" y="3991"/>
                  </a:lnTo>
                  <a:lnTo>
                    <a:pt x="3249" y="4003"/>
                  </a:lnTo>
                  <a:lnTo>
                    <a:pt x="3249" y="4008"/>
                  </a:lnTo>
                  <a:lnTo>
                    <a:pt x="3249" y="4015"/>
                  </a:lnTo>
                  <a:lnTo>
                    <a:pt x="3250" y="4021"/>
                  </a:lnTo>
                  <a:lnTo>
                    <a:pt x="3253" y="4028"/>
                  </a:lnTo>
                  <a:lnTo>
                    <a:pt x="3257" y="4033"/>
                  </a:lnTo>
                  <a:lnTo>
                    <a:pt x="3262" y="4040"/>
                  </a:lnTo>
                  <a:lnTo>
                    <a:pt x="3266" y="4044"/>
                  </a:lnTo>
                  <a:lnTo>
                    <a:pt x="3271" y="4049"/>
                  </a:lnTo>
                  <a:lnTo>
                    <a:pt x="3284" y="4058"/>
                  </a:lnTo>
                  <a:lnTo>
                    <a:pt x="3298" y="4064"/>
                  </a:lnTo>
                  <a:lnTo>
                    <a:pt x="3326" y="4078"/>
                  </a:lnTo>
                  <a:lnTo>
                    <a:pt x="3355" y="4088"/>
                  </a:lnTo>
                  <a:lnTo>
                    <a:pt x="3362" y="4092"/>
                  </a:lnTo>
                  <a:lnTo>
                    <a:pt x="3369" y="4097"/>
                  </a:lnTo>
                  <a:lnTo>
                    <a:pt x="3376" y="4105"/>
                  </a:lnTo>
                  <a:lnTo>
                    <a:pt x="3384" y="4113"/>
                  </a:lnTo>
                  <a:lnTo>
                    <a:pt x="3398" y="4135"/>
                  </a:lnTo>
                  <a:lnTo>
                    <a:pt x="3413" y="4161"/>
                  </a:lnTo>
                  <a:lnTo>
                    <a:pt x="3443" y="4223"/>
                  </a:lnTo>
                  <a:lnTo>
                    <a:pt x="3474" y="4291"/>
                  </a:lnTo>
                  <a:lnTo>
                    <a:pt x="3490" y="4323"/>
                  </a:lnTo>
                  <a:lnTo>
                    <a:pt x="3505" y="4355"/>
                  </a:lnTo>
                  <a:lnTo>
                    <a:pt x="3521" y="4384"/>
                  </a:lnTo>
                  <a:lnTo>
                    <a:pt x="3537" y="4409"/>
                  </a:lnTo>
                  <a:lnTo>
                    <a:pt x="3545" y="4419"/>
                  </a:lnTo>
                  <a:lnTo>
                    <a:pt x="3553" y="4428"/>
                  </a:lnTo>
                  <a:lnTo>
                    <a:pt x="3560" y="4436"/>
                  </a:lnTo>
                  <a:lnTo>
                    <a:pt x="3568" y="4441"/>
                  </a:lnTo>
                  <a:lnTo>
                    <a:pt x="3576" y="4446"/>
                  </a:lnTo>
                  <a:lnTo>
                    <a:pt x="3584" y="4448"/>
                  </a:lnTo>
                  <a:lnTo>
                    <a:pt x="3592" y="4448"/>
                  </a:lnTo>
                  <a:lnTo>
                    <a:pt x="3600" y="4446"/>
                  </a:lnTo>
                  <a:lnTo>
                    <a:pt x="3609" y="4444"/>
                  </a:lnTo>
                  <a:lnTo>
                    <a:pt x="3618" y="4444"/>
                  </a:lnTo>
                  <a:lnTo>
                    <a:pt x="3627" y="4445"/>
                  </a:lnTo>
                  <a:lnTo>
                    <a:pt x="3638" y="4446"/>
                  </a:lnTo>
                  <a:lnTo>
                    <a:pt x="3660" y="4454"/>
                  </a:lnTo>
                  <a:lnTo>
                    <a:pt x="3683" y="4465"/>
                  </a:lnTo>
                  <a:lnTo>
                    <a:pt x="3710" y="4477"/>
                  </a:lnTo>
                  <a:lnTo>
                    <a:pt x="3736" y="4487"/>
                  </a:lnTo>
                  <a:lnTo>
                    <a:pt x="3750" y="4491"/>
                  </a:lnTo>
                  <a:lnTo>
                    <a:pt x="3763" y="4494"/>
                  </a:lnTo>
                  <a:lnTo>
                    <a:pt x="3778" y="4496"/>
                  </a:lnTo>
                  <a:lnTo>
                    <a:pt x="3792" y="4497"/>
                  </a:lnTo>
                  <a:lnTo>
                    <a:pt x="3805" y="4497"/>
                  </a:lnTo>
                  <a:lnTo>
                    <a:pt x="3817" y="4500"/>
                  </a:lnTo>
                  <a:lnTo>
                    <a:pt x="3827" y="4504"/>
                  </a:lnTo>
                  <a:lnTo>
                    <a:pt x="3838" y="4509"/>
                  </a:lnTo>
                  <a:lnTo>
                    <a:pt x="3856" y="4520"/>
                  </a:lnTo>
                  <a:lnTo>
                    <a:pt x="3874" y="4533"/>
                  </a:lnTo>
                  <a:lnTo>
                    <a:pt x="3885" y="4538"/>
                  </a:lnTo>
                  <a:lnTo>
                    <a:pt x="3894" y="4543"/>
                  </a:lnTo>
                  <a:lnTo>
                    <a:pt x="3906" y="4547"/>
                  </a:lnTo>
                  <a:lnTo>
                    <a:pt x="3917" y="4550"/>
                  </a:lnTo>
                  <a:lnTo>
                    <a:pt x="3931" y="4552"/>
                  </a:lnTo>
                  <a:lnTo>
                    <a:pt x="3944" y="4552"/>
                  </a:lnTo>
                  <a:lnTo>
                    <a:pt x="3959" y="4550"/>
                  </a:lnTo>
                  <a:lnTo>
                    <a:pt x="3978" y="4546"/>
                  </a:lnTo>
                  <a:lnTo>
                    <a:pt x="3986" y="4543"/>
                  </a:lnTo>
                  <a:lnTo>
                    <a:pt x="3993" y="4538"/>
                  </a:lnTo>
                  <a:lnTo>
                    <a:pt x="4003" y="4531"/>
                  </a:lnTo>
                  <a:lnTo>
                    <a:pt x="4012" y="4524"/>
                  </a:lnTo>
                  <a:lnTo>
                    <a:pt x="4033" y="4505"/>
                  </a:lnTo>
                  <a:lnTo>
                    <a:pt x="4052" y="4488"/>
                  </a:lnTo>
                  <a:lnTo>
                    <a:pt x="4063" y="4479"/>
                  </a:lnTo>
                  <a:lnTo>
                    <a:pt x="4072" y="4473"/>
                  </a:lnTo>
                  <a:lnTo>
                    <a:pt x="4081" y="4467"/>
                  </a:lnTo>
                  <a:lnTo>
                    <a:pt x="4089" y="4463"/>
                  </a:lnTo>
                  <a:lnTo>
                    <a:pt x="4097" y="4462"/>
                  </a:lnTo>
                  <a:lnTo>
                    <a:pt x="4103" y="4462"/>
                  </a:lnTo>
                  <a:lnTo>
                    <a:pt x="4106" y="4463"/>
                  </a:lnTo>
                  <a:lnTo>
                    <a:pt x="4108" y="4466"/>
                  </a:lnTo>
                  <a:lnTo>
                    <a:pt x="4110" y="4470"/>
                  </a:lnTo>
                  <a:lnTo>
                    <a:pt x="4112" y="4474"/>
                  </a:lnTo>
                  <a:lnTo>
                    <a:pt x="4115" y="4479"/>
                  </a:lnTo>
                  <a:lnTo>
                    <a:pt x="4119" y="4484"/>
                  </a:lnTo>
                  <a:lnTo>
                    <a:pt x="4123" y="4490"/>
                  </a:lnTo>
                  <a:lnTo>
                    <a:pt x="4129" y="4496"/>
                  </a:lnTo>
                  <a:lnTo>
                    <a:pt x="4144" y="4507"/>
                  </a:lnTo>
                  <a:lnTo>
                    <a:pt x="4159" y="4516"/>
                  </a:lnTo>
                  <a:lnTo>
                    <a:pt x="4176" y="4525"/>
                  </a:lnTo>
                  <a:lnTo>
                    <a:pt x="4193" y="4531"/>
                  </a:lnTo>
                  <a:lnTo>
                    <a:pt x="4209" y="4535"/>
                  </a:lnTo>
                  <a:lnTo>
                    <a:pt x="4224" y="4537"/>
                  </a:lnTo>
                  <a:lnTo>
                    <a:pt x="4237" y="4535"/>
                  </a:lnTo>
                  <a:lnTo>
                    <a:pt x="4247" y="4534"/>
                  </a:lnTo>
                  <a:lnTo>
                    <a:pt x="4255" y="4530"/>
                  </a:lnTo>
                  <a:lnTo>
                    <a:pt x="4260" y="4526"/>
                  </a:lnTo>
                  <a:lnTo>
                    <a:pt x="4263" y="4521"/>
                  </a:lnTo>
                  <a:lnTo>
                    <a:pt x="4265" y="4514"/>
                  </a:lnTo>
                  <a:lnTo>
                    <a:pt x="4265" y="4508"/>
                  </a:lnTo>
                  <a:lnTo>
                    <a:pt x="4265" y="4501"/>
                  </a:lnTo>
                  <a:lnTo>
                    <a:pt x="4263" y="4487"/>
                  </a:lnTo>
                  <a:lnTo>
                    <a:pt x="4260" y="4473"/>
                  </a:lnTo>
                  <a:lnTo>
                    <a:pt x="4260" y="4465"/>
                  </a:lnTo>
                  <a:lnTo>
                    <a:pt x="4262" y="4458"/>
                  </a:lnTo>
                  <a:lnTo>
                    <a:pt x="4264" y="4453"/>
                  </a:lnTo>
                  <a:lnTo>
                    <a:pt x="4268" y="4448"/>
                  </a:lnTo>
                  <a:lnTo>
                    <a:pt x="4282" y="4433"/>
                  </a:lnTo>
                  <a:lnTo>
                    <a:pt x="4293" y="4423"/>
                  </a:lnTo>
                  <a:lnTo>
                    <a:pt x="4297" y="4418"/>
                  </a:lnTo>
                  <a:lnTo>
                    <a:pt x="4299" y="4414"/>
                  </a:lnTo>
                  <a:lnTo>
                    <a:pt x="4301" y="4409"/>
                  </a:lnTo>
                  <a:lnTo>
                    <a:pt x="4302" y="4405"/>
                  </a:lnTo>
                  <a:lnTo>
                    <a:pt x="4302" y="4401"/>
                  </a:lnTo>
                  <a:lnTo>
                    <a:pt x="4301" y="4395"/>
                  </a:lnTo>
                  <a:lnTo>
                    <a:pt x="4298" y="4392"/>
                  </a:lnTo>
                  <a:lnTo>
                    <a:pt x="4296" y="4386"/>
                  </a:lnTo>
                  <a:lnTo>
                    <a:pt x="4286" y="4376"/>
                  </a:lnTo>
                  <a:lnTo>
                    <a:pt x="4273" y="4363"/>
                  </a:lnTo>
                  <a:lnTo>
                    <a:pt x="4268" y="4357"/>
                  </a:lnTo>
                  <a:lnTo>
                    <a:pt x="4264" y="4351"/>
                  </a:lnTo>
                  <a:lnTo>
                    <a:pt x="4262" y="4347"/>
                  </a:lnTo>
                  <a:lnTo>
                    <a:pt x="4262" y="4342"/>
                  </a:lnTo>
                  <a:lnTo>
                    <a:pt x="4262" y="4338"/>
                  </a:lnTo>
                  <a:lnTo>
                    <a:pt x="4263" y="4334"/>
                  </a:lnTo>
                  <a:lnTo>
                    <a:pt x="4264" y="4330"/>
                  </a:lnTo>
                  <a:lnTo>
                    <a:pt x="4268" y="4327"/>
                  </a:lnTo>
                  <a:lnTo>
                    <a:pt x="4275" y="4320"/>
                  </a:lnTo>
                  <a:lnTo>
                    <a:pt x="4282" y="4313"/>
                  </a:lnTo>
                  <a:lnTo>
                    <a:pt x="4290" y="4305"/>
                  </a:lnTo>
                  <a:lnTo>
                    <a:pt x="4297" y="4296"/>
                  </a:lnTo>
                  <a:lnTo>
                    <a:pt x="4302" y="4286"/>
                  </a:lnTo>
                  <a:lnTo>
                    <a:pt x="4305" y="4276"/>
                  </a:lnTo>
                  <a:lnTo>
                    <a:pt x="4307" y="4269"/>
                  </a:lnTo>
                  <a:lnTo>
                    <a:pt x="4309" y="4261"/>
                  </a:lnTo>
                  <a:lnTo>
                    <a:pt x="4310" y="4245"/>
                  </a:lnTo>
                  <a:lnTo>
                    <a:pt x="4311" y="4232"/>
                  </a:lnTo>
                  <a:lnTo>
                    <a:pt x="4314" y="4224"/>
                  </a:lnTo>
                  <a:lnTo>
                    <a:pt x="4316" y="4218"/>
                  </a:lnTo>
                  <a:lnTo>
                    <a:pt x="4319" y="4210"/>
                  </a:lnTo>
                  <a:lnTo>
                    <a:pt x="4324" y="4203"/>
                  </a:lnTo>
                  <a:lnTo>
                    <a:pt x="4331" y="4195"/>
                  </a:lnTo>
                  <a:lnTo>
                    <a:pt x="4340" y="4186"/>
                  </a:lnTo>
                  <a:lnTo>
                    <a:pt x="4350" y="4178"/>
                  </a:lnTo>
                  <a:lnTo>
                    <a:pt x="4362" y="4169"/>
                  </a:lnTo>
                  <a:lnTo>
                    <a:pt x="4365" y="4168"/>
                  </a:lnTo>
                  <a:lnTo>
                    <a:pt x="4367" y="4168"/>
                  </a:lnTo>
                  <a:lnTo>
                    <a:pt x="4370" y="4168"/>
                  </a:lnTo>
                  <a:lnTo>
                    <a:pt x="4373" y="4169"/>
                  </a:lnTo>
                  <a:lnTo>
                    <a:pt x="4379" y="4172"/>
                  </a:lnTo>
                  <a:lnTo>
                    <a:pt x="4387" y="4178"/>
                  </a:lnTo>
                  <a:lnTo>
                    <a:pt x="4404" y="4193"/>
                  </a:lnTo>
                  <a:lnTo>
                    <a:pt x="4424" y="4211"/>
                  </a:lnTo>
                  <a:lnTo>
                    <a:pt x="4435" y="4219"/>
                  </a:lnTo>
                  <a:lnTo>
                    <a:pt x="4447" y="4227"/>
                  </a:lnTo>
                  <a:lnTo>
                    <a:pt x="4460" y="4233"/>
                  </a:lnTo>
                  <a:lnTo>
                    <a:pt x="4475" y="4238"/>
                  </a:lnTo>
                  <a:lnTo>
                    <a:pt x="4481" y="4240"/>
                  </a:lnTo>
                  <a:lnTo>
                    <a:pt x="4489" y="4241"/>
                  </a:lnTo>
                  <a:lnTo>
                    <a:pt x="4497" y="4242"/>
                  </a:lnTo>
                  <a:lnTo>
                    <a:pt x="4505" y="4241"/>
                  </a:lnTo>
                  <a:lnTo>
                    <a:pt x="4514" y="4241"/>
                  </a:lnTo>
                  <a:lnTo>
                    <a:pt x="4522" y="4238"/>
                  </a:lnTo>
                  <a:lnTo>
                    <a:pt x="4531" y="4236"/>
                  </a:lnTo>
                  <a:lnTo>
                    <a:pt x="4540" y="4233"/>
                  </a:lnTo>
                  <a:lnTo>
                    <a:pt x="4653" y="4185"/>
                  </a:lnTo>
                  <a:lnTo>
                    <a:pt x="4668" y="4177"/>
                  </a:lnTo>
                  <a:lnTo>
                    <a:pt x="4683" y="4167"/>
                  </a:lnTo>
                  <a:lnTo>
                    <a:pt x="4697" y="4155"/>
                  </a:lnTo>
                  <a:lnTo>
                    <a:pt x="4711" y="4143"/>
                  </a:lnTo>
                  <a:lnTo>
                    <a:pt x="4725" y="4131"/>
                  </a:lnTo>
                  <a:lnTo>
                    <a:pt x="4738" y="4122"/>
                  </a:lnTo>
                  <a:lnTo>
                    <a:pt x="4744" y="4118"/>
                  </a:lnTo>
                  <a:lnTo>
                    <a:pt x="4751" y="4115"/>
                  </a:lnTo>
                  <a:lnTo>
                    <a:pt x="4757" y="4114"/>
                  </a:lnTo>
                  <a:lnTo>
                    <a:pt x="4764" y="4113"/>
                  </a:lnTo>
                  <a:lnTo>
                    <a:pt x="4770" y="4112"/>
                  </a:lnTo>
                  <a:lnTo>
                    <a:pt x="4777" y="4108"/>
                  </a:lnTo>
                  <a:lnTo>
                    <a:pt x="4778" y="4106"/>
                  </a:lnTo>
                  <a:lnTo>
                    <a:pt x="4782" y="4105"/>
                  </a:lnTo>
                  <a:lnTo>
                    <a:pt x="4786" y="4105"/>
                  </a:lnTo>
                  <a:lnTo>
                    <a:pt x="4793" y="4105"/>
                  </a:lnTo>
                  <a:lnTo>
                    <a:pt x="4806" y="4105"/>
                  </a:lnTo>
                  <a:lnTo>
                    <a:pt x="4821" y="4106"/>
                  </a:lnTo>
                  <a:lnTo>
                    <a:pt x="4851" y="4110"/>
                  </a:lnTo>
                  <a:lnTo>
                    <a:pt x="4870" y="4113"/>
                  </a:lnTo>
                  <a:lnTo>
                    <a:pt x="4876" y="4110"/>
                  </a:lnTo>
                  <a:lnTo>
                    <a:pt x="4881" y="4109"/>
                  </a:lnTo>
                  <a:lnTo>
                    <a:pt x="4888" y="4108"/>
                  </a:lnTo>
                  <a:lnTo>
                    <a:pt x="4893" y="4105"/>
                  </a:lnTo>
                  <a:lnTo>
                    <a:pt x="4901" y="4093"/>
                  </a:lnTo>
                  <a:lnTo>
                    <a:pt x="4914" y="4079"/>
                  </a:lnTo>
                  <a:lnTo>
                    <a:pt x="4929" y="4063"/>
                  </a:lnTo>
                  <a:lnTo>
                    <a:pt x="4943" y="4046"/>
                  </a:lnTo>
                  <a:lnTo>
                    <a:pt x="4947" y="4044"/>
                  </a:lnTo>
                  <a:lnTo>
                    <a:pt x="4953" y="4040"/>
                  </a:lnTo>
                  <a:lnTo>
                    <a:pt x="4961" y="4036"/>
                  </a:lnTo>
                  <a:lnTo>
                    <a:pt x="4970" y="4032"/>
                  </a:lnTo>
                  <a:lnTo>
                    <a:pt x="4989" y="4027"/>
                  </a:lnTo>
                  <a:lnTo>
                    <a:pt x="5001" y="4024"/>
                  </a:lnTo>
                  <a:lnTo>
                    <a:pt x="5002" y="4024"/>
                  </a:lnTo>
                  <a:lnTo>
                    <a:pt x="5006" y="4024"/>
                  </a:lnTo>
                  <a:lnTo>
                    <a:pt x="5010" y="4021"/>
                  </a:lnTo>
                  <a:lnTo>
                    <a:pt x="5012" y="4017"/>
                  </a:lnTo>
                  <a:lnTo>
                    <a:pt x="5016" y="4013"/>
                  </a:lnTo>
                  <a:lnTo>
                    <a:pt x="5023" y="4004"/>
                  </a:lnTo>
                  <a:lnTo>
                    <a:pt x="5028" y="3998"/>
                  </a:lnTo>
                  <a:lnTo>
                    <a:pt x="5028" y="3996"/>
                  </a:lnTo>
                  <a:lnTo>
                    <a:pt x="5031" y="3996"/>
                  </a:lnTo>
                  <a:lnTo>
                    <a:pt x="5035" y="3999"/>
                  </a:lnTo>
                  <a:lnTo>
                    <a:pt x="5037" y="4003"/>
                  </a:lnTo>
                  <a:lnTo>
                    <a:pt x="5041" y="4008"/>
                  </a:lnTo>
                  <a:lnTo>
                    <a:pt x="5044" y="4012"/>
                  </a:lnTo>
                  <a:lnTo>
                    <a:pt x="5046" y="4019"/>
                  </a:lnTo>
                  <a:lnTo>
                    <a:pt x="5049" y="4027"/>
                  </a:lnTo>
                  <a:lnTo>
                    <a:pt x="5049" y="4028"/>
                  </a:lnTo>
                  <a:lnTo>
                    <a:pt x="5050" y="4029"/>
                  </a:lnTo>
                  <a:lnTo>
                    <a:pt x="5050" y="4030"/>
                  </a:lnTo>
                  <a:lnTo>
                    <a:pt x="5052" y="4032"/>
                  </a:lnTo>
                  <a:lnTo>
                    <a:pt x="5052" y="4033"/>
                  </a:lnTo>
                  <a:lnTo>
                    <a:pt x="5053" y="4034"/>
                  </a:lnTo>
                  <a:lnTo>
                    <a:pt x="5061" y="4044"/>
                  </a:lnTo>
                  <a:lnTo>
                    <a:pt x="5071" y="4054"/>
                  </a:lnTo>
                  <a:lnTo>
                    <a:pt x="5083" y="4061"/>
                  </a:lnTo>
                  <a:lnTo>
                    <a:pt x="5095" y="4070"/>
                  </a:lnTo>
                  <a:lnTo>
                    <a:pt x="5097" y="4072"/>
                  </a:lnTo>
                  <a:lnTo>
                    <a:pt x="5099" y="4074"/>
                  </a:lnTo>
                  <a:lnTo>
                    <a:pt x="5101" y="4074"/>
                  </a:lnTo>
                  <a:lnTo>
                    <a:pt x="5108" y="4078"/>
                  </a:lnTo>
                  <a:lnTo>
                    <a:pt x="5114" y="4084"/>
                  </a:lnTo>
                  <a:lnTo>
                    <a:pt x="5117" y="4085"/>
                  </a:lnTo>
                  <a:lnTo>
                    <a:pt x="5118" y="4085"/>
                  </a:lnTo>
                  <a:lnTo>
                    <a:pt x="5121" y="4084"/>
                  </a:lnTo>
                  <a:lnTo>
                    <a:pt x="5122" y="4083"/>
                  </a:lnTo>
                  <a:lnTo>
                    <a:pt x="5127" y="4080"/>
                  </a:lnTo>
                  <a:lnTo>
                    <a:pt x="5133" y="4078"/>
                  </a:lnTo>
                  <a:lnTo>
                    <a:pt x="5137" y="4076"/>
                  </a:lnTo>
                  <a:lnTo>
                    <a:pt x="5138" y="4076"/>
                  </a:lnTo>
                  <a:lnTo>
                    <a:pt x="5139" y="4067"/>
                  </a:lnTo>
                  <a:lnTo>
                    <a:pt x="5140" y="4055"/>
                  </a:lnTo>
                  <a:lnTo>
                    <a:pt x="5142" y="4044"/>
                  </a:lnTo>
                  <a:lnTo>
                    <a:pt x="5142" y="4036"/>
                  </a:lnTo>
                  <a:lnTo>
                    <a:pt x="5142" y="4034"/>
                  </a:lnTo>
                  <a:lnTo>
                    <a:pt x="5144" y="4032"/>
                  </a:lnTo>
                  <a:lnTo>
                    <a:pt x="5148" y="4030"/>
                  </a:lnTo>
                  <a:lnTo>
                    <a:pt x="5156" y="4028"/>
                  </a:lnTo>
                  <a:lnTo>
                    <a:pt x="5164" y="4027"/>
                  </a:lnTo>
                  <a:lnTo>
                    <a:pt x="5180" y="4024"/>
                  </a:lnTo>
                  <a:lnTo>
                    <a:pt x="5189" y="4023"/>
                  </a:lnTo>
                  <a:lnTo>
                    <a:pt x="5203" y="4019"/>
                  </a:lnTo>
                  <a:lnTo>
                    <a:pt x="5219" y="4015"/>
                  </a:lnTo>
                  <a:lnTo>
                    <a:pt x="5225" y="4015"/>
                  </a:lnTo>
                  <a:lnTo>
                    <a:pt x="5233" y="4015"/>
                  </a:lnTo>
                  <a:lnTo>
                    <a:pt x="5241" y="4016"/>
                  </a:lnTo>
                  <a:lnTo>
                    <a:pt x="5248" y="4019"/>
                  </a:lnTo>
                  <a:lnTo>
                    <a:pt x="5249" y="4020"/>
                  </a:lnTo>
                  <a:lnTo>
                    <a:pt x="5250" y="4021"/>
                  </a:lnTo>
                  <a:lnTo>
                    <a:pt x="5250" y="4023"/>
                  </a:lnTo>
                  <a:lnTo>
                    <a:pt x="5250" y="4024"/>
                  </a:lnTo>
                  <a:lnTo>
                    <a:pt x="5248" y="4028"/>
                  </a:lnTo>
                  <a:lnTo>
                    <a:pt x="5244" y="4033"/>
                  </a:lnTo>
                  <a:lnTo>
                    <a:pt x="5240" y="4038"/>
                  </a:lnTo>
                  <a:lnTo>
                    <a:pt x="5236" y="4044"/>
                  </a:lnTo>
                  <a:lnTo>
                    <a:pt x="5233" y="4049"/>
                  </a:lnTo>
                  <a:lnTo>
                    <a:pt x="5233" y="4055"/>
                  </a:lnTo>
                  <a:lnTo>
                    <a:pt x="5236" y="4061"/>
                  </a:lnTo>
                  <a:lnTo>
                    <a:pt x="5239" y="4066"/>
                  </a:lnTo>
                  <a:lnTo>
                    <a:pt x="5239" y="4067"/>
                  </a:lnTo>
                  <a:lnTo>
                    <a:pt x="5239" y="4070"/>
                  </a:lnTo>
                  <a:lnTo>
                    <a:pt x="5240" y="4070"/>
                  </a:lnTo>
                  <a:lnTo>
                    <a:pt x="5245" y="4072"/>
                  </a:lnTo>
                  <a:lnTo>
                    <a:pt x="5248" y="4076"/>
                  </a:lnTo>
                  <a:lnTo>
                    <a:pt x="5248" y="4079"/>
                  </a:lnTo>
                  <a:lnTo>
                    <a:pt x="5257" y="4089"/>
                  </a:lnTo>
                  <a:lnTo>
                    <a:pt x="5266" y="4098"/>
                  </a:lnTo>
                  <a:lnTo>
                    <a:pt x="5266" y="4100"/>
                  </a:lnTo>
                  <a:lnTo>
                    <a:pt x="5266" y="4104"/>
                  </a:lnTo>
                  <a:lnTo>
                    <a:pt x="5269" y="4109"/>
                  </a:lnTo>
                  <a:lnTo>
                    <a:pt x="5271" y="4113"/>
                  </a:lnTo>
                  <a:lnTo>
                    <a:pt x="5275" y="4118"/>
                  </a:lnTo>
                  <a:lnTo>
                    <a:pt x="5284" y="4127"/>
                  </a:lnTo>
                  <a:lnTo>
                    <a:pt x="5296" y="4136"/>
                  </a:lnTo>
                  <a:lnTo>
                    <a:pt x="5309" y="4144"/>
                  </a:lnTo>
                  <a:lnTo>
                    <a:pt x="5322" y="4151"/>
                  </a:lnTo>
                  <a:lnTo>
                    <a:pt x="5335" y="4156"/>
                  </a:lnTo>
                  <a:lnTo>
                    <a:pt x="5346" y="4157"/>
                  </a:lnTo>
                  <a:lnTo>
                    <a:pt x="5360" y="4161"/>
                  </a:lnTo>
                  <a:lnTo>
                    <a:pt x="5373" y="4167"/>
                  </a:lnTo>
                  <a:lnTo>
                    <a:pt x="5377" y="4167"/>
                  </a:lnTo>
                  <a:lnTo>
                    <a:pt x="5380" y="4168"/>
                  </a:lnTo>
                  <a:lnTo>
                    <a:pt x="5384" y="4169"/>
                  </a:lnTo>
                  <a:lnTo>
                    <a:pt x="5388" y="4169"/>
                  </a:lnTo>
                  <a:lnTo>
                    <a:pt x="5389" y="4170"/>
                  </a:lnTo>
                  <a:lnTo>
                    <a:pt x="5389" y="4172"/>
                  </a:lnTo>
                  <a:lnTo>
                    <a:pt x="5389" y="4210"/>
                  </a:lnTo>
                  <a:lnTo>
                    <a:pt x="5388" y="4214"/>
                  </a:lnTo>
                  <a:lnTo>
                    <a:pt x="5388" y="4218"/>
                  </a:lnTo>
                  <a:lnTo>
                    <a:pt x="5386" y="4220"/>
                  </a:lnTo>
                  <a:lnTo>
                    <a:pt x="5385" y="4221"/>
                  </a:lnTo>
                  <a:lnTo>
                    <a:pt x="5384" y="4224"/>
                  </a:lnTo>
                  <a:lnTo>
                    <a:pt x="5381" y="4227"/>
                  </a:lnTo>
                  <a:lnTo>
                    <a:pt x="5380" y="4227"/>
                  </a:lnTo>
                  <a:lnTo>
                    <a:pt x="5362" y="4248"/>
                  </a:lnTo>
                  <a:lnTo>
                    <a:pt x="5362" y="4250"/>
                  </a:lnTo>
                  <a:lnTo>
                    <a:pt x="5360" y="4252"/>
                  </a:lnTo>
                  <a:lnTo>
                    <a:pt x="5359" y="4253"/>
                  </a:lnTo>
                  <a:lnTo>
                    <a:pt x="5354" y="4262"/>
                  </a:lnTo>
                  <a:lnTo>
                    <a:pt x="5350" y="4276"/>
                  </a:lnTo>
                  <a:lnTo>
                    <a:pt x="5345" y="4292"/>
                  </a:lnTo>
                  <a:lnTo>
                    <a:pt x="5339" y="4300"/>
                  </a:lnTo>
                  <a:lnTo>
                    <a:pt x="5334" y="4312"/>
                  </a:lnTo>
                  <a:lnTo>
                    <a:pt x="5330" y="4323"/>
                  </a:lnTo>
                  <a:lnTo>
                    <a:pt x="5329" y="4326"/>
                  </a:lnTo>
                  <a:lnTo>
                    <a:pt x="5329" y="4329"/>
                  </a:lnTo>
                  <a:lnTo>
                    <a:pt x="5328" y="4333"/>
                  </a:lnTo>
                  <a:lnTo>
                    <a:pt x="5328" y="4335"/>
                  </a:lnTo>
                  <a:lnTo>
                    <a:pt x="5330" y="4338"/>
                  </a:lnTo>
                  <a:lnTo>
                    <a:pt x="5331" y="4340"/>
                  </a:lnTo>
                  <a:lnTo>
                    <a:pt x="5339" y="4346"/>
                  </a:lnTo>
                  <a:lnTo>
                    <a:pt x="5347" y="4351"/>
                  </a:lnTo>
                  <a:lnTo>
                    <a:pt x="5352" y="4352"/>
                  </a:lnTo>
                  <a:lnTo>
                    <a:pt x="5358" y="4356"/>
                  </a:lnTo>
                  <a:lnTo>
                    <a:pt x="5364" y="4360"/>
                  </a:lnTo>
                  <a:lnTo>
                    <a:pt x="5369" y="4365"/>
                  </a:lnTo>
                  <a:lnTo>
                    <a:pt x="5380" y="4376"/>
                  </a:lnTo>
                  <a:lnTo>
                    <a:pt x="5388" y="4384"/>
                  </a:lnTo>
                  <a:lnTo>
                    <a:pt x="5396" y="4397"/>
                  </a:lnTo>
                  <a:lnTo>
                    <a:pt x="5402" y="4414"/>
                  </a:lnTo>
                  <a:lnTo>
                    <a:pt x="5405" y="4423"/>
                  </a:lnTo>
                  <a:lnTo>
                    <a:pt x="5405" y="4439"/>
                  </a:lnTo>
                  <a:lnTo>
                    <a:pt x="5405" y="4454"/>
                  </a:lnTo>
                  <a:lnTo>
                    <a:pt x="5403" y="4463"/>
                  </a:lnTo>
                  <a:lnTo>
                    <a:pt x="5396" y="4475"/>
                  </a:lnTo>
                  <a:lnTo>
                    <a:pt x="5385" y="4487"/>
                  </a:lnTo>
                  <a:lnTo>
                    <a:pt x="5379" y="4492"/>
                  </a:lnTo>
                  <a:lnTo>
                    <a:pt x="5375" y="4499"/>
                  </a:lnTo>
                  <a:lnTo>
                    <a:pt x="5371" y="4504"/>
                  </a:lnTo>
                  <a:lnTo>
                    <a:pt x="5369" y="4511"/>
                  </a:lnTo>
                  <a:lnTo>
                    <a:pt x="5369" y="4516"/>
                  </a:lnTo>
                  <a:lnTo>
                    <a:pt x="5371" y="4521"/>
                  </a:lnTo>
                  <a:lnTo>
                    <a:pt x="5373" y="4526"/>
                  </a:lnTo>
                  <a:lnTo>
                    <a:pt x="5377" y="4533"/>
                  </a:lnTo>
                  <a:lnTo>
                    <a:pt x="5386" y="4543"/>
                  </a:lnTo>
                  <a:lnTo>
                    <a:pt x="5401" y="4554"/>
                  </a:lnTo>
                  <a:lnTo>
                    <a:pt x="5416" y="4563"/>
                  </a:lnTo>
                  <a:lnTo>
                    <a:pt x="5435" y="4573"/>
                  </a:lnTo>
                  <a:lnTo>
                    <a:pt x="5473" y="4590"/>
                  </a:lnTo>
                  <a:lnTo>
                    <a:pt x="5512" y="4605"/>
                  </a:lnTo>
                  <a:lnTo>
                    <a:pt x="5545" y="4616"/>
                  </a:lnTo>
                  <a:lnTo>
                    <a:pt x="5566" y="4626"/>
                  </a:lnTo>
                  <a:lnTo>
                    <a:pt x="5577" y="4632"/>
                  </a:lnTo>
                  <a:lnTo>
                    <a:pt x="5589" y="4640"/>
                  </a:lnTo>
                  <a:lnTo>
                    <a:pt x="5598" y="4648"/>
                  </a:lnTo>
                  <a:lnTo>
                    <a:pt x="5606" y="4657"/>
                  </a:lnTo>
                  <a:lnTo>
                    <a:pt x="5614" y="4668"/>
                  </a:lnTo>
                  <a:lnTo>
                    <a:pt x="5621" y="4678"/>
                  </a:lnTo>
                  <a:lnTo>
                    <a:pt x="5626" y="4688"/>
                  </a:lnTo>
                  <a:lnTo>
                    <a:pt x="5630" y="4700"/>
                  </a:lnTo>
                  <a:lnTo>
                    <a:pt x="5634" y="4712"/>
                  </a:lnTo>
                  <a:lnTo>
                    <a:pt x="5636" y="4724"/>
                  </a:lnTo>
                  <a:lnTo>
                    <a:pt x="5638" y="4737"/>
                  </a:lnTo>
                  <a:lnTo>
                    <a:pt x="5639" y="4750"/>
                  </a:lnTo>
                  <a:lnTo>
                    <a:pt x="5639" y="4776"/>
                  </a:lnTo>
                  <a:lnTo>
                    <a:pt x="5638" y="4802"/>
                  </a:lnTo>
                  <a:lnTo>
                    <a:pt x="5634" y="4810"/>
                  </a:lnTo>
                  <a:lnTo>
                    <a:pt x="5627" y="4818"/>
                  </a:lnTo>
                  <a:lnTo>
                    <a:pt x="5619" y="4827"/>
                  </a:lnTo>
                  <a:lnTo>
                    <a:pt x="5610" y="4836"/>
                  </a:lnTo>
                  <a:lnTo>
                    <a:pt x="5602" y="4845"/>
                  </a:lnTo>
                  <a:lnTo>
                    <a:pt x="5596" y="4853"/>
                  </a:lnTo>
                  <a:lnTo>
                    <a:pt x="5594" y="4856"/>
                  </a:lnTo>
                  <a:lnTo>
                    <a:pt x="5593" y="4860"/>
                  </a:lnTo>
                  <a:lnTo>
                    <a:pt x="5593" y="4862"/>
                  </a:lnTo>
                  <a:lnTo>
                    <a:pt x="5594" y="4865"/>
                  </a:lnTo>
                  <a:lnTo>
                    <a:pt x="5682" y="4945"/>
                  </a:lnTo>
                  <a:lnTo>
                    <a:pt x="5686" y="4947"/>
                  </a:lnTo>
                  <a:lnTo>
                    <a:pt x="5691" y="4950"/>
                  </a:lnTo>
                  <a:lnTo>
                    <a:pt x="5695" y="4950"/>
                  </a:lnTo>
                  <a:lnTo>
                    <a:pt x="5699" y="4949"/>
                  </a:lnTo>
                  <a:lnTo>
                    <a:pt x="5707" y="4944"/>
                  </a:lnTo>
                  <a:lnTo>
                    <a:pt x="5715" y="4936"/>
                  </a:lnTo>
                  <a:lnTo>
                    <a:pt x="5724" y="4925"/>
                  </a:lnTo>
                  <a:lnTo>
                    <a:pt x="5733" y="4915"/>
                  </a:lnTo>
                  <a:lnTo>
                    <a:pt x="5738" y="4910"/>
                  </a:lnTo>
                  <a:lnTo>
                    <a:pt x="5745" y="4904"/>
                  </a:lnTo>
                  <a:lnTo>
                    <a:pt x="5750" y="4900"/>
                  </a:lnTo>
                  <a:lnTo>
                    <a:pt x="5758" y="4896"/>
                  </a:lnTo>
                  <a:lnTo>
                    <a:pt x="5767" y="4894"/>
                  </a:lnTo>
                  <a:lnTo>
                    <a:pt x="5777" y="4891"/>
                  </a:lnTo>
                  <a:lnTo>
                    <a:pt x="5787" y="4890"/>
                  </a:lnTo>
                  <a:lnTo>
                    <a:pt x="5797" y="4890"/>
                  </a:lnTo>
                  <a:lnTo>
                    <a:pt x="5818" y="4891"/>
                  </a:lnTo>
                  <a:lnTo>
                    <a:pt x="5838" y="4895"/>
                  </a:lnTo>
                  <a:lnTo>
                    <a:pt x="5859" y="4900"/>
                  </a:lnTo>
                  <a:lnTo>
                    <a:pt x="5878" y="4904"/>
                  </a:lnTo>
                  <a:lnTo>
                    <a:pt x="5889" y="4906"/>
                  </a:lnTo>
                  <a:lnTo>
                    <a:pt x="5899" y="4907"/>
                  </a:lnTo>
                  <a:lnTo>
                    <a:pt x="5910" y="4907"/>
                  </a:lnTo>
                  <a:lnTo>
                    <a:pt x="5920" y="4907"/>
                  </a:lnTo>
                  <a:lnTo>
                    <a:pt x="5929" y="4904"/>
                  </a:lnTo>
                  <a:lnTo>
                    <a:pt x="5940" y="4900"/>
                  </a:lnTo>
                  <a:lnTo>
                    <a:pt x="5950" y="4894"/>
                  </a:lnTo>
                  <a:lnTo>
                    <a:pt x="5961" y="4887"/>
                  </a:lnTo>
                  <a:lnTo>
                    <a:pt x="5980" y="4869"/>
                  </a:lnTo>
                  <a:lnTo>
                    <a:pt x="6001" y="4848"/>
                  </a:lnTo>
                  <a:lnTo>
                    <a:pt x="6039" y="4805"/>
                  </a:lnTo>
                  <a:lnTo>
                    <a:pt x="6073" y="4768"/>
                  </a:lnTo>
                  <a:lnTo>
                    <a:pt x="6091" y="4753"/>
                  </a:lnTo>
                  <a:lnTo>
                    <a:pt x="6104" y="4738"/>
                  </a:lnTo>
                  <a:lnTo>
                    <a:pt x="6108" y="4732"/>
                  </a:lnTo>
                  <a:lnTo>
                    <a:pt x="6110" y="4722"/>
                  </a:lnTo>
                  <a:lnTo>
                    <a:pt x="6111" y="4712"/>
                  </a:lnTo>
                  <a:lnTo>
                    <a:pt x="6110" y="4699"/>
                  </a:lnTo>
                  <a:lnTo>
                    <a:pt x="6108" y="4691"/>
                  </a:lnTo>
                  <a:lnTo>
                    <a:pt x="6106" y="4682"/>
                  </a:lnTo>
                  <a:lnTo>
                    <a:pt x="6102" y="4674"/>
                  </a:lnTo>
                  <a:lnTo>
                    <a:pt x="6098" y="4668"/>
                  </a:lnTo>
                  <a:lnTo>
                    <a:pt x="6093" y="4660"/>
                  </a:lnTo>
                  <a:lnTo>
                    <a:pt x="6086" y="4653"/>
                  </a:lnTo>
                  <a:lnTo>
                    <a:pt x="6080" y="4648"/>
                  </a:lnTo>
                  <a:lnTo>
                    <a:pt x="6072" y="4644"/>
                  </a:lnTo>
                  <a:lnTo>
                    <a:pt x="6068" y="4639"/>
                  </a:lnTo>
                  <a:lnTo>
                    <a:pt x="6063" y="4627"/>
                  </a:lnTo>
                  <a:lnTo>
                    <a:pt x="6057" y="4610"/>
                  </a:lnTo>
                  <a:lnTo>
                    <a:pt x="6051" y="4592"/>
                  </a:lnTo>
                  <a:lnTo>
                    <a:pt x="6040" y="4555"/>
                  </a:lnTo>
                  <a:lnTo>
                    <a:pt x="6034" y="4531"/>
                  </a:lnTo>
                  <a:lnTo>
                    <a:pt x="6030" y="4525"/>
                  </a:lnTo>
                  <a:lnTo>
                    <a:pt x="6026" y="4518"/>
                  </a:lnTo>
                  <a:lnTo>
                    <a:pt x="6019" y="4511"/>
                  </a:lnTo>
                  <a:lnTo>
                    <a:pt x="6012" y="4501"/>
                  </a:lnTo>
                  <a:lnTo>
                    <a:pt x="5993" y="4483"/>
                  </a:lnTo>
                  <a:lnTo>
                    <a:pt x="5972" y="4463"/>
                  </a:lnTo>
                  <a:lnTo>
                    <a:pt x="5950" y="4445"/>
                  </a:lnTo>
                  <a:lnTo>
                    <a:pt x="5928" y="4429"/>
                  </a:lnTo>
                  <a:lnTo>
                    <a:pt x="5910" y="4416"/>
                  </a:lnTo>
                  <a:lnTo>
                    <a:pt x="5894" y="4407"/>
                  </a:lnTo>
                  <a:lnTo>
                    <a:pt x="5887" y="4402"/>
                  </a:lnTo>
                  <a:lnTo>
                    <a:pt x="5882" y="4395"/>
                  </a:lnTo>
                  <a:lnTo>
                    <a:pt x="5876" y="4388"/>
                  </a:lnTo>
                  <a:lnTo>
                    <a:pt x="5869" y="4377"/>
                  </a:lnTo>
                  <a:lnTo>
                    <a:pt x="5862" y="4364"/>
                  </a:lnTo>
                  <a:lnTo>
                    <a:pt x="5857" y="4351"/>
                  </a:lnTo>
                  <a:lnTo>
                    <a:pt x="5851" y="4337"/>
                  </a:lnTo>
                  <a:lnTo>
                    <a:pt x="5845" y="4322"/>
                  </a:lnTo>
                  <a:lnTo>
                    <a:pt x="5842" y="4306"/>
                  </a:lnTo>
                  <a:lnTo>
                    <a:pt x="5838" y="4291"/>
                  </a:lnTo>
                  <a:lnTo>
                    <a:pt x="5835" y="4276"/>
                  </a:lnTo>
                  <a:lnTo>
                    <a:pt x="5832" y="4262"/>
                  </a:lnTo>
                  <a:lnTo>
                    <a:pt x="5832" y="4248"/>
                  </a:lnTo>
                  <a:lnTo>
                    <a:pt x="5834" y="4236"/>
                  </a:lnTo>
                  <a:lnTo>
                    <a:pt x="5835" y="4224"/>
                  </a:lnTo>
                  <a:lnTo>
                    <a:pt x="5839" y="4215"/>
                  </a:lnTo>
                  <a:lnTo>
                    <a:pt x="5844" y="4204"/>
                  </a:lnTo>
                  <a:lnTo>
                    <a:pt x="5847" y="4195"/>
                  </a:lnTo>
                  <a:lnTo>
                    <a:pt x="5848" y="4187"/>
                  </a:lnTo>
                  <a:lnTo>
                    <a:pt x="5848" y="4180"/>
                  </a:lnTo>
                  <a:lnTo>
                    <a:pt x="5851" y="4173"/>
                  </a:lnTo>
                  <a:lnTo>
                    <a:pt x="5853" y="4167"/>
                  </a:lnTo>
                  <a:lnTo>
                    <a:pt x="5860" y="4161"/>
                  </a:lnTo>
                  <a:lnTo>
                    <a:pt x="5869" y="4155"/>
                  </a:lnTo>
                  <a:lnTo>
                    <a:pt x="5881" y="4148"/>
                  </a:lnTo>
                  <a:lnTo>
                    <a:pt x="5890" y="4143"/>
                  </a:lnTo>
                  <a:lnTo>
                    <a:pt x="5898" y="4138"/>
                  </a:lnTo>
                  <a:lnTo>
                    <a:pt x="5903" y="4133"/>
                  </a:lnTo>
                  <a:lnTo>
                    <a:pt x="5907" y="4127"/>
                  </a:lnTo>
                  <a:lnTo>
                    <a:pt x="5910" y="4122"/>
                  </a:lnTo>
                  <a:lnTo>
                    <a:pt x="5910" y="4117"/>
                  </a:lnTo>
                  <a:lnTo>
                    <a:pt x="5910" y="4113"/>
                  </a:lnTo>
                  <a:lnTo>
                    <a:pt x="5910" y="4101"/>
                  </a:lnTo>
                  <a:lnTo>
                    <a:pt x="5908" y="4088"/>
                  </a:lnTo>
                  <a:lnTo>
                    <a:pt x="5908" y="4081"/>
                  </a:lnTo>
                  <a:lnTo>
                    <a:pt x="5908" y="4072"/>
                  </a:lnTo>
                  <a:lnTo>
                    <a:pt x="5911" y="4063"/>
                  </a:lnTo>
                  <a:lnTo>
                    <a:pt x="5914" y="4053"/>
                  </a:lnTo>
                  <a:lnTo>
                    <a:pt x="5919" y="4041"/>
                  </a:lnTo>
                  <a:lnTo>
                    <a:pt x="5925" y="4028"/>
                  </a:lnTo>
                  <a:lnTo>
                    <a:pt x="5932" y="4016"/>
                  </a:lnTo>
                  <a:lnTo>
                    <a:pt x="5941" y="4004"/>
                  </a:lnTo>
                  <a:lnTo>
                    <a:pt x="5950" y="3993"/>
                  </a:lnTo>
                  <a:lnTo>
                    <a:pt x="5962" y="3983"/>
                  </a:lnTo>
                  <a:lnTo>
                    <a:pt x="5967" y="3979"/>
                  </a:lnTo>
                  <a:lnTo>
                    <a:pt x="5974" y="3976"/>
                  </a:lnTo>
                  <a:lnTo>
                    <a:pt x="5980" y="3973"/>
                  </a:lnTo>
                  <a:lnTo>
                    <a:pt x="5988" y="3972"/>
                  </a:lnTo>
                  <a:lnTo>
                    <a:pt x="6014" y="3970"/>
                  </a:lnTo>
                  <a:lnTo>
                    <a:pt x="6038" y="3972"/>
                  </a:lnTo>
                  <a:lnTo>
                    <a:pt x="6042" y="3972"/>
                  </a:lnTo>
                  <a:lnTo>
                    <a:pt x="6047" y="3970"/>
                  </a:lnTo>
                  <a:lnTo>
                    <a:pt x="6050" y="3968"/>
                  </a:lnTo>
                  <a:lnTo>
                    <a:pt x="6053" y="3965"/>
                  </a:lnTo>
                  <a:lnTo>
                    <a:pt x="6056" y="3960"/>
                  </a:lnTo>
                  <a:lnTo>
                    <a:pt x="6057" y="3955"/>
                  </a:lnTo>
                  <a:lnTo>
                    <a:pt x="6059" y="3947"/>
                  </a:lnTo>
                  <a:lnTo>
                    <a:pt x="6060" y="3938"/>
                  </a:lnTo>
                  <a:lnTo>
                    <a:pt x="6059" y="3917"/>
                  </a:lnTo>
                  <a:lnTo>
                    <a:pt x="6057" y="3897"/>
                  </a:lnTo>
                  <a:lnTo>
                    <a:pt x="6057" y="3888"/>
                  </a:lnTo>
                  <a:lnTo>
                    <a:pt x="6059" y="3879"/>
                  </a:lnTo>
                  <a:lnTo>
                    <a:pt x="6063" y="3870"/>
                  </a:lnTo>
                  <a:lnTo>
                    <a:pt x="6068" y="3860"/>
                  </a:lnTo>
                  <a:lnTo>
                    <a:pt x="6070" y="3855"/>
                  </a:lnTo>
                  <a:lnTo>
                    <a:pt x="6070" y="3847"/>
                  </a:lnTo>
                  <a:lnTo>
                    <a:pt x="6069" y="3838"/>
                  </a:lnTo>
                  <a:lnTo>
                    <a:pt x="6068" y="3828"/>
                  </a:lnTo>
                  <a:lnTo>
                    <a:pt x="6065" y="3817"/>
                  </a:lnTo>
                  <a:lnTo>
                    <a:pt x="6061" y="3809"/>
                  </a:lnTo>
                  <a:lnTo>
                    <a:pt x="6057" y="3804"/>
                  </a:lnTo>
                  <a:lnTo>
                    <a:pt x="6055" y="3802"/>
                  </a:lnTo>
                  <a:lnTo>
                    <a:pt x="6046" y="3805"/>
                  </a:lnTo>
                  <a:lnTo>
                    <a:pt x="6031" y="3813"/>
                  </a:lnTo>
                  <a:lnTo>
                    <a:pt x="6025" y="3817"/>
                  </a:lnTo>
                  <a:lnTo>
                    <a:pt x="6017" y="3819"/>
                  </a:lnTo>
                  <a:lnTo>
                    <a:pt x="6014" y="3819"/>
                  </a:lnTo>
                  <a:lnTo>
                    <a:pt x="6012" y="3817"/>
                  </a:lnTo>
                  <a:lnTo>
                    <a:pt x="6009" y="3816"/>
                  </a:lnTo>
                  <a:lnTo>
                    <a:pt x="6006" y="3813"/>
                  </a:lnTo>
                  <a:lnTo>
                    <a:pt x="6001" y="3804"/>
                  </a:lnTo>
                  <a:lnTo>
                    <a:pt x="5999" y="3798"/>
                  </a:lnTo>
                  <a:lnTo>
                    <a:pt x="5996" y="3791"/>
                  </a:lnTo>
                  <a:lnTo>
                    <a:pt x="5995" y="3785"/>
                  </a:lnTo>
                  <a:lnTo>
                    <a:pt x="5995" y="3775"/>
                  </a:lnTo>
                  <a:lnTo>
                    <a:pt x="5995" y="3768"/>
                  </a:lnTo>
                  <a:lnTo>
                    <a:pt x="5995" y="3764"/>
                  </a:lnTo>
                  <a:lnTo>
                    <a:pt x="5993" y="3761"/>
                  </a:lnTo>
                  <a:lnTo>
                    <a:pt x="5992" y="3757"/>
                  </a:lnTo>
                  <a:lnTo>
                    <a:pt x="5989" y="3752"/>
                  </a:lnTo>
                  <a:lnTo>
                    <a:pt x="5979" y="3743"/>
                  </a:lnTo>
                  <a:lnTo>
                    <a:pt x="5961" y="3728"/>
                  </a:lnTo>
                  <a:lnTo>
                    <a:pt x="5953" y="3723"/>
                  </a:lnTo>
                  <a:lnTo>
                    <a:pt x="5945" y="3719"/>
                  </a:lnTo>
                  <a:lnTo>
                    <a:pt x="5936" y="3717"/>
                  </a:lnTo>
                  <a:lnTo>
                    <a:pt x="5927" y="3714"/>
                  </a:lnTo>
                  <a:lnTo>
                    <a:pt x="5916" y="3714"/>
                  </a:lnTo>
                  <a:lnTo>
                    <a:pt x="5907" y="3713"/>
                  </a:lnTo>
                  <a:lnTo>
                    <a:pt x="5898" y="3714"/>
                  </a:lnTo>
                  <a:lnTo>
                    <a:pt x="5887" y="3715"/>
                  </a:lnTo>
                  <a:lnTo>
                    <a:pt x="5878" y="3718"/>
                  </a:lnTo>
                  <a:lnTo>
                    <a:pt x="5869" y="3720"/>
                  </a:lnTo>
                  <a:lnTo>
                    <a:pt x="5860" y="3724"/>
                  </a:lnTo>
                  <a:lnTo>
                    <a:pt x="5852" y="3728"/>
                  </a:lnTo>
                  <a:lnTo>
                    <a:pt x="5843" y="3734"/>
                  </a:lnTo>
                  <a:lnTo>
                    <a:pt x="5835" y="3739"/>
                  </a:lnTo>
                  <a:lnTo>
                    <a:pt x="5828" y="3744"/>
                  </a:lnTo>
                  <a:lnTo>
                    <a:pt x="5822" y="3751"/>
                  </a:lnTo>
                  <a:lnTo>
                    <a:pt x="5814" y="3757"/>
                  </a:lnTo>
                  <a:lnTo>
                    <a:pt x="5806" y="3762"/>
                  </a:lnTo>
                  <a:lnTo>
                    <a:pt x="5796" y="3766"/>
                  </a:lnTo>
                  <a:lnTo>
                    <a:pt x="5784" y="3769"/>
                  </a:lnTo>
                  <a:lnTo>
                    <a:pt x="5762" y="3771"/>
                  </a:lnTo>
                  <a:lnTo>
                    <a:pt x="5738" y="3771"/>
                  </a:lnTo>
                  <a:lnTo>
                    <a:pt x="5734" y="3771"/>
                  </a:lnTo>
                  <a:lnTo>
                    <a:pt x="5732" y="3770"/>
                  </a:lnTo>
                  <a:lnTo>
                    <a:pt x="5730" y="3768"/>
                  </a:lnTo>
                  <a:lnTo>
                    <a:pt x="5729" y="3765"/>
                  </a:lnTo>
                  <a:lnTo>
                    <a:pt x="5729" y="3758"/>
                  </a:lnTo>
                  <a:lnTo>
                    <a:pt x="5729" y="3752"/>
                  </a:lnTo>
                  <a:lnTo>
                    <a:pt x="5729" y="3748"/>
                  </a:lnTo>
                  <a:lnTo>
                    <a:pt x="5728" y="3744"/>
                  </a:lnTo>
                  <a:lnTo>
                    <a:pt x="5726" y="3741"/>
                  </a:lnTo>
                  <a:lnTo>
                    <a:pt x="5723" y="3739"/>
                  </a:lnTo>
                  <a:lnTo>
                    <a:pt x="5717" y="3736"/>
                  </a:lnTo>
                  <a:lnTo>
                    <a:pt x="5711" y="3735"/>
                  </a:lnTo>
                  <a:lnTo>
                    <a:pt x="5702" y="3734"/>
                  </a:lnTo>
                  <a:lnTo>
                    <a:pt x="5691" y="3734"/>
                  </a:lnTo>
                  <a:lnTo>
                    <a:pt x="5674" y="3734"/>
                  </a:lnTo>
                  <a:lnTo>
                    <a:pt x="5662" y="3734"/>
                  </a:lnTo>
                  <a:lnTo>
                    <a:pt x="5657" y="3732"/>
                  </a:lnTo>
                  <a:lnTo>
                    <a:pt x="5653" y="3731"/>
                  </a:lnTo>
                  <a:lnTo>
                    <a:pt x="5649" y="3730"/>
                  </a:lnTo>
                  <a:lnTo>
                    <a:pt x="5645" y="3727"/>
                  </a:lnTo>
                  <a:lnTo>
                    <a:pt x="5643" y="3724"/>
                  </a:lnTo>
                  <a:lnTo>
                    <a:pt x="5641" y="3720"/>
                  </a:lnTo>
                  <a:lnTo>
                    <a:pt x="5640" y="3717"/>
                  </a:lnTo>
                  <a:lnTo>
                    <a:pt x="5639" y="3713"/>
                  </a:lnTo>
                  <a:lnTo>
                    <a:pt x="5638" y="3700"/>
                  </a:lnTo>
                  <a:lnTo>
                    <a:pt x="5638" y="3684"/>
                  </a:lnTo>
                  <a:lnTo>
                    <a:pt x="5636" y="3679"/>
                  </a:lnTo>
                  <a:lnTo>
                    <a:pt x="5636" y="3675"/>
                  </a:lnTo>
                  <a:lnTo>
                    <a:pt x="5634" y="3669"/>
                  </a:lnTo>
                  <a:lnTo>
                    <a:pt x="5632" y="3667"/>
                  </a:lnTo>
                  <a:lnTo>
                    <a:pt x="5626" y="3662"/>
                  </a:lnTo>
                  <a:lnTo>
                    <a:pt x="5619" y="3658"/>
                  </a:lnTo>
                  <a:lnTo>
                    <a:pt x="5602" y="3652"/>
                  </a:lnTo>
                  <a:lnTo>
                    <a:pt x="5584" y="3651"/>
                  </a:lnTo>
                  <a:lnTo>
                    <a:pt x="5576" y="3650"/>
                  </a:lnTo>
                  <a:lnTo>
                    <a:pt x="5568" y="3647"/>
                  </a:lnTo>
                  <a:lnTo>
                    <a:pt x="5563" y="3643"/>
                  </a:lnTo>
                  <a:lnTo>
                    <a:pt x="5559" y="3638"/>
                  </a:lnTo>
                  <a:lnTo>
                    <a:pt x="5559" y="3635"/>
                  </a:lnTo>
                  <a:lnTo>
                    <a:pt x="5558" y="3632"/>
                  </a:lnTo>
                  <a:lnTo>
                    <a:pt x="5559" y="3626"/>
                  </a:lnTo>
                  <a:lnTo>
                    <a:pt x="5560" y="3621"/>
                  </a:lnTo>
                  <a:lnTo>
                    <a:pt x="5566" y="3608"/>
                  </a:lnTo>
                  <a:lnTo>
                    <a:pt x="5573" y="3592"/>
                  </a:lnTo>
                  <a:lnTo>
                    <a:pt x="5596" y="3561"/>
                  </a:lnTo>
                  <a:lnTo>
                    <a:pt x="5611" y="3537"/>
                  </a:lnTo>
                  <a:lnTo>
                    <a:pt x="5614" y="3532"/>
                  </a:lnTo>
                  <a:lnTo>
                    <a:pt x="5615" y="3527"/>
                  </a:lnTo>
                  <a:lnTo>
                    <a:pt x="5617" y="3520"/>
                  </a:lnTo>
                  <a:lnTo>
                    <a:pt x="5617" y="3514"/>
                  </a:lnTo>
                  <a:lnTo>
                    <a:pt x="5617" y="3507"/>
                  </a:lnTo>
                  <a:lnTo>
                    <a:pt x="5615" y="3499"/>
                  </a:lnTo>
                  <a:lnTo>
                    <a:pt x="5613" y="3490"/>
                  </a:lnTo>
                  <a:lnTo>
                    <a:pt x="5609" y="3480"/>
                  </a:lnTo>
                  <a:lnTo>
                    <a:pt x="5604" y="3468"/>
                  </a:lnTo>
                  <a:lnTo>
                    <a:pt x="5598" y="3459"/>
                  </a:lnTo>
                  <a:lnTo>
                    <a:pt x="5594" y="3452"/>
                  </a:lnTo>
                  <a:lnTo>
                    <a:pt x="5589" y="3447"/>
                  </a:lnTo>
                  <a:lnTo>
                    <a:pt x="5587" y="3442"/>
                  </a:lnTo>
                  <a:lnTo>
                    <a:pt x="5585" y="3435"/>
                  </a:lnTo>
                  <a:lnTo>
                    <a:pt x="5585" y="3427"/>
                  </a:lnTo>
                  <a:lnTo>
                    <a:pt x="5589" y="3417"/>
                  </a:lnTo>
                  <a:lnTo>
                    <a:pt x="5592" y="3393"/>
                  </a:lnTo>
                  <a:lnTo>
                    <a:pt x="5594" y="3357"/>
                  </a:lnTo>
                  <a:lnTo>
                    <a:pt x="5594" y="3323"/>
                  </a:lnTo>
                  <a:lnTo>
                    <a:pt x="5594" y="3307"/>
                  </a:lnTo>
                  <a:lnTo>
                    <a:pt x="5587" y="3299"/>
                  </a:lnTo>
                  <a:lnTo>
                    <a:pt x="5580" y="3291"/>
                  </a:lnTo>
                  <a:lnTo>
                    <a:pt x="5577" y="3285"/>
                  </a:lnTo>
                  <a:lnTo>
                    <a:pt x="5576" y="3280"/>
                  </a:lnTo>
                  <a:lnTo>
                    <a:pt x="5576" y="3273"/>
                  </a:lnTo>
                  <a:lnTo>
                    <a:pt x="5579" y="3268"/>
                  </a:lnTo>
                  <a:lnTo>
                    <a:pt x="5583" y="3263"/>
                  </a:lnTo>
                  <a:lnTo>
                    <a:pt x="5587" y="3257"/>
                  </a:lnTo>
                  <a:lnTo>
                    <a:pt x="5597" y="3246"/>
                  </a:lnTo>
                  <a:lnTo>
                    <a:pt x="5607" y="3234"/>
                  </a:lnTo>
                  <a:lnTo>
                    <a:pt x="5613" y="3229"/>
                  </a:lnTo>
                  <a:lnTo>
                    <a:pt x="5617" y="3222"/>
                  </a:lnTo>
                  <a:lnTo>
                    <a:pt x="5619" y="3214"/>
                  </a:lnTo>
                  <a:lnTo>
                    <a:pt x="5621" y="3206"/>
                  </a:lnTo>
                  <a:lnTo>
                    <a:pt x="5622" y="3195"/>
                  </a:lnTo>
                  <a:lnTo>
                    <a:pt x="5623" y="3183"/>
                  </a:lnTo>
                  <a:lnTo>
                    <a:pt x="5622" y="3174"/>
                  </a:lnTo>
                  <a:lnTo>
                    <a:pt x="5622" y="3165"/>
                  </a:lnTo>
                  <a:lnTo>
                    <a:pt x="5618" y="3150"/>
                  </a:lnTo>
                  <a:lnTo>
                    <a:pt x="5611" y="3138"/>
                  </a:lnTo>
                  <a:lnTo>
                    <a:pt x="5605" y="3127"/>
                  </a:lnTo>
                  <a:lnTo>
                    <a:pt x="5598" y="3116"/>
                  </a:lnTo>
                  <a:lnTo>
                    <a:pt x="5592" y="3104"/>
                  </a:lnTo>
                  <a:lnTo>
                    <a:pt x="5587" y="3090"/>
                  </a:lnTo>
                  <a:lnTo>
                    <a:pt x="5585" y="3081"/>
                  </a:lnTo>
                  <a:lnTo>
                    <a:pt x="5584" y="3074"/>
                  </a:lnTo>
                  <a:lnTo>
                    <a:pt x="5585" y="3068"/>
                  </a:lnTo>
                  <a:lnTo>
                    <a:pt x="5587" y="3062"/>
                  </a:lnTo>
                  <a:lnTo>
                    <a:pt x="5589" y="3059"/>
                  </a:lnTo>
                  <a:lnTo>
                    <a:pt x="5593" y="3056"/>
                  </a:lnTo>
                  <a:lnTo>
                    <a:pt x="5597" y="3053"/>
                  </a:lnTo>
                  <a:lnTo>
                    <a:pt x="5602" y="3051"/>
                  </a:lnTo>
                  <a:lnTo>
                    <a:pt x="5627" y="3047"/>
                  </a:lnTo>
                  <a:lnTo>
                    <a:pt x="5652" y="3040"/>
                  </a:lnTo>
                  <a:lnTo>
                    <a:pt x="5657" y="3038"/>
                  </a:lnTo>
                  <a:lnTo>
                    <a:pt x="5662" y="3035"/>
                  </a:lnTo>
                  <a:lnTo>
                    <a:pt x="5666" y="3030"/>
                  </a:lnTo>
                  <a:lnTo>
                    <a:pt x="5670" y="3026"/>
                  </a:lnTo>
                  <a:lnTo>
                    <a:pt x="5674" y="3015"/>
                  </a:lnTo>
                  <a:lnTo>
                    <a:pt x="5678" y="3004"/>
                  </a:lnTo>
                  <a:lnTo>
                    <a:pt x="5682" y="2993"/>
                  </a:lnTo>
                  <a:lnTo>
                    <a:pt x="5686" y="2981"/>
                  </a:lnTo>
                  <a:lnTo>
                    <a:pt x="5689" y="2976"/>
                  </a:lnTo>
                  <a:lnTo>
                    <a:pt x="5691" y="2972"/>
                  </a:lnTo>
                  <a:lnTo>
                    <a:pt x="5695" y="2967"/>
                  </a:lnTo>
                  <a:lnTo>
                    <a:pt x="5699" y="2964"/>
                  </a:lnTo>
                  <a:lnTo>
                    <a:pt x="5715" y="2953"/>
                  </a:lnTo>
                  <a:lnTo>
                    <a:pt x="5730" y="2941"/>
                  </a:lnTo>
                  <a:lnTo>
                    <a:pt x="5736" y="2933"/>
                  </a:lnTo>
                  <a:lnTo>
                    <a:pt x="5740" y="2925"/>
                  </a:lnTo>
                  <a:lnTo>
                    <a:pt x="5740" y="2921"/>
                  </a:lnTo>
                  <a:lnTo>
                    <a:pt x="5738" y="2917"/>
                  </a:lnTo>
                  <a:lnTo>
                    <a:pt x="5736" y="2913"/>
                  </a:lnTo>
                  <a:lnTo>
                    <a:pt x="5733" y="2909"/>
                  </a:lnTo>
                  <a:lnTo>
                    <a:pt x="5724" y="2898"/>
                  </a:lnTo>
                  <a:lnTo>
                    <a:pt x="5717" y="2889"/>
                  </a:lnTo>
                  <a:lnTo>
                    <a:pt x="5715" y="2881"/>
                  </a:lnTo>
                  <a:lnTo>
                    <a:pt x="5715" y="2875"/>
                  </a:lnTo>
                  <a:lnTo>
                    <a:pt x="5717" y="2870"/>
                  </a:lnTo>
                  <a:lnTo>
                    <a:pt x="5723" y="2868"/>
                  </a:lnTo>
                  <a:lnTo>
                    <a:pt x="5729" y="2866"/>
                  </a:lnTo>
                  <a:lnTo>
                    <a:pt x="5736" y="2865"/>
                  </a:lnTo>
                  <a:lnTo>
                    <a:pt x="5754" y="2862"/>
                  </a:lnTo>
                  <a:lnTo>
                    <a:pt x="5772" y="2861"/>
                  </a:lnTo>
                  <a:lnTo>
                    <a:pt x="5781" y="2858"/>
                  </a:lnTo>
                  <a:lnTo>
                    <a:pt x="5789" y="2856"/>
                  </a:lnTo>
                  <a:lnTo>
                    <a:pt x="5796" y="2852"/>
                  </a:lnTo>
                  <a:lnTo>
                    <a:pt x="5800" y="2848"/>
                  </a:lnTo>
                  <a:lnTo>
                    <a:pt x="5802" y="2841"/>
                  </a:lnTo>
                  <a:lnTo>
                    <a:pt x="5804" y="2832"/>
                  </a:lnTo>
                  <a:lnTo>
                    <a:pt x="5805" y="2822"/>
                  </a:lnTo>
                  <a:lnTo>
                    <a:pt x="5805" y="2809"/>
                  </a:lnTo>
                  <a:lnTo>
                    <a:pt x="5804" y="2777"/>
                  </a:lnTo>
                  <a:lnTo>
                    <a:pt x="5804" y="2745"/>
                  </a:lnTo>
                  <a:lnTo>
                    <a:pt x="5804" y="2729"/>
                  </a:lnTo>
                  <a:lnTo>
                    <a:pt x="5805" y="2715"/>
                  </a:lnTo>
                  <a:lnTo>
                    <a:pt x="5806" y="2700"/>
                  </a:lnTo>
                  <a:lnTo>
                    <a:pt x="5810" y="2688"/>
                  </a:lnTo>
                  <a:lnTo>
                    <a:pt x="5811" y="2683"/>
                  </a:lnTo>
                  <a:lnTo>
                    <a:pt x="5814" y="2679"/>
                  </a:lnTo>
                  <a:lnTo>
                    <a:pt x="5817" y="2675"/>
                  </a:lnTo>
                  <a:lnTo>
                    <a:pt x="5821" y="2673"/>
                  </a:lnTo>
                  <a:lnTo>
                    <a:pt x="5823" y="2670"/>
                  </a:lnTo>
                  <a:lnTo>
                    <a:pt x="5827" y="2669"/>
                  </a:lnTo>
                  <a:lnTo>
                    <a:pt x="5832" y="2669"/>
                  </a:lnTo>
                  <a:lnTo>
                    <a:pt x="5838" y="2669"/>
                  </a:lnTo>
                  <a:lnTo>
                    <a:pt x="5864" y="2679"/>
                  </a:lnTo>
                  <a:lnTo>
                    <a:pt x="5893" y="2690"/>
                  </a:lnTo>
                  <a:lnTo>
                    <a:pt x="5900" y="2692"/>
                  </a:lnTo>
                  <a:lnTo>
                    <a:pt x="5907" y="2694"/>
                  </a:lnTo>
                  <a:lnTo>
                    <a:pt x="5915" y="2694"/>
                  </a:lnTo>
                  <a:lnTo>
                    <a:pt x="5921" y="2694"/>
                  </a:lnTo>
                  <a:lnTo>
                    <a:pt x="5929" y="2692"/>
                  </a:lnTo>
                  <a:lnTo>
                    <a:pt x="5936" y="2690"/>
                  </a:lnTo>
                  <a:lnTo>
                    <a:pt x="5942" y="2686"/>
                  </a:lnTo>
                  <a:lnTo>
                    <a:pt x="5949" y="2681"/>
                  </a:lnTo>
                  <a:lnTo>
                    <a:pt x="5961" y="2669"/>
                  </a:lnTo>
                  <a:lnTo>
                    <a:pt x="5975" y="2660"/>
                  </a:lnTo>
                  <a:lnTo>
                    <a:pt x="5989" y="2650"/>
                  </a:lnTo>
                  <a:lnTo>
                    <a:pt x="6006" y="2643"/>
                  </a:lnTo>
                  <a:lnTo>
                    <a:pt x="6023" y="2636"/>
                  </a:lnTo>
                  <a:lnTo>
                    <a:pt x="6040" y="2631"/>
                  </a:lnTo>
                  <a:lnTo>
                    <a:pt x="6057" y="2627"/>
                  </a:lnTo>
                  <a:lnTo>
                    <a:pt x="6074" y="2626"/>
                  </a:lnTo>
                  <a:lnTo>
                    <a:pt x="6084" y="2624"/>
                  </a:lnTo>
                  <a:lnTo>
                    <a:pt x="6094" y="2620"/>
                  </a:lnTo>
                  <a:lnTo>
                    <a:pt x="6104" y="2615"/>
                  </a:lnTo>
                  <a:lnTo>
                    <a:pt x="6114" y="2610"/>
                  </a:lnTo>
                  <a:lnTo>
                    <a:pt x="6132" y="2596"/>
                  </a:lnTo>
                  <a:lnTo>
                    <a:pt x="6149" y="2582"/>
                  </a:lnTo>
                  <a:lnTo>
                    <a:pt x="6155" y="2580"/>
                  </a:lnTo>
                  <a:lnTo>
                    <a:pt x="6162" y="2579"/>
                  </a:lnTo>
                  <a:lnTo>
                    <a:pt x="6170" y="2579"/>
                  </a:lnTo>
                  <a:lnTo>
                    <a:pt x="6179" y="2581"/>
                  </a:lnTo>
                  <a:lnTo>
                    <a:pt x="6197" y="2590"/>
                  </a:lnTo>
                  <a:lnTo>
                    <a:pt x="6216" y="2601"/>
                  </a:lnTo>
                  <a:lnTo>
                    <a:pt x="6234" y="2611"/>
                  </a:lnTo>
                  <a:lnTo>
                    <a:pt x="6251" y="2620"/>
                  </a:lnTo>
                  <a:lnTo>
                    <a:pt x="6259" y="2624"/>
                  </a:lnTo>
                  <a:lnTo>
                    <a:pt x="6265" y="2626"/>
                  </a:lnTo>
                  <a:lnTo>
                    <a:pt x="6271" y="2624"/>
                  </a:lnTo>
                  <a:lnTo>
                    <a:pt x="6275" y="2622"/>
                  </a:lnTo>
                  <a:lnTo>
                    <a:pt x="6286" y="2609"/>
                  </a:lnTo>
                  <a:lnTo>
                    <a:pt x="6295" y="2596"/>
                  </a:lnTo>
                  <a:lnTo>
                    <a:pt x="6303" y="2584"/>
                  </a:lnTo>
                  <a:lnTo>
                    <a:pt x="6311" y="2571"/>
                  </a:lnTo>
                  <a:lnTo>
                    <a:pt x="6318" y="2559"/>
                  </a:lnTo>
                  <a:lnTo>
                    <a:pt x="6327" y="2547"/>
                  </a:lnTo>
                  <a:lnTo>
                    <a:pt x="6339" y="2537"/>
                  </a:lnTo>
                  <a:lnTo>
                    <a:pt x="6354" y="2525"/>
                  </a:lnTo>
                  <a:lnTo>
                    <a:pt x="6360" y="2524"/>
                  </a:lnTo>
                  <a:lnTo>
                    <a:pt x="6363" y="2522"/>
                  </a:lnTo>
                  <a:lnTo>
                    <a:pt x="6366" y="2524"/>
                  </a:lnTo>
                  <a:lnTo>
                    <a:pt x="6369" y="2525"/>
                  </a:lnTo>
                  <a:lnTo>
                    <a:pt x="6373" y="2533"/>
                  </a:lnTo>
                  <a:lnTo>
                    <a:pt x="6375" y="2543"/>
                  </a:lnTo>
                  <a:lnTo>
                    <a:pt x="6377" y="2555"/>
                  </a:lnTo>
                  <a:lnTo>
                    <a:pt x="6380" y="2568"/>
                  </a:lnTo>
                  <a:lnTo>
                    <a:pt x="6382" y="2575"/>
                  </a:lnTo>
                  <a:lnTo>
                    <a:pt x="6384" y="2581"/>
                  </a:lnTo>
                  <a:lnTo>
                    <a:pt x="6387" y="2588"/>
                  </a:lnTo>
                  <a:lnTo>
                    <a:pt x="6391" y="2593"/>
                  </a:lnTo>
                  <a:lnTo>
                    <a:pt x="6412" y="2622"/>
                  </a:lnTo>
                  <a:lnTo>
                    <a:pt x="6425" y="2643"/>
                  </a:lnTo>
                  <a:lnTo>
                    <a:pt x="6430" y="2652"/>
                  </a:lnTo>
                  <a:lnTo>
                    <a:pt x="6433" y="2660"/>
                  </a:lnTo>
                  <a:lnTo>
                    <a:pt x="6433" y="2666"/>
                  </a:lnTo>
                  <a:lnTo>
                    <a:pt x="6433" y="2673"/>
                  </a:lnTo>
                  <a:lnTo>
                    <a:pt x="6429" y="2688"/>
                  </a:lnTo>
                  <a:lnTo>
                    <a:pt x="6420" y="2705"/>
                  </a:lnTo>
                  <a:lnTo>
                    <a:pt x="6408" y="2730"/>
                  </a:lnTo>
                  <a:lnTo>
                    <a:pt x="6395" y="2763"/>
                  </a:lnTo>
                  <a:lnTo>
                    <a:pt x="6390" y="2781"/>
                  </a:lnTo>
                  <a:lnTo>
                    <a:pt x="6386" y="2803"/>
                  </a:lnTo>
                  <a:lnTo>
                    <a:pt x="6386" y="2815"/>
                  </a:lnTo>
                  <a:lnTo>
                    <a:pt x="6386" y="2826"/>
                  </a:lnTo>
                  <a:lnTo>
                    <a:pt x="6387" y="2836"/>
                  </a:lnTo>
                  <a:lnTo>
                    <a:pt x="6390" y="2845"/>
                  </a:lnTo>
                  <a:lnTo>
                    <a:pt x="6396" y="2860"/>
                  </a:lnTo>
                  <a:lnTo>
                    <a:pt x="6401" y="2872"/>
                  </a:lnTo>
                  <a:lnTo>
                    <a:pt x="6405" y="2879"/>
                  </a:lnTo>
                  <a:lnTo>
                    <a:pt x="6411" y="2885"/>
                  </a:lnTo>
                  <a:lnTo>
                    <a:pt x="6414" y="2887"/>
                  </a:lnTo>
                  <a:lnTo>
                    <a:pt x="6418" y="2887"/>
                  </a:lnTo>
                  <a:lnTo>
                    <a:pt x="6422" y="2886"/>
                  </a:lnTo>
                  <a:lnTo>
                    <a:pt x="6426" y="2883"/>
                  </a:lnTo>
                  <a:lnTo>
                    <a:pt x="6435" y="2874"/>
                  </a:lnTo>
                  <a:lnTo>
                    <a:pt x="6445" y="2865"/>
                  </a:lnTo>
                  <a:lnTo>
                    <a:pt x="6451" y="2860"/>
                  </a:lnTo>
                  <a:lnTo>
                    <a:pt x="6458" y="2857"/>
                  </a:lnTo>
                  <a:lnTo>
                    <a:pt x="6467" y="2855"/>
                  </a:lnTo>
                  <a:lnTo>
                    <a:pt x="6475" y="2853"/>
                  </a:lnTo>
                  <a:lnTo>
                    <a:pt x="6481" y="2853"/>
                  </a:lnTo>
                  <a:lnTo>
                    <a:pt x="6488" y="2855"/>
                  </a:lnTo>
                  <a:lnTo>
                    <a:pt x="6493" y="2857"/>
                  </a:lnTo>
                  <a:lnTo>
                    <a:pt x="6498" y="2858"/>
                  </a:lnTo>
                  <a:lnTo>
                    <a:pt x="6509" y="2865"/>
                  </a:lnTo>
                  <a:lnTo>
                    <a:pt x="6518" y="2874"/>
                  </a:lnTo>
                  <a:lnTo>
                    <a:pt x="6527" y="2885"/>
                  </a:lnTo>
                  <a:lnTo>
                    <a:pt x="6536" y="2896"/>
                  </a:lnTo>
                  <a:lnTo>
                    <a:pt x="6544" y="2909"/>
                  </a:lnTo>
                  <a:lnTo>
                    <a:pt x="6552" y="2923"/>
                  </a:lnTo>
                  <a:lnTo>
                    <a:pt x="6577" y="2976"/>
                  </a:lnTo>
                  <a:lnTo>
                    <a:pt x="6596" y="3014"/>
                  </a:lnTo>
                  <a:lnTo>
                    <a:pt x="6604" y="3022"/>
                  </a:lnTo>
                  <a:lnTo>
                    <a:pt x="6612" y="3027"/>
                  </a:lnTo>
                  <a:lnTo>
                    <a:pt x="6621" y="3030"/>
                  </a:lnTo>
                  <a:lnTo>
                    <a:pt x="6629" y="3031"/>
                  </a:lnTo>
                  <a:lnTo>
                    <a:pt x="6638" y="3030"/>
                  </a:lnTo>
                  <a:lnTo>
                    <a:pt x="6647" y="3028"/>
                  </a:lnTo>
                  <a:lnTo>
                    <a:pt x="6656" y="3027"/>
                  </a:lnTo>
                  <a:lnTo>
                    <a:pt x="6666" y="3025"/>
                  </a:lnTo>
                  <a:lnTo>
                    <a:pt x="6676" y="3022"/>
                  </a:lnTo>
                  <a:lnTo>
                    <a:pt x="6685" y="3019"/>
                  </a:lnTo>
                  <a:lnTo>
                    <a:pt x="6694" y="3019"/>
                  </a:lnTo>
                  <a:lnTo>
                    <a:pt x="6705" y="3018"/>
                  </a:lnTo>
                  <a:lnTo>
                    <a:pt x="6714" y="3021"/>
                  </a:lnTo>
                  <a:lnTo>
                    <a:pt x="6723" y="3023"/>
                  </a:lnTo>
                  <a:lnTo>
                    <a:pt x="6732" y="3028"/>
                  </a:lnTo>
                  <a:lnTo>
                    <a:pt x="6740" y="3038"/>
                  </a:lnTo>
                  <a:lnTo>
                    <a:pt x="6752" y="3049"/>
                  </a:lnTo>
                  <a:lnTo>
                    <a:pt x="6761" y="3057"/>
                  </a:lnTo>
                  <a:lnTo>
                    <a:pt x="6769" y="3064"/>
                  </a:lnTo>
                  <a:lnTo>
                    <a:pt x="6775" y="3066"/>
                  </a:lnTo>
                  <a:lnTo>
                    <a:pt x="6781" y="3066"/>
                  </a:lnTo>
                  <a:lnTo>
                    <a:pt x="6786" y="3064"/>
                  </a:lnTo>
                  <a:lnTo>
                    <a:pt x="6789" y="3060"/>
                  </a:lnTo>
                  <a:lnTo>
                    <a:pt x="6792" y="3053"/>
                  </a:lnTo>
                  <a:lnTo>
                    <a:pt x="6798" y="3039"/>
                  </a:lnTo>
                  <a:lnTo>
                    <a:pt x="6802" y="3021"/>
                  </a:lnTo>
                  <a:lnTo>
                    <a:pt x="6806" y="3011"/>
                  </a:lnTo>
                  <a:lnTo>
                    <a:pt x="6808" y="3002"/>
                  </a:lnTo>
                  <a:lnTo>
                    <a:pt x="6812" y="2993"/>
                  </a:lnTo>
                  <a:lnTo>
                    <a:pt x="6817" y="2985"/>
                  </a:lnTo>
                  <a:lnTo>
                    <a:pt x="6821" y="2980"/>
                  </a:lnTo>
                  <a:lnTo>
                    <a:pt x="6826" y="2977"/>
                  </a:lnTo>
                  <a:lnTo>
                    <a:pt x="6834" y="2977"/>
                  </a:lnTo>
                  <a:lnTo>
                    <a:pt x="6842" y="2977"/>
                  </a:lnTo>
                  <a:lnTo>
                    <a:pt x="6859" y="2980"/>
                  </a:lnTo>
                  <a:lnTo>
                    <a:pt x="6879" y="2987"/>
                  </a:lnTo>
                  <a:lnTo>
                    <a:pt x="6915" y="3005"/>
                  </a:lnTo>
                  <a:lnTo>
                    <a:pt x="6940" y="3017"/>
                  </a:lnTo>
                  <a:lnTo>
                    <a:pt x="6970" y="3034"/>
                  </a:lnTo>
                  <a:lnTo>
                    <a:pt x="6990" y="3045"/>
                  </a:lnTo>
                  <a:lnTo>
                    <a:pt x="6994" y="3047"/>
                  </a:lnTo>
                  <a:lnTo>
                    <a:pt x="6999" y="3048"/>
                  </a:lnTo>
                  <a:lnTo>
                    <a:pt x="7003" y="3048"/>
                  </a:lnTo>
                  <a:lnTo>
                    <a:pt x="7008" y="3048"/>
                  </a:lnTo>
                  <a:lnTo>
                    <a:pt x="7021" y="3044"/>
                  </a:lnTo>
                  <a:lnTo>
                    <a:pt x="7037" y="3038"/>
                  </a:lnTo>
                  <a:lnTo>
                    <a:pt x="7054" y="3028"/>
                  </a:lnTo>
                  <a:lnTo>
                    <a:pt x="7067" y="3021"/>
                  </a:lnTo>
                  <a:lnTo>
                    <a:pt x="7078" y="3017"/>
                  </a:lnTo>
                  <a:lnTo>
                    <a:pt x="7085" y="3014"/>
                  </a:lnTo>
                  <a:lnTo>
                    <a:pt x="7089" y="3015"/>
                  </a:lnTo>
                  <a:lnTo>
                    <a:pt x="7093" y="3017"/>
                  </a:lnTo>
                  <a:lnTo>
                    <a:pt x="7097" y="3018"/>
                  </a:lnTo>
                  <a:lnTo>
                    <a:pt x="7101" y="3022"/>
                  </a:lnTo>
                  <a:lnTo>
                    <a:pt x="7113" y="3031"/>
                  </a:lnTo>
                  <a:lnTo>
                    <a:pt x="7127" y="3045"/>
                  </a:lnTo>
                  <a:lnTo>
                    <a:pt x="7140" y="3060"/>
                  </a:lnTo>
                  <a:lnTo>
                    <a:pt x="7156" y="3078"/>
                  </a:lnTo>
                  <a:lnTo>
                    <a:pt x="7172" y="3097"/>
                  </a:lnTo>
                  <a:lnTo>
                    <a:pt x="7187" y="3114"/>
                  </a:lnTo>
                  <a:lnTo>
                    <a:pt x="7195" y="3120"/>
                  </a:lnTo>
                  <a:lnTo>
                    <a:pt x="7203" y="3125"/>
                  </a:lnTo>
                  <a:lnTo>
                    <a:pt x="7211" y="3128"/>
                  </a:lnTo>
                  <a:lnTo>
                    <a:pt x="7219" y="3129"/>
                  </a:lnTo>
                  <a:lnTo>
                    <a:pt x="7222" y="3129"/>
                  </a:lnTo>
                  <a:lnTo>
                    <a:pt x="7225" y="3128"/>
                  </a:lnTo>
                  <a:lnTo>
                    <a:pt x="7228" y="3125"/>
                  </a:lnTo>
                  <a:lnTo>
                    <a:pt x="7232" y="3123"/>
                  </a:lnTo>
                  <a:lnTo>
                    <a:pt x="7237" y="3116"/>
                  </a:lnTo>
                  <a:lnTo>
                    <a:pt x="7242" y="3104"/>
                  </a:lnTo>
                  <a:lnTo>
                    <a:pt x="7248" y="3095"/>
                  </a:lnTo>
                  <a:lnTo>
                    <a:pt x="7254" y="3083"/>
                  </a:lnTo>
                  <a:lnTo>
                    <a:pt x="7262" y="3073"/>
                  </a:lnTo>
                  <a:lnTo>
                    <a:pt x="7270" y="3062"/>
                  </a:lnTo>
                  <a:lnTo>
                    <a:pt x="7287" y="3043"/>
                  </a:lnTo>
                  <a:lnTo>
                    <a:pt x="7301" y="3028"/>
                  </a:lnTo>
                  <a:lnTo>
                    <a:pt x="7307" y="3023"/>
                  </a:lnTo>
                  <a:lnTo>
                    <a:pt x="7309" y="3018"/>
                  </a:lnTo>
                  <a:lnTo>
                    <a:pt x="7312" y="3013"/>
                  </a:lnTo>
                  <a:lnTo>
                    <a:pt x="7314" y="3006"/>
                  </a:lnTo>
                  <a:lnTo>
                    <a:pt x="7317" y="2996"/>
                  </a:lnTo>
                  <a:lnTo>
                    <a:pt x="7317" y="2984"/>
                  </a:lnTo>
                  <a:lnTo>
                    <a:pt x="7314" y="2959"/>
                  </a:lnTo>
                  <a:lnTo>
                    <a:pt x="7312" y="2937"/>
                  </a:lnTo>
                  <a:lnTo>
                    <a:pt x="7313" y="2923"/>
                  </a:lnTo>
                  <a:lnTo>
                    <a:pt x="7317" y="2907"/>
                  </a:lnTo>
                  <a:lnTo>
                    <a:pt x="7324" y="2890"/>
                  </a:lnTo>
                  <a:lnTo>
                    <a:pt x="7330" y="2874"/>
                  </a:lnTo>
                  <a:lnTo>
                    <a:pt x="7346" y="2843"/>
                  </a:lnTo>
                  <a:lnTo>
                    <a:pt x="7358" y="2814"/>
                  </a:lnTo>
                  <a:lnTo>
                    <a:pt x="7360" y="2806"/>
                  </a:lnTo>
                  <a:lnTo>
                    <a:pt x="7361" y="2797"/>
                  </a:lnTo>
                  <a:lnTo>
                    <a:pt x="7361" y="2789"/>
                  </a:lnTo>
                  <a:lnTo>
                    <a:pt x="7360" y="2780"/>
                  </a:lnTo>
                  <a:lnTo>
                    <a:pt x="7358" y="2762"/>
                  </a:lnTo>
                  <a:lnTo>
                    <a:pt x="7355" y="2742"/>
                  </a:lnTo>
                  <a:lnTo>
                    <a:pt x="7352" y="2724"/>
                  </a:lnTo>
                  <a:lnTo>
                    <a:pt x="7351" y="2705"/>
                  </a:lnTo>
                  <a:lnTo>
                    <a:pt x="7352" y="2696"/>
                  </a:lnTo>
                  <a:lnTo>
                    <a:pt x="7354" y="2687"/>
                  </a:lnTo>
                  <a:lnTo>
                    <a:pt x="7358" y="2679"/>
                  </a:lnTo>
                  <a:lnTo>
                    <a:pt x="7361" y="2671"/>
                  </a:lnTo>
                  <a:lnTo>
                    <a:pt x="7365" y="2665"/>
                  </a:lnTo>
                  <a:lnTo>
                    <a:pt x="7368" y="2658"/>
                  </a:lnTo>
                  <a:lnTo>
                    <a:pt x="7369" y="2653"/>
                  </a:lnTo>
                  <a:lnTo>
                    <a:pt x="7369" y="2647"/>
                  </a:lnTo>
                  <a:lnTo>
                    <a:pt x="7368" y="2641"/>
                  </a:lnTo>
                  <a:lnTo>
                    <a:pt x="7367" y="2637"/>
                  </a:lnTo>
                  <a:lnTo>
                    <a:pt x="7363" y="2632"/>
                  </a:lnTo>
                  <a:lnTo>
                    <a:pt x="7359" y="2627"/>
                  </a:lnTo>
                  <a:lnTo>
                    <a:pt x="7341" y="2610"/>
                  </a:lnTo>
                  <a:lnTo>
                    <a:pt x="7321" y="2593"/>
                  </a:lnTo>
                  <a:lnTo>
                    <a:pt x="7284" y="2552"/>
                  </a:lnTo>
                  <a:lnTo>
                    <a:pt x="7257" y="2521"/>
                  </a:lnTo>
                  <a:lnTo>
                    <a:pt x="7249" y="2516"/>
                  </a:lnTo>
                  <a:lnTo>
                    <a:pt x="7241" y="2510"/>
                  </a:lnTo>
                  <a:lnTo>
                    <a:pt x="7232" y="2505"/>
                  </a:lnTo>
                  <a:lnTo>
                    <a:pt x="7222" y="2503"/>
                  </a:lnTo>
                  <a:lnTo>
                    <a:pt x="7210" y="2499"/>
                  </a:lnTo>
                  <a:lnTo>
                    <a:pt x="7197" y="2497"/>
                  </a:lnTo>
                  <a:lnTo>
                    <a:pt x="7181" y="2496"/>
                  </a:lnTo>
                  <a:lnTo>
                    <a:pt x="7163" y="2496"/>
                  </a:lnTo>
                  <a:lnTo>
                    <a:pt x="7147" y="2497"/>
                  </a:lnTo>
                  <a:lnTo>
                    <a:pt x="7129" y="2501"/>
                  </a:lnTo>
                  <a:lnTo>
                    <a:pt x="7109" y="2507"/>
                  </a:lnTo>
                  <a:lnTo>
                    <a:pt x="7089" y="2512"/>
                  </a:lnTo>
                  <a:lnTo>
                    <a:pt x="7070" y="2517"/>
                  </a:lnTo>
                  <a:lnTo>
                    <a:pt x="7051" y="2520"/>
                  </a:lnTo>
                  <a:lnTo>
                    <a:pt x="7044" y="2521"/>
                  </a:lnTo>
                  <a:lnTo>
                    <a:pt x="7036" y="2521"/>
                  </a:lnTo>
                  <a:lnTo>
                    <a:pt x="7029" y="2520"/>
                  </a:lnTo>
                  <a:lnTo>
                    <a:pt x="7024" y="2517"/>
                  </a:lnTo>
                  <a:lnTo>
                    <a:pt x="7021" y="2513"/>
                  </a:lnTo>
                  <a:lnTo>
                    <a:pt x="7017" y="2503"/>
                  </a:lnTo>
                  <a:lnTo>
                    <a:pt x="7012" y="2488"/>
                  </a:lnTo>
                  <a:lnTo>
                    <a:pt x="7007" y="2473"/>
                  </a:lnTo>
                  <a:lnTo>
                    <a:pt x="6998" y="2440"/>
                  </a:lnTo>
                  <a:lnTo>
                    <a:pt x="6987" y="2418"/>
                  </a:lnTo>
                  <a:lnTo>
                    <a:pt x="6983" y="2408"/>
                  </a:lnTo>
                  <a:lnTo>
                    <a:pt x="6980" y="2401"/>
                  </a:lnTo>
                  <a:lnTo>
                    <a:pt x="6977" y="2391"/>
                  </a:lnTo>
                  <a:lnTo>
                    <a:pt x="6974" y="2384"/>
                  </a:lnTo>
                  <a:lnTo>
                    <a:pt x="6972" y="2365"/>
                  </a:lnTo>
                  <a:lnTo>
                    <a:pt x="6969" y="2347"/>
                  </a:lnTo>
                  <a:lnTo>
                    <a:pt x="6968" y="2327"/>
                  </a:lnTo>
                  <a:lnTo>
                    <a:pt x="6965" y="2308"/>
                  </a:lnTo>
                  <a:lnTo>
                    <a:pt x="6961" y="2287"/>
                  </a:lnTo>
                  <a:lnTo>
                    <a:pt x="6955" y="2266"/>
                  </a:lnTo>
                  <a:lnTo>
                    <a:pt x="6944" y="2241"/>
                  </a:lnTo>
                  <a:lnTo>
                    <a:pt x="6940" y="2231"/>
                  </a:lnTo>
                  <a:lnTo>
                    <a:pt x="6942" y="2228"/>
                  </a:lnTo>
                  <a:lnTo>
                    <a:pt x="6946" y="2225"/>
                  </a:lnTo>
                  <a:lnTo>
                    <a:pt x="6952" y="2220"/>
                  </a:lnTo>
                  <a:lnTo>
                    <a:pt x="6963" y="2214"/>
                  </a:lnTo>
                  <a:lnTo>
                    <a:pt x="6973" y="2206"/>
                  </a:lnTo>
                  <a:lnTo>
                    <a:pt x="6981" y="2199"/>
                  </a:lnTo>
                  <a:lnTo>
                    <a:pt x="6986" y="2191"/>
                  </a:lnTo>
                  <a:lnTo>
                    <a:pt x="6990" y="2185"/>
                  </a:lnTo>
                  <a:lnTo>
                    <a:pt x="6998" y="2166"/>
                  </a:lnTo>
                  <a:lnTo>
                    <a:pt x="7006" y="2146"/>
                  </a:lnTo>
                  <a:lnTo>
                    <a:pt x="7008" y="2138"/>
                  </a:lnTo>
                  <a:lnTo>
                    <a:pt x="7012" y="2131"/>
                  </a:lnTo>
                  <a:lnTo>
                    <a:pt x="7016" y="2127"/>
                  </a:lnTo>
                  <a:lnTo>
                    <a:pt x="7020" y="2123"/>
                  </a:lnTo>
                  <a:lnTo>
                    <a:pt x="7028" y="2117"/>
                  </a:lnTo>
                  <a:lnTo>
                    <a:pt x="7036" y="2113"/>
                  </a:lnTo>
                  <a:lnTo>
                    <a:pt x="7044" y="2110"/>
                  </a:lnTo>
                  <a:lnTo>
                    <a:pt x="7051" y="2106"/>
                  </a:lnTo>
                  <a:lnTo>
                    <a:pt x="7055" y="2104"/>
                  </a:lnTo>
                  <a:lnTo>
                    <a:pt x="7059" y="2100"/>
                  </a:lnTo>
                  <a:lnTo>
                    <a:pt x="7062" y="2096"/>
                  </a:lnTo>
                  <a:lnTo>
                    <a:pt x="7066" y="2089"/>
                  </a:lnTo>
                  <a:lnTo>
                    <a:pt x="7071" y="2078"/>
                  </a:lnTo>
                  <a:lnTo>
                    <a:pt x="7075" y="2066"/>
                  </a:lnTo>
                  <a:lnTo>
                    <a:pt x="7078" y="2055"/>
                  </a:lnTo>
                  <a:lnTo>
                    <a:pt x="7079" y="2045"/>
                  </a:lnTo>
                  <a:lnTo>
                    <a:pt x="7079" y="2036"/>
                  </a:lnTo>
                  <a:lnTo>
                    <a:pt x="7076" y="2026"/>
                  </a:lnTo>
                  <a:lnTo>
                    <a:pt x="7072" y="2017"/>
                  </a:lnTo>
                  <a:lnTo>
                    <a:pt x="7067" y="2008"/>
                  </a:lnTo>
                  <a:lnTo>
                    <a:pt x="7037" y="1974"/>
                  </a:lnTo>
                  <a:lnTo>
                    <a:pt x="7017" y="1955"/>
                  </a:lnTo>
                  <a:lnTo>
                    <a:pt x="7016" y="1949"/>
                  </a:lnTo>
                  <a:lnTo>
                    <a:pt x="7017" y="1945"/>
                  </a:lnTo>
                  <a:lnTo>
                    <a:pt x="7019" y="1940"/>
                  </a:lnTo>
                  <a:lnTo>
                    <a:pt x="7024" y="1935"/>
                  </a:lnTo>
                  <a:lnTo>
                    <a:pt x="7031" y="1928"/>
                  </a:lnTo>
                  <a:lnTo>
                    <a:pt x="7041" y="1921"/>
                  </a:lnTo>
                  <a:lnTo>
                    <a:pt x="7054" y="1913"/>
                  </a:lnTo>
                  <a:lnTo>
                    <a:pt x="7070" y="1902"/>
                  </a:lnTo>
                  <a:lnTo>
                    <a:pt x="7082" y="1894"/>
                  </a:lnTo>
                  <a:lnTo>
                    <a:pt x="7093" y="1884"/>
                  </a:lnTo>
                  <a:lnTo>
                    <a:pt x="7105" y="1875"/>
                  </a:lnTo>
                  <a:lnTo>
                    <a:pt x="7116" y="1866"/>
                  </a:lnTo>
                  <a:lnTo>
                    <a:pt x="7126" y="1856"/>
                  </a:lnTo>
                  <a:lnTo>
                    <a:pt x="7136" y="1847"/>
                  </a:lnTo>
                  <a:lnTo>
                    <a:pt x="7150" y="1839"/>
                  </a:lnTo>
                  <a:lnTo>
                    <a:pt x="7163" y="1833"/>
                  </a:lnTo>
                  <a:lnTo>
                    <a:pt x="7172" y="1829"/>
                  </a:lnTo>
                  <a:lnTo>
                    <a:pt x="7180" y="1822"/>
                  </a:lnTo>
                  <a:lnTo>
                    <a:pt x="7185" y="1815"/>
                  </a:lnTo>
                  <a:lnTo>
                    <a:pt x="7187" y="1805"/>
                  </a:lnTo>
                  <a:lnTo>
                    <a:pt x="7190" y="1796"/>
                  </a:lnTo>
                  <a:lnTo>
                    <a:pt x="7190" y="1784"/>
                  </a:lnTo>
                  <a:lnTo>
                    <a:pt x="7189" y="1774"/>
                  </a:lnTo>
                  <a:lnTo>
                    <a:pt x="7187" y="1762"/>
                  </a:lnTo>
                  <a:lnTo>
                    <a:pt x="7181" y="1740"/>
                  </a:lnTo>
                  <a:lnTo>
                    <a:pt x="7172" y="1718"/>
                  </a:lnTo>
                  <a:lnTo>
                    <a:pt x="7164" y="1698"/>
                  </a:lnTo>
                  <a:lnTo>
                    <a:pt x="7155" y="1682"/>
                  </a:lnTo>
                  <a:lnTo>
                    <a:pt x="7148" y="1671"/>
                  </a:lnTo>
                  <a:lnTo>
                    <a:pt x="7142" y="1663"/>
                  </a:lnTo>
                  <a:lnTo>
                    <a:pt x="7135" y="1655"/>
                  </a:lnTo>
                  <a:lnTo>
                    <a:pt x="7129" y="1648"/>
                  </a:lnTo>
                  <a:lnTo>
                    <a:pt x="7123" y="1642"/>
                  </a:lnTo>
                  <a:lnTo>
                    <a:pt x="7119" y="1634"/>
                  </a:lnTo>
                  <a:lnTo>
                    <a:pt x="7117" y="1625"/>
                  </a:lnTo>
                  <a:lnTo>
                    <a:pt x="7116" y="1613"/>
                  </a:lnTo>
                  <a:lnTo>
                    <a:pt x="7117" y="1601"/>
                  </a:lnTo>
                  <a:lnTo>
                    <a:pt x="7118" y="1592"/>
                  </a:lnTo>
                  <a:lnTo>
                    <a:pt x="7122" y="1584"/>
                  </a:lnTo>
                  <a:lnTo>
                    <a:pt x="7127" y="1579"/>
                  </a:lnTo>
                  <a:lnTo>
                    <a:pt x="7134" y="1575"/>
                  </a:lnTo>
                  <a:lnTo>
                    <a:pt x="7142" y="1573"/>
                  </a:lnTo>
                  <a:lnTo>
                    <a:pt x="7152" y="1570"/>
                  </a:lnTo>
                  <a:lnTo>
                    <a:pt x="7164" y="1569"/>
                  </a:lnTo>
                  <a:lnTo>
                    <a:pt x="7180" y="1566"/>
                  </a:lnTo>
                  <a:lnTo>
                    <a:pt x="7191" y="1562"/>
                  </a:lnTo>
                  <a:lnTo>
                    <a:pt x="7197" y="1558"/>
                  </a:lnTo>
                  <a:lnTo>
                    <a:pt x="7201" y="1556"/>
                  </a:lnTo>
                  <a:lnTo>
                    <a:pt x="7205" y="1552"/>
                  </a:lnTo>
                  <a:lnTo>
                    <a:pt x="7208" y="1548"/>
                  </a:lnTo>
                  <a:lnTo>
                    <a:pt x="7215" y="1539"/>
                  </a:lnTo>
                  <a:lnTo>
                    <a:pt x="7220" y="1527"/>
                  </a:lnTo>
                  <a:lnTo>
                    <a:pt x="7224" y="1515"/>
                  </a:lnTo>
                  <a:lnTo>
                    <a:pt x="7229" y="1499"/>
                  </a:lnTo>
                  <a:lnTo>
                    <a:pt x="7236" y="1482"/>
                  </a:lnTo>
                  <a:lnTo>
                    <a:pt x="7241" y="1464"/>
                  </a:lnTo>
                  <a:lnTo>
                    <a:pt x="7244" y="1455"/>
                  </a:lnTo>
                  <a:lnTo>
                    <a:pt x="7246" y="1444"/>
                  </a:lnTo>
                  <a:lnTo>
                    <a:pt x="7248" y="1435"/>
                  </a:lnTo>
                  <a:lnTo>
                    <a:pt x="7248" y="1426"/>
                  </a:lnTo>
                  <a:lnTo>
                    <a:pt x="7245" y="1412"/>
                  </a:lnTo>
                  <a:lnTo>
                    <a:pt x="7241" y="1397"/>
                  </a:lnTo>
                  <a:lnTo>
                    <a:pt x="7239" y="1391"/>
                  </a:lnTo>
                  <a:lnTo>
                    <a:pt x="7239" y="1384"/>
                  </a:lnTo>
                  <a:lnTo>
                    <a:pt x="7239" y="1378"/>
                  </a:lnTo>
                  <a:lnTo>
                    <a:pt x="7240" y="1371"/>
                  </a:lnTo>
                  <a:lnTo>
                    <a:pt x="7256" y="1359"/>
                  </a:lnTo>
                  <a:lnTo>
                    <a:pt x="7271" y="1346"/>
                  </a:lnTo>
                  <a:lnTo>
                    <a:pt x="7274" y="1340"/>
                  </a:lnTo>
                  <a:lnTo>
                    <a:pt x="7275" y="1333"/>
                  </a:lnTo>
                  <a:lnTo>
                    <a:pt x="7275" y="1325"/>
                  </a:lnTo>
                  <a:lnTo>
                    <a:pt x="7275" y="1318"/>
                  </a:lnTo>
                  <a:lnTo>
                    <a:pt x="7274" y="1310"/>
                  </a:lnTo>
                  <a:lnTo>
                    <a:pt x="7274" y="1303"/>
                  </a:lnTo>
                  <a:lnTo>
                    <a:pt x="7275" y="1297"/>
                  </a:lnTo>
                  <a:lnTo>
                    <a:pt x="7278" y="1290"/>
                  </a:lnTo>
                  <a:lnTo>
                    <a:pt x="7282" y="1280"/>
                  </a:lnTo>
                  <a:lnTo>
                    <a:pt x="7287" y="1263"/>
                  </a:lnTo>
                  <a:lnTo>
                    <a:pt x="7292" y="1247"/>
                  </a:lnTo>
                  <a:lnTo>
                    <a:pt x="7293" y="1239"/>
                  </a:lnTo>
                  <a:lnTo>
                    <a:pt x="7292" y="1212"/>
                  </a:lnTo>
                  <a:lnTo>
                    <a:pt x="7293" y="1180"/>
                  </a:lnTo>
                  <a:lnTo>
                    <a:pt x="7295" y="1150"/>
                  </a:lnTo>
                  <a:lnTo>
                    <a:pt x="7296" y="1121"/>
                  </a:lnTo>
                  <a:lnTo>
                    <a:pt x="7296" y="1106"/>
                  </a:lnTo>
                  <a:lnTo>
                    <a:pt x="7293" y="1091"/>
                  </a:lnTo>
                  <a:lnTo>
                    <a:pt x="7291" y="1077"/>
                  </a:lnTo>
                  <a:lnTo>
                    <a:pt x="7286" y="1062"/>
                  </a:lnTo>
                  <a:lnTo>
                    <a:pt x="7284" y="1056"/>
                  </a:lnTo>
                  <a:lnTo>
                    <a:pt x="7284" y="1051"/>
                  </a:lnTo>
                  <a:lnTo>
                    <a:pt x="7286" y="1044"/>
                  </a:lnTo>
                  <a:lnTo>
                    <a:pt x="7288" y="1038"/>
                  </a:lnTo>
                  <a:lnTo>
                    <a:pt x="7295" y="1023"/>
                  </a:lnTo>
                  <a:lnTo>
                    <a:pt x="7303" y="1009"/>
                  </a:lnTo>
                  <a:lnTo>
                    <a:pt x="7312" y="993"/>
                  </a:lnTo>
                  <a:lnTo>
                    <a:pt x="7321" y="976"/>
                  </a:lnTo>
                  <a:lnTo>
                    <a:pt x="7324" y="967"/>
                  </a:lnTo>
                  <a:lnTo>
                    <a:pt x="7326" y="959"/>
                  </a:lnTo>
                  <a:lnTo>
                    <a:pt x="7327" y="950"/>
                  </a:lnTo>
                  <a:lnTo>
                    <a:pt x="7329" y="941"/>
                  </a:lnTo>
                  <a:lnTo>
                    <a:pt x="7330" y="928"/>
                  </a:lnTo>
                  <a:lnTo>
                    <a:pt x="7333" y="916"/>
                  </a:lnTo>
                  <a:lnTo>
                    <a:pt x="7338" y="905"/>
                  </a:lnTo>
                  <a:lnTo>
                    <a:pt x="7343" y="896"/>
                  </a:lnTo>
                  <a:lnTo>
                    <a:pt x="7347" y="888"/>
                  </a:lnTo>
                  <a:lnTo>
                    <a:pt x="7352" y="879"/>
                  </a:lnTo>
                  <a:lnTo>
                    <a:pt x="7355" y="870"/>
                  </a:lnTo>
                  <a:lnTo>
                    <a:pt x="7356" y="861"/>
                  </a:lnTo>
                  <a:lnTo>
                    <a:pt x="7354" y="832"/>
                  </a:lnTo>
                  <a:lnTo>
                    <a:pt x="7350" y="805"/>
                  </a:lnTo>
                  <a:lnTo>
                    <a:pt x="7350" y="792"/>
                  </a:lnTo>
                  <a:lnTo>
                    <a:pt x="7351" y="779"/>
                  </a:lnTo>
                  <a:lnTo>
                    <a:pt x="7352" y="772"/>
                  </a:lnTo>
                  <a:lnTo>
                    <a:pt x="7355" y="766"/>
                  </a:lnTo>
                  <a:lnTo>
                    <a:pt x="7359" y="759"/>
                  </a:lnTo>
                  <a:lnTo>
                    <a:pt x="7363" y="752"/>
                  </a:lnTo>
                  <a:lnTo>
                    <a:pt x="7367" y="747"/>
                  </a:lnTo>
                  <a:lnTo>
                    <a:pt x="7369" y="742"/>
                  </a:lnTo>
                  <a:lnTo>
                    <a:pt x="7371" y="739"/>
                  </a:lnTo>
                  <a:lnTo>
                    <a:pt x="7371" y="737"/>
                  </a:lnTo>
                  <a:lnTo>
                    <a:pt x="7371" y="734"/>
                  </a:lnTo>
                  <a:lnTo>
                    <a:pt x="7369" y="733"/>
                  </a:lnTo>
                  <a:lnTo>
                    <a:pt x="7367" y="731"/>
                  </a:lnTo>
                  <a:lnTo>
                    <a:pt x="7364" y="730"/>
                  </a:lnTo>
                  <a:lnTo>
                    <a:pt x="7358" y="729"/>
                  </a:lnTo>
                  <a:lnTo>
                    <a:pt x="7348" y="728"/>
                  </a:lnTo>
                  <a:lnTo>
                    <a:pt x="7341" y="726"/>
                  </a:lnTo>
                  <a:lnTo>
                    <a:pt x="7334" y="722"/>
                  </a:lnTo>
                  <a:lnTo>
                    <a:pt x="7320" y="713"/>
                  </a:lnTo>
                  <a:lnTo>
                    <a:pt x="7301" y="705"/>
                  </a:lnTo>
                  <a:lnTo>
                    <a:pt x="7283" y="696"/>
                  </a:lnTo>
                  <a:lnTo>
                    <a:pt x="7266" y="688"/>
                  </a:lnTo>
                  <a:lnTo>
                    <a:pt x="7256" y="682"/>
                  </a:lnTo>
                  <a:lnTo>
                    <a:pt x="7244" y="677"/>
                  </a:lnTo>
                  <a:lnTo>
                    <a:pt x="7232" y="673"/>
                  </a:lnTo>
                  <a:lnTo>
                    <a:pt x="7220" y="669"/>
                  </a:lnTo>
                  <a:lnTo>
                    <a:pt x="7198" y="661"/>
                  </a:lnTo>
                  <a:lnTo>
                    <a:pt x="7174" y="652"/>
                  </a:lnTo>
                  <a:lnTo>
                    <a:pt x="7150" y="646"/>
                  </a:lnTo>
                  <a:lnTo>
                    <a:pt x="7125" y="643"/>
                  </a:lnTo>
                  <a:lnTo>
                    <a:pt x="7119" y="640"/>
                  </a:lnTo>
                  <a:lnTo>
                    <a:pt x="7114" y="639"/>
                  </a:lnTo>
                  <a:lnTo>
                    <a:pt x="7110" y="636"/>
                  </a:lnTo>
                  <a:lnTo>
                    <a:pt x="7106" y="632"/>
                  </a:lnTo>
                  <a:lnTo>
                    <a:pt x="7102" y="628"/>
                  </a:lnTo>
                  <a:lnTo>
                    <a:pt x="7100" y="622"/>
                  </a:lnTo>
                  <a:lnTo>
                    <a:pt x="7099" y="616"/>
                  </a:lnTo>
                  <a:lnTo>
                    <a:pt x="7099" y="609"/>
                  </a:lnTo>
                  <a:lnTo>
                    <a:pt x="7100" y="597"/>
                  </a:lnTo>
                  <a:lnTo>
                    <a:pt x="7104" y="585"/>
                  </a:lnTo>
                  <a:lnTo>
                    <a:pt x="7108" y="572"/>
                  </a:lnTo>
                  <a:lnTo>
                    <a:pt x="7114" y="560"/>
                  </a:lnTo>
                  <a:lnTo>
                    <a:pt x="7118" y="548"/>
                  </a:lnTo>
                  <a:lnTo>
                    <a:pt x="7122" y="537"/>
                  </a:lnTo>
                  <a:lnTo>
                    <a:pt x="7123" y="531"/>
                  </a:lnTo>
                  <a:lnTo>
                    <a:pt x="7123" y="526"/>
                  </a:lnTo>
                  <a:lnTo>
                    <a:pt x="7122" y="521"/>
                  </a:lnTo>
                  <a:lnTo>
                    <a:pt x="7121" y="517"/>
                  </a:lnTo>
                  <a:lnTo>
                    <a:pt x="7114" y="508"/>
                  </a:lnTo>
                  <a:lnTo>
                    <a:pt x="7100" y="495"/>
                  </a:lnTo>
                  <a:lnTo>
                    <a:pt x="7082" y="478"/>
                  </a:lnTo>
                  <a:lnTo>
                    <a:pt x="7061" y="458"/>
                  </a:lnTo>
                  <a:lnTo>
                    <a:pt x="7038" y="438"/>
                  </a:lnTo>
                  <a:lnTo>
                    <a:pt x="7019" y="420"/>
                  </a:lnTo>
                  <a:lnTo>
                    <a:pt x="7002" y="403"/>
                  </a:lnTo>
                  <a:lnTo>
                    <a:pt x="6990" y="390"/>
                  </a:lnTo>
                  <a:lnTo>
                    <a:pt x="6983" y="385"/>
                  </a:lnTo>
                  <a:lnTo>
                    <a:pt x="6978" y="382"/>
                  </a:lnTo>
                  <a:lnTo>
                    <a:pt x="6972" y="381"/>
                  </a:lnTo>
                  <a:lnTo>
                    <a:pt x="6965" y="382"/>
                  </a:lnTo>
                  <a:lnTo>
                    <a:pt x="6959" y="384"/>
                  </a:lnTo>
                  <a:lnTo>
                    <a:pt x="6951" y="387"/>
                  </a:lnTo>
                  <a:lnTo>
                    <a:pt x="6944" y="391"/>
                  </a:lnTo>
                  <a:lnTo>
                    <a:pt x="6938" y="397"/>
                  </a:lnTo>
                  <a:lnTo>
                    <a:pt x="6925" y="408"/>
                  </a:lnTo>
                  <a:lnTo>
                    <a:pt x="6912" y="419"/>
                  </a:lnTo>
                  <a:lnTo>
                    <a:pt x="6901" y="427"/>
                  </a:lnTo>
                  <a:lnTo>
                    <a:pt x="6893" y="431"/>
                  </a:lnTo>
                  <a:lnTo>
                    <a:pt x="6879" y="431"/>
                  </a:lnTo>
                  <a:lnTo>
                    <a:pt x="6855" y="429"/>
                  </a:lnTo>
                  <a:lnTo>
                    <a:pt x="6833" y="429"/>
                  </a:lnTo>
                  <a:lnTo>
                    <a:pt x="6821" y="431"/>
                  </a:lnTo>
                  <a:lnTo>
                    <a:pt x="6813" y="436"/>
                  </a:lnTo>
                  <a:lnTo>
                    <a:pt x="6807" y="445"/>
                  </a:lnTo>
                  <a:lnTo>
                    <a:pt x="6800" y="453"/>
                  </a:lnTo>
                  <a:lnTo>
                    <a:pt x="6795" y="462"/>
                  </a:lnTo>
                  <a:lnTo>
                    <a:pt x="6787" y="482"/>
                  </a:lnTo>
                  <a:lnTo>
                    <a:pt x="6777" y="499"/>
                  </a:lnTo>
                  <a:lnTo>
                    <a:pt x="6768" y="512"/>
                  </a:lnTo>
                  <a:lnTo>
                    <a:pt x="6760" y="525"/>
                  </a:lnTo>
                  <a:lnTo>
                    <a:pt x="6753" y="538"/>
                  </a:lnTo>
                  <a:lnTo>
                    <a:pt x="6749" y="551"/>
                  </a:lnTo>
                  <a:lnTo>
                    <a:pt x="6741" y="577"/>
                  </a:lnTo>
                  <a:lnTo>
                    <a:pt x="6735" y="602"/>
                  </a:lnTo>
                  <a:lnTo>
                    <a:pt x="6731" y="612"/>
                  </a:lnTo>
                  <a:lnTo>
                    <a:pt x="6727" y="624"/>
                  </a:lnTo>
                  <a:lnTo>
                    <a:pt x="6722" y="635"/>
                  </a:lnTo>
                  <a:lnTo>
                    <a:pt x="6715" y="644"/>
                  </a:lnTo>
                  <a:lnTo>
                    <a:pt x="6707" y="652"/>
                  </a:lnTo>
                  <a:lnTo>
                    <a:pt x="6698" y="660"/>
                  </a:lnTo>
                  <a:lnTo>
                    <a:pt x="6687" y="666"/>
                  </a:lnTo>
                  <a:lnTo>
                    <a:pt x="6672" y="670"/>
                  </a:lnTo>
                  <a:lnTo>
                    <a:pt x="6666" y="673"/>
                  </a:lnTo>
                  <a:lnTo>
                    <a:pt x="6659" y="677"/>
                  </a:lnTo>
                  <a:lnTo>
                    <a:pt x="6654" y="680"/>
                  </a:lnTo>
                  <a:lnTo>
                    <a:pt x="6649" y="686"/>
                  </a:lnTo>
                  <a:lnTo>
                    <a:pt x="6645" y="692"/>
                  </a:lnTo>
                  <a:lnTo>
                    <a:pt x="6641" y="699"/>
                  </a:lnTo>
                  <a:lnTo>
                    <a:pt x="6637" y="705"/>
                  </a:lnTo>
                  <a:lnTo>
                    <a:pt x="6636" y="712"/>
                  </a:lnTo>
                  <a:lnTo>
                    <a:pt x="6634" y="720"/>
                  </a:lnTo>
                  <a:lnTo>
                    <a:pt x="6634" y="728"/>
                  </a:lnTo>
                  <a:lnTo>
                    <a:pt x="6634" y="734"/>
                  </a:lnTo>
                  <a:lnTo>
                    <a:pt x="6637" y="742"/>
                  </a:lnTo>
                  <a:lnTo>
                    <a:pt x="6639" y="749"/>
                  </a:lnTo>
                  <a:lnTo>
                    <a:pt x="6643" y="755"/>
                  </a:lnTo>
                  <a:lnTo>
                    <a:pt x="6649" y="762"/>
                  </a:lnTo>
                  <a:lnTo>
                    <a:pt x="6655" y="768"/>
                  </a:lnTo>
                  <a:lnTo>
                    <a:pt x="6667" y="777"/>
                  </a:lnTo>
                  <a:lnTo>
                    <a:pt x="6675" y="786"/>
                  </a:lnTo>
                  <a:lnTo>
                    <a:pt x="6680" y="793"/>
                  </a:lnTo>
                  <a:lnTo>
                    <a:pt x="6681" y="800"/>
                  </a:lnTo>
                  <a:lnTo>
                    <a:pt x="6680" y="803"/>
                  </a:lnTo>
                  <a:lnTo>
                    <a:pt x="6677" y="807"/>
                  </a:lnTo>
                  <a:lnTo>
                    <a:pt x="6672" y="810"/>
                  </a:lnTo>
                  <a:lnTo>
                    <a:pt x="6666" y="813"/>
                  </a:lnTo>
                  <a:lnTo>
                    <a:pt x="6650" y="818"/>
                  </a:lnTo>
                  <a:lnTo>
                    <a:pt x="6632" y="822"/>
                  </a:lnTo>
                  <a:lnTo>
                    <a:pt x="6624" y="824"/>
                  </a:lnTo>
                  <a:lnTo>
                    <a:pt x="6617" y="828"/>
                  </a:lnTo>
                  <a:lnTo>
                    <a:pt x="6611" y="832"/>
                  </a:lnTo>
                  <a:lnTo>
                    <a:pt x="6607" y="836"/>
                  </a:lnTo>
                  <a:lnTo>
                    <a:pt x="6603" y="840"/>
                  </a:lnTo>
                  <a:lnTo>
                    <a:pt x="6598" y="843"/>
                  </a:lnTo>
                  <a:lnTo>
                    <a:pt x="6591" y="844"/>
                  </a:lnTo>
                  <a:lnTo>
                    <a:pt x="6582" y="843"/>
                  </a:lnTo>
                  <a:lnTo>
                    <a:pt x="6564" y="837"/>
                  </a:lnTo>
                  <a:lnTo>
                    <a:pt x="6543" y="830"/>
                  </a:lnTo>
                  <a:lnTo>
                    <a:pt x="6498" y="810"/>
                  </a:lnTo>
                  <a:lnTo>
                    <a:pt x="6463" y="796"/>
                  </a:lnTo>
                  <a:lnTo>
                    <a:pt x="6443" y="790"/>
                  </a:lnTo>
                  <a:lnTo>
                    <a:pt x="6426" y="786"/>
                  </a:lnTo>
                  <a:lnTo>
                    <a:pt x="6412" y="784"/>
                  </a:lnTo>
                  <a:lnTo>
                    <a:pt x="6400" y="783"/>
                  </a:lnTo>
                  <a:lnTo>
                    <a:pt x="6391" y="784"/>
                  </a:lnTo>
                  <a:lnTo>
                    <a:pt x="6383" y="785"/>
                  </a:lnTo>
                  <a:lnTo>
                    <a:pt x="6378" y="789"/>
                  </a:lnTo>
                  <a:lnTo>
                    <a:pt x="6374" y="794"/>
                  </a:lnTo>
                  <a:lnTo>
                    <a:pt x="6370" y="801"/>
                  </a:lnTo>
                  <a:lnTo>
                    <a:pt x="6369" y="809"/>
                  </a:lnTo>
                  <a:lnTo>
                    <a:pt x="6366" y="819"/>
                  </a:lnTo>
                  <a:lnTo>
                    <a:pt x="6366" y="831"/>
                  </a:lnTo>
                  <a:lnTo>
                    <a:pt x="6363" y="858"/>
                  </a:lnTo>
                  <a:lnTo>
                    <a:pt x="6358" y="894"/>
                  </a:lnTo>
                  <a:lnTo>
                    <a:pt x="6354" y="911"/>
                  </a:lnTo>
                  <a:lnTo>
                    <a:pt x="6346" y="929"/>
                  </a:lnTo>
                  <a:lnTo>
                    <a:pt x="6339" y="946"/>
                  </a:lnTo>
                  <a:lnTo>
                    <a:pt x="6331" y="964"/>
                  </a:lnTo>
                  <a:lnTo>
                    <a:pt x="6324" y="981"/>
                  </a:lnTo>
                  <a:lnTo>
                    <a:pt x="6320" y="997"/>
                  </a:lnTo>
                  <a:lnTo>
                    <a:pt x="6319" y="1005"/>
                  </a:lnTo>
                  <a:lnTo>
                    <a:pt x="6320" y="1011"/>
                  </a:lnTo>
                  <a:lnTo>
                    <a:pt x="6322" y="1018"/>
                  </a:lnTo>
                  <a:lnTo>
                    <a:pt x="6324" y="1025"/>
                  </a:lnTo>
                  <a:lnTo>
                    <a:pt x="6332" y="1039"/>
                  </a:lnTo>
                  <a:lnTo>
                    <a:pt x="6337" y="1055"/>
                  </a:lnTo>
                  <a:lnTo>
                    <a:pt x="6341" y="1072"/>
                  </a:lnTo>
                  <a:lnTo>
                    <a:pt x="6344" y="1090"/>
                  </a:lnTo>
                  <a:lnTo>
                    <a:pt x="6344" y="1099"/>
                  </a:lnTo>
                  <a:lnTo>
                    <a:pt x="6344" y="1108"/>
                  </a:lnTo>
                  <a:lnTo>
                    <a:pt x="6343" y="1117"/>
                  </a:lnTo>
                  <a:lnTo>
                    <a:pt x="6341" y="1127"/>
                  </a:lnTo>
                  <a:lnTo>
                    <a:pt x="6339" y="1136"/>
                  </a:lnTo>
                  <a:lnTo>
                    <a:pt x="6335" y="1144"/>
                  </a:lnTo>
                  <a:lnTo>
                    <a:pt x="6331" y="1150"/>
                  </a:lnTo>
                  <a:lnTo>
                    <a:pt x="6326" y="1158"/>
                  </a:lnTo>
                  <a:lnTo>
                    <a:pt x="6315" y="1168"/>
                  </a:lnTo>
                  <a:lnTo>
                    <a:pt x="6309" y="1174"/>
                  </a:lnTo>
                  <a:lnTo>
                    <a:pt x="6306" y="1174"/>
                  </a:lnTo>
                  <a:lnTo>
                    <a:pt x="6305" y="1174"/>
                  </a:lnTo>
                  <a:lnTo>
                    <a:pt x="6302" y="1172"/>
                  </a:lnTo>
                  <a:lnTo>
                    <a:pt x="6301" y="1171"/>
                  </a:lnTo>
                  <a:lnTo>
                    <a:pt x="6297" y="1167"/>
                  </a:lnTo>
                  <a:lnTo>
                    <a:pt x="6290" y="1162"/>
                  </a:lnTo>
                  <a:lnTo>
                    <a:pt x="6286" y="1161"/>
                  </a:lnTo>
                  <a:lnTo>
                    <a:pt x="6281" y="1159"/>
                  </a:lnTo>
                  <a:lnTo>
                    <a:pt x="6275" y="1159"/>
                  </a:lnTo>
                  <a:lnTo>
                    <a:pt x="6267" y="1159"/>
                  </a:lnTo>
                  <a:lnTo>
                    <a:pt x="6178" y="1172"/>
                  </a:lnTo>
                  <a:lnTo>
                    <a:pt x="6170" y="1174"/>
                  </a:lnTo>
                  <a:lnTo>
                    <a:pt x="6162" y="1176"/>
                  </a:lnTo>
                  <a:lnTo>
                    <a:pt x="6154" y="1181"/>
                  </a:lnTo>
                  <a:lnTo>
                    <a:pt x="6148" y="1187"/>
                  </a:lnTo>
                  <a:lnTo>
                    <a:pt x="6133" y="1200"/>
                  </a:lnTo>
                  <a:lnTo>
                    <a:pt x="6119" y="1214"/>
                  </a:lnTo>
                  <a:lnTo>
                    <a:pt x="6104" y="1229"/>
                  </a:lnTo>
                  <a:lnTo>
                    <a:pt x="6091" y="1243"/>
                  </a:lnTo>
                  <a:lnTo>
                    <a:pt x="6084" y="1248"/>
                  </a:lnTo>
                  <a:lnTo>
                    <a:pt x="6077" y="1253"/>
                  </a:lnTo>
                  <a:lnTo>
                    <a:pt x="6069" y="1257"/>
                  </a:lnTo>
                  <a:lnTo>
                    <a:pt x="6063" y="1260"/>
                  </a:lnTo>
                  <a:lnTo>
                    <a:pt x="6027" y="1264"/>
                  </a:lnTo>
                  <a:lnTo>
                    <a:pt x="5968" y="1268"/>
                  </a:lnTo>
                  <a:lnTo>
                    <a:pt x="5938" y="1270"/>
                  </a:lnTo>
                  <a:lnTo>
                    <a:pt x="5911" y="1274"/>
                  </a:lnTo>
                  <a:lnTo>
                    <a:pt x="5899" y="1277"/>
                  </a:lnTo>
                  <a:lnTo>
                    <a:pt x="5890" y="1280"/>
                  </a:lnTo>
                  <a:lnTo>
                    <a:pt x="5883" y="1284"/>
                  </a:lnTo>
                  <a:lnTo>
                    <a:pt x="5878" y="1287"/>
                  </a:lnTo>
                  <a:lnTo>
                    <a:pt x="5872" y="1297"/>
                  </a:lnTo>
                  <a:lnTo>
                    <a:pt x="5865" y="1303"/>
                  </a:lnTo>
                  <a:lnTo>
                    <a:pt x="5859" y="1308"/>
                  </a:lnTo>
                  <a:lnTo>
                    <a:pt x="5852" y="1311"/>
                  </a:lnTo>
                  <a:lnTo>
                    <a:pt x="5845" y="1314"/>
                  </a:lnTo>
                  <a:lnTo>
                    <a:pt x="5840" y="1314"/>
                  </a:lnTo>
                  <a:lnTo>
                    <a:pt x="5834" y="1314"/>
                  </a:lnTo>
                  <a:lnTo>
                    <a:pt x="5828" y="1312"/>
                  </a:lnTo>
                  <a:lnTo>
                    <a:pt x="5822" y="1308"/>
                  </a:lnTo>
                  <a:lnTo>
                    <a:pt x="5817" y="1304"/>
                  </a:lnTo>
                  <a:lnTo>
                    <a:pt x="5813" y="1301"/>
                  </a:lnTo>
                  <a:lnTo>
                    <a:pt x="5808" y="1295"/>
                  </a:lnTo>
                  <a:lnTo>
                    <a:pt x="5800" y="1284"/>
                  </a:lnTo>
                  <a:lnTo>
                    <a:pt x="5793" y="1269"/>
                  </a:lnTo>
                  <a:lnTo>
                    <a:pt x="5791" y="1261"/>
                  </a:lnTo>
                  <a:lnTo>
                    <a:pt x="5785" y="1253"/>
                  </a:lnTo>
                  <a:lnTo>
                    <a:pt x="5781" y="1247"/>
                  </a:lnTo>
                  <a:lnTo>
                    <a:pt x="5776" y="1240"/>
                  </a:lnTo>
                  <a:lnTo>
                    <a:pt x="5764" y="1229"/>
                  </a:lnTo>
                  <a:lnTo>
                    <a:pt x="5751" y="1221"/>
                  </a:lnTo>
                  <a:lnTo>
                    <a:pt x="5737" y="1213"/>
                  </a:lnTo>
                  <a:lnTo>
                    <a:pt x="5721" y="1208"/>
                  </a:lnTo>
                  <a:lnTo>
                    <a:pt x="5707" y="1202"/>
                  </a:lnTo>
                  <a:lnTo>
                    <a:pt x="5691" y="1200"/>
                  </a:lnTo>
                  <a:lnTo>
                    <a:pt x="5662" y="1195"/>
                  </a:lnTo>
                  <a:lnTo>
                    <a:pt x="5639" y="1191"/>
                  </a:lnTo>
                  <a:lnTo>
                    <a:pt x="5630" y="1189"/>
                  </a:lnTo>
                  <a:lnTo>
                    <a:pt x="5622" y="1185"/>
                  </a:lnTo>
                  <a:lnTo>
                    <a:pt x="5619" y="1184"/>
                  </a:lnTo>
                  <a:lnTo>
                    <a:pt x="5618" y="1183"/>
                  </a:lnTo>
                  <a:lnTo>
                    <a:pt x="5617" y="1180"/>
                  </a:lnTo>
                  <a:lnTo>
                    <a:pt x="5617" y="1178"/>
                  </a:lnTo>
                  <a:lnTo>
                    <a:pt x="5615" y="1159"/>
                  </a:lnTo>
                  <a:lnTo>
                    <a:pt x="5614" y="1142"/>
                  </a:lnTo>
                  <a:lnTo>
                    <a:pt x="5611" y="1129"/>
                  </a:lnTo>
                  <a:lnTo>
                    <a:pt x="5607" y="1116"/>
                  </a:lnTo>
                  <a:lnTo>
                    <a:pt x="5604" y="1106"/>
                  </a:lnTo>
                  <a:lnTo>
                    <a:pt x="5598" y="1096"/>
                  </a:lnTo>
                  <a:lnTo>
                    <a:pt x="5592" y="1089"/>
                  </a:lnTo>
                  <a:lnTo>
                    <a:pt x="5585" y="1081"/>
                  </a:lnTo>
                  <a:lnTo>
                    <a:pt x="5571" y="1065"/>
                  </a:lnTo>
                  <a:lnTo>
                    <a:pt x="5554" y="1049"/>
                  </a:lnTo>
                  <a:lnTo>
                    <a:pt x="5546" y="1040"/>
                  </a:lnTo>
                  <a:lnTo>
                    <a:pt x="5537" y="1030"/>
                  </a:lnTo>
                  <a:lnTo>
                    <a:pt x="5528" y="1018"/>
                  </a:lnTo>
                  <a:lnTo>
                    <a:pt x="5518" y="1004"/>
                  </a:lnTo>
                  <a:lnTo>
                    <a:pt x="5511" y="993"/>
                  </a:lnTo>
                  <a:lnTo>
                    <a:pt x="5504" y="984"/>
                  </a:lnTo>
                  <a:lnTo>
                    <a:pt x="5498" y="977"/>
                  </a:lnTo>
                  <a:lnTo>
                    <a:pt x="5492" y="972"/>
                  </a:lnTo>
                  <a:lnTo>
                    <a:pt x="5487" y="970"/>
                  </a:lnTo>
                  <a:lnTo>
                    <a:pt x="5481" y="968"/>
                  </a:lnTo>
                  <a:lnTo>
                    <a:pt x="5475" y="967"/>
                  </a:lnTo>
                  <a:lnTo>
                    <a:pt x="5469" y="967"/>
                  </a:lnTo>
                  <a:lnTo>
                    <a:pt x="5457" y="970"/>
                  </a:lnTo>
                  <a:lnTo>
                    <a:pt x="5443" y="971"/>
                  </a:lnTo>
                  <a:lnTo>
                    <a:pt x="5435" y="972"/>
                  </a:lnTo>
                  <a:lnTo>
                    <a:pt x="5426" y="972"/>
                  </a:lnTo>
                  <a:lnTo>
                    <a:pt x="5415" y="971"/>
                  </a:lnTo>
                  <a:lnTo>
                    <a:pt x="5405" y="970"/>
                  </a:lnTo>
                  <a:lnTo>
                    <a:pt x="5393" y="966"/>
                  </a:lnTo>
                  <a:lnTo>
                    <a:pt x="5382" y="960"/>
                  </a:lnTo>
                  <a:lnTo>
                    <a:pt x="5373" y="954"/>
                  </a:lnTo>
                  <a:lnTo>
                    <a:pt x="5365" y="946"/>
                  </a:lnTo>
                  <a:lnTo>
                    <a:pt x="5351" y="929"/>
                  </a:lnTo>
                  <a:lnTo>
                    <a:pt x="5338" y="912"/>
                  </a:lnTo>
                  <a:lnTo>
                    <a:pt x="5333" y="904"/>
                  </a:lnTo>
                  <a:lnTo>
                    <a:pt x="5328" y="896"/>
                  </a:lnTo>
                  <a:lnTo>
                    <a:pt x="5321" y="891"/>
                  </a:lnTo>
                  <a:lnTo>
                    <a:pt x="5316" y="886"/>
                  </a:lnTo>
                  <a:lnTo>
                    <a:pt x="5309" y="882"/>
                  </a:lnTo>
                  <a:lnTo>
                    <a:pt x="5301" y="881"/>
                  </a:lnTo>
                  <a:lnTo>
                    <a:pt x="5294" y="882"/>
                  </a:lnTo>
                  <a:lnTo>
                    <a:pt x="5286" y="885"/>
                  </a:lnTo>
                  <a:lnTo>
                    <a:pt x="5278" y="887"/>
                  </a:lnTo>
                  <a:lnTo>
                    <a:pt x="5267" y="890"/>
                  </a:lnTo>
                  <a:lnTo>
                    <a:pt x="5254" y="892"/>
                  </a:lnTo>
                  <a:lnTo>
                    <a:pt x="5240" y="892"/>
                  </a:lnTo>
                  <a:lnTo>
                    <a:pt x="5225" y="894"/>
                  </a:lnTo>
                  <a:lnTo>
                    <a:pt x="5208" y="892"/>
                  </a:lnTo>
                  <a:lnTo>
                    <a:pt x="5191" y="891"/>
                  </a:lnTo>
                  <a:lnTo>
                    <a:pt x="5174" y="890"/>
                  </a:lnTo>
                  <a:lnTo>
                    <a:pt x="5157" y="886"/>
                  </a:lnTo>
                  <a:lnTo>
                    <a:pt x="5140" y="883"/>
                  </a:lnTo>
                  <a:lnTo>
                    <a:pt x="5125" y="878"/>
                  </a:lnTo>
                  <a:lnTo>
                    <a:pt x="5109" y="873"/>
                  </a:lnTo>
                  <a:lnTo>
                    <a:pt x="5096" y="865"/>
                  </a:lnTo>
                  <a:lnTo>
                    <a:pt x="5084" y="858"/>
                  </a:lnTo>
                  <a:lnTo>
                    <a:pt x="5080" y="853"/>
                  </a:lnTo>
                  <a:lnTo>
                    <a:pt x="5075" y="849"/>
                  </a:lnTo>
                  <a:lnTo>
                    <a:pt x="5072" y="844"/>
                  </a:lnTo>
                  <a:lnTo>
                    <a:pt x="5069" y="839"/>
                  </a:lnTo>
                  <a:lnTo>
                    <a:pt x="5066" y="834"/>
                  </a:lnTo>
                  <a:lnTo>
                    <a:pt x="5061" y="828"/>
                  </a:lnTo>
                  <a:lnTo>
                    <a:pt x="5055" y="823"/>
                  </a:lnTo>
                  <a:lnTo>
                    <a:pt x="5050" y="819"/>
                  </a:lnTo>
                  <a:lnTo>
                    <a:pt x="5036" y="810"/>
                  </a:lnTo>
                  <a:lnTo>
                    <a:pt x="5020" y="802"/>
                  </a:lnTo>
                  <a:lnTo>
                    <a:pt x="5004" y="794"/>
                  </a:lnTo>
                  <a:lnTo>
                    <a:pt x="4987" y="786"/>
                  </a:lnTo>
                  <a:lnTo>
                    <a:pt x="4972" y="777"/>
                  </a:lnTo>
                  <a:lnTo>
                    <a:pt x="4959" y="768"/>
                  </a:lnTo>
                  <a:lnTo>
                    <a:pt x="4942" y="763"/>
                  </a:lnTo>
                  <a:lnTo>
                    <a:pt x="4926" y="758"/>
                  </a:lnTo>
                  <a:lnTo>
                    <a:pt x="4923" y="756"/>
                  </a:lnTo>
                  <a:lnTo>
                    <a:pt x="4921" y="756"/>
                  </a:lnTo>
                  <a:lnTo>
                    <a:pt x="4919" y="755"/>
                  </a:lnTo>
                  <a:lnTo>
                    <a:pt x="4919" y="754"/>
                  </a:lnTo>
                  <a:lnTo>
                    <a:pt x="4914" y="620"/>
                  </a:lnTo>
                  <a:lnTo>
                    <a:pt x="4905" y="612"/>
                  </a:lnTo>
                  <a:lnTo>
                    <a:pt x="4897" y="603"/>
                  </a:lnTo>
                  <a:lnTo>
                    <a:pt x="4897" y="601"/>
                  </a:lnTo>
                  <a:lnTo>
                    <a:pt x="4896" y="599"/>
                  </a:lnTo>
                  <a:lnTo>
                    <a:pt x="4893" y="598"/>
                  </a:lnTo>
                  <a:lnTo>
                    <a:pt x="4893" y="590"/>
                  </a:lnTo>
                  <a:lnTo>
                    <a:pt x="4893" y="582"/>
                  </a:lnTo>
                  <a:lnTo>
                    <a:pt x="4900" y="571"/>
                  </a:lnTo>
                  <a:lnTo>
                    <a:pt x="4908" y="560"/>
                  </a:lnTo>
                  <a:lnTo>
                    <a:pt x="4913" y="546"/>
                  </a:lnTo>
                  <a:lnTo>
                    <a:pt x="4917" y="534"/>
                  </a:lnTo>
                  <a:lnTo>
                    <a:pt x="4918" y="531"/>
                  </a:lnTo>
                  <a:lnTo>
                    <a:pt x="4919" y="529"/>
                  </a:lnTo>
                  <a:lnTo>
                    <a:pt x="4919" y="525"/>
                  </a:lnTo>
                  <a:lnTo>
                    <a:pt x="4921" y="521"/>
                  </a:lnTo>
                  <a:lnTo>
                    <a:pt x="4923" y="518"/>
                  </a:lnTo>
                  <a:lnTo>
                    <a:pt x="4925" y="516"/>
                  </a:lnTo>
                  <a:lnTo>
                    <a:pt x="4925" y="513"/>
                  </a:lnTo>
                  <a:lnTo>
                    <a:pt x="4930" y="507"/>
                  </a:lnTo>
                  <a:lnTo>
                    <a:pt x="4938" y="500"/>
                  </a:lnTo>
                  <a:lnTo>
                    <a:pt x="4940" y="496"/>
                  </a:lnTo>
                  <a:lnTo>
                    <a:pt x="4942" y="493"/>
                  </a:lnTo>
                  <a:lnTo>
                    <a:pt x="4943" y="491"/>
                  </a:lnTo>
                  <a:lnTo>
                    <a:pt x="4943" y="488"/>
                  </a:lnTo>
                  <a:lnTo>
                    <a:pt x="4947" y="475"/>
                  </a:lnTo>
                  <a:lnTo>
                    <a:pt x="4951" y="462"/>
                  </a:lnTo>
                  <a:lnTo>
                    <a:pt x="4953" y="459"/>
                  </a:lnTo>
                  <a:lnTo>
                    <a:pt x="4955" y="458"/>
                  </a:lnTo>
                  <a:lnTo>
                    <a:pt x="4955" y="457"/>
                  </a:lnTo>
                  <a:lnTo>
                    <a:pt x="4961" y="446"/>
                  </a:lnTo>
                  <a:lnTo>
                    <a:pt x="4969" y="437"/>
                  </a:lnTo>
                  <a:lnTo>
                    <a:pt x="4972" y="433"/>
                  </a:lnTo>
                  <a:lnTo>
                    <a:pt x="4972" y="427"/>
                  </a:lnTo>
                  <a:lnTo>
                    <a:pt x="4972" y="419"/>
                  </a:lnTo>
                  <a:lnTo>
                    <a:pt x="4969" y="415"/>
                  </a:lnTo>
                  <a:lnTo>
                    <a:pt x="4967" y="402"/>
                  </a:lnTo>
                  <a:lnTo>
                    <a:pt x="4963" y="390"/>
                  </a:lnTo>
                  <a:lnTo>
                    <a:pt x="4956" y="382"/>
                  </a:lnTo>
                  <a:lnTo>
                    <a:pt x="4948" y="376"/>
                  </a:lnTo>
                  <a:lnTo>
                    <a:pt x="4940" y="369"/>
                  </a:lnTo>
                  <a:lnTo>
                    <a:pt x="4922" y="357"/>
                  </a:lnTo>
                  <a:lnTo>
                    <a:pt x="4913" y="350"/>
                  </a:lnTo>
                  <a:lnTo>
                    <a:pt x="4904" y="342"/>
                  </a:lnTo>
                  <a:lnTo>
                    <a:pt x="4896" y="334"/>
                  </a:lnTo>
                  <a:lnTo>
                    <a:pt x="4891" y="326"/>
                  </a:lnTo>
                  <a:lnTo>
                    <a:pt x="4889" y="323"/>
                  </a:lnTo>
                  <a:lnTo>
                    <a:pt x="4889" y="319"/>
                  </a:lnTo>
                  <a:lnTo>
                    <a:pt x="4889" y="317"/>
                  </a:lnTo>
                  <a:lnTo>
                    <a:pt x="4891" y="313"/>
                  </a:lnTo>
                  <a:lnTo>
                    <a:pt x="4895" y="305"/>
                  </a:lnTo>
                  <a:lnTo>
                    <a:pt x="4900" y="297"/>
                  </a:lnTo>
                  <a:lnTo>
                    <a:pt x="4906" y="291"/>
                  </a:lnTo>
                  <a:lnTo>
                    <a:pt x="4913" y="284"/>
                  </a:lnTo>
                  <a:lnTo>
                    <a:pt x="4918" y="279"/>
                  </a:lnTo>
                  <a:lnTo>
                    <a:pt x="4925" y="275"/>
                  </a:lnTo>
                  <a:lnTo>
                    <a:pt x="4925" y="272"/>
                  </a:lnTo>
                  <a:lnTo>
                    <a:pt x="4925" y="267"/>
                  </a:lnTo>
                  <a:lnTo>
                    <a:pt x="4923" y="261"/>
                  </a:lnTo>
                  <a:lnTo>
                    <a:pt x="4921" y="257"/>
                  </a:lnTo>
                  <a:lnTo>
                    <a:pt x="4841" y="251"/>
                  </a:lnTo>
                  <a:lnTo>
                    <a:pt x="4838" y="255"/>
                  </a:lnTo>
                  <a:lnTo>
                    <a:pt x="4837" y="259"/>
                  </a:lnTo>
                  <a:lnTo>
                    <a:pt x="4837" y="262"/>
                  </a:lnTo>
                  <a:lnTo>
                    <a:pt x="4803" y="287"/>
                  </a:lnTo>
                  <a:lnTo>
                    <a:pt x="4802" y="287"/>
                  </a:lnTo>
                  <a:lnTo>
                    <a:pt x="4782" y="285"/>
                  </a:lnTo>
                  <a:lnTo>
                    <a:pt x="4764" y="283"/>
                  </a:lnTo>
                  <a:lnTo>
                    <a:pt x="4744" y="279"/>
                  </a:lnTo>
                  <a:lnTo>
                    <a:pt x="4727" y="275"/>
                  </a:lnTo>
                  <a:lnTo>
                    <a:pt x="4711" y="268"/>
                  </a:lnTo>
                  <a:lnTo>
                    <a:pt x="4698" y="262"/>
                  </a:lnTo>
                  <a:lnTo>
                    <a:pt x="4693" y="258"/>
                  </a:lnTo>
                  <a:lnTo>
                    <a:pt x="4688" y="254"/>
                  </a:lnTo>
                  <a:lnTo>
                    <a:pt x="4684" y="251"/>
                  </a:lnTo>
                  <a:lnTo>
                    <a:pt x="4681" y="248"/>
                  </a:lnTo>
                  <a:lnTo>
                    <a:pt x="4666" y="244"/>
                  </a:lnTo>
                  <a:lnTo>
                    <a:pt x="4649" y="241"/>
                  </a:lnTo>
                  <a:lnTo>
                    <a:pt x="4645" y="238"/>
                  </a:lnTo>
                  <a:lnTo>
                    <a:pt x="4640" y="236"/>
                  </a:lnTo>
                  <a:lnTo>
                    <a:pt x="4638" y="236"/>
                  </a:lnTo>
                  <a:lnTo>
                    <a:pt x="4638" y="234"/>
                  </a:lnTo>
                  <a:lnTo>
                    <a:pt x="4637" y="233"/>
                  </a:lnTo>
                  <a:lnTo>
                    <a:pt x="4634" y="233"/>
                  </a:lnTo>
                  <a:lnTo>
                    <a:pt x="4626" y="229"/>
                  </a:lnTo>
                  <a:lnTo>
                    <a:pt x="4620" y="224"/>
                  </a:lnTo>
                  <a:lnTo>
                    <a:pt x="4615" y="223"/>
                  </a:lnTo>
                  <a:lnTo>
                    <a:pt x="4609" y="221"/>
                  </a:lnTo>
                  <a:lnTo>
                    <a:pt x="4598" y="208"/>
                  </a:lnTo>
                  <a:lnTo>
                    <a:pt x="4596" y="207"/>
                  </a:lnTo>
                  <a:lnTo>
                    <a:pt x="4594" y="203"/>
                  </a:lnTo>
                  <a:lnTo>
                    <a:pt x="4590" y="200"/>
                  </a:lnTo>
                  <a:lnTo>
                    <a:pt x="4589" y="200"/>
                  </a:lnTo>
                  <a:lnTo>
                    <a:pt x="4587" y="200"/>
                  </a:lnTo>
                  <a:lnTo>
                    <a:pt x="4587" y="199"/>
                  </a:lnTo>
                  <a:lnTo>
                    <a:pt x="4586" y="196"/>
                  </a:lnTo>
                  <a:lnTo>
                    <a:pt x="4583" y="195"/>
                  </a:lnTo>
                  <a:lnTo>
                    <a:pt x="4578" y="193"/>
                  </a:lnTo>
                  <a:lnTo>
                    <a:pt x="4574" y="190"/>
                  </a:lnTo>
                  <a:lnTo>
                    <a:pt x="4573" y="189"/>
                  </a:lnTo>
                  <a:lnTo>
                    <a:pt x="4570" y="187"/>
                  </a:lnTo>
                  <a:lnTo>
                    <a:pt x="4570" y="186"/>
                  </a:lnTo>
                  <a:lnTo>
                    <a:pt x="4569" y="186"/>
                  </a:lnTo>
                  <a:lnTo>
                    <a:pt x="4568" y="185"/>
                  </a:lnTo>
                  <a:lnTo>
                    <a:pt x="4568" y="183"/>
                  </a:lnTo>
                  <a:lnTo>
                    <a:pt x="4564" y="176"/>
                  </a:lnTo>
                  <a:lnTo>
                    <a:pt x="4560" y="168"/>
                  </a:lnTo>
                  <a:lnTo>
                    <a:pt x="4552" y="162"/>
                  </a:lnTo>
                  <a:lnTo>
                    <a:pt x="4543" y="159"/>
                  </a:lnTo>
                  <a:lnTo>
                    <a:pt x="4535" y="156"/>
                  </a:lnTo>
                  <a:lnTo>
                    <a:pt x="4520" y="155"/>
                  </a:lnTo>
                  <a:lnTo>
                    <a:pt x="4503" y="155"/>
                  </a:lnTo>
                  <a:lnTo>
                    <a:pt x="4484" y="156"/>
                  </a:lnTo>
                  <a:lnTo>
                    <a:pt x="4450" y="160"/>
                  </a:lnTo>
                  <a:lnTo>
                    <a:pt x="4433" y="162"/>
                  </a:lnTo>
                  <a:lnTo>
                    <a:pt x="4421" y="164"/>
                  </a:lnTo>
                  <a:lnTo>
                    <a:pt x="4412" y="162"/>
                  </a:lnTo>
                  <a:lnTo>
                    <a:pt x="4409" y="162"/>
                  </a:lnTo>
                  <a:lnTo>
                    <a:pt x="4408" y="161"/>
                  </a:lnTo>
                  <a:lnTo>
                    <a:pt x="4407" y="161"/>
                  </a:lnTo>
                  <a:lnTo>
                    <a:pt x="4407" y="160"/>
                  </a:lnTo>
                  <a:lnTo>
                    <a:pt x="4405" y="160"/>
                  </a:lnTo>
                  <a:lnTo>
                    <a:pt x="4405" y="159"/>
                  </a:lnTo>
                  <a:lnTo>
                    <a:pt x="4403" y="159"/>
                  </a:lnTo>
                  <a:lnTo>
                    <a:pt x="4400" y="157"/>
                  </a:lnTo>
                  <a:lnTo>
                    <a:pt x="4399" y="156"/>
                  </a:lnTo>
                  <a:lnTo>
                    <a:pt x="4398" y="155"/>
                  </a:lnTo>
                  <a:lnTo>
                    <a:pt x="4387" y="145"/>
                  </a:lnTo>
                  <a:lnTo>
                    <a:pt x="4377" y="138"/>
                  </a:lnTo>
                  <a:lnTo>
                    <a:pt x="4374" y="138"/>
                  </a:lnTo>
                  <a:lnTo>
                    <a:pt x="4366" y="135"/>
                  </a:lnTo>
                  <a:lnTo>
                    <a:pt x="4361" y="132"/>
                  </a:lnTo>
                  <a:lnTo>
                    <a:pt x="4349" y="128"/>
                  </a:lnTo>
                  <a:lnTo>
                    <a:pt x="4337" y="125"/>
                  </a:lnTo>
                  <a:lnTo>
                    <a:pt x="4333" y="122"/>
                  </a:lnTo>
                  <a:lnTo>
                    <a:pt x="4330" y="121"/>
                  </a:lnTo>
                  <a:lnTo>
                    <a:pt x="4327" y="119"/>
                  </a:lnTo>
                  <a:lnTo>
                    <a:pt x="4323" y="119"/>
                  </a:lnTo>
                  <a:lnTo>
                    <a:pt x="4310" y="118"/>
                  </a:lnTo>
                  <a:lnTo>
                    <a:pt x="4297" y="117"/>
                  </a:lnTo>
                  <a:lnTo>
                    <a:pt x="4284" y="115"/>
                  </a:lnTo>
                  <a:lnTo>
                    <a:pt x="4271" y="114"/>
                  </a:lnTo>
                  <a:lnTo>
                    <a:pt x="4263" y="111"/>
                  </a:lnTo>
                  <a:lnTo>
                    <a:pt x="4254" y="109"/>
                  </a:lnTo>
                  <a:lnTo>
                    <a:pt x="4252" y="108"/>
                  </a:lnTo>
                  <a:lnTo>
                    <a:pt x="4251" y="106"/>
                  </a:lnTo>
                  <a:lnTo>
                    <a:pt x="4250" y="106"/>
                  </a:lnTo>
                  <a:lnTo>
                    <a:pt x="4248" y="105"/>
                  </a:lnTo>
                  <a:lnTo>
                    <a:pt x="4248" y="104"/>
                  </a:lnTo>
                  <a:lnTo>
                    <a:pt x="4247" y="104"/>
                  </a:lnTo>
                  <a:lnTo>
                    <a:pt x="4242" y="100"/>
                  </a:lnTo>
                  <a:lnTo>
                    <a:pt x="4238" y="96"/>
                  </a:lnTo>
                  <a:lnTo>
                    <a:pt x="4237" y="96"/>
                  </a:lnTo>
                  <a:lnTo>
                    <a:pt x="4237" y="94"/>
                  </a:lnTo>
                  <a:lnTo>
                    <a:pt x="4237" y="93"/>
                  </a:lnTo>
                  <a:lnTo>
                    <a:pt x="4235" y="92"/>
                  </a:lnTo>
                  <a:lnTo>
                    <a:pt x="4234" y="91"/>
                  </a:lnTo>
                  <a:lnTo>
                    <a:pt x="4233" y="88"/>
                  </a:lnTo>
                  <a:lnTo>
                    <a:pt x="4230" y="85"/>
                  </a:lnTo>
                  <a:lnTo>
                    <a:pt x="4229" y="85"/>
                  </a:lnTo>
                  <a:lnTo>
                    <a:pt x="4229" y="84"/>
                  </a:lnTo>
                  <a:lnTo>
                    <a:pt x="4227" y="83"/>
                  </a:lnTo>
                  <a:lnTo>
                    <a:pt x="4227" y="81"/>
                  </a:lnTo>
                  <a:lnTo>
                    <a:pt x="4226" y="81"/>
                  </a:lnTo>
                  <a:lnTo>
                    <a:pt x="4224" y="77"/>
                  </a:lnTo>
                  <a:lnTo>
                    <a:pt x="4221" y="74"/>
                  </a:lnTo>
                  <a:lnTo>
                    <a:pt x="4221" y="72"/>
                  </a:lnTo>
                  <a:lnTo>
                    <a:pt x="4220" y="68"/>
                  </a:lnTo>
                  <a:lnTo>
                    <a:pt x="4218" y="67"/>
                  </a:lnTo>
                  <a:lnTo>
                    <a:pt x="4201" y="64"/>
                  </a:lnTo>
                  <a:lnTo>
                    <a:pt x="4183" y="62"/>
                  </a:lnTo>
                  <a:lnTo>
                    <a:pt x="4166" y="58"/>
                  </a:lnTo>
                  <a:lnTo>
                    <a:pt x="4149" y="57"/>
                  </a:lnTo>
                  <a:lnTo>
                    <a:pt x="4146" y="55"/>
                  </a:lnTo>
                  <a:lnTo>
                    <a:pt x="4142" y="54"/>
                  </a:lnTo>
                  <a:lnTo>
                    <a:pt x="4141" y="53"/>
                  </a:lnTo>
                  <a:lnTo>
                    <a:pt x="4140" y="50"/>
                  </a:lnTo>
                  <a:lnTo>
                    <a:pt x="4136" y="47"/>
                  </a:lnTo>
                  <a:lnTo>
                    <a:pt x="4133" y="45"/>
                  </a:lnTo>
                  <a:lnTo>
                    <a:pt x="4132" y="41"/>
                  </a:lnTo>
                  <a:lnTo>
                    <a:pt x="4131" y="38"/>
                  </a:lnTo>
                  <a:lnTo>
                    <a:pt x="4129" y="33"/>
                  </a:lnTo>
                  <a:lnTo>
                    <a:pt x="4128" y="28"/>
                  </a:lnTo>
                  <a:lnTo>
                    <a:pt x="4127" y="25"/>
                  </a:lnTo>
                  <a:lnTo>
                    <a:pt x="4124" y="24"/>
                  </a:lnTo>
                  <a:lnTo>
                    <a:pt x="4123" y="21"/>
                  </a:lnTo>
                  <a:lnTo>
                    <a:pt x="4122" y="20"/>
                  </a:lnTo>
                  <a:lnTo>
                    <a:pt x="4114" y="20"/>
                  </a:lnTo>
                  <a:lnTo>
                    <a:pt x="4107" y="23"/>
                  </a:lnTo>
                  <a:lnTo>
                    <a:pt x="4101" y="24"/>
                  </a:lnTo>
                  <a:lnTo>
                    <a:pt x="4095" y="25"/>
                  </a:lnTo>
                  <a:lnTo>
                    <a:pt x="4090" y="26"/>
                  </a:lnTo>
                  <a:lnTo>
                    <a:pt x="4086" y="28"/>
                  </a:lnTo>
                  <a:lnTo>
                    <a:pt x="4078" y="29"/>
                  </a:lnTo>
                  <a:lnTo>
                    <a:pt x="4064" y="32"/>
                  </a:lnTo>
                  <a:lnTo>
                    <a:pt x="4050" y="34"/>
                  </a:lnTo>
                  <a:lnTo>
                    <a:pt x="4039" y="36"/>
                  </a:lnTo>
                  <a:lnTo>
                    <a:pt x="4030" y="38"/>
                  </a:lnTo>
                  <a:lnTo>
                    <a:pt x="4018" y="38"/>
                  </a:lnTo>
                  <a:lnTo>
                    <a:pt x="4017" y="38"/>
                  </a:lnTo>
                  <a:lnTo>
                    <a:pt x="4016" y="38"/>
                  </a:lnTo>
                  <a:lnTo>
                    <a:pt x="4014" y="37"/>
                  </a:lnTo>
                  <a:lnTo>
                    <a:pt x="4013" y="37"/>
                  </a:lnTo>
                  <a:lnTo>
                    <a:pt x="4012" y="36"/>
                  </a:lnTo>
                  <a:lnTo>
                    <a:pt x="4009" y="36"/>
                  </a:lnTo>
                  <a:lnTo>
                    <a:pt x="4008" y="34"/>
                  </a:lnTo>
                  <a:lnTo>
                    <a:pt x="4005" y="33"/>
                  </a:lnTo>
                  <a:lnTo>
                    <a:pt x="4001" y="30"/>
                  </a:lnTo>
                  <a:lnTo>
                    <a:pt x="3995" y="29"/>
                  </a:lnTo>
                  <a:lnTo>
                    <a:pt x="3987" y="25"/>
                  </a:lnTo>
                  <a:lnTo>
                    <a:pt x="3984" y="24"/>
                  </a:lnTo>
                  <a:lnTo>
                    <a:pt x="3982" y="25"/>
                  </a:lnTo>
                  <a:lnTo>
                    <a:pt x="3982" y="26"/>
                  </a:lnTo>
                  <a:lnTo>
                    <a:pt x="3980" y="28"/>
                  </a:lnTo>
                  <a:lnTo>
                    <a:pt x="3980" y="30"/>
                  </a:lnTo>
                  <a:lnTo>
                    <a:pt x="3962" y="64"/>
                  </a:lnTo>
                  <a:lnTo>
                    <a:pt x="3959" y="68"/>
                  </a:lnTo>
                  <a:lnTo>
                    <a:pt x="3957" y="71"/>
                  </a:lnTo>
                  <a:lnTo>
                    <a:pt x="3953" y="77"/>
                  </a:lnTo>
                  <a:lnTo>
                    <a:pt x="3948" y="83"/>
                  </a:lnTo>
                  <a:lnTo>
                    <a:pt x="3938" y="83"/>
                  </a:lnTo>
                  <a:lnTo>
                    <a:pt x="3929" y="80"/>
                  </a:lnTo>
                  <a:lnTo>
                    <a:pt x="3920" y="77"/>
                  </a:lnTo>
                  <a:lnTo>
                    <a:pt x="3914" y="76"/>
                  </a:lnTo>
                  <a:lnTo>
                    <a:pt x="3908" y="72"/>
                  </a:lnTo>
                  <a:lnTo>
                    <a:pt x="3904" y="71"/>
                  </a:lnTo>
                  <a:lnTo>
                    <a:pt x="3902" y="71"/>
                  </a:lnTo>
                  <a:lnTo>
                    <a:pt x="3891" y="66"/>
                  </a:lnTo>
                  <a:lnTo>
                    <a:pt x="3880" y="60"/>
                  </a:lnTo>
                  <a:lnTo>
                    <a:pt x="3874" y="59"/>
                  </a:lnTo>
                  <a:lnTo>
                    <a:pt x="3868" y="57"/>
                  </a:lnTo>
                  <a:lnTo>
                    <a:pt x="3860" y="53"/>
                  </a:lnTo>
                  <a:lnTo>
                    <a:pt x="3852" y="50"/>
                  </a:lnTo>
                  <a:lnTo>
                    <a:pt x="3829" y="24"/>
                  </a:lnTo>
                  <a:lnTo>
                    <a:pt x="3809" y="23"/>
                  </a:lnTo>
                  <a:lnTo>
                    <a:pt x="3805" y="23"/>
                  </a:lnTo>
                  <a:lnTo>
                    <a:pt x="3801" y="24"/>
                  </a:lnTo>
                  <a:lnTo>
                    <a:pt x="3800" y="25"/>
                  </a:lnTo>
                  <a:lnTo>
                    <a:pt x="3797" y="26"/>
                  </a:lnTo>
                  <a:lnTo>
                    <a:pt x="3796" y="26"/>
                  </a:lnTo>
                  <a:lnTo>
                    <a:pt x="3795" y="26"/>
                  </a:lnTo>
                  <a:lnTo>
                    <a:pt x="3793" y="28"/>
                  </a:lnTo>
                  <a:lnTo>
                    <a:pt x="3792" y="28"/>
                  </a:lnTo>
                  <a:lnTo>
                    <a:pt x="3791" y="28"/>
                  </a:lnTo>
                  <a:lnTo>
                    <a:pt x="3788" y="29"/>
                  </a:lnTo>
                  <a:lnTo>
                    <a:pt x="3787" y="30"/>
                  </a:lnTo>
                  <a:lnTo>
                    <a:pt x="3783" y="32"/>
                  </a:lnTo>
                  <a:lnTo>
                    <a:pt x="3779" y="34"/>
                  </a:lnTo>
                  <a:lnTo>
                    <a:pt x="3779" y="36"/>
                  </a:lnTo>
                  <a:lnTo>
                    <a:pt x="3778" y="36"/>
                  </a:lnTo>
                  <a:lnTo>
                    <a:pt x="3776" y="36"/>
                  </a:lnTo>
                  <a:lnTo>
                    <a:pt x="3775" y="36"/>
                  </a:lnTo>
                  <a:lnTo>
                    <a:pt x="3774" y="38"/>
                  </a:lnTo>
                  <a:lnTo>
                    <a:pt x="3771" y="41"/>
                  </a:lnTo>
                  <a:lnTo>
                    <a:pt x="3770" y="41"/>
                  </a:lnTo>
                  <a:lnTo>
                    <a:pt x="3768" y="41"/>
                  </a:lnTo>
                  <a:lnTo>
                    <a:pt x="3767" y="43"/>
                  </a:lnTo>
                  <a:lnTo>
                    <a:pt x="3764" y="45"/>
                  </a:lnTo>
                  <a:lnTo>
                    <a:pt x="3759" y="49"/>
                  </a:lnTo>
                  <a:lnTo>
                    <a:pt x="3754" y="53"/>
                  </a:lnTo>
                  <a:lnTo>
                    <a:pt x="3753" y="53"/>
                  </a:lnTo>
                  <a:lnTo>
                    <a:pt x="3750" y="54"/>
                  </a:lnTo>
                  <a:lnTo>
                    <a:pt x="3746" y="57"/>
                  </a:lnTo>
                  <a:lnTo>
                    <a:pt x="3742" y="60"/>
                  </a:lnTo>
                  <a:lnTo>
                    <a:pt x="3734" y="64"/>
                  </a:lnTo>
                  <a:lnTo>
                    <a:pt x="3728" y="68"/>
                  </a:lnTo>
                  <a:lnTo>
                    <a:pt x="3715" y="70"/>
                  </a:lnTo>
                  <a:lnTo>
                    <a:pt x="3700" y="75"/>
                  </a:lnTo>
                  <a:lnTo>
                    <a:pt x="3685" y="81"/>
                  </a:lnTo>
                  <a:lnTo>
                    <a:pt x="3669" y="87"/>
                  </a:lnTo>
                  <a:lnTo>
                    <a:pt x="3655" y="92"/>
                  </a:lnTo>
                  <a:lnTo>
                    <a:pt x="3642" y="94"/>
                  </a:lnTo>
                  <a:lnTo>
                    <a:pt x="3635" y="94"/>
                  </a:lnTo>
                  <a:lnTo>
                    <a:pt x="3630" y="94"/>
                  </a:lnTo>
                  <a:lnTo>
                    <a:pt x="3625" y="92"/>
                  </a:lnTo>
                  <a:lnTo>
                    <a:pt x="3619" y="88"/>
                  </a:lnTo>
                  <a:lnTo>
                    <a:pt x="3618" y="87"/>
                  </a:lnTo>
                  <a:lnTo>
                    <a:pt x="3618" y="85"/>
                  </a:lnTo>
                  <a:lnTo>
                    <a:pt x="3617" y="74"/>
                  </a:lnTo>
                  <a:lnTo>
                    <a:pt x="3615" y="62"/>
                  </a:lnTo>
                  <a:lnTo>
                    <a:pt x="3613" y="49"/>
                  </a:lnTo>
                  <a:lnTo>
                    <a:pt x="3611" y="38"/>
                  </a:lnTo>
                  <a:lnTo>
                    <a:pt x="3611" y="36"/>
                  </a:lnTo>
                  <a:lnTo>
                    <a:pt x="3610" y="33"/>
                  </a:lnTo>
                  <a:lnTo>
                    <a:pt x="3608" y="32"/>
                  </a:lnTo>
                  <a:lnTo>
                    <a:pt x="3605" y="29"/>
                  </a:lnTo>
                  <a:lnTo>
                    <a:pt x="3604" y="28"/>
                  </a:lnTo>
                  <a:lnTo>
                    <a:pt x="3602" y="26"/>
                  </a:lnTo>
                  <a:lnTo>
                    <a:pt x="3601" y="25"/>
                  </a:lnTo>
                  <a:lnTo>
                    <a:pt x="3600" y="25"/>
                  </a:lnTo>
                  <a:lnTo>
                    <a:pt x="3598" y="25"/>
                  </a:lnTo>
                  <a:lnTo>
                    <a:pt x="3598" y="24"/>
                  </a:lnTo>
                  <a:lnTo>
                    <a:pt x="3596" y="23"/>
                  </a:lnTo>
                  <a:lnTo>
                    <a:pt x="3593" y="21"/>
                  </a:lnTo>
                  <a:lnTo>
                    <a:pt x="3592" y="19"/>
                  </a:lnTo>
                  <a:lnTo>
                    <a:pt x="3590" y="17"/>
                  </a:lnTo>
                  <a:lnTo>
                    <a:pt x="3589" y="16"/>
                  </a:lnTo>
                  <a:lnTo>
                    <a:pt x="3588" y="16"/>
                  </a:lnTo>
                  <a:lnTo>
                    <a:pt x="3587" y="15"/>
                  </a:lnTo>
                  <a:lnTo>
                    <a:pt x="3585" y="15"/>
                  </a:lnTo>
                  <a:lnTo>
                    <a:pt x="3577" y="12"/>
                  </a:lnTo>
                  <a:lnTo>
                    <a:pt x="3570" y="9"/>
                  </a:lnTo>
                  <a:lnTo>
                    <a:pt x="3566" y="8"/>
                  </a:lnTo>
                  <a:lnTo>
                    <a:pt x="3560" y="4"/>
                  </a:lnTo>
                  <a:lnTo>
                    <a:pt x="3558" y="3"/>
                  </a:lnTo>
                  <a:lnTo>
                    <a:pt x="3554" y="2"/>
                  </a:lnTo>
                  <a:lnTo>
                    <a:pt x="3550" y="0"/>
                  </a:lnTo>
                  <a:lnTo>
                    <a:pt x="3547" y="0"/>
                  </a:lnTo>
                  <a:lnTo>
                    <a:pt x="3543" y="0"/>
                  </a:lnTo>
                  <a:lnTo>
                    <a:pt x="3537" y="3"/>
                  </a:lnTo>
                  <a:lnTo>
                    <a:pt x="3532" y="8"/>
                  </a:lnTo>
                  <a:lnTo>
                    <a:pt x="3522" y="13"/>
                  </a:lnTo>
                  <a:lnTo>
                    <a:pt x="3513" y="17"/>
                  </a:lnTo>
                  <a:lnTo>
                    <a:pt x="3509" y="19"/>
                  </a:lnTo>
                  <a:lnTo>
                    <a:pt x="3505" y="19"/>
                  </a:lnTo>
                  <a:lnTo>
                    <a:pt x="3504" y="19"/>
                  </a:lnTo>
                  <a:lnTo>
                    <a:pt x="3495" y="21"/>
                  </a:lnTo>
                  <a:lnTo>
                    <a:pt x="3486" y="25"/>
                  </a:lnTo>
                  <a:lnTo>
                    <a:pt x="3482" y="26"/>
                  </a:lnTo>
                  <a:lnTo>
                    <a:pt x="3479" y="28"/>
                  </a:lnTo>
                  <a:lnTo>
                    <a:pt x="3477" y="30"/>
                  </a:lnTo>
                  <a:lnTo>
                    <a:pt x="3474" y="32"/>
                  </a:lnTo>
                  <a:lnTo>
                    <a:pt x="3471" y="33"/>
                  </a:lnTo>
                  <a:lnTo>
                    <a:pt x="3470" y="34"/>
                  </a:lnTo>
                  <a:lnTo>
                    <a:pt x="3469" y="36"/>
                  </a:lnTo>
                  <a:lnTo>
                    <a:pt x="3468" y="36"/>
                  </a:lnTo>
                  <a:lnTo>
                    <a:pt x="3466" y="36"/>
                  </a:lnTo>
                  <a:lnTo>
                    <a:pt x="3465" y="36"/>
                  </a:lnTo>
                  <a:lnTo>
                    <a:pt x="3464" y="37"/>
                  </a:lnTo>
                  <a:lnTo>
                    <a:pt x="3462" y="40"/>
                  </a:lnTo>
                  <a:lnTo>
                    <a:pt x="3461" y="41"/>
                  </a:lnTo>
                  <a:lnTo>
                    <a:pt x="3458" y="42"/>
                  </a:lnTo>
                  <a:lnTo>
                    <a:pt x="3445" y="46"/>
                  </a:lnTo>
                  <a:lnTo>
                    <a:pt x="3428" y="50"/>
                  </a:lnTo>
                  <a:lnTo>
                    <a:pt x="3426" y="50"/>
                  </a:lnTo>
                  <a:lnTo>
                    <a:pt x="3424" y="49"/>
                  </a:lnTo>
                  <a:lnTo>
                    <a:pt x="3424" y="47"/>
                  </a:lnTo>
                  <a:lnTo>
                    <a:pt x="3415" y="46"/>
                  </a:lnTo>
                  <a:lnTo>
                    <a:pt x="3405" y="47"/>
                  </a:lnTo>
                  <a:lnTo>
                    <a:pt x="3398" y="50"/>
                  </a:lnTo>
                  <a:lnTo>
                    <a:pt x="3394" y="53"/>
                  </a:lnTo>
                  <a:lnTo>
                    <a:pt x="3389" y="55"/>
                  </a:lnTo>
                  <a:lnTo>
                    <a:pt x="3381" y="57"/>
                  </a:lnTo>
                  <a:lnTo>
                    <a:pt x="3373" y="58"/>
                  </a:lnTo>
                  <a:lnTo>
                    <a:pt x="3368" y="58"/>
                  </a:lnTo>
                  <a:lnTo>
                    <a:pt x="3366" y="58"/>
                  </a:lnTo>
                  <a:lnTo>
                    <a:pt x="3360" y="59"/>
                  </a:lnTo>
                  <a:lnTo>
                    <a:pt x="3356" y="62"/>
                  </a:lnTo>
                  <a:lnTo>
                    <a:pt x="3347" y="67"/>
                  </a:lnTo>
                  <a:lnTo>
                    <a:pt x="3313" y="80"/>
                  </a:lnTo>
                  <a:lnTo>
                    <a:pt x="3333" y="142"/>
                  </a:lnTo>
                  <a:lnTo>
                    <a:pt x="3337" y="145"/>
                  </a:lnTo>
                  <a:lnTo>
                    <a:pt x="3341" y="149"/>
                  </a:lnTo>
                  <a:lnTo>
                    <a:pt x="3346" y="151"/>
                  </a:lnTo>
                  <a:lnTo>
                    <a:pt x="3350" y="153"/>
                  </a:lnTo>
                  <a:lnTo>
                    <a:pt x="3351" y="156"/>
                  </a:lnTo>
                  <a:lnTo>
                    <a:pt x="3352" y="159"/>
                  </a:lnTo>
                  <a:lnTo>
                    <a:pt x="3355" y="160"/>
                  </a:lnTo>
                  <a:lnTo>
                    <a:pt x="3356" y="161"/>
                  </a:lnTo>
                  <a:lnTo>
                    <a:pt x="3358" y="162"/>
                  </a:lnTo>
                  <a:lnTo>
                    <a:pt x="3359" y="164"/>
                  </a:lnTo>
                  <a:lnTo>
                    <a:pt x="3359" y="165"/>
                  </a:lnTo>
                  <a:lnTo>
                    <a:pt x="3359" y="166"/>
                  </a:lnTo>
                  <a:lnTo>
                    <a:pt x="3362" y="166"/>
                  </a:lnTo>
                  <a:lnTo>
                    <a:pt x="3364" y="169"/>
                  </a:lnTo>
                  <a:lnTo>
                    <a:pt x="3366" y="170"/>
                  </a:lnTo>
                  <a:lnTo>
                    <a:pt x="3367" y="170"/>
                  </a:lnTo>
                  <a:lnTo>
                    <a:pt x="3367" y="172"/>
                  </a:lnTo>
                  <a:lnTo>
                    <a:pt x="3368" y="173"/>
                  </a:lnTo>
                  <a:lnTo>
                    <a:pt x="3369" y="174"/>
                  </a:lnTo>
                  <a:lnTo>
                    <a:pt x="3371" y="176"/>
                  </a:lnTo>
                  <a:lnTo>
                    <a:pt x="3371" y="177"/>
                  </a:lnTo>
                  <a:lnTo>
                    <a:pt x="3371" y="178"/>
                  </a:lnTo>
                  <a:lnTo>
                    <a:pt x="3373" y="181"/>
                  </a:lnTo>
                  <a:lnTo>
                    <a:pt x="3376" y="183"/>
                  </a:lnTo>
                  <a:lnTo>
                    <a:pt x="3376" y="185"/>
                  </a:lnTo>
                  <a:lnTo>
                    <a:pt x="3379" y="185"/>
                  </a:lnTo>
                  <a:lnTo>
                    <a:pt x="3379" y="186"/>
                  </a:lnTo>
                  <a:lnTo>
                    <a:pt x="3379" y="187"/>
                  </a:lnTo>
                  <a:lnTo>
                    <a:pt x="3381" y="190"/>
                  </a:lnTo>
                  <a:lnTo>
                    <a:pt x="3384" y="191"/>
                  </a:lnTo>
                  <a:lnTo>
                    <a:pt x="3386" y="194"/>
                  </a:lnTo>
                  <a:lnTo>
                    <a:pt x="3388" y="196"/>
                  </a:lnTo>
                  <a:lnTo>
                    <a:pt x="3389" y="198"/>
                  </a:lnTo>
                  <a:lnTo>
                    <a:pt x="3390" y="199"/>
                  </a:lnTo>
                  <a:lnTo>
                    <a:pt x="3394" y="210"/>
                  </a:lnTo>
                  <a:lnTo>
                    <a:pt x="3401" y="223"/>
                  </a:lnTo>
                  <a:lnTo>
                    <a:pt x="3406" y="234"/>
                  </a:lnTo>
                  <a:lnTo>
                    <a:pt x="3409" y="246"/>
                  </a:lnTo>
                  <a:lnTo>
                    <a:pt x="3413" y="255"/>
                  </a:lnTo>
                  <a:lnTo>
                    <a:pt x="3418" y="266"/>
                  </a:lnTo>
                  <a:lnTo>
                    <a:pt x="3474" y="381"/>
                  </a:lnTo>
                  <a:lnTo>
                    <a:pt x="3485" y="397"/>
                  </a:lnTo>
                  <a:lnTo>
                    <a:pt x="3496" y="412"/>
                  </a:lnTo>
                  <a:lnTo>
                    <a:pt x="3502" y="420"/>
                  </a:lnTo>
                  <a:lnTo>
                    <a:pt x="3509" y="429"/>
                  </a:lnTo>
                  <a:lnTo>
                    <a:pt x="3517" y="436"/>
                  </a:lnTo>
                  <a:lnTo>
                    <a:pt x="3524" y="441"/>
                  </a:lnTo>
                  <a:lnTo>
                    <a:pt x="3537" y="461"/>
                  </a:lnTo>
                  <a:lnTo>
                    <a:pt x="3550" y="480"/>
                  </a:lnTo>
                  <a:lnTo>
                    <a:pt x="3553" y="482"/>
                  </a:lnTo>
                  <a:lnTo>
                    <a:pt x="3554" y="484"/>
                  </a:lnTo>
                  <a:lnTo>
                    <a:pt x="3558" y="490"/>
                  </a:lnTo>
                  <a:lnTo>
                    <a:pt x="3562" y="495"/>
                  </a:lnTo>
                  <a:lnTo>
                    <a:pt x="3563" y="496"/>
                  </a:lnTo>
                  <a:lnTo>
                    <a:pt x="3564" y="499"/>
                  </a:lnTo>
                  <a:lnTo>
                    <a:pt x="3566" y="501"/>
                  </a:lnTo>
                  <a:lnTo>
                    <a:pt x="3567" y="503"/>
                  </a:lnTo>
                  <a:lnTo>
                    <a:pt x="3570" y="504"/>
                  </a:lnTo>
                  <a:lnTo>
                    <a:pt x="3571" y="505"/>
                  </a:lnTo>
                  <a:lnTo>
                    <a:pt x="3572" y="507"/>
                  </a:lnTo>
                  <a:lnTo>
                    <a:pt x="3573" y="508"/>
                  </a:lnTo>
                  <a:lnTo>
                    <a:pt x="3573" y="509"/>
                  </a:lnTo>
                  <a:lnTo>
                    <a:pt x="3575" y="510"/>
                  </a:lnTo>
                  <a:lnTo>
                    <a:pt x="3576" y="513"/>
                  </a:lnTo>
                  <a:lnTo>
                    <a:pt x="3579" y="516"/>
                  </a:lnTo>
                  <a:lnTo>
                    <a:pt x="3583" y="521"/>
                  </a:lnTo>
                  <a:lnTo>
                    <a:pt x="3585" y="525"/>
                  </a:lnTo>
                  <a:lnTo>
                    <a:pt x="3585" y="530"/>
                  </a:lnTo>
                  <a:lnTo>
                    <a:pt x="3585" y="533"/>
                  </a:lnTo>
                  <a:lnTo>
                    <a:pt x="3585" y="534"/>
                  </a:lnTo>
                  <a:lnTo>
                    <a:pt x="3583" y="535"/>
                  </a:lnTo>
                  <a:lnTo>
                    <a:pt x="3579" y="535"/>
                  </a:lnTo>
                  <a:lnTo>
                    <a:pt x="3566" y="535"/>
                  </a:lnTo>
                  <a:lnTo>
                    <a:pt x="3553" y="534"/>
                  </a:lnTo>
                  <a:lnTo>
                    <a:pt x="3539" y="533"/>
                  </a:lnTo>
                  <a:lnTo>
                    <a:pt x="3526" y="533"/>
                  </a:lnTo>
                  <a:lnTo>
                    <a:pt x="3517" y="534"/>
                  </a:lnTo>
                  <a:lnTo>
                    <a:pt x="3509" y="535"/>
                  </a:lnTo>
                  <a:lnTo>
                    <a:pt x="3503" y="538"/>
                  </a:lnTo>
                  <a:lnTo>
                    <a:pt x="3496" y="542"/>
                  </a:lnTo>
                  <a:lnTo>
                    <a:pt x="3490" y="550"/>
                  </a:lnTo>
                  <a:lnTo>
                    <a:pt x="3485" y="559"/>
                  </a:lnTo>
                  <a:lnTo>
                    <a:pt x="3482" y="560"/>
                  </a:lnTo>
                  <a:lnTo>
                    <a:pt x="3479" y="563"/>
                  </a:lnTo>
                  <a:lnTo>
                    <a:pt x="3475" y="580"/>
                  </a:lnTo>
                  <a:lnTo>
                    <a:pt x="3473" y="593"/>
                  </a:lnTo>
                  <a:lnTo>
                    <a:pt x="3473" y="605"/>
                  </a:lnTo>
                  <a:lnTo>
                    <a:pt x="3473" y="616"/>
                  </a:lnTo>
                  <a:lnTo>
                    <a:pt x="3473" y="626"/>
                  </a:lnTo>
                  <a:lnTo>
                    <a:pt x="3471" y="633"/>
                  </a:lnTo>
                  <a:lnTo>
                    <a:pt x="3469" y="641"/>
                  </a:lnTo>
                  <a:lnTo>
                    <a:pt x="3466" y="645"/>
                  </a:lnTo>
                  <a:lnTo>
                    <a:pt x="3462" y="649"/>
                  </a:lnTo>
                  <a:lnTo>
                    <a:pt x="3458" y="652"/>
                  </a:lnTo>
                  <a:lnTo>
                    <a:pt x="3452" y="656"/>
                  </a:lnTo>
                  <a:lnTo>
                    <a:pt x="3431" y="663"/>
                  </a:lnTo>
                  <a:lnTo>
                    <a:pt x="3418" y="667"/>
                  </a:lnTo>
                  <a:lnTo>
                    <a:pt x="3413" y="671"/>
                  </a:lnTo>
                  <a:lnTo>
                    <a:pt x="3407" y="677"/>
                  </a:lnTo>
                  <a:lnTo>
                    <a:pt x="3402" y="687"/>
                  </a:lnTo>
                  <a:lnTo>
                    <a:pt x="3397" y="701"/>
                  </a:lnTo>
                  <a:lnTo>
                    <a:pt x="3389" y="720"/>
                  </a:lnTo>
                  <a:lnTo>
                    <a:pt x="3380" y="737"/>
                  </a:lnTo>
                  <a:lnTo>
                    <a:pt x="3369" y="752"/>
                  </a:lnTo>
                  <a:lnTo>
                    <a:pt x="3360" y="768"/>
                  </a:lnTo>
                  <a:lnTo>
                    <a:pt x="3350" y="784"/>
                  </a:lnTo>
                  <a:lnTo>
                    <a:pt x="3339" y="801"/>
                  </a:lnTo>
                  <a:lnTo>
                    <a:pt x="3330" y="818"/>
                  </a:lnTo>
                  <a:lnTo>
                    <a:pt x="3321" y="837"/>
                  </a:lnTo>
                  <a:lnTo>
                    <a:pt x="3320" y="844"/>
                  </a:lnTo>
                  <a:lnTo>
                    <a:pt x="3320" y="852"/>
                  </a:lnTo>
                  <a:lnTo>
                    <a:pt x="3321" y="858"/>
                  </a:lnTo>
                  <a:lnTo>
                    <a:pt x="3322" y="864"/>
                  </a:lnTo>
                  <a:lnTo>
                    <a:pt x="3329" y="875"/>
                  </a:lnTo>
                  <a:lnTo>
                    <a:pt x="3337" y="886"/>
                  </a:lnTo>
                  <a:lnTo>
                    <a:pt x="3339" y="891"/>
                  </a:lnTo>
                  <a:lnTo>
                    <a:pt x="3342" y="896"/>
                  </a:lnTo>
                  <a:lnTo>
                    <a:pt x="3343" y="902"/>
                  </a:lnTo>
                  <a:lnTo>
                    <a:pt x="3343" y="905"/>
                  </a:lnTo>
                  <a:lnTo>
                    <a:pt x="3342" y="909"/>
                  </a:lnTo>
                  <a:lnTo>
                    <a:pt x="3338" y="913"/>
                  </a:lnTo>
                  <a:lnTo>
                    <a:pt x="3333" y="917"/>
                  </a:lnTo>
                  <a:lnTo>
                    <a:pt x="3325" y="921"/>
                  </a:lnTo>
                  <a:lnTo>
                    <a:pt x="3315" y="925"/>
                  </a:lnTo>
                  <a:lnTo>
                    <a:pt x="3307" y="930"/>
                  </a:lnTo>
                  <a:lnTo>
                    <a:pt x="3299" y="936"/>
                  </a:lnTo>
                  <a:lnTo>
                    <a:pt x="3294" y="941"/>
                  </a:lnTo>
                  <a:lnTo>
                    <a:pt x="3288" y="947"/>
                  </a:lnTo>
                  <a:lnTo>
                    <a:pt x="3286" y="954"/>
                  </a:lnTo>
                  <a:lnTo>
                    <a:pt x="3283" y="960"/>
                  </a:lnTo>
                  <a:lnTo>
                    <a:pt x="3282" y="967"/>
                  </a:lnTo>
                  <a:lnTo>
                    <a:pt x="3281" y="997"/>
                  </a:lnTo>
                  <a:lnTo>
                    <a:pt x="3282" y="1031"/>
                  </a:lnTo>
                  <a:lnTo>
                    <a:pt x="3282" y="1035"/>
                  </a:lnTo>
                  <a:lnTo>
                    <a:pt x="3281" y="1040"/>
                  </a:lnTo>
                  <a:lnTo>
                    <a:pt x="3278" y="1044"/>
                  </a:lnTo>
                  <a:lnTo>
                    <a:pt x="3274" y="1048"/>
                  </a:lnTo>
                  <a:lnTo>
                    <a:pt x="3266" y="1059"/>
                  </a:lnTo>
                  <a:lnTo>
                    <a:pt x="3256" y="1068"/>
                  </a:lnTo>
                  <a:lnTo>
                    <a:pt x="3233" y="1086"/>
                  </a:lnTo>
                  <a:lnTo>
                    <a:pt x="3218" y="1096"/>
                  </a:lnTo>
                  <a:lnTo>
                    <a:pt x="3212" y="1106"/>
                  </a:lnTo>
                  <a:lnTo>
                    <a:pt x="3203" y="1116"/>
                  </a:lnTo>
                  <a:lnTo>
                    <a:pt x="3199" y="1120"/>
                  </a:lnTo>
                  <a:lnTo>
                    <a:pt x="3195" y="1121"/>
                  </a:lnTo>
                  <a:lnTo>
                    <a:pt x="3193" y="1121"/>
                  </a:lnTo>
                  <a:lnTo>
                    <a:pt x="3186" y="1120"/>
                  </a:lnTo>
                  <a:lnTo>
                    <a:pt x="3182" y="1117"/>
                  </a:lnTo>
                  <a:lnTo>
                    <a:pt x="3178" y="1115"/>
                  </a:lnTo>
                  <a:lnTo>
                    <a:pt x="3175" y="1111"/>
                  </a:lnTo>
                  <a:lnTo>
                    <a:pt x="3171" y="1106"/>
                  </a:lnTo>
                  <a:lnTo>
                    <a:pt x="3164" y="1096"/>
                  </a:lnTo>
                  <a:lnTo>
                    <a:pt x="3158" y="1089"/>
                  </a:lnTo>
                  <a:lnTo>
                    <a:pt x="3141" y="1073"/>
                  </a:lnTo>
                  <a:lnTo>
                    <a:pt x="3126" y="1057"/>
                  </a:lnTo>
                  <a:lnTo>
                    <a:pt x="3118" y="1049"/>
                  </a:lnTo>
                  <a:lnTo>
                    <a:pt x="3110" y="1042"/>
                  </a:lnTo>
                  <a:lnTo>
                    <a:pt x="3101" y="1035"/>
                  </a:lnTo>
                  <a:lnTo>
                    <a:pt x="3090" y="1028"/>
                  </a:lnTo>
                  <a:lnTo>
                    <a:pt x="3070" y="1021"/>
                  </a:lnTo>
                  <a:lnTo>
                    <a:pt x="3046" y="1013"/>
                  </a:lnTo>
                  <a:lnTo>
                    <a:pt x="3019" y="1005"/>
                  </a:lnTo>
                  <a:lnTo>
                    <a:pt x="2989" y="997"/>
                  </a:lnTo>
                  <a:lnTo>
                    <a:pt x="2960" y="992"/>
                  </a:lnTo>
                  <a:lnTo>
                    <a:pt x="2931" y="987"/>
                  </a:lnTo>
                  <a:lnTo>
                    <a:pt x="2905" y="984"/>
                  </a:lnTo>
                  <a:lnTo>
                    <a:pt x="2884" y="983"/>
                  </a:lnTo>
                  <a:lnTo>
                    <a:pt x="2867" y="981"/>
                  </a:lnTo>
                  <a:lnTo>
                    <a:pt x="2849" y="979"/>
                  </a:lnTo>
                  <a:lnTo>
                    <a:pt x="2831" y="975"/>
                  </a:lnTo>
                  <a:lnTo>
                    <a:pt x="2814" y="970"/>
                  </a:lnTo>
                  <a:lnTo>
                    <a:pt x="2798" y="966"/>
                  </a:lnTo>
                  <a:lnTo>
                    <a:pt x="2782" y="962"/>
                  </a:lnTo>
                  <a:lnTo>
                    <a:pt x="2769" y="959"/>
                  </a:lnTo>
                  <a:lnTo>
                    <a:pt x="2757" y="958"/>
                  </a:lnTo>
                  <a:lnTo>
                    <a:pt x="2736" y="960"/>
                  </a:lnTo>
                  <a:lnTo>
                    <a:pt x="2712" y="966"/>
                  </a:lnTo>
                  <a:lnTo>
                    <a:pt x="2700" y="967"/>
                  </a:lnTo>
                  <a:lnTo>
                    <a:pt x="2688" y="970"/>
                  </a:lnTo>
                  <a:lnTo>
                    <a:pt x="2679" y="970"/>
                  </a:lnTo>
                  <a:lnTo>
                    <a:pt x="2672" y="968"/>
                  </a:lnTo>
                  <a:lnTo>
                    <a:pt x="2661" y="963"/>
                  </a:lnTo>
                  <a:lnTo>
                    <a:pt x="2653" y="958"/>
                  </a:lnTo>
                  <a:lnTo>
                    <a:pt x="2647" y="953"/>
                  </a:lnTo>
                  <a:lnTo>
                    <a:pt x="2642" y="949"/>
                  </a:lnTo>
                  <a:lnTo>
                    <a:pt x="2636" y="943"/>
                  </a:lnTo>
                  <a:lnTo>
                    <a:pt x="2629" y="939"/>
                  </a:lnTo>
                  <a:lnTo>
                    <a:pt x="2620" y="937"/>
                  </a:lnTo>
                  <a:lnTo>
                    <a:pt x="2607" y="934"/>
                  </a:lnTo>
                  <a:lnTo>
                    <a:pt x="2526" y="925"/>
                  </a:lnTo>
                  <a:lnTo>
                    <a:pt x="2514" y="925"/>
                  </a:lnTo>
                  <a:lnTo>
                    <a:pt x="2505" y="925"/>
                  </a:lnTo>
                  <a:lnTo>
                    <a:pt x="2497" y="928"/>
                  </a:lnTo>
                  <a:lnTo>
                    <a:pt x="2490" y="930"/>
                  </a:lnTo>
                  <a:lnTo>
                    <a:pt x="2481" y="938"/>
                  </a:lnTo>
                  <a:lnTo>
                    <a:pt x="2473" y="946"/>
                  </a:lnTo>
                  <a:lnTo>
                    <a:pt x="2470" y="949"/>
                  </a:lnTo>
                  <a:lnTo>
                    <a:pt x="2467" y="950"/>
                  </a:lnTo>
                  <a:lnTo>
                    <a:pt x="2464" y="951"/>
                  </a:lnTo>
                  <a:lnTo>
                    <a:pt x="2460" y="951"/>
                  </a:lnTo>
                  <a:lnTo>
                    <a:pt x="2456" y="949"/>
                  </a:lnTo>
                  <a:lnTo>
                    <a:pt x="2451" y="945"/>
                  </a:lnTo>
                  <a:lnTo>
                    <a:pt x="2446" y="938"/>
                  </a:lnTo>
                  <a:lnTo>
                    <a:pt x="2438" y="929"/>
                  </a:lnTo>
                  <a:lnTo>
                    <a:pt x="2399" y="874"/>
                  </a:lnTo>
                  <a:lnTo>
                    <a:pt x="2361" y="911"/>
                  </a:lnTo>
                  <a:lnTo>
                    <a:pt x="2360" y="913"/>
                  </a:lnTo>
                  <a:lnTo>
                    <a:pt x="2357" y="916"/>
                  </a:lnTo>
                  <a:lnTo>
                    <a:pt x="2352" y="920"/>
                  </a:lnTo>
                  <a:lnTo>
                    <a:pt x="2347" y="922"/>
                  </a:lnTo>
                  <a:lnTo>
                    <a:pt x="2344" y="924"/>
                  </a:lnTo>
                  <a:lnTo>
                    <a:pt x="2341" y="925"/>
                  </a:lnTo>
                  <a:lnTo>
                    <a:pt x="2340" y="925"/>
                  </a:lnTo>
                  <a:lnTo>
                    <a:pt x="2339" y="925"/>
                  </a:lnTo>
                  <a:lnTo>
                    <a:pt x="2332" y="925"/>
                  </a:lnTo>
                  <a:lnTo>
                    <a:pt x="2326" y="925"/>
                  </a:lnTo>
                  <a:lnTo>
                    <a:pt x="2319" y="926"/>
                  </a:lnTo>
                  <a:lnTo>
                    <a:pt x="2314" y="929"/>
                  </a:lnTo>
                  <a:lnTo>
                    <a:pt x="2313" y="930"/>
                  </a:lnTo>
                  <a:lnTo>
                    <a:pt x="2311" y="932"/>
                  </a:lnTo>
                  <a:lnTo>
                    <a:pt x="2309" y="936"/>
                  </a:lnTo>
                  <a:lnTo>
                    <a:pt x="2306" y="938"/>
                  </a:lnTo>
                  <a:lnTo>
                    <a:pt x="2305" y="941"/>
                  </a:lnTo>
                  <a:lnTo>
                    <a:pt x="2303" y="943"/>
                  </a:lnTo>
                  <a:lnTo>
                    <a:pt x="2302" y="945"/>
                  </a:lnTo>
                  <a:lnTo>
                    <a:pt x="2302" y="946"/>
                  </a:lnTo>
                  <a:lnTo>
                    <a:pt x="2301" y="949"/>
                  </a:lnTo>
                  <a:lnTo>
                    <a:pt x="2300" y="951"/>
                  </a:lnTo>
                  <a:lnTo>
                    <a:pt x="2297" y="954"/>
                  </a:lnTo>
                  <a:lnTo>
                    <a:pt x="2297" y="955"/>
                  </a:lnTo>
                  <a:lnTo>
                    <a:pt x="2296" y="959"/>
                  </a:lnTo>
                  <a:lnTo>
                    <a:pt x="2294" y="963"/>
                  </a:lnTo>
                  <a:lnTo>
                    <a:pt x="2293" y="966"/>
                  </a:lnTo>
                  <a:lnTo>
                    <a:pt x="2290" y="968"/>
                  </a:lnTo>
                  <a:lnTo>
                    <a:pt x="2282" y="973"/>
                  </a:lnTo>
                  <a:lnTo>
                    <a:pt x="2275" y="984"/>
                  </a:lnTo>
                  <a:lnTo>
                    <a:pt x="2267" y="997"/>
                  </a:lnTo>
                  <a:lnTo>
                    <a:pt x="2259" y="1011"/>
                  </a:lnTo>
                  <a:lnTo>
                    <a:pt x="2251" y="1026"/>
                  </a:lnTo>
                  <a:lnTo>
                    <a:pt x="2243" y="1039"/>
                  </a:lnTo>
                  <a:lnTo>
                    <a:pt x="2239" y="1044"/>
                  </a:lnTo>
                  <a:lnTo>
                    <a:pt x="2235" y="1048"/>
                  </a:lnTo>
                  <a:lnTo>
                    <a:pt x="2231" y="1052"/>
                  </a:lnTo>
                  <a:lnTo>
                    <a:pt x="2229" y="1053"/>
                  </a:lnTo>
                  <a:lnTo>
                    <a:pt x="2228" y="1055"/>
                  </a:lnTo>
                  <a:lnTo>
                    <a:pt x="2228" y="1056"/>
                  </a:lnTo>
                  <a:lnTo>
                    <a:pt x="2226" y="1056"/>
                  </a:lnTo>
                  <a:lnTo>
                    <a:pt x="2226" y="1057"/>
                  </a:lnTo>
                  <a:lnTo>
                    <a:pt x="2218" y="1062"/>
                  </a:lnTo>
                  <a:lnTo>
                    <a:pt x="2209" y="1069"/>
                  </a:lnTo>
                  <a:lnTo>
                    <a:pt x="2199" y="1077"/>
                  </a:lnTo>
                  <a:lnTo>
                    <a:pt x="2188" y="1083"/>
                  </a:lnTo>
                  <a:lnTo>
                    <a:pt x="2178" y="1089"/>
                  </a:lnTo>
                  <a:lnTo>
                    <a:pt x="2158" y="1095"/>
                  </a:lnTo>
                  <a:lnTo>
                    <a:pt x="2148" y="1096"/>
                  </a:lnTo>
                  <a:lnTo>
                    <a:pt x="2139" y="1098"/>
                  </a:lnTo>
                  <a:lnTo>
                    <a:pt x="2135" y="1099"/>
                  </a:lnTo>
                  <a:lnTo>
                    <a:pt x="2131" y="1098"/>
                  </a:lnTo>
                  <a:lnTo>
                    <a:pt x="2128" y="1098"/>
                  </a:lnTo>
                  <a:lnTo>
                    <a:pt x="2127" y="1095"/>
                  </a:lnTo>
                  <a:lnTo>
                    <a:pt x="2124" y="1094"/>
                  </a:lnTo>
                  <a:lnTo>
                    <a:pt x="2122" y="1093"/>
                  </a:lnTo>
                  <a:lnTo>
                    <a:pt x="2120" y="1093"/>
                  </a:lnTo>
                  <a:lnTo>
                    <a:pt x="2119" y="1091"/>
                  </a:lnTo>
                  <a:lnTo>
                    <a:pt x="2111" y="1089"/>
                  </a:lnTo>
                  <a:lnTo>
                    <a:pt x="2105" y="1087"/>
                  </a:lnTo>
                  <a:lnTo>
                    <a:pt x="2084" y="1086"/>
                  </a:lnTo>
                  <a:lnTo>
                    <a:pt x="2061" y="1083"/>
                  </a:lnTo>
                  <a:lnTo>
                    <a:pt x="2051" y="1083"/>
                  </a:lnTo>
                  <a:lnTo>
                    <a:pt x="2041" y="1085"/>
                  </a:lnTo>
                  <a:lnTo>
                    <a:pt x="2031" y="1086"/>
                  </a:lnTo>
                  <a:lnTo>
                    <a:pt x="2022" y="1089"/>
                  </a:lnTo>
                  <a:lnTo>
                    <a:pt x="2021" y="1091"/>
                  </a:lnTo>
                  <a:lnTo>
                    <a:pt x="2021" y="1096"/>
                  </a:lnTo>
                  <a:lnTo>
                    <a:pt x="2022" y="1102"/>
                  </a:lnTo>
                  <a:lnTo>
                    <a:pt x="2025" y="1106"/>
                  </a:lnTo>
                  <a:lnTo>
                    <a:pt x="2026" y="1108"/>
                  </a:lnTo>
                  <a:lnTo>
                    <a:pt x="2026" y="1110"/>
                  </a:lnTo>
                  <a:lnTo>
                    <a:pt x="2027" y="1111"/>
                  </a:lnTo>
                  <a:lnTo>
                    <a:pt x="2027" y="1112"/>
                  </a:lnTo>
                  <a:lnTo>
                    <a:pt x="2027" y="1115"/>
                  </a:lnTo>
                  <a:lnTo>
                    <a:pt x="2027" y="1117"/>
                  </a:lnTo>
                  <a:lnTo>
                    <a:pt x="2027" y="1119"/>
                  </a:lnTo>
                  <a:lnTo>
                    <a:pt x="2025" y="1121"/>
                  </a:lnTo>
                  <a:lnTo>
                    <a:pt x="2024" y="1123"/>
                  </a:lnTo>
                  <a:lnTo>
                    <a:pt x="2024" y="1124"/>
                  </a:lnTo>
                  <a:lnTo>
                    <a:pt x="2012" y="1128"/>
                  </a:lnTo>
                  <a:lnTo>
                    <a:pt x="2001" y="1132"/>
                  </a:lnTo>
                  <a:lnTo>
                    <a:pt x="2000" y="1132"/>
                  </a:lnTo>
                  <a:lnTo>
                    <a:pt x="1999" y="1133"/>
                  </a:lnTo>
                  <a:lnTo>
                    <a:pt x="1991" y="1138"/>
                  </a:lnTo>
                  <a:lnTo>
                    <a:pt x="1986" y="1142"/>
                  </a:lnTo>
                  <a:lnTo>
                    <a:pt x="1983" y="1144"/>
                  </a:lnTo>
                  <a:lnTo>
                    <a:pt x="1982" y="1144"/>
                  </a:lnTo>
                  <a:lnTo>
                    <a:pt x="1980" y="1145"/>
                  </a:lnTo>
                  <a:lnTo>
                    <a:pt x="1980" y="1146"/>
                  </a:lnTo>
                  <a:lnTo>
                    <a:pt x="1979" y="1147"/>
                  </a:lnTo>
                  <a:lnTo>
                    <a:pt x="1978" y="1149"/>
                  </a:lnTo>
                  <a:lnTo>
                    <a:pt x="1976" y="1151"/>
                  </a:lnTo>
                  <a:lnTo>
                    <a:pt x="1975" y="1154"/>
                  </a:lnTo>
                  <a:lnTo>
                    <a:pt x="1973" y="1157"/>
                  </a:lnTo>
                  <a:lnTo>
                    <a:pt x="1971" y="1159"/>
                  </a:lnTo>
                  <a:lnTo>
                    <a:pt x="1965" y="1170"/>
                  </a:lnTo>
                  <a:lnTo>
                    <a:pt x="1959" y="1181"/>
                  </a:lnTo>
                  <a:lnTo>
                    <a:pt x="1959" y="1183"/>
                  </a:lnTo>
                  <a:lnTo>
                    <a:pt x="1957" y="1184"/>
                  </a:lnTo>
                  <a:lnTo>
                    <a:pt x="1955" y="1187"/>
                  </a:lnTo>
                  <a:lnTo>
                    <a:pt x="1954" y="1189"/>
                  </a:lnTo>
                  <a:lnTo>
                    <a:pt x="1953" y="1191"/>
                  </a:lnTo>
                  <a:lnTo>
                    <a:pt x="1952" y="1192"/>
                  </a:lnTo>
                  <a:lnTo>
                    <a:pt x="1940" y="1200"/>
                  </a:lnTo>
                  <a:lnTo>
                    <a:pt x="1928" y="1205"/>
                  </a:lnTo>
                  <a:lnTo>
                    <a:pt x="1927" y="1206"/>
                  </a:lnTo>
                  <a:lnTo>
                    <a:pt x="1924" y="1206"/>
                  </a:lnTo>
                  <a:lnTo>
                    <a:pt x="1920" y="1208"/>
                  </a:lnTo>
                  <a:lnTo>
                    <a:pt x="1915" y="1210"/>
                  </a:lnTo>
                  <a:lnTo>
                    <a:pt x="1915" y="1212"/>
                  </a:lnTo>
                  <a:lnTo>
                    <a:pt x="1911" y="1213"/>
                  </a:lnTo>
                  <a:lnTo>
                    <a:pt x="1910" y="1214"/>
                  </a:lnTo>
                  <a:lnTo>
                    <a:pt x="1908" y="1215"/>
                  </a:lnTo>
                  <a:lnTo>
                    <a:pt x="1907" y="1215"/>
                  </a:lnTo>
                  <a:lnTo>
                    <a:pt x="1907" y="1217"/>
                  </a:lnTo>
                  <a:lnTo>
                    <a:pt x="1906" y="1218"/>
                  </a:lnTo>
                  <a:lnTo>
                    <a:pt x="1904" y="1219"/>
                  </a:lnTo>
                  <a:lnTo>
                    <a:pt x="1904" y="1221"/>
                  </a:lnTo>
                  <a:lnTo>
                    <a:pt x="1903" y="1222"/>
                  </a:lnTo>
                  <a:lnTo>
                    <a:pt x="1902" y="1223"/>
                  </a:lnTo>
                  <a:lnTo>
                    <a:pt x="1901" y="1225"/>
                  </a:lnTo>
                  <a:lnTo>
                    <a:pt x="1898" y="1227"/>
                  </a:lnTo>
                  <a:lnTo>
                    <a:pt x="1894" y="1231"/>
                  </a:lnTo>
                  <a:lnTo>
                    <a:pt x="1889" y="1234"/>
                  </a:lnTo>
                  <a:lnTo>
                    <a:pt x="1884" y="1236"/>
                  </a:lnTo>
                  <a:lnTo>
                    <a:pt x="1877" y="1236"/>
                  </a:lnTo>
                  <a:lnTo>
                    <a:pt x="1870" y="1238"/>
                  </a:lnTo>
                  <a:lnTo>
                    <a:pt x="1869" y="1238"/>
                  </a:lnTo>
                  <a:lnTo>
                    <a:pt x="1868" y="1238"/>
                  </a:lnTo>
                  <a:lnTo>
                    <a:pt x="1861" y="1243"/>
                  </a:lnTo>
                  <a:lnTo>
                    <a:pt x="1851" y="1251"/>
                  </a:lnTo>
                  <a:lnTo>
                    <a:pt x="1844" y="1253"/>
                  </a:lnTo>
                  <a:lnTo>
                    <a:pt x="1840" y="1256"/>
                  </a:lnTo>
                  <a:lnTo>
                    <a:pt x="1838" y="1256"/>
                  </a:lnTo>
                  <a:lnTo>
                    <a:pt x="1835" y="1256"/>
                  </a:lnTo>
                  <a:lnTo>
                    <a:pt x="1834" y="1255"/>
                  </a:lnTo>
                  <a:lnTo>
                    <a:pt x="1833" y="1253"/>
                  </a:lnTo>
                  <a:lnTo>
                    <a:pt x="1831" y="1252"/>
                  </a:lnTo>
                  <a:lnTo>
                    <a:pt x="1829" y="1252"/>
                  </a:lnTo>
                  <a:lnTo>
                    <a:pt x="1827" y="1252"/>
                  </a:lnTo>
                  <a:lnTo>
                    <a:pt x="1823" y="1246"/>
                  </a:lnTo>
                  <a:lnTo>
                    <a:pt x="1819" y="1239"/>
                  </a:lnTo>
                  <a:lnTo>
                    <a:pt x="1819" y="1238"/>
                  </a:lnTo>
                  <a:lnTo>
                    <a:pt x="1819" y="1235"/>
                  </a:lnTo>
                  <a:lnTo>
                    <a:pt x="1818" y="1234"/>
                  </a:lnTo>
                  <a:lnTo>
                    <a:pt x="1813" y="1214"/>
                  </a:lnTo>
                  <a:lnTo>
                    <a:pt x="1812" y="1213"/>
                  </a:lnTo>
                  <a:lnTo>
                    <a:pt x="1812" y="1212"/>
                  </a:lnTo>
                  <a:lnTo>
                    <a:pt x="1810" y="1202"/>
                  </a:lnTo>
                  <a:lnTo>
                    <a:pt x="1808" y="1195"/>
                  </a:lnTo>
                  <a:lnTo>
                    <a:pt x="1808" y="1193"/>
                  </a:lnTo>
                  <a:lnTo>
                    <a:pt x="1804" y="1191"/>
                  </a:lnTo>
                  <a:lnTo>
                    <a:pt x="1801" y="1189"/>
                  </a:lnTo>
                  <a:lnTo>
                    <a:pt x="1799" y="1189"/>
                  </a:lnTo>
                  <a:lnTo>
                    <a:pt x="1799" y="1188"/>
                  </a:lnTo>
                  <a:lnTo>
                    <a:pt x="1796" y="1188"/>
                  </a:lnTo>
                  <a:lnTo>
                    <a:pt x="1791" y="1185"/>
                  </a:lnTo>
                  <a:lnTo>
                    <a:pt x="1787" y="1183"/>
                  </a:lnTo>
                  <a:lnTo>
                    <a:pt x="1784" y="1174"/>
                  </a:lnTo>
                  <a:lnTo>
                    <a:pt x="1780" y="1166"/>
                  </a:lnTo>
                  <a:lnTo>
                    <a:pt x="1775" y="1158"/>
                  </a:lnTo>
                  <a:lnTo>
                    <a:pt x="1770" y="1151"/>
                  </a:lnTo>
                  <a:lnTo>
                    <a:pt x="1765" y="1145"/>
                  </a:lnTo>
                  <a:lnTo>
                    <a:pt x="1758" y="1140"/>
                  </a:lnTo>
                  <a:lnTo>
                    <a:pt x="1750" y="1136"/>
                  </a:lnTo>
                  <a:lnTo>
                    <a:pt x="1744" y="1130"/>
                  </a:lnTo>
                  <a:lnTo>
                    <a:pt x="1736" y="1128"/>
                  </a:lnTo>
                  <a:lnTo>
                    <a:pt x="1727" y="1125"/>
                  </a:lnTo>
                  <a:lnTo>
                    <a:pt x="1719" y="1123"/>
                  </a:lnTo>
                  <a:lnTo>
                    <a:pt x="1710" y="1121"/>
                  </a:lnTo>
                  <a:lnTo>
                    <a:pt x="1691" y="1119"/>
                  </a:lnTo>
                  <a:lnTo>
                    <a:pt x="1673" y="1120"/>
                  </a:lnTo>
                  <a:lnTo>
                    <a:pt x="1655" y="1123"/>
                  </a:lnTo>
                  <a:lnTo>
                    <a:pt x="1638" y="1127"/>
                  </a:lnTo>
                  <a:lnTo>
                    <a:pt x="1622" y="1133"/>
                  </a:lnTo>
                  <a:lnTo>
                    <a:pt x="1608" y="1141"/>
                  </a:lnTo>
                  <a:lnTo>
                    <a:pt x="1602" y="1145"/>
                  </a:lnTo>
                  <a:lnTo>
                    <a:pt x="1596" y="1150"/>
                  </a:lnTo>
                  <a:lnTo>
                    <a:pt x="1592" y="1155"/>
                  </a:lnTo>
                  <a:lnTo>
                    <a:pt x="1587" y="1161"/>
                  </a:lnTo>
                  <a:lnTo>
                    <a:pt x="1584" y="1166"/>
                  </a:lnTo>
                  <a:lnTo>
                    <a:pt x="1581" y="1172"/>
                  </a:lnTo>
                  <a:lnTo>
                    <a:pt x="1580" y="1179"/>
                  </a:lnTo>
                  <a:lnTo>
                    <a:pt x="1579" y="1185"/>
                  </a:lnTo>
                  <a:lnTo>
                    <a:pt x="1580" y="1205"/>
                  </a:lnTo>
                  <a:lnTo>
                    <a:pt x="1581" y="1230"/>
                  </a:lnTo>
                  <a:lnTo>
                    <a:pt x="1580" y="1242"/>
                  </a:lnTo>
                  <a:lnTo>
                    <a:pt x="1579" y="1253"/>
                  </a:lnTo>
                  <a:lnTo>
                    <a:pt x="1577" y="1257"/>
                  </a:lnTo>
                  <a:lnTo>
                    <a:pt x="1575" y="1261"/>
                  </a:lnTo>
                  <a:lnTo>
                    <a:pt x="1572" y="1265"/>
                  </a:lnTo>
                  <a:lnTo>
                    <a:pt x="1570" y="1268"/>
                  </a:lnTo>
                  <a:lnTo>
                    <a:pt x="1562" y="1276"/>
                  </a:lnTo>
                  <a:lnTo>
                    <a:pt x="1553" y="1289"/>
                  </a:lnTo>
                  <a:lnTo>
                    <a:pt x="1543" y="1303"/>
                  </a:lnTo>
                  <a:lnTo>
                    <a:pt x="1537" y="1315"/>
                  </a:lnTo>
                  <a:lnTo>
                    <a:pt x="1533" y="1324"/>
                  </a:lnTo>
                  <a:lnTo>
                    <a:pt x="1529" y="1336"/>
                  </a:lnTo>
                  <a:lnTo>
                    <a:pt x="1525" y="1349"/>
                  </a:lnTo>
                  <a:lnTo>
                    <a:pt x="1520" y="1359"/>
                  </a:lnTo>
                  <a:lnTo>
                    <a:pt x="1513" y="1367"/>
                  </a:lnTo>
                  <a:lnTo>
                    <a:pt x="1507" y="1379"/>
                  </a:lnTo>
                  <a:lnTo>
                    <a:pt x="1500" y="1391"/>
                  </a:lnTo>
                  <a:lnTo>
                    <a:pt x="1494" y="1404"/>
                  </a:lnTo>
                  <a:lnTo>
                    <a:pt x="1482" y="1430"/>
                  </a:lnTo>
                  <a:lnTo>
                    <a:pt x="1473" y="1454"/>
                  </a:lnTo>
                  <a:lnTo>
                    <a:pt x="1470" y="1463"/>
                  </a:lnTo>
                  <a:lnTo>
                    <a:pt x="1464" y="1472"/>
                  </a:lnTo>
                  <a:lnTo>
                    <a:pt x="1460" y="1476"/>
                  </a:lnTo>
                  <a:lnTo>
                    <a:pt x="1453" y="1480"/>
                  </a:lnTo>
                  <a:lnTo>
                    <a:pt x="1447" y="1484"/>
                  </a:lnTo>
                  <a:lnTo>
                    <a:pt x="1438" y="1485"/>
                  </a:lnTo>
                  <a:lnTo>
                    <a:pt x="1428" y="1486"/>
                  </a:lnTo>
                  <a:lnTo>
                    <a:pt x="1413" y="1490"/>
                  </a:lnTo>
                  <a:lnTo>
                    <a:pt x="1398" y="1494"/>
                  </a:lnTo>
                  <a:lnTo>
                    <a:pt x="1390" y="1495"/>
                  </a:lnTo>
                  <a:lnTo>
                    <a:pt x="1358" y="1499"/>
                  </a:lnTo>
                  <a:lnTo>
                    <a:pt x="1324" y="1505"/>
                  </a:lnTo>
                  <a:lnTo>
                    <a:pt x="1290" y="1512"/>
                  </a:lnTo>
                  <a:lnTo>
                    <a:pt x="1254" y="1522"/>
                  </a:lnTo>
                  <a:lnTo>
                    <a:pt x="1222" y="1532"/>
                  </a:lnTo>
                  <a:lnTo>
                    <a:pt x="1189" y="1544"/>
                  </a:lnTo>
                  <a:lnTo>
                    <a:pt x="1160" y="1556"/>
                  </a:lnTo>
                  <a:lnTo>
                    <a:pt x="1134" y="1567"/>
                  </a:lnTo>
                  <a:lnTo>
                    <a:pt x="1118" y="1574"/>
                  </a:lnTo>
                  <a:lnTo>
                    <a:pt x="1107" y="1577"/>
                  </a:lnTo>
                  <a:lnTo>
                    <a:pt x="1100" y="1577"/>
                  </a:lnTo>
                  <a:lnTo>
                    <a:pt x="1096" y="1577"/>
                  </a:lnTo>
                  <a:lnTo>
                    <a:pt x="1091" y="1575"/>
                  </a:lnTo>
                  <a:lnTo>
                    <a:pt x="1087" y="1574"/>
                  </a:lnTo>
                  <a:lnTo>
                    <a:pt x="1073" y="1563"/>
                  </a:lnTo>
                  <a:lnTo>
                    <a:pt x="1056" y="1552"/>
                  </a:lnTo>
                  <a:lnTo>
                    <a:pt x="1053" y="1550"/>
                  </a:lnTo>
                  <a:lnTo>
                    <a:pt x="1052" y="1548"/>
                  </a:lnTo>
                  <a:lnTo>
                    <a:pt x="1050" y="1544"/>
                  </a:lnTo>
                  <a:lnTo>
                    <a:pt x="1050" y="1540"/>
                  </a:lnTo>
                  <a:lnTo>
                    <a:pt x="1050" y="1531"/>
                  </a:lnTo>
                  <a:lnTo>
                    <a:pt x="1053" y="1522"/>
                  </a:lnTo>
                  <a:lnTo>
                    <a:pt x="1054" y="1511"/>
                  </a:lnTo>
                  <a:lnTo>
                    <a:pt x="1054" y="1502"/>
                  </a:lnTo>
                  <a:lnTo>
                    <a:pt x="1054" y="1498"/>
                  </a:lnTo>
                  <a:lnTo>
                    <a:pt x="1053" y="1494"/>
                  </a:lnTo>
                  <a:lnTo>
                    <a:pt x="1052" y="1491"/>
                  </a:lnTo>
                  <a:lnTo>
                    <a:pt x="1048" y="1488"/>
                  </a:lnTo>
                  <a:lnTo>
                    <a:pt x="1045" y="1486"/>
                  </a:lnTo>
                  <a:lnTo>
                    <a:pt x="1041" y="1485"/>
                  </a:lnTo>
                  <a:lnTo>
                    <a:pt x="1037" y="1485"/>
                  </a:lnTo>
                  <a:lnTo>
                    <a:pt x="1032" y="1485"/>
                  </a:lnTo>
                  <a:lnTo>
                    <a:pt x="1024" y="1488"/>
                  </a:lnTo>
                  <a:lnTo>
                    <a:pt x="1018" y="1491"/>
                  </a:lnTo>
                  <a:lnTo>
                    <a:pt x="1010" y="1494"/>
                  </a:lnTo>
                  <a:lnTo>
                    <a:pt x="1005" y="1495"/>
                  </a:lnTo>
                  <a:lnTo>
                    <a:pt x="1003" y="1495"/>
                  </a:lnTo>
                  <a:lnTo>
                    <a:pt x="1002" y="1494"/>
                  </a:lnTo>
                  <a:lnTo>
                    <a:pt x="1001" y="1491"/>
                  </a:lnTo>
                  <a:lnTo>
                    <a:pt x="1001" y="1488"/>
                  </a:lnTo>
                  <a:lnTo>
                    <a:pt x="1001" y="1486"/>
                  </a:lnTo>
                  <a:lnTo>
                    <a:pt x="999" y="1482"/>
                  </a:lnTo>
                  <a:lnTo>
                    <a:pt x="997" y="1478"/>
                  </a:lnTo>
                  <a:lnTo>
                    <a:pt x="994" y="1476"/>
                  </a:lnTo>
                  <a:lnTo>
                    <a:pt x="989" y="1474"/>
                  </a:lnTo>
                  <a:lnTo>
                    <a:pt x="982" y="1472"/>
                  </a:lnTo>
                  <a:lnTo>
                    <a:pt x="976" y="1472"/>
                  </a:lnTo>
                  <a:lnTo>
                    <a:pt x="967" y="1472"/>
                  </a:lnTo>
                  <a:lnTo>
                    <a:pt x="959" y="1472"/>
                  </a:lnTo>
                  <a:lnTo>
                    <a:pt x="897" y="1477"/>
                  </a:lnTo>
                  <a:lnTo>
                    <a:pt x="886" y="1495"/>
                  </a:lnTo>
                  <a:lnTo>
                    <a:pt x="871" y="1508"/>
                  </a:lnTo>
                  <a:lnTo>
                    <a:pt x="850" y="1524"/>
                  </a:lnTo>
                  <a:lnTo>
                    <a:pt x="833" y="1532"/>
                  </a:lnTo>
                  <a:lnTo>
                    <a:pt x="816" y="1541"/>
                  </a:lnTo>
                  <a:lnTo>
                    <a:pt x="811" y="1544"/>
                  </a:lnTo>
                  <a:lnTo>
                    <a:pt x="806" y="1548"/>
                  </a:lnTo>
                  <a:lnTo>
                    <a:pt x="803" y="1552"/>
                  </a:lnTo>
                  <a:lnTo>
                    <a:pt x="799" y="1557"/>
                  </a:lnTo>
                  <a:lnTo>
                    <a:pt x="794" y="1566"/>
                  </a:lnTo>
                  <a:lnTo>
                    <a:pt x="790" y="1577"/>
                  </a:lnTo>
                  <a:lnTo>
                    <a:pt x="787" y="1580"/>
                  </a:lnTo>
                  <a:lnTo>
                    <a:pt x="785" y="1584"/>
                  </a:lnTo>
                  <a:lnTo>
                    <a:pt x="782" y="1587"/>
                  </a:lnTo>
                  <a:lnTo>
                    <a:pt x="778" y="1590"/>
                  </a:lnTo>
                  <a:lnTo>
                    <a:pt x="774" y="1591"/>
                  </a:lnTo>
                  <a:lnTo>
                    <a:pt x="769" y="1592"/>
                  </a:lnTo>
                  <a:lnTo>
                    <a:pt x="764" y="1591"/>
                  </a:lnTo>
                  <a:lnTo>
                    <a:pt x="756" y="1588"/>
                  </a:lnTo>
                  <a:lnTo>
                    <a:pt x="748" y="1586"/>
                  </a:lnTo>
                  <a:lnTo>
                    <a:pt x="742" y="1586"/>
                  </a:lnTo>
                  <a:lnTo>
                    <a:pt x="736" y="1586"/>
                  </a:lnTo>
                  <a:lnTo>
                    <a:pt x="731" y="1588"/>
                  </a:lnTo>
                  <a:lnTo>
                    <a:pt x="722" y="1595"/>
                  </a:lnTo>
                  <a:lnTo>
                    <a:pt x="709" y="1604"/>
                  </a:lnTo>
                  <a:lnTo>
                    <a:pt x="706" y="1607"/>
                  </a:lnTo>
                  <a:lnTo>
                    <a:pt x="704" y="1609"/>
                  </a:lnTo>
                  <a:lnTo>
                    <a:pt x="702" y="1613"/>
                  </a:lnTo>
                  <a:lnTo>
                    <a:pt x="701" y="1618"/>
                  </a:lnTo>
                  <a:lnTo>
                    <a:pt x="701" y="1628"/>
                  </a:lnTo>
                  <a:lnTo>
                    <a:pt x="702" y="1638"/>
                  </a:lnTo>
                  <a:lnTo>
                    <a:pt x="708" y="1660"/>
                  </a:lnTo>
                  <a:lnTo>
                    <a:pt x="710" y="1677"/>
                  </a:lnTo>
                  <a:lnTo>
                    <a:pt x="709" y="1693"/>
                  </a:lnTo>
                  <a:lnTo>
                    <a:pt x="708" y="1709"/>
                  </a:lnTo>
                  <a:lnTo>
                    <a:pt x="708" y="1715"/>
                  </a:lnTo>
                  <a:lnTo>
                    <a:pt x="708" y="1722"/>
                  </a:lnTo>
                  <a:lnTo>
                    <a:pt x="712" y="1728"/>
                  </a:lnTo>
                  <a:lnTo>
                    <a:pt x="716" y="1733"/>
                  </a:lnTo>
                  <a:lnTo>
                    <a:pt x="719" y="1737"/>
                  </a:lnTo>
                  <a:lnTo>
                    <a:pt x="721" y="1741"/>
                  </a:lnTo>
                  <a:lnTo>
                    <a:pt x="721" y="1745"/>
                  </a:lnTo>
                  <a:lnTo>
                    <a:pt x="718" y="1750"/>
                  </a:lnTo>
                  <a:lnTo>
                    <a:pt x="710" y="1760"/>
                  </a:lnTo>
                  <a:lnTo>
                    <a:pt x="699" y="1769"/>
                  </a:lnTo>
                  <a:lnTo>
                    <a:pt x="685" y="1778"/>
                  </a:lnTo>
                  <a:lnTo>
                    <a:pt x="674" y="1788"/>
                  </a:lnTo>
                  <a:lnTo>
                    <a:pt x="667" y="1794"/>
                  </a:lnTo>
                  <a:lnTo>
                    <a:pt x="663" y="1798"/>
                  </a:lnTo>
                  <a:lnTo>
                    <a:pt x="659" y="1803"/>
                  </a:lnTo>
                  <a:lnTo>
                    <a:pt x="658" y="1808"/>
                  </a:lnTo>
                  <a:lnTo>
                    <a:pt x="630" y="1932"/>
                  </a:lnTo>
                  <a:lnTo>
                    <a:pt x="629" y="1938"/>
                  </a:lnTo>
                  <a:lnTo>
                    <a:pt x="627" y="1941"/>
                  </a:lnTo>
                  <a:lnTo>
                    <a:pt x="623" y="1944"/>
                  </a:lnTo>
                  <a:lnTo>
                    <a:pt x="619" y="1948"/>
                  </a:lnTo>
                  <a:lnTo>
                    <a:pt x="608" y="1951"/>
                  </a:lnTo>
                  <a:lnTo>
                    <a:pt x="596" y="1953"/>
                  </a:lnTo>
                  <a:lnTo>
                    <a:pt x="583" y="1955"/>
                  </a:lnTo>
                  <a:lnTo>
                    <a:pt x="570" y="1956"/>
                  </a:lnTo>
                  <a:lnTo>
                    <a:pt x="557" y="1958"/>
                  </a:lnTo>
                  <a:lnTo>
                    <a:pt x="545" y="1964"/>
                  </a:lnTo>
                  <a:lnTo>
                    <a:pt x="539" y="1968"/>
                  </a:lnTo>
                  <a:lnTo>
                    <a:pt x="532" y="1969"/>
                  </a:lnTo>
                  <a:lnTo>
                    <a:pt x="527" y="1969"/>
                  </a:lnTo>
                  <a:lnTo>
                    <a:pt x="521" y="1968"/>
                  </a:lnTo>
                  <a:lnTo>
                    <a:pt x="515" y="1966"/>
                  </a:lnTo>
                  <a:lnTo>
                    <a:pt x="510" y="1962"/>
                  </a:lnTo>
                  <a:lnTo>
                    <a:pt x="505" y="1958"/>
                  </a:lnTo>
                  <a:lnTo>
                    <a:pt x="501" y="1955"/>
                  </a:lnTo>
                  <a:lnTo>
                    <a:pt x="493" y="1943"/>
                  </a:lnTo>
                  <a:lnTo>
                    <a:pt x="485" y="1930"/>
                  </a:lnTo>
                  <a:lnTo>
                    <a:pt x="479" y="1917"/>
                  </a:lnTo>
                  <a:lnTo>
                    <a:pt x="475" y="1905"/>
                  </a:lnTo>
                  <a:lnTo>
                    <a:pt x="472" y="1901"/>
                  </a:lnTo>
                  <a:lnTo>
                    <a:pt x="470" y="1897"/>
                  </a:lnTo>
                  <a:lnTo>
                    <a:pt x="467" y="1894"/>
                  </a:lnTo>
                  <a:lnTo>
                    <a:pt x="464" y="1892"/>
                  </a:lnTo>
                  <a:lnTo>
                    <a:pt x="458" y="1889"/>
                  </a:lnTo>
                  <a:lnTo>
                    <a:pt x="450" y="1888"/>
                  </a:lnTo>
                  <a:lnTo>
                    <a:pt x="442" y="1889"/>
                  </a:lnTo>
                  <a:lnTo>
                    <a:pt x="434" y="1893"/>
                  </a:lnTo>
                  <a:lnTo>
                    <a:pt x="425" y="1898"/>
                  </a:lnTo>
                  <a:lnTo>
                    <a:pt x="417" y="1904"/>
                  </a:lnTo>
                  <a:lnTo>
                    <a:pt x="408" y="1911"/>
                  </a:lnTo>
                  <a:lnTo>
                    <a:pt x="400" y="1919"/>
                  </a:lnTo>
                  <a:lnTo>
                    <a:pt x="394" y="1928"/>
                  </a:lnTo>
                  <a:lnTo>
                    <a:pt x="387" y="1936"/>
                  </a:lnTo>
                  <a:lnTo>
                    <a:pt x="382" y="1945"/>
                  </a:lnTo>
                  <a:lnTo>
                    <a:pt x="378" y="1955"/>
                  </a:lnTo>
                  <a:lnTo>
                    <a:pt x="375" y="1962"/>
                  </a:lnTo>
                  <a:lnTo>
                    <a:pt x="374" y="1970"/>
                  </a:lnTo>
                  <a:lnTo>
                    <a:pt x="378" y="1990"/>
                  </a:lnTo>
                  <a:lnTo>
                    <a:pt x="386" y="2008"/>
                  </a:lnTo>
                  <a:lnTo>
                    <a:pt x="387" y="2012"/>
                  </a:lnTo>
                  <a:lnTo>
                    <a:pt x="387" y="2017"/>
                  </a:lnTo>
                  <a:lnTo>
                    <a:pt x="387" y="2021"/>
                  </a:lnTo>
                  <a:lnTo>
                    <a:pt x="386" y="2025"/>
                  </a:lnTo>
                  <a:lnTo>
                    <a:pt x="385" y="2030"/>
                  </a:lnTo>
                  <a:lnTo>
                    <a:pt x="381" y="2033"/>
                  </a:lnTo>
                  <a:lnTo>
                    <a:pt x="377" y="2037"/>
                  </a:lnTo>
                  <a:lnTo>
                    <a:pt x="370" y="2041"/>
                  </a:lnTo>
                  <a:lnTo>
                    <a:pt x="360" y="2047"/>
                  </a:lnTo>
                  <a:lnTo>
                    <a:pt x="348" y="2054"/>
                  </a:lnTo>
                  <a:lnTo>
                    <a:pt x="338" y="2062"/>
                  </a:lnTo>
                  <a:lnTo>
                    <a:pt x="327" y="2071"/>
                  </a:lnTo>
                  <a:lnTo>
                    <a:pt x="306" y="2088"/>
                  </a:lnTo>
                  <a:lnTo>
                    <a:pt x="285" y="2104"/>
                  </a:lnTo>
                  <a:lnTo>
                    <a:pt x="275" y="2112"/>
                  </a:lnTo>
                  <a:lnTo>
                    <a:pt x="264" y="2118"/>
                  </a:lnTo>
                  <a:lnTo>
                    <a:pt x="252" y="2123"/>
                  </a:lnTo>
                  <a:lnTo>
                    <a:pt x="242" y="2127"/>
                  </a:lnTo>
                  <a:lnTo>
                    <a:pt x="230" y="2130"/>
                  </a:lnTo>
                  <a:lnTo>
                    <a:pt x="218" y="2130"/>
                  </a:lnTo>
                  <a:lnTo>
                    <a:pt x="207" y="2129"/>
                  </a:lnTo>
                  <a:lnTo>
                    <a:pt x="194" y="2125"/>
                  </a:lnTo>
                  <a:lnTo>
                    <a:pt x="190" y="2123"/>
                  </a:lnTo>
                  <a:lnTo>
                    <a:pt x="184" y="2125"/>
                  </a:lnTo>
                  <a:lnTo>
                    <a:pt x="181" y="2126"/>
                  </a:lnTo>
                  <a:lnTo>
                    <a:pt x="175" y="2129"/>
                  </a:lnTo>
                  <a:lnTo>
                    <a:pt x="166" y="2136"/>
                  </a:lnTo>
                  <a:lnTo>
                    <a:pt x="156" y="2146"/>
                  </a:lnTo>
                  <a:lnTo>
                    <a:pt x="144" y="2156"/>
                  </a:lnTo>
                  <a:lnTo>
                    <a:pt x="131" y="2164"/>
                  </a:lnTo>
                  <a:lnTo>
                    <a:pt x="124" y="2168"/>
                  </a:lnTo>
                  <a:lnTo>
                    <a:pt x="116" y="2170"/>
                  </a:lnTo>
                  <a:lnTo>
                    <a:pt x="109" y="2173"/>
                  </a:lnTo>
                  <a:lnTo>
                    <a:pt x="99" y="2173"/>
                  </a:lnTo>
                  <a:lnTo>
                    <a:pt x="97" y="2174"/>
                  </a:lnTo>
                  <a:lnTo>
                    <a:pt x="94" y="2176"/>
                  </a:lnTo>
                  <a:lnTo>
                    <a:pt x="92" y="2178"/>
                  </a:lnTo>
                  <a:lnTo>
                    <a:pt x="90" y="2182"/>
                  </a:lnTo>
                  <a:lnTo>
                    <a:pt x="88" y="2190"/>
                  </a:lnTo>
                  <a:lnTo>
                    <a:pt x="88" y="2200"/>
                  </a:lnTo>
                  <a:lnTo>
                    <a:pt x="88" y="2223"/>
                  </a:lnTo>
                  <a:lnTo>
                    <a:pt x="88" y="2240"/>
                  </a:lnTo>
                  <a:lnTo>
                    <a:pt x="88" y="2250"/>
                  </a:lnTo>
                  <a:lnTo>
                    <a:pt x="89" y="2266"/>
                  </a:lnTo>
                  <a:lnTo>
                    <a:pt x="92" y="2283"/>
                  </a:lnTo>
                  <a:lnTo>
                    <a:pt x="94" y="2301"/>
                  </a:lnTo>
                  <a:lnTo>
                    <a:pt x="101" y="2334"/>
                  </a:lnTo>
                  <a:lnTo>
                    <a:pt x="103" y="2350"/>
                  </a:lnTo>
                  <a:lnTo>
                    <a:pt x="94" y="2364"/>
                  </a:lnTo>
                  <a:lnTo>
                    <a:pt x="85" y="2374"/>
                  </a:lnTo>
                  <a:lnTo>
                    <a:pt x="75" y="2384"/>
                  </a:lnTo>
                  <a:lnTo>
                    <a:pt x="64" y="2391"/>
                  </a:lnTo>
                  <a:lnTo>
                    <a:pt x="45" y="2406"/>
                  </a:lnTo>
                  <a:lnTo>
                    <a:pt x="24" y="2423"/>
                  </a:lnTo>
                  <a:lnTo>
                    <a:pt x="21" y="2425"/>
                  </a:lnTo>
                  <a:lnTo>
                    <a:pt x="20" y="2429"/>
                  </a:lnTo>
                  <a:lnTo>
                    <a:pt x="18" y="2432"/>
                  </a:lnTo>
                  <a:lnTo>
                    <a:pt x="18" y="2436"/>
                  </a:lnTo>
                  <a:lnTo>
                    <a:pt x="20" y="2444"/>
                  </a:lnTo>
                  <a:lnTo>
                    <a:pt x="22" y="2452"/>
                  </a:lnTo>
                  <a:lnTo>
                    <a:pt x="24" y="2461"/>
                  </a:lnTo>
                  <a:lnTo>
                    <a:pt x="25" y="2470"/>
                  </a:lnTo>
                  <a:lnTo>
                    <a:pt x="25" y="2479"/>
                  </a:lnTo>
                  <a:lnTo>
                    <a:pt x="21" y="2487"/>
                  </a:lnTo>
                  <a:lnTo>
                    <a:pt x="7" y="2510"/>
                  </a:lnTo>
                  <a:lnTo>
                    <a:pt x="0" y="2522"/>
                  </a:lnTo>
                  <a:lnTo>
                    <a:pt x="0" y="2527"/>
                  </a:lnTo>
                  <a:lnTo>
                    <a:pt x="3" y="2534"/>
                  </a:lnTo>
                  <a:lnTo>
                    <a:pt x="9" y="2543"/>
                  </a:lnTo>
                  <a:lnTo>
                    <a:pt x="17" y="2558"/>
                  </a:lnTo>
                  <a:lnTo>
                    <a:pt x="21" y="2563"/>
                  </a:lnTo>
                  <a:lnTo>
                    <a:pt x="26" y="2568"/>
                  </a:lnTo>
                  <a:lnTo>
                    <a:pt x="31" y="2572"/>
                  </a:lnTo>
                  <a:lnTo>
                    <a:pt x="38" y="2577"/>
                  </a:lnTo>
                  <a:lnTo>
                    <a:pt x="52" y="2586"/>
                  </a:lnTo>
                  <a:lnTo>
                    <a:pt x="67" y="2594"/>
                  </a:lnTo>
                  <a:lnTo>
                    <a:pt x="81" y="2602"/>
                  </a:lnTo>
                  <a:lnTo>
                    <a:pt x="94" y="2609"/>
                  </a:lnTo>
                  <a:lnTo>
                    <a:pt x="102" y="2614"/>
                  </a:lnTo>
                  <a:lnTo>
                    <a:pt x="106" y="2618"/>
                  </a:lnTo>
                  <a:lnTo>
                    <a:pt x="109" y="2624"/>
                  </a:lnTo>
                  <a:lnTo>
                    <a:pt x="110" y="2633"/>
                  </a:lnTo>
                  <a:lnTo>
                    <a:pt x="111" y="2645"/>
                  </a:lnTo>
                  <a:lnTo>
                    <a:pt x="111" y="2657"/>
                  </a:lnTo>
                  <a:lnTo>
                    <a:pt x="111" y="2679"/>
                  </a:lnTo>
                  <a:lnTo>
                    <a:pt x="109" y="2698"/>
                  </a:lnTo>
                  <a:lnTo>
                    <a:pt x="106" y="2705"/>
                  </a:lnTo>
                  <a:lnTo>
                    <a:pt x="106" y="2712"/>
                  </a:lnTo>
                  <a:lnTo>
                    <a:pt x="105" y="2718"/>
                  </a:lnTo>
                  <a:lnTo>
                    <a:pt x="106" y="2725"/>
                  </a:lnTo>
                  <a:lnTo>
                    <a:pt x="109" y="2735"/>
                  </a:lnTo>
                  <a:lnTo>
                    <a:pt x="111" y="2745"/>
                  </a:lnTo>
                  <a:lnTo>
                    <a:pt x="115" y="2754"/>
                  </a:lnTo>
                  <a:lnTo>
                    <a:pt x="119" y="2763"/>
                  </a:lnTo>
                  <a:lnTo>
                    <a:pt x="119" y="2768"/>
                  </a:lnTo>
                  <a:lnTo>
                    <a:pt x="120" y="2775"/>
                  </a:lnTo>
                  <a:lnTo>
                    <a:pt x="119" y="2780"/>
                  </a:lnTo>
                  <a:lnTo>
                    <a:pt x="118" y="2788"/>
                  </a:lnTo>
                  <a:lnTo>
                    <a:pt x="109" y="2836"/>
                  </a:lnTo>
                  <a:lnTo>
                    <a:pt x="149" y="2845"/>
                  </a:lnTo>
                  <a:lnTo>
                    <a:pt x="160" y="2848"/>
                  </a:lnTo>
                  <a:lnTo>
                    <a:pt x="175" y="2849"/>
                  </a:lnTo>
                  <a:lnTo>
                    <a:pt x="190" y="2851"/>
                  </a:lnTo>
                  <a:lnTo>
                    <a:pt x="200" y="2851"/>
                  </a:lnTo>
                  <a:lnTo>
                    <a:pt x="201" y="2851"/>
                  </a:lnTo>
                  <a:lnTo>
                    <a:pt x="201" y="2852"/>
                  </a:lnTo>
                  <a:lnTo>
                    <a:pt x="203" y="2853"/>
                  </a:lnTo>
                  <a:lnTo>
                    <a:pt x="204" y="2853"/>
                  </a:lnTo>
                  <a:lnTo>
                    <a:pt x="205" y="2855"/>
                  </a:lnTo>
                  <a:lnTo>
                    <a:pt x="207" y="2856"/>
                  </a:lnTo>
                  <a:lnTo>
                    <a:pt x="208" y="2857"/>
                  </a:lnTo>
                  <a:lnTo>
                    <a:pt x="208" y="2858"/>
                  </a:lnTo>
                  <a:lnTo>
                    <a:pt x="208" y="2860"/>
                  </a:lnTo>
                  <a:lnTo>
                    <a:pt x="209" y="2861"/>
                  </a:lnTo>
                  <a:lnTo>
                    <a:pt x="211" y="2862"/>
                  </a:lnTo>
                  <a:lnTo>
                    <a:pt x="212" y="2864"/>
                  </a:lnTo>
                  <a:lnTo>
                    <a:pt x="213" y="2866"/>
                  </a:lnTo>
                  <a:lnTo>
                    <a:pt x="215" y="2866"/>
                  </a:lnTo>
                  <a:lnTo>
                    <a:pt x="216" y="2869"/>
                  </a:lnTo>
                  <a:lnTo>
                    <a:pt x="217" y="2872"/>
                  </a:lnTo>
                  <a:lnTo>
                    <a:pt x="218" y="2872"/>
                  </a:lnTo>
                  <a:lnTo>
                    <a:pt x="220" y="2873"/>
                  </a:lnTo>
                  <a:lnTo>
                    <a:pt x="221" y="2874"/>
                  </a:lnTo>
                  <a:lnTo>
                    <a:pt x="222" y="2874"/>
                  </a:lnTo>
                  <a:lnTo>
                    <a:pt x="224" y="2875"/>
                  </a:lnTo>
                  <a:lnTo>
                    <a:pt x="228" y="2878"/>
                  </a:lnTo>
                  <a:lnTo>
                    <a:pt x="232" y="2881"/>
                  </a:lnTo>
                  <a:lnTo>
                    <a:pt x="234" y="2883"/>
                  </a:lnTo>
                  <a:lnTo>
                    <a:pt x="238" y="2886"/>
                  </a:lnTo>
                  <a:lnTo>
                    <a:pt x="239" y="2886"/>
                  </a:lnTo>
                  <a:lnTo>
                    <a:pt x="241" y="2886"/>
                  </a:lnTo>
                  <a:lnTo>
                    <a:pt x="242" y="2887"/>
                  </a:lnTo>
                  <a:lnTo>
                    <a:pt x="245" y="2889"/>
                  </a:lnTo>
                  <a:lnTo>
                    <a:pt x="258" y="2891"/>
                  </a:lnTo>
                  <a:lnTo>
                    <a:pt x="272" y="2891"/>
                  </a:lnTo>
                  <a:lnTo>
                    <a:pt x="275" y="2890"/>
                  </a:lnTo>
                  <a:lnTo>
                    <a:pt x="277" y="2889"/>
                  </a:lnTo>
                  <a:lnTo>
                    <a:pt x="277" y="2887"/>
                  </a:lnTo>
                  <a:lnTo>
                    <a:pt x="279" y="2886"/>
                  </a:lnTo>
                  <a:lnTo>
                    <a:pt x="280" y="2885"/>
                  </a:lnTo>
                  <a:lnTo>
                    <a:pt x="281" y="2883"/>
                  </a:lnTo>
                  <a:lnTo>
                    <a:pt x="283" y="2883"/>
                  </a:lnTo>
                  <a:lnTo>
                    <a:pt x="284" y="2881"/>
                  </a:lnTo>
                  <a:lnTo>
                    <a:pt x="286" y="2878"/>
                  </a:lnTo>
                  <a:lnTo>
                    <a:pt x="288" y="2878"/>
                  </a:lnTo>
                  <a:lnTo>
                    <a:pt x="288" y="2877"/>
                  </a:lnTo>
                  <a:lnTo>
                    <a:pt x="288" y="2875"/>
                  </a:lnTo>
                  <a:lnTo>
                    <a:pt x="289" y="2874"/>
                  </a:lnTo>
                  <a:lnTo>
                    <a:pt x="292" y="2872"/>
                  </a:lnTo>
                  <a:lnTo>
                    <a:pt x="293" y="2870"/>
                  </a:lnTo>
                  <a:lnTo>
                    <a:pt x="294" y="2870"/>
                  </a:lnTo>
                  <a:lnTo>
                    <a:pt x="298" y="2870"/>
                  </a:lnTo>
                  <a:lnTo>
                    <a:pt x="313" y="2872"/>
                  </a:lnTo>
                  <a:lnTo>
                    <a:pt x="327" y="2874"/>
                  </a:lnTo>
                  <a:lnTo>
                    <a:pt x="331" y="2878"/>
                  </a:lnTo>
                  <a:lnTo>
                    <a:pt x="335" y="2879"/>
                  </a:lnTo>
                  <a:lnTo>
                    <a:pt x="336" y="2879"/>
                  </a:lnTo>
                  <a:lnTo>
                    <a:pt x="338" y="2879"/>
                  </a:lnTo>
                  <a:lnTo>
                    <a:pt x="339" y="2881"/>
                  </a:lnTo>
                  <a:lnTo>
                    <a:pt x="340" y="2882"/>
                  </a:lnTo>
                  <a:lnTo>
                    <a:pt x="340" y="2883"/>
                  </a:lnTo>
                  <a:lnTo>
                    <a:pt x="344" y="2886"/>
                  </a:lnTo>
                  <a:lnTo>
                    <a:pt x="347" y="2889"/>
                  </a:lnTo>
                  <a:lnTo>
                    <a:pt x="352" y="2890"/>
                  </a:lnTo>
                  <a:lnTo>
                    <a:pt x="355" y="2891"/>
                  </a:lnTo>
                  <a:lnTo>
                    <a:pt x="358" y="2892"/>
                  </a:lnTo>
                  <a:lnTo>
                    <a:pt x="362" y="2892"/>
                  </a:lnTo>
                  <a:lnTo>
                    <a:pt x="368" y="2891"/>
                  </a:lnTo>
                  <a:lnTo>
                    <a:pt x="370" y="2890"/>
                  </a:lnTo>
                  <a:lnTo>
                    <a:pt x="373" y="2889"/>
                  </a:lnTo>
                  <a:lnTo>
                    <a:pt x="375" y="2886"/>
                  </a:lnTo>
                  <a:lnTo>
                    <a:pt x="377" y="2885"/>
                  </a:lnTo>
                  <a:lnTo>
                    <a:pt x="378" y="2883"/>
                  </a:lnTo>
                  <a:lnTo>
                    <a:pt x="379" y="2882"/>
                  </a:lnTo>
                  <a:lnTo>
                    <a:pt x="381" y="2881"/>
                  </a:lnTo>
                  <a:lnTo>
                    <a:pt x="381" y="2879"/>
                  </a:lnTo>
                  <a:lnTo>
                    <a:pt x="383" y="2878"/>
                  </a:lnTo>
                  <a:lnTo>
                    <a:pt x="383" y="2877"/>
                  </a:lnTo>
                  <a:lnTo>
                    <a:pt x="385" y="2874"/>
                  </a:lnTo>
                  <a:lnTo>
                    <a:pt x="386" y="2874"/>
                  </a:lnTo>
                  <a:lnTo>
                    <a:pt x="387" y="2873"/>
                  </a:lnTo>
                  <a:lnTo>
                    <a:pt x="389" y="2872"/>
                  </a:lnTo>
                  <a:lnTo>
                    <a:pt x="390" y="2870"/>
                  </a:lnTo>
                  <a:lnTo>
                    <a:pt x="394" y="2870"/>
                  </a:lnTo>
                  <a:lnTo>
                    <a:pt x="400" y="2870"/>
                  </a:lnTo>
                  <a:lnTo>
                    <a:pt x="406" y="2870"/>
                  </a:lnTo>
                  <a:lnTo>
                    <a:pt x="425" y="2878"/>
                  </a:lnTo>
                  <a:lnTo>
                    <a:pt x="443" y="2886"/>
                  </a:lnTo>
                  <a:lnTo>
                    <a:pt x="449" y="2889"/>
                  </a:lnTo>
                  <a:lnTo>
                    <a:pt x="455" y="2891"/>
                  </a:lnTo>
                  <a:lnTo>
                    <a:pt x="458" y="2891"/>
                  </a:lnTo>
                  <a:lnTo>
                    <a:pt x="476" y="2899"/>
                  </a:lnTo>
                  <a:lnTo>
                    <a:pt x="496" y="2908"/>
                  </a:lnTo>
                  <a:lnTo>
                    <a:pt x="500" y="2912"/>
                  </a:lnTo>
                  <a:lnTo>
                    <a:pt x="508" y="2916"/>
                  </a:lnTo>
                  <a:lnTo>
                    <a:pt x="518" y="2919"/>
                  </a:lnTo>
                  <a:lnTo>
                    <a:pt x="530" y="2923"/>
                  </a:lnTo>
                  <a:lnTo>
                    <a:pt x="553" y="2928"/>
                  </a:lnTo>
                  <a:lnTo>
                    <a:pt x="570" y="2929"/>
                  </a:lnTo>
                  <a:lnTo>
                    <a:pt x="572" y="2929"/>
                  </a:lnTo>
                  <a:lnTo>
                    <a:pt x="577" y="2930"/>
                  </a:lnTo>
                  <a:lnTo>
                    <a:pt x="581" y="2933"/>
                  </a:lnTo>
                  <a:lnTo>
                    <a:pt x="585" y="2936"/>
                  </a:lnTo>
                  <a:lnTo>
                    <a:pt x="589" y="2937"/>
                  </a:lnTo>
                  <a:lnTo>
                    <a:pt x="591" y="2937"/>
                  </a:lnTo>
                  <a:lnTo>
                    <a:pt x="603" y="2936"/>
                  </a:lnTo>
                  <a:lnTo>
                    <a:pt x="616" y="2933"/>
                  </a:lnTo>
                  <a:lnTo>
                    <a:pt x="628" y="2929"/>
                  </a:lnTo>
                  <a:lnTo>
                    <a:pt x="633" y="2926"/>
                  </a:lnTo>
                  <a:lnTo>
                    <a:pt x="641" y="2924"/>
                  </a:lnTo>
                  <a:lnTo>
                    <a:pt x="655" y="2917"/>
                  </a:lnTo>
                  <a:lnTo>
                    <a:pt x="670" y="2912"/>
                  </a:lnTo>
                  <a:lnTo>
                    <a:pt x="678" y="2908"/>
                  </a:lnTo>
                  <a:lnTo>
                    <a:pt x="688" y="2903"/>
                  </a:lnTo>
                  <a:lnTo>
                    <a:pt x="699" y="2898"/>
                  </a:lnTo>
                  <a:lnTo>
                    <a:pt x="701" y="2896"/>
                  </a:lnTo>
                  <a:lnTo>
                    <a:pt x="702" y="2898"/>
                  </a:lnTo>
                  <a:lnTo>
                    <a:pt x="705" y="2900"/>
                  </a:lnTo>
                  <a:lnTo>
                    <a:pt x="706" y="2903"/>
                  </a:lnTo>
                  <a:lnTo>
                    <a:pt x="709" y="2911"/>
                  </a:lnTo>
                  <a:lnTo>
                    <a:pt x="710" y="2916"/>
                  </a:lnTo>
                  <a:lnTo>
                    <a:pt x="712" y="2917"/>
                  </a:lnTo>
                  <a:lnTo>
                    <a:pt x="713" y="2919"/>
                  </a:lnTo>
                  <a:lnTo>
                    <a:pt x="714" y="2920"/>
                  </a:lnTo>
                  <a:lnTo>
                    <a:pt x="716" y="2921"/>
                  </a:lnTo>
                  <a:lnTo>
                    <a:pt x="716" y="2924"/>
                  </a:lnTo>
                  <a:lnTo>
                    <a:pt x="717" y="2924"/>
                  </a:lnTo>
                  <a:lnTo>
                    <a:pt x="718" y="2925"/>
                  </a:lnTo>
                  <a:lnTo>
                    <a:pt x="718" y="2926"/>
                  </a:lnTo>
                  <a:lnTo>
                    <a:pt x="719" y="2929"/>
                  </a:lnTo>
                  <a:lnTo>
                    <a:pt x="722" y="2932"/>
                  </a:lnTo>
                  <a:lnTo>
                    <a:pt x="723" y="2933"/>
                  </a:lnTo>
                  <a:lnTo>
                    <a:pt x="725" y="2936"/>
                  </a:lnTo>
                  <a:lnTo>
                    <a:pt x="729" y="2937"/>
                  </a:lnTo>
                  <a:lnTo>
                    <a:pt x="733" y="2938"/>
                  </a:lnTo>
                  <a:lnTo>
                    <a:pt x="735" y="2942"/>
                  </a:lnTo>
                  <a:lnTo>
                    <a:pt x="739" y="2945"/>
                  </a:lnTo>
                  <a:lnTo>
                    <a:pt x="743" y="2946"/>
                  </a:lnTo>
                  <a:lnTo>
                    <a:pt x="747" y="2947"/>
                  </a:lnTo>
                  <a:lnTo>
                    <a:pt x="756" y="2946"/>
                  </a:lnTo>
                  <a:lnTo>
                    <a:pt x="767" y="2942"/>
                  </a:lnTo>
                  <a:lnTo>
                    <a:pt x="784" y="2933"/>
                  </a:lnTo>
                  <a:lnTo>
                    <a:pt x="794" y="2926"/>
                  </a:lnTo>
                  <a:lnTo>
                    <a:pt x="797" y="2925"/>
                  </a:lnTo>
                  <a:lnTo>
                    <a:pt x="798" y="2921"/>
                  </a:lnTo>
                  <a:lnTo>
                    <a:pt x="804" y="2912"/>
                  </a:lnTo>
                  <a:lnTo>
                    <a:pt x="810" y="2902"/>
                  </a:lnTo>
                  <a:lnTo>
                    <a:pt x="811" y="2900"/>
                  </a:lnTo>
                  <a:lnTo>
                    <a:pt x="814" y="2898"/>
                  </a:lnTo>
                  <a:lnTo>
                    <a:pt x="816" y="2896"/>
                  </a:lnTo>
                  <a:lnTo>
                    <a:pt x="819" y="2894"/>
                  </a:lnTo>
                  <a:lnTo>
                    <a:pt x="823" y="2891"/>
                  </a:lnTo>
                  <a:lnTo>
                    <a:pt x="828" y="2891"/>
                  </a:lnTo>
                  <a:lnTo>
                    <a:pt x="850" y="2885"/>
                  </a:lnTo>
                  <a:lnTo>
                    <a:pt x="893" y="2870"/>
                  </a:lnTo>
                  <a:lnTo>
                    <a:pt x="916" y="2861"/>
                  </a:lnTo>
                  <a:lnTo>
                    <a:pt x="934" y="2853"/>
                  </a:lnTo>
                  <a:lnTo>
                    <a:pt x="948" y="2847"/>
                  </a:lnTo>
                  <a:lnTo>
                    <a:pt x="955" y="2843"/>
                  </a:lnTo>
                  <a:lnTo>
                    <a:pt x="961" y="2836"/>
                  </a:lnTo>
                  <a:lnTo>
                    <a:pt x="968" y="2831"/>
                  </a:lnTo>
                  <a:lnTo>
                    <a:pt x="976" y="2827"/>
                  </a:lnTo>
                  <a:lnTo>
                    <a:pt x="984" y="2823"/>
                  </a:lnTo>
                  <a:lnTo>
                    <a:pt x="1001" y="2817"/>
                  </a:lnTo>
                  <a:lnTo>
                    <a:pt x="1016" y="2810"/>
                  </a:lnTo>
                  <a:lnTo>
                    <a:pt x="1024" y="2803"/>
                  </a:lnTo>
                  <a:lnTo>
                    <a:pt x="1031" y="2796"/>
                  </a:lnTo>
                  <a:lnTo>
                    <a:pt x="1039" y="2788"/>
                  </a:lnTo>
                  <a:lnTo>
                    <a:pt x="1044" y="2779"/>
                  </a:lnTo>
                  <a:lnTo>
                    <a:pt x="1054" y="2762"/>
                  </a:lnTo>
                  <a:lnTo>
                    <a:pt x="1058" y="2755"/>
                  </a:lnTo>
                  <a:lnTo>
                    <a:pt x="1049" y="2741"/>
                  </a:lnTo>
                  <a:lnTo>
                    <a:pt x="1040" y="2725"/>
                  </a:lnTo>
                  <a:lnTo>
                    <a:pt x="1032" y="2709"/>
                  </a:lnTo>
                  <a:lnTo>
                    <a:pt x="1026" y="2692"/>
                  </a:lnTo>
                  <a:lnTo>
                    <a:pt x="1024" y="2684"/>
                  </a:lnTo>
                  <a:lnTo>
                    <a:pt x="1023" y="2677"/>
                  </a:lnTo>
                  <a:lnTo>
                    <a:pt x="1022" y="2667"/>
                  </a:lnTo>
                  <a:lnTo>
                    <a:pt x="1022" y="2660"/>
                  </a:lnTo>
                  <a:lnTo>
                    <a:pt x="1023" y="2650"/>
                  </a:lnTo>
                  <a:lnTo>
                    <a:pt x="1024" y="2643"/>
                  </a:lnTo>
                  <a:lnTo>
                    <a:pt x="1028" y="2635"/>
                  </a:lnTo>
                  <a:lnTo>
                    <a:pt x="1032" y="2627"/>
                  </a:lnTo>
                  <a:lnTo>
                    <a:pt x="1039" y="2616"/>
                  </a:lnTo>
                  <a:lnTo>
                    <a:pt x="1046" y="2610"/>
                  </a:lnTo>
                  <a:lnTo>
                    <a:pt x="1054" y="2605"/>
                  </a:lnTo>
                  <a:lnTo>
                    <a:pt x="1062" y="2601"/>
                  </a:lnTo>
                  <a:lnTo>
                    <a:pt x="1070" y="2599"/>
                  </a:lnTo>
                  <a:lnTo>
                    <a:pt x="1078" y="2599"/>
                  </a:lnTo>
                  <a:lnTo>
                    <a:pt x="1087" y="2601"/>
                  </a:lnTo>
                  <a:lnTo>
                    <a:pt x="1095" y="2602"/>
                  </a:lnTo>
                  <a:lnTo>
                    <a:pt x="1112" y="2607"/>
                  </a:lnTo>
                  <a:lnTo>
                    <a:pt x="1128" y="2613"/>
                  </a:lnTo>
                  <a:lnTo>
                    <a:pt x="1135" y="2614"/>
                  </a:lnTo>
                  <a:lnTo>
                    <a:pt x="1142" y="2614"/>
                  </a:lnTo>
                  <a:lnTo>
                    <a:pt x="1150" y="2614"/>
                  </a:lnTo>
                  <a:lnTo>
                    <a:pt x="1156" y="2611"/>
                  </a:lnTo>
                  <a:lnTo>
                    <a:pt x="1162" y="2607"/>
                  </a:lnTo>
                  <a:lnTo>
                    <a:pt x="1167" y="2603"/>
                  </a:lnTo>
                  <a:lnTo>
                    <a:pt x="1172" y="2598"/>
                  </a:lnTo>
                  <a:lnTo>
                    <a:pt x="1176" y="2592"/>
                  </a:lnTo>
                  <a:lnTo>
                    <a:pt x="1185" y="2579"/>
                  </a:lnTo>
                  <a:lnTo>
                    <a:pt x="1194" y="2564"/>
                  </a:lnTo>
                  <a:lnTo>
                    <a:pt x="1206" y="2539"/>
                  </a:lnTo>
                  <a:lnTo>
                    <a:pt x="1211" y="2529"/>
                  </a:lnTo>
                  <a:lnTo>
                    <a:pt x="1218" y="2531"/>
                  </a:lnTo>
                  <a:lnTo>
                    <a:pt x="1223" y="2534"/>
                  </a:lnTo>
                  <a:lnTo>
                    <a:pt x="1227" y="2538"/>
                  </a:lnTo>
                  <a:lnTo>
                    <a:pt x="1231" y="2543"/>
                  </a:lnTo>
                  <a:lnTo>
                    <a:pt x="1236" y="2552"/>
                  </a:lnTo>
                  <a:lnTo>
                    <a:pt x="1240" y="2564"/>
                  </a:lnTo>
                  <a:lnTo>
                    <a:pt x="1241" y="2577"/>
                  </a:lnTo>
                  <a:lnTo>
                    <a:pt x="1243" y="2590"/>
                  </a:lnTo>
                  <a:lnTo>
                    <a:pt x="1243" y="2605"/>
                  </a:lnTo>
                  <a:lnTo>
                    <a:pt x="1241" y="2619"/>
                  </a:lnTo>
                  <a:lnTo>
                    <a:pt x="1240" y="2648"/>
                  </a:lnTo>
                  <a:lnTo>
                    <a:pt x="1240" y="2674"/>
                  </a:lnTo>
                  <a:lnTo>
                    <a:pt x="1243" y="2684"/>
                  </a:lnTo>
                  <a:lnTo>
                    <a:pt x="1247" y="2694"/>
                  </a:lnTo>
                  <a:lnTo>
                    <a:pt x="1249" y="2698"/>
                  </a:lnTo>
                  <a:lnTo>
                    <a:pt x="1253" y="2701"/>
                  </a:lnTo>
                  <a:lnTo>
                    <a:pt x="1257" y="2704"/>
                  </a:lnTo>
                  <a:lnTo>
                    <a:pt x="1262" y="2707"/>
                  </a:lnTo>
                  <a:lnTo>
                    <a:pt x="1267" y="2708"/>
                  </a:lnTo>
                  <a:lnTo>
                    <a:pt x="1273" y="2707"/>
                  </a:lnTo>
                  <a:lnTo>
                    <a:pt x="1281" y="2705"/>
                  </a:lnTo>
                  <a:lnTo>
                    <a:pt x="1288" y="2701"/>
                  </a:lnTo>
                  <a:lnTo>
                    <a:pt x="1305" y="2694"/>
                  </a:lnTo>
                  <a:lnTo>
                    <a:pt x="1326" y="2683"/>
                  </a:lnTo>
                  <a:lnTo>
                    <a:pt x="1347" y="2673"/>
                  </a:lnTo>
                  <a:lnTo>
                    <a:pt x="1370" y="2664"/>
                  </a:lnTo>
                  <a:lnTo>
                    <a:pt x="1380" y="2661"/>
                  </a:lnTo>
                  <a:lnTo>
                    <a:pt x="1390" y="2658"/>
                  </a:lnTo>
                  <a:lnTo>
                    <a:pt x="1402" y="2657"/>
                  </a:lnTo>
                  <a:lnTo>
                    <a:pt x="1411" y="2657"/>
                  </a:lnTo>
                  <a:lnTo>
                    <a:pt x="1422" y="2660"/>
                  </a:lnTo>
                  <a:lnTo>
                    <a:pt x="1431" y="2664"/>
                  </a:lnTo>
                  <a:lnTo>
                    <a:pt x="1441" y="2669"/>
                  </a:lnTo>
                  <a:lnTo>
                    <a:pt x="1453" y="2675"/>
                  </a:lnTo>
                  <a:lnTo>
                    <a:pt x="1475" y="2694"/>
                  </a:lnTo>
                  <a:lnTo>
                    <a:pt x="1498" y="2713"/>
                  </a:lnTo>
                  <a:lnTo>
                    <a:pt x="1519" y="2735"/>
                  </a:lnTo>
                  <a:lnTo>
                    <a:pt x="1537" y="2756"/>
                  </a:lnTo>
                  <a:lnTo>
                    <a:pt x="1554" y="2776"/>
                  </a:lnTo>
                  <a:lnTo>
                    <a:pt x="1566" y="2790"/>
                  </a:lnTo>
                  <a:lnTo>
                    <a:pt x="1567" y="2796"/>
                  </a:lnTo>
                  <a:lnTo>
                    <a:pt x="1568" y="2801"/>
                  </a:lnTo>
                  <a:lnTo>
                    <a:pt x="1568" y="2806"/>
                  </a:lnTo>
                  <a:lnTo>
                    <a:pt x="1568" y="2813"/>
                  </a:lnTo>
                  <a:lnTo>
                    <a:pt x="1563" y="2826"/>
                  </a:lnTo>
                  <a:lnTo>
                    <a:pt x="1555" y="2839"/>
                  </a:lnTo>
                  <a:lnTo>
                    <a:pt x="1537" y="2865"/>
                  </a:lnTo>
                  <a:lnTo>
                    <a:pt x="1519" y="2886"/>
                  </a:lnTo>
                  <a:lnTo>
                    <a:pt x="1515" y="2891"/>
                  </a:lnTo>
                  <a:lnTo>
                    <a:pt x="1511" y="2898"/>
                  </a:lnTo>
                  <a:lnTo>
                    <a:pt x="1508" y="2906"/>
                  </a:lnTo>
                  <a:lnTo>
                    <a:pt x="1506" y="2913"/>
                  </a:lnTo>
                  <a:lnTo>
                    <a:pt x="1502" y="2932"/>
                  </a:lnTo>
                  <a:lnTo>
                    <a:pt x="1499" y="2951"/>
                  </a:lnTo>
                  <a:lnTo>
                    <a:pt x="1496" y="2971"/>
                  </a:lnTo>
                  <a:lnTo>
                    <a:pt x="1495" y="2991"/>
                  </a:lnTo>
                  <a:lnTo>
                    <a:pt x="1491" y="3009"/>
                  </a:lnTo>
                  <a:lnTo>
                    <a:pt x="1486" y="3026"/>
                  </a:lnTo>
                  <a:lnTo>
                    <a:pt x="1482" y="3030"/>
                  </a:lnTo>
                  <a:lnTo>
                    <a:pt x="1479" y="3035"/>
                  </a:lnTo>
                  <a:lnTo>
                    <a:pt x="1478" y="3036"/>
                  </a:lnTo>
                  <a:lnTo>
                    <a:pt x="1477" y="3044"/>
                  </a:lnTo>
                  <a:lnTo>
                    <a:pt x="1478" y="3052"/>
                  </a:lnTo>
                  <a:lnTo>
                    <a:pt x="1479" y="3055"/>
                  </a:lnTo>
                  <a:lnTo>
                    <a:pt x="1481" y="3057"/>
                  </a:lnTo>
                  <a:lnTo>
                    <a:pt x="1481" y="3060"/>
                  </a:lnTo>
                  <a:lnTo>
                    <a:pt x="1481" y="3062"/>
                  </a:lnTo>
                  <a:lnTo>
                    <a:pt x="1481" y="3065"/>
                  </a:lnTo>
                  <a:lnTo>
                    <a:pt x="1482" y="3066"/>
                  </a:lnTo>
                  <a:lnTo>
                    <a:pt x="1482" y="3068"/>
                  </a:lnTo>
                  <a:lnTo>
                    <a:pt x="1482" y="3069"/>
                  </a:lnTo>
                  <a:lnTo>
                    <a:pt x="1483" y="3069"/>
                  </a:lnTo>
                  <a:lnTo>
                    <a:pt x="1483" y="3072"/>
                  </a:lnTo>
                  <a:lnTo>
                    <a:pt x="1483" y="3073"/>
                  </a:lnTo>
                  <a:lnTo>
                    <a:pt x="1483" y="3076"/>
                  </a:lnTo>
                  <a:lnTo>
                    <a:pt x="1485" y="3077"/>
                  </a:lnTo>
                  <a:lnTo>
                    <a:pt x="1485" y="3087"/>
                  </a:lnTo>
                  <a:lnTo>
                    <a:pt x="1485" y="3098"/>
                  </a:lnTo>
                  <a:lnTo>
                    <a:pt x="1483" y="3104"/>
                  </a:lnTo>
                  <a:lnTo>
                    <a:pt x="1482" y="3110"/>
                  </a:lnTo>
                  <a:lnTo>
                    <a:pt x="1481" y="3111"/>
                  </a:lnTo>
                  <a:lnTo>
                    <a:pt x="1479" y="3112"/>
                  </a:lnTo>
                  <a:lnTo>
                    <a:pt x="1477" y="3114"/>
                  </a:lnTo>
                  <a:lnTo>
                    <a:pt x="1474" y="3116"/>
                  </a:lnTo>
                  <a:lnTo>
                    <a:pt x="1469" y="3121"/>
                  </a:lnTo>
                  <a:lnTo>
                    <a:pt x="1465" y="3127"/>
                  </a:lnTo>
                  <a:lnTo>
                    <a:pt x="1462" y="3131"/>
                  </a:lnTo>
                  <a:lnTo>
                    <a:pt x="1462" y="3133"/>
                  </a:lnTo>
                  <a:lnTo>
                    <a:pt x="1464" y="3134"/>
                  </a:lnTo>
                  <a:lnTo>
                    <a:pt x="1465" y="3137"/>
                  </a:lnTo>
                  <a:lnTo>
                    <a:pt x="1466" y="3138"/>
                  </a:lnTo>
                  <a:lnTo>
                    <a:pt x="1469" y="3138"/>
                  </a:lnTo>
                  <a:lnTo>
                    <a:pt x="1469" y="3140"/>
                  </a:lnTo>
                  <a:lnTo>
                    <a:pt x="1470" y="3141"/>
                  </a:lnTo>
                  <a:lnTo>
                    <a:pt x="1473" y="3144"/>
                  </a:lnTo>
                  <a:lnTo>
                    <a:pt x="1475" y="3148"/>
                  </a:lnTo>
                  <a:lnTo>
                    <a:pt x="1478" y="3149"/>
                  </a:lnTo>
                  <a:lnTo>
                    <a:pt x="1479" y="3150"/>
                  </a:lnTo>
                  <a:lnTo>
                    <a:pt x="1482" y="3154"/>
                  </a:lnTo>
                  <a:lnTo>
                    <a:pt x="1483" y="3158"/>
                  </a:lnTo>
                  <a:lnTo>
                    <a:pt x="1486" y="3161"/>
                  </a:lnTo>
                  <a:lnTo>
                    <a:pt x="1487" y="3163"/>
                  </a:lnTo>
                  <a:lnTo>
                    <a:pt x="1489" y="3180"/>
                  </a:lnTo>
                  <a:lnTo>
                    <a:pt x="1491" y="3197"/>
                  </a:lnTo>
                  <a:lnTo>
                    <a:pt x="1492" y="3214"/>
                  </a:lnTo>
                  <a:lnTo>
                    <a:pt x="1491" y="3230"/>
                  </a:lnTo>
                  <a:lnTo>
                    <a:pt x="1490" y="3244"/>
                  </a:lnTo>
                  <a:lnTo>
                    <a:pt x="1491" y="3259"/>
                  </a:lnTo>
                  <a:lnTo>
                    <a:pt x="1491" y="3260"/>
                  </a:lnTo>
                  <a:lnTo>
                    <a:pt x="1492" y="3261"/>
                  </a:lnTo>
                  <a:lnTo>
                    <a:pt x="1492" y="3263"/>
                  </a:lnTo>
                  <a:lnTo>
                    <a:pt x="1494" y="3264"/>
                  </a:lnTo>
                  <a:lnTo>
                    <a:pt x="1496" y="3267"/>
                  </a:lnTo>
                  <a:lnTo>
                    <a:pt x="1502" y="3270"/>
                  </a:lnTo>
                  <a:lnTo>
                    <a:pt x="1507" y="3273"/>
                  </a:lnTo>
                  <a:lnTo>
                    <a:pt x="1507" y="3274"/>
                  </a:lnTo>
                  <a:lnTo>
                    <a:pt x="1508" y="3276"/>
                  </a:lnTo>
                  <a:lnTo>
                    <a:pt x="1511" y="3277"/>
                  </a:lnTo>
                  <a:lnTo>
                    <a:pt x="1513" y="3278"/>
                  </a:lnTo>
                  <a:lnTo>
                    <a:pt x="1515" y="3280"/>
                  </a:lnTo>
                  <a:lnTo>
                    <a:pt x="1516" y="3281"/>
                  </a:lnTo>
                  <a:lnTo>
                    <a:pt x="1517" y="3282"/>
                  </a:lnTo>
                  <a:lnTo>
                    <a:pt x="1519" y="3282"/>
                  </a:lnTo>
                  <a:lnTo>
                    <a:pt x="1519" y="3284"/>
                  </a:lnTo>
                  <a:lnTo>
                    <a:pt x="1520" y="3285"/>
                  </a:lnTo>
                  <a:lnTo>
                    <a:pt x="1524" y="3290"/>
                  </a:lnTo>
                  <a:lnTo>
                    <a:pt x="1528" y="3295"/>
                  </a:lnTo>
                  <a:lnTo>
                    <a:pt x="1529" y="3297"/>
                  </a:lnTo>
                  <a:lnTo>
                    <a:pt x="1529" y="3299"/>
                  </a:lnTo>
                  <a:lnTo>
                    <a:pt x="1532" y="3301"/>
                  </a:lnTo>
                  <a:lnTo>
                    <a:pt x="1533" y="3303"/>
                  </a:lnTo>
                  <a:lnTo>
                    <a:pt x="1534" y="3306"/>
                  </a:lnTo>
                  <a:lnTo>
                    <a:pt x="1534" y="3307"/>
                  </a:lnTo>
                  <a:lnTo>
                    <a:pt x="1536" y="3308"/>
                  </a:lnTo>
                  <a:lnTo>
                    <a:pt x="1540" y="3316"/>
                  </a:lnTo>
                  <a:lnTo>
                    <a:pt x="1543" y="3323"/>
                  </a:lnTo>
                  <a:lnTo>
                    <a:pt x="1545" y="3324"/>
                  </a:lnTo>
                  <a:lnTo>
                    <a:pt x="1546" y="3325"/>
                  </a:lnTo>
                  <a:lnTo>
                    <a:pt x="1549" y="3328"/>
                  </a:lnTo>
                  <a:lnTo>
                    <a:pt x="1551" y="3332"/>
                  </a:lnTo>
                  <a:lnTo>
                    <a:pt x="1551" y="3354"/>
                  </a:lnTo>
                  <a:lnTo>
                    <a:pt x="1551" y="3357"/>
                  </a:lnTo>
                  <a:lnTo>
                    <a:pt x="1554" y="3359"/>
                  </a:lnTo>
                  <a:lnTo>
                    <a:pt x="1557" y="3362"/>
                  </a:lnTo>
                  <a:lnTo>
                    <a:pt x="1560" y="3363"/>
                  </a:lnTo>
                  <a:lnTo>
                    <a:pt x="1560" y="3365"/>
                  </a:lnTo>
                  <a:lnTo>
                    <a:pt x="1562" y="3366"/>
                  </a:lnTo>
                  <a:lnTo>
                    <a:pt x="1563" y="3367"/>
                  </a:lnTo>
                  <a:lnTo>
                    <a:pt x="1566" y="3369"/>
                  </a:lnTo>
                  <a:lnTo>
                    <a:pt x="1572" y="3370"/>
                  </a:lnTo>
                  <a:lnTo>
                    <a:pt x="1579" y="3373"/>
                  </a:lnTo>
                  <a:lnTo>
                    <a:pt x="1579" y="3374"/>
                  </a:lnTo>
                  <a:lnTo>
                    <a:pt x="1580" y="3376"/>
                  </a:lnTo>
                  <a:lnTo>
                    <a:pt x="1581" y="3378"/>
                  </a:lnTo>
                  <a:lnTo>
                    <a:pt x="1583" y="3383"/>
                  </a:lnTo>
                  <a:lnTo>
                    <a:pt x="1584" y="3387"/>
                  </a:lnTo>
                  <a:lnTo>
                    <a:pt x="1585" y="3400"/>
                  </a:lnTo>
                  <a:lnTo>
                    <a:pt x="1587" y="3414"/>
                  </a:lnTo>
                  <a:lnTo>
                    <a:pt x="1588" y="3416"/>
                  </a:lnTo>
                  <a:lnTo>
                    <a:pt x="1589" y="3416"/>
                  </a:lnTo>
                  <a:lnTo>
                    <a:pt x="1589" y="3418"/>
                  </a:lnTo>
                  <a:lnTo>
                    <a:pt x="1591" y="3418"/>
                  </a:lnTo>
                  <a:lnTo>
                    <a:pt x="1592" y="3420"/>
                  </a:lnTo>
                  <a:lnTo>
                    <a:pt x="1592" y="3421"/>
                  </a:lnTo>
                  <a:lnTo>
                    <a:pt x="1592" y="3422"/>
                  </a:lnTo>
                  <a:lnTo>
                    <a:pt x="1593" y="3424"/>
                  </a:lnTo>
                  <a:lnTo>
                    <a:pt x="1594" y="3425"/>
                  </a:lnTo>
                  <a:lnTo>
                    <a:pt x="1597" y="3425"/>
                  </a:lnTo>
                  <a:lnTo>
                    <a:pt x="1597" y="3426"/>
                  </a:lnTo>
                  <a:lnTo>
                    <a:pt x="1598" y="3427"/>
                  </a:lnTo>
                  <a:lnTo>
                    <a:pt x="1600" y="3427"/>
                  </a:lnTo>
                  <a:lnTo>
                    <a:pt x="1602" y="3427"/>
                  </a:lnTo>
                  <a:lnTo>
                    <a:pt x="1605" y="3430"/>
                  </a:lnTo>
                  <a:lnTo>
                    <a:pt x="1606" y="3430"/>
                  </a:lnTo>
                  <a:lnTo>
                    <a:pt x="1608" y="3431"/>
                  </a:lnTo>
                  <a:lnTo>
                    <a:pt x="1609" y="3431"/>
                  </a:lnTo>
                  <a:lnTo>
                    <a:pt x="1613" y="3433"/>
                  </a:lnTo>
                  <a:lnTo>
                    <a:pt x="1615" y="3435"/>
                  </a:lnTo>
                  <a:lnTo>
                    <a:pt x="1617" y="3437"/>
                  </a:lnTo>
                  <a:lnTo>
                    <a:pt x="1619" y="3438"/>
                  </a:lnTo>
                  <a:lnTo>
                    <a:pt x="1623" y="3438"/>
                  </a:lnTo>
                  <a:lnTo>
                    <a:pt x="1627" y="3438"/>
                  </a:lnTo>
                  <a:lnTo>
                    <a:pt x="1636" y="3438"/>
                  </a:lnTo>
                  <a:lnTo>
                    <a:pt x="1648" y="3435"/>
                  </a:lnTo>
                  <a:lnTo>
                    <a:pt x="1669" y="3430"/>
                  </a:lnTo>
                  <a:lnTo>
                    <a:pt x="1681" y="3426"/>
                  </a:lnTo>
                  <a:lnTo>
                    <a:pt x="1689" y="3426"/>
                  </a:lnTo>
                  <a:lnTo>
                    <a:pt x="1697" y="3427"/>
                  </a:lnTo>
                  <a:lnTo>
                    <a:pt x="1698" y="3429"/>
                  </a:lnTo>
                  <a:lnTo>
                    <a:pt x="1700" y="3429"/>
                  </a:lnTo>
                  <a:lnTo>
                    <a:pt x="1714" y="3435"/>
                  </a:lnTo>
                  <a:lnTo>
                    <a:pt x="1728" y="3442"/>
                  </a:lnTo>
                  <a:lnTo>
                    <a:pt x="1731" y="3442"/>
                  </a:lnTo>
                  <a:lnTo>
                    <a:pt x="1732" y="3442"/>
                  </a:lnTo>
                  <a:lnTo>
                    <a:pt x="1733" y="3443"/>
                  </a:lnTo>
                  <a:lnTo>
                    <a:pt x="1734" y="3444"/>
                  </a:lnTo>
                  <a:lnTo>
                    <a:pt x="1736" y="3444"/>
                  </a:lnTo>
                  <a:lnTo>
                    <a:pt x="1737" y="3444"/>
                  </a:lnTo>
                  <a:lnTo>
                    <a:pt x="1740" y="3446"/>
                  </a:lnTo>
                  <a:lnTo>
                    <a:pt x="1742" y="3448"/>
                  </a:lnTo>
                  <a:lnTo>
                    <a:pt x="1744" y="3450"/>
                  </a:lnTo>
                  <a:lnTo>
                    <a:pt x="1745" y="3451"/>
                  </a:lnTo>
                  <a:lnTo>
                    <a:pt x="1745" y="3452"/>
                  </a:lnTo>
                  <a:lnTo>
                    <a:pt x="1745" y="3454"/>
                  </a:lnTo>
                  <a:lnTo>
                    <a:pt x="1746" y="3468"/>
                  </a:lnTo>
                  <a:lnTo>
                    <a:pt x="1748" y="3485"/>
                  </a:lnTo>
                  <a:lnTo>
                    <a:pt x="1748" y="3488"/>
                  </a:lnTo>
                  <a:lnTo>
                    <a:pt x="1749" y="3489"/>
                  </a:lnTo>
                  <a:lnTo>
                    <a:pt x="1751" y="3492"/>
                  </a:lnTo>
                  <a:lnTo>
                    <a:pt x="1753" y="3493"/>
                  </a:lnTo>
                  <a:lnTo>
                    <a:pt x="1754" y="3494"/>
                  </a:lnTo>
                  <a:lnTo>
                    <a:pt x="1754" y="3497"/>
                  </a:lnTo>
                  <a:lnTo>
                    <a:pt x="1757" y="3498"/>
                  </a:lnTo>
                  <a:lnTo>
                    <a:pt x="1759" y="3499"/>
                  </a:lnTo>
                  <a:lnTo>
                    <a:pt x="1761" y="3506"/>
                  </a:lnTo>
                  <a:lnTo>
                    <a:pt x="1763" y="3511"/>
                  </a:lnTo>
                  <a:lnTo>
                    <a:pt x="1766" y="3518"/>
                  </a:lnTo>
                  <a:lnTo>
                    <a:pt x="1768" y="3527"/>
                  </a:lnTo>
                  <a:lnTo>
                    <a:pt x="1770" y="3537"/>
                  </a:lnTo>
                  <a:lnTo>
                    <a:pt x="1770" y="3544"/>
                  </a:lnTo>
                  <a:lnTo>
                    <a:pt x="1767" y="3557"/>
                  </a:lnTo>
                  <a:lnTo>
                    <a:pt x="1766" y="3573"/>
                  </a:lnTo>
                  <a:lnTo>
                    <a:pt x="1765" y="3588"/>
                  </a:lnTo>
                  <a:lnTo>
                    <a:pt x="1763" y="3601"/>
                  </a:lnTo>
                  <a:lnTo>
                    <a:pt x="1763" y="3607"/>
                  </a:lnTo>
                  <a:lnTo>
                    <a:pt x="1761" y="3613"/>
                  </a:lnTo>
                  <a:lnTo>
                    <a:pt x="1761" y="3615"/>
                  </a:lnTo>
                  <a:lnTo>
                    <a:pt x="1759" y="3618"/>
                  </a:lnTo>
                  <a:lnTo>
                    <a:pt x="1759" y="3620"/>
                  </a:lnTo>
                  <a:lnTo>
                    <a:pt x="1758" y="3637"/>
                  </a:lnTo>
                  <a:lnTo>
                    <a:pt x="1755" y="3655"/>
                  </a:lnTo>
                  <a:lnTo>
                    <a:pt x="1753" y="3659"/>
                  </a:lnTo>
                  <a:lnTo>
                    <a:pt x="1753" y="3667"/>
                  </a:lnTo>
                  <a:lnTo>
                    <a:pt x="1754" y="3677"/>
                  </a:lnTo>
                  <a:lnTo>
                    <a:pt x="1757" y="3688"/>
                  </a:lnTo>
                  <a:lnTo>
                    <a:pt x="1762" y="3707"/>
                  </a:lnTo>
                  <a:lnTo>
                    <a:pt x="1766" y="3718"/>
                  </a:lnTo>
                  <a:lnTo>
                    <a:pt x="1766" y="3719"/>
                  </a:lnTo>
                  <a:lnTo>
                    <a:pt x="1768" y="3720"/>
                  </a:lnTo>
                  <a:lnTo>
                    <a:pt x="1768" y="3723"/>
                  </a:lnTo>
                  <a:lnTo>
                    <a:pt x="1770" y="3724"/>
                  </a:lnTo>
                  <a:lnTo>
                    <a:pt x="1770" y="3726"/>
                  </a:lnTo>
                  <a:lnTo>
                    <a:pt x="1771" y="3727"/>
                  </a:lnTo>
                  <a:lnTo>
                    <a:pt x="1776" y="3735"/>
                  </a:lnTo>
                  <a:lnTo>
                    <a:pt x="1780" y="3743"/>
                  </a:lnTo>
                  <a:lnTo>
                    <a:pt x="1782" y="3745"/>
                  </a:lnTo>
                  <a:lnTo>
                    <a:pt x="1783" y="3748"/>
                  </a:lnTo>
                  <a:lnTo>
                    <a:pt x="1784" y="3748"/>
                  </a:lnTo>
                  <a:lnTo>
                    <a:pt x="1785" y="3749"/>
                  </a:lnTo>
                  <a:lnTo>
                    <a:pt x="1785" y="3751"/>
                  </a:lnTo>
                  <a:lnTo>
                    <a:pt x="1785" y="3753"/>
                  </a:lnTo>
                  <a:lnTo>
                    <a:pt x="1788" y="3758"/>
                  </a:lnTo>
                  <a:lnTo>
                    <a:pt x="1791" y="3765"/>
                  </a:lnTo>
                  <a:lnTo>
                    <a:pt x="1793" y="3770"/>
                  </a:lnTo>
                  <a:lnTo>
                    <a:pt x="1796" y="3775"/>
                  </a:lnTo>
                  <a:lnTo>
                    <a:pt x="1800" y="3781"/>
                  </a:lnTo>
                  <a:lnTo>
                    <a:pt x="1801" y="3786"/>
                  </a:lnTo>
                  <a:lnTo>
                    <a:pt x="1801" y="3787"/>
                  </a:lnTo>
                  <a:lnTo>
                    <a:pt x="1801" y="3790"/>
                  </a:lnTo>
                  <a:lnTo>
                    <a:pt x="1802" y="3794"/>
                  </a:lnTo>
                  <a:lnTo>
                    <a:pt x="1804" y="3798"/>
                  </a:lnTo>
                  <a:lnTo>
                    <a:pt x="1805" y="3803"/>
                  </a:lnTo>
                  <a:lnTo>
                    <a:pt x="1806" y="3811"/>
                  </a:lnTo>
                  <a:lnTo>
                    <a:pt x="1806" y="3817"/>
                  </a:lnTo>
                  <a:lnTo>
                    <a:pt x="1805" y="3817"/>
                  </a:lnTo>
                  <a:lnTo>
                    <a:pt x="1805" y="3819"/>
                  </a:lnTo>
                  <a:lnTo>
                    <a:pt x="1805" y="3820"/>
                  </a:lnTo>
                  <a:lnTo>
                    <a:pt x="1804" y="3820"/>
                  </a:lnTo>
                  <a:lnTo>
                    <a:pt x="1802" y="3821"/>
                  </a:lnTo>
                  <a:lnTo>
                    <a:pt x="1801" y="3822"/>
                  </a:lnTo>
                  <a:lnTo>
                    <a:pt x="1792" y="3828"/>
                  </a:lnTo>
                  <a:lnTo>
                    <a:pt x="1782" y="3832"/>
                  </a:lnTo>
                  <a:lnTo>
                    <a:pt x="1778" y="3832"/>
                  </a:lnTo>
                  <a:lnTo>
                    <a:pt x="1774" y="3834"/>
                  </a:lnTo>
                  <a:lnTo>
                    <a:pt x="1772" y="3834"/>
                  </a:lnTo>
                  <a:lnTo>
                    <a:pt x="1771" y="3836"/>
                  </a:lnTo>
                  <a:lnTo>
                    <a:pt x="1767" y="3838"/>
                  </a:lnTo>
                  <a:lnTo>
                    <a:pt x="1765" y="3839"/>
                  </a:lnTo>
                  <a:lnTo>
                    <a:pt x="1763" y="3841"/>
                  </a:lnTo>
                  <a:lnTo>
                    <a:pt x="1762" y="3842"/>
                  </a:lnTo>
                  <a:lnTo>
                    <a:pt x="1762" y="3843"/>
                  </a:lnTo>
                  <a:lnTo>
                    <a:pt x="1761" y="3843"/>
                  </a:lnTo>
                  <a:lnTo>
                    <a:pt x="1759" y="3845"/>
                  </a:lnTo>
                  <a:lnTo>
                    <a:pt x="1759" y="3846"/>
                  </a:lnTo>
                  <a:lnTo>
                    <a:pt x="1758" y="3849"/>
                  </a:lnTo>
                  <a:lnTo>
                    <a:pt x="1757" y="3850"/>
                  </a:lnTo>
                  <a:lnTo>
                    <a:pt x="1755" y="3856"/>
                  </a:lnTo>
                  <a:lnTo>
                    <a:pt x="1755" y="3863"/>
                  </a:lnTo>
                  <a:lnTo>
                    <a:pt x="1757" y="3864"/>
                  </a:lnTo>
                  <a:lnTo>
                    <a:pt x="1757" y="3866"/>
                  </a:lnTo>
                  <a:lnTo>
                    <a:pt x="1758" y="3866"/>
                  </a:lnTo>
                  <a:lnTo>
                    <a:pt x="1759" y="3866"/>
                  </a:lnTo>
                  <a:lnTo>
                    <a:pt x="1759" y="3867"/>
                  </a:lnTo>
                  <a:lnTo>
                    <a:pt x="1759" y="3868"/>
                  </a:lnTo>
                  <a:lnTo>
                    <a:pt x="1761" y="3870"/>
                  </a:lnTo>
                  <a:lnTo>
                    <a:pt x="1761" y="3871"/>
                  </a:lnTo>
                  <a:lnTo>
                    <a:pt x="1762" y="3872"/>
                  </a:lnTo>
                  <a:lnTo>
                    <a:pt x="1763" y="3872"/>
                  </a:lnTo>
                  <a:lnTo>
                    <a:pt x="1765" y="3872"/>
                  </a:lnTo>
                  <a:lnTo>
                    <a:pt x="1765" y="3874"/>
                  </a:lnTo>
                  <a:lnTo>
                    <a:pt x="1766" y="3875"/>
                  </a:lnTo>
                  <a:lnTo>
                    <a:pt x="1767" y="3876"/>
                  </a:lnTo>
                  <a:lnTo>
                    <a:pt x="1768" y="3877"/>
                  </a:lnTo>
                  <a:lnTo>
                    <a:pt x="1771" y="3880"/>
                  </a:lnTo>
                  <a:lnTo>
                    <a:pt x="1772" y="3884"/>
                  </a:lnTo>
                  <a:lnTo>
                    <a:pt x="1774" y="3884"/>
                  </a:lnTo>
                  <a:lnTo>
                    <a:pt x="1775" y="3888"/>
                  </a:lnTo>
                  <a:lnTo>
                    <a:pt x="1775" y="3892"/>
                  </a:lnTo>
                  <a:lnTo>
                    <a:pt x="1776" y="3894"/>
                  </a:lnTo>
                  <a:lnTo>
                    <a:pt x="1776" y="3896"/>
                  </a:lnTo>
                  <a:lnTo>
                    <a:pt x="1775" y="3898"/>
                  </a:lnTo>
                  <a:lnTo>
                    <a:pt x="1772" y="3901"/>
                  </a:lnTo>
                  <a:lnTo>
                    <a:pt x="1772" y="3902"/>
                  </a:lnTo>
                  <a:lnTo>
                    <a:pt x="1771" y="3905"/>
                  </a:lnTo>
                  <a:lnTo>
                    <a:pt x="1770" y="3906"/>
                  </a:lnTo>
                  <a:lnTo>
                    <a:pt x="1768" y="3909"/>
                  </a:lnTo>
                  <a:lnTo>
                    <a:pt x="1768" y="3910"/>
                  </a:lnTo>
                  <a:lnTo>
                    <a:pt x="1767" y="3914"/>
                  </a:lnTo>
                  <a:lnTo>
                    <a:pt x="1766" y="3917"/>
                  </a:lnTo>
                  <a:lnTo>
                    <a:pt x="1763" y="3918"/>
                  </a:lnTo>
                  <a:lnTo>
                    <a:pt x="1762" y="3921"/>
                  </a:lnTo>
                  <a:lnTo>
                    <a:pt x="1761" y="3925"/>
                  </a:lnTo>
                  <a:lnTo>
                    <a:pt x="1761" y="3930"/>
                  </a:lnTo>
                  <a:lnTo>
                    <a:pt x="1759" y="3942"/>
                  </a:lnTo>
                  <a:lnTo>
                    <a:pt x="1759" y="3953"/>
                  </a:lnTo>
                  <a:lnTo>
                    <a:pt x="1762" y="3977"/>
                  </a:lnTo>
                  <a:lnTo>
                    <a:pt x="1765" y="3989"/>
                  </a:lnTo>
                  <a:lnTo>
                    <a:pt x="1768" y="4002"/>
                  </a:lnTo>
                  <a:lnTo>
                    <a:pt x="1772" y="4013"/>
                  </a:lnTo>
                  <a:lnTo>
                    <a:pt x="1774" y="4016"/>
                  </a:lnTo>
                  <a:lnTo>
                    <a:pt x="1774" y="4020"/>
                  </a:lnTo>
                  <a:lnTo>
                    <a:pt x="1776" y="4024"/>
                  </a:lnTo>
                  <a:lnTo>
                    <a:pt x="1778" y="4029"/>
                  </a:lnTo>
                  <a:lnTo>
                    <a:pt x="1779" y="4030"/>
                  </a:lnTo>
                  <a:lnTo>
                    <a:pt x="1780" y="4032"/>
                  </a:lnTo>
                  <a:lnTo>
                    <a:pt x="1782" y="4037"/>
                  </a:lnTo>
                  <a:lnTo>
                    <a:pt x="1782" y="4040"/>
                  </a:lnTo>
                  <a:lnTo>
                    <a:pt x="1782" y="4044"/>
                  </a:lnTo>
                  <a:lnTo>
                    <a:pt x="1780" y="4049"/>
                  </a:lnTo>
                  <a:lnTo>
                    <a:pt x="1779" y="4049"/>
                  </a:lnTo>
                  <a:lnTo>
                    <a:pt x="1778" y="4049"/>
                  </a:lnTo>
                  <a:lnTo>
                    <a:pt x="1778" y="4051"/>
                  </a:lnTo>
                  <a:lnTo>
                    <a:pt x="1778" y="4053"/>
                  </a:lnTo>
                  <a:lnTo>
                    <a:pt x="1776" y="4054"/>
                  </a:lnTo>
                  <a:lnTo>
                    <a:pt x="1775" y="4055"/>
                  </a:lnTo>
                  <a:lnTo>
                    <a:pt x="1775" y="4058"/>
                  </a:lnTo>
                  <a:lnTo>
                    <a:pt x="1774" y="4059"/>
                  </a:lnTo>
                  <a:lnTo>
                    <a:pt x="1774" y="4062"/>
                  </a:lnTo>
                  <a:lnTo>
                    <a:pt x="1772" y="4064"/>
                  </a:lnTo>
                  <a:lnTo>
                    <a:pt x="1772" y="4066"/>
                  </a:lnTo>
                  <a:lnTo>
                    <a:pt x="1771" y="4067"/>
                  </a:lnTo>
                  <a:lnTo>
                    <a:pt x="1771" y="4068"/>
                  </a:lnTo>
                  <a:lnTo>
                    <a:pt x="1771" y="4070"/>
                  </a:lnTo>
                  <a:lnTo>
                    <a:pt x="1770" y="4083"/>
                  </a:lnTo>
                  <a:lnTo>
                    <a:pt x="1770" y="4097"/>
                  </a:lnTo>
                  <a:lnTo>
                    <a:pt x="1770" y="4101"/>
                  </a:lnTo>
                  <a:lnTo>
                    <a:pt x="1770" y="4108"/>
                  </a:lnTo>
                  <a:lnTo>
                    <a:pt x="1770" y="4115"/>
                  </a:lnTo>
                  <a:lnTo>
                    <a:pt x="1768" y="4122"/>
                  </a:lnTo>
                  <a:lnTo>
                    <a:pt x="1766" y="4130"/>
                  </a:lnTo>
                  <a:lnTo>
                    <a:pt x="1763" y="4138"/>
                  </a:lnTo>
                  <a:lnTo>
                    <a:pt x="1758" y="4151"/>
                  </a:lnTo>
                  <a:lnTo>
                    <a:pt x="1754" y="4163"/>
                  </a:lnTo>
                  <a:lnTo>
                    <a:pt x="1753" y="4164"/>
                  </a:lnTo>
                  <a:lnTo>
                    <a:pt x="1751" y="4165"/>
                  </a:lnTo>
                  <a:lnTo>
                    <a:pt x="1748" y="4168"/>
                  </a:lnTo>
                  <a:lnTo>
                    <a:pt x="1745" y="4172"/>
                  </a:lnTo>
                  <a:lnTo>
                    <a:pt x="1745" y="4173"/>
                  </a:lnTo>
                  <a:lnTo>
                    <a:pt x="1742" y="4174"/>
                  </a:lnTo>
                  <a:lnTo>
                    <a:pt x="1741" y="4176"/>
                  </a:lnTo>
                  <a:lnTo>
                    <a:pt x="1734" y="4180"/>
                  </a:lnTo>
                  <a:lnTo>
                    <a:pt x="1727" y="4184"/>
                  </a:lnTo>
                  <a:lnTo>
                    <a:pt x="1720" y="4187"/>
                  </a:lnTo>
                  <a:lnTo>
                    <a:pt x="1714" y="4191"/>
                  </a:lnTo>
                  <a:lnTo>
                    <a:pt x="1712" y="4193"/>
                  </a:lnTo>
                  <a:lnTo>
                    <a:pt x="1710" y="4193"/>
                  </a:lnTo>
                  <a:lnTo>
                    <a:pt x="1708" y="4193"/>
                  </a:lnTo>
                  <a:lnTo>
                    <a:pt x="1708" y="4194"/>
                  </a:lnTo>
                  <a:lnTo>
                    <a:pt x="1706" y="4198"/>
                  </a:lnTo>
                  <a:lnTo>
                    <a:pt x="1702" y="4203"/>
                  </a:lnTo>
                  <a:lnTo>
                    <a:pt x="1700" y="4203"/>
                  </a:lnTo>
                  <a:lnTo>
                    <a:pt x="1700" y="4204"/>
                  </a:lnTo>
                  <a:lnTo>
                    <a:pt x="1699" y="4204"/>
                  </a:lnTo>
                  <a:lnTo>
                    <a:pt x="1698" y="4204"/>
                  </a:lnTo>
                  <a:lnTo>
                    <a:pt x="1697" y="4206"/>
                  </a:lnTo>
                  <a:lnTo>
                    <a:pt x="1695" y="4207"/>
                  </a:lnTo>
                  <a:lnTo>
                    <a:pt x="1694" y="4210"/>
                  </a:lnTo>
                  <a:lnTo>
                    <a:pt x="1693" y="4210"/>
                  </a:lnTo>
                  <a:lnTo>
                    <a:pt x="1690" y="4210"/>
                  </a:lnTo>
                  <a:lnTo>
                    <a:pt x="1689" y="4211"/>
                  </a:lnTo>
                  <a:lnTo>
                    <a:pt x="1687" y="4212"/>
                  </a:lnTo>
                  <a:lnTo>
                    <a:pt x="1686" y="4214"/>
                  </a:lnTo>
                  <a:lnTo>
                    <a:pt x="1686" y="4215"/>
                  </a:lnTo>
                  <a:lnTo>
                    <a:pt x="1681" y="4219"/>
                  </a:lnTo>
                  <a:lnTo>
                    <a:pt x="1678" y="4221"/>
                  </a:lnTo>
                  <a:lnTo>
                    <a:pt x="1674" y="4229"/>
                  </a:lnTo>
                  <a:lnTo>
                    <a:pt x="1669" y="4237"/>
                  </a:lnTo>
                  <a:lnTo>
                    <a:pt x="1666" y="4240"/>
                  </a:lnTo>
                  <a:lnTo>
                    <a:pt x="1665" y="4244"/>
                  </a:lnTo>
                  <a:lnTo>
                    <a:pt x="1665" y="4249"/>
                  </a:lnTo>
                  <a:lnTo>
                    <a:pt x="1665" y="4253"/>
                  </a:lnTo>
                  <a:lnTo>
                    <a:pt x="1665" y="4262"/>
                  </a:lnTo>
                  <a:lnTo>
                    <a:pt x="1666" y="4267"/>
                  </a:lnTo>
                  <a:lnTo>
                    <a:pt x="1669" y="4270"/>
                  </a:lnTo>
                  <a:lnTo>
                    <a:pt x="1669" y="4271"/>
                  </a:lnTo>
                  <a:lnTo>
                    <a:pt x="1669" y="4274"/>
                  </a:lnTo>
                  <a:lnTo>
                    <a:pt x="1672" y="4286"/>
                  </a:lnTo>
                  <a:lnTo>
                    <a:pt x="1674" y="4297"/>
                  </a:lnTo>
                  <a:lnTo>
                    <a:pt x="1673" y="4300"/>
                  </a:lnTo>
                  <a:lnTo>
                    <a:pt x="1672" y="4303"/>
                  </a:lnTo>
                  <a:lnTo>
                    <a:pt x="1670" y="4304"/>
                  </a:lnTo>
                  <a:lnTo>
                    <a:pt x="1669" y="4305"/>
                  </a:lnTo>
                  <a:lnTo>
                    <a:pt x="1666" y="4306"/>
                  </a:lnTo>
                  <a:lnTo>
                    <a:pt x="1664" y="4308"/>
                  </a:lnTo>
                  <a:lnTo>
                    <a:pt x="1663" y="4309"/>
                  </a:lnTo>
                  <a:lnTo>
                    <a:pt x="1663" y="4310"/>
                  </a:lnTo>
                  <a:lnTo>
                    <a:pt x="1660" y="4316"/>
                  </a:lnTo>
                  <a:lnTo>
                    <a:pt x="1660" y="4320"/>
                  </a:lnTo>
                  <a:lnTo>
                    <a:pt x="1661" y="4323"/>
                  </a:lnTo>
                  <a:lnTo>
                    <a:pt x="1663" y="4327"/>
                  </a:lnTo>
                  <a:lnTo>
                    <a:pt x="1663" y="4329"/>
                  </a:lnTo>
                  <a:lnTo>
                    <a:pt x="1664" y="4330"/>
                  </a:lnTo>
                  <a:lnTo>
                    <a:pt x="1665" y="4331"/>
                  </a:lnTo>
                  <a:lnTo>
                    <a:pt x="1665" y="4334"/>
                  </a:lnTo>
                  <a:lnTo>
                    <a:pt x="1666" y="4335"/>
                  </a:lnTo>
                  <a:lnTo>
                    <a:pt x="1668" y="4338"/>
                  </a:lnTo>
                  <a:lnTo>
                    <a:pt x="1670" y="4340"/>
                  </a:lnTo>
                  <a:lnTo>
                    <a:pt x="1674" y="4344"/>
                  </a:lnTo>
                  <a:lnTo>
                    <a:pt x="1674" y="4346"/>
                  </a:lnTo>
                  <a:lnTo>
                    <a:pt x="1676" y="4347"/>
                  </a:lnTo>
                  <a:lnTo>
                    <a:pt x="1676" y="4348"/>
                  </a:lnTo>
                  <a:lnTo>
                    <a:pt x="1677" y="4350"/>
                  </a:lnTo>
                  <a:lnTo>
                    <a:pt x="1680" y="4351"/>
                  </a:lnTo>
                  <a:lnTo>
                    <a:pt x="1681" y="4352"/>
                  </a:lnTo>
                  <a:lnTo>
                    <a:pt x="1682" y="4354"/>
                  </a:lnTo>
                  <a:lnTo>
                    <a:pt x="1683" y="4355"/>
                  </a:lnTo>
                  <a:lnTo>
                    <a:pt x="1685" y="4356"/>
                  </a:lnTo>
                  <a:lnTo>
                    <a:pt x="1687" y="4357"/>
                  </a:lnTo>
                  <a:lnTo>
                    <a:pt x="1689" y="4359"/>
                  </a:lnTo>
                  <a:lnTo>
                    <a:pt x="1690" y="4360"/>
                  </a:lnTo>
                  <a:lnTo>
                    <a:pt x="1691" y="4361"/>
                  </a:lnTo>
                  <a:lnTo>
                    <a:pt x="1691" y="4364"/>
                  </a:lnTo>
                  <a:lnTo>
                    <a:pt x="1693" y="4367"/>
                  </a:lnTo>
                  <a:lnTo>
                    <a:pt x="1693" y="4371"/>
                  </a:lnTo>
                  <a:lnTo>
                    <a:pt x="1694" y="4380"/>
                  </a:lnTo>
                  <a:lnTo>
                    <a:pt x="1694" y="4389"/>
                  </a:lnTo>
                  <a:lnTo>
                    <a:pt x="1693" y="4395"/>
                  </a:lnTo>
                  <a:lnTo>
                    <a:pt x="1687" y="4403"/>
                  </a:lnTo>
                  <a:lnTo>
                    <a:pt x="1681" y="4414"/>
                  </a:lnTo>
                  <a:lnTo>
                    <a:pt x="1676" y="4424"/>
                  </a:lnTo>
                  <a:lnTo>
                    <a:pt x="1670" y="4435"/>
                  </a:lnTo>
                  <a:lnTo>
                    <a:pt x="1664" y="4445"/>
                  </a:lnTo>
                  <a:lnTo>
                    <a:pt x="1659" y="4456"/>
                  </a:lnTo>
                  <a:lnTo>
                    <a:pt x="1657" y="4457"/>
                  </a:lnTo>
                  <a:lnTo>
                    <a:pt x="1656" y="4457"/>
                  </a:lnTo>
                  <a:lnTo>
                    <a:pt x="1655" y="4460"/>
                  </a:lnTo>
                  <a:lnTo>
                    <a:pt x="1652" y="4462"/>
                  </a:lnTo>
                  <a:lnTo>
                    <a:pt x="1651" y="4463"/>
                  </a:lnTo>
                  <a:lnTo>
                    <a:pt x="1649" y="4466"/>
                  </a:lnTo>
                  <a:lnTo>
                    <a:pt x="1648" y="4467"/>
                  </a:lnTo>
                  <a:lnTo>
                    <a:pt x="1646" y="4470"/>
                  </a:lnTo>
                  <a:lnTo>
                    <a:pt x="1644" y="4470"/>
                  </a:lnTo>
                  <a:lnTo>
                    <a:pt x="1643" y="4471"/>
                  </a:lnTo>
                  <a:lnTo>
                    <a:pt x="1642" y="4473"/>
                  </a:lnTo>
                  <a:lnTo>
                    <a:pt x="1639" y="4474"/>
                  </a:lnTo>
                  <a:lnTo>
                    <a:pt x="1639" y="4475"/>
                  </a:lnTo>
                  <a:lnTo>
                    <a:pt x="1638" y="4477"/>
                  </a:lnTo>
                  <a:lnTo>
                    <a:pt x="1636" y="4477"/>
                  </a:lnTo>
                  <a:lnTo>
                    <a:pt x="1636" y="4478"/>
                  </a:lnTo>
                  <a:lnTo>
                    <a:pt x="1627" y="4488"/>
                  </a:lnTo>
                  <a:lnTo>
                    <a:pt x="1619" y="4497"/>
                  </a:lnTo>
                  <a:lnTo>
                    <a:pt x="1618" y="4499"/>
                  </a:lnTo>
                  <a:lnTo>
                    <a:pt x="1617" y="4499"/>
                  </a:lnTo>
                  <a:lnTo>
                    <a:pt x="1617" y="4500"/>
                  </a:lnTo>
                  <a:lnTo>
                    <a:pt x="1615" y="4501"/>
                  </a:lnTo>
                  <a:lnTo>
                    <a:pt x="1615" y="4547"/>
                  </a:lnTo>
                  <a:lnTo>
                    <a:pt x="1615" y="4548"/>
                  </a:lnTo>
                  <a:lnTo>
                    <a:pt x="1615" y="4550"/>
                  </a:lnTo>
                  <a:lnTo>
                    <a:pt x="1615" y="4551"/>
                  </a:lnTo>
                  <a:lnTo>
                    <a:pt x="1617" y="4552"/>
                  </a:lnTo>
                  <a:lnTo>
                    <a:pt x="1618" y="4555"/>
                  </a:lnTo>
                  <a:lnTo>
                    <a:pt x="1619" y="4556"/>
                  </a:lnTo>
                  <a:lnTo>
                    <a:pt x="1619" y="4559"/>
                  </a:lnTo>
                  <a:lnTo>
                    <a:pt x="1621" y="4564"/>
                  </a:lnTo>
                  <a:lnTo>
                    <a:pt x="1623" y="4569"/>
                  </a:lnTo>
                  <a:lnTo>
                    <a:pt x="1623" y="4571"/>
                  </a:lnTo>
                  <a:lnTo>
                    <a:pt x="1626" y="4576"/>
                  </a:lnTo>
                  <a:lnTo>
                    <a:pt x="1628" y="4581"/>
                  </a:lnTo>
                  <a:lnTo>
                    <a:pt x="1628" y="4584"/>
                  </a:lnTo>
                  <a:lnTo>
                    <a:pt x="1631" y="4588"/>
                  </a:lnTo>
                  <a:lnTo>
                    <a:pt x="1634" y="4593"/>
                  </a:lnTo>
                  <a:lnTo>
                    <a:pt x="1634" y="4594"/>
                  </a:lnTo>
                  <a:lnTo>
                    <a:pt x="1634" y="4596"/>
                  </a:lnTo>
                  <a:lnTo>
                    <a:pt x="1635" y="4596"/>
                  </a:lnTo>
                  <a:lnTo>
                    <a:pt x="1635" y="4597"/>
                  </a:lnTo>
                  <a:lnTo>
                    <a:pt x="1635" y="4599"/>
                  </a:lnTo>
                  <a:lnTo>
                    <a:pt x="1636" y="4602"/>
                  </a:lnTo>
                  <a:lnTo>
                    <a:pt x="1639" y="4606"/>
                  </a:lnTo>
                  <a:lnTo>
                    <a:pt x="1643" y="4610"/>
                  </a:lnTo>
                  <a:lnTo>
                    <a:pt x="1644" y="4613"/>
                  </a:lnTo>
                  <a:lnTo>
                    <a:pt x="1646" y="4614"/>
                  </a:lnTo>
                  <a:lnTo>
                    <a:pt x="1648" y="4616"/>
                  </a:lnTo>
                  <a:lnTo>
                    <a:pt x="1651" y="4619"/>
                  </a:lnTo>
                  <a:lnTo>
                    <a:pt x="1651" y="4622"/>
                  </a:lnTo>
                  <a:lnTo>
                    <a:pt x="1656" y="4631"/>
                  </a:lnTo>
                  <a:lnTo>
                    <a:pt x="1664" y="4640"/>
                  </a:lnTo>
                  <a:lnTo>
                    <a:pt x="1672" y="4645"/>
                  </a:lnTo>
                  <a:lnTo>
                    <a:pt x="1678" y="4652"/>
                  </a:lnTo>
                  <a:lnTo>
                    <a:pt x="1685" y="4660"/>
                  </a:lnTo>
                  <a:lnTo>
                    <a:pt x="1690" y="4666"/>
                  </a:lnTo>
                  <a:lnTo>
                    <a:pt x="1693" y="4671"/>
                  </a:lnTo>
                  <a:lnTo>
                    <a:pt x="1695" y="4677"/>
                  </a:lnTo>
                  <a:lnTo>
                    <a:pt x="1697" y="4679"/>
                  </a:lnTo>
                  <a:lnTo>
                    <a:pt x="1697" y="4682"/>
                  </a:lnTo>
                  <a:lnTo>
                    <a:pt x="1698" y="4687"/>
                  </a:lnTo>
                  <a:lnTo>
                    <a:pt x="1700" y="4692"/>
                  </a:lnTo>
                  <a:lnTo>
                    <a:pt x="1700" y="4694"/>
                  </a:lnTo>
                  <a:lnTo>
                    <a:pt x="1702" y="4695"/>
                  </a:lnTo>
                  <a:lnTo>
                    <a:pt x="1704" y="4702"/>
                  </a:lnTo>
                  <a:lnTo>
                    <a:pt x="1706" y="4708"/>
                  </a:lnTo>
                  <a:lnTo>
                    <a:pt x="1706" y="4712"/>
                  </a:lnTo>
                  <a:lnTo>
                    <a:pt x="1707" y="4719"/>
                  </a:lnTo>
                  <a:lnTo>
                    <a:pt x="1708" y="4726"/>
                  </a:lnTo>
                  <a:lnTo>
                    <a:pt x="1710" y="4741"/>
                  </a:lnTo>
                  <a:lnTo>
                    <a:pt x="1710" y="4756"/>
                  </a:lnTo>
                  <a:lnTo>
                    <a:pt x="1708" y="4760"/>
                  </a:lnTo>
                  <a:lnTo>
                    <a:pt x="1708" y="4766"/>
                  </a:lnTo>
                  <a:lnTo>
                    <a:pt x="1707" y="4771"/>
                  </a:lnTo>
                  <a:lnTo>
                    <a:pt x="1707" y="4776"/>
                  </a:lnTo>
                  <a:lnTo>
                    <a:pt x="1706" y="4793"/>
                  </a:lnTo>
                  <a:lnTo>
                    <a:pt x="1703" y="4813"/>
                  </a:lnTo>
                  <a:lnTo>
                    <a:pt x="1703" y="4814"/>
                  </a:lnTo>
                  <a:lnTo>
                    <a:pt x="1702" y="4815"/>
                  </a:lnTo>
                  <a:lnTo>
                    <a:pt x="1702" y="4817"/>
                  </a:lnTo>
                  <a:lnTo>
                    <a:pt x="1702" y="4819"/>
                  </a:lnTo>
                  <a:lnTo>
                    <a:pt x="1700" y="4822"/>
                  </a:lnTo>
                  <a:lnTo>
                    <a:pt x="1700" y="4826"/>
                  </a:lnTo>
                  <a:lnTo>
                    <a:pt x="1699" y="4827"/>
                  </a:lnTo>
                  <a:lnTo>
                    <a:pt x="1698" y="4828"/>
                  </a:lnTo>
                  <a:lnTo>
                    <a:pt x="1697" y="4831"/>
                  </a:lnTo>
                  <a:lnTo>
                    <a:pt x="1697" y="4834"/>
                  </a:lnTo>
                  <a:lnTo>
                    <a:pt x="1695" y="4836"/>
                  </a:lnTo>
                  <a:lnTo>
                    <a:pt x="1694" y="4839"/>
                  </a:lnTo>
                  <a:lnTo>
                    <a:pt x="1693" y="4841"/>
                  </a:lnTo>
                  <a:lnTo>
                    <a:pt x="1691" y="4844"/>
                  </a:lnTo>
                  <a:lnTo>
                    <a:pt x="1689" y="4852"/>
                  </a:lnTo>
                  <a:lnTo>
                    <a:pt x="1683" y="4858"/>
                  </a:lnTo>
                  <a:lnTo>
                    <a:pt x="1682" y="4861"/>
                  </a:lnTo>
                  <a:lnTo>
                    <a:pt x="1683" y="4864"/>
                  </a:lnTo>
                  <a:lnTo>
                    <a:pt x="1687" y="4866"/>
                  </a:lnTo>
                  <a:lnTo>
                    <a:pt x="1691" y="4868"/>
                  </a:lnTo>
                  <a:lnTo>
                    <a:pt x="1697" y="4869"/>
                  </a:lnTo>
                  <a:lnTo>
                    <a:pt x="1702" y="4870"/>
                  </a:lnTo>
                  <a:lnTo>
                    <a:pt x="1703" y="4870"/>
                  </a:lnTo>
                  <a:lnTo>
                    <a:pt x="1704" y="4870"/>
                  </a:lnTo>
                  <a:lnTo>
                    <a:pt x="1710" y="4874"/>
                  </a:lnTo>
                  <a:lnTo>
                    <a:pt x="1715" y="4878"/>
                  </a:lnTo>
                  <a:lnTo>
                    <a:pt x="1717" y="4882"/>
                  </a:lnTo>
                  <a:lnTo>
                    <a:pt x="1719" y="4887"/>
                  </a:lnTo>
                  <a:lnTo>
                    <a:pt x="1720" y="4887"/>
                  </a:lnTo>
                  <a:lnTo>
                    <a:pt x="1720" y="4889"/>
                  </a:lnTo>
                  <a:lnTo>
                    <a:pt x="1721" y="4890"/>
                  </a:lnTo>
                  <a:lnTo>
                    <a:pt x="1721" y="4892"/>
                  </a:lnTo>
                  <a:lnTo>
                    <a:pt x="1723" y="4895"/>
                  </a:lnTo>
                  <a:lnTo>
                    <a:pt x="1724" y="4896"/>
                  </a:lnTo>
                  <a:lnTo>
                    <a:pt x="1724" y="4908"/>
                  </a:lnTo>
                  <a:lnTo>
                    <a:pt x="1725" y="4921"/>
                  </a:lnTo>
                  <a:lnTo>
                    <a:pt x="1725" y="4927"/>
                  </a:lnTo>
                  <a:lnTo>
                    <a:pt x="1727" y="4933"/>
                  </a:lnTo>
                  <a:lnTo>
                    <a:pt x="1727" y="4934"/>
                  </a:lnTo>
                  <a:lnTo>
                    <a:pt x="1728" y="4937"/>
                  </a:lnTo>
                  <a:lnTo>
                    <a:pt x="1728" y="4938"/>
                  </a:lnTo>
                  <a:lnTo>
                    <a:pt x="1729" y="4940"/>
                  </a:lnTo>
                  <a:lnTo>
                    <a:pt x="1729" y="4941"/>
                  </a:lnTo>
                  <a:lnTo>
                    <a:pt x="1732" y="4944"/>
                  </a:lnTo>
                  <a:lnTo>
                    <a:pt x="1733" y="4947"/>
                  </a:lnTo>
                  <a:lnTo>
                    <a:pt x="1733" y="4949"/>
                  </a:lnTo>
                  <a:lnTo>
                    <a:pt x="1733" y="4950"/>
                  </a:lnTo>
                  <a:lnTo>
                    <a:pt x="1734" y="4951"/>
                  </a:lnTo>
                  <a:lnTo>
                    <a:pt x="1736" y="4954"/>
                  </a:lnTo>
                  <a:lnTo>
                    <a:pt x="1737" y="4957"/>
                  </a:lnTo>
                  <a:lnTo>
                    <a:pt x="1740" y="4959"/>
                  </a:lnTo>
                  <a:lnTo>
                    <a:pt x="1742" y="4963"/>
                  </a:lnTo>
                  <a:lnTo>
                    <a:pt x="1744" y="4963"/>
                  </a:lnTo>
                  <a:lnTo>
                    <a:pt x="1745" y="4966"/>
                  </a:lnTo>
                  <a:lnTo>
                    <a:pt x="1745" y="4967"/>
                  </a:lnTo>
                  <a:lnTo>
                    <a:pt x="1746" y="4968"/>
                  </a:lnTo>
                  <a:lnTo>
                    <a:pt x="1749" y="4970"/>
                  </a:lnTo>
                  <a:lnTo>
                    <a:pt x="1750" y="4971"/>
                  </a:lnTo>
                  <a:lnTo>
                    <a:pt x="1751" y="4972"/>
                  </a:lnTo>
                  <a:lnTo>
                    <a:pt x="1753" y="4975"/>
                  </a:lnTo>
                  <a:lnTo>
                    <a:pt x="1754" y="4975"/>
                  </a:lnTo>
                  <a:lnTo>
                    <a:pt x="1754" y="4976"/>
                  </a:lnTo>
                  <a:lnTo>
                    <a:pt x="1755" y="4978"/>
                  </a:lnTo>
                  <a:lnTo>
                    <a:pt x="1757" y="4978"/>
                  </a:lnTo>
                  <a:lnTo>
                    <a:pt x="1758" y="4978"/>
                  </a:lnTo>
                  <a:lnTo>
                    <a:pt x="1759" y="4978"/>
                  </a:lnTo>
                  <a:lnTo>
                    <a:pt x="1759" y="4979"/>
                  </a:lnTo>
                  <a:lnTo>
                    <a:pt x="1761" y="4980"/>
                  </a:lnTo>
                  <a:lnTo>
                    <a:pt x="1761" y="4981"/>
                  </a:lnTo>
                  <a:lnTo>
                    <a:pt x="1763" y="4983"/>
                  </a:lnTo>
                  <a:lnTo>
                    <a:pt x="1765" y="4983"/>
                  </a:lnTo>
                  <a:lnTo>
                    <a:pt x="1767" y="4984"/>
                  </a:lnTo>
                  <a:lnTo>
                    <a:pt x="1768" y="4984"/>
                  </a:lnTo>
                  <a:lnTo>
                    <a:pt x="1770" y="4984"/>
                  </a:lnTo>
                  <a:lnTo>
                    <a:pt x="1771" y="4985"/>
                  </a:lnTo>
                  <a:lnTo>
                    <a:pt x="1772" y="4985"/>
                  </a:lnTo>
                  <a:lnTo>
                    <a:pt x="1780" y="4989"/>
                  </a:lnTo>
                  <a:lnTo>
                    <a:pt x="1791" y="4992"/>
                  </a:lnTo>
                  <a:lnTo>
                    <a:pt x="1795" y="4992"/>
                  </a:lnTo>
                  <a:lnTo>
                    <a:pt x="1797" y="4995"/>
                  </a:lnTo>
                  <a:lnTo>
                    <a:pt x="1801" y="4997"/>
                  </a:lnTo>
                  <a:lnTo>
                    <a:pt x="1806" y="5000"/>
                  </a:lnTo>
                  <a:lnTo>
                    <a:pt x="1808" y="5001"/>
                  </a:lnTo>
                  <a:lnTo>
                    <a:pt x="1809" y="5001"/>
                  </a:lnTo>
                  <a:lnTo>
                    <a:pt x="1810" y="5002"/>
                  </a:lnTo>
                  <a:lnTo>
                    <a:pt x="1810" y="5004"/>
                  </a:lnTo>
                  <a:lnTo>
                    <a:pt x="1812" y="5004"/>
                  </a:lnTo>
                  <a:lnTo>
                    <a:pt x="1814" y="5005"/>
                  </a:lnTo>
                  <a:lnTo>
                    <a:pt x="1816" y="5006"/>
                  </a:lnTo>
                  <a:lnTo>
                    <a:pt x="1834" y="5021"/>
                  </a:lnTo>
                  <a:lnTo>
                    <a:pt x="1853" y="5032"/>
                  </a:lnTo>
                  <a:lnTo>
                    <a:pt x="1855" y="5034"/>
                  </a:lnTo>
                  <a:lnTo>
                    <a:pt x="1856" y="5035"/>
                  </a:lnTo>
                  <a:lnTo>
                    <a:pt x="1857" y="5036"/>
                  </a:lnTo>
                  <a:lnTo>
                    <a:pt x="1860" y="5038"/>
                  </a:lnTo>
                  <a:lnTo>
                    <a:pt x="1864" y="5040"/>
                  </a:lnTo>
                  <a:lnTo>
                    <a:pt x="1868" y="5042"/>
                  </a:lnTo>
                  <a:lnTo>
                    <a:pt x="1872" y="5047"/>
                  </a:lnTo>
                  <a:lnTo>
                    <a:pt x="1874" y="5053"/>
                  </a:lnTo>
                  <a:lnTo>
                    <a:pt x="1877" y="5057"/>
                  </a:lnTo>
                  <a:lnTo>
                    <a:pt x="1880" y="5061"/>
                  </a:lnTo>
                  <a:lnTo>
                    <a:pt x="1880" y="5064"/>
                  </a:lnTo>
                  <a:lnTo>
                    <a:pt x="1881" y="5065"/>
                  </a:lnTo>
                  <a:lnTo>
                    <a:pt x="1882" y="5065"/>
                  </a:lnTo>
                  <a:lnTo>
                    <a:pt x="1885" y="5068"/>
                  </a:lnTo>
                  <a:lnTo>
                    <a:pt x="1886" y="5069"/>
                  </a:lnTo>
                  <a:lnTo>
                    <a:pt x="1895" y="5078"/>
                  </a:lnTo>
                  <a:lnTo>
                    <a:pt x="1907" y="5086"/>
                  </a:lnTo>
                  <a:lnTo>
                    <a:pt x="1907" y="5087"/>
                  </a:lnTo>
                  <a:lnTo>
                    <a:pt x="1908" y="5089"/>
                  </a:lnTo>
                  <a:lnTo>
                    <a:pt x="1910" y="5090"/>
                  </a:lnTo>
                  <a:lnTo>
                    <a:pt x="1912" y="5091"/>
                  </a:lnTo>
                  <a:lnTo>
                    <a:pt x="1915" y="5094"/>
                  </a:lnTo>
                  <a:lnTo>
                    <a:pt x="1916" y="5098"/>
                  </a:lnTo>
                  <a:lnTo>
                    <a:pt x="1916" y="5102"/>
                  </a:lnTo>
                  <a:lnTo>
                    <a:pt x="1918" y="5111"/>
                  </a:lnTo>
                  <a:lnTo>
                    <a:pt x="1918" y="5121"/>
                  </a:lnTo>
                  <a:lnTo>
                    <a:pt x="1918" y="5132"/>
                  </a:lnTo>
                  <a:lnTo>
                    <a:pt x="1919" y="5142"/>
                  </a:lnTo>
                  <a:lnTo>
                    <a:pt x="1919" y="5146"/>
                  </a:lnTo>
                  <a:lnTo>
                    <a:pt x="1920" y="5149"/>
                  </a:lnTo>
                  <a:lnTo>
                    <a:pt x="1923" y="5151"/>
                  </a:lnTo>
                  <a:lnTo>
                    <a:pt x="1925" y="5154"/>
                  </a:lnTo>
                  <a:lnTo>
                    <a:pt x="1928" y="5155"/>
                  </a:lnTo>
                  <a:lnTo>
                    <a:pt x="1929" y="5158"/>
                  </a:lnTo>
                  <a:lnTo>
                    <a:pt x="1931" y="5158"/>
                  </a:lnTo>
                  <a:lnTo>
                    <a:pt x="1932" y="5159"/>
                  </a:lnTo>
                  <a:lnTo>
                    <a:pt x="1935" y="5162"/>
                  </a:lnTo>
                  <a:lnTo>
                    <a:pt x="1938" y="5163"/>
                  </a:lnTo>
                  <a:lnTo>
                    <a:pt x="1941" y="5166"/>
                  </a:lnTo>
                  <a:lnTo>
                    <a:pt x="1945" y="5167"/>
                  </a:lnTo>
                  <a:lnTo>
                    <a:pt x="1946" y="5169"/>
                  </a:lnTo>
                  <a:lnTo>
                    <a:pt x="1948" y="5170"/>
                  </a:lnTo>
                  <a:lnTo>
                    <a:pt x="1950" y="5171"/>
                  </a:lnTo>
                  <a:lnTo>
                    <a:pt x="1952" y="5172"/>
                  </a:lnTo>
                  <a:lnTo>
                    <a:pt x="1957" y="5176"/>
                  </a:lnTo>
                  <a:lnTo>
                    <a:pt x="1965" y="5182"/>
                  </a:lnTo>
                  <a:lnTo>
                    <a:pt x="1965" y="5183"/>
                  </a:lnTo>
                  <a:lnTo>
                    <a:pt x="1966" y="5184"/>
                  </a:lnTo>
                  <a:lnTo>
                    <a:pt x="1970" y="5189"/>
                  </a:lnTo>
                  <a:lnTo>
                    <a:pt x="1974" y="5193"/>
                  </a:lnTo>
                  <a:lnTo>
                    <a:pt x="1974" y="5195"/>
                  </a:lnTo>
                  <a:lnTo>
                    <a:pt x="1975" y="5197"/>
                  </a:lnTo>
                  <a:lnTo>
                    <a:pt x="1976" y="5199"/>
                  </a:lnTo>
                  <a:lnTo>
                    <a:pt x="1976" y="5200"/>
                  </a:lnTo>
                  <a:lnTo>
                    <a:pt x="1978" y="5201"/>
                  </a:lnTo>
                  <a:lnTo>
                    <a:pt x="1978" y="5203"/>
                  </a:lnTo>
                  <a:lnTo>
                    <a:pt x="1982" y="5205"/>
                  </a:lnTo>
                  <a:lnTo>
                    <a:pt x="1984" y="5208"/>
                  </a:lnTo>
                  <a:lnTo>
                    <a:pt x="1990" y="5209"/>
                  </a:lnTo>
                  <a:lnTo>
                    <a:pt x="1996" y="5210"/>
                  </a:lnTo>
                  <a:lnTo>
                    <a:pt x="2013" y="5216"/>
                  </a:lnTo>
                  <a:lnTo>
                    <a:pt x="2017" y="5218"/>
                  </a:lnTo>
                  <a:lnTo>
                    <a:pt x="2021" y="5221"/>
                  </a:lnTo>
                  <a:lnTo>
                    <a:pt x="2021" y="5222"/>
                  </a:lnTo>
                  <a:lnTo>
                    <a:pt x="2022" y="5223"/>
                  </a:lnTo>
                  <a:lnTo>
                    <a:pt x="2024" y="5223"/>
                  </a:lnTo>
                  <a:lnTo>
                    <a:pt x="2025" y="5225"/>
                  </a:lnTo>
                  <a:lnTo>
                    <a:pt x="2027" y="5227"/>
                  </a:lnTo>
                  <a:lnTo>
                    <a:pt x="2029" y="5227"/>
                  </a:lnTo>
                  <a:lnTo>
                    <a:pt x="2030" y="5229"/>
                  </a:lnTo>
                  <a:lnTo>
                    <a:pt x="2031" y="5230"/>
                  </a:lnTo>
                  <a:lnTo>
                    <a:pt x="2041" y="5238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kern="0">
                <a:solidFill>
                  <a:sysClr val="windowText" lastClr="000000"/>
                </a:solidFill>
                <a:latin typeface="Calibri"/>
                <a:ea typeface="ＭＳ Ｐゴシック" pitchFamily="-97" charset="-128"/>
              </a:endParaRPr>
            </a:p>
          </p:txBody>
        </p:sp>
        <p:sp>
          <p:nvSpPr>
            <p:cNvPr id="638" name="Freeform 42"/>
            <p:cNvSpPr>
              <a:spLocks/>
            </p:cNvSpPr>
            <p:nvPr/>
          </p:nvSpPr>
          <p:spPr bwMode="auto">
            <a:xfrm>
              <a:off x="7126288" y="2022475"/>
              <a:ext cx="639762" cy="479425"/>
            </a:xfrm>
            <a:custGeom>
              <a:avLst/>
              <a:gdLst/>
              <a:ahLst/>
              <a:cxnLst>
                <a:cxn ang="0">
                  <a:pos x="1680" y="99"/>
                </a:cxn>
                <a:cxn ang="0">
                  <a:pos x="1401" y="0"/>
                </a:cxn>
                <a:cxn ang="0">
                  <a:pos x="1350" y="44"/>
                </a:cxn>
                <a:cxn ang="0">
                  <a:pos x="1312" y="98"/>
                </a:cxn>
                <a:cxn ang="0">
                  <a:pos x="1226" y="147"/>
                </a:cxn>
                <a:cxn ang="0">
                  <a:pos x="1007" y="195"/>
                </a:cxn>
                <a:cxn ang="0">
                  <a:pos x="967" y="285"/>
                </a:cxn>
                <a:cxn ang="0">
                  <a:pos x="862" y="388"/>
                </a:cxn>
                <a:cxn ang="0">
                  <a:pos x="746" y="367"/>
                </a:cxn>
                <a:cxn ang="0">
                  <a:pos x="599" y="399"/>
                </a:cxn>
                <a:cxn ang="0">
                  <a:pos x="436" y="426"/>
                </a:cxn>
                <a:cxn ang="0">
                  <a:pos x="234" y="396"/>
                </a:cxn>
                <a:cxn ang="0">
                  <a:pos x="165" y="460"/>
                </a:cxn>
                <a:cxn ang="0">
                  <a:pos x="113" y="549"/>
                </a:cxn>
                <a:cxn ang="0">
                  <a:pos x="24" y="625"/>
                </a:cxn>
                <a:cxn ang="0">
                  <a:pos x="22" y="676"/>
                </a:cxn>
                <a:cxn ang="0">
                  <a:pos x="128" y="741"/>
                </a:cxn>
                <a:cxn ang="0">
                  <a:pos x="131" y="826"/>
                </a:cxn>
                <a:cxn ang="0">
                  <a:pos x="77" y="885"/>
                </a:cxn>
                <a:cxn ang="0">
                  <a:pos x="106" y="953"/>
                </a:cxn>
                <a:cxn ang="0">
                  <a:pos x="117" y="1006"/>
                </a:cxn>
                <a:cxn ang="0">
                  <a:pos x="80" y="1106"/>
                </a:cxn>
                <a:cxn ang="0">
                  <a:pos x="94" y="1153"/>
                </a:cxn>
                <a:cxn ang="0">
                  <a:pos x="166" y="1198"/>
                </a:cxn>
                <a:cxn ang="0">
                  <a:pos x="236" y="1198"/>
                </a:cxn>
                <a:cxn ang="0">
                  <a:pos x="293" y="1200"/>
                </a:cxn>
                <a:cxn ang="0">
                  <a:pos x="385" y="1212"/>
                </a:cxn>
                <a:cxn ang="0">
                  <a:pos x="447" y="1241"/>
                </a:cxn>
                <a:cxn ang="0">
                  <a:pos x="478" y="1261"/>
                </a:cxn>
                <a:cxn ang="0">
                  <a:pos x="504" y="1297"/>
                </a:cxn>
                <a:cxn ang="0">
                  <a:pos x="519" y="1102"/>
                </a:cxn>
                <a:cxn ang="0">
                  <a:pos x="500" y="998"/>
                </a:cxn>
                <a:cxn ang="0">
                  <a:pos x="489" y="853"/>
                </a:cxn>
                <a:cxn ang="0">
                  <a:pos x="557" y="796"/>
                </a:cxn>
                <a:cxn ang="0">
                  <a:pos x="627" y="711"/>
                </a:cxn>
                <a:cxn ang="0">
                  <a:pos x="689" y="651"/>
                </a:cxn>
                <a:cxn ang="0">
                  <a:pos x="648" y="520"/>
                </a:cxn>
                <a:cxn ang="0">
                  <a:pos x="697" y="482"/>
                </a:cxn>
                <a:cxn ang="0">
                  <a:pos x="809" y="527"/>
                </a:cxn>
                <a:cxn ang="0">
                  <a:pos x="854" y="552"/>
                </a:cxn>
                <a:cxn ang="0">
                  <a:pos x="951" y="554"/>
                </a:cxn>
                <a:cxn ang="0">
                  <a:pos x="976" y="599"/>
                </a:cxn>
                <a:cxn ang="0">
                  <a:pos x="1018" y="663"/>
                </a:cxn>
                <a:cxn ang="0">
                  <a:pos x="1119" y="711"/>
                </a:cxn>
                <a:cxn ang="0">
                  <a:pos x="1247" y="583"/>
                </a:cxn>
                <a:cxn ang="0">
                  <a:pos x="1272" y="430"/>
                </a:cxn>
                <a:cxn ang="0">
                  <a:pos x="1358" y="348"/>
                </a:cxn>
                <a:cxn ang="0">
                  <a:pos x="1338" y="281"/>
                </a:cxn>
                <a:cxn ang="0">
                  <a:pos x="1413" y="226"/>
                </a:cxn>
                <a:cxn ang="0">
                  <a:pos x="1452" y="264"/>
                </a:cxn>
                <a:cxn ang="0">
                  <a:pos x="1487" y="294"/>
                </a:cxn>
                <a:cxn ang="0">
                  <a:pos x="1510" y="327"/>
                </a:cxn>
                <a:cxn ang="0">
                  <a:pos x="1442" y="342"/>
                </a:cxn>
                <a:cxn ang="0">
                  <a:pos x="1436" y="387"/>
                </a:cxn>
                <a:cxn ang="0">
                  <a:pos x="1555" y="297"/>
                </a:cxn>
                <a:cxn ang="0">
                  <a:pos x="1510" y="213"/>
                </a:cxn>
                <a:cxn ang="0">
                  <a:pos x="1565" y="189"/>
                </a:cxn>
              </a:cxnLst>
              <a:rect l="0" t="0" r="r" b="b"/>
              <a:pathLst>
                <a:path w="1742" h="1302">
                  <a:moveTo>
                    <a:pt x="1708" y="192"/>
                  </a:moveTo>
                  <a:lnTo>
                    <a:pt x="1742" y="144"/>
                  </a:lnTo>
                  <a:lnTo>
                    <a:pt x="1742" y="142"/>
                  </a:lnTo>
                  <a:lnTo>
                    <a:pt x="1742" y="140"/>
                  </a:lnTo>
                  <a:lnTo>
                    <a:pt x="1741" y="138"/>
                  </a:lnTo>
                  <a:lnTo>
                    <a:pt x="1740" y="136"/>
                  </a:lnTo>
                  <a:lnTo>
                    <a:pt x="1735" y="130"/>
                  </a:lnTo>
                  <a:lnTo>
                    <a:pt x="1727" y="125"/>
                  </a:lnTo>
                  <a:lnTo>
                    <a:pt x="1706" y="112"/>
                  </a:lnTo>
                  <a:lnTo>
                    <a:pt x="1680" y="99"/>
                  </a:lnTo>
                  <a:lnTo>
                    <a:pt x="1627" y="74"/>
                  </a:lnTo>
                  <a:lnTo>
                    <a:pt x="1593" y="57"/>
                  </a:lnTo>
                  <a:lnTo>
                    <a:pt x="1574" y="48"/>
                  </a:lnTo>
                  <a:lnTo>
                    <a:pt x="1545" y="36"/>
                  </a:lnTo>
                  <a:lnTo>
                    <a:pt x="1510" y="23"/>
                  </a:lnTo>
                  <a:lnTo>
                    <a:pt x="1472" y="11"/>
                  </a:lnTo>
                  <a:lnTo>
                    <a:pt x="1453" y="7"/>
                  </a:lnTo>
                  <a:lnTo>
                    <a:pt x="1435" y="4"/>
                  </a:lnTo>
                  <a:lnTo>
                    <a:pt x="1417" y="1"/>
                  </a:lnTo>
                  <a:lnTo>
                    <a:pt x="1401" y="0"/>
                  </a:lnTo>
                  <a:lnTo>
                    <a:pt x="1385" y="0"/>
                  </a:lnTo>
                  <a:lnTo>
                    <a:pt x="1372" y="2"/>
                  </a:lnTo>
                  <a:lnTo>
                    <a:pt x="1367" y="4"/>
                  </a:lnTo>
                  <a:lnTo>
                    <a:pt x="1362" y="6"/>
                  </a:lnTo>
                  <a:lnTo>
                    <a:pt x="1358" y="10"/>
                  </a:lnTo>
                  <a:lnTo>
                    <a:pt x="1354" y="14"/>
                  </a:lnTo>
                  <a:lnTo>
                    <a:pt x="1351" y="19"/>
                  </a:lnTo>
                  <a:lnTo>
                    <a:pt x="1350" y="27"/>
                  </a:lnTo>
                  <a:lnTo>
                    <a:pt x="1350" y="35"/>
                  </a:lnTo>
                  <a:lnTo>
                    <a:pt x="1350" y="44"/>
                  </a:lnTo>
                  <a:lnTo>
                    <a:pt x="1351" y="53"/>
                  </a:lnTo>
                  <a:lnTo>
                    <a:pt x="1351" y="62"/>
                  </a:lnTo>
                  <a:lnTo>
                    <a:pt x="1351" y="70"/>
                  </a:lnTo>
                  <a:lnTo>
                    <a:pt x="1349" y="77"/>
                  </a:lnTo>
                  <a:lnTo>
                    <a:pt x="1346" y="81"/>
                  </a:lnTo>
                  <a:lnTo>
                    <a:pt x="1343" y="85"/>
                  </a:lnTo>
                  <a:lnTo>
                    <a:pt x="1338" y="87"/>
                  </a:lnTo>
                  <a:lnTo>
                    <a:pt x="1334" y="90"/>
                  </a:lnTo>
                  <a:lnTo>
                    <a:pt x="1324" y="95"/>
                  </a:lnTo>
                  <a:lnTo>
                    <a:pt x="1312" y="98"/>
                  </a:lnTo>
                  <a:lnTo>
                    <a:pt x="1300" y="100"/>
                  </a:lnTo>
                  <a:lnTo>
                    <a:pt x="1290" y="104"/>
                  </a:lnTo>
                  <a:lnTo>
                    <a:pt x="1285" y="107"/>
                  </a:lnTo>
                  <a:lnTo>
                    <a:pt x="1279" y="110"/>
                  </a:lnTo>
                  <a:lnTo>
                    <a:pt x="1275" y="112"/>
                  </a:lnTo>
                  <a:lnTo>
                    <a:pt x="1272" y="116"/>
                  </a:lnTo>
                  <a:lnTo>
                    <a:pt x="1262" y="125"/>
                  </a:lnTo>
                  <a:lnTo>
                    <a:pt x="1251" y="133"/>
                  </a:lnTo>
                  <a:lnTo>
                    <a:pt x="1239" y="141"/>
                  </a:lnTo>
                  <a:lnTo>
                    <a:pt x="1226" y="147"/>
                  </a:lnTo>
                  <a:lnTo>
                    <a:pt x="1197" y="158"/>
                  </a:lnTo>
                  <a:lnTo>
                    <a:pt x="1167" y="167"/>
                  </a:lnTo>
                  <a:lnTo>
                    <a:pt x="1142" y="175"/>
                  </a:lnTo>
                  <a:lnTo>
                    <a:pt x="1117" y="184"/>
                  </a:lnTo>
                  <a:lnTo>
                    <a:pt x="1104" y="187"/>
                  </a:lnTo>
                  <a:lnTo>
                    <a:pt x="1091" y="191"/>
                  </a:lnTo>
                  <a:lnTo>
                    <a:pt x="1078" y="192"/>
                  </a:lnTo>
                  <a:lnTo>
                    <a:pt x="1066" y="193"/>
                  </a:lnTo>
                  <a:lnTo>
                    <a:pt x="1031" y="193"/>
                  </a:lnTo>
                  <a:lnTo>
                    <a:pt x="1007" y="195"/>
                  </a:lnTo>
                  <a:lnTo>
                    <a:pt x="999" y="196"/>
                  </a:lnTo>
                  <a:lnTo>
                    <a:pt x="994" y="198"/>
                  </a:lnTo>
                  <a:lnTo>
                    <a:pt x="989" y="201"/>
                  </a:lnTo>
                  <a:lnTo>
                    <a:pt x="986" y="205"/>
                  </a:lnTo>
                  <a:lnTo>
                    <a:pt x="984" y="215"/>
                  </a:lnTo>
                  <a:lnTo>
                    <a:pt x="981" y="231"/>
                  </a:lnTo>
                  <a:lnTo>
                    <a:pt x="980" y="242"/>
                  </a:lnTo>
                  <a:lnTo>
                    <a:pt x="976" y="255"/>
                  </a:lnTo>
                  <a:lnTo>
                    <a:pt x="972" y="268"/>
                  </a:lnTo>
                  <a:lnTo>
                    <a:pt x="967" y="285"/>
                  </a:lnTo>
                  <a:lnTo>
                    <a:pt x="960" y="303"/>
                  </a:lnTo>
                  <a:lnTo>
                    <a:pt x="952" y="318"/>
                  </a:lnTo>
                  <a:lnTo>
                    <a:pt x="946" y="328"/>
                  </a:lnTo>
                  <a:lnTo>
                    <a:pt x="939" y="338"/>
                  </a:lnTo>
                  <a:lnTo>
                    <a:pt x="930" y="346"/>
                  </a:lnTo>
                  <a:lnTo>
                    <a:pt x="920" y="355"/>
                  </a:lnTo>
                  <a:lnTo>
                    <a:pt x="905" y="365"/>
                  </a:lnTo>
                  <a:lnTo>
                    <a:pt x="888" y="376"/>
                  </a:lnTo>
                  <a:lnTo>
                    <a:pt x="874" y="384"/>
                  </a:lnTo>
                  <a:lnTo>
                    <a:pt x="862" y="388"/>
                  </a:lnTo>
                  <a:lnTo>
                    <a:pt x="850" y="391"/>
                  </a:lnTo>
                  <a:lnTo>
                    <a:pt x="839" y="391"/>
                  </a:lnTo>
                  <a:lnTo>
                    <a:pt x="827" y="389"/>
                  </a:lnTo>
                  <a:lnTo>
                    <a:pt x="816" y="386"/>
                  </a:lnTo>
                  <a:lnTo>
                    <a:pt x="806" y="383"/>
                  </a:lnTo>
                  <a:lnTo>
                    <a:pt x="794" y="379"/>
                  </a:lnTo>
                  <a:lnTo>
                    <a:pt x="782" y="375"/>
                  </a:lnTo>
                  <a:lnTo>
                    <a:pt x="771" y="371"/>
                  </a:lnTo>
                  <a:lnTo>
                    <a:pt x="759" y="369"/>
                  </a:lnTo>
                  <a:lnTo>
                    <a:pt x="746" y="367"/>
                  </a:lnTo>
                  <a:lnTo>
                    <a:pt x="731" y="367"/>
                  </a:lnTo>
                  <a:lnTo>
                    <a:pt x="716" y="370"/>
                  </a:lnTo>
                  <a:lnTo>
                    <a:pt x="700" y="375"/>
                  </a:lnTo>
                  <a:lnTo>
                    <a:pt x="683" y="382"/>
                  </a:lnTo>
                  <a:lnTo>
                    <a:pt x="670" y="388"/>
                  </a:lnTo>
                  <a:lnTo>
                    <a:pt x="657" y="392"/>
                  </a:lnTo>
                  <a:lnTo>
                    <a:pt x="642" y="395"/>
                  </a:lnTo>
                  <a:lnTo>
                    <a:pt x="628" y="397"/>
                  </a:lnTo>
                  <a:lnTo>
                    <a:pt x="614" y="399"/>
                  </a:lnTo>
                  <a:lnTo>
                    <a:pt x="599" y="399"/>
                  </a:lnTo>
                  <a:lnTo>
                    <a:pt x="585" y="399"/>
                  </a:lnTo>
                  <a:lnTo>
                    <a:pt x="572" y="399"/>
                  </a:lnTo>
                  <a:lnTo>
                    <a:pt x="560" y="399"/>
                  </a:lnTo>
                  <a:lnTo>
                    <a:pt x="546" y="400"/>
                  </a:lnTo>
                  <a:lnTo>
                    <a:pt x="531" y="401"/>
                  </a:lnTo>
                  <a:lnTo>
                    <a:pt x="516" y="405"/>
                  </a:lnTo>
                  <a:lnTo>
                    <a:pt x="485" y="413"/>
                  </a:lnTo>
                  <a:lnTo>
                    <a:pt x="458" y="422"/>
                  </a:lnTo>
                  <a:lnTo>
                    <a:pt x="447" y="426"/>
                  </a:lnTo>
                  <a:lnTo>
                    <a:pt x="436" y="426"/>
                  </a:lnTo>
                  <a:lnTo>
                    <a:pt x="423" y="425"/>
                  </a:lnTo>
                  <a:lnTo>
                    <a:pt x="408" y="423"/>
                  </a:lnTo>
                  <a:lnTo>
                    <a:pt x="376" y="416"/>
                  </a:lnTo>
                  <a:lnTo>
                    <a:pt x="340" y="406"/>
                  </a:lnTo>
                  <a:lnTo>
                    <a:pt x="322" y="401"/>
                  </a:lnTo>
                  <a:lnTo>
                    <a:pt x="304" y="399"/>
                  </a:lnTo>
                  <a:lnTo>
                    <a:pt x="285" y="396"/>
                  </a:lnTo>
                  <a:lnTo>
                    <a:pt x="268" y="393"/>
                  </a:lnTo>
                  <a:lnTo>
                    <a:pt x="251" y="395"/>
                  </a:lnTo>
                  <a:lnTo>
                    <a:pt x="234" y="396"/>
                  </a:lnTo>
                  <a:lnTo>
                    <a:pt x="226" y="399"/>
                  </a:lnTo>
                  <a:lnTo>
                    <a:pt x="219" y="401"/>
                  </a:lnTo>
                  <a:lnTo>
                    <a:pt x="211" y="404"/>
                  </a:lnTo>
                  <a:lnTo>
                    <a:pt x="203" y="408"/>
                  </a:lnTo>
                  <a:lnTo>
                    <a:pt x="195" y="414"/>
                  </a:lnTo>
                  <a:lnTo>
                    <a:pt x="189" y="423"/>
                  </a:lnTo>
                  <a:lnTo>
                    <a:pt x="183" y="433"/>
                  </a:lnTo>
                  <a:lnTo>
                    <a:pt x="178" y="442"/>
                  </a:lnTo>
                  <a:lnTo>
                    <a:pt x="173" y="451"/>
                  </a:lnTo>
                  <a:lnTo>
                    <a:pt x="165" y="460"/>
                  </a:lnTo>
                  <a:lnTo>
                    <a:pt x="161" y="465"/>
                  </a:lnTo>
                  <a:lnTo>
                    <a:pt x="157" y="469"/>
                  </a:lnTo>
                  <a:lnTo>
                    <a:pt x="152" y="472"/>
                  </a:lnTo>
                  <a:lnTo>
                    <a:pt x="147" y="474"/>
                  </a:lnTo>
                  <a:lnTo>
                    <a:pt x="126" y="484"/>
                  </a:lnTo>
                  <a:lnTo>
                    <a:pt x="118" y="488"/>
                  </a:lnTo>
                  <a:lnTo>
                    <a:pt x="118" y="497"/>
                  </a:lnTo>
                  <a:lnTo>
                    <a:pt x="119" y="520"/>
                  </a:lnTo>
                  <a:lnTo>
                    <a:pt x="117" y="533"/>
                  </a:lnTo>
                  <a:lnTo>
                    <a:pt x="113" y="549"/>
                  </a:lnTo>
                  <a:lnTo>
                    <a:pt x="106" y="565"/>
                  </a:lnTo>
                  <a:lnTo>
                    <a:pt x="97" y="580"/>
                  </a:lnTo>
                  <a:lnTo>
                    <a:pt x="88" y="596"/>
                  </a:lnTo>
                  <a:lnTo>
                    <a:pt x="76" y="609"/>
                  </a:lnTo>
                  <a:lnTo>
                    <a:pt x="71" y="614"/>
                  </a:lnTo>
                  <a:lnTo>
                    <a:pt x="64" y="618"/>
                  </a:lnTo>
                  <a:lnTo>
                    <a:pt x="58" y="622"/>
                  </a:lnTo>
                  <a:lnTo>
                    <a:pt x="52" y="625"/>
                  </a:lnTo>
                  <a:lnTo>
                    <a:pt x="39" y="626"/>
                  </a:lnTo>
                  <a:lnTo>
                    <a:pt x="24" y="625"/>
                  </a:lnTo>
                  <a:lnTo>
                    <a:pt x="16" y="624"/>
                  </a:lnTo>
                  <a:lnTo>
                    <a:pt x="9" y="624"/>
                  </a:lnTo>
                  <a:lnTo>
                    <a:pt x="4" y="624"/>
                  </a:lnTo>
                  <a:lnTo>
                    <a:pt x="0" y="626"/>
                  </a:lnTo>
                  <a:lnTo>
                    <a:pt x="0" y="629"/>
                  </a:lnTo>
                  <a:lnTo>
                    <a:pt x="1" y="635"/>
                  </a:lnTo>
                  <a:lnTo>
                    <a:pt x="5" y="642"/>
                  </a:lnTo>
                  <a:lnTo>
                    <a:pt x="9" y="650"/>
                  </a:lnTo>
                  <a:lnTo>
                    <a:pt x="17" y="665"/>
                  </a:lnTo>
                  <a:lnTo>
                    <a:pt x="22" y="676"/>
                  </a:lnTo>
                  <a:lnTo>
                    <a:pt x="32" y="707"/>
                  </a:lnTo>
                  <a:lnTo>
                    <a:pt x="37" y="728"/>
                  </a:lnTo>
                  <a:lnTo>
                    <a:pt x="41" y="735"/>
                  </a:lnTo>
                  <a:lnTo>
                    <a:pt x="43" y="740"/>
                  </a:lnTo>
                  <a:lnTo>
                    <a:pt x="46" y="743"/>
                  </a:lnTo>
                  <a:lnTo>
                    <a:pt x="50" y="745"/>
                  </a:lnTo>
                  <a:lnTo>
                    <a:pt x="73" y="744"/>
                  </a:lnTo>
                  <a:lnTo>
                    <a:pt x="119" y="740"/>
                  </a:lnTo>
                  <a:lnTo>
                    <a:pt x="124" y="740"/>
                  </a:lnTo>
                  <a:lnTo>
                    <a:pt x="128" y="741"/>
                  </a:lnTo>
                  <a:lnTo>
                    <a:pt x="132" y="744"/>
                  </a:lnTo>
                  <a:lnTo>
                    <a:pt x="135" y="747"/>
                  </a:lnTo>
                  <a:lnTo>
                    <a:pt x="139" y="754"/>
                  </a:lnTo>
                  <a:lnTo>
                    <a:pt x="140" y="764"/>
                  </a:lnTo>
                  <a:lnTo>
                    <a:pt x="140" y="784"/>
                  </a:lnTo>
                  <a:lnTo>
                    <a:pt x="140" y="803"/>
                  </a:lnTo>
                  <a:lnTo>
                    <a:pt x="139" y="811"/>
                  </a:lnTo>
                  <a:lnTo>
                    <a:pt x="138" y="816"/>
                  </a:lnTo>
                  <a:lnTo>
                    <a:pt x="135" y="821"/>
                  </a:lnTo>
                  <a:lnTo>
                    <a:pt x="131" y="826"/>
                  </a:lnTo>
                  <a:lnTo>
                    <a:pt x="123" y="834"/>
                  </a:lnTo>
                  <a:lnTo>
                    <a:pt x="113" y="841"/>
                  </a:lnTo>
                  <a:lnTo>
                    <a:pt x="101" y="846"/>
                  </a:lnTo>
                  <a:lnTo>
                    <a:pt x="89" y="853"/>
                  </a:lnTo>
                  <a:lnTo>
                    <a:pt x="79" y="859"/>
                  </a:lnTo>
                  <a:lnTo>
                    <a:pt x="69" y="868"/>
                  </a:lnTo>
                  <a:lnTo>
                    <a:pt x="69" y="872"/>
                  </a:lnTo>
                  <a:lnTo>
                    <a:pt x="71" y="877"/>
                  </a:lnTo>
                  <a:lnTo>
                    <a:pt x="75" y="881"/>
                  </a:lnTo>
                  <a:lnTo>
                    <a:pt x="77" y="885"/>
                  </a:lnTo>
                  <a:lnTo>
                    <a:pt x="85" y="896"/>
                  </a:lnTo>
                  <a:lnTo>
                    <a:pt x="96" y="907"/>
                  </a:lnTo>
                  <a:lnTo>
                    <a:pt x="98" y="910"/>
                  </a:lnTo>
                  <a:lnTo>
                    <a:pt x="100" y="915"/>
                  </a:lnTo>
                  <a:lnTo>
                    <a:pt x="100" y="917"/>
                  </a:lnTo>
                  <a:lnTo>
                    <a:pt x="100" y="917"/>
                  </a:lnTo>
                  <a:lnTo>
                    <a:pt x="101" y="918"/>
                  </a:lnTo>
                  <a:lnTo>
                    <a:pt x="103" y="928"/>
                  </a:lnTo>
                  <a:lnTo>
                    <a:pt x="106" y="941"/>
                  </a:lnTo>
                  <a:lnTo>
                    <a:pt x="106" y="953"/>
                  </a:lnTo>
                  <a:lnTo>
                    <a:pt x="103" y="965"/>
                  </a:lnTo>
                  <a:lnTo>
                    <a:pt x="103" y="968"/>
                  </a:lnTo>
                  <a:lnTo>
                    <a:pt x="100" y="970"/>
                  </a:lnTo>
                  <a:lnTo>
                    <a:pt x="94" y="974"/>
                  </a:lnTo>
                  <a:lnTo>
                    <a:pt x="102" y="986"/>
                  </a:lnTo>
                  <a:lnTo>
                    <a:pt x="110" y="996"/>
                  </a:lnTo>
                  <a:lnTo>
                    <a:pt x="110" y="998"/>
                  </a:lnTo>
                  <a:lnTo>
                    <a:pt x="111" y="1002"/>
                  </a:lnTo>
                  <a:lnTo>
                    <a:pt x="113" y="1003"/>
                  </a:lnTo>
                  <a:lnTo>
                    <a:pt x="117" y="1006"/>
                  </a:lnTo>
                  <a:lnTo>
                    <a:pt x="119" y="1008"/>
                  </a:lnTo>
                  <a:lnTo>
                    <a:pt x="122" y="1012"/>
                  </a:lnTo>
                  <a:lnTo>
                    <a:pt x="123" y="1016"/>
                  </a:lnTo>
                  <a:lnTo>
                    <a:pt x="124" y="1025"/>
                  </a:lnTo>
                  <a:lnTo>
                    <a:pt x="124" y="1034"/>
                  </a:lnTo>
                  <a:lnTo>
                    <a:pt x="123" y="1045"/>
                  </a:lnTo>
                  <a:lnTo>
                    <a:pt x="120" y="1054"/>
                  </a:lnTo>
                  <a:lnTo>
                    <a:pt x="118" y="1061"/>
                  </a:lnTo>
                  <a:lnTo>
                    <a:pt x="115" y="1064"/>
                  </a:lnTo>
                  <a:lnTo>
                    <a:pt x="80" y="1106"/>
                  </a:lnTo>
                  <a:lnTo>
                    <a:pt x="79" y="1106"/>
                  </a:lnTo>
                  <a:lnTo>
                    <a:pt x="58" y="1122"/>
                  </a:lnTo>
                  <a:lnTo>
                    <a:pt x="66" y="1131"/>
                  </a:lnTo>
                  <a:lnTo>
                    <a:pt x="77" y="1143"/>
                  </a:lnTo>
                  <a:lnTo>
                    <a:pt x="77" y="1144"/>
                  </a:lnTo>
                  <a:lnTo>
                    <a:pt x="79" y="1148"/>
                  </a:lnTo>
                  <a:lnTo>
                    <a:pt x="84" y="1149"/>
                  </a:lnTo>
                  <a:lnTo>
                    <a:pt x="89" y="1151"/>
                  </a:lnTo>
                  <a:lnTo>
                    <a:pt x="93" y="1152"/>
                  </a:lnTo>
                  <a:lnTo>
                    <a:pt x="94" y="1153"/>
                  </a:lnTo>
                  <a:lnTo>
                    <a:pt x="96" y="1155"/>
                  </a:lnTo>
                  <a:lnTo>
                    <a:pt x="101" y="1159"/>
                  </a:lnTo>
                  <a:lnTo>
                    <a:pt x="106" y="1160"/>
                  </a:lnTo>
                  <a:lnTo>
                    <a:pt x="107" y="1160"/>
                  </a:lnTo>
                  <a:lnTo>
                    <a:pt x="114" y="1161"/>
                  </a:lnTo>
                  <a:lnTo>
                    <a:pt x="120" y="1165"/>
                  </a:lnTo>
                  <a:lnTo>
                    <a:pt x="130" y="1170"/>
                  </a:lnTo>
                  <a:lnTo>
                    <a:pt x="138" y="1176"/>
                  </a:lnTo>
                  <a:lnTo>
                    <a:pt x="155" y="1189"/>
                  </a:lnTo>
                  <a:lnTo>
                    <a:pt x="166" y="1198"/>
                  </a:lnTo>
                  <a:lnTo>
                    <a:pt x="173" y="1200"/>
                  </a:lnTo>
                  <a:lnTo>
                    <a:pt x="179" y="1202"/>
                  </a:lnTo>
                  <a:lnTo>
                    <a:pt x="186" y="1202"/>
                  </a:lnTo>
                  <a:lnTo>
                    <a:pt x="192" y="1202"/>
                  </a:lnTo>
                  <a:lnTo>
                    <a:pt x="206" y="1199"/>
                  </a:lnTo>
                  <a:lnTo>
                    <a:pt x="217" y="1194"/>
                  </a:lnTo>
                  <a:lnTo>
                    <a:pt x="221" y="1194"/>
                  </a:lnTo>
                  <a:lnTo>
                    <a:pt x="225" y="1194"/>
                  </a:lnTo>
                  <a:lnTo>
                    <a:pt x="230" y="1195"/>
                  </a:lnTo>
                  <a:lnTo>
                    <a:pt x="236" y="1198"/>
                  </a:lnTo>
                  <a:lnTo>
                    <a:pt x="243" y="1204"/>
                  </a:lnTo>
                  <a:lnTo>
                    <a:pt x="249" y="1207"/>
                  </a:lnTo>
                  <a:lnTo>
                    <a:pt x="257" y="1210"/>
                  </a:lnTo>
                  <a:lnTo>
                    <a:pt x="266" y="1214"/>
                  </a:lnTo>
                  <a:lnTo>
                    <a:pt x="268" y="1214"/>
                  </a:lnTo>
                  <a:lnTo>
                    <a:pt x="272" y="1214"/>
                  </a:lnTo>
                  <a:lnTo>
                    <a:pt x="276" y="1211"/>
                  </a:lnTo>
                  <a:lnTo>
                    <a:pt x="280" y="1208"/>
                  </a:lnTo>
                  <a:lnTo>
                    <a:pt x="288" y="1203"/>
                  </a:lnTo>
                  <a:lnTo>
                    <a:pt x="293" y="1200"/>
                  </a:lnTo>
                  <a:lnTo>
                    <a:pt x="309" y="1187"/>
                  </a:lnTo>
                  <a:lnTo>
                    <a:pt x="323" y="1178"/>
                  </a:lnTo>
                  <a:lnTo>
                    <a:pt x="339" y="1189"/>
                  </a:lnTo>
                  <a:lnTo>
                    <a:pt x="355" y="1202"/>
                  </a:lnTo>
                  <a:lnTo>
                    <a:pt x="368" y="1206"/>
                  </a:lnTo>
                  <a:lnTo>
                    <a:pt x="381" y="1210"/>
                  </a:lnTo>
                  <a:lnTo>
                    <a:pt x="382" y="1210"/>
                  </a:lnTo>
                  <a:lnTo>
                    <a:pt x="385" y="1211"/>
                  </a:lnTo>
                  <a:lnTo>
                    <a:pt x="385" y="1212"/>
                  </a:lnTo>
                  <a:lnTo>
                    <a:pt x="385" y="1212"/>
                  </a:lnTo>
                  <a:lnTo>
                    <a:pt x="394" y="1220"/>
                  </a:lnTo>
                  <a:lnTo>
                    <a:pt x="403" y="1228"/>
                  </a:lnTo>
                  <a:lnTo>
                    <a:pt x="408" y="1232"/>
                  </a:lnTo>
                  <a:lnTo>
                    <a:pt x="413" y="1237"/>
                  </a:lnTo>
                  <a:lnTo>
                    <a:pt x="420" y="1241"/>
                  </a:lnTo>
                  <a:lnTo>
                    <a:pt x="428" y="1245"/>
                  </a:lnTo>
                  <a:lnTo>
                    <a:pt x="436" y="1245"/>
                  </a:lnTo>
                  <a:lnTo>
                    <a:pt x="442" y="1242"/>
                  </a:lnTo>
                  <a:lnTo>
                    <a:pt x="445" y="1242"/>
                  </a:lnTo>
                  <a:lnTo>
                    <a:pt x="447" y="1241"/>
                  </a:lnTo>
                  <a:lnTo>
                    <a:pt x="451" y="1238"/>
                  </a:lnTo>
                  <a:lnTo>
                    <a:pt x="457" y="1236"/>
                  </a:lnTo>
                  <a:lnTo>
                    <a:pt x="462" y="1233"/>
                  </a:lnTo>
                  <a:lnTo>
                    <a:pt x="466" y="1233"/>
                  </a:lnTo>
                  <a:lnTo>
                    <a:pt x="467" y="1234"/>
                  </a:lnTo>
                  <a:lnTo>
                    <a:pt x="468" y="1234"/>
                  </a:lnTo>
                  <a:lnTo>
                    <a:pt x="470" y="1236"/>
                  </a:lnTo>
                  <a:lnTo>
                    <a:pt x="471" y="1238"/>
                  </a:lnTo>
                  <a:lnTo>
                    <a:pt x="474" y="1249"/>
                  </a:lnTo>
                  <a:lnTo>
                    <a:pt x="478" y="1261"/>
                  </a:lnTo>
                  <a:lnTo>
                    <a:pt x="478" y="1262"/>
                  </a:lnTo>
                  <a:lnTo>
                    <a:pt x="478" y="1262"/>
                  </a:lnTo>
                  <a:lnTo>
                    <a:pt x="478" y="1263"/>
                  </a:lnTo>
                  <a:lnTo>
                    <a:pt x="479" y="1265"/>
                  </a:lnTo>
                  <a:lnTo>
                    <a:pt x="489" y="1276"/>
                  </a:lnTo>
                  <a:lnTo>
                    <a:pt x="499" y="1288"/>
                  </a:lnTo>
                  <a:lnTo>
                    <a:pt x="500" y="1289"/>
                  </a:lnTo>
                  <a:lnTo>
                    <a:pt x="501" y="1291"/>
                  </a:lnTo>
                  <a:lnTo>
                    <a:pt x="502" y="1295"/>
                  </a:lnTo>
                  <a:lnTo>
                    <a:pt x="504" y="1297"/>
                  </a:lnTo>
                  <a:lnTo>
                    <a:pt x="506" y="1300"/>
                  </a:lnTo>
                  <a:lnTo>
                    <a:pt x="508" y="1301"/>
                  </a:lnTo>
                  <a:lnTo>
                    <a:pt x="565" y="1302"/>
                  </a:lnTo>
                  <a:lnTo>
                    <a:pt x="602" y="1295"/>
                  </a:lnTo>
                  <a:lnTo>
                    <a:pt x="572" y="1189"/>
                  </a:lnTo>
                  <a:lnTo>
                    <a:pt x="567" y="1172"/>
                  </a:lnTo>
                  <a:lnTo>
                    <a:pt x="559" y="1156"/>
                  </a:lnTo>
                  <a:lnTo>
                    <a:pt x="551" y="1143"/>
                  </a:lnTo>
                  <a:lnTo>
                    <a:pt x="540" y="1129"/>
                  </a:lnTo>
                  <a:lnTo>
                    <a:pt x="519" y="1102"/>
                  </a:lnTo>
                  <a:lnTo>
                    <a:pt x="499" y="1076"/>
                  </a:lnTo>
                  <a:lnTo>
                    <a:pt x="495" y="1070"/>
                  </a:lnTo>
                  <a:lnTo>
                    <a:pt x="492" y="1064"/>
                  </a:lnTo>
                  <a:lnTo>
                    <a:pt x="491" y="1059"/>
                  </a:lnTo>
                  <a:lnTo>
                    <a:pt x="489" y="1054"/>
                  </a:lnTo>
                  <a:lnTo>
                    <a:pt x="489" y="1043"/>
                  </a:lnTo>
                  <a:lnTo>
                    <a:pt x="491" y="1033"/>
                  </a:lnTo>
                  <a:lnTo>
                    <a:pt x="495" y="1021"/>
                  </a:lnTo>
                  <a:lnTo>
                    <a:pt x="497" y="1011"/>
                  </a:lnTo>
                  <a:lnTo>
                    <a:pt x="500" y="998"/>
                  </a:lnTo>
                  <a:lnTo>
                    <a:pt x="501" y="985"/>
                  </a:lnTo>
                  <a:lnTo>
                    <a:pt x="501" y="961"/>
                  </a:lnTo>
                  <a:lnTo>
                    <a:pt x="501" y="938"/>
                  </a:lnTo>
                  <a:lnTo>
                    <a:pt x="501" y="927"/>
                  </a:lnTo>
                  <a:lnTo>
                    <a:pt x="500" y="915"/>
                  </a:lnTo>
                  <a:lnTo>
                    <a:pt x="499" y="904"/>
                  </a:lnTo>
                  <a:lnTo>
                    <a:pt x="496" y="893"/>
                  </a:lnTo>
                  <a:lnTo>
                    <a:pt x="491" y="873"/>
                  </a:lnTo>
                  <a:lnTo>
                    <a:pt x="489" y="859"/>
                  </a:lnTo>
                  <a:lnTo>
                    <a:pt x="489" y="853"/>
                  </a:lnTo>
                  <a:lnTo>
                    <a:pt x="491" y="847"/>
                  </a:lnTo>
                  <a:lnTo>
                    <a:pt x="492" y="843"/>
                  </a:lnTo>
                  <a:lnTo>
                    <a:pt x="495" y="839"/>
                  </a:lnTo>
                  <a:lnTo>
                    <a:pt x="501" y="833"/>
                  </a:lnTo>
                  <a:lnTo>
                    <a:pt x="510" y="826"/>
                  </a:lnTo>
                  <a:lnTo>
                    <a:pt x="523" y="820"/>
                  </a:lnTo>
                  <a:lnTo>
                    <a:pt x="539" y="812"/>
                  </a:lnTo>
                  <a:lnTo>
                    <a:pt x="547" y="808"/>
                  </a:lnTo>
                  <a:lnTo>
                    <a:pt x="552" y="803"/>
                  </a:lnTo>
                  <a:lnTo>
                    <a:pt x="557" y="796"/>
                  </a:lnTo>
                  <a:lnTo>
                    <a:pt x="560" y="790"/>
                  </a:lnTo>
                  <a:lnTo>
                    <a:pt x="565" y="777"/>
                  </a:lnTo>
                  <a:lnTo>
                    <a:pt x="569" y="761"/>
                  </a:lnTo>
                  <a:lnTo>
                    <a:pt x="573" y="753"/>
                  </a:lnTo>
                  <a:lnTo>
                    <a:pt x="578" y="747"/>
                  </a:lnTo>
                  <a:lnTo>
                    <a:pt x="582" y="743"/>
                  </a:lnTo>
                  <a:lnTo>
                    <a:pt x="587" y="739"/>
                  </a:lnTo>
                  <a:lnTo>
                    <a:pt x="601" y="733"/>
                  </a:lnTo>
                  <a:lnTo>
                    <a:pt x="615" y="723"/>
                  </a:lnTo>
                  <a:lnTo>
                    <a:pt x="627" y="711"/>
                  </a:lnTo>
                  <a:lnTo>
                    <a:pt x="635" y="698"/>
                  </a:lnTo>
                  <a:lnTo>
                    <a:pt x="640" y="693"/>
                  </a:lnTo>
                  <a:lnTo>
                    <a:pt x="645" y="686"/>
                  </a:lnTo>
                  <a:lnTo>
                    <a:pt x="652" y="682"/>
                  </a:lnTo>
                  <a:lnTo>
                    <a:pt x="658" y="677"/>
                  </a:lnTo>
                  <a:lnTo>
                    <a:pt x="667" y="672"/>
                  </a:lnTo>
                  <a:lnTo>
                    <a:pt x="674" y="668"/>
                  </a:lnTo>
                  <a:lnTo>
                    <a:pt x="680" y="662"/>
                  </a:lnTo>
                  <a:lnTo>
                    <a:pt x="686" y="656"/>
                  </a:lnTo>
                  <a:lnTo>
                    <a:pt x="689" y="651"/>
                  </a:lnTo>
                  <a:lnTo>
                    <a:pt x="692" y="645"/>
                  </a:lnTo>
                  <a:lnTo>
                    <a:pt x="693" y="639"/>
                  </a:lnTo>
                  <a:lnTo>
                    <a:pt x="695" y="633"/>
                  </a:lnTo>
                  <a:lnTo>
                    <a:pt x="695" y="620"/>
                  </a:lnTo>
                  <a:lnTo>
                    <a:pt x="691" y="607"/>
                  </a:lnTo>
                  <a:lnTo>
                    <a:pt x="686" y="594"/>
                  </a:lnTo>
                  <a:lnTo>
                    <a:pt x="679" y="580"/>
                  </a:lnTo>
                  <a:lnTo>
                    <a:pt x="663" y="556"/>
                  </a:lnTo>
                  <a:lnTo>
                    <a:pt x="652" y="532"/>
                  </a:lnTo>
                  <a:lnTo>
                    <a:pt x="648" y="520"/>
                  </a:lnTo>
                  <a:lnTo>
                    <a:pt x="645" y="511"/>
                  </a:lnTo>
                  <a:lnTo>
                    <a:pt x="646" y="506"/>
                  </a:lnTo>
                  <a:lnTo>
                    <a:pt x="646" y="502"/>
                  </a:lnTo>
                  <a:lnTo>
                    <a:pt x="649" y="498"/>
                  </a:lnTo>
                  <a:lnTo>
                    <a:pt x="652" y="494"/>
                  </a:lnTo>
                  <a:lnTo>
                    <a:pt x="662" y="486"/>
                  </a:lnTo>
                  <a:lnTo>
                    <a:pt x="671" y="481"/>
                  </a:lnTo>
                  <a:lnTo>
                    <a:pt x="680" y="480"/>
                  </a:lnTo>
                  <a:lnTo>
                    <a:pt x="689" y="480"/>
                  </a:lnTo>
                  <a:lnTo>
                    <a:pt x="697" y="482"/>
                  </a:lnTo>
                  <a:lnTo>
                    <a:pt x="706" y="488"/>
                  </a:lnTo>
                  <a:lnTo>
                    <a:pt x="716" y="493"/>
                  </a:lnTo>
                  <a:lnTo>
                    <a:pt x="723" y="499"/>
                  </a:lnTo>
                  <a:lnTo>
                    <a:pt x="742" y="512"/>
                  </a:lnTo>
                  <a:lnTo>
                    <a:pt x="759" y="524"/>
                  </a:lnTo>
                  <a:lnTo>
                    <a:pt x="767" y="529"/>
                  </a:lnTo>
                  <a:lnTo>
                    <a:pt x="776" y="532"/>
                  </a:lnTo>
                  <a:lnTo>
                    <a:pt x="785" y="533"/>
                  </a:lnTo>
                  <a:lnTo>
                    <a:pt x="794" y="532"/>
                  </a:lnTo>
                  <a:lnTo>
                    <a:pt x="809" y="527"/>
                  </a:lnTo>
                  <a:lnTo>
                    <a:pt x="824" y="519"/>
                  </a:lnTo>
                  <a:lnTo>
                    <a:pt x="832" y="518"/>
                  </a:lnTo>
                  <a:lnTo>
                    <a:pt x="840" y="519"/>
                  </a:lnTo>
                  <a:lnTo>
                    <a:pt x="843" y="520"/>
                  </a:lnTo>
                  <a:lnTo>
                    <a:pt x="844" y="523"/>
                  </a:lnTo>
                  <a:lnTo>
                    <a:pt x="845" y="527"/>
                  </a:lnTo>
                  <a:lnTo>
                    <a:pt x="846" y="532"/>
                  </a:lnTo>
                  <a:lnTo>
                    <a:pt x="848" y="540"/>
                  </a:lnTo>
                  <a:lnTo>
                    <a:pt x="850" y="546"/>
                  </a:lnTo>
                  <a:lnTo>
                    <a:pt x="854" y="552"/>
                  </a:lnTo>
                  <a:lnTo>
                    <a:pt x="860" y="556"/>
                  </a:lnTo>
                  <a:lnTo>
                    <a:pt x="866" y="560"/>
                  </a:lnTo>
                  <a:lnTo>
                    <a:pt x="873" y="562"/>
                  </a:lnTo>
                  <a:lnTo>
                    <a:pt x="879" y="563"/>
                  </a:lnTo>
                  <a:lnTo>
                    <a:pt x="887" y="563"/>
                  </a:lnTo>
                  <a:lnTo>
                    <a:pt x="903" y="563"/>
                  </a:lnTo>
                  <a:lnTo>
                    <a:pt x="918" y="562"/>
                  </a:lnTo>
                  <a:lnTo>
                    <a:pt x="934" y="560"/>
                  </a:lnTo>
                  <a:lnTo>
                    <a:pt x="946" y="556"/>
                  </a:lnTo>
                  <a:lnTo>
                    <a:pt x="951" y="554"/>
                  </a:lnTo>
                  <a:lnTo>
                    <a:pt x="956" y="554"/>
                  </a:lnTo>
                  <a:lnTo>
                    <a:pt x="960" y="556"/>
                  </a:lnTo>
                  <a:lnTo>
                    <a:pt x="964" y="557"/>
                  </a:lnTo>
                  <a:lnTo>
                    <a:pt x="967" y="560"/>
                  </a:lnTo>
                  <a:lnTo>
                    <a:pt x="969" y="562"/>
                  </a:lnTo>
                  <a:lnTo>
                    <a:pt x="972" y="566"/>
                  </a:lnTo>
                  <a:lnTo>
                    <a:pt x="973" y="570"/>
                  </a:lnTo>
                  <a:lnTo>
                    <a:pt x="975" y="579"/>
                  </a:lnTo>
                  <a:lnTo>
                    <a:pt x="976" y="588"/>
                  </a:lnTo>
                  <a:lnTo>
                    <a:pt x="976" y="599"/>
                  </a:lnTo>
                  <a:lnTo>
                    <a:pt x="976" y="609"/>
                  </a:lnTo>
                  <a:lnTo>
                    <a:pt x="976" y="617"/>
                  </a:lnTo>
                  <a:lnTo>
                    <a:pt x="977" y="625"/>
                  </a:lnTo>
                  <a:lnTo>
                    <a:pt x="980" y="630"/>
                  </a:lnTo>
                  <a:lnTo>
                    <a:pt x="981" y="635"/>
                  </a:lnTo>
                  <a:lnTo>
                    <a:pt x="984" y="641"/>
                  </a:lnTo>
                  <a:lnTo>
                    <a:pt x="988" y="645"/>
                  </a:lnTo>
                  <a:lnTo>
                    <a:pt x="992" y="648"/>
                  </a:lnTo>
                  <a:lnTo>
                    <a:pt x="996" y="652"/>
                  </a:lnTo>
                  <a:lnTo>
                    <a:pt x="1018" y="663"/>
                  </a:lnTo>
                  <a:lnTo>
                    <a:pt x="1044" y="673"/>
                  </a:lnTo>
                  <a:lnTo>
                    <a:pt x="1056" y="681"/>
                  </a:lnTo>
                  <a:lnTo>
                    <a:pt x="1067" y="693"/>
                  </a:lnTo>
                  <a:lnTo>
                    <a:pt x="1073" y="698"/>
                  </a:lnTo>
                  <a:lnTo>
                    <a:pt x="1079" y="703"/>
                  </a:lnTo>
                  <a:lnTo>
                    <a:pt x="1084" y="707"/>
                  </a:lnTo>
                  <a:lnTo>
                    <a:pt x="1090" y="710"/>
                  </a:lnTo>
                  <a:lnTo>
                    <a:pt x="1101" y="711"/>
                  </a:lnTo>
                  <a:lnTo>
                    <a:pt x="1111" y="713"/>
                  </a:lnTo>
                  <a:lnTo>
                    <a:pt x="1119" y="711"/>
                  </a:lnTo>
                  <a:lnTo>
                    <a:pt x="1125" y="710"/>
                  </a:lnTo>
                  <a:lnTo>
                    <a:pt x="1139" y="706"/>
                  </a:lnTo>
                  <a:lnTo>
                    <a:pt x="1158" y="702"/>
                  </a:lnTo>
                  <a:lnTo>
                    <a:pt x="1247" y="696"/>
                  </a:lnTo>
                  <a:lnTo>
                    <a:pt x="1235" y="608"/>
                  </a:lnTo>
                  <a:lnTo>
                    <a:pt x="1235" y="604"/>
                  </a:lnTo>
                  <a:lnTo>
                    <a:pt x="1236" y="599"/>
                  </a:lnTo>
                  <a:lnTo>
                    <a:pt x="1239" y="595"/>
                  </a:lnTo>
                  <a:lnTo>
                    <a:pt x="1241" y="591"/>
                  </a:lnTo>
                  <a:lnTo>
                    <a:pt x="1247" y="583"/>
                  </a:lnTo>
                  <a:lnTo>
                    <a:pt x="1251" y="574"/>
                  </a:lnTo>
                  <a:lnTo>
                    <a:pt x="1252" y="563"/>
                  </a:lnTo>
                  <a:lnTo>
                    <a:pt x="1252" y="552"/>
                  </a:lnTo>
                  <a:lnTo>
                    <a:pt x="1252" y="540"/>
                  </a:lnTo>
                  <a:lnTo>
                    <a:pt x="1252" y="528"/>
                  </a:lnTo>
                  <a:lnTo>
                    <a:pt x="1252" y="518"/>
                  </a:lnTo>
                  <a:lnTo>
                    <a:pt x="1253" y="502"/>
                  </a:lnTo>
                  <a:lnTo>
                    <a:pt x="1253" y="486"/>
                  </a:lnTo>
                  <a:lnTo>
                    <a:pt x="1255" y="477"/>
                  </a:lnTo>
                  <a:lnTo>
                    <a:pt x="1272" y="430"/>
                  </a:lnTo>
                  <a:lnTo>
                    <a:pt x="1275" y="382"/>
                  </a:lnTo>
                  <a:lnTo>
                    <a:pt x="1278" y="379"/>
                  </a:lnTo>
                  <a:lnTo>
                    <a:pt x="1286" y="375"/>
                  </a:lnTo>
                  <a:lnTo>
                    <a:pt x="1298" y="371"/>
                  </a:lnTo>
                  <a:lnTo>
                    <a:pt x="1311" y="367"/>
                  </a:lnTo>
                  <a:lnTo>
                    <a:pt x="1336" y="361"/>
                  </a:lnTo>
                  <a:lnTo>
                    <a:pt x="1349" y="358"/>
                  </a:lnTo>
                  <a:lnTo>
                    <a:pt x="1355" y="355"/>
                  </a:lnTo>
                  <a:lnTo>
                    <a:pt x="1358" y="352"/>
                  </a:lnTo>
                  <a:lnTo>
                    <a:pt x="1358" y="348"/>
                  </a:lnTo>
                  <a:lnTo>
                    <a:pt x="1358" y="345"/>
                  </a:lnTo>
                  <a:lnTo>
                    <a:pt x="1355" y="341"/>
                  </a:lnTo>
                  <a:lnTo>
                    <a:pt x="1351" y="337"/>
                  </a:lnTo>
                  <a:lnTo>
                    <a:pt x="1345" y="329"/>
                  </a:lnTo>
                  <a:lnTo>
                    <a:pt x="1340" y="321"/>
                  </a:lnTo>
                  <a:lnTo>
                    <a:pt x="1337" y="316"/>
                  </a:lnTo>
                  <a:lnTo>
                    <a:pt x="1336" y="308"/>
                  </a:lnTo>
                  <a:lnTo>
                    <a:pt x="1336" y="302"/>
                  </a:lnTo>
                  <a:lnTo>
                    <a:pt x="1336" y="295"/>
                  </a:lnTo>
                  <a:lnTo>
                    <a:pt x="1338" y="281"/>
                  </a:lnTo>
                  <a:lnTo>
                    <a:pt x="1342" y="268"/>
                  </a:lnTo>
                  <a:lnTo>
                    <a:pt x="1358" y="263"/>
                  </a:lnTo>
                  <a:lnTo>
                    <a:pt x="1372" y="257"/>
                  </a:lnTo>
                  <a:lnTo>
                    <a:pt x="1385" y="238"/>
                  </a:lnTo>
                  <a:lnTo>
                    <a:pt x="1398" y="219"/>
                  </a:lnTo>
                  <a:lnTo>
                    <a:pt x="1400" y="219"/>
                  </a:lnTo>
                  <a:lnTo>
                    <a:pt x="1401" y="218"/>
                  </a:lnTo>
                  <a:lnTo>
                    <a:pt x="1402" y="218"/>
                  </a:lnTo>
                  <a:lnTo>
                    <a:pt x="1408" y="222"/>
                  </a:lnTo>
                  <a:lnTo>
                    <a:pt x="1413" y="226"/>
                  </a:lnTo>
                  <a:lnTo>
                    <a:pt x="1419" y="236"/>
                  </a:lnTo>
                  <a:lnTo>
                    <a:pt x="1427" y="246"/>
                  </a:lnTo>
                  <a:lnTo>
                    <a:pt x="1431" y="249"/>
                  </a:lnTo>
                  <a:lnTo>
                    <a:pt x="1436" y="253"/>
                  </a:lnTo>
                  <a:lnTo>
                    <a:pt x="1442" y="256"/>
                  </a:lnTo>
                  <a:lnTo>
                    <a:pt x="1446" y="256"/>
                  </a:lnTo>
                  <a:lnTo>
                    <a:pt x="1448" y="256"/>
                  </a:lnTo>
                  <a:lnTo>
                    <a:pt x="1451" y="259"/>
                  </a:lnTo>
                  <a:lnTo>
                    <a:pt x="1452" y="263"/>
                  </a:lnTo>
                  <a:lnTo>
                    <a:pt x="1452" y="264"/>
                  </a:lnTo>
                  <a:lnTo>
                    <a:pt x="1453" y="266"/>
                  </a:lnTo>
                  <a:lnTo>
                    <a:pt x="1456" y="266"/>
                  </a:lnTo>
                  <a:lnTo>
                    <a:pt x="1457" y="266"/>
                  </a:lnTo>
                  <a:lnTo>
                    <a:pt x="1465" y="273"/>
                  </a:lnTo>
                  <a:lnTo>
                    <a:pt x="1472" y="280"/>
                  </a:lnTo>
                  <a:lnTo>
                    <a:pt x="1473" y="280"/>
                  </a:lnTo>
                  <a:lnTo>
                    <a:pt x="1480" y="284"/>
                  </a:lnTo>
                  <a:lnTo>
                    <a:pt x="1485" y="290"/>
                  </a:lnTo>
                  <a:lnTo>
                    <a:pt x="1485" y="291"/>
                  </a:lnTo>
                  <a:lnTo>
                    <a:pt x="1487" y="294"/>
                  </a:lnTo>
                  <a:lnTo>
                    <a:pt x="1489" y="295"/>
                  </a:lnTo>
                  <a:lnTo>
                    <a:pt x="1489" y="297"/>
                  </a:lnTo>
                  <a:lnTo>
                    <a:pt x="1497" y="303"/>
                  </a:lnTo>
                  <a:lnTo>
                    <a:pt x="1504" y="311"/>
                  </a:lnTo>
                  <a:lnTo>
                    <a:pt x="1504" y="314"/>
                  </a:lnTo>
                  <a:lnTo>
                    <a:pt x="1504" y="315"/>
                  </a:lnTo>
                  <a:lnTo>
                    <a:pt x="1507" y="318"/>
                  </a:lnTo>
                  <a:lnTo>
                    <a:pt x="1508" y="321"/>
                  </a:lnTo>
                  <a:lnTo>
                    <a:pt x="1510" y="324"/>
                  </a:lnTo>
                  <a:lnTo>
                    <a:pt x="1510" y="327"/>
                  </a:lnTo>
                  <a:lnTo>
                    <a:pt x="1511" y="333"/>
                  </a:lnTo>
                  <a:lnTo>
                    <a:pt x="1511" y="342"/>
                  </a:lnTo>
                  <a:lnTo>
                    <a:pt x="1511" y="344"/>
                  </a:lnTo>
                  <a:lnTo>
                    <a:pt x="1510" y="346"/>
                  </a:lnTo>
                  <a:lnTo>
                    <a:pt x="1508" y="349"/>
                  </a:lnTo>
                  <a:lnTo>
                    <a:pt x="1506" y="352"/>
                  </a:lnTo>
                  <a:lnTo>
                    <a:pt x="1483" y="349"/>
                  </a:lnTo>
                  <a:lnTo>
                    <a:pt x="1463" y="345"/>
                  </a:lnTo>
                  <a:lnTo>
                    <a:pt x="1452" y="342"/>
                  </a:lnTo>
                  <a:lnTo>
                    <a:pt x="1442" y="342"/>
                  </a:lnTo>
                  <a:lnTo>
                    <a:pt x="1431" y="342"/>
                  </a:lnTo>
                  <a:lnTo>
                    <a:pt x="1419" y="344"/>
                  </a:lnTo>
                  <a:lnTo>
                    <a:pt x="1417" y="346"/>
                  </a:lnTo>
                  <a:lnTo>
                    <a:pt x="1417" y="349"/>
                  </a:lnTo>
                  <a:lnTo>
                    <a:pt x="1417" y="352"/>
                  </a:lnTo>
                  <a:lnTo>
                    <a:pt x="1418" y="355"/>
                  </a:lnTo>
                  <a:lnTo>
                    <a:pt x="1421" y="363"/>
                  </a:lnTo>
                  <a:lnTo>
                    <a:pt x="1423" y="370"/>
                  </a:lnTo>
                  <a:lnTo>
                    <a:pt x="1430" y="378"/>
                  </a:lnTo>
                  <a:lnTo>
                    <a:pt x="1436" y="387"/>
                  </a:lnTo>
                  <a:lnTo>
                    <a:pt x="1464" y="427"/>
                  </a:lnTo>
                  <a:lnTo>
                    <a:pt x="1515" y="396"/>
                  </a:lnTo>
                  <a:lnTo>
                    <a:pt x="1558" y="366"/>
                  </a:lnTo>
                  <a:lnTo>
                    <a:pt x="1561" y="354"/>
                  </a:lnTo>
                  <a:lnTo>
                    <a:pt x="1563" y="344"/>
                  </a:lnTo>
                  <a:lnTo>
                    <a:pt x="1565" y="332"/>
                  </a:lnTo>
                  <a:lnTo>
                    <a:pt x="1565" y="320"/>
                  </a:lnTo>
                  <a:lnTo>
                    <a:pt x="1563" y="310"/>
                  </a:lnTo>
                  <a:lnTo>
                    <a:pt x="1559" y="301"/>
                  </a:lnTo>
                  <a:lnTo>
                    <a:pt x="1555" y="297"/>
                  </a:lnTo>
                  <a:lnTo>
                    <a:pt x="1553" y="293"/>
                  </a:lnTo>
                  <a:lnTo>
                    <a:pt x="1549" y="290"/>
                  </a:lnTo>
                  <a:lnTo>
                    <a:pt x="1544" y="287"/>
                  </a:lnTo>
                  <a:lnTo>
                    <a:pt x="1537" y="282"/>
                  </a:lnTo>
                  <a:lnTo>
                    <a:pt x="1532" y="277"/>
                  </a:lnTo>
                  <a:lnTo>
                    <a:pt x="1527" y="269"/>
                  </a:lnTo>
                  <a:lnTo>
                    <a:pt x="1524" y="261"/>
                  </a:lnTo>
                  <a:lnTo>
                    <a:pt x="1519" y="243"/>
                  </a:lnTo>
                  <a:lnTo>
                    <a:pt x="1515" y="227"/>
                  </a:lnTo>
                  <a:lnTo>
                    <a:pt x="1510" y="213"/>
                  </a:lnTo>
                  <a:lnTo>
                    <a:pt x="1504" y="198"/>
                  </a:lnTo>
                  <a:lnTo>
                    <a:pt x="1503" y="192"/>
                  </a:lnTo>
                  <a:lnTo>
                    <a:pt x="1504" y="187"/>
                  </a:lnTo>
                  <a:lnTo>
                    <a:pt x="1504" y="184"/>
                  </a:lnTo>
                  <a:lnTo>
                    <a:pt x="1507" y="183"/>
                  </a:lnTo>
                  <a:lnTo>
                    <a:pt x="1510" y="181"/>
                  </a:lnTo>
                  <a:lnTo>
                    <a:pt x="1512" y="181"/>
                  </a:lnTo>
                  <a:lnTo>
                    <a:pt x="1529" y="183"/>
                  </a:lnTo>
                  <a:lnTo>
                    <a:pt x="1546" y="187"/>
                  </a:lnTo>
                  <a:lnTo>
                    <a:pt x="1565" y="189"/>
                  </a:lnTo>
                  <a:lnTo>
                    <a:pt x="1583" y="191"/>
                  </a:lnTo>
                  <a:lnTo>
                    <a:pt x="1599" y="191"/>
                  </a:lnTo>
                  <a:lnTo>
                    <a:pt x="1621" y="189"/>
                  </a:lnTo>
                  <a:lnTo>
                    <a:pt x="1643" y="188"/>
                  </a:lnTo>
                  <a:lnTo>
                    <a:pt x="1657" y="188"/>
                  </a:lnTo>
                  <a:lnTo>
                    <a:pt x="1708" y="192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39" name="Freeform 78"/>
            <p:cNvSpPr>
              <a:spLocks noEditPoints="1"/>
            </p:cNvSpPr>
            <p:nvPr/>
          </p:nvSpPr>
          <p:spPr bwMode="auto">
            <a:xfrm>
              <a:off x="2362200" y="4405313"/>
              <a:ext cx="512763" cy="490537"/>
            </a:xfrm>
            <a:custGeom>
              <a:avLst/>
              <a:gdLst/>
              <a:ahLst/>
              <a:cxnLst>
                <a:cxn ang="0">
                  <a:pos x="840" y="119"/>
                </a:cxn>
                <a:cxn ang="0">
                  <a:pos x="866" y="139"/>
                </a:cxn>
                <a:cxn ang="0">
                  <a:pos x="969" y="144"/>
                </a:cxn>
                <a:cxn ang="0">
                  <a:pos x="957" y="135"/>
                </a:cxn>
                <a:cxn ang="0">
                  <a:pos x="922" y="110"/>
                </a:cxn>
                <a:cxn ang="0">
                  <a:pos x="889" y="77"/>
                </a:cxn>
                <a:cxn ang="0">
                  <a:pos x="871" y="62"/>
                </a:cxn>
                <a:cxn ang="0">
                  <a:pos x="870" y="49"/>
                </a:cxn>
                <a:cxn ang="0">
                  <a:pos x="878" y="41"/>
                </a:cxn>
                <a:cxn ang="0">
                  <a:pos x="885" y="33"/>
                </a:cxn>
                <a:cxn ang="0">
                  <a:pos x="896" y="22"/>
                </a:cxn>
                <a:cxn ang="0">
                  <a:pos x="912" y="3"/>
                </a:cxn>
                <a:cxn ang="0">
                  <a:pos x="939" y="13"/>
                </a:cxn>
                <a:cxn ang="0">
                  <a:pos x="966" y="39"/>
                </a:cxn>
                <a:cxn ang="0">
                  <a:pos x="755" y="369"/>
                </a:cxn>
                <a:cxn ang="0">
                  <a:pos x="651" y="291"/>
                </a:cxn>
                <a:cxn ang="0">
                  <a:pos x="642" y="398"/>
                </a:cxn>
                <a:cxn ang="0">
                  <a:pos x="577" y="499"/>
                </a:cxn>
                <a:cxn ang="0">
                  <a:pos x="603" y="552"/>
                </a:cxn>
                <a:cxn ang="0">
                  <a:pos x="654" y="637"/>
                </a:cxn>
                <a:cxn ang="0">
                  <a:pos x="527" y="701"/>
                </a:cxn>
                <a:cxn ang="0">
                  <a:pos x="484" y="693"/>
                </a:cxn>
                <a:cxn ang="0">
                  <a:pos x="425" y="699"/>
                </a:cxn>
                <a:cxn ang="0">
                  <a:pos x="375" y="717"/>
                </a:cxn>
                <a:cxn ang="0">
                  <a:pos x="261" y="772"/>
                </a:cxn>
                <a:cxn ang="0">
                  <a:pos x="184" y="806"/>
                </a:cxn>
                <a:cxn ang="0">
                  <a:pos x="99" y="856"/>
                </a:cxn>
                <a:cxn ang="0">
                  <a:pos x="43" y="949"/>
                </a:cxn>
                <a:cxn ang="0">
                  <a:pos x="135" y="1040"/>
                </a:cxn>
                <a:cxn ang="0">
                  <a:pos x="16" y="1282"/>
                </a:cxn>
                <a:cxn ang="0">
                  <a:pos x="46" y="1338"/>
                </a:cxn>
                <a:cxn ang="0">
                  <a:pos x="132" y="1269"/>
                </a:cxn>
                <a:cxn ang="0">
                  <a:pos x="294" y="1316"/>
                </a:cxn>
                <a:cxn ang="0">
                  <a:pos x="362" y="1259"/>
                </a:cxn>
                <a:cxn ang="0">
                  <a:pos x="467" y="1249"/>
                </a:cxn>
                <a:cxn ang="0">
                  <a:pos x="693" y="1296"/>
                </a:cxn>
                <a:cxn ang="0">
                  <a:pos x="867" y="1193"/>
                </a:cxn>
                <a:cxn ang="0">
                  <a:pos x="912" y="1081"/>
                </a:cxn>
                <a:cxn ang="0">
                  <a:pos x="968" y="1022"/>
                </a:cxn>
                <a:cxn ang="0">
                  <a:pos x="1044" y="960"/>
                </a:cxn>
                <a:cxn ang="0">
                  <a:pos x="1159" y="920"/>
                </a:cxn>
                <a:cxn ang="0">
                  <a:pos x="1263" y="870"/>
                </a:cxn>
                <a:cxn ang="0">
                  <a:pos x="1373" y="767"/>
                </a:cxn>
                <a:cxn ang="0">
                  <a:pos x="1371" y="627"/>
                </a:cxn>
                <a:cxn ang="0">
                  <a:pos x="1278" y="662"/>
                </a:cxn>
                <a:cxn ang="0">
                  <a:pos x="1151" y="581"/>
                </a:cxn>
                <a:cxn ang="0">
                  <a:pos x="1120" y="488"/>
                </a:cxn>
                <a:cxn ang="0">
                  <a:pos x="1157" y="453"/>
                </a:cxn>
                <a:cxn ang="0">
                  <a:pos x="1165" y="402"/>
                </a:cxn>
                <a:cxn ang="0">
                  <a:pos x="1129" y="351"/>
                </a:cxn>
                <a:cxn ang="0">
                  <a:pos x="1126" y="399"/>
                </a:cxn>
                <a:cxn ang="0">
                  <a:pos x="1100" y="442"/>
                </a:cxn>
                <a:cxn ang="0">
                  <a:pos x="1044" y="514"/>
                </a:cxn>
                <a:cxn ang="0">
                  <a:pos x="1002" y="564"/>
                </a:cxn>
                <a:cxn ang="0">
                  <a:pos x="949" y="601"/>
                </a:cxn>
                <a:cxn ang="0">
                  <a:pos x="905" y="798"/>
                </a:cxn>
                <a:cxn ang="0">
                  <a:pos x="769" y="935"/>
                </a:cxn>
                <a:cxn ang="0">
                  <a:pos x="740" y="864"/>
                </a:cxn>
                <a:cxn ang="0">
                  <a:pos x="768" y="679"/>
                </a:cxn>
                <a:cxn ang="0">
                  <a:pos x="842" y="552"/>
                </a:cxn>
                <a:cxn ang="0">
                  <a:pos x="834" y="472"/>
                </a:cxn>
                <a:cxn ang="0">
                  <a:pos x="847" y="414"/>
                </a:cxn>
              </a:cxnLst>
              <a:rect l="0" t="0" r="r" b="b"/>
              <a:pathLst>
                <a:path w="1394" h="1338">
                  <a:moveTo>
                    <a:pt x="889" y="121"/>
                  </a:moveTo>
                  <a:lnTo>
                    <a:pt x="881" y="115"/>
                  </a:lnTo>
                  <a:lnTo>
                    <a:pt x="871" y="109"/>
                  </a:lnTo>
                  <a:lnTo>
                    <a:pt x="866" y="106"/>
                  </a:lnTo>
                  <a:lnTo>
                    <a:pt x="859" y="105"/>
                  </a:lnTo>
                  <a:lnTo>
                    <a:pt x="855" y="104"/>
                  </a:lnTo>
                  <a:lnTo>
                    <a:pt x="851" y="105"/>
                  </a:lnTo>
                  <a:lnTo>
                    <a:pt x="847" y="107"/>
                  </a:lnTo>
                  <a:lnTo>
                    <a:pt x="845" y="110"/>
                  </a:lnTo>
                  <a:lnTo>
                    <a:pt x="842" y="114"/>
                  </a:lnTo>
                  <a:lnTo>
                    <a:pt x="840" y="119"/>
                  </a:lnTo>
                  <a:lnTo>
                    <a:pt x="836" y="128"/>
                  </a:lnTo>
                  <a:lnTo>
                    <a:pt x="833" y="136"/>
                  </a:lnTo>
                  <a:lnTo>
                    <a:pt x="832" y="143"/>
                  </a:lnTo>
                  <a:lnTo>
                    <a:pt x="832" y="148"/>
                  </a:lnTo>
                  <a:lnTo>
                    <a:pt x="833" y="149"/>
                  </a:lnTo>
                  <a:lnTo>
                    <a:pt x="834" y="151"/>
                  </a:lnTo>
                  <a:lnTo>
                    <a:pt x="837" y="151"/>
                  </a:lnTo>
                  <a:lnTo>
                    <a:pt x="842" y="149"/>
                  </a:lnTo>
                  <a:lnTo>
                    <a:pt x="850" y="145"/>
                  </a:lnTo>
                  <a:lnTo>
                    <a:pt x="858" y="141"/>
                  </a:lnTo>
                  <a:lnTo>
                    <a:pt x="866" y="139"/>
                  </a:lnTo>
                  <a:lnTo>
                    <a:pt x="875" y="138"/>
                  </a:lnTo>
                  <a:lnTo>
                    <a:pt x="883" y="136"/>
                  </a:lnTo>
                  <a:lnTo>
                    <a:pt x="889" y="134"/>
                  </a:lnTo>
                  <a:lnTo>
                    <a:pt x="891" y="131"/>
                  </a:lnTo>
                  <a:lnTo>
                    <a:pt x="891" y="127"/>
                  </a:lnTo>
                  <a:lnTo>
                    <a:pt x="891" y="123"/>
                  </a:lnTo>
                  <a:lnTo>
                    <a:pt x="889" y="121"/>
                  </a:lnTo>
                  <a:close/>
                  <a:moveTo>
                    <a:pt x="985" y="153"/>
                  </a:moveTo>
                  <a:lnTo>
                    <a:pt x="978" y="151"/>
                  </a:lnTo>
                  <a:lnTo>
                    <a:pt x="973" y="148"/>
                  </a:lnTo>
                  <a:lnTo>
                    <a:pt x="969" y="144"/>
                  </a:lnTo>
                  <a:lnTo>
                    <a:pt x="966" y="143"/>
                  </a:lnTo>
                  <a:lnTo>
                    <a:pt x="965" y="141"/>
                  </a:lnTo>
                  <a:lnTo>
                    <a:pt x="964" y="141"/>
                  </a:lnTo>
                  <a:lnTo>
                    <a:pt x="963" y="140"/>
                  </a:lnTo>
                  <a:lnTo>
                    <a:pt x="963" y="139"/>
                  </a:lnTo>
                  <a:lnTo>
                    <a:pt x="961" y="139"/>
                  </a:lnTo>
                  <a:lnTo>
                    <a:pt x="960" y="138"/>
                  </a:lnTo>
                  <a:lnTo>
                    <a:pt x="960" y="138"/>
                  </a:lnTo>
                  <a:lnTo>
                    <a:pt x="959" y="136"/>
                  </a:lnTo>
                  <a:lnTo>
                    <a:pt x="959" y="136"/>
                  </a:lnTo>
                  <a:lnTo>
                    <a:pt x="957" y="135"/>
                  </a:lnTo>
                  <a:lnTo>
                    <a:pt x="956" y="134"/>
                  </a:lnTo>
                  <a:lnTo>
                    <a:pt x="953" y="134"/>
                  </a:lnTo>
                  <a:lnTo>
                    <a:pt x="952" y="132"/>
                  </a:lnTo>
                  <a:lnTo>
                    <a:pt x="949" y="131"/>
                  </a:lnTo>
                  <a:lnTo>
                    <a:pt x="942" y="126"/>
                  </a:lnTo>
                  <a:lnTo>
                    <a:pt x="934" y="119"/>
                  </a:lnTo>
                  <a:lnTo>
                    <a:pt x="932" y="118"/>
                  </a:lnTo>
                  <a:lnTo>
                    <a:pt x="931" y="117"/>
                  </a:lnTo>
                  <a:lnTo>
                    <a:pt x="929" y="115"/>
                  </a:lnTo>
                  <a:lnTo>
                    <a:pt x="927" y="114"/>
                  </a:lnTo>
                  <a:lnTo>
                    <a:pt x="922" y="110"/>
                  </a:lnTo>
                  <a:lnTo>
                    <a:pt x="917" y="106"/>
                  </a:lnTo>
                  <a:lnTo>
                    <a:pt x="914" y="104"/>
                  </a:lnTo>
                  <a:lnTo>
                    <a:pt x="912" y="101"/>
                  </a:lnTo>
                  <a:lnTo>
                    <a:pt x="906" y="94"/>
                  </a:lnTo>
                  <a:lnTo>
                    <a:pt x="901" y="90"/>
                  </a:lnTo>
                  <a:lnTo>
                    <a:pt x="900" y="89"/>
                  </a:lnTo>
                  <a:lnTo>
                    <a:pt x="900" y="89"/>
                  </a:lnTo>
                  <a:lnTo>
                    <a:pt x="896" y="85"/>
                  </a:lnTo>
                  <a:lnTo>
                    <a:pt x="893" y="81"/>
                  </a:lnTo>
                  <a:lnTo>
                    <a:pt x="891" y="80"/>
                  </a:lnTo>
                  <a:lnTo>
                    <a:pt x="889" y="77"/>
                  </a:lnTo>
                  <a:lnTo>
                    <a:pt x="888" y="77"/>
                  </a:lnTo>
                  <a:lnTo>
                    <a:pt x="888" y="77"/>
                  </a:lnTo>
                  <a:lnTo>
                    <a:pt x="880" y="71"/>
                  </a:lnTo>
                  <a:lnTo>
                    <a:pt x="874" y="64"/>
                  </a:lnTo>
                  <a:lnTo>
                    <a:pt x="874" y="64"/>
                  </a:lnTo>
                  <a:lnTo>
                    <a:pt x="872" y="64"/>
                  </a:lnTo>
                  <a:lnTo>
                    <a:pt x="872" y="63"/>
                  </a:lnTo>
                  <a:lnTo>
                    <a:pt x="872" y="63"/>
                  </a:lnTo>
                  <a:lnTo>
                    <a:pt x="871" y="63"/>
                  </a:lnTo>
                  <a:lnTo>
                    <a:pt x="871" y="62"/>
                  </a:lnTo>
                  <a:lnTo>
                    <a:pt x="871" y="62"/>
                  </a:lnTo>
                  <a:lnTo>
                    <a:pt x="871" y="62"/>
                  </a:lnTo>
                  <a:lnTo>
                    <a:pt x="870" y="62"/>
                  </a:lnTo>
                  <a:lnTo>
                    <a:pt x="870" y="60"/>
                  </a:lnTo>
                  <a:lnTo>
                    <a:pt x="868" y="59"/>
                  </a:lnTo>
                  <a:lnTo>
                    <a:pt x="868" y="56"/>
                  </a:lnTo>
                  <a:lnTo>
                    <a:pt x="867" y="55"/>
                  </a:lnTo>
                  <a:lnTo>
                    <a:pt x="867" y="53"/>
                  </a:lnTo>
                  <a:lnTo>
                    <a:pt x="868" y="50"/>
                  </a:lnTo>
                  <a:lnTo>
                    <a:pt x="868" y="50"/>
                  </a:lnTo>
                  <a:lnTo>
                    <a:pt x="870" y="50"/>
                  </a:lnTo>
                  <a:lnTo>
                    <a:pt x="870" y="49"/>
                  </a:lnTo>
                  <a:lnTo>
                    <a:pt x="871" y="47"/>
                  </a:lnTo>
                  <a:lnTo>
                    <a:pt x="872" y="47"/>
                  </a:lnTo>
                  <a:lnTo>
                    <a:pt x="872" y="46"/>
                  </a:lnTo>
                  <a:lnTo>
                    <a:pt x="874" y="45"/>
                  </a:lnTo>
                  <a:lnTo>
                    <a:pt x="875" y="43"/>
                  </a:lnTo>
                  <a:lnTo>
                    <a:pt x="876" y="43"/>
                  </a:lnTo>
                  <a:lnTo>
                    <a:pt x="876" y="42"/>
                  </a:lnTo>
                  <a:lnTo>
                    <a:pt x="876" y="42"/>
                  </a:lnTo>
                  <a:lnTo>
                    <a:pt x="876" y="42"/>
                  </a:lnTo>
                  <a:lnTo>
                    <a:pt x="878" y="41"/>
                  </a:lnTo>
                  <a:lnTo>
                    <a:pt x="878" y="41"/>
                  </a:lnTo>
                  <a:lnTo>
                    <a:pt x="878" y="41"/>
                  </a:lnTo>
                  <a:lnTo>
                    <a:pt x="879" y="39"/>
                  </a:lnTo>
                  <a:lnTo>
                    <a:pt x="879" y="39"/>
                  </a:lnTo>
                  <a:lnTo>
                    <a:pt x="880" y="39"/>
                  </a:lnTo>
                  <a:lnTo>
                    <a:pt x="880" y="38"/>
                  </a:lnTo>
                  <a:lnTo>
                    <a:pt x="881" y="38"/>
                  </a:lnTo>
                  <a:lnTo>
                    <a:pt x="881" y="37"/>
                  </a:lnTo>
                  <a:lnTo>
                    <a:pt x="883" y="37"/>
                  </a:lnTo>
                  <a:lnTo>
                    <a:pt x="883" y="36"/>
                  </a:lnTo>
                  <a:lnTo>
                    <a:pt x="884" y="34"/>
                  </a:lnTo>
                  <a:lnTo>
                    <a:pt x="885" y="33"/>
                  </a:lnTo>
                  <a:lnTo>
                    <a:pt x="887" y="32"/>
                  </a:lnTo>
                  <a:lnTo>
                    <a:pt x="887" y="30"/>
                  </a:lnTo>
                  <a:lnTo>
                    <a:pt x="888" y="30"/>
                  </a:lnTo>
                  <a:lnTo>
                    <a:pt x="889" y="30"/>
                  </a:lnTo>
                  <a:lnTo>
                    <a:pt x="889" y="29"/>
                  </a:lnTo>
                  <a:lnTo>
                    <a:pt x="889" y="29"/>
                  </a:lnTo>
                  <a:lnTo>
                    <a:pt x="891" y="28"/>
                  </a:lnTo>
                  <a:lnTo>
                    <a:pt x="892" y="26"/>
                  </a:lnTo>
                  <a:lnTo>
                    <a:pt x="893" y="25"/>
                  </a:lnTo>
                  <a:lnTo>
                    <a:pt x="893" y="25"/>
                  </a:lnTo>
                  <a:lnTo>
                    <a:pt x="896" y="22"/>
                  </a:lnTo>
                  <a:lnTo>
                    <a:pt x="898" y="18"/>
                  </a:lnTo>
                  <a:lnTo>
                    <a:pt x="898" y="18"/>
                  </a:lnTo>
                  <a:lnTo>
                    <a:pt x="900" y="17"/>
                  </a:lnTo>
                  <a:lnTo>
                    <a:pt x="901" y="16"/>
                  </a:lnTo>
                  <a:lnTo>
                    <a:pt x="901" y="15"/>
                  </a:lnTo>
                  <a:lnTo>
                    <a:pt x="902" y="15"/>
                  </a:lnTo>
                  <a:lnTo>
                    <a:pt x="902" y="15"/>
                  </a:lnTo>
                  <a:lnTo>
                    <a:pt x="904" y="15"/>
                  </a:lnTo>
                  <a:lnTo>
                    <a:pt x="904" y="13"/>
                  </a:lnTo>
                  <a:lnTo>
                    <a:pt x="908" y="8"/>
                  </a:lnTo>
                  <a:lnTo>
                    <a:pt x="912" y="3"/>
                  </a:lnTo>
                  <a:lnTo>
                    <a:pt x="913" y="3"/>
                  </a:lnTo>
                  <a:lnTo>
                    <a:pt x="913" y="1"/>
                  </a:lnTo>
                  <a:lnTo>
                    <a:pt x="913" y="1"/>
                  </a:lnTo>
                  <a:lnTo>
                    <a:pt x="915" y="0"/>
                  </a:lnTo>
                  <a:lnTo>
                    <a:pt x="918" y="0"/>
                  </a:lnTo>
                  <a:lnTo>
                    <a:pt x="921" y="0"/>
                  </a:lnTo>
                  <a:lnTo>
                    <a:pt x="925" y="3"/>
                  </a:lnTo>
                  <a:lnTo>
                    <a:pt x="930" y="7"/>
                  </a:lnTo>
                  <a:lnTo>
                    <a:pt x="935" y="11"/>
                  </a:lnTo>
                  <a:lnTo>
                    <a:pt x="938" y="12"/>
                  </a:lnTo>
                  <a:lnTo>
                    <a:pt x="939" y="13"/>
                  </a:lnTo>
                  <a:lnTo>
                    <a:pt x="948" y="21"/>
                  </a:lnTo>
                  <a:lnTo>
                    <a:pt x="956" y="28"/>
                  </a:lnTo>
                  <a:lnTo>
                    <a:pt x="957" y="28"/>
                  </a:lnTo>
                  <a:lnTo>
                    <a:pt x="957" y="29"/>
                  </a:lnTo>
                  <a:lnTo>
                    <a:pt x="959" y="30"/>
                  </a:lnTo>
                  <a:lnTo>
                    <a:pt x="960" y="32"/>
                  </a:lnTo>
                  <a:lnTo>
                    <a:pt x="963" y="34"/>
                  </a:lnTo>
                  <a:lnTo>
                    <a:pt x="965" y="37"/>
                  </a:lnTo>
                  <a:lnTo>
                    <a:pt x="965" y="38"/>
                  </a:lnTo>
                  <a:lnTo>
                    <a:pt x="965" y="38"/>
                  </a:lnTo>
                  <a:lnTo>
                    <a:pt x="966" y="39"/>
                  </a:lnTo>
                  <a:lnTo>
                    <a:pt x="968" y="39"/>
                  </a:lnTo>
                  <a:lnTo>
                    <a:pt x="972" y="43"/>
                  </a:lnTo>
                  <a:lnTo>
                    <a:pt x="976" y="46"/>
                  </a:lnTo>
                  <a:lnTo>
                    <a:pt x="1015" y="68"/>
                  </a:lnTo>
                  <a:lnTo>
                    <a:pt x="1006" y="89"/>
                  </a:lnTo>
                  <a:lnTo>
                    <a:pt x="998" y="110"/>
                  </a:lnTo>
                  <a:lnTo>
                    <a:pt x="990" y="132"/>
                  </a:lnTo>
                  <a:lnTo>
                    <a:pt x="985" y="153"/>
                  </a:lnTo>
                  <a:close/>
                  <a:moveTo>
                    <a:pt x="847" y="410"/>
                  </a:moveTo>
                  <a:lnTo>
                    <a:pt x="815" y="400"/>
                  </a:lnTo>
                  <a:lnTo>
                    <a:pt x="755" y="369"/>
                  </a:lnTo>
                  <a:lnTo>
                    <a:pt x="751" y="365"/>
                  </a:lnTo>
                  <a:lnTo>
                    <a:pt x="680" y="298"/>
                  </a:lnTo>
                  <a:lnTo>
                    <a:pt x="668" y="267"/>
                  </a:lnTo>
                  <a:lnTo>
                    <a:pt x="664" y="270"/>
                  </a:lnTo>
                  <a:lnTo>
                    <a:pt x="660" y="272"/>
                  </a:lnTo>
                  <a:lnTo>
                    <a:pt x="656" y="277"/>
                  </a:lnTo>
                  <a:lnTo>
                    <a:pt x="655" y="284"/>
                  </a:lnTo>
                  <a:lnTo>
                    <a:pt x="654" y="284"/>
                  </a:lnTo>
                  <a:lnTo>
                    <a:pt x="654" y="285"/>
                  </a:lnTo>
                  <a:lnTo>
                    <a:pt x="653" y="288"/>
                  </a:lnTo>
                  <a:lnTo>
                    <a:pt x="651" y="291"/>
                  </a:lnTo>
                  <a:lnTo>
                    <a:pt x="650" y="292"/>
                  </a:lnTo>
                  <a:lnTo>
                    <a:pt x="650" y="292"/>
                  </a:lnTo>
                  <a:lnTo>
                    <a:pt x="649" y="295"/>
                  </a:lnTo>
                  <a:lnTo>
                    <a:pt x="647" y="298"/>
                  </a:lnTo>
                  <a:lnTo>
                    <a:pt x="643" y="304"/>
                  </a:lnTo>
                  <a:lnTo>
                    <a:pt x="641" y="310"/>
                  </a:lnTo>
                  <a:lnTo>
                    <a:pt x="641" y="355"/>
                  </a:lnTo>
                  <a:lnTo>
                    <a:pt x="641" y="363"/>
                  </a:lnTo>
                  <a:lnTo>
                    <a:pt x="642" y="377"/>
                  </a:lnTo>
                  <a:lnTo>
                    <a:pt x="643" y="391"/>
                  </a:lnTo>
                  <a:lnTo>
                    <a:pt x="642" y="398"/>
                  </a:lnTo>
                  <a:lnTo>
                    <a:pt x="598" y="438"/>
                  </a:lnTo>
                  <a:lnTo>
                    <a:pt x="579" y="453"/>
                  </a:lnTo>
                  <a:lnTo>
                    <a:pt x="575" y="457"/>
                  </a:lnTo>
                  <a:lnTo>
                    <a:pt x="573" y="463"/>
                  </a:lnTo>
                  <a:lnTo>
                    <a:pt x="571" y="470"/>
                  </a:lnTo>
                  <a:lnTo>
                    <a:pt x="570" y="478"/>
                  </a:lnTo>
                  <a:lnTo>
                    <a:pt x="570" y="485"/>
                  </a:lnTo>
                  <a:lnTo>
                    <a:pt x="570" y="492"/>
                  </a:lnTo>
                  <a:lnTo>
                    <a:pt x="571" y="496"/>
                  </a:lnTo>
                  <a:lnTo>
                    <a:pt x="574" y="499"/>
                  </a:lnTo>
                  <a:lnTo>
                    <a:pt x="577" y="499"/>
                  </a:lnTo>
                  <a:lnTo>
                    <a:pt x="582" y="500"/>
                  </a:lnTo>
                  <a:lnTo>
                    <a:pt x="588" y="502"/>
                  </a:lnTo>
                  <a:lnTo>
                    <a:pt x="592" y="505"/>
                  </a:lnTo>
                  <a:lnTo>
                    <a:pt x="598" y="506"/>
                  </a:lnTo>
                  <a:lnTo>
                    <a:pt x="602" y="508"/>
                  </a:lnTo>
                  <a:lnTo>
                    <a:pt x="603" y="510"/>
                  </a:lnTo>
                  <a:lnTo>
                    <a:pt x="605" y="516"/>
                  </a:lnTo>
                  <a:lnTo>
                    <a:pt x="605" y="522"/>
                  </a:lnTo>
                  <a:lnTo>
                    <a:pt x="604" y="534"/>
                  </a:lnTo>
                  <a:lnTo>
                    <a:pt x="603" y="551"/>
                  </a:lnTo>
                  <a:lnTo>
                    <a:pt x="603" y="552"/>
                  </a:lnTo>
                  <a:lnTo>
                    <a:pt x="612" y="569"/>
                  </a:lnTo>
                  <a:lnTo>
                    <a:pt x="624" y="586"/>
                  </a:lnTo>
                  <a:lnTo>
                    <a:pt x="625" y="590"/>
                  </a:lnTo>
                  <a:lnTo>
                    <a:pt x="626" y="595"/>
                  </a:lnTo>
                  <a:lnTo>
                    <a:pt x="629" y="602"/>
                  </a:lnTo>
                  <a:lnTo>
                    <a:pt x="632" y="610"/>
                  </a:lnTo>
                  <a:lnTo>
                    <a:pt x="636" y="616"/>
                  </a:lnTo>
                  <a:lnTo>
                    <a:pt x="641" y="624"/>
                  </a:lnTo>
                  <a:lnTo>
                    <a:pt x="646" y="627"/>
                  </a:lnTo>
                  <a:lnTo>
                    <a:pt x="650" y="632"/>
                  </a:lnTo>
                  <a:lnTo>
                    <a:pt x="654" y="637"/>
                  </a:lnTo>
                  <a:lnTo>
                    <a:pt x="655" y="644"/>
                  </a:lnTo>
                  <a:lnTo>
                    <a:pt x="655" y="650"/>
                  </a:lnTo>
                  <a:lnTo>
                    <a:pt x="654" y="657"/>
                  </a:lnTo>
                  <a:lnTo>
                    <a:pt x="650" y="663"/>
                  </a:lnTo>
                  <a:lnTo>
                    <a:pt x="645" y="669"/>
                  </a:lnTo>
                  <a:lnTo>
                    <a:pt x="626" y="688"/>
                  </a:lnTo>
                  <a:lnTo>
                    <a:pt x="609" y="707"/>
                  </a:lnTo>
                  <a:lnTo>
                    <a:pt x="571" y="735"/>
                  </a:lnTo>
                  <a:lnTo>
                    <a:pt x="569" y="737"/>
                  </a:lnTo>
                  <a:lnTo>
                    <a:pt x="568" y="735"/>
                  </a:lnTo>
                  <a:lnTo>
                    <a:pt x="527" y="701"/>
                  </a:lnTo>
                  <a:lnTo>
                    <a:pt x="520" y="695"/>
                  </a:lnTo>
                  <a:lnTo>
                    <a:pt x="513" y="686"/>
                  </a:lnTo>
                  <a:lnTo>
                    <a:pt x="509" y="682"/>
                  </a:lnTo>
                  <a:lnTo>
                    <a:pt x="505" y="679"/>
                  </a:lnTo>
                  <a:lnTo>
                    <a:pt x="502" y="676"/>
                  </a:lnTo>
                  <a:lnTo>
                    <a:pt x="498" y="676"/>
                  </a:lnTo>
                  <a:lnTo>
                    <a:pt x="497" y="676"/>
                  </a:lnTo>
                  <a:lnTo>
                    <a:pt x="496" y="675"/>
                  </a:lnTo>
                  <a:lnTo>
                    <a:pt x="494" y="675"/>
                  </a:lnTo>
                  <a:lnTo>
                    <a:pt x="490" y="683"/>
                  </a:lnTo>
                  <a:lnTo>
                    <a:pt x="484" y="693"/>
                  </a:lnTo>
                  <a:lnTo>
                    <a:pt x="481" y="697"/>
                  </a:lnTo>
                  <a:lnTo>
                    <a:pt x="477" y="701"/>
                  </a:lnTo>
                  <a:lnTo>
                    <a:pt x="475" y="703"/>
                  </a:lnTo>
                  <a:lnTo>
                    <a:pt x="471" y="704"/>
                  </a:lnTo>
                  <a:lnTo>
                    <a:pt x="469" y="704"/>
                  </a:lnTo>
                  <a:lnTo>
                    <a:pt x="462" y="707"/>
                  </a:lnTo>
                  <a:lnTo>
                    <a:pt x="452" y="712"/>
                  </a:lnTo>
                  <a:lnTo>
                    <a:pt x="445" y="710"/>
                  </a:lnTo>
                  <a:lnTo>
                    <a:pt x="435" y="709"/>
                  </a:lnTo>
                  <a:lnTo>
                    <a:pt x="434" y="709"/>
                  </a:lnTo>
                  <a:lnTo>
                    <a:pt x="425" y="699"/>
                  </a:lnTo>
                  <a:lnTo>
                    <a:pt x="416" y="686"/>
                  </a:lnTo>
                  <a:lnTo>
                    <a:pt x="415" y="686"/>
                  </a:lnTo>
                  <a:lnTo>
                    <a:pt x="413" y="684"/>
                  </a:lnTo>
                  <a:lnTo>
                    <a:pt x="411" y="686"/>
                  </a:lnTo>
                  <a:lnTo>
                    <a:pt x="409" y="687"/>
                  </a:lnTo>
                  <a:lnTo>
                    <a:pt x="404" y="691"/>
                  </a:lnTo>
                  <a:lnTo>
                    <a:pt x="400" y="695"/>
                  </a:lnTo>
                  <a:lnTo>
                    <a:pt x="391" y="705"/>
                  </a:lnTo>
                  <a:lnTo>
                    <a:pt x="387" y="710"/>
                  </a:lnTo>
                  <a:lnTo>
                    <a:pt x="381" y="713"/>
                  </a:lnTo>
                  <a:lnTo>
                    <a:pt x="375" y="717"/>
                  </a:lnTo>
                  <a:lnTo>
                    <a:pt x="362" y="731"/>
                  </a:lnTo>
                  <a:lnTo>
                    <a:pt x="352" y="747"/>
                  </a:lnTo>
                  <a:lnTo>
                    <a:pt x="344" y="760"/>
                  </a:lnTo>
                  <a:lnTo>
                    <a:pt x="340" y="761"/>
                  </a:lnTo>
                  <a:lnTo>
                    <a:pt x="336" y="761"/>
                  </a:lnTo>
                  <a:lnTo>
                    <a:pt x="328" y="761"/>
                  </a:lnTo>
                  <a:lnTo>
                    <a:pt x="319" y="761"/>
                  </a:lnTo>
                  <a:lnTo>
                    <a:pt x="306" y="761"/>
                  </a:lnTo>
                  <a:lnTo>
                    <a:pt x="292" y="764"/>
                  </a:lnTo>
                  <a:lnTo>
                    <a:pt x="277" y="768"/>
                  </a:lnTo>
                  <a:lnTo>
                    <a:pt x="261" y="772"/>
                  </a:lnTo>
                  <a:lnTo>
                    <a:pt x="247" y="776"/>
                  </a:lnTo>
                  <a:lnTo>
                    <a:pt x="233" y="780"/>
                  </a:lnTo>
                  <a:lnTo>
                    <a:pt x="220" y="782"/>
                  </a:lnTo>
                  <a:lnTo>
                    <a:pt x="208" y="784"/>
                  </a:lnTo>
                  <a:lnTo>
                    <a:pt x="204" y="785"/>
                  </a:lnTo>
                  <a:lnTo>
                    <a:pt x="199" y="788"/>
                  </a:lnTo>
                  <a:lnTo>
                    <a:pt x="196" y="792"/>
                  </a:lnTo>
                  <a:lnTo>
                    <a:pt x="192" y="794"/>
                  </a:lnTo>
                  <a:lnTo>
                    <a:pt x="188" y="798"/>
                  </a:lnTo>
                  <a:lnTo>
                    <a:pt x="184" y="802"/>
                  </a:lnTo>
                  <a:lnTo>
                    <a:pt x="184" y="806"/>
                  </a:lnTo>
                  <a:lnTo>
                    <a:pt x="182" y="810"/>
                  </a:lnTo>
                  <a:lnTo>
                    <a:pt x="179" y="813"/>
                  </a:lnTo>
                  <a:lnTo>
                    <a:pt x="176" y="815"/>
                  </a:lnTo>
                  <a:lnTo>
                    <a:pt x="170" y="820"/>
                  </a:lnTo>
                  <a:lnTo>
                    <a:pt x="163" y="826"/>
                  </a:lnTo>
                  <a:lnTo>
                    <a:pt x="153" y="833"/>
                  </a:lnTo>
                  <a:lnTo>
                    <a:pt x="144" y="840"/>
                  </a:lnTo>
                  <a:lnTo>
                    <a:pt x="136" y="845"/>
                  </a:lnTo>
                  <a:lnTo>
                    <a:pt x="127" y="848"/>
                  </a:lnTo>
                  <a:lnTo>
                    <a:pt x="112" y="853"/>
                  </a:lnTo>
                  <a:lnTo>
                    <a:pt x="99" y="856"/>
                  </a:lnTo>
                  <a:lnTo>
                    <a:pt x="94" y="858"/>
                  </a:lnTo>
                  <a:lnTo>
                    <a:pt x="88" y="861"/>
                  </a:lnTo>
                  <a:lnTo>
                    <a:pt x="82" y="865"/>
                  </a:lnTo>
                  <a:lnTo>
                    <a:pt x="76" y="870"/>
                  </a:lnTo>
                  <a:lnTo>
                    <a:pt x="71" y="877"/>
                  </a:lnTo>
                  <a:lnTo>
                    <a:pt x="65" y="884"/>
                  </a:lnTo>
                  <a:lnTo>
                    <a:pt x="59" y="896"/>
                  </a:lnTo>
                  <a:lnTo>
                    <a:pt x="54" y="909"/>
                  </a:lnTo>
                  <a:lnTo>
                    <a:pt x="47" y="928"/>
                  </a:lnTo>
                  <a:lnTo>
                    <a:pt x="43" y="942"/>
                  </a:lnTo>
                  <a:lnTo>
                    <a:pt x="43" y="949"/>
                  </a:lnTo>
                  <a:lnTo>
                    <a:pt x="43" y="954"/>
                  </a:lnTo>
                  <a:lnTo>
                    <a:pt x="43" y="959"/>
                  </a:lnTo>
                  <a:lnTo>
                    <a:pt x="46" y="963"/>
                  </a:lnTo>
                  <a:lnTo>
                    <a:pt x="51" y="972"/>
                  </a:lnTo>
                  <a:lnTo>
                    <a:pt x="59" y="981"/>
                  </a:lnTo>
                  <a:lnTo>
                    <a:pt x="72" y="992"/>
                  </a:lnTo>
                  <a:lnTo>
                    <a:pt x="88" y="1005"/>
                  </a:lnTo>
                  <a:lnTo>
                    <a:pt x="112" y="1022"/>
                  </a:lnTo>
                  <a:lnTo>
                    <a:pt x="131" y="1032"/>
                  </a:lnTo>
                  <a:lnTo>
                    <a:pt x="133" y="1036"/>
                  </a:lnTo>
                  <a:lnTo>
                    <a:pt x="135" y="1040"/>
                  </a:lnTo>
                  <a:lnTo>
                    <a:pt x="136" y="1044"/>
                  </a:lnTo>
                  <a:lnTo>
                    <a:pt x="137" y="1049"/>
                  </a:lnTo>
                  <a:lnTo>
                    <a:pt x="135" y="1062"/>
                  </a:lnTo>
                  <a:lnTo>
                    <a:pt x="129" y="1081"/>
                  </a:lnTo>
                  <a:lnTo>
                    <a:pt x="122" y="1100"/>
                  </a:lnTo>
                  <a:lnTo>
                    <a:pt x="110" y="1123"/>
                  </a:lnTo>
                  <a:lnTo>
                    <a:pt x="97" y="1146"/>
                  </a:lnTo>
                  <a:lnTo>
                    <a:pt x="82" y="1171"/>
                  </a:lnTo>
                  <a:lnTo>
                    <a:pt x="52" y="1219"/>
                  </a:lnTo>
                  <a:lnTo>
                    <a:pt x="26" y="1262"/>
                  </a:lnTo>
                  <a:lnTo>
                    <a:pt x="16" y="1282"/>
                  </a:lnTo>
                  <a:lnTo>
                    <a:pt x="6" y="1298"/>
                  </a:lnTo>
                  <a:lnTo>
                    <a:pt x="4" y="1304"/>
                  </a:lnTo>
                  <a:lnTo>
                    <a:pt x="1" y="1310"/>
                  </a:lnTo>
                  <a:lnTo>
                    <a:pt x="0" y="1315"/>
                  </a:lnTo>
                  <a:lnTo>
                    <a:pt x="0" y="1319"/>
                  </a:lnTo>
                  <a:lnTo>
                    <a:pt x="0" y="1323"/>
                  </a:lnTo>
                  <a:lnTo>
                    <a:pt x="2" y="1327"/>
                  </a:lnTo>
                  <a:lnTo>
                    <a:pt x="5" y="1329"/>
                  </a:lnTo>
                  <a:lnTo>
                    <a:pt x="10" y="1332"/>
                  </a:lnTo>
                  <a:lnTo>
                    <a:pt x="25" y="1336"/>
                  </a:lnTo>
                  <a:lnTo>
                    <a:pt x="46" y="1338"/>
                  </a:lnTo>
                  <a:lnTo>
                    <a:pt x="52" y="1338"/>
                  </a:lnTo>
                  <a:lnTo>
                    <a:pt x="59" y="1336"/>
                  </a:lnTo>
                  <a:lnTo>
                    <a:pt x="65" y="1333"/>
                  </a:lnTo>
                  <a:lnTo>
                    <a:pt x="72" y="1328"/>
                  </a:lnTo>
                  <a:lnTo>
                    <a:pt x="84" y="1316"/>
                  </a:lnTo>
                  <a:lnTo>
                    <a:pt x="95" y="1302"/>
                  </a:lnTo>
                  <a:lnTo>
                    <a:pt x="107" y="1289"/>
                  </a:lnTo>
                  <a:lnTo>
                    <a:pt x="118" y="1277"/>
                  </a:lnTo>
                  <a:lnTo>
                    <a:pt x="123" y="1273"/>
                  </a:lnTo>
                  <a:lnTo>
                    <a:pt x="128" y="1270"/>
                  </a:lnTo>
                  <a:lnTo>
                    <a:pt x="132" y="1269"/>
                  </a:lnTo>
                  <a:lnTo>
                    <a:pt x="136" y="1269"/>
                  </a:lnTo>
                  <a:lnTo>
                    <a:pt x="153" y="1274"/>
                  </a:lnTo>
                  <a:lnTo>
                    <a:pt x="174" y="1277"/>
                  </a:lnTo>
                  <a:lnTo>
                    <a:pt x="197" y="1279"/>
                  </a:lnTo>
                  <a:lnTo>
                    <a:pt x="221" y="1283"/>
                  </a:lnTo>
                  <a:lnTo>
                    <a:pt x="244" y="1287"/>
                  </a:lnTo>
                  <a:lnTo>
                    <a:pt x="265" y="1294"/>
                  </a:lnTo>
                  <a:lnTo>
                    <a:pt x="275" y="1298"/>
                  </a:lnTo>
                  <a:lnTo>
                    <a:pt x="282" y="1303"/>
                  </a:lnTo>
                  <a:lnTo>
                    <a:pt x="289" y="1308"/>
                  </a:lnTo>
                  <a:lnTo>
                    <a:pt x="294" y="1316"/>
                  </a:lnTo>
                  <a:lnTo>
                    <a:pt x="295" y="1317"/>
                  </a:lnTo>
                  <a:lnTo>
                    <a:pt x="298" y="1317"/>
                  </a:lnTo>
                  <a:lnTo>
                    <a:pt x="302" y="1317"/>
                  </a:lnTo>
                  <a:lnTo>
                    <a:pt x="306" y="1316"/>
                  </a:lnTo>
                  <a:lnTo>
                    <a:pt x="314" y="1312"/>
                  </a:lnTo>
                  <a:lnTo>
                    <a:pt x="324" y="1306"/>
                  </a:lnTo>
                  <a:lnTo>
                    <a:pt x="333" y="1298"/>
                  </a:lnTo>
                  <a:lnTo>
                    <a:pt x="343" y="1290"/>
                  </a:lnTo>
                  <a:lnTo>
                    <a:pt x="349" y="1282"/>
                  </a:lnTo>
                  <a:lnTo>
                    <a:pt x="354" y="1276"/>
                  </a:lnTo>
                  <a:lnTo>
                    <a:pt x="362" y="1259"/>
                  </a:lnTo>
                  <a:lnTo>
                    <a:pt x="367" y="1248"/>
                  </a:lnTo>
                  <a:lnTo>
                    <a:pt x="371" y="1245"/>
                  </a:lnTo>
                  <a:lnTo>
                    <a:pt x="374" y="1243"/>
                  </a:lnTo>
                  <a:lnTo>
                    <a:pt x="377" y="1242"/>
                  </a:lnTo>
                  <a:lnTo>
                    <a:pt x="379" y="1240"/>
                  </a:lnTo>
                  <a:lnTo>
                    <a:pt x="395" y="1242"/>
                  </a:lnTo>
                  <a:lnTo>
                    <a:pt x="421" y="1243"/>
                  </a:lnTo>
                  <a:lnTo>
                    <a:pt x="432" y="1243"/>
                  </a:lnTo>
                  <a:lnTo>
                    <a:pt x="443" y="1244"/>
                  </a:lnTo>
                  <a:lnTo>
                    <a:pt x="455" y="1245"/>
                  </a:lnTo>
                  <a:lnTo>
                    <a:pt x="467" y="1249"/>
                  </a:lnTo>
                  <a:lnTo>
                    <a:pt x="490" y="1256"/>
                  </a:lnTo>
                  <a:lnTo>
                    <a:pt x="514" y="1265"/>
                  </a:lnTo>
                  <a:lnTo>
                    <a:pt x="537" y="1276"/>
                  </a:lnTo>
                  <a:lnTo>
                    <a:pt x="561" y="1283"/>
                  </a:lnTo>
                  <a:lnTo>
                    <a:pt x="585" y="1291"/>
                  </a:lnTo>
                  <a:lnTo>
                    <a:pt x="607" y="1295"/>
                  </a:lnTo>
                  <a:lnTo>
                    <a:pt x="629" y="1298"/>
                  </a:lnTo>
                  <a:lnTo>
                    <a:pt x="647" y="1299"/>
                  </a:lnTo>
                  <a:lnTo>
                    <a:pt x="664" y="1300"/>
                  </a:lnTo>
                  <a:lnTo>
                    <a:pt x="679" y="1299"/>
                  </a:lnTo>
                  <a:lnTo>
                    <a:pt x="693" y="1296"/>
                  </a:lnTo>
                  <a:lnTo>
                    <a:pt x="708" y="1290"/>
                  </a:lnTo>
                  <a:lnTo>
                    <a:pt x="722" y="1281"/>
                  </a:lnTo>
                  <a:lnTo>
                    <a:pt x="738" y="1269"/>
                  </a:lnTo>
                  <a:lnTo>
                    <a:pt x="748" y="1261"/>
                  </a:lnTo>
                  <a:lnTo>
                    <a:pt x="760" y="1253"/>
                  </a:lnTo>
                  <a:lnTo>
                    <a:pt x="772" y="1245"/>
                  </a:lnTo>
                  <a:lnTo>
                    <a:pt x="786" y="1239"/>
                  </a:lnTo>
                  <a:lnTo>
                    <a:pt x="813" y="1225"/>
                  </a:lnTo>
                  <a:lnTo>
                    <a:pt x="841" y="1210"/>
                  </a:lnTo>
                  <a:lnTo>
                    <a:pt x="854" y="1202"/>
                  </a:lnTo>
                  <a:lnTo>
                    <a:pt x="867" y="1193"/>
                  </a:lnTo>
                  <a:lnTo>
                    <a:pt x="878" y="1184"/>
                  </a:lnTo>
                  <a:lnTo>
                    <a:pt x="887" y="1175"/>
                  </a:lnTo>
                  <a:lnTo>
                    <a:pt x="895" y="1163"/>
                  </a:lnTo>
                  <a:lnTo>
                    <a:pt x="901" y="1151"/>
                  </a:lnTo>
                  <a:lnTo>
                    <a:pt x="904" y="1145"/>
                  </a:lnTo>
                  <a:lnTo>
                    <a:pt x="905" y="1138"/>
                  </a:lnTo>
                  <a:lnTo>
                    <a:pt x="906" y="1132"/>
                  </a:lnTo>
                  <a:lnTo>
                    <a:pt x="906" y="1124"/>
                  </a:lnTo>
                  <a:lnTo>
                    <a:pt x="908" y="1100"/>
                  </a:lnTo>
                  <a:lnTo>
                    <a:pt x="909" y="1086"/>
                  </a:lnTo>
                  <a:lnTo>
                    <a:pt x="912" y="1081"/>
                  </a:lnTo>
                  <a:lnTo>
                    <a:pt x="914" y="1077"/>
                  </a:lnTo>
                  <a:lnTo>
                    <a:pt x="917" y="1074"/>
                  </a:lnTo>
                  <a:lnTo>
                    <a:pt x="919" y="1072"/>
                  </a:lnTo>
                  <a:lnTo>
                    <a:pt x="927" y="1069"/>
                  </a:lnTo>
                  <a:lnTo>
                    <a:pt x="935" y="1066"/>
                  </a:lnTo>
                  <a:lnTo>
                    <a:pt x="940" y="1064"/>
                  </a:lnTo>
                  <a:lnTo>
                    <a:pt x="946" y="1060"/>
                  </a:lnTo>
                  <a:lnTo>
                    <a:pt x="952" y="1054"/>
                  </a:lnTo>
                  <a:lnTo>
                    <a:pt x="959" y="1048"/>
                  </a:lnTo>
                  <a:lnTo>
                    <a:pt x="964" y="1037"/>
                  </a:lnTo>
                  <a:lnTo>
                    <a:pt x="968" y="1022"/>
                  </a:lnTo>
                  <a:lnTo>
                    <a:pt x="970" y="1014"/>
                  </a:lnTo>
                  <a:lnTo>
                    <a:pt x="974" y="1007"/>
                  </a:lnTo>
                  <a:lnTo>
                    <a:pt x="977" y="1002"/>
                  </a:lnTo>
                  <a:lnTo>
                    <a:pt x="982" y="1001"/>
                  </a:lnTo>
                  <a:lnTo>
                    <a:pt x="994" y="1000"/>
                  </a:lnTo>
                  <a:lnTo>
                    <a:pt x="1002" y="998"/>
                  </a:lnTo>
                  <a:lnTo>
                    <a:pt x="1007" y="996"/>
                  </a:lnTo>
                  <a:lnTo>
                    <a:pt x="1011" y="993"/>
                  </a:lnTo>
                  <a:lnTo>
                    <a:pt x="1019" y="985"/>
                  </a:lnTo>
                  <a:lnTo>
                    <a:pt x="1031" y="972"/>
                  </a:lnTo>
                  <a:lnTo>
                    <a:pt x="1044" y="960"/>
                  </a:lnTo>
                  <a:lnTo>
                    <a:pt x="1055" y="950"/>
                  </a:lnTo>
                  <a:lnTo>
                    <a:pt x="1067" y="941"/>
                  </a:lnTo>
                  <a:lnTo>
                    <a:pt x="1079" y="934"/>
                  </a:lnTo>
                  <a:lnTo>
                    <a:pt x="1091" y="928"/>
                  </a:lnTo>
                  <a:lnTo>
                    <a:pt x="1103" y="924"/>
                  </a:lnTo>
                  <a:lnTo>
                    <a:pt x="1116" y="922"/>
                  </a:lnTo>
                  <a:lnTo>
                    <a:pt x="1130" y="924"/>
                  </a:lnTo>
                  <a:lnTo>
                    <a:pt x="1139" y="924"/>
                  </a:lnTo>
                  <a:lnTo>
                    <a:pt x="1146" y="924"/>
                  </a:lnTo>
                  <a:lnTo>
                    <a:pt x="1154" y="922"/>
                  </a:lnTo>
                  <a:lnTo>
                    <a:pt x="1159" y="920"/>
                  </a:lnTo>
                  <a:lnTo>
                    <a:pt x="1171" y="913"/>
                  </a:lnTo>
                  <a:lnTo>
                    <a:pt x="1180" y="905"/>
                  </a:lnTo>
                  <a:lnTo>
                    <a:pt x="1190" y="898"/>
                  </a:lnTo>
                  <a:lnTo>
                    <a:pt x="1201" y="890"/>
                  </a:lnTo>
                  <a:lnTo>
                    <a:pt x="1207" y="886"/>
                  </a:lnTo>
                  <a:lnTo>
                    <a:pt x="1214" y="883"/>
                  </a:lnTo>
                  <a:lnTo>
                    <a:pt x="1220" y="881"/>
                  </a:lnTo>
                  <a:lnTo>
                    <a:pt x="1228" y="879"/>
                  </a:lnTo>
                  <a:lnTo>
                    <a:pt x="1240" y="878"/>
                  </a:lnTo>
                  <a:lnTo>
                    <a:pt x="1252" y="874"/>
                  </a:lnTo>
                  <a:lnTo>
                    <a:pt x="1263" y="870"/>
                  </a:lnTo>
                  <a:lnTo>
                    <a:pt x="1275" y="864"/>
                  </a:lnTo>
                  <a:lnTo>
                    <a:pt x="1287" y="857"/>
                  </a:lnTo>
                  <a:lnTo>
                    <a:pt x="1299" y="849"/>
                  </a:lnTo>
                  <a:lnTo>
                    <a:pt x="1310" y="841"/>
                  </a:lnTo>
                  <a:lnTo>
                    <a:pt x="1322" y="832"/>
                  </a:lnTo>
                  <a:lnTo>
                    <a:pt x="1333" y="822"/>
                  </a:lnTo>
                  <a:lnTo>
                    <a:pt x="1342" y="813"/>
                  </a:lnTo>
                  <a:lnTo>
                    <a:pt x="1351" y="801"/>
                  </a:lnTo>
                  <a:lnTo>
                    <a:pt x="1360" y="790"/>
                  </a:lnTo>
                  <a:lnTo>
                    <a:pt x="1368" y="778"/>
                  </a:lnTo>
                  <a:lnTo>
                    <a:pt x="1373" y="767"/>
                  </a:lnTo>
                  <a:lnTo>
                    <a:pt x="1379" y="755"/>
                  </a:lnTo>
                  <a:lnTo>
                    <a:pt x="1382" y="743"/>
                  </a:lnTo>
                  <a:lnTo>
                    <a:pt x="1388" y="721"/>
                  </a:lnTo>
                  <a:lnTo>
                    <a:pt x="1392" y="701"/>
                  </a:lnTo>
                  <a:lnTo>
                    <a:pt x="1394" y="684"/>
                  </a:lnTo>
                  <a:lnTo>
                    <a:pt x="1393" y="669"/>
                  </a:lnTo>
                  <a:lnTo>
                    <a:pt x="1392" y="662"/>
                  </a:lnTo>
                  <a:lnTo>
                    <a:pt x="1389" y="654"/>
                  </a:lnTo>
                  <a:lnTo>
                    <a:pt x="1385" y="648"/>
                  </a:lnTo>
                  <a:lnTo>
                    <a:pt x="1381" y="641"/>
                  </a:lnTo>
                  <a:lnTo>
                    <a:pt x="1371" y="627"/>
                  </a:lnTo>
                  <a:lnTo>
                    <a:pt x="1355" y="610"/>
                  </a:lnTo>
                  <a:lnTo>
                    <a:pt x="1345" y="599"/>
                  </a:lnTo>
                  <a:lnTo>
                    <a:pt x="1335" y="594"/>
                  </a:lnTo>
                  <a:lnTo>
                    <a:pt x="1333" y="594"/>
                  </a:lnTo>
                  <a:lnTo>
                    <a:pt x="1330" y="594"/>
                  </a:lnTo>
                  <a:lnTo>
                    <a:pt x="1326" y="595"/>
                  </a:lnTo>
                  <a:lnTo>
                    <a:pt x="1324" y="597"/>
                  </a:lnTo>
                  <a:lnTo>
                    <a:pt x="1313" y="614"/>
                  </a:lnTo>
                  <a:lnTo>
                    <a:pt x="1296" y="641"/>
                  </a:lnTo>
                  <a:lnTo>
                    <a:pt x="1287" y="653"/>
                  </a:lnTo>
                  <a:lnTo>
                    <a:pt x="1278" y="662"/>
                  </a:lnTo>
                  <a:lnTo>
                    <a:pt x="1269" y="667"/>
                  </a:lnTo>
                  <a:lnTo>
                    <a:pt x="1261" y="670"/>
                  </a:lnTo>
                  <a:lnTo>
                    <a:pt x="1253" y="670"/>
                  </a:lnTo>
                  <a:lnTo>
                    <a:pt x="1245" y="669"/>
                  </a:lnTo>
                  <a:lnTo>
                    <a:pt x="1237" y="665"/>
                  </a:lnTo>
                  <a:lnTo>
                    <a:pt x="1229" y="659"/>
                  </a:lnTo>
                  <a:lnTo>
                    <a:pt x="1201" y="631"/>
                  </a:lnTo>
                  <a:lnTo>
                    <a:pt x="1171" y="603"/>
                  </a:lnTo>
                  <a:lnTo>
                    <a:pt x="1165" y="599"/>
                  </a:lnTo>
                  <a:lnTo>
                    <a:pt x="1159" y="590"/>
                  </a:lnTo>
                  <a:lnTo>
                    <a:pt x="1151" y="581"/>
                  </a:lnTo>
                  <a:lnTo>
                    <a:pt x="1144" y="569"/>
                  </a:lnTo>
                  <a:lnTo>
                    <a:pt x="1130" y="547"/>
                  </a:lnTo>
                  <a:lnTo>
                    <a:pt x="1122" y="531"/>
                  </a:lnTo>
                  <a:lnTo>
                    <a:pt x="1118" y="521"/>
                  </a:lnTo>
                  <a:lnTo>
                    <a:pt x="1116" y="512"/>
                  </a:lnTo>
                  <a:lnTo>
                    <a:pt x="1114" y="505"/>
                  </a:lnTo>
                  <a:lnTo>
                    <a:pt x="1114" y="500"/>
                  </a:lnTo>
                  <a:lnTo>
                    <a:pt x="1114" y="496"/>
                  </a:lnTo>
                  <a:lnTo>
                    <a:pt x="1116" y="492"/>
                  </a:lnTo>
                  <a:lnTo>
                    <a:pt x="1117" y="489"/>
                  </a:lnTo>
                  <a:lnTo>
                    <a:pt x="1120" y="488"/>
                  </a:lnTo>
                  <a:lnTo>
                    <a:pt x="1126" y="484"/>
                  </a:lnTo>
                  <a:lnTo>
                    <a:pt x="1133" y="480"/>
                  </a:lnTo>
                  <a:lnTo>
                    <a:pt x="1135" y="478"/>
                  </a:lnTo>
                  <a:lnTo>
                    <a:pt x="1139" y="475"/>
                  </a:lnTo>
                  <a:lnTo>
                    <a:pt x="1142" y="470"/>
                  </a:lnTo>
                  <a:lnTo>
                    <a:pt x="1144" y="465"/>
                  </a:lnTo>
                  <a:lnTo>
                    <a:pt x="1147" y="461"/>
                  </a:lnTo>
                  <a:lnTo>
                    <a:pt x="1150" y="458"/>
                  </a:lnTo>
                  <a:lnTo>
                    <a:pt x="1152" y="455"/>
                  </a:lnTo>
                  <a:lnTo>
                    <a:pt x="1156" y="453"/>
                  </a:lnTo>
                  <a:lnTo>
                    <a:pt x="1157" y="453"/>
                  </a:lnTo>
                  <a:lnTo>
                    <a:pt x="1159" y="451"/>
                  </a:lnTo>
                  <a:lnTo>
                    <a:pt x="1163" y="448"/>
                  </a:lnTo>
                  <a:lnTo>
                    <a:pt x="1167" y="445"/>
                  </a:lnTo>
                  <a:lnTo>
                    <a:pt x="1168" y="445"/>
                  </a:lnTo>
                  <a:lnTo>
                    <a:pt x="1171" y="444"/>
                  </a:lnTo>
                  <a:lnTo>
                    <a:pt x="1173" y="440"/>
                  </a:lnTo>
                  <a:lnTo>
                    <a:pt x="1174" y="436"/>
                  </a:lnTo>
                  <a:lnTo>
                    <a:pt x="1174" y="429"/>
                  </a:lnTo>
                  <a:lnTo>
                    <a:pt x="1172" y="421"/>
                  </a:lnTo>
                  <a:lnTo>
                    <a:pt x="1169" y="412"/>
                  </a:lnTo>
                  <a:lnTo>
                    <a:pt x="1165" y="402"/>
                  </a:lnTo>
                  <a:lnTo>
                    <a:pt x="1160" y="391"/>
                  </a:lnTo>
                  <a:lnTo>
                    <a:pt x="1159" y="389"/>
                  </a:lnTo>
                  <a:lnTo>
                    <a:pt x="1157" y="386"/>
                  </a:lnTo>
                  <a:lnTo>
                    <a:pt x="1154" y="377"/>
                  </a:lnTo>
                  <a:lnTo>
                    <a:pt x="1150" y="365"/>
                  </a:lnTo>
                  <a:lnTo>
                    <a:pt x="1148" y="363"/>
                  </a:lnTo>
                  <a:lnTo>
                    <a:pt x="1148" y="357"/>
                  </a:lnTo>
                  <a:lnTo>
                    <a:pt x="1147" y="343"/>
                  </a:lnTo>
                  <a:lnTo>
                    <a:pt x="1142" y="347"/>
                  </a:lnTo>
                  <a:lnTo>
                    <a:pt x="1135" y="349"/>
                  </a:lnTo>
                  <a:lnTo>
                    <a:pt x="1129" y="351"/>
                  </a:lnTo>
                  <a:lnTo>
                    <a:pt x="1123" y="352"/>
                  </a:lnTo>
                  <a:lnTo>
                    <a:pt x="1122" y="352"/>
                  </a:lnTo>
                  <a:lnTo>
                    <a:pt x="1121" y="356"/>
                  </a:lnTo>
                  <a:lnTo>
                    <a:pt x="1123" y="361"/>
                  </a:lnTo>
                  <a:lnTo>
                    <a:pt x="1123" y="363"/>
                  </a:lnTo>
                  <a:lnTo>
                    <a:pt x="1125" y="364"/>
                  </a:lnTo>
                  <a:lnTo>
                    <a:pt x="1126" y="370"/>
                  </a:lnTo>
                  <a:lnTo>
                    <a:pt x="1127" y="381"/>
                  </a:lnTo>
                  <a:lnTo>
                    <a:pt x="1127" y="390"/>
                  </a:lnTo>
                  <a:lnTo>
                    <a:pt x="1126" y="395"/>
                  </a:lnTo>
                  <a:lnTo>
                    <a:pt x="1126" y="399"/>
                  </a:lnTo>
                  <a:lnTo>
                    <a:pt x="1126" y="402"/>
                  </a:lnTo>
                  <a:lnTo>
                    <a:pt x="1125" y="404"/>
                  </a:lnTo>
                  <a:lnTo>
                    <a:pt x="1125" y="406"/>
                  </a:lnTo>
                  <a:lnTo>
                    <a:pt x="1123" y="410"/>
                  </a:lnTo>
                  <a:lnTo>
                    <a:pt x="1122" y="414"/>
                  </a:lnTo>
                  <a:lnTo>
                    <a:pt x="1121" y="419"/>
                  </a:lnTo>
                  <a:lnTo>
                    <a:pt x="1118" y="425"/>
                  </a:lnTo>
                  <a:lnTo>
                    <a:pt x="1114" y="431"/>
                  </a:lnTo>
                  <a:lnTo>
                    <a:pt x="1110" y="434"/>
                  </a:lnTo>
                  <a:lnTo>
                    <a:pt x="1105" y="440"/>
                  </a:lnTo>
                  <a:lnTo>
                    <a:pt x="1100" y="442"/>
                  </a:lnTo>
                  <a:lnTo>
                    <a:pt x="1095" y="445"/>
                  </a:lnTo>
                  <a:lnTo>
                    <a:pt x="1091" y="446"/>
                  </a:lnTo>
                  <a:lnTo>
                    <a:pt x="1089" y="446"/>
                  </a:lnTo>
                  <a:lnTo>
                    <a:pt x="1086" y="446"/>
                  </a:lnTo>
                  <a:lnTo>
                    <a:pt x="1080" y="450"/>
                  </a:lnTo>
                  <a:lnTo>
                    <a:pt x="1076" y="455"/>
                  </a:lnTo>
                  <a:lnTo>
                    <a:pt x="1072" y="461"/>
                  </a:lnTo>
                  <a:lnTo>
                    <a:pt x="1063" y="474"/>
                  </a:lnTo>
                  <a:lnTo>
                    <a:pt x="1057" y="484"/>
                  </a:lnTo>
                  <a:lnTo>
                    <a:pt x="1052" y="496"/>
                  </a:lnTo>
                  <a:lnTo>
                    <a:pt x="1044" y="514"/>
                  </a:lnTo>
                  <a:lnTo>
                    <a:pt x="1040" y="522"/>
                  </a:lnTo>
                  <a:lnTo>
                    <a:pt x="1036" y="530"/>
                  </a:lnTo>
                  <a:lnTo>
                    <a:pt x="1032" y="536"/>
                  </a:lnTo>
                  <a:lnTo>
                    <a:pt x="1029" y="539"/>
                  </a:lnTo>
                  <a:lnTo>
                    <a:pt x="1027" y="542"/>
                  </a:lnTo>
                  <a:lnTo>
                    <a:pt x="1027" y="544"/>
                  </a:lnTo>
                  <a:lnTo>
                    <a:pt x="1025" y="547"/>
                  </a:lnTo>
                  <a:lnTo>
                    <a:pt x="1021" y="551"/>
                  </a:lnTo>
                  <a:lnTo>
                    <a:pt x="1018" y="554"/>
                  </a:lnTo>
                  <a:lnTo>
                    <a:pt x="1012" y="557"/>
                  </a:lnTo>
                  <a:lnTo>
                    <a:pt x="1002" y="564"/>
                  </a:lnTo>
                  <a:lnTo>
                    <a:pt x="995" y="569"/>
                  </a:lnTo>
                  <a:lnTo>
                    <a:pt x="991" y="573"/>
                  </a:lnTo>
                  <a:lnTo>
                    <a:pt x="985" y="576"/>
                  </a:lnTo>
                  <a:lnTo>
                    <a:pt x="978" y="578"/>
                  </a:lnTo>
                  <a:lnTo>
                    <a:pt x="972" y="580"/>
                  </a:lnTo>
                  <a:lnTo>
                    <a:pt x="965" y="582"/>
                  </a:lnTo>
                  <a:lnTo>
                    <a:pt x="959" y="586"/>
                  </a:lnTo>
                  <a:lnTo>
                    <a:pt x="956" y="589"/>
                  </a:lnTo>
                  <a:lnTo>
                    <a:pt x="953" y="591"/>
                  </a:lnTo>
                  <a:lnTo>
                    <a:pt x="952" y="597"/>
                  </a:lnTo>
                  <a:lnTo>
                    <a:pt x="949" y="601"/>
                  </a:lnTo>
                  <a:lnTo>
                    <a:pt x="946" y="615"/>
                  </a:lnTo>
                  <a:lnTo>
                    <a:pt x="943" y="628"/>
                  </a:lnTo>
                  <a:lnTo>
                    <a:pt x="940" y="641"/>
                  </a:lnTo>
                  <a:lnTo>
                    <a:pt x="938" y="657"/>
                  </a:lnTo>
                  <a:lnTo>
                    <a:pt x="935" y="687"/>
                  </a:lnTo>
                  <a:lnTo>
                    <a:pt x="932" y="718"/>
                  </a:lnTo>
                  <a:lnTo>
                    <a:pt x="930" y="733"/>
                  </a:lnTo>
                  <a:lnTo>
                    <a:pt x="927" y="748"/>
                  </a:lnTo>
                  <a:lnTo>
                    <a:pt x="923" y="763"/>
                  </a:lnTo>
                  <a:lnTo>
                    <a:pt x="918" y="776"/>
                  </a:lnTo>
                  <a:lnTo>
                    <a:pt x="905" y="798"/>
                  </a:lnTo>
                  <a:lnTo>
                    <a:pt x="884" y="828"/>
                  </a:lnTo>
                  <a:lnTo>
                    <a:pt x="872" y="844"/>
                  </a:lnTo>
                  <a:lnTo>
                    <a:pt x="859" y="860"/>
                  </a:lnTo>
                  <a:lnTo>
                    <a:pt x="846" y="877"/>
                  </a:lnTo>
                  <a:lnTo>
                    <a:pt x="833" y="891"/>
                  </a:lnTo>
                  <a:lnTo>
                    <a:pt x="819" y="904"/>
                  </a:lnTo>
                  <a:lnTo>
                    <a:pt x="806" y="916"/>
                  </a:lnTo>
                  <a:lnTo>
                    <a:pt x="793" y="926"/>
                  </a:lnTo>
                  <a:lnTo>
                    <a:pt x="779" y="933"/>
                  </a:lnTo>
                  <a:lnTo>
                    <a:pt x="774" y="934"/>
                  </a:lnTo>
                  <a:lnTo>
                    <a:pt x="769" y="935"/>
                  </a:lnTo>
                  <a:lnTo>
                    <a:pt x="764" y="935"/>
                  </a:lnTo>
                  <a:lnTo>
                    <a:pt x="759" y="935"/>
                  </a:lnTo>
                  <a:lnTo>
                    <a:pt x="755" y="933"/>
                  </a:lnTo>
                  <a:lnTo>
                    <a:pt x="751" y="930"/>
                  </a:lnTo>
                  <a:lnTo>
                    <a:pt x="748" y="925"/>
                  </a:lnTo>
                  <a:lnTo>
                    <a:pt x="745" y="920"/>
                  </a:lnTo>
                  <a:lnTo>
                    <a:pt x="742" y="909"/>
                  </a:lnTo>
                  <a:lnTo>
                    <a:pt x="739" y="900"/>
                  </a:lnTo>
                  <a:lnTo>
                    <a:pt x="738" y="891"/>
                  </a:lnTo>
                  <a:lnTo>
                    <a:pt x="738" y="882"/>
                  </a:lnTo>
                  <a:lnTo>
                    <a:pt x="740" y="864"/>
                  </a:lnTo>
                  <a:lnTo>
                    <a:pt x="744" y="848"/>
                  </a:lnTo>
                  <a:lnTo>
                    <a:pt x="749" y="831"/>
                  </a:lnTo>
                  <a:lnTo>
                    <a:pt x="756" y="813"/>
                  </a:lnTo>
                  <a:lnTo>
                    <a:pt x="757" y="803"/>
                  </a:lnTo>
                  <a:lnTo>
                    <a:pt x="760" y="793"/>
                  </a:lnTo>
                  <a:lnTo>
                    <a:pt x="761" y="782"/>
                  </a:lnTo>
                  <a:lnTo>
                    <a:pt x="761" y="772"/>
                  </a:lnTo>
                  <a:lnTo>
                    <a:pt x="761" y="744"/>
                  </a:lnTo>
                  <a:lnTo>
                    <a:pt x="764" y="712"/>
                  </a:lnTo>
                  <a:lnTo>
                    <a:pt x="765" y="695"/>
                  </a:lnTo>
                  <a:lnTo>
                    <a:pt x="768" y="679"/>
                  </a:lnTo>
                  <a:lnTo>
                    <a:pt x="770" y="666"/>
                  </a:lnTo>
                  <a:lnTo>
                    <a:pt x="773" y="654"/>
                  </a:lnTo>
                  <a:lnTo>
                    <a:pt x="778" y="644"/>
                  </a:lnTo>
                  <a:lnTo>
                    <a:pt x="782" y="635"/>
                  </a:lnTo>
                  <a:lnTo>
                    <a:pt x="789" y="627"/>
                  </a:lnTo>
                  <a:lnTo>
                    <a:pt x="794" y="619"/>
                  </a:lnTo>
                  <a:lnTo>
                    <a:pt x="806" y="605"/>
                  </a:lnTo>
                  <a:lnTo>
                    <a:pt x="817" y="591"/>
                  </a:lnTo>
                  <a:lnTo>
                    <a:pt x="828" y="577"/>
                  </a:lnTo>
                  <a:lnTo>
                    <a:pt x="838" y="561"/>
                  </a:lnTo>
                  <a:lnTo>
                    <a:pt x="842" y="552"/>
                  </a:lnTo>
                  <a:lnTo>
                    <a:pt x="846" y="543"/>
                  </a:lnTo>
                  <a:lnTo>
                    <a:pt x="849" y="531"/>
                  </a:lnTo>
                  <a:lnTo>
                    <a:pt x="850" y="519"/>
                  </a:lnTo>
                  <a:lnTo>
                    <a:pt x="849" y="512"/>
                  </a:lnTo>
                  <a:lnTo>
                    <a:pt x="846" y="504"/>
                  </a:lnTo>
                  <a:lnTo>
                    <a:pt x="841" y="496"/>
                  </a:lnTo>
                  <a:lnTo>
                    <a:pt x="837" y="488"/>
                  </a:lnTo>
                  <a:lnTo>
                    <a:pt x="836" y="484"/>
                  </a:lnTo>
                  <a:lnTo>
                    <a:pt x="834" y="480"/>
                  </a:lnTo>
                  <a:lnTo>
                    <a:pt x="833" y="476"/>
                  </a:lnTo>
                  <a:lnTo>
                    <a:pt x="834" y="472"/>
                  </a:lnTo>
                  <a:lnTo>
                    <a:pt x="836" y="467"/>
                  </a:lnTo>
                  <a:lnTo>
                    <a:pt x="838" y="463"/>
                  </a:lnTo>
                  <a:lnTo>
                    <a:pt x="844" y="459"/>
                  </a:lnTo>
                  <a:lnTo>
                    <a:pt x="850" y="454"/>
                  </a:lnTo>
                  <a:lnTo>
                    <a:pt x="851" y="453"/>
                  </a:lnTo>
                  <a:lnTo>
                    <a:pt x="851" y="449"/>
                  </a:lnTo>
                  <a:lnTo>
                    <a:pt x="851" y="444"/>
                  </a:lnTo>
                  <a:lnTo>
                    <a:pt x="850" y="438"/>
                  </a:lnTo>
                  <a:lnTo>
                    <a:pt x="847" y="427"/>
                  </a:lnTo>
                  <a:lnTo>
                    <a:pt x="846" y="417"/>
                  </a:lnTo>
                  <a:lnTo>
                    <a:pt x="847" y="414"/>
                  </a:lnTo>
                  <a:lnTo>
                    <a:pt x="847" y="41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40" name="Freeform 65"/>
            <p:cNvSpPr>
              <a:spLocks noEditPoints="1"/>
            </p:cNvSpPr>
            <p:nvPr/>
          </p:nvSpPr>
          <p:spPr bwMode="auto">
            <a:xfrm>
              <a:off x="2516188" y="3082925"/>
              <a:ext cx="1744662" cy="1700213"/>
            </a:xfrm>
            <a:custGeom>
              <a:avLst/>
              <a:gdLst/>
              <a:ahLst/>
              <a:cxnLst>
                <a:cxn ang="0">
                  <a:pos x="963" y="3223"/>
                </a:cxn>
                <a:cxn ang="0">
                  <a:pos x="1095" y="3089"/>
                </a:cxn>
                <a:cxn ang="0">
                  <a:pos x="1397" y="3023"/>
                </a:cxn>
                <a:cxn ang="0">
                  <a:pos x="1597" y="2911"/>
                </a:cxn>
                <a:cxn ang="0">
                  <a:pos x="1727" y="2783"/>
                </a:cxn>
                <a:cxn ang="0">
                  <a:pos x="1969" y="2772"/>
                </a:cxn>
                <a:cxn ang="0">
                  <a:pos x="2201" y="2749"/>
                </a:cxn>
                <a:cxn ang="0">
                  <a:pos x="2671" y="2887"/>
                </a:cxn>
                <a:cxn ang="0">
                  <a:pos x="3079" y="3000"/>
                </a:cxn>
                <a:cxn ang="0">
                  <a:pos x="3192" y="3115"/>
                </a:cxn>
                <a:cxn ang="0">
                  <a:pos x="3387" y="3179"/>
                </a:cxn>
                <a:cxn ang="0">
                  <a:pos x="3466" y="3367"/>
                </a:cxn>
                <a:cxn ang="0">
                  <a:pos x="3334" y="3753"/>
                </a:cxn>
                <a:cxn ang="0">
                  <a:pos x="3652" y="4193"/>
                </a:cxn>
                <a:cxn ang="0">
                  <a:pos x="3827" y="4537"/>
                </a:cxn>
                <a:cxn ang="0">
                  <a:pos x="4093" y="4541"/>
                </a:cxn>
                <a:cxn ang="0">
                  <a:pos x="4429" y="4204"/>
                </a:cxn>
                <a:cxn ang="0">
                  <a:pos x="4671" y="3595"/>
                </a:cxn>
                <a:cxn ang="0">
                  <a:pos x="4590" y="3285"/>
                </a:cxn>
                <a:cxn ang="0">
                  <a:pos x="4613" y="3159"/>
                </a:cxn>
                <a:cxn ang="0">
                  <a:pos x="4747" y="2682"/>
                </a:cxn>
                <a:cxn ang="0">
                  <a:pos x="4473" y="2592"/>
                </a:cxn>
                <a:cxn ang="0">
                  <a:pos x="4179" y="2856"/>
                </a:cxn>
                <a:cxn ang="0">
                  <a:pos x="3871" y="3001"/>
                </a:cxn>
                <a:cxn ang="0">
                  <a:pos x="3717" y="3116"/>
                </a:cxn>
                <a:cxn ang="0">
                  <a:pos x="3315" y="2715"/>
                </a:cxn>
                <a:cxn ang="0">
                  <a:pos x="3155" y="2560"/>
                </a:cxn>
                <a:cxn ang="0">
                  <a:pos x="3236" y="2402"/>
                </a:cxn>
                <a:cxn ang="0">
                  <a:pos x="2931" y="2369"/>
                </a:cxn>
                <a:cxn ang="0">
                  <a:pos x="3007" y="1944"/>
                </a:cxn>
                <a:cxn ang="0">
                  <a:pos x="3206" y="1771"/>
                </a:cxn>
                <a:cxn ang="0">
                  <a:pos x="3490" y="1333"/>
                </a:cxn>
                <a:cxn ang="0">
                  <a:pos x="3591" y="976"/>
                </a:cxn>
                <a:cxn ang="0">
                  <a:pos x="3683" y="766"/>
                </a:cxn>
                <a:cxn ang="0">
                  <a:pos x="3634" y="542"/>
                </a:cxn>
                <a:cxn ang="0">
                  <a:pos x="3527" y="561"/>
                </a:cxn>
                <a:cxn ang="0">
                  <a:pos x="3337" y="510"/>
                </a:cxn>
                <a:cxn ang="0">
                  <a:pos x="3465" y="720"/>
                </a:cxn>
                <a:cxn ang="0">
                  <a:pos x="3215" y="1161"/>
                </a:cxn>
                <a:cxn ang="0">
                  <a:pos x="2976" y="1144"/>
                </a:cxn>
                <a:cxn ang="0">
                  <a:pos x="2879" y="1051"/>
                </a:cxn>
                <a:cxn ang="0">
                  <a:pos x="2564" y="1036"/>
                </a:cxn>
                <a:cxn ang="0">
                  <a:pos x="2464" y="947"/>
                </a:cxn>
                <a:cxn ang="0">
                  <a:pos x="2709" y="521"/>
                </a:cxn>
                <a:cxn ang="0">
                  <a:pos x="2122" y="558"/>
                </a:cxn>
                <a:cxn ang="0">
                  <a:pos x="1479" y="1022"/>
                </a:cxn>
                <a:cxn ang="0">
                  <a:pos x="1155" y="1540"/>
                </a:cxn>
                <a:cxn ang="0">
                  <a:pos x="740" y="1855"/>
                </a:cxn>
                <a:cxn ang="0">
                  <a:pos x="560" y="2019"/>
                </a:cxn>
                <a:cxn ang="0">
                  <a:pos x="250" y="2292"/>
                </a:cxn>
                <a:cxn ang="0">
                  <a:pos x="38" y="3014"/>
                </a:cxn>
                <a:cxn ang="0">
                  <a:pos x="126" y="3329"/>
                </a:cxn>
                <a:cxn ang="0">
                  <a:pos x="407" y="3552"/>
                </a:cxn>
                <a:cxn ang="0">
                  <a:pos x="489" y="3934"/>
                </a:cxn>
                <a:cxn ang="0">
                  <a:pos x="451" y="3655"/>
                </a:cxn>
                <a:cxn ang="0">
                  <a:pos x="522" y="3609"/>
                </a:cxn>
                <a:cxn ang="0">
                  <a:pos x="3087" y="1302"/>
                </a:cxn>
                <a:cxn ang="0">
                  <a:pos x="3271" y="1357"/>
                </a:cxn>
                <a:cxn ang="0">
                  <a:pos x="2838" y="1501"/>
                </a:cxn>
                <a:cxn ang="0">
                  <a:pos x="3708" y="193"/>
                </a:cxn>
                <a:cxn ang="0">
                  <a:pos x="4131" y="450"/>
                </a:cxn>
                <a:cxn ang="0">
                  <a:pos x="3890" y="680"/>
                </a:cxn>
                <a:cxn ang="0">
                  <a:pos x="3686" y="407"/>
                </a:cxn>
              </a:cxnLst>
              <a:rect l="0" t="0" r="r" b="b"/>
              <a:pathLst>
                <a:path w="4747" h="4627">
                  <a:moveTo>
                    <a:pt x="598" y="3664"/>
                  </a:moveTo>
                  <a:lnTo>
                    <a:pt x="604" y="3649"/>
                  </a:lnTo>
                  <a:lnTo>
                    <a:pt x="612" y="3634"/>
                  </a:lnTo>
                  <a:lnTo>
                    <a:pt x="621" y="3618"/>
                  </a:lnTo>
                  <a:lnTo>
                    <a:pt x="631" y="3605"/>
                  </a:lnTo>
                  <a:lnTo>
                    <a:pt x="640" y="3592"/>
                  </a:lnTo>
                  <a:lnTo>
                    <a:pt x="649" y="3580"/>
                  </a:lnTo>
                  <a:lnTo>
                    <a:pt x="659" y="3570"/>
                  </a:lnTo>
                  <a:lnTo>
                    <a:pt x="669" y="3561"/>
                  </a:lnTo>
                  <a:lnTo>
                    <a:pt x="683" y="3548"/>
                  </a:lnTo>
                  <a:lnTo>
                    <a:pt x="695" y="3535"/>
                  </a:lnTo>
                  <a:lnTo>
                    <a:pt x="706" y="3519"/>
                  </a:lnTo>
                  <a:lnTo>
                    <a:pt x="717" y="3503"/>
                  </a:lnTo>
                  <a:lnTo>
                    <a:pt x="729" y="3488"/>
                  </a:lnTo>
                  <a:lnTo>
                    <a:pt x="742" y="3473"/>
                  </a:lnTo>
                  <a:lnTo>
                    <a:pt x="755" y="3459"/>
                  </a:lnTo>
                  <a:lnTo>
                    <a:pt x="771" y="3446"/>
                  </a:lnTo>
                  <a:lnTo>
                    <a:pt x="818" y="3416"/>
                  </a:lnTo>
                  <a:lnTo>
                    <a:pt x="849" y="3397"/>
                  </a:lnTo>
                  <a:lnTo>
                    <a:pt x="859" y="3391"/>
                  </a:lnTo>
                  <a:lnTo>
                    <a:pt x="866" y="3383"/>
                  </a:lnTo>
                  <a:lnTo>
                    <a:pt x="869" y="3378"/>
                  </a:lnTo>
                  <a:lnTo>
                    <a:pt x="871" y="3374"/>
                  </a:lnTo>
                  <a:lnTo>
                    <a:pt x="873" y="3367"/>
                  </a:lnTo>
                  <a:lnTo>
                    <a:pt x="874" y="3361"/>
                  </a:lnTo>
                  <a:lnTo>
                    <a:pt x="874" y="3361"/>
                  </a:lnTo>
                  <a:lnTo>
                    <a:pt x="874" y="3359"/>
                  </a:lnTo>
                  <a:lnTo>
                    <a:pt x="875" y="3359"/>
                  </a:lnTo>
                  <a:lnTo>
                    <a:pt x="876" y="3358"/>
                  </a:lnTo>
                  <a:lnTo>
                    <a:pt x="876" y="3357"/>
                  </a:lnTo>
                  <a:lnTo>
                    <a:pt x="876" y="3355"/>
                  </a:lnTo>
                  <a:lnTo>
                    <a:pt x="876" y="3355"/>
                  </a:lnTo>
                  <a:lnTo>
                    <a:pt x="880" y="3352"/>
                  </a:lnTo>
                  <a:lnTo>
                    <a:pt x="883" y="3348"/>
                  </a:lnTo>
                  <a:lnTo>
                    <a:pt x="887" y="3345"/>
                  </a:lnTo>
                  <a:lnTo>
                    <a:pt x="888" y="3342"/>
                  </a:lnTo>
                  <a:lnTo>
                    <a:pt x="890" y="3340"/>
                  </a:lnTo>
                  <a:lnTo>
                    <a:pt x="891" y="3338"/>
                  </a:lnTo>
                  <a:lnTo>
                    <a:pt x="895" y="3336"/>
                  </a:lnTo>
                  <a:lnTo>
                    <a:pt x="897" y="3333"/>
                  </a:lnTo>
                  <a:lnTo>
                    <a:pt x="899" y="3331"/>
                  </a:lnTo>
                  <a:lnTo>
                    <a:pt x="901" y="3327"/>
                  </a:lnTo>
                  <a:lnTo>
                    <a:pt x="905" y="3316"/>
                  </a:lnTo>
                  <a:lnTo>
                    <a:pt x="907" y="3306"/>
                  </a:lnTo>
                  <a:lnTo>
                    <a:pt x="911" y="3284"/>
                  </a:lnTo>
                  <a:lnTo>
                    <a:pt x="912" y="3265"/>
                  </a:lnTo>
                  <a:lnTo>
                    <a:pt x="912" y="3263"/>
                  </a:lnTo>
                  <a:lnTo>
                    <a:pt x="912" y="3260"/>
                  </a:lnTo>
                  <a:lnTo>
                    <a:pt x="913" y="3256"/>
                  </a:lnTo>
                  <a:lnTo>
                    <a:pt x="916" y="3253"/>
                  </a:lnTo>
                  <a:lnTo>
                    <a:pt x="926" y="3252"/>
                  </a:lnTo>
                  <a:lnTo>
                    <a:pt x="938" y="3248"/>
                  </a:lnTo>
                  <a:lnTo>
                    <a:pt x="941" y="3244"/>
                  </a:lnTo>
                  <a:lnTo>
                    <a:pt x="946" y="3239"/>
                  </a:lnTo>
                  <a:lnTo>
                    <a:pt x="951" y="3234"/>
                  </a:lnTo>
                  <a:lnTo>
                    <a:pt x="956" y="3231"/>
                  </a:lnTo>
                  <a:lnTo>
                    <a:pt x="958" y="3231"/>
                  </a:lnTo>
                  <a:lnTo>
                    <a:pt x="959" y="3231"/>
                  </a:lnTo>
                  <a:lnTo>
                    <a:pt x="960" y="3229"/>
                  </a:lnTo>
                  <a:lnTo>
                    <a:pt x="960" y="3227"/>
                  </a:lnTo>
                  <a:lnTo>
                    <a:pt x="962" y="3226"/>
                  </a:lnTo>
                  <a:lnTo>
                    <a:pt x="963" y="3223"/>
                  </a:lnTo>
                  <a:lnTo>
                    <a:pt x="965" y="3222"/>
                  </a:lnTo>
                  <a:lnTo>
                    <a:pt x="965" y="3221"/>
                  </a:lnTo>
                  <a:lnTo>
                    <a:pt x="967" y="3219"/>
                  </a:lnTo>
                  <a:lnTo>
                    <a:pt x="968" y="3216"/>
                  </a:lnTo>
                  <a:lnTo>
                    <a:pt x="971" y="3213"/>
                  </a:lnTo>
                  <a:lnTo>
                    <a:pt x="972" y="3213"/>
                  </a:lnTo>
                  <a:lnTo>
                    <a:pt x="973" y="3212"/>
                  </a:lnTo>
                  <a:lnTo>
                    <a:pt x="975" y="3210"/>
                  </a:lnTo>
                  <a:lnTo>
                    <a:pt x="977" y="3208"/>
                  </a:lnTo>
                  <a:lnTo>
                    <a:pt x="979" y="3208"/>
                  </a:lnTo>
                  <a:lnTo>
                    <a:pt x="980" y="3206"/>
                  </a:lnTo>
                  <a:lnTo>
                    <a:pt x="981" y="3205"/>
                  </a:lnTo>
                  <a:lnTo>
                    <a:pt x="982" y="3202"/>
                  </a:lnTo>
                  <a:lnTo>
                    <a:pt x="984" y="3202"/>
                  </a:lnTo>
                  <a:lnTo>
                    <a:pt x="985" y="3202"/>
                  </a:lnTo>
                  <a:lnTo>
                    <a:pt x="985" y="3201"/>
                  </a:lnTo>
                  <a:lnTo>
                    <a:pt x="986" y="3200"/>
                  </a:lnTo>
                  <a:lnTo>
                    <a:pt x="989" y="3196"/>
                  </a:lnTo>
                  <a:lnTo>
                    <a:pt x="993" y="3193"/>
                  </a:lnTo>
                  <a:lnTo>
                    <a:pt x="1002" y="3185"/>
                  </a:lnTo>
                  <a:lnTo>
                    <a:pt x="1009" y="3175"/>
                  </a:lnTo>
                  <a:lnTo>
                    <a:pt x="1010" y="3172"/>
                  </a:lnTo>
                  <a:lnTo>
                    <a:pt x="1013" y="3168"/>
                  </a:lnTo>
                  <a:lnTo>
                    <a:pt x="1014" y="3166"/>
                  </a:lnTo>
                  <a:lnTo>
                    <a:pt x="1016" y="3165"/>
                  </a:lnTo>
                  <a:lnTo>
                    <a:pt x="1018" y="3162"/>
                  </a:lnTo>
                  <a:lnTo>
                    <a:pt x="1018" y="3159"/>
                  </a:lnTo>
                  <a:lnTo>
                    <a:pt x="1020" y="3155"/>
                  </a:lnTo>
                  <a:lnTo>
                    <a:pt x="1023" y="3151"/>
                  </a:lnTo>
                  <a:lnTo>
                    <a:pt x="1024" y="3150"/>
                  </a:lnTo>
                  <a:lnTo>
                    <a:pt x="1024" y="3150"/>
                  </a:lnTo>
                  <a:lnTo>
                    <a:pt x="1024" y="3149"/>
                  </a:lnTo>
                  <a:lnTo>
                    <a:pt x="1024" y="3148"/>
                  </a:lnTo>
                  <a:lnTo>
                    <a:pt x="1026" y="3148"/>
                  </a:lnTo>
                  <a:lnTo>
                    <a:pt x="1027" y="3146"/>
                  </a:lnTo>
                  <a:lnTo>
                    <a:pt x="1028" y="3144"/>
                  </a:lnTo>
                  <a:lnTo>
                    <a:pt x="1030" y="3142"/>
                  </a:lnTo>
                  <a:lnTo>
                    <a:pt x="1031" y="3141"/>
                  </a:lnTo>
                  <a:lnTo>
                    <a:pt x="1035" y="3138"/>
                  </a:lnTo>
                  <a:lnTo>
                    <a:pt x="1039" y="3136"/>
                  </a:lnTo>
                  <a:lnTo>
                    <a:pt x="1041" y="3134"/>
                  </a:lnTo>
                  <a:lnTo>
                    <a:pt x="1044" y="3134"/>
                  </a:lnTo>
                  <a:lnTo>
                    <a:pt x="1050" y="3125"/>
                  </a:lnTo>
                  <a:lnTo>
                    <a:pt x="1057" y="3117"/>
                  </a:lnTo>
                  <a:lnTo>
                    <a:pt x="1060" y="3112"/>
                  </a:lnTo>
                  <a:lnTo>
                    <a:pt x="1062" y="3108"/>
                  </a:lnTo>
                  <a:lnTo>
                    <a:pt x="1064" y="3107"/>
                  </a:lnTo>
                  <a:lnTo>
                    <a:pt x="1065" y="3106"/>
                  </a:lnTo>
                  <a:lnTo>
                    <a:pt x="1067" y="3103"/>
                  </a:lnTo>
                  <a:lnTo>
                    <a:pt x="1071" y="3102"/>
                  </a:lnTo>
                  <a:lnTo>
                    <a:pt x="1074" y="3102"/>
                  </a:lnTo>
                  <a:lnTo>
                    <a:pt x="1075" y="3102"/>
                  </a:lnTo>
                  <a:lnTo>
                    <a:pt x="1077" y="3100"/>
                  </a:lnTo>
                  <a:lnTo>
                    <a:pt x="1077" y="3100"/>
                  </a:lnTo>
                  <a:lnTo>
                    <a:pt x="1078" y="3100"/>
                  </a:lnTo>
                  <a:lnTo>
                    <a:pt x="1079" y="3099"/>
                  </a:lnTo>
                  <a:lnTo>
                    <a:pt x="1079" y="3099"/>
                  </a:lnTo>
                  <a:lnTo>
                    <a:pt x="1083" y="3098"/>
                  </a:lnTo>
                  <a:lnTo>
                    <a:pt x="1087" y="3096"/>
                  </a:lnTo>
                  <a:lnTo>
                    <a:pt x="1091" y="3094"/>
                  </a:lnTo>
                  <a:lnTo>
                    <a:pt x="1094" y="3090"/>
                  </a:lnTo>
                  <a:lnTo>
                    <a:pt x="1095" y="3089"/>
                  </a:lnTo>
                  <a:lnTo>
                    <a:pt x="1096" y="3086"/>
                  </a:lnTo>
                  <a:lnTo>
                    <a:pt x="1098" y="3081"/>
                  </a:lnTo>
                  <a:lnTo>
                    <a:pt x="1099" y="3074"/>
                  </a:lnTo>
                  <a:lnTo>
                    <a:pt x="1101" y="3068"/>
                  </a:lnTo>
                  <a:lnTo>
                    <a:pt x="1104" y="3062"/>
                  </a:lnTo>
                  <a:lnTo>
                    <a:pt x="1104" y="3060"/>
                  </a:lnTo>
                  <a:lnTo>
                    <a:pt x="1105" y="3057"/>
                  </a:lnTo>
                  <a:lnTo>
                    <a:pt x="1105" y="3056"/>
                  </a:lnTo>
                  <a:lnTo>
                    <a:pt x="1108" y="3055"/>
                  </a:lnTo>
                  <a:lnTo>
                    <a:pt x="1109" y="3055"/>
                  </a:lnTo>
                  <a:lnTo>
                    <a:pt x="1111" y="3052"/>
                  </a:lnTo>
                  <a:lnTo>
                    <a:pt x="1111" y="3051"/>
                  </a:lnTo>
                  <a:lnTo>
                    <a:pt x="1113" y="3049"/>
                  </a:lnTo>
                  <a:lnTo>
                    <a:pt x="1117" y="3047"/>
                  </a:lnTo>
                  <a:lnTo>
                    <a:pt x="1122" y="3044"/>
                  </a:lnTo>
                  <a:lnTo>
                    <a:pt x="1124" y="3044"/>
                  </a:lnTo>
                  <a:lnTo>
                    <a:pt x="1125" y="3044"/>
                  </a:lnTo>
                  <a:lnTo>
                    <a:pt x="1126" y="3043"/>
                  </a:lnTo>
                  <a:lnTo>
                    <a:pt x="1128" y="3043"/>
                  </a:lnTo>
                  <a:lnTo>
                    <a:pt x="1129" y="3043"/>
                  </a:lnTo>
                  <a:lnTo>
                    <a:pt x="1130" y="3042"/>
                  </a:lnTo>
                  <a:lnTo>
                    <a:pt x="1133" y="3040"/>
                  </a:lnTo>
                  <a:lnTo>
                    <a:pt x="1138" y="3039"/>
                  </a:lnTo>
                  <a:lnTo>
                    <a:pt x="1141" y="3039"/>
                  </a:lnTo>
                  <a:lnTo>
                    <a:pt x="1145" y="3038"/>
                  </a:lnTo>
                  <a:lnTo>
                    <a:pt x="1146" y="3036"/>
                  </a:lnTo>
                  <a:lnTo>
                    <a:pt x="1149" y="3036"/>
                  </a:lnTo>
                  <a:lnTo>
                    <a:pt x="1160" y="3035"/>
                  </a:lnTo>
                  <a:lnTo>
                    <a:pt x="1172" y="3032"/>
                  </a:lnTo>
                  <a:lnTo>
                    <a:pt x="1175" y="3030"/>
                  </a:lnTo>
                  <a:lnTo>
                    <a:pt x="1179" y="3027"/>
                  </a:lnTo>
                  <a:lnTo>
                    <a:pt x="1184" y="3026"/>
                  </a:lnTo>
                  <a:lnTo>
                    <a:pt x="1189" y="3025"/>
                  </a:lnTo>
                  <a:lnTo>
                    <a:pt x="1205" y="3021"/>
                  </a:lnTo>
                  <a:lnTo>
                    <a:pt x="1222" y="3019"/>
                  </a:lnTo>
                  <a:lnTo>
                    <a:pt x="1256" y="3015"/>
                  </a:lnTo>
                  <a:lnTo>
                    <a:pt x="1279" y="3015"/>
                  </a:lnTo>
                  <a:lnTo>
                    <a:pt x="1282" y="3018"/>
                  </a:lnTo>
                  <a:lnTo>
                    <a:pt x="1286" y="3021"/>
                  </a:lnTo>
                  <a:lnTo>
                    <a:pt x="1292" y="3022"/>
                  </a:lnTo>
                  <a:lnTo>
                    <a:pt x="1298" y="3023"/>
                  </a:lnTo>
                  <a:lnTo>
                    <a:pt x="1316" y="3034"/>
                  </a:lnTo>
                  <a:lnTo>
                    <a:pt x="1336" y="3043"/>
                  </a:lnTo>
                  <a:lnTo>
                    <a:pt x="1337" y="3043"/>
                  </a:lnTo>
                  <a:lnTo>
                    <a:pt x="1338" y="3044"/>
                  </a:lnTo>
                  <a:lnTo>
                    <a:pt x="1341" y="3044"/>
                  </a:lnTo>
                  <a:lnTo>
                    <a:pt x="1343" y="3044"/>
                  </a:lnTo>
                  <a:lnTo>
                    <a:pt x="1347" y="3045"/>
                  </a:lnTo>
                  <a:lnTo>
                    <a:pt x="1358" y="3045"/>
                  </a:lnTo>
                  <a:lnTo>
                    <a:pt x="1367" y="3044"/>
                  </a:lnTo>
                  <a:lnTo>
                    <a:pt x="1372" y="3043"/>
                  </a:lnTo>
                  <a:lnTo>
                    <a:pt x="1379" y="3040"/>
                  </a:lnTo>
                  <a:lnTo>
                    <a:pt x="1383" y="3038"/>
                  </a:lnTo>
                  <a:lnTo>
                    <a:pt x="1387" y="3036"/>
                  </a:lnTo>
                  <a:lnTo>
                    <a:pt x="1389" y="3035"/>
                  </a:lnTo>
                  <a:lnTo>
                    <a:pt x="1389" y="3032"/>
                  </a:lnTo>
                  <a:lnTo>
                    <a:pt x="1389" y="3032"/>
                  </a:lnTo>
                  <a:lnTo>
                    <a:pt x="1391" y="3031"/>
                  </a:lnTo>
                  <a:lnTo>
                    <a:pt x="1392" y="3030"/>
                  </a:lnTo>
                  <a:lnTo>
                    <a:pt x="1394" y="3027"/>
                  </a:lnTo>
                  <a:lnTo>
                    <a:pt x="1396" y="3025"/>
                  </a:lnTo>
                  <a:lnTo>
                    <a:pt x="1397" y="3023"/>
                  </a:lnTo>
                  <a:lnTo>
                    <a:pt x="1398" y="3021"/>
                  </a:lnTo>
                  <a:lnTo>
                    <a:pt x="1401" y="3018"/>
                  </a:lnTo>
                  <a:lnTo>
                    <a:pt x="1405" y="3015"/>
                  </a:lnTo>
                  <a:lnTo>
                    <a:pt x="1409" y="3013"/>
                  </a:lnTo>
                  <a:lnTo>
                    <a:pt x="1410" y="3013"/>
                  </a:lnTo>
                  <a:lnTo>
                    <a:pt x="1411" y="3011"/>
                  </a:lnTo>
                  <a:lnTo>
                    <a:pt x="1413" y="3010"/>
                  </a:lnTo>
                  <a:lnTo>
                    <a:pt x="1414" y="3009"/>
                  </a:lnTo>
                  <a:lnTo>
                    <a:pt x="1414" y="3008"/>
                  </a:lnTo>
                  <a:lnTo>
                    <a:pt x="1415" y="3006"/>
                  </a:lnTo>
                  <a:lnTo>
                    <a:pt x="1418" y="3004"/>
                  </a:lnTo>
                  <a:lnTo>
                    <a:pt x="1419" y="3002"/>
                  </a:lnTo>
                  <a:lnTo>
                    <a:pt x="1421" y="3002"/>
                  </a:lnTo>
                  <a:lnTo>
                    <a:pt x="1423" y="3001"/>
                  </a:lnTo>
                  <a:lnTo>
                    <a:pt x="1426" y="3000"/>
                  </a:lnTo>
                  <a:lnTo>
                    <a:pt x="1430" y="2997"/>
                  </a:lnTo>
                  <a:lnTo>
                    <a:pt x="1436" y="2994"/>
                  </a:lnTo>
                  <a:lnTo>
                    <a:pt x="1443" y="2993"/>
                  </a:lnTo>
                  <a:lnTo>
                    <a:pt x="1452" y="2991"/>
                  </a:lnTo>
                  <a:lnTo>
                    <a:pt x="1461" y="2989"/>
                  </a:lnTo>
                  <a:lnTo>
                    <a:pt x="1469" y="2989"/>
                  </a:lnTo>
                  <a:lnTo>
                    <a:pt x="1483" y="2985"/>
                  </a:lnTo>
                  <a:lnTo>
                    <a:pt x="1496" y="2981"/>
                  </a:lnTo>
                  <a:lnTo>
                    <a:pt x="1504" y="2979"/>
                  </a:lnTo>
                  <a:lnTo>
                    <a:pt x="1508" y="2977"/>
                  </a:lnTo>
                  <a:lnTo>
                    <a:pt x="1513" y="2976"/>
                  </a:lnTo>
                  <a:lnTo>
                    <a:pt x="1516" y="2975"/>
                  </a:lnTo>
                  <a:lnTo>
                    <a:pt x="1520" y="2974"/>
                  </a:lnTo>
                  <a:lnTo>
                    <a:pt x="1527" y="2971"/>
                  </a:lnTo>
                  <a:lnTo>
                    <a:pt x="1532" y="2967"/>
                  </a:lnTo>
                  <a:lnTo>
                    <a:pt x="1534" y="2963"/>
                  </a:lnTo>
                  <a:lnTo>
                    <a:pt x="1537" y="2962"/>
                  </a:lnTo>
                  <a:lnTo>
                    <a:pt x="1538" y="2962"/>
                  </a:lnTo>
                  <a:lnTo>
                    <a:pt x="1541" y="2962"/>
                  </a:lnTo>
                  <a:lnTo>
                    <a:pt x="1542" y="2959"/>
                  </a:lnTo>
                  <a:lnTo>
                    <a:pt x="1544" y="2958"/>
                  </a:lnTo>
                  <a:lnTo>
                    <a:pt x="1545" y="2957"/>
                  </a:lnTo>
                  <a:lnTo>
                    <a:pt x="1546" y="2955"/>
                  </a:lnTo>
                  <a:lnTo>
                    <a:pt x="1546" y="2954"/>
                  </a:lnTo>
                  <a:lnTo>
                    <a:pt x="1546" y="2953"/>
                  </a:lnTo>
                  <a:lnTo>
                    <a:pt x="1549" y="2953"/>
                  </a:lnTo>
                  <a:lnTo>
                    <a:pt x="1551" y="2950"/>
                  </a:lnTo>
                  <a:lnTo>
                    <a:pt x="1554" y="2946"/>
                  </a:lnTo>
                  <a:lnTo>
                    <a:pt x="1557" y="2942"/>
                  </a:lnTo>
                  <a:lnTo>
                    <a:pt x="1557" y="2942"/>
                  </a:lnTo>
                  <a:lnTo>
                    <a:pt x="1558" y="2942"/>
                  </a:lnTo>
                  <a:lnTo>
                    <a:pt x="1559" y="2941"/>
                  </a:lnTo>
                  <a:lnTo>
                    <a:pt x="1561" y="2940"/>
                  </a:lnTo>
                  <a:lnTo>
                    <a:pt x="1561" y="2938"/>
                  </a:lnTo>
                  <a:lnTo>
                    <a:pt x="1561" y="2937"/>
                  </a:lnTo>
                  <a:lnTo>
                    <a:pt x="1562" y="2936"/>
                  </a:lnTo>
                  <a:lnTo>
                    <a:pt x="1563" y="2936"/>
                  </a:lnTo>
                  <a:lnTo>
                    <a:pt x="1574" y="2933"/>
                  </a:lnTo>
                  <a:lnTo>
                    <a:pt x="1583" y="2933"/>
                  </a:lnTo>
                  <a:lnTo>
                    <a:pt x="1585" y="2934"/>
                  </a:lnTo>
                  <a:lnTo>
                    <a:pt x="1589" y="2934"/>
                  </a:lnTo>
                  <a:lnTo>
                    <a:pt x="1592" y="2933"/>
                  </a:lnTo>
                  <a:lnTo>
                    <a:pt x="1593" y="2932"/>
                  </a:lnTo>
                  <a:lnTo>
                    <a:pt x="1595" y="2930"/>
                  </a:lnTo>
                  <a:lnTo>
                    <a:pt x="1595" y="2928"/>
                  </a:lnTo>
                  <a:lnTo>
                    <a:pt x="1596" y="2919"/>
                  </a:lnTo>
                  <a:lnTo>
                    <a:pt x="1597" y="2911"/>
                  </a:lnTo>
                  <a:lnTo>
                    <a:pt x="1597" y="2908"/>
                  </a:lnTo>
                  <a:lnTo>
                    <a:pt x="1599" y="2904"/>
                  </a:lnTo>
                  <a:lnTo>
                    <a:pt x="1600" y="2902"/>
                  </a:lnTo>
                  <a:lnTo>
                    <a:pt x="1601" y="2898"/>
                  </a:lnTo>
                  <a:lnTo>
                    <a:pt x="1602" y="2895"/>
                  </a:lnTo>
                  <a:lnTo>
                    <a:pt x="1605" y="2892"/>
                  </a:lnTo>
                  <a:lnTo>
                    <a:pt x="1606" y="2889"/>
                  </a:lnTo>
                  <a:lnTo>
                    <a:pt x="1609" y="2885"/>
                  </a:lnTo>
                  <a:lnTo>
                    <a:pt x="1610" y="2883"/>
                  </a:lnTo>
                  <a:lnTo>
                    <a:pt x="1612" y="2882"/>
                  </a:lnTo>
                  <a:lnTo>
                    <a:pt x="1616" y="2878"/>
                  </a:lnTo>
                  <a:lnTo>
                    <a:pt x="1619" y="2874"/>
                  </a:lnTo>
                  <a:lnTo>
                    <a:pt x="1619" y="2874"/>
                  </a:lnTo>
                  <a:lnTo>
                    <a:pt x="1626" y="2870"/>
                  </a:lnTo>
                  <a:lnTo>
                    <a:pt x="1631" y="2868"/>
                  </a:lnTo>
                  <a:lnTo>
                    <a:pt x="1633" y="2866"/>
                  </a:lnTo>
                  <a:lnTo>
                    <a:pt x="1634" y="2865"/>
                  </a:lnTo>
                  <a:lnTo>
                    <a:pt x="1636" y="2865"/>
                  </a:lnTo>
                  <a:lnTo>
                    <a:pt x="1639" y="2865"/>
                  </a:lnTo>
                  <a:lnTo>
                    <a:pt x="1642" y="2864"/>
                  </a:lnTo>
                  <a:lnTo>
                    <a:pt x="1644" y="2862"/>
                  </a:lnTo>
                  <a:lnTo>
                    <a:pt x="1657" y="2860"/>
                  </a:lnTo>
                  <a:lnTo>
                    <a:pt x="1673" y="2858"/>
                  </a:lnTo>
                  <a:lnTo>
                    <a:pt x="1674" y="2857"/>
                  </a:lnTo>
                  <a:lnTo>
                    <a:pt x="1677" y="2856"/>
                  </a:lnTo>
                  <a:lnTo>
                    <a:pt x="1678" y="2856"/>
                  </a:lnTo>
                  <a:lnTo>
                    <a:pt x="1680" y="2855"/>
                  </a:lnTo>
                  <a:lnTo>
                    <a:pt x="1681" y="2851"/>
                  </a:lnTo>
                  <a:lnTo>
                    <a:pt x="1681" y="2847"/>
                  </a:lnTo>
                  <a:lnTo>
                    <a:pt x="1681" y="2840"/>
                  </a:lnTo>
                  <a:lnTo>
                    <a:pt x="1681" y="2834"/>
                  </a:lnTo>
                  <a:lnTo>
                    <a:pt x="1682" y="2830"/>
                  </a:lnTo>
                  <a:lnTo>
                    <a:pt x="1684" y="2826"/>
                  </a:lnTo>
                  <a:lnTo>
                    <a:pt x="1684" y="2824"/>
                  </a:lnTo>
                  <a:lnTo>
                    <a:pt x="1685" y="2823"/>
                  </a:lnTo>
                  <a:lnTo>
                    <a:pt x="1685" y="2822"/>
                  </a:lnTo>
                  <a:lnTo>
                    <a:pt x="1685" y="2819"/>
                  </a:lnTo>
                  <a:lnTo>
                    <a:pt x="1687" y="2818"/>
                  </a:lnTo>
                  <a:lnTo>
                    <a:pt x="1689" y="2815"/>
                  </a:lnTo>
                  <a:lnTo>
                    <a:pt x="1690" y="2814"/>
                  </a:lnTo>
                  <a:lnTo>
                    <a:pt x="1691" y="2811"/>
                  </a:lnTo>
                  <a:lnTo>
                    <a:pt x="1693" y="2811"/>
                  </a:lnTo>
                  <a:lnTo>
                    <a:pt x="1693" y="2810"/>
                  </a:lnTo>
                  <a:lnTo>
                    <a:pt x="1698" y="2805"/>
                  </a:lnTo>
                  <a:lnTo>
                    <a:pt x="1702" y="2800"/>
                  </a:lnTo>
                  <a:lnTo>
                    <a:pt x="1703" y="2800"/>
                  </a:lnTo>
                  <a:lnTo>
                    <a:pt x="1704" y="2800"/>
                  </a:lnTo>
                  <a:lnTo>
                    <a:pt x="1704" y="2798"/>
                  </a:lnTo>
                  <a:lnTo>
                    <a:pt x="1706" y="2797"/>
                  </a:lnTo>
                  <a:lnTo>
                    <a:pt x="1708" y="2797"/>
                  </a:lnTo>
                  <a:lnTo>
                    <a:pt x="1711" y="2796"/>
                  </a:lnTo>
                  <a:lnTo>
                    <a:pt x="1712" y="2794"/>
                  </a:lnTo>
                  <a:lnTo>
                    <a:pt x="1712" y="2793"/>
                  </a:lnTo>
                  <a:lnTo>
                    <a:pt x="1715" y="2793"/>
                  </a:lnTo>
                  <a:lnTo>
                    <a:pt x="1715" y="2792"/>
                  </a:lnTo>
                  <a:lnTo>
                    <a:pt x="1718" y="2790"/>
                  </a:lnTo>
                  <a:lnTo>
                    <a:pt x="1720" y="2789"/>
                  </a:lnTo>
                  <a:lnTo>
                    <a:pt x="1721" y="2786"/>
                  </a:lnTo>
                  <a:lnTo>
                    <a:pt x="1724" y="2785"/>
                  </a:lnTo>
                  <a:lnTo>
                    <a:pt x="1727" y="2785"/>
                  </a:lnTo>
                  <a:lnTo>
                    <a:pt x="1727" y="2784"/>
                  </a:lnTo>
                  <a:lnTo>
                    <a:pt x="1727" y="2783"/>
                  </a:lnTo>
                  <a:lnTo>
                    <a:pt x="1732" y="2781"/>
                  </a:lnTo>
                  <a:lnTo>
                    <a:pt x="1737" y="2780"/>
                  </a:lnTo>
                  <a:lnTo>
                    <a:pt x="1741" y="2779"/>
                  </a:lnTo>
                  <a:lnTo>
                    <a:pt x="1746" y="2777"/>
                  </a:lnTo>
                  <a:lnTo>
                    <a:pt x="1748" y="2776"/>
                  </a:lnTo>
                  <a:lnTo>
                    <a:pt x="1748" y="2775"/>
                  </a:lnTo>
                  <a:lnTo>
                    <a:pt x="1749" y="2773"/>
                  </a:lnTo>
                  <a:lnTo>
                    <a:pt x="1750" y="2772"/>
                  </a:lnTo>
                  <a:lnTo>
                    <a:pt x="1752" y="2772"/>
                  </a:lnTo>
                  <a:lnTo>
                    <a:pt x="1752" y="2772"/>
                  </a:lnTo>
                  <a:lnTo>
                    <a:pt x="1752" y="2769"/>
                  </a:lnTo>
                  <a:lnTo>
                    <a:pt x="1753" y="2755"/>
                  </a:lnTo>
                  <a:lnTo>
                    <a:pt x="1755" y="2741"/>
                  </a:lnTo>
                  <a:lnTo>
                    <a:pt x="1757" y="2738"/>
                  </a:lnTo>
                  <a:lnTo>
                    <a:pt x="1757" y="2734"/>
                  </a:lnTo>
                  <a:lnTo>
                    <a:pt x="1758" y="2733"/>
                  </a:lnTo>
                  <a:lnTo>
                    <a:pt x="1759" y="2732"/>
                  </a:lnTo>
                  <a:lnTo>
                    <a:pt x="1761" y="2732"/>
                  </a:lnTo>
                  <a:lnTo>
                    <a:pt x="1762" y="2730"/>
                  </a:lnTo>
                  <a:lnTo>
                    <a:pt x="1763" y="2729"/>
                  </a:lnTo>
                  <a:lnTo>
                    <a:pt x="1765" y="2729"/>
                  </a:lnTo>
                  <a:lnTo>
                    <a:pt x="1767" y="2728"/>
                  </a:lnTo>
                  <a:lnTo>
                    <a:pt x="1770" y="2726"/>
                  </a:lnTo>
                  <a:lnTo>
                    <a:pt x="1772" y="2726"/>
                  </a:lnTo>
                  <a:lnTo>
                    <a:pt x="1787" y="2725"/>
                  </a:lnTo>
                  <a:lnTo>
                    <a:pt x="1808" y="2724"/>
                  </a:lnTo>
                  <a:lnTo>
                    <a:pt x="1829" y="2722"/>
                  </a:lnTo>
                  <a:lnTo>
                    <a:pt x="1842" y="2722"/>
                  </a:lnTo>
                  <a:lnTo>
                    <a:pt x="1847" y="2724"/>
                  </a:lnTo>
                  <a:lnTo>
                    <a:pt x="1854" y="2726"/>
                  </a:lnTo>
                  <a:lnTo>
                    <a:pt x="1857" y="2729"/>
                  </a:lnTo>
                  <a:lnTo>
                    <a:pt x="1861" y="2732"/>
                  </a:lnTo>
                  <a:lnTo>
                    <a:pt x="1864" y="2732"/>
                  </a:lnTo>
                  <a:lnTo>
                    <a:pt x="1865" y="2733"/>
                  </a:lnTo>
                  <a:lnTo>
                    <a:pt x="1869" y="2735"/>
                  </a:lnTo>
                  <a:lnTo>
                    <a:pt x="1873" y="2738"/>
                  </a:lnTo>
                  <a:lnTo>
                    <a:pt x="1874" y="2741"/>
                  </a:lnTo>
                  <a:lnTo>
                    <a:pt x="1878" y="2743"/>
                  </a:lnTo>
                  <a:lnTo>
                    <a:pt x="1880" y="2745"/>
                  </a:lnTo>
                  <a:lnTo>
                    <a:pt x="1881" y="2746"/>
                  </a:lnTo>
                  <a:lnTo>
                    <a:pt x="1881" y="2747"/>
                  </a:lnTo>
                  <a:lnTo>
                    <a:pt x="1882" y="2749"/>
                  </a:lnTo>
                  <a:lnTo>
                    <a:pt x="1884" y="2749"/>
                  </a:lnTo>
                  <a:lnTo>
                    <a:pt x="1884" y="2750"/>
                  </a:lnTo>
                  <a:lnTo>
                    <a:pt x="1885" y="2751"/>
                  </a:lnTo>
                  <a:lnTo>
                    <a:pt x="1886" y="2752"/>
                  </a:lnTo>
                  <a:lnTo>
                    <a:pt x="1888" y="2754"/>
                  </a:lnTo>
                  <a:lnTo>
                    <a:pt x="1888" y="2755"/>
                  </a:lnTo>
                  <a:lnTo>
                    <a:pt x="1889" y="2758"/>
                  </a:lnTo>
                  <a:lnTo>
                    <a:pt x="1890" y="2759"/>
                  </a:lnTo>
                  <a:lnTo>
                    <a:pt x="1893" y="2760"/>
                  </a:lnTo>
                  <a:lnTo>
                    <a:pt x="1894" y="2763"/>
                  </a:lnTo>
                  <a:lnTo>
                    <a:pt x="1895" y="2764"/>
                  </a:lnTo>
                  <a:lnTo>
                    <a:pt x="1895" y="2766"/>
                  </a:lnTo>
                  <a:lnTo>
                    <a:pt x="1897" y="2767"/>
                  </a:lnTo>
                  <a:lnTo>
                    <a:pt x="1901" y="2771"/>
                  </a:lnTo>
                  <a:lnTo>
                    <a:pt x="1906" y="2773"/>
                  </a:lnTo>
                  <a:lnTo>
                    <a:pt x="1911" y="2775"/>
                  </a:lnTo>
                  <a:lnTo>
                    <a:pt x="1916" y="2776"/>
                  </a:lnTo>
                  <a:lnTo>
                    <a:pt x="1929" y="2777"/>
                  </a:lnTo>
                  <a:lnTo>
                    <a:pt x="1943" y="2777"/>
                  </a:lnTo>
                  <a:lnTo>
                    <a:pt x="1969" y="2772"/>
                  </a:lnTo>
                  <a:lnTo>
                    <a:pt x="1992" y="2766"/>
                  </a:lnTo>
                  <a:lnTo>
                    <a:pt x="1994" y="2764"/>
                  </a:lnTo>
                  <a:lnTo>
                    <a:pt x="1994" y="2763"/>
                  </a:lnTo>
                  <a:lnTo>
                    <a:pt x="1994" y="2762"/>
                  </a:lnTo>
                  <a:lnTo>
                    <a:pt x="1996" y="2756"/>
                  </a:lnTo>
                  <a:lnTo>
                    <a:pt x="1999" y="2751"/>
                  </a:lnTo>
                  <a:lnTo>
                    <a:pt x="2000" y="2750"/>
                  </a:lnTo>
                  <a:lnTo>
                    <a:pt x="2001" y="2747"/>
                  </a:lnTo>
                  <a:lnTo>
                    <a:pt x="2003" y="2745"/>
                  </a:lnTo>
                  <a:lnTo>
                    <a:pt x="2005" y="2743"/>
                  </a:lnTo>
                  <a:lnTo>
                    <a:pt x="2005" y="2742"/>
                  </a:lnTo>
                  <a:lnTo>
                    <a:pt x="2011" y="2738"/>
                  </a:lnTo>
                  <a:lnTo>
                    <a:pt x="2017" y="2737"/>
                  </a:lnTo>
                  <a:lnTo>
                    <a:pt x="2024" y="2737"/>
                  </a:lnTo>
                  <a:lnTo>
                    <a:pt x="2031" y="2738"/>
                  </a:lnTo>
                  <a:lnTo>
                    <a:pt x="2037" y="2739"/>
                  </a:lnTo>
                  <a:lnTo>
                    <a:pt x="2042" y="2738"/>
                  </a:lnTo>
                  <a:lnTo>
                    <a:pt x="2043" y="2737"/>
                  </a:lnTo>
                  <a:lnTo>
                    <a:pt x="2045" y="2734"/>
                  </a:lnTo>
                  <a:lnTo>
                    <a:pt x="2046" y="2733"/>
                  </a:lnTo>
                  <a:lnTo>
                    <a:pt x="2047" y="2732"/>
                  </a:lnTo>
                  <a:lnTo>
                    <a:pt x="2048" y="2730"/>
                  </a:lnTo>
                  <a:lnTo>
                    <a:pt x="2050" y="2729"/>
                  </a:lnTo>
                  <a:lnTo>
                    <a:pt x="2052" y="2726"/>
                  </a:lnTo>
                  <a:lnTo>
                    <a:pt x="2055" y="2724"/>
                  </a:lnTo>
                  <a:lnTo>
                    <a:pt x="2056" y="2724"/>
                  </a:lnTo>
                  <a:lnTo>
                    <a:pt x="2058" y="2724"/>
                  </a:lnTo>
                  <a:lnTo>
                    <a:pt x="2059" y="2722"/>
                  </a:lnTo>
                  <a:lnTo>
                    <a:pt x="2060" y="2721"/>
                  </a:lnTo>
                  <a:lnTo>
                    <a:pt x="2062" y="2720"/>
                  </a:lnTo>
                  <a:lnTo>
                    <a:pt x="2064" y="2717"/>
                  </a:lnTo>
                  <a:lnTo>
                    <a:pt x="2067" y="2716"/>
                  </a:lnTo>
                  <a:lnTo>
                    <a:pt x="2069" y="2716"/>
                  </a:lnTo>
                  <a:lnTo>
                    <a:pt x="2071" y="2716"/>
                  </a:lnTo>
                  <a:lnTo>
                    <a:pt x="2072" y="2715"/>
                  </a:lnTo>
                  <a:lnTo>
                    <a:pt x="2084" y="2712"/>
                  </a:lnTo>
                  <a:lnTo>
                    <a:pt x="2096" y="2709"/>
                  </a:lnTo>
                  <a:lnTo>
                    <a:pt x="2111" y="2709"/>
                  </a:lnTo>
                  <a:lnTo>
                    <a:pt x="2115" y="2709"/>
                  </a:lnTo>
                  <a:lnTo>
                    <a:pt x="2118" y="2709"/>
                  </a:lnTo>
                  <a:lnTo>
                    <a:pt x="2120" y="2711"/>
                  </a:lnTo>
                  <a:lnTo>
                    <a:pt x="2123" y="2711"/>
                  </a:lnTo>
                  <a:lnTo>
                    <a:pt x="2127" y="2711"/>
                  </a:lnTo>
                  <a:lnTo>
                    <a:pt x="2131" y="2712"/>
                  </a:lnTo>
                  <a:lnTo>
                    <a:pt x="2133" y="2715"/>
                  </a:lnTo>
                  <a:lnTo>
                    <a:pt x="2140" y="2717"/>
                  </a:lnTo>
                  <a:lnTo>
                    <a:pt x="2143" y="2718"/>
                  </a:lnTo>
                  <a:lnTo>
                    <a:pt x="2145" y="2721"/>
                  </a:lnTo>
                  <a:lnTo>
                    <a:pt x="2148" y="2724"/>
                  </a:lnTo>
                  <a:lnTo>
                    <a:pt x="2148" y="2726"/>
                  </a:lnTo>
                  <a:lnTo>
                    <a:pt x="2149" y="2729"/>
                  </a:lnTo>
                  <a:lnTo>
                    <a:pt x="2150" y="2732"/>
                  </a:lnTo>
                  <a:lnTo>
                    <a:pt x="2150" y="2733"/>
                  </a:lnTo>
                  <a:lnTo>
                    <a:pt x="2152" y="2734"/>
                  </a:lnTo>
                  <a:lnTo>
                    <a:pt x="2152" y="2738"/>
                  </a:lnTo>
                  <a:lnTo>
                    <a:pt x="2153" y="2741"/>
                  </a:lnTo>
                  <a:lnTo>
                    <a:pt x="2164" y="2741"/>
                  </a:lnTo>
                  <a:lnTo>
                    <a:pt x="2174" y="2742"/>
                  </a:lnTo>
                  <a:lnTo>
                    <a:pt x="2184" y="2742"/>
                  </a:lnTo>
                  <a:lnTo>
                    <a:pt x="2194" y="2743"/>
                  </a:lnTo>
                  <a:lnTo>
                    <a:pt x="2198" y="2746"/>
                  </a:lnTo>
                  <a:lnTo>
                    <a:pt x="2201" y="2749"/>
                  </a:lnTo>
                  <a:lnTo>
                    <a:pt x="2204" y="2749"/>
                  </a:lnTo>
                  <a:lnTo>
                    <a:pt x="2207" y="2751"/>
                  </a:lnTo>
                  <a:lnTo>
                    <a:pt x="2211" y="2754"/>
                  </a:lnTo>
                  <a:lnTo>
                    <a:pt x="2212" y="2754"/>
                  </a:lnTo>
                  <a:lnTo>
                    <a:pt x="2216" y="2756"/>
                  </a:lnTo>
                  <a:lnTo>
                    <a:pt x="2221" y="2760"/>
                  </a:lnTo>
                  <a:lnTo>
                    <a:pt x="2222" y="2762"/>
                  </a:lnTo>
                  <a:lnTo>
                    <a:pt x="2222" y="2762"/>
                  </a:lnTo>
                  <a:lnTo>
                    <a:pt x="2224" y="2762"/>
                  </a:lnTo>
                  <a:lnTo>
                    <a:pt x="2225" y="2762"/>
                  </a:lnTo>
                  <a:lnTo>
                    <a:pt x="2226" y="2763"/>
                  </a:lnTo>
                  <a:lnTo>
                    <a:pt x="2232" y="2766"/>
                  </a:lnTo>
                  <a:lnTo>
                    <a:pt x="2236" y="2769"/>
                  </a:lnTo>
                  <a:lnTo>
                    <a:pt x="2238" y="2772"/>
                  </a:lnTo>
                  <a:lnTo>
                    <a:pt x="2241" y="2773"/>
                  </a:lnTo>
                  <a:lnTo>
                    <a:pt x="2243" y="2773"/>
                  </a:lnTo>
                  <a:lnTo>
                    <a:pt x="2243" y="2773"/>
                  </a:lnTo>
                  <a:lnTo>
                    <a:pt x="2245" y="2775"/>
                  </a:lnTo>
                  <a:lnTo>
                    <a:pt x="2251" y="2780"/>
                  </a:lnTo>
                  <a:lnTo>
                    <a:pt x="2256" y="2783"/>
                  </a:lnTo>
                  <a:lnTo>
                    <a:pt x="2256" y="2781"/>
                  </a:lnTo>
                  <a:lnTo>
                    <a:pt x="2267" y="2773"/>
                  </a:lnTo>
                  <a:lnTo>
                    <a:pt x="2273" y="2771"/>
                  </a:lnTo>
                  <a:lnTo>
                    <a:pt x="2280" y="2769"/>
                  </a:lnTo>
                  <a:lnTo>
                    <a:pt x="2287" y="2769"/>
                  </a:lnTo>
                  <a:lnTo>
                    <a:pt x="2294" y="2769"/>
                  </a:lnTo>
                  <a:lnTo>
                    <a:pt x="2300" y="2771"/>
                  </a:lnTo>
                  <a:lnTo>
                    <a:pt x="2306" y="2773"/>
                  </a:lnTo>
                  <a:lnTo>
                    <a:pt x="2310" y="2775"/>
                  </a:lnTo>
                  <a:lnTo>
                    <a:pt x="2314" y="2777"/>
                  </a:lnTo>
                  <a:lnTo>
                    <a:pt x="2321" y="2777"/>
                  </a:lnTo>
                  <a:lnTo>
                    <a:pt x="2332" y="2777"/>
                  </a:lnTo>
                  <a:lnTo>
                    <a:pt x="2344" y="2777"/>
                  </a:lnTo>
                  <a:lnTo>
                    <a:pt x="2353" y="2777"/>
                  </a:lnTo>
                  <a:lnTo>
                    <a:pt x="2392" y="2779"/>
                  </a:lnTo>
                  <a:lnTo>
                    <a:pt x="2400" y="2779"/>
                  </a:lnTo>
                  <a:lnTo>
                    <a:pt x="2408" y="2780"/>
                  </a:lnTo>
                  <a:lnTo>
                    <a:pt x="2417" y="2784"/>
                  </a:lnTo>
                  <a:lnTo>
                    <a:pt x="2434" y="2788"/>
                  </a:lnTo>
                  <a:lnTo>
                    <a:pt x="2453" y="2790"/>
                  </a:lnTo>
                  <a:lnTo>
                    <a:pt x="2464" y="2792"/>
                  </a:lnTo>
                  <a:lnTo>
                    <a:pt x="2479" y="2794"/>
                  </a:lnTo>
                  <a:lnTo>
                    <a:pt x="2494" y="2800"/>
                  </a:lnTo>
                  <a:lnTo>
                    <a:pt x="2509" y="2805"/>
                  </a:lnTo>
                  <a:lnTo>
                    <a:pt x="2521" y="2810"/>
                  </a:lnTo>
                  <a:lnTo>
                    <a:pt x="2536" y="2820"/>
                  </a:lnTo>
                  <a:lnTo>
                    <a:pt x="2564" y="2841"/>
                  </a:lnTo>
                  <a:lnTo>
                    <a:pt x="2580" y="2852"/>
                  </a:lnTo>
                  <a:lnTo>
                    <a:pt x="2594" y="2862"/>
                  </a:lnTo>
                  <a:lnTo>
                    <a:pt x="2602" y="2865"/>
                  </a:lnTo>
                  <a:lnTo>
                    <a:pt x="2608" y="2869"/>
                  </a:lnTo>
                  <a:lnTo>
                    <a:pt x="2615" y="2870"/>
                  </a:lnTo>
                  <a:lnTo>
                    <a:pt x="2621" y="2870"/>
                  </a:lnTo>
                  <a:lnTo>
                    <a:pt x="2623" y="2870"/>
                  </a:lnTo>
                  <a:lnTo>
                    <a:pt x="2628" y="2875"/>
                  </a:lnTo>
                  <a:lnTo>
                    <a:pt x="2632" y="2879"/>
                  </a:lnTo>
                  <a:lnTo>
                    <a:pt x="2634" y="2879"/>
                  </a:lnTo>
                  <a:lnTo>
                    <a:pt x="2637" y="2882"/>
                  </a:lnTo>
                  <a:lnTo>
                    <a:pt x="2640" y="2885"/>
                  </a:lnTo>
                  <a:lnTo>
                    <a:pt x="2668" y="2886"/>
                  </a:lnTo>
                  <a:lnTo>
                    <a:pt x="2670" y="2886"/>
                  </a:lnTo>
                  <a:lnTo>
                    <a:pt x="2671" y="2887"/>
                  </a:lnTo>
                  <a:lnTo>
                    <a:pt x="2672" y="2889"/>
                  </a:lnTo>
                  <a:lnTo>
                    <a:pt x="2674" y="2887"/>
                  </a:lnTo>
                  <a:lnTo>
                    <a:pt x="2674" y="2885"/>
                  </a:lnTo>
                  <a:lnTo>
                    <a:pt x="2675" y="2883"/>
                  </a:lnTo>
                  <a:lnTo>
                    <a:pt x="2676" y="2883"/>
                  </a:lnTo>
                  <a:lnTo>
                    <a:pt x="2680" y="2882"/>
                  </a:lnTo>
                  <a:lnTo>
                    <a:pt x="2684" y="2878"/>
                  </a:lnTo>
                  <a:lnTo>
                    <a:pt x="2688" y="2875"/>
                  </a:lnTo>
                  <a:lnTo>
                    <a:pt x="2696" y="2875"/>
                  </a:lnTo>
                  <a:lnTo>
                    <a:pt x="2706" y="2874"/>
                  </a:lnTo>
                  <a:lnTo>
                    <a:pt x="2718" y="2875"/>
                  </a:lnTo>
                  <a:lnTo>
                    <a:pt x="2730" y="2875"/>
                  </a:lnTo>
                  <a:lnTo>
                    <a:pt x="2740" y="2877"/>
                  </a:lnTo>
                  <a:lnTo>
                    <a:pt x="2748" y="2879"/>
                  </a:lnTo>
                  <a:lnTo>
                    <a:pt x="2751" y="2881"/>
                  </a:lnTo>
                  <a:lnTo>
                    <a:pt x="2757" y="2889"/>
                  </a:lnTo>
                  <a:lnTo>
                    <a:pt x="2768" y="2898"/>
                  </a:lnTo>
                  <a:lnTo>
                    <a:pt x="2781" y="2907"/>
                  </a:lnTo>
                  <a:lnTo>
                    <a:pt x="2794" y="2915"/>
                  </a:lnTo>
                  <a:lnTo>
                    <a:pt x="2819" y="2930"/>
                  </a:lnTo>
                  <a:lnTo>
                    <a:pt x="2832" y="2942"/>
                  </a:lnTo>
                  <a:lnTo>
                    <a:pt x="2836" y="2943"/>
                  </a:lnTo>
                  <a:lnTo>
                    <a:pt x="2840" y="2945"/>
                  </a:lnTo>
                  <a:lnTo>
                    <a:pt x="2845" y="2947"/>
                  </a:lnTo>
                  <a:lnTo>
                    <a:pt x="2849" y="2950"/>
                  </a:lnTo>
                  <a:lnTo>
                    <a:pt x="2850" y="2950"/>
                  </a:lnTo>
                  <a:lnTo>
                    <a:pt x="2853" y="2951"/>
                  </a:lnTo>
                  <a:lnTo>
                    <a:pt x="2855" y="2953"/>
                  </a:lnTo>
                  <a:lnTo>
                    <a:pt x="2858" y="2953"/>
                  </a:lnTo>
                  <a:lnTo>
                    <a:pt x="2870" y="2953"/>
                  </a:lnTo>
                  <a:lnTo>
                    <a:pt x="2887" y="2953"/>
                  </a:lnTo>
                  <a:lnTo>
                    <a:pt x="2895" y="2954"/>
                  </a:lnTo>
                  <a:lnTo>
                    <a:pt x="2903" y="2955"/>
                  </a:lnTo>
                  <a:lnTo>
                    <a:pt x="2908" y="2957"/>
                  </a:lnTo>
                  <a:lnTo>
                    <a:pt x="2912" y="2959"/>
                  </a:lnTo>
                  <a:lnTo>
                    <a:pt x="2920" y="2963"/>
                  </a:lnTo>
                  <a:lnTo>
                    <a:pt x="2927" y="2966"/>
                  </a:lnTo>
                  <a:lnTo>
                    <a:pt x="2930" y="2966"/>
                  </a:lnTo>
                  <a:lnTo>
                    <a:pt x="2933" y="2967"/>
                  </a:lnTo>
                  <a:lnTo>
                    <a:pt x="2947" y="2970"/>
                  </a:lnTo>
                  <a:lnTo>
                    <a:pt x="2960" y="2975"/>
                  </a:lnTo>
                  <a:lnTo>
                    <a:pt x="2960" y="2976"/>
                  </a:lnTo>
                  <a:lnTo>
                    <a:pt x="2960" y="2979"/>
                  </a:lnTo>
                  <a:lnTo>
                    <a:pt x="2963" y="2981"/>
                  </a:lnTo>
                  <a:lnTo>
                    <a:pt x="2964" y="2983"/>
                  </a:lnTo>
                  <a:lnTo>
                    <a:pt x="2968" y="2984"/>
                  </a:lnTo>
                  <a:lnTo>
                    <a:pt x="2975" y="2984"/>
                  </a:lnTo>
                  <a:lnTo>
                    <a:pt x="2981" y="2984"/>
                  </a:lnTo>
                  <a:lnTo>
                    <a:pt x="2984" y="2985"/>
                  </a:lnTo>
                  <a:lnTo>
                    <a:pt x="2985" y="2985"/>
                  </a:lnTo>
                  <a:lnTo>
                    <a:pt x="2995" y="2987"/>
                  </a:lnTo>
                  <a:lnTo>
                    <a:pt x="3009" y="2989"/>
                  </a:lnTo>
                  <a:lnTo>
                    <a:pt x="3016" y="2991"/>
                  </a:lnTo>
                  <a:lnTo>
                    <a:pt x="3032" y="2993"/>
                  </a:lnTo>
                  <a:lnTo>
                    <a:pt x="3048" y="2994"/>
                  </a:lnTo>
                  <a:lnTo>
                    <a:pt x="3058" y="2996"/>
                  </a:lnTo>
                  <a:lnTo>
                    <a:pt x="3061" y="2996"/>
                  </a:lnTo>
                  <a:lnTo>
                    <a:pt x="3062" y="2997"/>
                  </a:lnTo>
                  <a:lnTo>
                    <a:pt x="3070" y="2998"/>
                  </a:lnTo>
                  <a:lnTo>
                    <a:pt x="3077" y="2998"/>
                  </a:lnTo>
                  <a:lnTo>
                    <a:pt x="3078" y="3000"/>
                  </a:lnTo>
                  <a:lnTo>
                    <a:pt x="3079" y="3000"/>
                  </a:lnTo>
                  <a:lnTo>
                    <a:pt x="3080" y="3001"/>
                  </a:lnTo>
                  <a:lnTo>
                    <a:pt x="3080" y="3001"/>
                  </a:lnTo>
                  <a:lnTo>
                    <a:pt x="3082" y="3006"/>
                  </a:lnTo>
                  <a:lnTo>
                    <a:pt x="3083" y="3010"/>
                  </a:lnTo>
                  <a:lnTo>
                    <a:pt x="3084" y="3013"/>
                  </a:lnTo>
                  <a:lnTo>
                    <a:pt x="3086" y="3014"/>
                  </a:lnTo>
                  <a:lnTo>
                    <a:pt x="3086" y="3017"/>
                  </a:lnTo>
                  <a:lnTo>
                    <a:pt x="3087" y="3018"/>
                  </a:lnTo>
                  <a:lnTo>
                    <a:pt x="3087" y="3022"/>
                  </a:lnTo>
                  <a:lnTo>
                    <a:pt x="3088" y="3026"/>
                  </a:lnTo>
                  <a:lnTo>
                    <a:pt x="3091" y="3031"/>
                  </a:lnTo>
                  <a:lnTo>
                    <a:pt x="3092" y="3038"/>
                  </a:lnTo>
                  <a:lnTo>
                    <a:pt x="3095" y="3040"/>
                  </a:lnTo>
                  <a:lnTo>
                    <a:pt x="3097" y="3042"/>
                  </a:lnTo>
                  <a:lnTo>
                    <a:pt x="3099" y="3044"/>
                  </a:lnTo>
                  <a:lnTo>
                    <a:pt x="3101" y="3047"/>
                  </a:lnTo>
                  <a:lnTo>
                    <a:pt x="3122" y="3057"/>
                  </a:lnTo>
                  <a:lnTo>
                    <a:pt x="3130" y="3060"/>
                  </a:lnTo>
                  <a:lnTo>
                    <a:pt x="3139" y="3060"/>
                  </a:lnTo>
                  <a:lnTo>
                    <a:pt x="3148" y="3061"/>
                  </a:lnTo>
                  <a:lnTo>
                    <a:pt x="3158" y="3061"/>
                  </a:lnTo>
                  <a:lnTo>
                    <a:pt x="3162" y="3062"/>
                  </a:lnTo>
                  <a:lnTo>
                    <a:pt x="3165" y="3064"/>
                  </a:lnTo>
                  <a:lnTo>
                    <a:pt x="3167" y="3065"/>
                  </a:lnTo>
                  <a:lnTo>
                    <a:pt x="3168" y="3066"/>
                  </a:lnTo>
                  <a:lnTo>
                    <a:pt x="3171" y="3069"/>
                  </a:lnTo>
                  <a:lnTo>
                    <a:pt x="3172" y="3072"/>
                  </a:lnTo>
                  <a:lnTo>
                    <a:pt x="3173" y="3073"/>
                  </a:lnTo>
                  <a:lnTo>
                    <a:pt x="3175" y="3074"/>
                  </a:lnTo>
                  <a:lnTo>
                    <a:pt x="3175" y="3076"/>
                  </a:lnTo>
                  <a:lnTo>
                    <a:pt x="3175" y="3077"/>
                  </a:lnTo>
                  <a:lnTo>
                    <a:pt x="3175" y="3078"/>
                  </a:lnTo>
                  <a:lnTo>
                    <a:pt x="3176" y="3078"/>
                  </a:lnTo>
                  <a:lnTo>
                    <a:pt x="3176" y="3079"/>
                  </a:lnTo>
                  <a:lnTo>
                    <a:pt x="3176" y="3081"/>
                  </a:lnTo>
                  <a:lnTo>
                    <a:pt x="3177" y="3082"/>
                  </a:lnTo>
                  <a:lnTo>
                    <a:pt x="3179" y="3085"/>
                  </a:lnTo>
                  <a:lnTo>
                    <a:pt x="3180" y="3089"/>
                  </a:lnTo>
                  <a:lnTo>
                    <a:pt x="3180" y="3089"/>
                  </a:lnTo>
                  <a:lnTo>
                    <a:pt x="3181" y="3090"/>
                  </a:lnTo>
                  <a:lnTo>
                    <a:pt x="3181" y="3091"/>
                  </a:lnTo>
                  <a:lnTo>
                    <a:pt x="3181" y="3093"/>
                  </a:lnTo>
                  <a:lnTo>
                    <a:pt x="3182" y="3093"/>
                  </a:lnTo>
                  <a:lnTo>
                    <a:pt x="3182" y="3094"/>
                  </a:lnTo>
                  <a:lnTo>
                    <a:pt x="3182" y="3094"/>
                  </a:lnTo>
                  <a:lnTo>
                    <a:pt x="3184" y="3095"/>
                  </a:lnTo>
                  <a:lnTo>
                    <a:pt x="3184" y="3096"/>
                  </a:lnTo>
                  <a:lnTo>
                    <a:pt x="3184" y="3098"/>
                  </a:lnTo>
                  <a:lnTo>
                    <a:pt x="3185" y="3099"/>
                  </a:lnTo>
                  <a:lnTo>
                    <a:pt x="3185" y="3100"/>
                  </a:lnTo>
                  <a:lnTo>
                    <a:pt x="3185" y="3103"/>
                  </a:lnTo>
                  <a:lnTo>
                    <a:pt x="3186" y="3104"/>
                  </a:lnTo>
                  <a:lnTo>
                    <a:pt x="3186" y="3106"/>
                  </a:lnTo>
                  <a:lnTo>
                    <a:pt x="3186" y="3107"/>
                  </a:lnTo>
                  <a:lnTo>
                    <a:pt x="3188" y="3108"/>
                  </a:lnTo>
                  <a:lnTo>
                    <a:pt x="3188" y="3110"/>
                  </a:lnTo>
                  <a:lnTo>
                    <a:pt x="3188" y="3110"/>
                  </a:lnTo>
                  <a:lnTo>
                    <a:pt x="3189" y="3111"/>
                  </a:lnTo>
                  <a:lnTo>
                    <a:pt x="3190" y="3111"/>
                  </a:lnTo>
                  <a:lnTo>
                    <a:pt x="3190" y="3112"/>
                  </a:lnTo>
                  <a:lnTo>
                    <a:pt x="3190" y="3114"/>
                  </a:lnTo>
                  <a:lnTo>
                    <a:pt x="3192" y="3115"/>
                  </a:lnTo>
                  <a:lnTo>
                    <a:pt x="3193" y="3115"/>
                  </a:lnTo>
                  <a:lnTo>
                    <a:pt x="3193" y="3117"/>
                  </a:lnTo>
                  <a:lnTo>
                    <a:pt x="3193" y="3119"/>
                  </a:lnTo>
                  <a:lnTo>
                    <a:pt x="3194" y="3119"/>
                  </a:lnTo>
                  <a:lnTo>
                    <a:pt x="3203" y="3117"/>
                  </a:lnTo>
                  <a:lnTo>
                    <a:pt x="3210" y="3116"/>
                  </a:lnTo>
                  <a:lnTo>
                    <a:pt x="3245" y="3115"/>
                  </a:lnTo>
                  <a:lnTo>
                    <a:pt x="3247" y="3115"/>
                  </a:lnTo>
                  <a:lnTo>
                    <a:pt x="3249" y="3115"/>
                  </a:lnTo>
                  <a:lnTo>
                    <a:pt x="3251" y="3116"/>
                  </a:lnTo>
                  <a:lnTo>
                    <a:pt x="3252" y="3116"/>
                  </a:lnTo>
                  <a:lnTo>
                    <a:pt x="3254" y="3116"/>
                  </a:lnTo>
                  <a:lnTo>
                    <a:pt x="3257" y="3117"/>
                  </a:lnTo>
                  <a:lnTo>
                    <a:pt x="3258" y="3117"/>
                  </a:lnTo>
                  <a:lnTo>
                    <a:pt x="3260" y="3117"/>
                  </a:lnTo>
                  <a:lnTo>
                    <a:pt x="3262" y="3119"/>
                  </a:lnTo>
                  <a:lnTo>
                    <a:pt x="3265" y="3120"/>
                  </a:lnTo>
                  <a:lnTo>
                    <a:pt x="3266" y="3121"/>
                  </a:lnTo>
                  <a:lnTo>
                    <a:pt x="3269" y="3124"/>
                  </a:lnTo>
                  <a:lnTo>
                    <a:pt x="3270" y="3125"/>
                  </a:lnTo>
                  <a:lnTo>
                    <a:pt x="3270" y="3127"/>
                  </a:lnTo>
                  <a:lnTo>
                    <a:pt x="3270" y="3129"/>
                  </a:lnTo>
                  <a:lnTo>
                    <a:pt x="3271" y="3131"/>
                  </a:lnTo>
                  <a:lnTo>
                    <a:pt x="3271" y="3133"/>
                  </a:lnTo>
                  <a:lnTo>
                    <a:pt x="3273" y="3138"/>
                  </a:lnTo>
                  <a:lnTo>
                    <a:pt x="3277" y="3145"/>
                  </a:lnTo>
                  <a:lnTo>
                    <a:pt x="3277" y="3146"/>
                  </a:lnTo>
                  <a:lnTo>
                    <a:pt x="3277" y="3149"/>
                  </a:lnTo>
                  <a:lnTo>
                    <a:pt x="3278" y="3149"/>
                  </a:lnTo>
                  <a:lnTo>
                    <a:pt x="3279" y="3149"/>
                  </a:lnTo>
                  <a:lnTo>
                    <a:pt x="3282" y="3150"/>
                  </a:lnTo>
                  <a:lnTo>
                    <a:pt x="3285" y="3151"/>
                  </a:lnTo>
                  <a:lnTo>
                    <a:pt x="3290" y="3151"/>
                  </a:lnTo>
                  <a:lnTo>
                    <a:pt x="3294" y="3153"/>
                  </a:lnTo>
                  <a:lnTo>
                    <a:pt x="3299" y="3154"/>
                  </a:lnTo>
                  <a:lnTo>
                    <a:pt x="3302" y="3157"/>
                  </a:lnTo>
                  <a:lnTo>
                    <a:pt x="3304" y="3159"/>
                  </a:lnTo>
                  <a:lnTo>
                    <a:pt x="3305" y="3159"/>
                  </a:lnTo>
                  <a:lnTo>
                    <a:pt x="3305" y="3161"/>
                  </a:lnTo>
                  <a:lnTo>
                    <a:pt x="3308" y="3163"/>
                  </a:lnTo>
                  <a:lnTo>
                    <a:pt x="3312" y="3165"/>
                  </a:lnTo>
                  <a:lnTo>
                    <a:pt x="3316" y="3165"/>
                  </a:lnTo>
                  <a:lnTo>
                    <a:pt x="3319" y="3163"/>
                  </a:lnTo>
                  <a:lnTo>
                    <a:pt x="3325" y="3159"/>
                  </a:lnTo>
                  <a:lnTo>
                    <a:pt x="3338" y="3157"/>
                  </a:lnTo>
                  <a:lnTo>
                    <a:pt x="3350" y="3153"/>
                  </a:lnTo>
                  <a:lnTo>
                    <a:pt x="3358" y="3153"/>
                  </a:lnTo>
                  <a:lnTo>
                    <a:pt x="3360" y="3154"/>
                  </a:lnTo>
                  <a:lnTo>
                    <a:pt x="3363" y="3157"/>
                  </a:lnTo>
                  <a:lnTo>
                    <a:pt x="3367" y="3161"/>
                  </a:lnTo>
                  <a:lnTo>
                    <a:pt x="3370" y="3163"/>
                  </a:lnTo>
                  <a:lnTo>
                    <a:pt x="3372" y="3163"/>
                  </a:lnTo>
                  <a:lnTo>
                    <a:pt x="3372" y="3165"/>
                  </a:lnTo>
                  <a:lnTo>
                    <a:pt x="3372" y="3166"/>
                  </a:lnTo>
                  <a:lnTo>
                    <a:pt x="3375" y="3166"/>
                  </a:lnTo>
                  <a:lnTo>
                    <a:pt x="3377" y="3167"/>
                  </a:lnTo>
                  <a:lnTo>
                    <a:pt x="3379" y="3168"/>
                  </a:lnTo>
                  <a:lnTo>
                    <a:pt x="3380" y="3171"/>
                  </a:lnTo>
                  <a:lnTo>
                    <a:pt x="3381" y="3171"/>
                  </a:lnTo>
                  <a:lnTo>
                    <a:pt x="3384" y="3174"/>
                  </a:lnTo>
                  <a:lnTo>
                    <a:pt x="3387" y="3178"/>
                  </a:lnTo>
                  <a:lnTo>
                    <a:pt x="3387" y="3179"/>
                  </a:lnTo>
                  <a:lnTo>
                    <a:pt x="3387" y="3180"/>
                  </a:lnTo>
                  <a:lnTo>
                    <a:pt x="3388" y="3183"/>
                  </a:lnTo>
                  <a:lnTo>
                    <a:pt x="3389" y="3184"/>
                  </a:lnTo>
                  <a:lnTo>
                    <a:pt x="3390" y="3189"/>
                  </a:lnTo>
                  <a:lnTo>
                    <a:pt x="3392" y="3197"/>
                  </a:lnTo>
                  <a:lnTo>
                    <a:pt x="3392" y="3201"/>
                  </a:lnTo>
                  <a:lnTo>
                    <a:pt x="3393" y="3208"/>
                  </a:lnTo>
                  <a:lnTo>
                    <a:pt x="3394" y="3212"/>
                  </a:lnTo>
                  <a:lnTo>
                    <a:pt x="3394" y="3217"/>
                  </a:lnTo>
                  <a:lnTo>
                    <a:pt x="3396" y="3218"/>
                  </a:lnTo>
                  <a:lnTo>
                    <a:pt x="3396" y="3219"/>
                  </a:lnTo>
                  <a:lnTo>
                    <a:pt x="3401" y="3221"/>
                  </a:lnTo>
                  <a:lnTo>
                    <a:pt x="3406" y="3222"/>
                  </a:lnTo>
                  <a:lnTo>
                    <a:pt x="3417" y="3222"/>
                  </a:lnTo>
                  <a:lnTo>
                    <a:pt x="3427" y="3222"/>
                  </a:lnTo>
                  <a:lnTo>
                    <a:pt x="3430" y="3225"/>
                  </a:lnTo>
                  <a:lnTo>
                    <a:pt x="3432" y="3226"/>
                  </a:lnTo>
                  <a:lnTo>
                    <a:pt x="3434" y="3226"/>
                  </a:lnTo>
                  <a:lnTo>
                    <a:pt x="3435" y="3227"/>
                  </a:lnTo>
                  <a:lnTo>
                    <a:pt x="3436" y="3230"/>
                  </a:lnTo>
                  <a:lnTo>
                    <a:pt x="3438" y="3233"/>
                  </a:lnTo>
                  <a:lnTo>
                    <a:pt x="3439" y="3235"/>
                  </a:lnTo>
                  <a:lnTo>
                    <a:pt x="3440" y="3236"/>
                  </a:lnTo>
                  <a:lnTo>
                    <a:pt x="3440" y="3236"/>
                  </a:lnTo>
                  <a:lnTo>
                    <a:pt x="3443" y="3244"/>
                  </a:lnTo>
                  <a:lnTo>
                    <a:pt x="3447" y="3252"/>
                  </a:lnTo>
                  <a:lnTo>
                    <a:pt x="3448" y="3259"/>
                  </a:lnTo>
                  <a:lnTo>
                    <a:pt x="3451" y="3267"/>
                  </a:lnTo>
                  <a:lnTo>
                    <a:pt x="3452" y="3269"/>
                  </a:lnTo>
                  <a:lnTo>
                    <a:pt x="3453" y="3270"/>
                  </a:lnTo>
                  <a:lnTo>
                    <a:pt x="3455" y="3272"/>
                  </a:lnTo>
                  <a:lnTo>
                    <a:pt x="3457" y="3273"/>
                  </a:lnTo>
                  <a:lnTo>
                    <a:pt x="3458" y="3274"/>
                  </a:lnTo>
                  <a:lnTo>
                    <a:pt x="3458" y="3276"/>
                  </a:lnTo>
                  <a:lnTo>
                    <a:pt x="3458" y="3277"/>
                  </a:lnTo>
                  <a:lnTo>
                    <a:pt x="3460" y="3277"/>
                  </a:lnTo>
                  <a:lnTo>
                    <a:pt x="3461" y="3278"/>
                  </a:lnTo>
                  <a:lnTo>
                    <a:pt x="3462" y="3280"/>
                  </a:lnTo>
                  <a:lnTo>
                    <a:pt x="3462" y="3282"/>
                  </a:lnTo>
                  <a:lnTo>
                    <a:pt x="3462" y="3285"/>
                  </a:lnTo>
                  <a:lnTo>
                    <a:pt x="3464" y="3290"/>
                  </a:lnTo>
                  <a:lnTo>
                    <a:pt x="3464" y="3297"/>
                  </a:lnTo>
                  <a:lnTo>
                    <a:pt x="3465" y="3302"/>
                  </a:lnTo>
                  <a:lnTo>
                    <a:pt x="3468" y="3308"/>
                  </a:lnTo>
                  <a:lnTo>
                    <a:pt x="3468" y="3310"/>
                  </a:lnTo>
                  <a:lnTo>
                    <a:pt x="3469" y="3312"/>
                  </a:lnTo>
                  <a:lnTo>
                    <a:pt x="3470" y="3312"/>
                  </a:lnTo>
                  <a:lnTo>
                    <a:pt x="3470" y="3314"/>
                  </a:lnTo>
                  <a:lnTo>
                    <a:pt x="3473" y="3324"/>
                  </a:lnTo>
                  <a:lnTo>
                    <a:pt x="3473" y="3333"/>
                  </a:lnTo>
                  <a:lnTo>
                    <a:pt x="3474" y="3336"/>
                  </a:lnTo>
                  <a:lnTo>
                    <a:pt x="3474" y="3338"/>
                  </a:lnTo>
                  <a:lnTo>
                    <a:pt x="3475" y="3344"/>
                  </a:lnTo>
                  <a:lnTo>
                    <a:pt x="3475" y="3350"/>
                  </a:lnTo>
                  <a:lnTo>
                    <a:pt x="3474" y="3352"/>
                  </a:lnTo>
                  <a:lnTo>
                    <a:pt x="3474" y="3353"/>
                  </a:lnTo>
                  <a:lnTo>
                    <a:pt x="3473" y="3355"/>
                  </a:lnTo>
                  <a:lnTo>
                    <a:pt x="3470" y="3359"/>
                  </a:lnTo>
                  <a:lnTo>
                    <a:pt x="3469" y="3359"/>
                  </a:lnTo>
                  <a:lnTo>
                    <a:pt x="3468" y="3361"/>
                  </a:lnTo>
                  <a:lnTo>
                    <a:pt x="3468" y="3362"/>
                  </a:lnTo>
                  <a:lnTo>
                    <a:pt x="3466" y="3367"/>
                  </a:lnTo>
                  <a:lnTo>
                    <a:pt x="3465" y="3373"/>
                  </a:lnTo>
                  <a:lnTo>
                    <a:pt x="3462" y="3382"/>
                  </a:lnTo>
                  <a:lnTo>
                    <a:pt x="3460" y="3390"/>
                  </a:lnTo>
                  <a:lnTo>
                    <a:pt x="3458" y="3393"/>
                  </a:lnTo>
                  <a:lnTo>
                    <a:pt x="3456" y="3397"/>
                  </a:lnTo>
                  <a:lnTo>
                    <a:pt x="3455" y="3399"/>
                  </a:lnTo>
                  <a:lnTo>
                    <a:pt x="3453" y="3400"/>
                  </a:lnTo>
                  <a:lnTo>
                    <a:pt x="3451" y="3404"/>
                  </a:lnTo>
                  <a:lnTo>
                    <a:pt x="3448" y="3407"/>
                  </a:lnTo>
                  <a:lnTo>
                    <a:pt x="3447" y="3408"/>
                  </a:lnTo>
                  <a:lnTo>
                    <a:pt x="3445" y="3408"/>
                  </a:lnTo>
                  <a:lnTo>
                    <a:pt x="3445" y="3409"/>
                  </a:lnTo>
                  <a:lnTo>
                    <a:pt x="3445" y="3409"/>
                  </a:lnTo>
                  <a:lnTo>
                    <a:pt x="3443" y="3409"/>
                  </a:lnTo>
                  <a:lnTo>
                    <a:pt x="3431" y="3412"/>
                  </a:lnTo>
                  <a:lnTo>
                    <a:pt x="3418" y="3414"/>
                  </a:lnTo>
                  <a:lnTo>
                    <a:pt x="3397" y="3416"/>
                  </a:lnTo>
                  <a:lnTo>
                    <a:pt x="3375" y="3416"/>
                  </a:lnTo>
                  <a:lnTo>
                    <a:pt x="3359" y="3416"/>
                  </a:lnTo>
                  <a:lnTo>
                    <a:pt x="3271" y="3412"/>
                  </a:lnTo>
                  <a:lnTo>
                    <a:pt x="3264" y="3412"/>
                  </a:lnTo>
                  <a:lnTo>
                    <a:pt x="3257" y="3413"/>
                  </a:lnTo>
                  <a:lnTo>
                    <a:pt x="3251" y="3416"/>
                  </a:lnTo>
                  <a:lnTo>
                    <a:pt x="3244" y="3418"/>
                  </a:lnTo>
                  <a:lnTo>
                    <a:pt x="3237" y="3421"/>
                  </a:lnTo>
                  <a:lnTo>
                    <a:pt x="3231" y="3424"/>
                  </a:lnTo>
                  <a:lnTo>
                    <a:pt x="3224" y="3425"/>
                  </a:lnTo>
                  <a:lnTo>
                    <a:pt x="3217" y="3426"/>
                  </a:lnTo>
                  <a:lnTo>
                    <a:pt x="3202" y="3422"/>
                  </a:lnTo>
                  <a:lnTo>
                    <a:pt x="3188" y="3417"/>
                  </a:lnTo>
                  <a:lnTo>
                    <a:pt x="3182" y="3416"/>
                  </a:lnTo>
                  <a:lnTo>
                    <a:pt x="3179" y="3416"/>
                  </a:lnTo>
                  <a:lnTo>
                    <a:pt x="3177" y="3416"/>
                  </a:lnTo>
                  <a:lnTo>
                    <a:pt x="3177" y="3417"/>
                  </a:lnTo>
                  <a:lnTo>
                    <a:pt x="3177" y="3420"/>
                  </a:lnTo>
                  <a:lnTo>
                    <a:pt x="3179" y="3422"/>
                  </a:lnTo>
                  <a:lnTo>
                    <a:pt x="3223" y="3460"/>
                  </a:lnTo>
                  <a:lnTo>
                    <a:pt x="3241" y="3475"/>
                  </a:lnTo>
                  <a:lnTo>
                    <a:pt x="3260" y="3490"/>
                  </a:lnTo>
                  <a:lnTo>
                    <a:pt x="3268" y="3497"/>
                  </a:lnTo>
                  <a:lnTo>
                    <a:pt x="3275" y="3505"/>
                  </a:lnTo>
                  <a:lnTo>
                    <a:pt x="3283" y="3514"/>
                  </a:lnTo>
                  <a:lnTo>
                    <a:pt x="3290" y="3522"/>
                  </a:lnTo>
                  <a:lnTo>
                    <a:pt x="3295" y="3531"/>
                  </a:lnTo>
                  <a:lnTo>
                    <a:pt x="3299" y="3541"/>
                  </a:lnTo>
                  <a:lnTo>
                    <a:pt x="3303" y="3550"/>
                  </a:lnTo>
                  <a:lnTo>
                    <a:pt x="3304" y="3562"/>
                  </a:lnTo>
                  <a:lnTo>
                    <a:pt x="3304" y="3574"/>
                  </a:lnTo>
                  <a:lnTo>
                    <a:pt x="3302" y="3587"/>
                  </a:lnTo>
                  <a:lnTo>
                    <a:pt x="3298" y="3601"/>
                  </a:lnTo>
                  <a:lnTo>
                    <a:pt x="3292" y="3616"/>
                  </a:lnTo>
                  <a:lnTo>
                    <a:pt x="3288" y="3625"/>
                  </a:lnTo>
                  <a:lnTo>
                    <a:pt x="3287" y="3633"/>
                  </a:lnTo>
                  <a:lnTo>
                    <a:pt x="3286" y="3641"/>
                  </a:lnTo>
                  <a:lnTo>
                    <a:pt x="3286" y="3650"/>
                  </a:lnTo>
                  <a:lnTo>
                    <a:pt x="3288" y="3666"/>
                  </a:lnTo>
                  <a:lnTo>
                    <a:pt x="3292" y="3683"/>
                  </a:lnTo>
                  <a:lnTo>
                    <a:pt x="3307" y="3714"/>
                  </a:lnTo>
                  <a:lnTo>
                    <a:pt x="3322" y="3744"/>
                  </a:lnTo>
                  <a:lnTo>
                    <a:pt x="3325" y="3748"/>
                  </a:lnTo>
                  <a:lnTo>
                    <a:pt x="3329" y="3752"/>
                  </a:lnTo>
                  <a:lnTo>
                    <a:pt x="3334" y="3753"/>
                  </a:lnTo>
                  <a:lnTo>
                    <a:pt x="3341" y="3756"/>
                  </a:lnTo>
                  <a:lnTo>
                    <a:pt x="3355" y="3757"/>
                  </a:lnTo>
                  <a:lnTo>
                    <a:pt x="3371" y="3757"/>
                  </a:lnTo>
                  <a:lnTo>
                    <a:pt x="3405" y="3753"/>
                  </a:lnTo>
                  <a:lnTo>
                    <a:pt x="3430" y="3752"/>
                  </a:lnTo>
                  <a:lnTo>
                    <a:pt x="3438" y="3753"/>
                  </a:lnTo>
                  <a:lnTo>
                    <a:pt x="3444" y="3757"/>
                  </a:lnTo>
                  <a:lnTo>
                    <a:pt x="3451" y="3764"/>
                  </a:lnTo>
                  <a:lnTo>
                    <a:pt x="3457" y="3771"/>
                  </a:lnTo>
                  <a:lnTo>
                    <a:pt x="3464" y="3782"/>
                  </a:lnTo>
                  <a:lnTo>
                    <a:pt x="3470" y="3794"/>
                  </a:lnTo>
                  <a:lnTo>
                    <a:pt x="3475" y="3805"/>
                  </a:lnTo>
                  <a:lnTo>
                    <a:pt x="3481" y="3819"/>
                  </a:lnTo>
                  <a:lnTo>
                    <a:pt x="3489" y="3846"/>
                  </a:lnTo>
                  <a:lnTo>
                    <a:pt x="3494" y="3872"/>
                  </a:lnTo>
                  <a:lnTo>
                    <a:pt x="3498" y="3894"/>
                  </a:lnTo>
                  <a:lnTo>
                    <a:pt x="3498" y="3911"/>
                  </a:lnTo>
                  <a:lnTo>
                    <a:pt x="3498" y="3930"/>
                  </a:lnTo>
                  <a:lnTo>
                    <a:pt x="3499" y="3956"/>
                  </a:lnTo>
                  <a:lnTo>
                    <a:pt x="3502" y="3982"/>
                  </a:lnTo>
                  <a:lnTo>
                    <a:pt x="3504" y="3996"/>
                  </a:lnTo>
                  <a:lnTo>
                    <a:pt x="3509" y="4003"/>
                  </a:lnTo>
                  <a:lnTo>
                    <a:pt x="3519" y="4008"/>
                  </a:lnTo>
                  <a:lnTo>
                    <a:pt x="3530" y="4015"/>
                  </a:lnTo>
                  <a:lnTo>
                    <a:pt x="3542" y="4023"/>
                  </a:lnTo>
                  <a:lnTo>
                    <a:pt x="3555" y="4029"/>
                  </a:lnTo>
                  <a:lnTo>
                    <a:pt x="3566" y="4037"/>
                  </a:lnTo>
                  <a:lnTo>
                    <a:pt x="3571" y="4041"/>
                  </a:lnTo>
                  <a:lnTo>
                    <a:pt x="3575" y="4045"/>
                  </a:lnTo>
                  <a:lnTo>
                    <a:pt x="3578" y="4049"/>
                  </a:lnTo>
                  <a:lnTo>
                    <a:pt x="3579" y="4051"/>
                  </a:lnTo>
                  <a:lnTo>
                    <a:pt x="3584" y="4062"/>
                  </a:lnTo>
                  <a:lnTo>
                    <a:pt x="3589" y="4071"/>
                  </a:lnTo>
                  <a:lnTo>
                    <a:pt x="3589" y="4072"/>
                  </a:lnTo>
                  <a:lnTo>
                    <a:pt x="3591" y="4075"/>
                  </a:lnTo>
                  <a:lnTo>
                    <a:pt x="3592" y="4078"/>
                  </a:lnTo>
                  <a:lnTo>
                    <a:pt x="3595" y="4080"/>
                  </a:lnTo>
                  <a:lnTo>
                    <a:pt x="3597" y="4084"/>
                  </a:lnTo>
                  <a:lnTo>
                    <a:pt x="3600" y="4089"/>
                  </a:lnTo>
                  <a:lnTo>
                    <a:pt x="3604" y="4095"/>
                  </a:lnTo>
                  <a:lnTo>
                    <a:pt x="3604" y="4096"/>
                  </a:lnTo>
                  <a:lnTo>
                    <a:pt x="3604" y="4098"/>
                  </a:lnTo>
                  <a:lnTo>
                    <a:pt x="3606" y="4101"/>
                  </a:lnTo>
                  <a:lnTo>
                    <a:pt x="3609" y="4105"/>
                  </a:lnTo>
                  <a:lnTo>
                    <a:pt x="3614" y="4121"/>
                  </a:lnTo>
                  <a:lnTo>
                    <a:pt x="3621" y="4138"/>
                  </a:lnTo>
                  <a:lnTo>
                    <a:pt x="3623" y="4146"/>
                  </a:lnTo>
                  <a:lnTo>
                    <a:pt x="3626" y="4156"/>
                  </a:lnTo>
                  <a:lnTo>
                    <a:pt x="3627" y="4161"/>
                  </a:lnTo>
                  <a:lnTo>
                    <a:pt x="3630" y="4167"/>
                  </a:lnTo>
                  <a:lnTo>
                    <a:pt x="3632" y="4170"/>
                  </a:lnTo>
                  <a:lnTo>
                    <a:pt x="3636" y="4173"/>
                  </a:lnTo>
                  <a:lnTo>
                    <a:pt x="3638" y="4176"/>
                  </a:lnTo>
                  <a:lnTo>
                    <a:pt x="3639" y="4177"/>
                  </a:lnTo>
                  <a:lnTo>
                    <a:pt x="3643" y="4180"/>
                  </a:lnTo>
                  <a:lnTo>
                    <a:pt x="3646" y="4182"/>
                  </a:lnTo>
                  <a:lnTo>
                    <a:pt x="3646" y="4184"/>
                  </a:lnTo>
                  <a:lnTo>
                    <a:pt x="3646" y="4185"/>
                  </a:lnTo>
                  <a:lnTo>
                    <a:pt x="3648" y="4186"/>
                  </a:lnTo>
                  <a:lnTo>
                    <a:pt x="3649" y="4187"/>
                  </a:lnTo>
                  <a:lnTo>
                    <a:pt x="3651" y="4190"/>
                  </a:lnTo>
                  <a:lnTo>
                    <a:pt x="3652" y="4193"/>
                  </a:lnTo>
                  <a:lnTo>
                    <a:pt x="3653" y="4194"/>
                  </a:lnTo>
                  <a:lnTo>
                    <a:pt x="3653" y="4195"/>
                  </a:lnTo>
                  <a:lnTo>
                    <a:pt x="3655" y="4197"/>
                  </a:lnTo>
                  <a:lnTo>
                    <a:pt x="3656" y="4198"/>
                  </a:lnTo>
                  <a:lnTo>
                    <a:pt x="3660" y="4201"/>
                  </a:lnTo>
                  <a:lnTo>
                    <a:pt x="3665" y="4203"/>
                  </a:lnTo>
                  <a:lnTo>
                    <a:pt x="3668" y="4206"/>
                  </a:lnTo>
                  <a:lnTo>
                    <a:pt x="3670" y="4208"/>
                  </a:lnTo>
                  <a:lnTo>
                    <a:pt x="3677" y="4214"/>
                  </a:lnTo>
                  <a:lnTo>
                    <a:pt x="3683" y="4218"/>
                  </a:lnTo>
                  <a:lnTo>
                    <a:pt x="3683" y="4219"/>
                  </a:lnTo>
                  <a:lnTo>
                    <a:pt x="3685" y="4220"/>
                  </a:lnTo>
                  <a:lnTo>
                    <a:pt x="3686" y="4221"/>
                  </a:lnTo>
                  <a:lnTo>
                    <a:pt x="3687" y="4223"/>
                  </a:lnTo>
                  <a:lnTo>
                    <a:pt x="3689" y="4224"/>
                  </a:lnTo>
                  <a:lnTo>
                    <a:pt x="3690" y="4225"/>
                  </a:lnTo>
                  <a:lnTo>
                    <a:pt x="3691" y="4227"/>
                  </a:lnTo>
                  <a:lnTo>
                    <a:pt x="3694" y="4229"/>
                  </a:lnTo>
                  <a:lnTo>
                    <a:pt x="3695" y="4233"/>
                  </a:lnTo>
                  <a:lnTo>
                    <a:pt x="3699" y="4240"/>
                  </a:lnTo>
                  <a:lnTo>
                    <a:pt x="3703" y="4246"/>
                  </a:lnTo>
                  <a:lnTo>
                    <a:pt x="3706" y="4254"/>
                  </a:lnTo>
                  <a:lnTo>
                    <a:pt x="3711" y="4270"/>
                  </a:lnTo>
                  <a:lnTo>
                    <a:pt x="3715" y="4286"/>
                  </a:lnTo>
                  <a:lnTo>
                    <a:pt x="3717" y="4296"/>
                  </a:lnTo>
                  <a:lnTo>
                    <a:pt x="3720" y="4303"/>
                  </a:lnTo>
                  <a:lnTo>
                    <a:pt x="3724" y="4310"/>
                  </a:lnTo>
                  <a:lnTo>
                    <a:pt x="3724" y="4313"/>
                  </a:lnTo>
                  <a:lnTo>
                    <a:pt x="3727" y="4316"/>
                  </a:lnTo>
                  <a:lnTo>
                    <a:pt x="3728" y="4317"/>
                  </a:lnTo>
                  <a:lnTo>
                    <a:pt x="3731" y="4320"/>
                  </a:lnTo>
                  <a:lnTo>
                    <a:pt x="3732" y="4321"/>
                  </a:lnTo>
                  <a:lnTo>
                    <a:pt x="3733" y="4323"/>
                  </a:lnTo>
                  <a:lnTo>
                    <a:pt x="3742" y="4338"/>
                  </a:lnTo>
                  <a:lnTo>
                    <a:pt x="3751" y="4354"/>
                  </a:lnTo>
                  <a:lnTo>
                    <a:pt x="3754" y="4361"/>
                  </a:lnTo>
                  <a:lnTo>
                    <a:pt x="3758" y="4368"/>
                  </a:lnTo>
                  <a:lnTo>
                    <a:pt x="3763" y="4380"/>
                  </a:lnTo>
                  <a:lnTo>
                    <a:pt x="3767" y="4391"/>
                  </a:lnTo>
                  <a:lnTo>
                    <a:pt x="3767" y="4394"/>
                  </a:lnTo>
                  <a:lnTo>
                    <a:pt x="3772" y="4409"/>
                  </a:lnTo>
                  <a:lnTo>
                    <a:pt x="3780" y="4424"/>
                  </a:lnTo>
                  <a:lnTo>
                    <a:pt x="3784" y="4436"/>
                  </a:lnTo>
                  <a:lnTo>
                    <a:pt x="3788" y="4448"/>
                  </a:lnTo>
                  <a:lnTo>
                    <a:pt x="3789" y="4453"/>
                  </a:lnTo>
                  <a:lnTo>
                    <a:pt x="3791" y="4457"/>
                  </a:lnTo>
                  <a:lnTo>
                    <a:pt x="3793" y="4466"/>
                  </a:lnTo>
                  <a:lnTo>
                    <a:pt x="3797" y="4483"/>
                  </a:lnTo>
                  <a:lnTo>
                    <a:pt x="3800" y="4491"/>
                  </a:lnTo>
                  <a:lnTo>
                    <a:pt x="3802" y="4499"/>
                  </a:lnTo>
                  <a:lnTo>
                    <a:pt x="3805" y="4505"/>
                  </a:lnTo>
                  <a:lnTo>
                    <a:pt x="3809" y="4509"/>
                  </a:lnTo>
                  <a:lnTo>
                    <a:pt x="3810" y="4513"/>
                  </a:lnTo>
                  <a:lnTo>
                    <a:pt x="3812" y="4517"/>
                  </a:lnTo>
                  <a:lnTo>
                    <a:pt x="3814" y="4520"/>
                  </a:lnTo>
                  <a:lnTo>
                    <a:pt x="3817" y="4522"/>
                  </a:lnTo>
                  <a:lnTo>
                    <a:pt x="3819" y="4525"/>
                  </a:lnTo>
                  <a:lnTo>
                    <a:pt x="3821" y="4529"/>
                  </a:lnTo>
                  <a:lnTo>
                    <a:pt x="3823" y="4531"/>
                  </a:lnTo>
                  <a:lnTo>
                    <a:pt x="3825" y="4534"/>
                  </a:lnTo>
                  <a:lnTo>
                    <a:pt x="3826" y="4535"/>
                  </a:lnTo>
                  <a:lnTo>
                    <a:pt x="3827" y="4537"/>
                  </a:lnTo>
                  <a:lnTo>
                    <a:pt x="3829" y="4538"/>
                  </a:lnTo>
                  <a:lnTo>
                    <a:pt x="3830" y="4539"/>
                  </a:lnTo>
                  <a:lnTo>
                    <a:pt x="3830" y="4541"/>
                  </a:lnTo>
                  <a:lnTo>
                    <a:pt x="3833" y="4545"/>
                  </a:lnTo>
                  <a:lnTo>
                    <a:pt x="3834" y="4548"/>
                  </a:lnTo>
                  <a:lnTo>
                    <a:pt x="3840" y="4556"/>
                  </a:lnTo>
                  <a:lnTo>
                    <a:pt x="3846" y="4564"/>
                  </a:lnTo>
                  <a:lnTo>
                    <a:pt x="3846" y="4565"/>
                  </a:lnTo>
                  <a:lnTo>
                    <a:pt x="3848" y="4567"/>
                  </a:lnTo>
                  <a:lnTo>
                    <a:pt x="3850" y="4569"/>
                  </a:lnTo>
                  <a:lnTo>
                    <a:pt x="3850" y="4571"/>
                  </a:lnTo>
                  <a:lnTo>
                    <a:pt x="3852" y="4576"/>
                  </a:lnTo>
                  <a:lnTo>
                    <a:pt x="3856" y="4581"/>
                  </a:lnTo>
                  <a:lnTo>
                    <a:pt x="3861" y="4586"/>
                  </a:lnTo>
                  <a:lnTo>
                    <a:pt x="3865" y="4589"/>
                  </a:lnTo>
                  <a:lnTo>
                    <a:pt x="3868" y="4590"/>
                  </a:lnTo>
                  <a:lnTo>
                    <a:pt x="3868" y="4593"/>
                  </a:lnTo>
                  <a:lnTo>
                    <a:pt x="3868" y="4594"/>
                  </a:lnTo>
                  <a:lnTo>
                    <a:pt x="3871" y="4597"/>
                  </a:lnTo>
                  <a:lnTo>
                    <a:pt x="3873" y="4601"/>
                  </a:lnTo>
                  <a:lnTo>
                    <a:pt x="3873" y="4602"/>
                  </a:lnTo>
                  <a:lnTo>
                    <a:pt x="3876" y="4607"/>
                  </a:lnTo>
                  <a:lnTo>
                    <a:pt x="3881" y="4613"/>
                  </a:lnTo>
                  <a:lnTo>
                    <a:pt x="3882" y="4613"/>
                  </a:lnTo>
                  <a:lnTo>
                    <a:pt x="3882" y="4614"/>
                  </a:lnTo>
                  <a:lnTo>
                    <a:pt x="3882" y="4619"/>
                  </a:lnTo>
                  <a:lnTo>
                    <a:pt x="3884" y="4623"/>
                  </a:lnTo>
                  <a:lnTo>
                    <a:pt x="3885" y="4626"/>
                  </a:lnTo>
                  <a:lnTo>
                    <a:pt x="3888" y="4627"/>
                  </a:lnTo>
                  <a:lnTo>
                    <a:pt x="3897" y="4627"/>
                  </a:lnTo>
                  <a:lnTo>
                    <a:pt x="3912" y="4624"/>
                  </a:lnTo>
                  <a:lnTo>
                    <a:pt x="3931" y="4615"/>
                  </a:lnTo>
                  <a:lnTo>
                    <a:pt x="3950" y="4605"/>
                  </a:lnTo>
                  <a:lnTo>
                    <a:pt x="3958" y="4599"/>
                  </a:lnTo>
                  <a:lnTo>
                    <a:pt x="3965" y="4593"/>
                  </a:lnTo>
                  <a:lnTo>
                    <a:pt x="3969" y="4589"/>
                  </a:lnTo>
                  <a:lnTo>
                    <a:pt x="3971" y="4586"/>
                  </a:lnTo>
                  <a:lnTo>
                    <a:pt x="3976" y="4585"/>
                  </a:lnTo>
                  <a:lnTo>
                    <a:pt x="3979" y="4581"/>
                  </a:lnTo>
                  <a:lnTo>
                    <a:pt x="3979" y="4580"/>
                  </a:lnTo>
                  <a:lnTo>
                    <a:pt x="3983" y="4573"/>
                  </a:lnTo>
                  <a:lnTo>
                    <a:pt x="3993" y="4563"/>
                  </a:lnTo>
                  <a:lnTo>
                    <a:pt x="4005" y="4555"/>
                  </a:lnTo>
                  <a:lnTo>
                    <a:pt x="4012" y="4551"/>
                  </a:lnTo>
                  <a:lnTo>
                    <a:pt x="4013" y="4551"/>
                  </a:lnTo>
                  <a:lnTo>
                    <a:pt x="4014" y="4551"/>
                  </a:lnTo>
                  <a:lnTo>
                    <a:pt x="4014" y="4550"/>
                  </a:lnTo>
                  <a:lnTo>
                    <a:pt x="4020" y="4548"/>
                  </a:lnTo>
                  <a:lnTo>
                    <a:pt x="4027" y="4548"/>
                  </a:lnTo>
                  <a:lnTo>
                    <a:pt x="4034" y="4550"/>
                  </a:lnTo>
                  <a:lnTo>
                    <a:pt x="4039" y="4551"/>
                  </a:lnTo>
                  <a:lnTo>
                    <a:pt x="4043" y="4554"/>
                  </a:lnTo>
                  <a:lnTo>
                    <a:pt x="4048" y="4558"/>
                  </a:lnTo>
                  <a:lnTo>
                    <a:pt x="4051" y="4560"/>
                  </a:lnTo>
                  <a:lnTo>
                    <a:pt x="4054" y="4562"/>
                  </a:lnTo>
                  <a:lnTo>
                    <a:pt x="4056" y="4562"/>
                  </a:lnTo>
                  <a:lnTo>
                    <a:pt x="4059" y="4560"/>
                  </a:lnTo>
                  <a:lnTo>
                    <a:pt x="4063" y="4559"/>
                  </a:lnTo>
                  <a:lnTo>
                    <a:pt x="4067" y="4559"/>
                  </a:lnTo>
                  <a:lnTo>
                    <a:pt x="4076" y="4551"/>
                  </a:lnTo>
                  <a:lnTo>
                    <a:pt x="4086" y="4543"/>
                  </a:lnTo>
                  <a:lnTo>
                    <a:pt x="4093" y="4541"/>
                  </a:lnTo>
                  <a:lnTo>
                    <a:pt x="4101" y="4535"/>
                  </a:lnTo>
                  <a:lnTo>
                    <a:pt x="4109" y="4530"/>
                  </a:lnTo>
                  <a:lnTo>
                    <a:pt x="4115" y="4524"/>
                  </a:lnTo>
                  <a:lnTo>
                    <a:pt x="4123" y="4518"/>
                  </a:lnTo>
                  <a:lnTo>
                    <a:pt x="4131" y="4513"/>
                  </a:lnTo>
                  <a:lnTo>
                    <a:pt x="4137" y="4509"/>
                  </a:lnTo>
                  <a:lnTo>
                    <a:pt x="4144" y="4508"/>
                  </a:lnTo>
                  <a:lnTo>
                    <a:pt x="4149" y="4505"/>
                  </a:lnTo>
                  <a:lnTo>
                    <a:pt x="4154" y="4503"/>
                  </a:lnTo>
                  <a:lnTo>
                    <a:pt x="4154" y="4503"/>
                  </a:lnTo>
                  <a:lnTo>
                    <a:pt x="4154" y="4501"/>
                  </a:lnTo>
                  <a:lnTo>
                    <a:pt x="4161" y="4497"/>
                  </a:lnTo>
                  <a:lnTo>
                    <a:pt x="4171" y="4488"/>
                  </a:lnTo>
                  <a:lnTo>
                    <a:pt x="4184" y="4475"/>
                  </a:lnTo>
                  <a:lnTo>
                    <a:pt x="4199" y="4461"/>
                  </a:lnTo>
                  <a:lnTo>
                    <a:pt x="4213" y="4445"/>
                  </a:lnTo>
                  <a:lnTo>
                    <a:pt x="4226" y="4431"/>
                  </a:lnTo>
                  <a:lnTo>
                    <a:pt x="4235" y="4419"/>
                  </a:lnTo>
                  <a:lnTo>
                    <a:pt x="4238" y="4412"/>
                  </a:lnTo>
                  <a:lnTo>
                    <a:pt x="4239" y="4399"/>
                  </a:lnTo>
                  <a:lnTo>
                    <a:pt x="4241" y="4386"/>
                  </a:lnTo>
                  <a:lnTo>
                    <a:pt x="4241" y="4380"/>
                  </a:lnTo>
                  <a:lnTo>
                    <a:pt x="4239" y="4372"/>
                  </a:lnTo>
                  <a:lnTo>
                    <a:pt x="4241" y="4367"/>
                  </a:lnTo>
                  <a:lnTo>
                    <a:pt x="4243" y="4360"/>
                  </a:lnTo>
                  <a:lnTo>
                    <a:pt x="4246" y="4354"/>
                  </a:lnTo>
                  <a:lnTo>
                    <a:pt x="4251" y="4343"/>
                  </a:lnTo>
                  <a:lnTo>
                    <a:pt x="4255" y="4338"/>
                  </a:lnTo>
                  <a:lnTo>
                    <a:pt x="4259" y="4334"/>
                  </a:lnTo>
                  <a:lnTo>
                    <a:pt x="4266" y="4330"/>
                  </a:lnTo>
                  <a:lnTo>
                    <a:pt x="4272" y="4329"/>
                  </a:lnTo>
                  <a:lnTo>
                    <a:pt x="4281" y="4330"/>
                  </a:lnTo>
                  <a:lnTo>
                    <a:pt x="4294" y="4330"/>
                  </a:lnTo>
                  <a:lnTo>
                    <a:pt x="4300" y="4330"/>
                  </a:lnTo>
                  <a:lnTo>
                    <a:pt x="4306" y="4329"/>
                  </a:lnTo>
                  <a:lnTo>
                    <a:pt x="4310" y="4326"/>
                  </a:lnTo>
                  <a:lnTo>
                    <a:pt x="4314" y="4322"/>
                  </a:lnTo>
                  <a:lnTo>
                    <a:pt x="4318" y="4320"/>
                  </a:lnTo>
                  <a:lnTo>
                    <a:pt x="4324" y="4320"/>
                  </a:lnTo>
                  <a:lnTo>
                    <a:pt x="4326" y="4318"/>
                  </a:lnTo>
                  <a:lnTo>
                    <a:pt x="4327" y="4318"/>
                  </a:lnTo>
                  <a:lnTo>
                    <a:pt x="4330" y="4317"/>
                  </a:lnTo>
                  <a:lnTo>
                    <a:pt x="4332" y="4316"/>
                  </a:lnTo>
                  <a:lnTo>
                    <a:pt x="4358" y="4291"/>
                  </a:lnTo>
                  <a:lnTo>
                    <a:pt x="4362" y="4283"/>
                  </a:lnTo>
                  <a:lnTo>
                    <a:pt x="4366" y="4269"/>
                  </a:lnTo>
                  <a:lnTo>
                    <a:pt x="4370" y="4255"/>
                  </a:lnTo>
                  <a:lnTo>
                    <a:pt x="4371" y="4246"/>
                  </a:lnTo>
                  <a:lnTo>
                    <a:pt x="4371" y="4245"/>
                  </a:lnTo>
                  <a:lnTo>
                    <a:pt x="4371" y="4244"/>
                  </a:lnTo>
                  <a:lnTo>
                    <a:pt x="4373" y="4244"/>
                  </a:lnTo>
                  <a:lnTo>
                    <a:pt x="4375" y="4244"/>
                  </a:lnTo>
                  <a:lnTo>
                    <a:pt x="4390" y="4237"/>
                  </a:lnTo>
                  <a:lnTo>
                    <a:pt x="4407" y="4232"/>
                  </a:lnTo>
                  <a:lnTo>
                    <a:pt x="4408" y="4232"/>
                  </a:lnTo>
                  <a:lnTo>
                    <a:pt x="4411" y="4231"/>
                  </a:lnTo>
                  <a:lnTo>
                    <a:pt x="4413" y="4227"/>
                  </a:lnTo>
                  <a:lnTo>
                    <a:pt x="4416" y="4223"/>
                  </a:lnTo>
                  <a:lnTo>
                    <a:pt x="4419" y="4218"/>
                  </a:lnTo>
                  <a:lnTo>
                    <a:pt x="4421" y="4215"/>
                  </a:lnTo>
                  <a:lnTo>
                    <a:pt x="4425" y="4212"/>
                  </a:lnTo>
                  <a:lnTo>
                    <a:pt x="4429" y="4204"/>
                  </a:lnTo>
                  <a:lnTo>
                    <a:pt x="4438" y="4190"/>
                  </a:lnTo>
                  <a:lnTo>
                    <a:pt x="4446" y="4177"/>
                  </a:lnTo>
                  <a:lnTo>
                    <a:pt x="4449" y="4170"/>
                  </a:lnTo>
                  <a:lnTo>
                    <a:pt x="4451" y="4165"/>
                  </a:lnTo>
                  <a:lnTo>
                    <a:pt x="4456" y="4163"/>
                  </a:lnTo>
                  <a:lnTo>
                    <a:pt x="4464" y="4159"/>
                  </a:lnTo>
                  <a:lnTo>
                    <a:pt x="4472" y="4155"/>
                  </a:lnTo>
                  <a:lnTo>
                    <a:pt x="4488" y="4148"/>
                  </a:lnTo>
                  <a:lnTo>
                    <a:pt x="4498" y="4144"/>
                  </a:lnTo>
                  <a:lnTo>
                    <a:pt x="4501" y="4139"/>
                  </a:lnTo>
                  <a:lnTo>
                    <a:pt x="4501" y="4132"/>
                  </a:lnTo>
                  <a:lnTo>
                    <a:pt x="4505" y="4117"/>
                  </a:lnTo>
                  <a:lnTo>
                    <a:pt x="4508" y="4101"/>
                  </a:lnTo>
                  <a:lnTo>
                    <a:pt x="4506" y="4100"/>
                  </a:lnTo>
                  <a:lnTo>
                    <a:pt x="4506" y="4098"/>
                  </a:lnTo>
                  <a:lnTo>
                    <a:pt x="4506" y="4087"/>
                  </a:lnTo>
                  <a:lnTo>
                    <a:pt x="4509" y="4078"/>
                  </a:lnTo>
                  <a:lnTo>
                    <a:pt x="4510" y="4074"/>
                  </a:lnTo>
                  <a:lnTo>
                    <a:pt x="4513" y="4070"/>
                  </a:lnTo>
                  <a:lnTo>
                    <a:pt x="4517" y="4066"/>
                  </a:lnTo>
                  <a:lnTo>
                    <a:pt x="4521" y="4063"/>
                  </a:lnTo>
                  <a:lnTo>
                    <a:pt x="4527" y="4057"/>
                  </a:lnTo>
                  <a:lnTo>
                    <a:pt x="4532" y="4051"/>
                  </a:lnTo>
                  <a:lnTo>
                    <a:pt x="4535" y="4045"/>
                  </a:lnTo>
                  <a:lnTo>
                    <a:pt x="4535" y="4038"/>
                  </a:lnTo>
                  <a:lnTo>
                    <a:pt x="4535" y="4032"/>
                  </a:lnTo>
                  <a:lnTo>
                    <a:pt x="4534" y="4025"/>
                  </a:lnTo>
                  <a:lnTo>
                    <a:pt x="4531" y="4019"/>
                  </a:lnTo>
                  <a:lnTo>
                    <a:pt x="4527" y="4012"/>
                  </a:lnTo>
                  <a:lnTo>
                    <a:pt x="4521" y="3998"/>
                  </a:lnTo>
                  <a:lnTo>
                    <a:pt x="4515" y="3982"/>
                  </a:lnTo>
                  <a:lnTo>
                    <a:pt x="4514" y="3974"/>
                  </a:lnTo>
                  <a:lnTo>
                    <a:pt x="4514" y="3966"/>
                  </a:lnTo>
                  <a:lnTo>
                    <a:pt x="4515" y="3957"/>
                  </a:lnTo>
                  <a:lnTo>
                    <a:pt x="4519" y="3949"/>
                  </a:lnTo>
                  <a:lnTo>
                    <a:pt x="4527" y="3935"/>
                  </a:lnTo>
                  <a:lnTo>
                    <a:pt x="4536" y="3923"/>
                  </a:lnTo>
                  <a:lnTo>
                    <a:pt x="4547" y="3913"/>
                  </a:lnTo>
                  <a:lnTo>
                    <a:pt x="4555" y="3900"/>
                  </a:lnTo>
                  <a:lnTo>
                    <a:pt x="4562" y="3887"/>
                  </a:lnTo>
                  <a:lnTo>
                    <a:pt x="4572" y="3871"/>
                  </a:lnTo>
                  <a:lnTo>
                    <a:pt x="4582" y="3858"/>
                  </a:lnTo>
                  <a:lnTo>
                    <a:pt x="4594" y="3846"/>
                  </a:lnTo>
                  <a:lnTo>
                    <a:pt x="4645" y="3803"/>
                  </a:lnTo>
                  <a:lnTo>
                    <a:pt x="4645" y="3787"/>
                  </a:lnTo>
                  <a:lnTo>
                    <a:pt x="4645" y="3777"/>
                  </a:lnTo>
                  <a:lnTo>
                    <a:pt x="4645" y="3766"/>
                  </a:lnTo>
                  <a:lnTo>
                    <a:pt x="4645" y="3754"/>
                  </a:lnTo>
                  <a:lnTo>
                    <a:pt x="4646" y="3744"/>
                  </a:lnTo>
                  <a:lnTo>
                    <a:pt x="4647" y="3731"/>
                  </a:lnTo>
                  <a:lnTo>
                    <a:pt x="4647" y="3718"/>
                  </a:lnTo>
                  <a:lnTo>
                    <a:pt x="4649" y="3705"/>
                  </a:lnTo>
                  <a:lnTo>
                    <a:pt x="4649" y="3692"/>
                  </a:lnTo>
                  <a:lnTo>
                    <a:pt x="4651" y="3675"/>
                  </a:lnTo>
                  <a:lnTo>
                    <a:pt x="4658" y="3651"/>
                  </a:lnTo>
                  <a:lnTo>
                    <a:pt x="4666" y="3628"/>
                  </a:lnTo>
                  <a:lnTo>
                    <a:pt x="4674" y="3613"/>
                  </a:lnTo>
                  <a:lnTo>
                    <a:pt x="4675" y="3611"/>
                  </a:lnTo>
                  <a:lnTo>
                    <a:pt x="4675" y="3607"/>
                  </a:lnTo>
                  <a:lnTo>
                    <a:pt x="4675" y="3603"/>
                  </a:lnTo>
                  <a:lnTo>
                    <a:pt x="4674" y="3599"/>
                  </a:lnTo>
                  <a:lnTo>
                    <a:pt x="4671" y="3595"/>
                  </a:lnTo>
                  <a:lnTo>
                    <a:pt x="4668" y="3592"/>
                  </a:lnTo>
                  <a:lnTo>
                    <a:pt x="4666" y="3588"/>
                  </a:lnTo>
                  <a:lnTo>
                    <a:pt x="4662" y="3587"/>
                  </a:lnTo>
                  <a:lnTo>
                    <a:pt x="4662" y="3586"/>
                  </a:lnTo>
                  <a:lnTo>
                    <a:pt x="4662" y="3586"/>
                  </a:lnTo>
                  <a:lnTo>
                    <a:pt x="4653" y="3586"/>
                  </a:lnTo>
                  <a:lnTo>
                    <a:pt x="4647" y="3587"/>
                  </a:lnTo>
                  <a:lnTo>
                    <a:pt x="4642" y="3590"/>
                  </a:lnTo>
                  <a:lnTo>
                    <a:pt x="4638" y="3592"/>
                  </a:lnTo>
                  <a:lnTo>
                    <a:pt x="4633" y="3594"/>
                  </a:lnTo>
                  <a:lnTo>
                    <a:pt x="4628" y="3595"/>
                  </a:lnTo>
                  <a:lnTo>
                    <a:pt x="4621" y="3595"/>
                  </a:lnTo>
                  <a:lnTo>
                    <a:pt x="4612" y="3592"/>
                  </a:lnTo>
                  <a:lnTo>
                    <a:pt x="4608" y="3586"/>
                  </a:lnTo>
                  <a:lnTo>
                    <a:pt x="4603" y="3571"/>
                  </a:lnTo>
                  <a:lnTo>
                    <a:pt x="4599" y="3558"/>
                  </a:lnTo>
                  <a:lnTo>
                    <a:pt x="4596" y="3552"/>
                  </a:lnTo>
                  <a:lnTo>
                    <a:pt x="4594" y="3540"/>
                  </a:lnTo>
                  <a:lnTo>
                    <a:pt x="4591" y="3531"/>
                  </a:lnTo>
                  <a:lnTo>
                    <a:pt x="4590" y="3524"/>
                  </a:lnTo>
                  <a:lnTo>
                    <a:pt x="4589" y="3519"/>
                  </a:lnTo>
                  <a:lnTo>
                    <a:pt x="4587" y="3518"/>
                  </a:lnTo>
                  <a:lnTo>
                    <a:pt x="4586" y="3516"/>
                  </a:lnTo>
                  <a:lnTo>
                    <a:pt x="4585" y="3514"/>
                  </a:lnTo>
                  <a:lnTo>
                    <a:pt x="4583" y="3512"/>
                  </a:lnTo>
                  <a:lnTo>
                    <a:pt x="4583" y="3510"/>
                  </a:lnTo>
                  <a:lnTo>
                    <a:pt x="4582" y="3509"/>
                  </a:lnTo>
                  <a:lnTo>
                    <a:pt x="4574" y="3507"/>
                  </a:lnTo>
                  <a:lnTo>
                    <a:pt x="4562" y="3509"/>
                  </a:lnTo>
                  <a:lnTo>
                    <a:pt x="4551" y="3511"/>
                  </a:lnTo>
                  <a:lnTo>
                    <a:pt x="4545" y="3511"/>
                  </a:lnTo>
                  <a:lnTo>
                    <a:pt x="4543" y="3511"/>
                  </a:lnTo>
                  <a:lnTo>
                    <a:pt x="4542" y="3510"/>
                  </a:lnTo>
                  <a:lnTo>
                    <a:pt x="4540" y="3509"/>
                  </a:lnTo>
                  <a:lnTo>
                    <a:pt x="4539" y="3509"/>
                  </a:lnTo>
                  <a:lnTo>
                    <a:pt x="4536" y="3507"/>
                  </a:lnTo>
                  <a:lnTo>
                    <a:pt x="4535" y="3505"/>
                  </a:lnTo>
                  <a:lnTo>
                    <a:pt x="4535" y="3502"/>
                  </a:lnTo>
                  <a:lnTo>
                    <a:pt x="4536" y="3490"/>
                  </a:lnTo>
                  <a:lnTo>
                    <a:pt x="4538" y="3481"/>
                  </a:lnTo>
                  <a:lnTo>
                    <a:pt x="4540" y="3475"/>
                  </a:lnTo>
                  <a:lnTo>
                    <a:pt x="4543" y="3468"/>
                  </a:lnTo>
                  <a:lnTo>
                    <a:pt x="4544" y="3464"/>
                  </a:lnTo>
                  <a:lnTo>
                    <a:pt x="4545" y="3460"/>
                  </a:lnTo>
                  <a:lnTo>
                    <a:pt x="4549" y="3447"/>
                  </a:lnTo>
                  <a:lnTo>
                    <a:pt x="4556" y="3433"/>
                  </a:lnTo>
                  <a:lnTo>
                    <a:pt x="4559" y="3429"/>
                  </a:lnTo>
                  <a:lnTo>
                    <a:pt x="4561" y="3425"/>
                  </a:lnTo>
                  <a:lnTo>
                    <a:pt x="4566" y="3410"/>
                  </a:lnTo>
                  <a:lnTo>
                    <a:pt x="4572" y="3397"/>
                  </a:lnTo>
                  <a:lnTo>
                    <a:pt x="4577" y="3386"/>
                  </a:lnTo>
                  <a:lnTo>
                    <a:pt x="4582" y="3374"/>
                  </a:lnTo>
                  <a:lnTo>
                    <a:pt x="4585" y="3370"/>
                  </a:lnTo>
                  <a:lnTo>
                    <a:pt x="4586" y="3366"/>
                  </a:lnTo>
                  <a:lnTo>
                    <a:pt x="4587" y="3358"/>
                  </a:lnTo>
                  <a:lnTo>
                    <a:pt x="4590" y="3350"/>
                  </a:lnTo>
                  <a:lnTo>
                    <a:pt x="4593" y="3340"/>
                  </a:lnTo>
                  <a:lnTo>
                    <a:pt x="4594" y="3331"/>
                  </a:lnTo>
                  <a:lnTo>
                    <a:pt x="4593" y="3287"/>
                  </a:lnTo>
                  <a:lnTo>
                    <a:pt x="4591" y="3287"/>
                  </a:lnTo>
                  <a:lnTo>
                    <a:pt x="4590" y="3286"/>
                  </a:lnTo>
                  <a:lnTo>
                    <a:pt x="4590" y="3285"/>
                  </a:lnTo>
                  <a:lnTo>
                    <a:pt x="4590" y="3284"/>
                  </a:lnTo>
                  <a:lnTo>
                    <a:pt x="4589" y="3284"/>
                  </a:lnTo>
                  <a:lnTo>
                    <a:pt x="4587" y="3282"/>
                  </a:lnTo>
                  <a:lnTo>
                    <a:pt x="4586" y="3281"/>
                  </a:lnTo>
                  <a:lnTo>
                    <a:pt x="4583" y="3278"/>
                  </a:lnTo>
                  <a:lnTo>
                    <a:pt x="4582" y="3277"/>
                  </a:lnTo>
                  <a:lnTo>
                    <a:pt x="4581" y="3276"/>
                  </a:lnTo>
                  <a:lnTo>
                    <a:pt x="4579" y="3274"/>
                  </a:lnTo>
                  <a:lnTo>
                    <a:pt x="4578" y="3274"/>
                  </a:lnTo>
                  <a:lnTo>
                    <a:pt x="4577" y="3273"/>
                  </a:lnTo>
                  <a:lnTo>
                    <a:pt x="4577" y="3272"/>
                  </a:lnTo>
                  <a:lnTo>
                    <a:pt x="4576" y="3270"/>
                  </a:lnTo>
                  <a:lnTo>
                    <a:pt x="4574" y="3269"/>
                  </a:lnTo>
                  <a:lnTo>
                    <a:pt x="4572" y="3267"/>
                  </a:lnTo>
                  <a:lnTo>
                    <a:pt x="4570" y="3264"/>
                  </a:lnTo>
                  <a:lnTo>
                    <a:pt x="4565" y="3255"/>
                  </a:lnTo>
                  <a:lnTo>
                    <a:pt x="4560" y="3247"/>
                  </a:lnTo>
                  <a:lnTo>
                    <a:pt x="4559" y="3242"/>
                  </a:lnTo>
                  <a:lnTo>
                    <a:pt x="4556" y="3236"/>
                  </a:lnTo>
                  <a:lnTo>
                    <a:pt x="4555" y="3235"/>
                  </a:lnTo>
                  <a:lnTo>
                    <a:pt x="4553" y="3234"/>
                  </a:lnTo>
                  <a:lnTo>
                    <a:pt x="4552" y="3233"/>
                  </a:lnTo>
                  <a:lnTo>
                    <a:pt x="4551" y="3231"/>
                  </a:lnTo>
                  <a:lnTo>
                    <a:pt x="4551" y="3229"/>
                  </a:lnTo>
                  <a:lnTo>
                    <a:pt x="4551" y="3229"/>
                  </a:lnTo>
                  <a:lnTo>
                    <a:pt x="4549" y="3229"/>
                  </a:lnTo>
                  <a:lnTo>
                    <a:pt x="4548" y="3227"/>
                  </a:lnTo>
                  <a:lnTo>
                    <a:pt x="4547" y="3226"/>
                  </a:lnTo>
                  <a:lnTo>
                    <a:pt x="4547" y="3225"/>
                  </a:lnTo>
                  <a:lnTo>
                    <a:pt x="4545" y="3223"/>
                  </a:lnTo>
                  <a:lnTo>
                    <a:pt x="4543" y="3218"/>
                  </a:lnTo>
                  <a:lnTo>
                    <a:pt x="4540" y="3212"/>
                  </a:lnTo>
                  <a:lnTo>
                    <a:pt x="4539" y="3210"/>
                  </a:lnTo>
                  <a:lnTo>
                    <a:pt x="4539" y="3209"/>
                  </a:lnTo>
                  <a:lnTo>
                    <a:pt x="4538" y="3206"/>
                  </a:lnTo>
                  <a:lnTo>
                    <a:pt x="4536" y="3205"/>
                  </a:lnTo>
                  <a:lnTo>
                    <a:pt x="4535" y="3202"/>
                  </a:lnTo>
                  <a:lnTo>
                    <a:pt x="4535" y="3201"/>
                  </a:lnTo>
                  <a:lnTo>
                    <a:pt x="4532" y="3199"/>
                  </a:lnTo>
                  <a:lnTo>
                    <a:pt x="4531" y="3197"/>
                  </a:lnTo>
                  <a:lnTo>
                    <a:pt x="4531" y="3195"/>
                  </a:lnTo>
                  <a:lnTo>
                    <a:pt x="4531" y="3191"/>
                  </a:lnTo>
                  <a:lnTo>
                    <a:pt x="4530" y="3184"/>
                  </a:lnTo>
                  <a:lnTo>
                    <a:pt x="4531" y="3179"/>
                  </a:lnTo>
                  <a:lnTo>
                    <a:pt x="4532" y="3172"/>
                  </a:lnTo>
                  <a:lnTo>
                    <a:pt x="4534" y="3167"/>
                  </a:lnTo>
                  <a:lnTo>
                    <a:pt x="4534" y="3166"/>
                  </a:lnTo>
                  <a:lnTo>
                    <a:pt x="4535" y="3165"/>
                  </a:lnTo>
                  <a:lnTo>
                    <a:pt x="4535" y="3165"/>
                  </a:lnTo>
                  <a:lnTo>
                    <a:pt x="4536" y="3163"/>
                  </a:lnTo>
                  <a:lnTo>
                    <a:pt x="4536" y="3162"/>
                  </a:lnTo>
                  <a:lnTo>
                    <a:pt x="4536" y="3161"/>
                  </a:lnTo>
                  <a:lnTo>
                    <a:pt x="4538" y="3158"/>
                  </a:lnTo>
                  <a:lnTo>
                    <a:pt x="4539" y="3157"/>
                  </a:lnTo>
                  <a:lnTo>
                    <a:pt x="4543" y="3155"/>
                  </a:lnTo>
                  <a:lnTo>
                    <a:pt x="4547" y="3154"/>
                  </a:lnTo>
                  <a:lnTo>
                    <a:pt x="4556" y="3153"/>
                  </a:lnTo>
                  <a:lnTo>
                    <a:pt x="4566" y="3153"/>
                  </a:lnTo>
                  <a:lnTo>
                    <a:pt x="4589" y="3155"/>
                  </a:lnTo>
                  <a:lnTo>
                    <a:pt x="4604" y="3159"/>
                  </a:lnTo>
                  <a:lnTo>
                    <a:pt x="4608" y="3159"/>
                  </a:lnTo>
                  <a:lnTo>
                    <a:pt x="4613" y="3159"/>
                  </a:lnTo>
                  <a:lnTo>
                    <a:pt x="4619" y="3158"/>
                  </a:lnTo>
                  <a:lnTo>
                    <a:pt x="4624" y="3157"/>
                  </a:lnTo>
                  <a:lnTo>
                    <a:pt x="4634" y="3153"/>
                  </a:lnTo>
                  <a:lnTo>
                    <a:pt x="4641" y="3150"/>
                  </a:lnTo>
                  <a:lnTo>
                    <a:pt x="4644" y="3149"/>
                  </a:lnTo>
                  <a:lnTo>
                    <a:pt x="4645" y="3148"/>
                  </a:lnTo>
                  <a:lnTo>
                    <a:pt x="4645" y="3145"/>
                  </a:lnTo>
                  <a:lnTo>
                    <a:pt x="4646" y="3144"/>
                  </a:lnTo>
                  <a:lnTo>
                    <a:pt x="4649" y="3144"/>
                  </a:lnTo>
                  <a:lnTo>
                    <a:pt x="4650" y="3142"/>
                  </a:lnTo>
                  <a:lnTo>
                    <a:pt x="4650" y="3141"/>
                  </a:lnTo>
                  <a:lnTo>
                    <a:pt x="4651" y="3138"/>
                  </a:lnTo>
                  <a:lnTo>
                    <a:pt x="4653" y="3136"/>
                  </a:lnTo>
                  <a:lnTo>
                    <a:pt x="4654" y="3133"/>
                  </a:lnTo>
                  <a:lnTo>
                    <a:pt x="4657" y="3132"/>
                  </a:lnTo>
                  <a:lnTo>
                    <a:pt x="4658" y="3129"/>
                  </a:lnTo>
                  <a:lnTo>
                    <a:pt x="4659" y="3127"/>
                  </a:lnTo>
                  <a:lnTo>
                    <a:pt x="4661" y="3120"/>
                  </a:lnTo>
                  <a:lnTo>
                    <a:pt x="4663" y="3112"/>
                  </a:lnTo>
                  <a:lnTo>
                    <a:pt x="4664" y="3099"/>
                  </a:lnTo>
                  <a:lnTo>
                    <a:pt x="4667" y="3090"/>
                  </a:lnTo>
                  <a:lnTo>
                    <a:pt x="4668" y="3086"/>
                  </a:lnTo>
                  <a:lnTo>
                    <a:pt x="4672" y="3082"/>
                  </a:lnTo>
                  <a:lnTo>
                    <a:pt x="4676" y="3079"/>
                  </a:lnTo>
                  <a:lnTo>
                    <a:pt x="4681" y="3077"/>
                  </a:lnTo>
                  <a:lnTo>
                    <a:pt x="4684" y="3074"/>
                  </a:lnTo>
                  <a:lnTo>
                    <a:pt x="4684" y="3070"/>
                  </a:lnTo>
                  <a:lnTo>
                    <a:pt x="4683" y="3066"/>
                  </a:lnTo>
                  <a:lnTo>
                    <a:pt x="4681" y="3062"/>
                  </a:lnTo>
                  <a:lnTo>
                    <a:pt x="4676" y="3052"/>
                  </a:lnTo>
                  <a:lnTo>
                    <a:pt x="4674" y="3043"/>
                  </a:lnTo>
                  <a:lnTo>
                    <a:pt x="4675" y="3021"/>
                  </a:lnTo>
                  <a:lnTo>
                    <a:pt x="4676" y="3000"/>
                  </a:lnTo>
                  <a:lnTo>
                    <a:pt x="4676" y="2989"/>
                  </a:lnTo>
                  <a:lnTo>
                    <a:pt x="4675" y="2979"/>
                  </a:lnTo>
                  <a:lnTo>
                    <a:pt x="4671" y="2970"/>
                  </a:lnTo>
                  <a:lnTo>
                    <a:pt x="4666" y="2960"/>
                  </a:lnTo>
                  <a:lnTo>
                    <a:pt x="4662" y="2954"/>
                  </a:lnTo>
                  <a:lnTo>
                    <a:pt x="4659" y="2946"/>
                  </a:lnTo>
                  <a:lnTo>
                    <a:pt x="4659" y="2937"/>
                  </a:lnTo>
                  <a:lnTo>
                    <a:pt x="4659" y="2926"/>
                  </a:lnTo>
                  <a:lnTo>
                    <a:pt x="4661" y="2917"/>
                  </a:lnTo>
                  <a:lnTo>
                    <a:pt x="4663" y="2906"/>
                  </a:lnTo>
                  <a:lnTo>
                    <a:pt x="4667" y="2895"/>
                  </a:lnTo>
                  <a:lnTo>
                    <a:pt x="4671" y="2885"/>
                  </a:lnTo>
                  <a:lnTo>
                    <a:pt x="4681" y="2864"/>
                  </a:lnTo>
                  <a:lnTo>
                    <a:pt x="4692" y="2844"/>
                  </a:lnTo>
                  <a:lnTo>
                    <a:pt x="4697" y="2836"/>
                  </a:lnTo>
                  <a:lnTo>
                    <a:pt x="4704" y="2830"/>
                  </a:lnTo>
                  <a:lnTo>
                    <a:pt x="4709" y="2824"/>
                  </a:lnTo>
                  <a:lnTo>
                    <a:pt x="4713" y="2820"/>
                  </a:lnTo>
                  <a:lnTo>
                    <a:pt x="4718" y="2818"/>
                  </a:lnTo>
                  <a:lnTo>
                    <a:pt x="4722" y="2813"/>
                  </a:lnTo>
                  <a:lnTo>
                    <a:pt x="4726" y="2809"/>
                  </a:lnTo>
                  <a:lnTo>
                    <a:pt x="4730" y="2803"/>
                  </a:lnTo>
                  <a:lnTo>
                    <a:pt x="4735" y="2790"/>
                  </a:lnTo>
                  <a:lnTo>
                    <a:pt x="4740" y="2777"/>
                  </a:lnTo>
                  <a:lnTo>
                    <a:pt x="4743" y="2763"/>
                  </a:lnTo>
                  <a:lnTo>
                    <a:pt x="4746" y="2749"/>
                  </a:lnTo>
                  <a:lnTo>
                    <a:pt x="4747" y="2735"/>
                  </a:lnTo>
                  <a:lnTo>
                    <a:pt x="4747" y="2722"/>
                  </a:lnTo>
                  <a:lnTo>
                    <a:pt x="4747" y="2682"/>
                  </a:lnTo>
                  <a:lnTo>
                    <a:pt x="4747" y="2641"/>
                  </a:lnTo>
                  <a:lnTo>
                    <a:pt x="4744" y="2622"/>
                  </a:lnTo>
                  <a:lnTo>
                    <a:pt x="4742" y="2603"/>
                  </a:lnTo>
                  <a:lnTo>
                    <a:pt x="4736" y="2585"/>
                  </a:lnTo>
                  <a:lnTo>
                    <a:pt x="4730" y="2568"/>
                  </a:lnTo>
                  <a:lnTo>
                    <a:pt x="4697" y="2505"/>
                  </a:lnTo>
                  <a:lnTo>
                    <a:pt x="4649" y="2527"/>
                  </a:lnTo>
                  <a:lnTo>
                    <a:pt x="4646" y="2533"/>
                  </a:lnTo>
                  <a:lnTo>
                    <a:pt x="4642" y="2538"/>
                  </a:lnTo>
                  <a:lnTo>
                    <a:pt x="4637" y="2546"/>
                  </a:lnTo>
                  <a:lnTo>
                    <a:pt x="4630" y="2555"/>
                  </a:lnTo>
                  <a:lnTo>
                    <a:pt x="4629" y="2558"/>
                  </a:lnTo>
                  <a:lnTo>
                    <a:pt x="4628" y="2559"/>
                  </a:lnTo>
                  <a:lnTo>
                    <a:pt x="4624" y="2567"/>
                  </a:lnTo>
                  <a:lnTo>
                    <a:pt x="4616" y="2581"/>
                  </a:lnTo>
                  <a:lnTo>
                    <a:pt x="4607" y="2597"/>
                  </a:lnTo>
                  <a:lnTo>
                    <a:pt x="4603" y="2607"/>
                  </a:lnTo>
                  <a:lnTo>
                    <a:pt x="4602" y="2610"/>
                  </a:lnTo>
                  <a:lnTo>
                    <a:pt x="4600" y="2611"/>
                  </a:lnTo>
                  <a:lnTo>
                    <a:pt x="4598" y="2611"/>
                  </a:lnTo>
                  <a:lnTo>
                    <a:pt x="4594" y="2606"/>
                  </a:lnTo>
                  <a:lnTo>
                    <a:pt x="4589" y="2599"/>
                  </a:lnTo>
                  <a:lnTo>
                    <a:pt x="4587" y="2598"/>
                  </a:lnTo>
                  <a:lnTo>
                    <a:pt x="4586" y="2597"/>
                  </a:lnTo>
                  <a:lnTo>
                    <a:pt x="4583" y="2592"/>
                  </a:lnTo>
                  <a:lnTo>
                    <a:pt x="4579" y="2586"/>
                  </a:lnTo>
                  <a:lnTo>
                    <a:pt x="4578" y="2585"/>
                  </a:lnTo>
                  <a:lnTo>
                    <a:pt x="4577" y="2585"/>
                  </a:lnTo>
                  <a:lnTo>
                    <a:pt x="4577" y="2584"/>
                  </a:lnTo>
                  <a:lnTo>
                    <a:pt x="4576" y="2582"/>
                  </a:lnTo>
                  <a:lnTo>
                    <a:pt x="4574" y="2581"/>
                  </a:lnTo>
                  <a:lnTo>
                    <a:pt x="4573" y="2580"/>
                  </a:lnTo>
                  <a:lnTo>
                    <a:pt x="4566" y="2572"/>
                  </a:lnTo>
                  <a:lnTo>
                    <a:pt x="4560" y="2564"/>
                  </a:lnTo>
                  <a:lnTo>
                    <a:pt x="4559" y="2561"/>
                  </a:lnTo>
                  <a:lnTo>
                    <a:pt x="4556" y="2559"/>
                  </a:lnTo>
                  <a:lnTo>
                    <a:pt x="4555" y="2556"/>
                  </a:lnTo>
                  <a:lnTo>
                    <a:pt x="4553" y="2555"/>
                  </a:lnTo>
                  <a:lnTo>
                    <a:pt x="4552" y="2554"/>
                  </a:lnTo>
                  <a:lnTo>
                    <a:pt x="4551" y="2552"/>
                  </a:lnTo>
                  <a:lnTo>
                    <a:pt x="4549" y="2552"/>
                  </a:lnTo>
                  <a:lnTo>
                    <a:pt x="4548" y="2551"/>
                  </a:lnTo>
                  <a:lnTo>
                    <a:pt x="4547" y="2548"/>
                  </a:lnTo>
                  <a:lnTo>
                    <a:pt x="4540" y="2544"/>
                  </a:lnTo>
                  <a:lnTo>
                    <a:pt x="4534" y="2541"/>
                  </a:lnTo>
                  <a:lnTo>
                    <a:pt x="4531" y="2538"/>
                  </a:lnTo>
                  <a:lnTo>
                    <a:pt x="4527" y="2537"/>
                  </a:lnTo>
                  <a:lnTo>
                    <a:pt x="4525" y="2535"/>
                  </a:lnTo>
                  <a:lnTo>
                    <a:pt x="4521" y="2535"/>
                  </a:lnTo>
                  <a:lnTo>
                    <a:pt x="4517" y="2539"/>
                  </a:lnTo>
                  <a:lnTo>
                    <a:pt x="4515" y="2544"/>
                  </a:lnTo>
                  <a:lnTo>
                    <a:pt x="4508" y="2555"/>
                  </a:lnTo>
                  <a:lnTo>
                    <a:pt x="4500" y="2564"/>
                  </a:lnTo>
                  <a:lnTo>
                    <a:pt x="4497" y="2565"/>
                  </a:lnTo>
                  <a:lnTo>
                    <a:pt x="4496" y="2568"/>
                  </a:lnTo>
                  <a:lnTo>
                    <a:pt x="4493" y="2569"/>
                  </a:lnTo>
                  <a:lnTo>
                    <a:pt x="4492" y="2572"/>
                  </a:lnTo>
                  <a:lnTo>
                    <a:pt x="4488" y="2576"/>
                  </a:lnTo>
                  <a:lnTo>
                    <a:pt x="4484" y="2580"/>
                  </a:lnTo>
                  <a:lnTo>
                    <a:pt x="4480" y="2585"/>
                  </a:lnTo>
                  <a:lnTo>
                    <a:pt x="4476" y="2589"/>
                  </a:lnTo>
                  <a:lnTo>
                    <a:pt x="4473" y="2592"/>
                  </a:lnTo>
                  <a:lnTo>
                    <a:pt x="4471" y="2594"/>
                  </a:lnTo>
                  <a:lnTo>
                    <a:pt x="4460" y="2602"/>
                  </a:lnTo>
                  <a:lnTo>
                    <a:pt x="4449" y="2611"/>
                  </a:lnTo>
                  <a:lnTo>
                    <a:pt x="4447" y="2613"/>
                  </a:lnTo>
                  <a:lnTo>
                    <a:pt x="4446" y="2615"/>
                  </a:lnTo>
                  <a:lnTo>
                    <a:pt x="4442" y="2618"/>
                  </a:lnTo>
                  <a:lnTo>
                    <a:pt x="4438" y="2620"/>
                  </a:lnTo>
                  <a:lnTo>
                    <a:pt x="4437" y="2620"/>
                  </a:lnTo>
                  <a:lnTo>
                    <a:pt x="4433" y="2624"/>
                  </a:lnTo>
                  <a:lnTo>
                    <a:pt x="4429" y="2628"/>
                  </a:lnTo>
                  <a:lnTo>
                    <a:pt x="4428" y="2628"/>
                  </a:lnTo>
                  <a:lnTo>
                    <a:pt x="4425" y="2630"/>
                  </a:lnTo>
                  <a:lnTo>
                    <a:pt x="4422" y="2632"/>
                  </a:lnTo>
                  <a:lnTo>
                    <a:pt x="4416" y="2636"/>
                  </a:lnTo>
                  <a:lnTo>
                    <a:pt x="4408" y="2639"/>
                  </a:lnTo>
                  <a:lnTo>
                    <a:pt x="4407" y="2640"/>
                  </a:lnTo>
                  <a:lnTo>
                    <a:pt x="4407" y="2641"/>
                  </a:lnTo>
                  <a:lnTo>
                    <a:pt x="4407" y="2643"/>
                  </a:lnTo>
                  <a:lnTo>
                    <a:pt x="4405" y="2643"/>
                  </a:lnTo>
                  <a:lnTo>
                    <a:pt x="4398" y="2644"/>
                  </a:lnTo>
                  <a:lnTo>
                    <a:pt x="4385" y="2645"/>
                  </a:lnTo>
                  <a:lnTo>
                    <a:pt x="4378" y="2645"/>
                  </a:lnTo>
                  <a:lnTo>
                    <a:pt x="4371" y="2644"/>
                  </a:lnTo>
                  <a:lnTo>
                    <a:pt x="4368" y="2643"/>
                  </a:lnTo>
                  <a:lnTo>
                    <a:pt x="4364" y="2640"/>
                  </a:lnTo>
                  <a:lnTo>
                    <a:pt x="4364" y="2639"/>
                  </a:lnTo>
                  <a:lnTo>
                    <a:pt x="4361" y="2639"/>
                  </a:lnTo>
                  <a:lnTo>
                    <a:pt x="4357" y="2639"/>
                  </a:lnTo>
                  <a:lnTo>
                    <a:pt x="4354" y="2641"/>
                  </a:lnTo>
                  <a:lnTo>
                    <a:pt x="4353" y="2643"/>
                  </a:lnTo>
                  <a:lnTo>
                    <a:pt x="4353" y="2644"/>
                  </a:lnTo>
                  <a:lnTo>
                    <a:pt x="4348" y="2649"/>
                  </a:lnTo>
                  <a:lnTo>
                    <a:pt x="4345" y="2656"/>
                  </a:lnTo>
                  <a:lnTo>
                    <a:pt x="4341" y="2664"/>
                  </a:lnTo>
                  <a:lnTo>
                    <a:pt x="4337" y="2673"/>
                  </a:lnTo>
                  <a:lnTo>
                    <a:pt x="4332" y="2681"/>
                  </a:lnTo>
                  <a:lnTo>
                    <a:pt x="4328" y="2687"/>
                  </a:lnTo>
                  <a:lnTo>
                    <a:pt x="4323" y="2694"/>
                  </a:lnTo>
                  <a:lnTo>
                    <a:pt x="4318" y="2704"/>
                  </a:lnTo>
                  <a:lnTo>
                    <a:pt x="4313" y="2720"/>
                  </a:lnTo>
                  <a:lnTo>
                    <a:pt x="4306" y="2737"/>
                  </a:lnTo>
                  <a:lnTo>
                    <a:pt x="4300" y="2752"/>
                  </a:lnTo>
                  <a:lnTo>
                    <a:pt x="4290" y="2768"/>
                  </a:lnTo>
                  <a:lnTo>
                    <a:pt x="4285" y="2775"/>
                  </a:lnTo>
                  <a:lnTo>
                    <a:pt x="4280" y="2780"/>
                  </a:lnTo>
                  <a:lnTo>
                    <a:pt x="4275" y="2784"/>
                  </a:lnTo>
                  <a:lnTo>
                    <a:pt x="4268" y="2786"/>
                  </a:lnTo>
                  <a:lnTo>
                    <a:pt x="4263" y="2792"/>
                  </a:lnTo>
                  <a:lnTo>
                    <a:pt x="4258" y="2797"/>
                  </a:lnTo>
                  <a:lnTo>
                    <a:pt x="4255" y="2803"/>
                  </a:lnTo>
                  <a:lnTo>
                    <a:pt x="4250" y="2809"/>
                  </a:lnTo>
                  <a:lnTo>
                    <a:pt x="4242" y="2815"/>
                  </a:lnTo>
                  <a:lnTo>
                    <a:pt x="4235" y="2820"/>
                  </a:lnTo>
                  <a:lnTo>
                    <a:pt x="4221" y="2830"/>
                  </a:lnTo>
                  <a:lnTo>
                    <a:pt x="4213" y="2834"/>
                  </a:lnTo>
                  <a:lnTo>
                    <a:pt x="4198" y="2841"/>
                  </a:lnTo>
                  <a:lnTo>
                    <a:pt x="4184" y="2848"/>
                  </a:lnTo>
                  <a:lnTo>
                    <a:pt x="4183" y="2849"/>
                  </a:lnTo>
                  <a:lnTo>
                    <a:pt x="4183" y="2851"/>
                  </a:lnTo>
                  <a:lnTo>
                    <a:pt x="4183" y="2852"/>
                  </a:lnTo>
                  <a:lnTo>
                    <a:pt x="4182" y="2853"/>
                  </a:lnTo>
                  <a:lnTo>
                    <a:pt x="4179" y="2856"/>
                  </a:lnTo>
                  <a:lnTo>
                    <a:pt x="4178" y="2860"/>
                  </a:lnTo>
                  <a:lnTo>
                    <a:pt x="4178" y="2862"/>
                  </a:lnTo>
                  <a:lnTo>
                    <a:pt x="4162" y="2882"/>
                  </a:lnTo>
                  <a:lnTo>
                    <a:pt x="4160" y="2882"/>
                  </a:lnTo>
                  <a:lnTo>
                    <a:pt x="4156" y="2882"/>
                  </a:lnTo>
                  <a:lnTo>
                    <a:pt x="4112" y="2878"/>
                  </a:lnTo>
                  <a:lnTo>
                    <a:pt x="4099" y="2875"/>
                  </a:lnTo>
                  <a:lnTo>
                    <a:pt x="4089" y="2873"/>
                  </a:lnTo>
                  <a:lnTo>
                    <a:pt x="4080" y="2872"/>
                  </a:lnTo>
                  <a:lnTo>
                    <a:pt x="4073" y="2872"/>
                  </a:lnTo>
                  <a:lnTo>
                    <a:pt x="4056" y="2875"/>
                  </a:lnTo>
                  <a:lnTo>
                    <a:pt x="4042" y="2879"/>
                  </a:lnTo>
                  <a:lnTo>
                    <a:pt x="4039" y="2881"/>
                  </a:lnTo>
                  <a:lnTo>
                    <a:pt x="4038" y="2882"/>
                  </a:lnTo>
                  <a:lnTo>
                    <a:pt x="4034" y="2882"/>
                  </a:lnTo>
                  <a:lnTo>
                    <a:pt x="4029" y="2882"/>
                  </a:lnTo>
                  <a:lnTo>
                    <a:pt x="4025" y="2881"/>
                  </a:lnTo>
                  <a:lnTo>
                    <a:pt x="4021" y="2879"/>
                  </a:lnTo>
                  <a:lnTo>
                    <a:pt x="4021" y="2878"/>
                  </a:lnTo>
                  <a:lnTo>
                    <a:pt x="4021" y="2877"/>
                  </a:lnTo>
                  <a:lnTo>
                    <a:pt x="4016" y="2877"/>
                  </a:lnTo>
                  <a:lnTo>
                    <a:pt x="4009" y="2875"/>
                  </a:lnTo>
                  <a:lnTo>
                    <a:pt x="4001" y="2877"/>
                  </a:lnTo>
                  <a:lnTo>
                    <a:pt x="3997" y="2878"/>
                  </a:lnTo>
                  <a:lnTo>
                    <a:pt x="3990" y="2883"/>
                  </a:lnTo>
                  <a:lnTo>
                    <a:pt x="3982" y="2890"/>
                  </a:lnTo>
                  <a:lnTo>
                    <a:pt x="3982" y="2891"/>
                  </a:lnTo>
                  <a:lnTo>
                    <a:pt x="3980" y="2891"/>
                  </a:lnTo>
                  <a:lnTo>
                    <a:pt x="3979" y="2892"/>
                  </a:lnTo>
                  <a:lnTo>
                    <a:pt x="3979" y="2894"/>
                  </a:lnTo>
                  <a:lnTo>
                    <a:pt x="3976" y="2894"/>
                  </a:lnTo>
                  <a:lnTo>
                    <a:pt x="3975" y="2895"/>
                  </a:lnTo>
                  <a:lnTo>
                    <a:pt x="3974" y="2896"/>
                  </a:lnTo>
                  <a:lnTo>
                    <a:pt x="3974" y="2898"/>
                  </a:lnTo>
                  <a:lnTo>
                    <a:pt x="3973" y="2899"/>
                  </a:lnTo>
                  <a:lnTo>
                    <a:pt x="3973" y="2900"/>
                  </a:lnTo>
                  <a:lnTo>
                    <a:pt x="3971" y="2900"/>
                  </a:lnTo>
                  <a:lnTo>
                    <a:pt x="3970" y="2902"/>
                  </a:lnTo>
                  <a:lnTo>
                    <a:pt x="3969" y="2903"/>
                  </a:lnTo>
                  <a:lnTo>
                    <a:pt x="3967" y="2903"/>
                  </a:lnTo>
                  <a:lnTo>
                    <a:pt x="3966" y="2906"/>
                  </a:lnTo>
                  <a:lnTo>
                    <a:pt x="3962" y="2909"/>
                  </a:lnTo>
                  <a:lnTo>
                    <a:pt x="3948" y="2923"/>
                  </a:lnTo>
                  <a:lnTo>
                    <a:pt x="3935" y="2936"/>
                  </a:lnTo>
                  <a:lnTo>
                    <a:pt x="3933" y="2937"/>
                  </a:lnTo>
                  <a:lnTo>
                    <a:pt x="3932" y="2938"/>
                  </a:lnTo>
                  <a:lnTo>
                    <a:pt x="3931" y="2940"/>
                  </a:lnTo>
                  <a:lnTo>
                    <a:pt x="3929" y="2940"/>
                  </a:lnTo>
                  <a:lnTo>
                    <a:pt x="3928" y="2942"/>
                  </a:lnTo>
                  <a:lnTo>
                    <a:pt x="3927" y="2943"/>
                  </a:lnTo>
                  <a:lnTo>
                    <a:pt x="3915" y="2957"/>
                  </a:lnTo>
                  <a:lnTo>
                    <a:pt x="3902" y="2971"/>
                  </a:lnTo>
                  <a:lnTo>
                    <a:pt x="3891" y="2981"/>
                  </a:lnTo>
                  <a:lnTo>
                    <a:pt x="3882" y="2991"/>
                  </a:lnTo>
                  <a:lnTo>
                    <a:pt x="3881" y="2992"/>
                  </a:lnTo>
                  <a:lnTo>
                    <a:pt x="3880" y="2993"/>
                  </a:lnTo>
                  <a:lnTo>
                    <a:pt x="3878" y="2994"/>
                  </a:lnTo>
                  <a:lnTo>
                    <a:pt x="3877" y="2996"/>
                  </a:lnTo>
                  <a:lnTo>
                    <a:pt x="3876" y="2997"/>
                  </a:lnTo>
                  <a:lnTo>
                    <a:pt x="3874" y="3000"/>
                  </a:lnTo>
                  <a:lnTo>
                    <a:pt x="3873" y="3001"/>
                  </a:lnTo>
                  <a:lnTo>
                    <a:pt x="3871" y="3001"/>
                  </a:lnTo>
                  <a:lnTo>
                    <a:pt x="3868" y="3005"/>
                  </a:lnTo>
                  <a:lnTo>
                    <a:pt x="3864" y="3008"/>
                  </a:lnTo>
                  <a:lnTo>
                    <a:pt x="3860" y="3013"/>
                  </a:lnTo>
                  <a:lnTo>
                    <a:pt x="3856" y="3018"/>
                  </a:lnTo>
                  <a:lnTo>
                    <a:pt x="3855" y="3019"/>
                  </a:lnTo>
                  <a:lnTo>
                    <a:pt x="3854" y="3021"/>
                  </a:lnTo>
                  <a:lnTo>
                    <a:pt x="3851" y="3025"/>
                  </a:lnTo>
                  <a:lnTo>
                    <a:pt x="3847" y="3028"/>
                  </a:lnTo>
                  <a:lnTo>
                    <a:pt x="3847" y="3028"/>
                  </a:lnTo>
                  <a:lnTo>
                    <a:pt x="3846" y="3028"/>
                  </a:lnTo>
                  <a:lnTo>
                    <a:pt x="3844" y="3028"/>
                  </a:lnTo>
                  <a:lnTo>
                    <a:pt x="3842" y="3030"/>
                  </a:lnTo>
                  <a:lnTo>
                    <a:pt x="3840" y="3032"/>
                  </a:lnTo>
                  <a:lnTo>
                    <a:pt x="3840" y="3034"/>
                  </a:lnTo>
                  <a:lnTo>
                    <a:pt x="3839" y="3034"/>
                  </a:lnTo>
                  <a:lnTo>
                    <a:pt x="3838" y="3051"/>
                  </a:lnTo>
                  <a:lnTo>
                    <a:pt x="3835" y="3076"/>
                  </a:lnTo>
                  <a:lnTo>
                    <a:pt x="3833" y="3089"/>
                  </a:lnTo>
                  <a:lnTo>
                    <a:pt x="3831" y="3099"/>
                  </a:lnTo>
                  <a:lnTo>
                    <a:pt x="3829" y="3108"/>
                  </a:lnTo>
                  <a:lnTo>
                    <a:pt x="3826" y="3112"/>
                  </a:lnTo>
                  <a:lnTo>
                    <a:pt x="3826" y="3114"/>
                  </a:lnTo>
                  <a:lnTo>
                    <a:pt x="3826" y="3115"/>
                  </a:lnTo>
                  <a:lnTo>
                    <a:pt x="3825" y="3116"/>
                  </a:lnTo>
                  <a:lnTo>
                    <a:pt x="3821" y="3119"/>
                  </a:lnTo>
                  <a:lnTo>
                    <a:pt x="3816" y="3120"/>
                  </a:lnTo>
                  <a:lnTo>
                    <a:pt x="3801" y="3127"/>
                  </a:lnTo>
                  <a:lnTo>
                    <a:pt x="3785" y="3133"/>
                  </a:lnTo>
                  <a:lnTo>
                    <a:pt x="3782" y="3134"/>
                  </a:lnTo>
                  <a:lnTo>
                    <a:pt x="3776" y="3137"/>
                  </a:lnTo>
                  <a:lnTo>
                    <a:pt x="3763" y="3145"/>
                  </a:lnTo>
                  <a:lnTo>
                    <a:pt x="3740" y="3155"/>
                  </a:lnTo>
                  <a:lnTo>
                    <a:pt x="3716" y="3166"/>
                  </a:lnTo>
                  <a:lnTo>
                    <a:pt x="3706" y="3170"/>
                  </a:lnTo>
                  <a:lnTo>
                    <a:pt x="3700" y="3170"/>
                  </a:lnTo>
                  <a:lnTo>
                    <a:pt x="3698" y="3168"/>
                  </a:lnTo>
                  <a:lnTo>
                    <a:pt x="3695" y="3165"/>
                  </a:lnTo>
                  <a:lnTo>
                    <a:pt x="3694" y="3158"/>
                  </a:lnTo>
                  <a:lnTo>
                    <a:pt x="3693" y="3154"/>
                  </a:lnTo>
                  <a:lnTo>
                    <a:pt x="3694" y="3151"/>
                  </a:lnTo>
                  <a:lnTo>
                    <a:pt x="3694" y="3149"/>
                  </a:lnTo>
                  <a:lnTo>
                    <a:pt x="3695" y="3146"/>
                  </a:lnTo>
                  <a:lnTo>
                    <a:pt x="3698" y="3145"/>
                  </a:lnTo>
                  <a:lnTo>
                    <a:pt x="3698" y="3142"/>
                  </a:lnTo>
                  <a:lnTo>
                    <a:pt x="3699" y="3140"/>
                  </a:lnTo>
                  <a:lnTo>
                    <a:pt x="3700" y="3138"/>
                  </a:lnTo>
                  <a:lnTo>
                    <a:pt x="3703" y="3136"/>
                  </a:lnTo>
                  <a:lnTo>
                    <a:pt x="3704" y="3133"/>
                  </a:lnTo>
                  <a:lnTo>
                    <a:pt x="3706" y="3132"/>
                  </a:lnTo>
                  <a:lnTo>
                    <a:pt x="3707" y="3132"/>
                  </a:lnTo>
                  <a:lnTo>
                    <a:pt x="3708" y="3128"/>
                  </a:lnTo>
                  <a:lnTo>
                    <a:pt x="3710" y="3125"/>
                  </a:lnTo>
                  <a:lnTo>
                    <a:pt x="3711" y="3124"/>
                  </a:lnTo>
                  <a:lnTo>
                    <a:pt x="3711" y="3123"/>
                  </a:lnTo>
                  <a:lnTo>
                    <a:pt x="3712" y="3123"/>
                  </a:lnTo>
                  <a:lnTo>
                    <a:pt x="3712" y="3121"/>
                  </a:lnTo>
                  <a:lnTo>
                    <a:pt x="3714" y="3120"/>
                  </a:lnTo>
                  <a:lnTo>
                    <a:pt x="3714" y="3119"/>
                  </a:lnTo>
                  <a:lnTo>
                    <a:pt x="3715" y="3119"/>
                  </a:lnTo>
                  <a:lnTo>
                    <a:pt x="3715" y="3119"/>
                  </a:lnTo>
                  <a:lnTo>
                    <a:pt x="3716" y="3117"/>
                  </a:lnTo>
                  <a:lnTo>
                    <a:pt x="3717" y="3116"/>
                  </a:lnTo>
                  <a:lnTo>
                    <a:pt x="3717" y="3106"/>
                  </a:lnTo>
                  <a:lnTo>
                    <a:pt x="3716" y="3093"/>
                  </a:lnTo>
                  <a:lnTo>
                    <a:pt x="3715" y="3087"/>
                  </a:lnTo>
                  <a:lnTo>
                    <a:pt x="3714" y="3081"/>
                  </a:lnTo>
                  <a:lnTo>
                    <a:pt x="3711" y="3076"/>
                  </a:lnTo>
                  <a:lnTo>
                    <a:pt x="3707" y="3070"/>
                  </a:lnTo>
                  <a:lnTo>
                    <a:pt x="3699" y="3061"/>
                  </a:lnTo>
                  <a:lnTo>
                    <a:pt x="3690" y="3052"/>
                  </a:lnTo>
                  <a:lnTo>
                    <a:pt x="3681" y="3042"/>
                  </a:lnTo>
                  <a:lnTo>
                    <a:pt x="3674" y="3030"/>
                  </a:lnTo>
                  <a:lnTo>
                    <a:pt x="3670" y="3022"/>
                  </a:lnTo>
                  <a:lnTo>
                    <a:pt x="3668" y="3014"/>
                  </a:lnTo>
                  <a:lnTo>
                    <a:pt x="3666" y="3005"/>
                  </a:lnTo>
                  <a:lnTo>
                    <a:pt x="3666" y="2996"/>
                  </a:lnTo>
                  <a:lnTo>
                    <a:pt x="3665" y="2979"/>
                  </a:lnTo>
                  <a:lnTo>
                    <a:pt x="3664" y="2964"/>
                  </a:lnTo>
                  <a:lnTo>
                    <a:pt x="3661" y="2953"/>
                  </a:lnTo>
                  <a:lnTo>
                    <a:pt x="3659" y="2942"/>
                  </a:lnTo>
                  <a:lnTo>
                    <a:pt x="3656" y="2933"/>
                  </a:lnTo>
                  <a:lnTo>
                    <a:pt x="3653" y="2923"/>
                  </a:lnTo>
                  <a:lnTo>
                    <a:pt x="3652" y="2911"/>
                  </a:lnTo>
                  <a:lnTo>
                    <a:pt x="3651" y="2898"/>
                  </a:lnTo>
                  <a:lnTo>
                    <a:pt x="3651" y="2881"/>
                  </a:lnTo>
                  <a:lnTo>
                    <a:pt x="3647" y="2866"/>
                  </a:lnTo>
                  <a:lnTo>
                    <a:pt x="3642" y="2853"/>
                  </a:lnTo>
                  <a:lnTo>
                    <a:pt x="3635" y="2843"/>
                  </a:lnTo>
                  <a:lnTo>
                    <a:pt x="3627" y="2832"/>
                  </a:lnTo>
                  <a:lnTo>
                    <a:pt x="3617" y="2823"/>
                  </a:lnTo>
                  <a:lnTo>
                    <a:pt x="3606" y="2817"/>
                  </a:lnTo>
                  <a:lnTo>
                    <a:pt x="3595" y="2810"/>
                  </a:lnTo>
                  <a:lnTo>
                    <a:pt x="3581" y="2805"/>
                  </a:lnTo>
                  <a:lnTo>
                    <a:pt x="3567" y="2801"/>
                  </a:lnTo>
                  <a:lnTo>
                    <a:pt x="3554" y="2797"/>
                  </a:lnTo>
                  <a:lnTo>
                    <a:pt x="3538" y="2794"/>
                  </a:lnTo>
                  <a:lnTo>
                    <a:pt x="3509" y="2790"/>
                  </a:lnTo>
                  <a:lnTo>
                    <a:pt x="3479" y="2788"/>
                  </a:lnTo>
                  <a:lnTo>
                    <a:pt x="3473" y="2786"/>
                  </a:lnTo>
                  <a:lnTo>
                    <a:pt x="3466" y="2783"/>
                  </a:lnTo>
                  <a:lnTo>
                    <a:pt x="3460" y="2779"/>
                  </a:lnTo>
                  <a:lnTo>
                    <a:pt x="3452" y="2773"/>
                  </a:lnTo>
                  <a:lnTo>
                    <a:pt x="3436" y="2760"/>
                  </a:lnTo>
                  <a:lnTo>
                    <a:pt x="3419" y="2747"/>
                  </a:lnTo>
                  <a:lnTo>
                    <a:pt x="3411" y="2741"/>
                  </a:lnTo>
                  <a:lnTo>
                    <a:pt x="3404" y="2735"/>
                  </a:lnTo>
                  <a:lnTo>
                    <a:pt x="3394" y="2730"/>
                  </a:lnTo>
                  <a:lnTo>
                    <a:pt x="3387" y="2728"/>
                  </a:lnTo>
                  <a:lnTo>
                    <a:pt x="3379" y="2726"/>
                  </a:lnTo>
                  <a:lnTo>
                    <a:pt x="3371" y="2728"/>
                  </a:lnTo>
                  <a:lnTo>
                    <a:pt x="3363" y="2730"/>
                  </a:lnTo>
                  <a:lnTo>
                    <a:pt x="3356" y="2737"/>
                  </a:lnTo>
                  <a:lnTo>
                    <a:pt x="3342" y="2752"/>
                  </a:lnTo>
                  <a:lnTo>
                    <a:pt x="3330" y="2767"/>
                  </a:lnTo>
                  <a:lnTo>
                    <a:pt x="3328" y="2769"/>
                  </a:lnTo>
                  <a:lnTo>
                    <a:pt x="3325" y="2769"/>
                  </a:lnTo>
                  <a:lnTo>
                    <a:pt x="3324" y="2768"/>
                  </a:lnTo>
                  <a:lnTo>
                    <a:pt x="3322" y="2766"/>
                  </a:lnTo>
                  <a:lnTo>
                    <a:pt x="3320" y="2755"/>
                  </a:lnTo>
                  <a:lnTo>
                    <a:pt x="3319" y="2737"/>
                  </a:lnTo>
                  <a:lnTo>
                    <a:pt x="3319" y="2729"/>
                  </a:lnTo>
                  <a:lnTo>
                    <a:pt x="3317" y="2722"/>
                  </a:lnTo>
                  <a:lnTo>
                    <a:pt x="3316" y="2717"/>
                  </a:lnTo>
                  <a:lnTo>
                    <a:pt x="3315" y="2715"/>
                  </a:lnTo>
                  <a:lnTo>
                    <a:pt x="3312" y="2712"/>
                  </a:lnTo>
                  <a:lnTo>
                    <a:pt x="3309" y="2711"/>
                  </a:lnTo>
                  <a:lnTo>
                    <a:pt x="3307" y="2711"/>
                  </a:lnTo>
                  <a:lnTo>
                    <a:pt x="3303" y="2712"/>
                  </a:lnTo>
                  <a:lnTo>
                    <a:pt x="3295" y="2717"/>
                  </a:lnTo>
                  <a:lnTo>
                    <a:pt x="3286" y="2725"/>
                  </a:lnTo>
                  <a:lnTo>
                    <a:pt x="3277" y="2735"/>
                  </a:lnTo>
                  <a:lnTo>
                    <a:pt x="3266" y="2747"/>
                  </a:lnTo>
                  <a:lnTo>
                    <a:pt x="3244" y="2776"/>
                  </a:lnTo>
                  <a:lnTo>
                    <a:pt x="3223" y="2805"/>
                  </a:lnTo>
                  <a:lnTo>
                    <a:pt x="3213" y="2817"/>
                  </a:lnTo>
                  <a:lnTo>
                    <a:pt x="3203" y="2828"/>
                  </a:lnTo>
                  <a:lnTo>
                    <a:pt x="3194" y="2837"/>
                  </a:lnTo>
                  <a:lnTo>
                    <a:pt x="3188" y="2843"/>
                  </a:lnTo>
                  <a:lnTo>
                    <a:pt x="3182" y="2845"/>
                  </a:lnTo>
                  <a:lnTo>
                    <a:pt x="3177" y="2847"/>
                  </a:lnTo>
                  <a:lnTo>
                    <a:pt x="3172" y="2847"/>
                  </a:lnTo>
                  <a:lnTo>
                    <a:pt x="3165" y="2845"/>
                  </a:lnTo>
                  <a:lnTo>
                    <a:pt x="3152" y="2841"/>
                  </a:lnTo>
                  <a:lnTo>
                    <a:pt x="3139" y="2834"/>
                  </a:lnTo>
                  <a:lnTo>
                    <a:pt x="3124" y="2823"/>
                  </a:lnTo>
                  <a:lnTo>
                    <a:pt x="3109" y="2810"/>
                  </a:lnTo>
                  <a:lnTo>
                    <a:pt x="3095" y="2796"/>
                  </a:lnTo>
                  <a:lnTo>
                    <a:pt x="3079" y="2779"/>
                  </a:lnTo>
                  <a:lnTo>
                    <a:pt x="3066" y="2762"/>
                  </a:lnTo>
                  <a:lnTo>
                    <a:pt x="3053" y="2745"/>
                  </a:lnTo>
                  <a:lnTo>
                    <a:pt x="3041" y="2728"/>
                  </a:lnTo>
                  <a:lnTo>
                    <a:pt x="3031" y="2711"/>
                  </a:lnTo>
                  <a:lnTo>
                    <a:pt x="3022" y="2695"/>
                  </a:lnTo>
                  <a:lnTo>
                    <a:pt x="3015" y="2679"/>
                  </a:lnTo>
                  <a:lnTo>
                    <a:pt x="3011" y="2667"/>
                  </a:lnTo>
                  <a:lnTo>
                    <a:pt x="3011" y="2657"/>
                  </a:lnTo>
                  <a:lnTo>
                    <a:pt x="3011" y="2652"/>
                  </a:lnTo>
                  <a:lnTo>
                    <a:pt x="3012" y="2645"/>
                  </a:lnTo>
                  <a:lnTo>
                    <a:pt x="3015" y="2639"/>
                  </a:lnTo>
                  <a:lnTo>
                    <a:pt x="3018" y="2635"/>
                  </a:lnTo>
                  <a:lnTo>
                    <a:pt x="3020" y="2632"/>
                  </a:lnTo>
                  <a:lnTo>
                    <a:pt x="3020" y="2628"/>
                  </a:lnTo>
                  <a:lnTo>
                    <a:pt x="3022" y="2622"/>
                  </a:lnTo>
                  <a:lnTo>
                    <a:pt x="3020" y="2616"/>
                  </a:lnTo>
                  <a:lnTo>
                    <a:pt x="3020" y="2611"/>
                  </a:lnTo>
                  <a:lnTo>
                    <a:pt x="3020" y="2606"/>
                  </a:lnTo>
                  <a:lnTo>
                    <a:pt x="3022" y="2601"/>
                  </a:lnTo>
                  <a:lnTo>
                    <a:pt x="3024" y="2596"/>
                  </a:lnTo>
                  <a:lnTo>
                    <a:pt x="3029" y="2584"/>
                  </a:lnTo>
                  <a:lnTo>
                    <a:pt x="3037" y="2572"/>
                  </a:lnTo>
                  <a:lnTo>
                    <a:pt x="3052" y="2555"/>
                  </a:lnTo>
                  <a:lnTo>
                    <a:pt x="3058" y="2547"/>
                  </a:lnTo>
                  <a:lnTo>
                    <a:pt x="3061" y="2547"/>
                  </a:lnTo>
                  <a:lnTo>
                    <a:pt x="3079" y="2548"/>
                  </a:lnTo>
                  <a:lnTo>
                    <a:pt x="3095" y="2551"/>
                  </a:lnTo>
                  <a:lnTo>
                    <a:pt x="3105" y="2555"/>
                  </a:lnTo>
                  <a:lnTo>
                    <a:pt x="3113" y="2559"/>
                  </a:lnTo>
                  <a:lnTo>
                    <a:pt x="3120" y="2564"/>
                  </a:lnTo>
                  <a:lnTo>
                    <a:pt x="3126" y="2567"/>
                  </a:lnTo>
                  <a:lnTo>
                    <a:pt x="3133" y="2569"/>
                  </a:lnTo>
                  <a:lnTo>
                    <a:pt x="3143" y="2571"/>
                  </a:lnTo>
                  <a:lnTo>
                    <a:pt x="3145" y="2569"/>
                  </a:lnTo>
                  <a:lnTo>
                    <a:pt x="3146" y="2568"/>
                  </a:lnTo>
                  <a:lnTo>
                    <a:pt x="3150" y="2564"/>
                  </a:lnTo>
                  <a:lnTo>
                    <a:pt x="3155" y="2560"/>
                  </a:lnTo>
                  <a:lnTo>
                    <a:pt x="3155" y="2560"/>
                  </a:lnTo>
                  <a:lnTo>
                    <a:pt x="3156" y="2560"/>
                  </a:lnTo>
                  <a:lnTo>
                    <a:pt x="3163" y="2560"/>
                  </a:lnTo>
                  <a:lnTo>
                    <a:pt x="3167" y="2561"/>
                  </a:lnTo>
                  <a:lnTo>
                    <a:pt x="3169" y="2567"/>
                  </a:lnTo>
                  <a:lnTo>
                    <a:pt x="3173" y="2572"/>
                  </a:lnTo>
                  <a:lnTo>
                    <a:pt x="3175" y="2578"/>
                  </a:lnTo>
                  <a:lnTo>
                    <a:pt x="3180" y="2590"/>
                  </a:lnTo>
                  <a:lnTo>
                    <a:pt x="3186" y="2602"/>
                  </a:lnTo>
                  <a:lnTo>
                    <a:pt x="3196" y="2613"/>
                  </a:lnTo>
                  <a:lnTo>
                    <a:pt x="3203" y="2620"/>
                  </a:lnTo>
                  <a:lnTo>
                    <a:pt x="3206" y="2622"/>
                  </a:lnTo>
                  <a:lnTo>
                    <a:pt x="3210" y="2622"/>
                  </a:lnTo>
                  <a:lnTo>
                    <a:pt x="3211" y="2619"/>
                  </a:lnTo>
                  <a:lnTo>
                    <a:pt x="3213" y="2615"/>
                  </a:lnTo>
                  <a:lnTo>
                    <a:pt x="3218" y="2607"/>
                  </a:lnTo>
                  <a:lnTo>
                    <a:pt x="3227" y="2592"/>
                  </a:lnTo>
                  <a:lnTo>
                    <a:pt x="3234" y="2575"/>
                  </a:lnTo>
                  <a:lnTo>
                    <a:pt x="3237" y="2563"/>
                  </a:lnTo>
                  <a:lnTo>
                    <a:pt x="3237" y="2561"/>
                  </a:lnTo>
                  <a:lnTo>
                    <a:pt x="3237" y="2556"/>
                  </a:lnTo>
                  <a:lnTo>
                    <a:pt x="3239" y="2551"/>
                  </a:lnTo>
                  <a:lnTo>
                    <a:pt x="3241" y="2546"/>
                  </a:lnTo>
                  <a:lnTo>
                    <a:pt x="3245" y="2539"/>
                  </a:lnTo>
                  <a:lnTo>
                    <a:pt x="3253" y="2525"/>
                  </a:lnTo>
                  <a:lnTo>
                    <a:pt x="3265" y="2510"/>
                  </a:lnTo>
                  <a:lnTo>
                    <a:pt x="3277" y="2497"/>
                  </a:lnTo>
                  <a:lnTo>
                    <a:pt x="3291" y="2486"/>
                  </a:lnTo>
                  <a:lnTo>
                    <a:pt x="3298" y="2480"/>
                  </a:lnTo>
                  <a:lnTo>
                    <a:pt x="3304" y="2475"/>
                  </a:lnTo>
                  <a:lnTo>
                    <a:pt x="3312" y="2473"/>
                  </a:lnTo>
                  <a:lnTo>
                    <a:pt x="3319" y="2470"/>
                  </a:lnTo>
                  <a:lnTo>
                    <a:pt x="3324" y="2466"/>
                  </a:lnTo>
                  <a:lnTo>
                    <a:pt x="3328" y="2463"/>
                  </a:lnTo>
                  <a:lnTo>
                    <a:pt x="3329" y="2462"/>
                  </a:lnTo>
                  <a:lnTo>
                    <a:pt x="3332" y="2461"/>
                  </a:lnTo>
                  <a:lnTo>
                    <a:pt x="3339" y="2461"/>
                  </a:lnTo>
                  <a:lnTo>
                    <a:pt x="3346" y="2458"/>
                  </a:lnTo>
                  <a:lnTo>
                    <a:pt x="3353" y="2454"/>
                  </a:lnTo>
                  <a:lnTo>
                    <a:pt x="3356" y="2449"/>
                  </a:lnTo>
                  <a:lnTo>
                    <a:pt x="3360" y="2441"/>
                  </a:lnTo>
                  <a:lnTo>
                    <a:pt x="3363" y="2433"/>
                  </a:lnTo>
                  <a:lnTo>
                    <a:pt x="3366" y="2423"/>
                  </a:lnTo>
                  <a:lnTo>
                    <a:pt x="3366" y="2411"/>
                  </a:lnTo>
                  <a:lnTo>
                    <a:pt x="3366" y="2410"/>
                  </a:lnTo>
                  <a:lnTo>
                    <a:pt x="3364" y="2406"/>
                  </a:lnTo>
                  <a:lnTo>
                    <a:pt x="3362" y="2403"/>
                  </a:lnTo>
                  <a:lnTo>
                    <a:pt x="3356" y="2401"/>
                  </a:lnTo>
                  <a:lnTo>
                    <a:pt x="3353" y="2398"/>
                  </a:lnTo>
                  <a:lnTo>
                    <a:pt x="3349" y="2395"/>
                  </a:lnTo>
                  <a:lnTo>
                    <a:pt x="3345" y="2394"/>
                  </a:lnTo>
                  <a:lnTo>
                    <a:pt x="3330" y="2394"/>
                  </a:lnTo>
                  <a:lnTo>
                    <a:pt x="3326" y="2397"/>
                  </a:lnTo>
                  <a:lnTo>
                    <a:pt x="3324" y="2398"/>
                  </a:lnTo>
                  <a:lnTo>
                    <a:pt x="3320" y="2399"/>
                  </a:lnTo>
                  <a:lnTo>
                    <a:pt x="3316" y="2399"/>
                  </a:lnTo>
                  <a:lnTo>
                    <a:pt x="3298" y="2406"/>
                  </a:lnTo>
                  <a:lnTo>
                    <a:pt x="3278" y="2414"/>
                  </a:lnTo>
                  <a:lnTo>
                    <a:pt x="3271" y="2415"/>
                  </a:lnTo>
                  <a:lnTo>
                    <a:pt x="3262" y="2416"/>
                  </a:lnTo>
                  <a:lnTo>
                    <a:pt x="3254" y="2415"/>
                  </a:lnTo>
                  <a:lnTo>
                    <a:pt x="3248" y="2414"/>
                  </a:lnTo>
                  <a:lnTo>
                    <a:pt x="3236" y="2402"/>
                  </a:lnTo>
                  <a:lnTo>
                    <a:pt x="3228" y="2391"/>
                  </a:lnTo>
                  <a:lnTo>
                    <a:pt x="3228" y="2390"/>
                  </a:lnTo>
                  <a:lnTo>
                    <a:pt x="3228" y="2390"/>
                  </a:lnTo>
                  <a:lnTo>
                    <a:pt x="3227" y="2389"/>
                  </a:lnTo>
                  <a:lnTo>
                    <a:pt x="3227" y="2388"/>
                  </a:lnTo>
                  <a:lnTo>
                    <a:pt x="3223" y="2380"/>
                  </a:lnTo>
                  <a:lnTo>
                    <a:pt x="3214" y="2369"/>
                  </a:lnTo>
                  <a:lnTo>
                    <a:pt x="3203" y="2360"/>
                  </a:lnTo>
                  <a:lnTo>
                    <a:pt x="3194" y="2355"/>
                  </a:lnTo>
                  <a:lnTo>
                    <a:pt x="3192" y="2354"/>
                  </a:lnTo>
                  <a:lnTo>
                    <a:pt x="3190" y="2352"/>
                  </a:lnTo>
                  <a:lnTo>
                    <a:pt x="3177" y="2342"/>
                  </a:lnTo>
                  <a:lnTo>
                    <a:pt x="3163" y="2330"/>
                  </a:lnTo>
                  <a:lnTo>
                    <a:pt x="3159" y="2327"/>
                  </a:lnTo>
                  <a:lnTo>
                    <a:pt x="3152" y="2325"/>
                  </a:lnTo>
                  <a:lnTo>
                    <a:pt x="3143" y="2322"/>
                  </a:lnTo>
                  <a:lnTo>
                    <a:pt x="3135" y="2321"/>
                  </a:lnTo>
                  <a:lnTo>
                    <a:pt x="3133" y="2321"/>
                  </a:lnTo>
                  <a:lnTo>
                    <a:pt x="3126" y="2322"/>
                  </a:lnTo>
                  <a:lnTo>
                    <a:pt x="3117" y="2327"/>
                  </a:lnTo>
                  <a:lnTo>
                    <a:pt x="3107" y="2335"/>
                  </a:lnTo>
                  <a:lnTo>
                    <a:pt x="3097" y="2344"/>
                  </a:lnTo>
                  <a:lnTo>
                    <a:pt x="3079" y="2364"/>
                  </a:lnTo>
                  <a:lnTo>
                    <a:pt x="3067" y="2377"/>
                  </a:lnTo>
                  <a:lnTo>
                    <a:pt x="3065" y="2380"/>
                  </a:lnTo>
                  <a:lnTo>
                    <a:pt x="3062" y="2378"/>
                  </a:lnTo>
                  <a:lnTo>
                    <a:pt x="3060" y="2377"/>
                  </a:lnTo>
                  <a:lnTo>
                    <a:pt x="3058" y="2374"/>
                  </a:lnTo>
                  <a:lnTo>
                    <a:pt x="3053" y="2361"/>
                  </a:lnTo>
                  <a:lnTo>
                    <a:pt x="3045" y="2347"/>
                  </a:lnTo>
                  <a:lnTo>
                    <a:pt x="3040" y="2340"/>
                  </a:lnTo>
                  <a:lnTo>
                    <a:pt x="3037" y="2334"/>
                  </a:lnTo>
                  <a:lnTo>
                    <a:pt x="3033" y="2327"/>
                  </a:lnTo>
                  <a:lnTo>
                    <a:pt x="3032" y="2322"/>
                  </a:lnTo>
                  <a:lnTo>
                    <a:pt x="3026" y="2312"/>
                  </a:lnTo>
                  <a:lnTo>
                    <a:pt x="3016" y="2302"/>
                  </a:lnTo>
                  <a:lnTo>
                    <a:pt x="3012" y="2302"/>
                  </a:lnTo>
                  <a:lnTo>
                    <a:pt x="3010" y="2304"/>
                  </a:lnTo>
                  <a:lnTo>
                    <a:pt x="3009" y="2305"/>
                  </a:lnTo>
                  <a:lnTo>
                    <a:pt x="3009" y="2306"/>
                  </a:lnTo>
                  <a:lnTo>
                    <a:pt x="3007" y="2317"/>
                  </a:lnTo>
                  <a:lnTo>
                    <a:pt x="3005" y="2327"/>
                  </a:lnTo>
                  <a:lnTo>
                    <a:pt x="3002" y="2338"/>
                  </a:lnTo>
                  <a:lnTo>
                    <a:pt x="2999" y="2347"/>
                  </a:lnTo>
                  <a:lnTo>
                    <a:pt x="2997" y="2351"/>
                  </a:lnTo>
                  <a:lnTo>
                    <a:pt x="2994" y="2356"/>
                  </a:lnTo>
                  <a:lnTo>
                    <a:pt x="2992" y="2359"/>
                  </a:lnTo>
                  <a:lnTo>
                    <a:pt x="2989" y="2361"/>
                  </a:lnTo>
                  <a:lnTo>
                    <a:pt x="2985" y="2364"/>
                  </a:lnTo>
                  <a:lnTo>
                    <a:pt x="2981" y="2365"/>
                  </a:lnTo>
                  <a:lnTo>
                    <a:pt x="2965" y="2368"/>
                  </a:lnTo>
                  <a:lnTo>
                    <a:pt x="2952" y="2373"/>
                  </a:lnTo>
                  <a:lnTo>
                    <a:pt x="2950" y="2376"/>
                  </a:lnTo>
                  <a:lnTo>
                    <a:pt x="2947" y="2377"/>
                  </a:lnTo>
                  <a:lnTo>
                    <a:pt x="2946" y="2378"/>
                  </a:lnTo>
                  <a:lnTo>
                    <a:pt x="2943" y="2378"/>
                  </a:lnTo>
                  <a:lnTo>
                    <a:pt x="2939" y="2378"/>
                  </a:lnTo>
                  <a:lnTo>
                    <a:pt x="2935" y="2377"/>
                  </a:lnTo>
                  <a:lnTo>
                    <a:pt x="2933" y="2377"/>
                  </a:lnTo>
                  <a:lnTo>
                    <a:pt x="2933" y="2376"/>
                  </a:lnTo>
                  <a:lnTo>
                    <a:pt x="2933" y="2372"/>
                  </a:lnTo>
                  <a:lnTo>
                    <a:pt x="2931" y="2369"/>
                  </a:lnTo>
                  <a:lnTo>
                    <a:pt x="2933" y="2356"/>
                  </a:lnTo>
                  <a:lnTo>
                    <a:pt x="2939" y="2334"/>
                  </a:lnTo>
                  <a:lnTo>
                    <a:pt x="2946" y="2312"/>
                  </a:lnTo>
                  <a:lnTo>
                    <a:pt x="2950" y="2301"/>
                  </a:lnTo>
                  <a:lnTo>
                    <a:pt x="2952" y="2292"/>
                  </a:lnTo>
                  <a:lnTo>
                    <a:pt x="2956" y="2275"/>
                  </a:lnTo>
                  <a:lnTo>
                    <a:pt x="2960" y="2259"/>
                  </a:lnTo>
                  <a:lnTo>
                    <a:pt x="2961" y="2251"/>
                  </a:lnTo>
                  <a:lnTo>
                    <a:pt x="2967" y="2138"/>
                  </a:lnTo>
                  <a:lnTo>
                    <a:pt x="2967" y="2127"/>
                  </a:lnTo>
                  <a:lnTo>
                    <a:pt x="2965" y="2114"/>
                  </a:lnTo>
                  <a:lnTo>
                    <a:pt x="2963" y="2098"/>
                  </a:lnTo>
                  <a:lnTo>
                    <a:pt x="2959" y="2084"/>
                  </a:lnTo>
                  <a:lnTo>
                    <a:pt x="2955" y="2068"/>
                  </a:lnTo>
                  <a:lnTo>
                    <a:pt x="2950" y="2054"/>
                  </a:lnTo>
                  <a:lnTo>
                    <a:pt x="2943" y="2042"/>
                  </a:lnTo>
                  <a:lnTo>
                    <a:pt x="2937" y="2033"/>
                  </a:lnTo>
                  <a:lnTo>
                    <a:pt x="2935" y="2030"/>
                  </a:lnTo>
                  <a:lnTo>
                    <a:pt x="2934" y="2028"/>
                  </a:lnTo>
                  <a:lnTo>
                    <a:pt x="2933" y="2025"/>
                  </a:lnTo>
                  <a:lnTo>
                    <a:pt x="2934" y="2023"/>
                  </a:lnTo>
                  <a:lnTo>
                    <a:pt x="2935" y="2017"/>
                  </a:lnTo>
                  <a:lnTo>
                    <a:pt x="2939" y="2011"/>
                  </a:lnTo>
                  <a:lnTo>
                    <a:pt x="2947" y="1999"/>
                  </a:lnTo>
                  <a:lnTo>
                    <a:pt x="2951" y="1987"/>
                  </a:lnTo>
                  <a:lnTo>
                    <a:pt x="2952" y="1986"/>
                  </a:lnTo>
                  <a:lnTo>
                    <a:pt x="2954" y="1986"/>
                  </a:lnTo>
                  <a:lnTo>
                    <a:pt x="2955" y="1982"/>
                  </a:lnTo>
                  <a:lnTo>
                    <a:pt x="2956" y="1978"/>
                  </a:lnTo>
                  <a:lnTo>
                    <a:pt x="2956" y="1977"/>
                  </a:lnTo>
                  <a:lnTo>
                    <a:pt x="2958" y="1975"/>
                  </a:lnTo>
                  <a:lnTo>
                    <a:pt x="2958" y="1974"/>
                  </a:lnTo>
                  <a:lnTo>
                    <a:pt x="2958" y="1973"/>
                  </a:lnTo>
                  <a:lnTo>
                    <a:pt x="2959" y="1972"/>
                  </a:lnTo>
                  <a:lnTo>
                    <a:pt x="2959" y="1970"/>
                  </a:lnTo>
                  <a:lnTo>
                    <a:pt x="2959" y="1969"/>
                  </a:lnTo>
                  <a:lnTo>
                    <a:pt x="2959" y="1966"/>
                  </a:lnTo>
                  <a:lnTo>
                    <a:pt x="2960" y="1964"/>
                  </a:lnTo>
                  <a:lnTo>
                    <a:pt x="2959" y="1960"/>
                  </a:lnTo>
                  <a:lnTo>
                    <a:pt x="2958" y="1957"/>
                  </a:lnTo>
                  <a:lnTo>
                    <a:pt x="2958" y="1955"/>
                  </a:lnTo>
                  <a:lnTo>
                    <a:pt x="2954" y="1952"/>
                  </a:lnTo>
                  <a:lnTo>
                    <a:pt x="2951" y="1948"/>
                  </a:lnTo>
                  <a:lnTo>
                    <a:pt x="2951" y="1945"/>
                  </a:lnTo>
                  <a:lnTo>
                    <a:pt x="2952" y="1944"/>
                  </a:lnTo>
                  <a:lnTo>
                    <a:pt x="2954" y="1941"/>
                  </a:lnTo>
                  <a:lnTo>
                    <a:pt x="2955" y="1940"/>
                  </a:lnTo>
                  <a:lnTo>
                    <a:pt x="2960" y="1936"/>
                  </a:lnTo>
                  <a:lnTo>
                    <a:pt x="2963" y="1934"/>
                  </a:lnTo>
                  <a:lnTo>
                    <a:pt x="2967" y="1931"/>
                  </a:lnTo>
                  <a:lnTo>
                    <a:pt x="2971" y="1928"/>
                  </a:lnTo>
                  <a:lnTo>
                    <a:pt x="2973" y="1928"/>
                  </a:lnTo>
                  <a:lnTo>
                    <a:pt x="2976" y="1930"/>
                  </a:lnTo>
                  <a:lnTo>
                    <a:pt x="2984" y="1932"/>
                  </a:lnTo>
                  <a:lnTo>
                    <a:pt x="2992" y="1936"/>
                  </a:lnTo>
                  <a:lnTo>
                    <a:pt x="2993" y="1938"/>
                  </a:lnTo>
                  <a:lnTo>
                    <a:pt x="2994" y="1939"/>
                  </a:lnTo>
                  <a:lnTo>
                    <a:pt x="2997" y="1939"/>
                  </a:lnTo>
                  <a:lnTo>
                    <a:pt x="2998" y="1940"/>
                  </a:lnTo>
                  <a:lnTo>
                    <a:pt x="3001" y="1943"/>
                  </a:lnTo>
                  <a:lnTo>
                    <a:pt x="3005" y="1943"/>
                  </a:lnTo>
                  <a:lnTo>
                    <a:pt x="3007" y="1944"/>
                  </a:lnTo>
                  <a:lnTo>
                    <a:pt x="3011" y="1945"/>
                  </a:lnTo>
                  <a:lnTo>
                    <a:pt x="3018" y="1947"/>
                  </a:lnTo>
                  <a:lnTo>
                    <a:pt x="3023" y="1947"/>
                  </a:lnTo>
                  <a:lnTo>
                    <a:pt x="3027" y="1945"/>
                  </a:lnTo>
                  <a:lnTo>
                    <a:pt x="3027" y="1945"/>
                  </a:lnTo>
                  <a:lnTo>
                    <a:pt x="3028" y="1945"/>
                  </a:lnTo>
                  <a:lnTo>
                    <a:pt x="3032" y="1944"/>
                  </a:lnTo>
                  <a:lnTo>
                    <a:pt x="3035" y="1940"/>
                  </a:lnTo>
                  <a:lnTo>
                    <a:pt x="3039" y="1938"/>
                  </a:lnTo>
                  <a:lnTo>
                    <a:pt x="3041" y="1932"/>
                  </a:lnTo>
                  <a:lnTo>
                    <a:pt x="3046" y="1924"/>
                  </a:lnTo>
                  <a:lnTo>
                    <a:pt x="3052" y="1919"/>
                  </a:lnTo>
                  <a:lnTo>
                    <a:pt x="3054" y="1905"/>
                  </a:lnTo>
                  <a:lnTo>
                    <a:pt x="3054" y="1893"/>
                  </a:lnTo>
                  <a:lnTo>
                    <a:pt x="3056" y="1888"/>
                  </a:lnTo>
                  <a:lnTo>
                    <a:pt x="3058" y="1883"/>
                  </a:lnTo>
                  <a:lnTo>
                    <a:pt x="3061" y="1879"/>
                  </a:lnTo>
                  <a:lnTo>
                    <a:pt x="3063" y="1876"/>
                  </a:lnTo>
                  <a:lnTo>
                    <a:pt x="3070" y="1871"/>
                  </a:lnTo>
                  <a:lnTo>
                    <a:pt x="3075" y="1870"/>
                  </a:lnTo>
                  <a:lnTo>
                    <a:pt x="3130" y="1870"/>
                  </a:lnTo>
                  <a:lnTo>
                    <a:pt x="3138" y="1876"/>
                  </a:lnTo>
                  <a:lnTo>
                    <a:pt x="3147" y="1883"/>
                  </a:lnTo>
                  <a:lnTo>
                    <a:pt x="3148" y="1883"/>
                  </a:lnTo>
                  <a:lnTo>
                    <a:pt x="3154" y="1888"/>
                  </a:lnTo>
                  <a:lnTo>
                    <a:pt x="3160" y="1893"/>
                  </a:lnTo>
                  <a:lnTo>
                    <a:pt x="3162" y="1893"/>
                  </a:lnTo>
                  <a:lnTo>
                    <a:pt x="3171" y="1890"/>
                  </a:lnTo>
                  <a:lnTo>
                    <a:pt x="3180" y="1887"/>
                  </a:lnTo>
                  <a:lnTo>
                    <a:pt x="3188" y="1881"/>
                  </a:lnTo>
                  <a:lnTo>
                    <a:pt x="3192" y="1880"/>
                  </a:lnTo>
                  <a:lnTo>
                    <a:pt x="3193" y="1880"/>
                  </a:lnTo>
                  <a:lnTo>
                    <a:pt x="3194" y="1880"/>
                  </a:lnTo>
                  <a:lnTo>
                    <a:pt x="3194" y="1879"/>
                  </a:lnTo>
                  <a:lnTo>
                    <a:pt x="3196" y="1877"/>
                  </a:lnTo>
                  <a:lnTo>
                    <a:pt x="3196" y="1877"/>
                  </a:lnTo>
                  <a:lnTo>
                    <a:pt x="3214" y="1879"/>
                  </a:lnTo>
                  <a:lnTo>
                    <a:pt x="3217" y="1873"/>
                  </a:lnTo>
                  <a:lnTo>
                    <a:pt x="3222" y="1860"/>
                  </a:lnTo>
                  <a:lnTo>
                    <a:pt x="3223" y="1854"/>
                  </a:lnTo>
                  <a:lnTo>
                    <a:pt x="3224" y="1847"/>
                  </a:lnTo>
                  <a:lnTo>
                    <a:pt x="3223" y="1842"/>
                  </a:lnTo>
                  <a:lnTo>
                    <a:pt x="3220" y="1839"/>
                  </a:lnTo>
                  <a:lnTo>
                    <a:pt x="3219" y="1834"/>
                  </a:lnTo>
                  <a:lnTo>
                    <a:pt x="3220" y="1829"/>
                  </a:lnTo>
                  <a:lnTo>
                    <a:pt x="3223" y="1821"/>
                  </a:lnTo>
                  <a:lnTo>
                    <a:pt x="3224" y="1815"/>
                  </a:lnTo>
                  <a:lnTo>
                    <a:pt x="3226" y="1813"/>
                  </a:lnTo>
                  <a:lnTo>
                    <a:pt x="3226" y="1812"/>
                  </a:lnTo>
                  <a:lnTo>
                    <a:pt x="3231" y="1807"/>
                  </a:lnTo>
                  <a:lnTo>
                    <a:pt x="3235" y="1801"/>
                  </a:lnTo>
                  <a:lnTo>
                    <a:pt x="3235" y="1798"/>
                  </a:lnTo>
                  <a:lnTo>
                    <a:pt x="3235" y="1794"/>
                  </a:lnTo>
                  <a:lnTo>
                    <a:pt x="3235" y="1792"/>
                  </a:lnTo>
                  <a:lnTo>
                    <a:pt x="3235" y="1791"/>
                  </a:lnTo>
                  <a:lnTo>
                    <a:pt x="3234" y="1791"/>
                  </a:lnTo>
                  <a:lnTo>
                    <a:pt x="3226" y="1788"/>
                  </a:lnTo>
                  <a:lnTo>
                    <a:pt x="3217" y="1786"/>
                  </a:lnTo>
                  <a:lnTo>
                    <a:pt x="3213" y="1783"/>
                  </a:lnTo>
                  <a:lnTo>
                    <a:pt x="3210" y="1779"/>
                  </a:lnTo>
                  <a:lnTo>
                    <a:pt x="3207" y="1777"/>
                  </a:lnTo>
                  <a:lnTo>
                    <a:pt x="3206" y="1771"/>
                  </a:lnTo>
                  <a:lnTo>
                    <a:pt x="3203" y="1762"/>
                  </a:lnTo>
                  <a:lnTo>
                    <a:pt x="3203" y="1754"/>
                  </a:lnTo>
                  <a:lnTo>
                    <a:pt x="3205" y="1752"/>
                  </a:lnTo>
                  <a:lnTo>
                    <a:pt x="3205" y="1749"/>
                  </a:lnTo>
                  <a:lnTo>
                    <a:pt x="3205" y="1745"/>
                  </a:lnTo>
                  <a:lnTo>
                    <a:pt x="3205" y="1743"/>
                  </a:lnTo>
                  <a:lnTo>
                    <a:pt x="3207" y="1743"/>
                  </a:lnTo>
                  <a:lnTo>
                    <a:pt x="3207" y="1741"/>
                  </a:lnTo>
                  <a:lnTo>
                    <a:pt x="3210" y="1735"/>
                  </a:lnTo>
                  <a:lnTo>
                    <a:pt x="3215" y="1728"/>
                  </a:lnTo>
                  <a:lnTo>
                    <a:pt x="3224" y="1722"/>
                  </a:lnTo>
                  <a:lnTo>
                    <a:pt x="3230" y="1722"/>
                  </a:lnTo>
                  <a:lnTo>
                    <a:pt x="3235" y="1726"/>
                  </a:lnTo>
                  <a:lnTo>
                    <a:pt x="3240" y="1728"/>
                  </a:lnTo>
                  <a:lnTo>
                    <a:pt x="3247" y="1731"/>
                  </a:lnTo>
                  <a:lnTo>
                    <a:pt x="3251" y="1732"/>
                  </a:lnTo>
                  <a:lnTo>
                    <a:pt x="3253" y="1733"/>
                  </a:lnTo>
                  <a:lnTo>
                    <a:pt x="3257" y="1732"/>
                  </a:lnTo>
                  <a:lnTo>
                    <a:pt x="3260" y="1731"/>
                  </a:lnTo>
                  <a:lnTo>
                    <a:pt x="3271" y="1716"/>
                  </a:lnTo>
                  <a:lnTo>
                    <a:pt x="3283" y="1705"/>
                  </a:lnTo>
                  <a:lnTo>
                    <a:pt x="3295" y="1701"/>
                  </a:lnTo>
                  <a:lnTo>
                    <a:pt x="3307" y="1693"/>
                  </a:lnTo>
                  <a:lnTo>
                    <a:pt x="3312" y="1689"/>
                  </a:lnTo>
                  <a:lnTo>
                    <a:pt x="3316" y="1685"/>
                  </a:lnTo>
                  <a:lnTo>
                    <a:pt x="3320" y="1681"/>
                  </a:lnTo>
                  <a:lnTo>
                    <a:pt x="3320" y="1679"/>
                  </a:lnTo>
                  <a:lnTo>
                    <a:pt x="3320" y="1676"/>
                  </a:lnTo>
                  <a:lnTo>
                    <a:pt x="3321" y="1673"/>
                  </a:lnTo>
                  <a:lnTo>
                    <a:pt x="3324" y="1669"/>
                  </a:lnTo>
                  <a:lnTo>
                    <a:pt x="3326" y="1663"/>
                  </a:lnTo>
                  <a:lnTo>
                    <a:pt x="3328" y="1655"/>
                  </a:lnTo>
                  <a:lnTo>
                    <a:pt x="3329" y="1648"/>
                  </a:lnTo>
                  <a:lnTo>
                    <a:pt x="3329" y="1641"/>
                  </a:lnTo>
                  <a:lnTo>
                    <a:pt x="3330" y="1635"/>
                  </a:lnTo>
                  <a:lnTo>
                    <a:pt x="3332" y="1629"/>
                  </a:lnTo>
                  <a:lnTo>
                    <a:pt x="3343" y="1604"/>
                  </a:lnTo>
                  <a:lnTo>
                    <a:pt x="3355" y="1587"/>
                  </a:lnTo>
                  <a:lnTo>
                    <a:pt x="3367" y="1570"/>
                  </a:lnTo>
                  <a:lnTo>
                    <a:pt x="3380" y="1550"/>
                  </a:lnTo>
                  <a:lnTo>
                    <a:pt x="3388" y="1539"/>
                  </a:lnTo>
                  <a:lnTo>
                    <a:pt x="3398" y="1531"/>
                  </a:lnTo>
                  <a:lnTo>
                    <a:pt x="3409" y="1524"/>
                  </a:lnTo>
                  <a:lnTo>
                    <a:pt x="3419" y="1518"/>
                  </a:lnTo>
                  <a:lnTo>
                    <a:pt x="3430" y="1511"/>
                  </a:lnTo>
                  <a:lnTo>
                    <a:pt x="3441" y="1506"/>
                  </a:lnTo>
                  <a:lnTo>
                    <a:pt x="3451" y="1498"/>
                  </a:lnTo>
                  <a:lnTo>
                    <a:pt x="3460" y="1490"/>
                  </a:lnTo>
                  <a:lnTo>
                    <a:pt x="3474" y="1472"/>
                  </a:lnTo>
                  <a:lnTo>
                    <a:pt x="3487" y="1454"/>
                  </a:lnTo>
                  <a:lnTo>
                    <a:pt x="3492" y="1444"/>
                  </a:lnTo>
                  <a:lnTo>
                    <a:pt x="3496" y="1434"/>
                  </a:lnTo>
                  <a:lnTo>
                    <a:pt x="3500" y="1425"/>
                  </a:lnTo>
                  <a:lnTo>
                    <a:pt x="3503" y="1416"/>
                  </a:lnTo>
                  <a:lnTo>
                    <a:pt x="3506" y="1405"/>
                  </a:lnTo>
                  <a:lnTo>
                    <a:pt x="3507" y="1395"/>
                  </a:lnTo>
                  <a:lnTo>
                    <a:pt x="3507" y="1384"/>
                  </a:lnTo>
                  <a:lnTo>
                    <a:pt x="3506" y="1375"/>
                  </a:lnTo>
                  <a:lnTo>
                    <a:pt x="3504" y="1365"/>
                  </a:lnTo>
                  <a:lnTo>
                    <a:pt x="3500" y="1354"/>
                  </a:lnTo>
                  <a:lnTo>
                    <a:pt x="3496" y="1344"/>
                  </a:lnTo>
                  <a:lnTo>
                    <a:pt x="3490" y="1333"/>
                  </a:lnTo>
                  <a:lnTo>
                    <a:pt x="3487" y="1331"/>
                  </a:lnTo>
                  <a:lnTo>
                    <a:pt x="3483" y="1328"/>
                  </a:lnTo>
                  <a:lnTo>
                    <a:pt x="3479" y="1327"/>
                  </a:lnTo>
                  <a:lnTo>
                    <a:pt x="3473" y="1325"/>
                  </a:lnTo>
                  <a:lnTo>
                    <a:pt x="3461" y="1325"/>
                  </a:lnTo>
                  <a:lnTo>
                    <a:pt x="3445" y="1327"/>
                  </a:lnTo>
                  <a:lnTo>
                    <a:pt x="3431" y="1327"/>
                  </a:lnTo>
                  <a:lnTo>
                    <a:pt x="3415" y="1327"/>
                  </a:lnTo>
                  <a:lnTo>
                    <a:pt x="3409" y="1325"/>
                  </a:lnTo>
                  <a:lnTo>
                    <a:pt x="3402" y="1323"/>
                  </a:lnTo>
                  <a:lnTo>
                    <a:pt x="3397" y="1320"/>
                  </a:lnTo>
                  <a:lnTo>
                    <a:pt x="3392" y="1316"/>
                  </a:lnTo>
                  <a:lnTo>
                    <a:pt x="3390" y="1312"/>
                  </a:lnTo>
                  <a:lnTo>
                    <a:pt x="3390" y="1308"/>
                  </a:lnTo>
                  <a:lnTo>
                    <a:pt x="3393" y="1302"/>
                  </a:lnTo>
                  <a:lnTo>
                    <a:pt x="3397" y="1295"/>
                  </a:lnTo>
                  <a:lnTo>
                    <a:pt x="3409" y="1280"/>
                  </a:lnTo>
                  <a:lnTo>
                    <a:pt x="3424" y="1264"/>
                  </a:lnTo>
                  <a:lnTo>
                    <a:pt x="3441" y="1248"/>
                  </a:lnTo>
                  <a:lnTo>
                    <a:pt x="3458" y="1234"/>
                  </a:lnTo>
                  <a:lnTo>
                    <a:pt x="3466" y="1229"/>
                  </a:lnTo>
                  <a:lnTo>
                    <a:pt x="3473" y="1225"/>
                  </a:lnTo>
                  <a:lnTo>
                    <a:pt x="3479" y="1222"/>
                  </a:lnTo>
                  <a:lnTo>
                    <a:pt x="3485" y="1222"/>
                  </a:lnTo>
                  <a:lnTo>
                    <a:pt x="3486" y="1222"/>
                  </a:lnTo>
                  <a:lnTo>
                    <a:pt x="3489" y="1221"/>
                  </a:lnTo>
                  <a:lnTo>
                    <a:pt x="3490" y="1217"/>
                  </a:lnTo>
                  <a:lnTo>
                    <a:pt x="3490" y="1212"/>
                  </a:lnTo>
                  <a:lnTo>
                    <a:pt x="3491" y="1208"/>
                  </a:lnTo>
                  <a:lnTo>
                    <a:pt x="3492" y="1202"/>
                  </a:lnTo>
                  <a:lnTo>
                    <a:pt x="3492" y="1197"/>
                  </a:lnTo>
                  <a:lnTo>
                    <a:pt x="3494" y="1191"/>
                  </a:lnTo>
                  <a:lnTo>
                    <a:pt x="3495" y="1184"/>
                  </a:lnTo>
                  <a:lnTo>
                    <a:pt x="3498" y="1179"/>
                  </a:lnTo>
                  <a:lnTo>
                    <a:pt x="3500" y="1175"/>
                  </a:lnTo>
                  <a:lnTo>
                    <a:pt x="3507" y="1167"/>
                  </a:lnTo>
                  <a:lnTo>
                    <a:pt x="3513" y="1159"/>
                  </a:lnTo>
                  <a:lnTo>
                    <a:pt x="3520" y="1155"/>
                  </a:lnTo>
                  <a:lnTo>
                    <a:pt x="3528" y="1151"/>
                  </a:lnTo>
                  <a:lnTo>
                    <a:pt x="3540" y="1146"/>
                  </a:lnTo>
                  <a:lnTo>
                    <a:pt x="3550" y="1140"/>
                  </a:lnTo>
                  <a:lnTo>
                    <a:pt x="3559" y="1134"/>
                  </a:lnTo>
                  <a:lnTo>
                    <a:pt x="3566" y="1128"/>
                  </a:lnTo>
                  <a:lnTo>
                    <a:pt x="3571" y="1120"/>
                  </a:lnTo>
                  <a:lnTo>
                    <a:pt x="3575" y="1113"/>
                  </a:lnTo>
                  <a:lnTo>
                    <a:pt x="3578" y="1106"/>
                  </a:lnTo>
                  <a:lnTo>
                    <a:pt x="3580" y="1098"/>
                  </a:lnTo>
                  <a:lnTo>
                    <a:pt x="3583" y="1090"/>
                  </a:lnTo>
                  <a:lnTo>
                    <a:pt x="3587" y="1076"/>
                  </a:lnTo>
                  <a:lnTo>
                    <a:pt x="3591" y="1062"/>
                  </a:lnTo>
                  <a:lnTo>
                    <a:pt x="3595" y="1057"/>
                  </a:lnTo>
                  <a:lnTo>
                    <a:pt x="3598" y="1052"/>
                  </a:lnTo>
                  <a:lnTo>
                    <a:pt x="3605" y="1047"/>
                  </a:lnTo>
                  <a:lnTo>
                    <a:pt x="3612" y="1044"/>
                  </a:lnTo>
                  <a:lnTo>
                    <a:pt x="3613" y="1040"/>
                  </a:lnTo>
                  <a:lnTo>
                    <a:pt x="3613" y="1036"/>
                  </a:lnTo>
                  <a:lnTo>
                    <a:pt x="3613" y="1034"/>
                  </a:lnTo>
                  <a:lnTo>
                    <a:pt x="3609" y="1021"/>
                  </a:lnTo>
                  <a:lnTo>
                    <a:pt x="3601" y="1004"/>
                  </a:lnTo>
                  <a:lnTo>
                    <a:pt x="3597" y="993"/>
                  </a:lnTo>
                  <a:lnTo>
                    <a:pt x="3593" y="985"/>
                  </a:lnTo>
                  <a:lnTo>
                    <a:pt x="3591" y="976"/>
                  </a:lnTo>
                  <a:lnTo>
                    <a:pt x="3589" y="968"/>
                  </a:lnTo>
                  <a:lnTo>
                    <a:pt x="3589" y="966"/>
                  </a:lnTo>
                  <a:lnTo>
                    <a:pt x="3591" y="963"/>
                  </a:lnTo>
                  <a:lnTo>
                    <a:pt x="3592" y="960"/>
                  </a:lnTo>
                  <a:lnTo>
                    <a:pt x="3595" y="956"/>
                  </a:lnTo>
                  <a:lnTo>
                    <a:pt x="3595" y="954"/>
                  </a:lnTo>
                  <a:lnTo>
                    <a:pt x="3601" y="934"/>
                  </a:lnTo>
                  <a:lnTo>
                    <a:pt x="3609" y="916"/>
                  </a:lnTo>
                  <a:lnTo>
                    <a:pt x="3614" y="904"/>
                  </a:lnTo>
                  <a:lnTo>
                    <a:pt x="3618" y="894"/>
                  </a:lnTo>
                  <a:lnTo>
                    <a:pt x="3619" y="891"/>
                  </a:lnTo>
                  <a:lnTo>
                    <a:pt x="3622" y="890"/>
                  </a:lnTo>
                  <a:lnTo>
                    <a:pt x="3626" y="890"/>
                  </a:lnTo>
                  <a:lnTo>
                    <a:pt x="3630" y="891"/>
                  </a:lnTo>
                  <a:lnTo>
                    <a:pt x="3631" y="892"/>
                  </a:lnTo>
                  <a:lnTo>
                    <a:pt x="3632" y="894"/>
                  </a:lnTo>
                  <a:lnTo>
                    <a:pt x="3649" y="904"/>
                  </a:lnTo>
                  <a:lnTo>
                    <a:pt x="3665" y="915"/>
                  </a:lnTo>
                  <a:lnTo>
                    <a:pt x="3668" y="916"/>
                  </a:lnTo>
                  <a:lnTo>
                    <a:pt x="3670" y="917"/>
                  </a:lnTo>
                  <a:lnTo>
                    <a:pt x="3673" y="920"/>
                  </a:lnTo>
                  <a:lnTo>
                    <a:pt x="3677" y="922"/>
                  </a:lnTo>
                  <a:lnTo>
                    <a:pt x="3685" y="925"/>
                  </a:lnTo>
                  <a:lnTo>
                    <a:pt x="3694" y="925"/>
                  </a:lnTo>
                  <a:lnTo>
                    <a:pt x="3699" y="920"/>
                  </a:lnTo>
                  <a:lnTo>
                    <a:pt x="3704" y="913"/>
                  </a:lnTo>
                  <a:lnTo>
                    <a:pt x="3708" y="903"/>
                  </a:lnTo>
                  <a:lnTo>
                    <a:pt x="3714" y="892"/>
                  </a:lnTo>
                  <a:lnTo>
                    <a:pt x="3715" y="891"/>
                  </a:lnTo>
                  <a:lnTo>
                    <a:pt x="3717" y="890"/>
                  </a:lnTo>
                  <a:lnTo>
                    <a:pt x="3717" y="888"/>
                  </a:lnTo>
                  <a:lnTo>
                    <a:pt x="3719" y="881"/>
                  </a:lnTo>
                  <a:lnTo>
                    <a:pt x="3724" y="870"/>
                  </a:lnTo>
                  <a:lnTo>
                    <a:pt x="3725" y="866"/>
                  </a:lnTo>
                  <a:lnTo>
                    <a:pt x="3727" y="862"/>
                  </a:lnTo>
                  <a:lnTo>
                    <a:pt x="3727" y="858"/>
                  </a:lnTo>
                  <a:lnTo>
                    <a:pt x="3725" y="858"/>
                  </a:lnTo>
                  <a:lnTo>
                    <a:pt x="3724" y="858"/>
                  </a:lnTo>
                  <a:lnTo>
                    <a:pt x="3724" y="856"/>
                  </a:lnTo>
                  <a:lnTo>
                    <a:pt x="3723" y="856"/>
                  </a:lnTo>
                  <a:lnTo>
                    <a:pt x="3719" y="854"/>
                  </a:lnTo>
                  <a:lnTo>
                    <a:pt x="3716" y="851"/>
                  </a:lnTo>
                  <a:lnTo>
                    <a:pt x="3712" y="848"/>
                  </a:lnTo>
                  <a:lnTo>
                    <a:pt x="3704" y="843"/>
                  </a:lnTo>
                  <a:lnTo>
                    <a:pt x="3698" y="837"/>
                  </a:lnTo>
                  <a:lnTo>
                    <a:pt x="3697" y="836"/>
                  </a:lnTo>
                  <a:lnTo>
                    <a:pt x="3695" y="835"/>
                  </a:lnTo>
                  <a:lnTo>
                    <a:pt x="3694" y="830"/>
                  </a:lnTo>
                  <a:lnTo>
                    <a:pt x="3694" y="824"/>
                  </a:lnTo>
                  <a:lnTo>
                    <a:pt x="3693" y="820"/>
                  </a:lnTo>
                  <a:lnTo>
                    <a:pt x="3694" y="815"/>
                  </a:lnTo>
                  <a:lnTo>
                    <a:pt x="3697" y="810"/>
                  </a:lnTo>
                  <a:lnTo>
                    <a:pt x="3698" y="805"/>
                  </a:lnTo>
                  <a:lnTo>
                    <a:pt x="3706" y="786"/>
                  </a:lnTo>
                  <a:lnTo>
                    <a:pt x="3712" y="771"/>
                  </a:lnTo>
                  <a:lnTo>
                    <a:pt x="3712" y="768"/>
                  </a:lnTo>
                  <a:lnTo>
                    <a:pt x="3712" y="762"/>
                  </a:lnTo>
                  <a:lnTo>
                    <a:pt x="3712" y="759"/>
                  </a:lnTo>
                  <a:lnTo>
                    <a:pt x="3704" y="759"/>
                  </a:lnTo>
                  <a:lnTo>
                    <a:pt x="3697" y="760"/>
                  </a:lnTo>
                  <a:lnTo>
                    <a:pt x="3690" y="763"/>
                  </a:lnTo>
                  <a:lnTo>
                    <a:pt x="3683" y="766"/>
                  </a:lnTo>
                  <a:lnTo>
                    <a:pt x="3678" y="768"/>
                  </a:lnTo>
                  <a:lnTo>
                    <a:pt x="3674" y="771"/>
                  </a:lnTo>
                  <a:lnTo>
                    <a:pt x="3669" y="773"/>
                  </a:lnTo>
                  <a:lnTo>
                    <a:pt x="3663" y="773"/>
                  </a:lnTo>
                  <a:lnTo>
                    <a:pt x="3659" y="771"/>
                  </a:lnTo>
                  <a:lnTo>
                    <a:pt x="3656" y="768"/>
                  </a:lnTo>
                  <a:lnTo>
                    <a:pt x="3653" y="764"/>
                  </a:lnTo>
                  <a:lnTo>
                    <a:pt x="3652" y="760"/>
                  </a:lnTo>
                  <a:lnTo>
                    <a:pt x="3652" y="756"/>
                  </a:lnTo>
                  <a:lnTo>
                    <a:pt x="3651" y="752"/>
                  </a:lnTo>
                  <a:lnTo>
                    <a:pt x="3652" y="748"/>
                  </a:lnTo>
                  <a:lnTo>
                    <a:pt x="3653" y="745"/>
                  </a:lnTo>
                  <a:lnTo>
                    <a:pt x="3659" y="733"/>
                  </a:lnTo>
                  <a:lnTo>
                    <a:pt x="3664" y="716"/>
                  </a:lnTo>
                  <a:lnTo>
                    <a:pt x="3669" y="694"/>
                  </a:lnTo>
                  <a:lnTo>
                    <a:pt x="3676" y="670"/>
                  </a:lnTo>
                  <a:lnTo>
                    <a:pt x="3682" y="648"/>
                  </a:lnTo>
                  <a:lnTo>
                    <a:pt x="3687" y="627"/>
                  </a:lnTo>
                  <a:lnTo>
                    <a:pt x="3693" y="612"/>
                  </a:lnTo>
                  <a:lnTo>
                    <a:pt x="3697" y="606"/>
                  </a:lnTo>
                  <a:lnTo>
                    <a:pt x="3698" y="605"/>
                  </a:lnTo>
                  <a:lnTo>
                    <a:pt x="3697" y="602"/>
                  </a:lnTo>
                  <a:lnTo>
                    <a:pt x="3695" y="601"/>
                  </a:lnTo>
                  <a:lnTo>
                    <a:pt x="3694" y="599"/>
                  </a:lnTo>
                  <a:lnTo>
                    <a:pt x="3690" y="597"/>
                  </a:lnTo>
                  <a:lnTo>
                    <a:pt x="3687" y="593"/>
                  </a:lnTo>
                  <a:lnTo>
                    <a:pt x="3686" y="592"/>
                  </a:lnTo>
                  <a:lnTo>
                    <a:pt x="3685" y="590"/>
                  </a:lnTo>
                  <a:lnTo>
                    <a:pt x="3683" y="589"/>
                  </a:lnTo>
                  <a:lnTo>
                    <a:pt x="3681" y="586"/>
                  </a:lnTo>
                  <a:lnTo>
                    <a:pt x="3680" y="585"/>
                  </a:lnTo>
                  <a:lnTo>
                    <a:pt x="3678" y="584"/>
                  </a:lnTo>
                  <a:lnTo>
                    <a:pt x="3676" y="582"/>
                  </a:lnTo>
                  <a:lnTo>
                    <a:pt x="3673" y="581"/>
                  </a:lnTo>
                  <a:lnTo>
                    <a:pt x="3670" y="578"/>
                  </a:lnTo>
                  <a:lnTo>
                    <a:pt x="3669" y="576"/>
                  </a:lnTo>
                  <a:lnTo>
                    <a:pt x="3668" y="575"/>
                  </a:lnTo>
                  <a:lnTo>
                    <a:pt x="3668" y="573"/>
                  </a:lnTo>
                  <a:lnTo>
                    <a:pt x="3666" y="572"/>
                  </a:lnTo>
                  <a:lnTo>
                    <a:pt x="3666" y="571"/>
                  </a:lnTo>
                  <a:lnTo>
                    <a:pt x="3664" y="569"/>
                  </a:lnTo>
                  <a:lnTo>
                    <a:pt x="3663" y="568"/>
                  </a:lnTo>
                  <a:lnTo>
                    <a:pt x="3663" y="568"/>
                  </a:lnTo>
                  <a:lnTo>
                    <a:pt x="3661" y="567"/>
                  </a:lnTo>
                  <a:lnTo>
                    <a:pt x="3660" y="564"/>
                  </a:lnTo>
                  <a:lnTo>
                    <a:pt x="3659" y="561"/>
                  </a:lnTo>
                  <a:lnTo>
                    <a:pt x="3657" y="560"/>
                  </a:lnTo>
                  <a:lnTo>
                    <a:pt x="3655" y="559"/>
                  </a:lnTo>
                  <a:lnTo>
                    <a:pt x="3653" y="558"/>
                  </a:lnTo>
                  <a:lnTo>
                    <a:pt x="3652" y="556"/>
                  </a:lnTo>
                  <a:lnTo>
                    <a:pt x="3651" y="554"/>
                  </a:lnTo>
                  <a:lnTo>
                    <a:pt x="3648" y="550"/>
                  </a:lnTo>
                  <a:lnTo>
                    <a:pt x="3648" y="550"/>
                  </a:lnTo>
                  <a:lnTo>
                    <a:pt x="3647" y="550"/>
                  </a:lnTo>
                  <a:lnTo>
                    <a:pt x="3646" y="548"/>
                  </a:lnTo>
                  <a:lnTo>
                    <a:pt x="3644" y="547"/>
                  </a:lnTo>
                  <a:lnTo>
                    <a:pt x="3644" y="546"/>
                  </a:lnTo>
                  <a:lnTo>
                    <a:pt x="3643" y="544"/>
                  </a:lnTo>
                  <a:lnTo>
                    <a:pt x="3643" y="544"/>
                  </a:lnTo>
                  <a:lnTo>
                    <a:pt x="3642" y="543"/>
                  </a:lnTo>
                  <a:lnTo>
                    <a:pt x="3639" y="542"/>
                  </a:lnTo>
                  <a:lnTo>
                    <a:pt x="3634" y="542"/>
                  </a:lnTo>
                  <a:lnTo>
                    <a:pt x="3632" y="542"/>
                  </a:lnTo>
                  <a:lnTo>
                    <a:pt x="3631" y="543"/>
                  </a:lnTo>
                  <a:lnTo>
                    <a:pt x="3630" y="544"/>
                  </a:lnTo>
                  <a:lnTo>
                    <a:pt x="3626" y="550"/>
                  </a:lnTo>
                  <a:lnTo>
                    <a:pt x="3622" y="555"/>
                  </a:lnTo>
                  <a:lnTo>
                    <a:pt x="3618" y="559"/>
                  </a:lnTo>
                  <a:lnTo>
                    <a:pt x="3613" y="564"/>
                  </a:lnTo>
                  <a:lnTo>
                    <a:pt x="3613" y="565"/>
                  </a:lnTo>
                  <a:lnTo>
                    <a:pt x="3612" y="567"/>
                  </a:lnTo>
                  <a:lnTo>
                    <a:pt x="3608" y="569"/>
                  </a:lnTo>
                  <a:lnTo>
                    <a:pt x="3604" y="572"/>
                  </a:lnTo>
                  <a:lnTo>
                    <a:pt x="3601" y="573"/>
                  </a:lnTo>
                  <a:lnTo>
                    <a:pt x="3600" y="576"/>
                  </a:lnTo>
                  <a:lnTo>
                    <a:pt x="3598" y="577"/>
                  </a:lnTo>
                  <a:lnTo>
                    <a:pt x="3597" y="578"/>
                  </a:lnTo>
                  <a:lnTo>
                    <a:pt x="3595" y="581"/>
                  </a:lnTo>
                  <a:lnTo>
                    <a:pt x="3592" y="584"/>
                  </a:lnTo>
                  <a:lnTo>
                    <a:pt x="3592" y="586"/>
                  </a:lnTo>
                  <a:lnTo>
                    <a:pt x="3591" y="589"/>
                  </a:lnTo>
                  <a:lnTo>
                    <a:pt x="3589" y="590"/>
                  </a:lnTo>
                  <a:lnTo>
                    <a:pt x="3588" y="593"/>
                  </a:lnTo>
                  <a:lnTo>
                    <a:pt x="3587" y="594"/>
                  </a:lnTo>
                  <a:lnTo>
                    <a:pt x="3587" y="597"/>
                  </a:lnTo>
                  <a:lnTo>
                    <a:pt x="3584" y="603"/>
                  </a:lnTo>
                  <a:lnTo>
                    <a:pt x="3580" y="607"/>
                  </a:lnTo>
                  <a:lnTo>
                    <a:pt x="3579" y="609"/>
                  </a:lnTo>
                  <a:lnTo>
                    <a:pt x="3578" y="609"/>
                  </a:lnTo>
                  <a:lnTo>
                    <a:pt x="3575" y="610"/>
                  </a:lnTo>
                  <a:lnTo>
                    <a:pt x="3574" y="611"/>
                  </a:lnTo>
                  <a:lnTo>
                    <a:pt x="3572" y="611"/>
                  </a:lnTo>
                  <a:lnTo>
                    <a:pt x="3571" y="610"/>
                  </a:lnTo>
                  <a:lnTo>
                    <a:pt x="3570" y="610"/>
                  </a:lnTo>
                  <a:lnTo>
                    <a:pt x="3568" y="609"/>
                  </a:lnTo>
                  <a:lnTo>
                    <a:pt x="3567" y="609"/>
                  </a:lnTo>
                  <a:lnTo>
                    <a:pt x="3567" y="609"/>
                  </a:lnTo>
                  <a:lnTo>
                    <a:pt x="3566" y="607"/>
                  </a:lnTo>
                  <a:lnTo>
                    <a:pt x="3564" y="606"/>
                  </a:lnTo>
                  <a:lnTo>
                    <a:pt x="3563" y="605"/>
                  </a:lnTo>
                  <a:lnTo>
                    <a:pt x="3562" y="603"/>
                  </a:lnTo>
                  <a:lnTo>
                    <a:pt x="3561" y="602"/>
                  </a:lnTo>
                  <a:lnTo>
                    <a:pt x="3559" y="599"/>
                  </a:lnTo>
                  <a:lnTo>
                    <a:pt x="3557" y="597"/>
                  </a:lnTo>
                  <a:lnTo>
                    <a:pt x="3555" y="595"/>
                  </a:lnTo>
                  <a:lnTo>
                    <a:pt x="3555" y="594"/>
                  </a:lnTo>
                  <a:lnTo>
                    <a:pt x="3551" y="590"/>
                  </a:lnTo>
                  <a:lnTo>
                    <a:pt x="3547" y="586"/>
                  </a:lnTo>
                  <a:lnTo>
                    <a:pt x="3546" y="584"/>
                  </a:lnTo>
                  <a:lnTo>
                    <a:pt x="3545" y="582"/>
                  </a:lnTo>
                  <a:lnTo>
                    <a:pt x="3544" y="581"/>
                  </a:lnTo>
                  <a:lnTo>
                    <a:pt x="3542" y="580"/>
                  </a:lnTo>
                  <a:lnTo>
                    <a:pt x="3540" y="577"/>
                  </a:lnTo>
                  <a:lnTo>
                    <a:pt x="3538" y="576"/>
                  </a:lnTo>
                  <a:lnTo>
                    <a:pt x="3537" y="573"/>
                  </a:lnTo>
                  <a:lnTo>
                    <a:pt x="3537" y="572"/>
                  </a:lnTo>
                  <a:lnTo>
                    <a:pt x="3536" y="571"/>
                  </a:lnTo>
                  <a:lnTo>
                    <a:pt x="3534" y="569"/>
                  </a:lnTo>
                  <a:lnTo>
                    <a:pt x="3533" y="568"/>
                  </a:lnTo>
                  <a:lnTo>
                    <a:pt x="3532" y="568"/>
                  </a:lnTo>
                  <a:lnTo>
                    <a:pt x="3530" y="567"/>
                  </a:lnTo>
                  <a:lnTo>
                    <a:pt x="3529" y="565"/>
                  </a:lnTo>
                  <a:lnTo>
                    <a:pt x="3528" y="563"/>
                  </a:lnTo>
                  <a:lnTo>
                    <a:pt x="3527" y="561"/>
                  </a:lnTo>
                  <a:lnTo>
                    <a:pt x="3525" y="560"/>
                  </a:lnTo>
                  <a:lnTo>
                    <a:pt x="3525" y="559"/>
                  </a:lnTo>
                  <a:lnTo>
                    <a:pt x="3519" y="552"/>
                  </a:lnTo>
                  <a:lnTo>
                    <a:pt x="3513" y="544"/>
                  </a:lnTo>
                  <a:lnTo>
                    <a:pt x="3512" y="541"/>
                  </a:lnTo>
                  <a:lnTo>
                    <a:pt x="3511" y="538"/>
                  </a:lnTo>
                  <a:lnTo>
                    <a:pt x="3509" y="537"/>
                  </a:lnTo>
                  <a:lnTo>
                    <a:pt x="3508" y="535"/>
                  </a:lnTo>
                  <a:lnTo>
                    <a:pt x="3504" y="530"/>
                  </a:lnTo>
                  <a:lnTo>
                    <a:pt x="3502" y="524"/>
                  </a:lnTo>
                  <a:lnTo>
                    <a:pt x="3500" y="522"/>
                  </a:lnTo>
                  <a:lnTo>
                    <a:pt x="3498" y="520"/>
                  </a:lnTo>
                  <a:lnTo>
                    <a:pt x="3498" y="518"/>
                  </a:lnTo>
                  <a:lnTo>
                    <a:pt x="3491" y="516"/>
                  </a:lnTo>
                  <a:lnTo>
                    <a:pt x="3486" y="512"/>
                  </a:lnTo>
                  <a:lnTo>
                    <a:pt x="3482" y="509"/>
                  </a:lnTo>
                  <a:lnTo>
                    <a:pt x="3478" y="507"/>
                  </a:lnTo>
                  <a:lnTo>
                    <a:pt x="3477" y="507"/>
                  </a:lnTo>
                  <a:lnTo>
                    <a:pt x="3475" y="505"/>
                  </a:lnTo>
                  <a:lnTo>
                    <a:pt x="3474" y="504"/>
                  </a:lnTo>
                  <a:lnTo>
                    <a:pt x="3472" y="501"/>
                  </a:lnTo>
                  <a:lnTo>
                    <a:pt x="3472" y="501"/>
                  </a:lnTo>
                  <a:lnTo>
                    <a:pt x="3470" y="500"/>
                  </a:lnTo>
                  <a:lnTo>
                    <a:pt x="3470" y="496"/>
                  </a:lnTo>
                  <a:lnTo>
                    <a:pt x="3470" y="492"/>
                  </a:lnTo>
                  <a:lnTo>
                    <a:pt x="3470" y="489"/>
                  </a:lnTo>
                  <a:lnTo>
                    <a:pt x="3472" y="486"/>
                  </a:lnTo>
                  <a:lnTo>
                    <a:pt x="3473" y="482"/>
                  </a:lnTo>
                  <a:lnTo>
                    <a:pt x="3474" y="480"/>
                  </a:lnTo>
                  <a:lnTo>
                    <a:pt x="3475" y="479"/>
                  </a:lnTo>
                  <a:lnTo>
                    <a:pt x="3475" y="476"/>
                  </a:lnTo>
                  <a:lnTo>
                    <a:pt x="3477" y="472"/>
                  </a:lnTo>
                  <a:lnTo>
                    <a:pt x="3478" y="471"/>
                  </a:lnTo>
                  <a:lnTo>
                    <a:pt x="3477" y="469"/>
                  </a:lnTo>
                  <a:lnTo>
                    <a:pt x="3473" y="463"/>
                  </a:lnTo>
                  <a:lnTo>
                    <a:pt x="3452" y="437"/>
                  </a:lnTo>
                  <a:lnTo>
                    <a:pt x="3434" y="452"/>
                  </a:lnTo>
                  <a:lnTo>
                    <a:pt x="3418" y="465"/>
                  </a:lnTo>
                  <a:lnTo>
                    <a:pt x="3413" y="467"/>
                  </a:lnTo>
                  <a:lnTo>
                    <a:pt x="3406" y="469"/>
                  </a:lnTo>
                  <a:lnTo>
                    <a:pt x="3406" y="469"/>
                  </a:lnTo>
                  <a:lnTo>
                    <a:pt x="3406" y="470"/>
                  </a:lnTo>
                  <a:lnTo>
                    <a:pt x="3405" y="471"/>
                  </a:lnTo>
                  <a:lnTo>
                    <a:pt x="3404" y="471"/>
                  </a:lnTo>
                  <a:lnTo>
                    <a:pt x="3398" y="472"/>
                  </a:lnTo>
                  <a:lnTo>
                    <a:pt x="3393" y="475"/>
                  </a:lnTo>
                  <a:lnTo>
                    <a:pt x="3392" y="475"/>
                  </a:lnTo>
                  <a:lnTo>
                    <a:pt x="3389" y="476"/>
                  </a:lnTo>
                  <a:lnTo>
                    <a:pt x="3387" y="478"/>
                  </a:lnTo>
                  <a:lnTo>
                    <a:pt x="3384" y="480"/>
                  </a:lnTo>
                  <a:lnTo>
                    <a:pt x="3384" y="480"/>
                  </a:lnTo>
                  <a:lnTo>
                    <a:pt x="3383" y="480"/>
                  </a:lnTo>
                  <a:lnTo>
                    <a:pt x="3372" y="483"/>
                  </a:lnTo>
                  <a:lnTo>
                    <a:pt x="3360" y="487"/>
                  </a:lnTo>
                  <a:lnTo>
                    <a:pt x="3355" y="489"/>
                  </a:lnTo>
                  <a:lnTo>
                    <a:pt x="3350" y="493"/>
                  </a:lnTo>
                  <a:lnTo>
                    <a:pt x="3347" y="497"/>
                  </a:lnTo>
                  <a:lnTo>
                    <a:pt x="3346" y="503"/>
                  </a:lnTo>
                  <a:lnTo>
                    <a:pt x="3345" y="503"/>
                  </a:lnTo>
                  <a:lnTo>
                    <a:pt x="3342" y="504"/>
                  </a:lnTo>
                  <a:lnTo>
                    <a:pt x="3341" y="508"/>
                  </a:lnTo>
                  <a:lnTo>
                    <a:pt x="3337" y="510"/>
                  </a:lnTo>
                  <a:lnTo>
                    <a:pt x="3328" y="518"/>
                  </a:lnTo>
                  <a:lnTo>
                    <a:pt x="3317" y="524"/>
                  </a:lnTo>
                  <a:lnTo>
                    <a:pt x="3316" y="525"/>
                  </a:lnTo>
                  <a:lnTo>
                    <a:pt x="3315" y="526"/>
                  </a:lnTo>
                  <a:lnTo>
                    <a:pt x="3313" y="527"/>
                  </a:lnTo>
                  <a:lnTo>
                    <a:pt x="3311" y="530"/>
                  </a:lnTo>
                  <a:lnTo>
                    <a:pt x="3321" y="542"/>
                  </a:lnTo>
                  <a:lnTo>
                    <a:pt x="3328" y="550"/>
                  </a:lnTo>
                  <a:lnTo>
                    <a:pt x="3338" y="558"/>
                  </a:lnTo>
                  <a:lnTo>
                    <a:pt x="3351" y="565"/>
                  </a:lnTo>
                  <a:lnTo>
                    <a:pt x="3363" y="573"/>
                  </a:lnTo>
                  <a:lnTo>
                    <a:pt x="3376" y="577"/>
                  </a:lnTo>
                  <a:lnTo>
                    <a:pt x="3390" y="580"/>
                  </a:lnTo>
                  <a:lnTo>
                    <a:pt x="3405" y="584"/>
                  </a:lnTo>
                  <a:lnTo>
                    <a:pt x="3418" y="588"/>
                  </a:lnTo>
                  <a:lnTo>
                    <a:pt x="3422" y="592"/>
                  </a:lnTo>
                  <a:lnTo>
                    <a:pt x="3426" y="595"/>
                  </a:lnTo>
                  <a:lnTo>
                    <a:pt x="3428" y="601"/>
                  </a:lnTo>
                  <a:lnTo>
                    <a:pt x="3431" y="606"/>
                  </a:lnTo>
                  <a:lnTo>
                    <a:pt x="3432" y="618"/>
                  </a:lnTo>
                  <a:lnTo>
                    <a:pt x="3436" y="628"/>
                  </a:lnTo>
                  <a:lnTo>
                    <a:pt x="3436" y="631"/>
                  </a:lnTo>
                  <a:lnTo>
                    <a:pt x="3436" y="633"/>
                  </a:lnTo>
                  <a:lnTo>
                    <a:pt x="3435" y="635"/>
                  </a:lnTo>
                  <a:lnTo>
                    <a:pt x="3432" y="636"/>
                  </a:lnTo>
                  <a:lnTo>
                    <a:pt x="3427" y="639"/>
                  </a:lnTo>
                  <a:lnTo>
                    <a:pt x="3421" y="641"/>
                  </a:lnTo>
                  <a:lnTo>
                    <a:pt x="3406" y="645"/>
                  </a:lnTo>
                  <a:lnTo>
                    <a:pt x="3396" y="648"/>
                  </a:lnTo>
                  <a:lnTo>
                    <a:pt x="3387" y="650"/>
                  </a:lnTo>
                  <a:lnTo>
                    <a:pt x="3379" y="652"/>
                  </a:lnTo>
                  <a:lnTo>
                    <a:pt x="3370" y="652"/>
                  </a:lnTo>
                  <a:lnTo>
                    <a:pt x="3360" y="653"/>
                  </a:lnTo>
                  <a:lnTo>
                    <a:pt x="3353" y="653"/>
                  </a:lnTo>
                  <a:lnTo>
                    <a:pt x="3343" y="654"/>
                  </a:lnTo>
                  <a:lnTo>
                    <a:pt x="3336" y="657"/>
                  </a:lnTo>
                  <a:lnTo>
                    <a:pt x="3328" y="661"/>
                  </a:lnTo>
                  <a:lnTo>
                    <a:pt x="3324" y="663"/>
                  </a:lnTo>
                  <a:lnTo>
                    <a:pt x="3321" y="666"/>
                  </a:lnTo>
                  <a:lnTo>
                    <a:pt x="3317" y="670"/>
                  </a:lnTo>
                  <a:lnTo>
                    <a:pt x="3316" y="675"/>
                  </a:lnTo>
                  <a:lnTo>
                    <a:pt x="3315" y="679"/>
                  </a:lnTo>
                  <a:lnTo>
                    <a:pt x="3316" y="684"/>
                  </a:lnTo>
                  <a:lnTo>
                    <a:pt x="3319" y="688"/>
                  </a:lnTo>
                  <a:lnTo>
                    <a:pt x="3322" y="692"/>
                  </a:lnTo>
                  <a:lnTo>
                    <a:pt x="3330" y="695"/>
                  </a:lnTo>
                  <a:lnTo>
                    <a:pt x="3337" y="696"/>
                  </a:lnTo>
                  <a:lnTo>
                    <a:pt x="3345" y="696"/>
                  </a:lnTo>
                  <a:lnTo>
                    <a:pt x="3353" y="696"/>
                  </a:lnTo>
                  <a:lnTo>
                    <a:pt x="3366" y="691"/>
                  </a:lnTo>
                  <a:lnTo>
                    <a:pt x="3380" y="686"/>
                  </a:lnTo>
                  <a:lnTo>
                    <a:pt x="3393" y="679"/>
                  </a:lnTo>
                  <a:lnTo>
                    <a:pt x="3405" y="675"/>
                  </a:lnTo>
                  <a:lnTo>
                    <a:pt x="3411" y="675"/>
                  </a:lnTo>
                  <a:lnTo>
                    <a:pt x="3417" y="675"/>
                  </a:lnTo>
                  <a:lnTo>
                    <a:pt x="3422" y="677"/>
                  </a:lnTo>
                  <a:lnTo>
                    <a:pt x="3426" y="680"/>
                  </a:lnTo>
                  <a:lnTo>
                    <a:pt x="3438" y="690"/>
                  </a:lnTo>
                  <a:lnTo>
                    <a:pt x="3452" y="703"/>
                  </a:lnTo>
                  <a:lnTo>
                    <a:pt x="3458" y="709"/>
                  </a:lnTo>
                  <a:lnTo>
                    <a:pt x="3462" y="716"/>
                  </a:lnTo>
                  <a:lnTo>
                    <a:pt x="3465" y="720"/>
                  </a:lnTo>
                  <a:lnTo>
                    <a:pt x="3465" y="722"/>
                  </a:lnTo>
                  <a:lnTo>
                    <a:pt x="3466" y="726"/>
                  </a:lnTo>
                  <a:lnTo>
                    <a:pt x="3465" y="730"/>
                  </a:lnTo>
                  <a:lnTo>
                    <a:pt x="3462" y="738"/>
                  </a:lnTo>
                  <a:lnTo>
                    <a:pt x="3457" y="747"/>
                  </a:lnTo>
                  <a:lnTo>
                    <a:pt x="3452" y="755"/>
                  </a:lnTo>
                  <a:lnTo>
                    <a:pt x="3445" y="763"/>
                  </a:lnTo>
                  <a:lnTo>
                    <a:pt x="3432" y="779"/>
                  </a:lnTo>
                  <a:lnTo>
                    <a:pt x="3419" y="792"/>
                  </a:lnTo>
                  <a:lnTo>
                    <a:pt x="3409" y="805"/>
                  </a:lnTo>
                  <a:lnTo>
                    <a:pt x="3400" y="819"/>
                  </a:lnTo>
                  <a:lnTo>
                    <a:pt x="3392" y="837"/>
                  </a:lnTo>
                  <a:lnTo>
                    <a:pt x="3384" y="857"/>
                  </a:lnTo>
                  <a:lnTo>
                    <a:pt x="3379" y="877"/>
                  </a:lnTo>
                  <a:lnTo>
                    <a:pt x="3376" y="896"/>
                  </a:lnTo>
                  <a:lnTo>
                    <a:pt x="3376" y="907"/>
                  </a:lnTo>
                  <a:lnTo>
                    <a:pt x="3377" y="916"/>
                  </a:lnTo>
                  <a:lnTo>
                    <a:pt x="3379" y="924"/>
                  </a:lnTo>
                  <a:lnTo>
                    <a:pt x="3381" y="932"/>
                  </a:lnTo>
                  <a:lnTo>
                    <a:pt x="3385" y="945"/>
                  </a:lnTo>
                  <a:lnTo>
                    <a:pt x="3387" y="958"/>
                  </a:lnTo>
                  <a:lnTo>
                    <a:pt x="3385" y="970"/>
                  </a:lnTo>
                  <a:lnTo>
                    <a:pt x="3385" y="981"/>
                  </a:lnTo>
                  <a:lnTo>
                    <a:pt x="3384" y="992"/>
                  </a:lnTo>
                  <a:lnTo>
                    <a:pt x="3383" y="1002"/>
                  </a:lnTo>
                  <a:lnTo>
                    <a:pt x="3384" y="1013"/>
                  </a:lnTo>
                  <a:lnTo>
                    <a:pt x="3387" y="1021"/>
                  </a:lnTo>
                  <a:lnTo>
                    <a:pt x="3389" y="1026"/>
                  </a:lnTo>
                  <a:lnTo>
                    <a:pt x="3394" y="1028"/>
                  </a:lnTo>
                  <a:lnTo>
                    <a:pt x="3401" y="1030"/>
                  </a:lnTo>
                  <a:lnTo>
                    <a:pt x="3407" y="1028"/>
                  </a:lnTo>
                  <a:lnTo>
                    <a:pt x="3422" y="1023"/>
                  </a:lnTo>
                  <a:lnTo>
                    <a:pt x="3438" y="1017"/>
                  </a:lnTo>
                  <a:lnTo>
                    <a:pt x="3451" y="1010"/>
                  </a:lnTo>
                  <a:lnTo>
                    <a:pt x="3460" y="1007"/>
                  </a:lnTo>
                  <a:lnTo>
                    <a:pt x="3461" y="1009"/>
                  </a:lnTo>
                  <a:lnTo>
                    <a:pt x="3462" y="1009"/>
                  </a:lnTo>
                  <a:lnTo>
                    <a:pt x="3464" y="1010"/>
                  </a:lnTo>
                  <a:lnTo>
                    <a:pt x="3464" y="1013"/>
                  </a:lnTo>
                  <a:lnTo>
                    <a:pt x="3464" y="1019"/>
                  </a:lnTo>
                  <a:lnTo>
                    <a:pt x="3460" y="1027"/>
                  </a:lnTo>
                  <a:lnTo>
                    <a:pt x="3452" y="1048"/>
                  </a:lnTo>
                  <a:lnTo>
                    <a:pt x="3441" y="1069"/>
                  </a:lnTo>
                  <a:lnTo>
                    <a:pt x="3431" y="1089"/>
                  </a:lnTo>
                  <a:lnTo>
                    <a:pt x="3418" y="1107"/>
                  </a:lnTo>
                  <a:lnTo>
                    <a:pt x="3404" y="1125"/>
                  </a:lnTo>
                  <a:lnTo>
                    <a:pt x="3388" y="1141"/>
                  </a:lnTo>
                  <a:lnTo>
                    <a:pt x="3371" y="1155"/>
                  </a:lnTo>
                  <a:lnTo>
                    <a:pt x="3351" y="1168"/>
                  </a:lnTo>
                  <a:lnTo>
                    <a:pt x="3303" y="1196"/>
                  </a:lnTo>
                  <a:lnTo>
                    <a:pt x="3299" y="1197"/>
                  </a:lnTo>
                  <a:lnTo>
                    <a:pt x="3294" y="1198"/>
                  </a:lnTo>
                  <a:lnTo>
                    <a:pt x="3287" y="1198"/>
                  </a:lnTo>
                  <a:lnTo>
                    <a:pt x="3281" y="1197"/>
                  </a:lnTo>
                  <a:lnTo>
                    <a:pt x="3274" y="1196"/>
                  </a:lnTo>
                  <a:lnTo>
                    <a:pt x="3268" y="1195"/>
                  </a:lnTo>
                  <a:lnTo>
                    <a:pt x="3262" y="1193"/>
                  </a:lnTo>
                  <a:lnTo>
                    <a:pt x="3260" y="1191"/>
                  </a:lnTo>
                  <a:lnTo>
                    <a:pt x="3241" y="1180"/>
                  </a:lnTo>
                  <a:lnTo>
                    <a:pt x="3224" y="1168"/>
                  </a:lnTo>
                  <a:lnTo>
                    <a:pt x="3219" y="1164"/>
                  </a:lnTo>
                  <a:lnTo>
                    <a:pt x="3215" y="1161"/>
                  </a:lnTo>
                  <a:lnTo>
                    <a:pt x="3214" y="1159"/>
                  </a:lnTo>
                  <a:lnTo>
                    <a:pt x="3214" y="1158"/>
                  </a:lnTo>
                  <a:lnTo>
                    <a:pt x="3210" y="1154"/>
                  </a:lnTo>
                  <a:lnTo>
                    <a:pt x="3206" y="1151"/>
                  </a:lnTo>
                  <a:lnTo>
                    <a:pt x="3205" y="1150"/>
                  </a:lnTo>
                  <a:lnTo>
                    <a:pt x="3205" y="1149"/>
                  </a:lnTo>
                  <a:lnTo>
                    <a:pt x="3205" y="1147"/>
                  </a:lnTo>
                  <a:lnTo>
                    <a:pt x="3203" y="1145"/>
                  </a:lnTo>
                  <a:lnTo>
                    <a:pt x="3201" y="1144"/>
                  </a:lnTo>
                  <a:lnTo>
                    <a:pt x="3200" y="1142"/>
                  </a:lnTo>
                  <a:lnTo>
                    <a:pt x="3198" y="1140"/>
                  </a:lnTo>
                  <a:lnTo>
                    <a:pt x="3197" y="1138"/>
                  </a:lnTo>
                  <a:lnTo>
                    <a:pt x="3197" y="1137"/>
                  </a:lnTo>
                  <a:lnTo>
                    <a:pt x="3196" y="1136"/>
                  </a:lnTo>
                  <a:lnTo>
                    <a:pt x="3194" y="1134"/>
                  </a:lnTo>
                  <a:lnTo>
                    <a:pt x="3193" y="1132"/>
                  </a:lnTo>
                  <a:lnTo>
                    <a:pt x="3192" y="1129"/>
                  </a:lnTo>
                  <a:lnTo>
                    <a:pt x="3189" y="1128"/>
                  </a:lnTo>
                  <a:lnTo>
                    <a:pt x="3186" y="1128"/>
                  </a:lnTo>
                  <a:lnTo>
                    <a:pt x="3181" y="1128"/>
                  </a:lnTo>
                  <a:lnTo>
                    <a:pt x="3177" y="1129"/>
                  </a:lnTo>
                  <a:lnTo>
                    <a:pt x="3171" y="1134"/>
                  </a:lnTo>
                  <a:lnTo>
                    <a:pt x="3165" y="1140"/>
                  </a:lnTo>
                  <a:lnTo>
                    <a:pt x="3155" y="1149"/>
                  </a:lnTo>
                  <a:lnTo>
                    <a:pt x="3145" y="1158"/>
                  </a:lnTo>
                  <a:lnTo>
                    <a:pt x="3142" y="1161"/>
                  </a:lnTo>
                  <a:lnTo>
                    <a:pt x="3139" y="1162"/>
                  </a:lnTo>
                  <a:lnTo>
                    <a:pt x="3137" y="1163"/>
                  </a:lnTo>
                  <a:lnTo>
                    <a:pt x="3134" y="1166"/>
                  </a:lnTo>
                  <a:lnTo>
                    <a:pt x="3133" y="1167"/>
                  </a:lnTo>
                  <a:lnTo>
                    <a:pt x="3130" y="1170"/>
                  </a:lnTo>
                  <a:lnTo>
                    <a:pt x="3128" y="1171"/>
                  </a:lnTo>
                  <a:lnTo>
                    <a:pt x="3125" y="1172"/>
                  </a:lnTo>
                  <a:lnTo>
                    <a:pt x="3118" y="1176"/>
                  </a:lnTo>
                  <a:lnTo>
                    <a:pt x="3113" y="1181"/>
                  </a:lnTo>
                  <a:lnTo>
                    <a:pt x="3105" y="1189"/>
                  </a:lnTo>
                  <a:lnTo>
                    <a:pt x="3090" y="1200"/>
                  </a:lnTo>
                  <a:lnTo>
                    <a:pt x="3082" y="1204"/>
                  </a:lnTo>
                  <a:lnTo>
                    <a:pt x="3075" y="1208"/>
                  </a:lnTo>
                  <a:lnTo>
                    <a:pt x="3070" y="1209"/>
                  </a:lnTo>
                  <a:lnTo>
                    <a:pt x="3067" y="1208"/>
                  </a:lnTo>
                  <a:lnTo>
                    <a:pt x="3058" y="1201"/>
                  </a:lnTo>
                  <a:lnTo>
                    <a:pt x="3049" y="1195"/>
                  </a:lnTo>
                  <a:lnTo>
                    <a:pt x="3045" y="1193"/>
                  </a:lnTo>
                  <a:lnTo>
                    <a:pt x="3043" y="1192"/>
                  </a:lnTo>
                  <a:lnTo>
                    <a:pt x="3040" y="1191"/>
                  </a:lnTo>
                  <a:lnTo>
                    <a:pt x="3036" y="1189"/>
                  </a:lnTo>
                  <a:lnTo>
                    <a:pt x="3033" y="1188"/>
                  </a:lnTo>
                  <a:lnTo>
                    <a:pt x="3031" y="1185"/>
                  </a:lnTo>
                  <a:lnTo>
                    <a:pt x="3027" y="1181"/>
                  </a:lnTo>
                  <a:lnTo>
                    <a:pt x="3023" y="1179"/>
                  </a:lnTo>
                  <a:lnTo>
                    <a:pt x="3014" y="1171"/>
                  </a:lnTo>
                  <a:lnTo>
                    <a:pt x="3006" y="1166"/>
                  </a:lnTo>
                  <a:lnTo>
                    <a:pt x="3005" y="1164"/>
                  </a:lnTo>
                  <a:lnTo>
                    <a:pt x="3005" y="1163"/>
                  </a:lnTo>
                  <a:lnTo>
                    <a:pt x="3001" y="1161"/>
                  </a:lnTo>
                  <a:lnTo>
                    <a:pt x="2997" y="1158"/>
                  </a:lnTo>
                  <a:lnTo>
                    <a:pt x="2993" y="1155"/>
                  </a:lnTo>
                  <a:lnTo>
                    <a:pt x="2988" y="1151"/>
                  </a:lnTo>
                  <a:lnTo>
                    <a:pt x="2982" y="1146"/>
                  </a:lnTo>
                  <a:lnTo>
                    <a:pt x="2978" y="1144"/>
                  </a:lnTo>
                  <a:lnTo>
                    <a:pt x="2976" y="1144"/>
                  </a:lnTo>
                  <a:lnTo>
                    <a:pt x="2975" y="1142"/>
                  </a:lnTo>
                  <a:lnTo>
                    <a:pt x="2973" y="1140"/>
                  </a:lnTo>
                  <a:lnTo>
                    <a:pt x="2972" y="1140"/>
                  </a:lnTo>
                  <a:lnTo>
                    <a:pt x="2972" y="1140"/>
                  </a:lnTo>
                  <a:lnTo>
                    <a:pt x="2971" y="1138"/>
                  </a:lnTo>
                  <a:lnTo>
                    <a:pt x="2969" y="1138"/>
                  </a:lnTo>
                  <a:lnTo>
                    <a:pt x="2964" y="1138"/>
                  </a:lnTo>
                  <a:lnTo>
                    <a:pt x="2959" y="1140"/>
                  </a:lnTo>
                  <a:lnTo>
                    <a:pt x="2954" y="1141"/>
                  </a:lnTo>
                  <a:lnTo>
                    <a:pt x="2950" y="1145"/>
                  </a:lnTo>
                  <a:lnTo>
                    <a:pt x="2948" y="1146"/>
                  </a:lnTo>
                  <a:lnTo>
                    <a:pt x="2946" y="1147"/>
                  </a:lnTo>
                  <a:lnTo>
                    <a:pt x="2943" y="1147"/>
                  </a:lnTo>
                  <a:lnTo>
                    <a:pt x="2939" y="1146"/>
                  </a:lnTo>
                  <a:lnTo>
                    <a:pt x="2933" y="1141"/>
                  </a:lnTo>
                  <a:lnTo>
                    <a:pt x="2927" y="1136"/>
                  </a:lnTo>
                  <a:lnTo>
                    <a:pt x="2926" y="1134"/>
                  </a:lnTo>
                  <a:lnTo>
                    <a:pt x="2926" y="1132"/>
                  </a:lnTo>
                  <a:lnTo>
                    <a:pt x="2922" y="1129"/>
                  </a:lnTo>
                  <a:lnTo>
                    <a:pt x="2920" y="1125"/>
                  </a:lnTo>
                  <a:lnTo>
                    <a:pt x="2916" y="1124"/>
                  </a:lnTo>
                  <a:lnTo>
                    <a:pt x="2912" y="1123"/>
                  </a:lnTo>
                  <a:lnTo>
                    <a:pt x="2910" y="1120"/>
                  </a:lnTo>
                  <a:lnTo>
                    <a:pt x="2909" y="1117"/>
                  </a:lnTo>
                  <a:lnTo>
                    <a:pt x="2909" y="1115"/>
                  </a:lnTo>
                  <a:lnTo>
                    <a:pt x="2909" y="1112"/>
                  </a:lnTo>
                  <a:lnTo>
                    <a:pt x="2908" y="1108"/>
                  </a:lnTo>
                  <a:lnTo>
                    <a:pt x="2905" y="1106"/>
                  </a:lnTo>
                  <a:lnTo>
                    <a:pt x="2903" y="1104"/>
                  </a:lnTo>
                  <a:lnTo>
                    <a:pt x="2900" y="1102"/>
                  </a:lnTo>
                  <a:lnTo>
                    <a:pt x="2896" y="1102"/>
                  </a:lnTo>
                  <a:lnTo>
                    <a:pt x="2891" y="1100"/>
                  </a:lnTo>
                  <a:lnTo>
                    <a:pt x="2887" y="1102"/>
                  </a:lnTo>
                  <a:lnTo>
                    <a:pt x="2884" y="1103"/>
                  </a:lnTo>
                  <a:lnTo>
                    <a:pt x="2883" y="1106"/>
                  </a:lnTo>
                  <a:lnTo>
                    <a:pt x="2882" y="1107"/>
                  </a:lnTo>
                  <a:lnTo>
                    <a:pt x="2880" y="1108"/>
                  </a:lnTo>
                  <a:lnTo>
                    <a:pt x="2879" y="1108"/>
                  </a:lnTo>
                  <a:lnTo>
                    <a:pt x="2878" y="1108"/>
                  </a:lnTo>
                  <a:lnTo>
                    <a:pt x="2871" y="1116"/>
                  </a:lnTo>
                  <a:lnTo>
                    <a:pt x="2863" y="1123"/>
                  </a:lnTo>
                  <a:lnTo>
                    <a:pt x="2862" y="1123"/>
                  </a:lnTo>
                  <a:lnTo>
                    <a:pt x="2861" y="1123"/>
                  </a:lnTo>
                  <a:lnTo>
                    <a:pt x="2858" y="1121"/>
                  </a:lnTo>
                  <a:lnTo>
                    <a:pt x="2855" y="1120"/>
                  </a:lnTo>
                  <a:lnTo>
                    <a:pt x="2857" y="1115"/>
                  </a:lnTo>
                  <a:lnTo>
                    <a:pt x="2858" y="1110"/>
                  </a:lnTo>
                  <a:lnTo>
                    <a:pt x="2861" y="1104"/>
                  </a:lnTo>
                  <a:lnTo>
                    <a:pt x="2863" y="1099"/>
                  </a:lnTo>
                  <a:lnTo>
                    <a:pt x="2870" y="1087"/>
                  </a:lnTo>
                  <a:lnTo>
                    <a:pt x="2873" y="1077"/>
                  </a:lnTo>
                  <a:lnTo>
                    <a:pt x="2873" y="1076"/>
                  </a:lnTo>
                  <a:lnTo>
                    <a:pt x="2874" y="1072"/>
                  </a:lnTo>
                  <a:lnTo>
                    <a:pt x="2878" y="1069"/>
                  </a:lnTo>
                  <a:lnTo>
                    <a:pt x="2879" y="1068"/>
                  </a:lnTo>
                  <a:lnTo>
                    <a:pt x="2879" y="1068"/>
                  </a:lnTo>
                  <a:lnTo>
                    <a:pt x="2879" y="1066"/>
                  </a:lnTo>
                  <a:lnTo>
                    <a:pt x="2879" y="1065"/>
                  </a:lnTo>
                  <a:lnTo>
                    <a:pt x="2880" y="1064"/>
                  </a:lnTo>
                  <a:lnTo>
                    <a:pt x="2880" y="1062"/>
                  </a:lnTo>
                  <a:lnTo>
                    <a:pt x="2880" y="1056"/>
                  </a:lnTo>
                  <a:lnTo>
                    <a:pt x="2879" y="1051"/>
                  </a:lnTo>
                  <a:lnTo>
                    <a:pt x="2879" y="1049"/>
                  </a:lnTo>
                  <a:lnTo>
                    <a:pt x="2879" y="1048"/>
                  </a:lnTo>
                  <a:lnTo>
                    <a:pt x="2878" y="1047"/>
                  </a:lnTo>
                  <a:lnTo>
                    <a:pt x="2876" y="1047"/>
                  </a:lnTo>
                  <a:lnTo>
                    <a:pt x="2871" y="1045"/>
                  </a:lnTo>
                  <a:lnTo>
                    <a:pt x="2865" y="1043"/>
                  </a:lnTo>
                  <a:lnTo>
                    <a:pt x="2862" y="1042"/>
                  </a:lnTo>
                  <a:lnTo>
                    <a:pt x="2858" y="1039"/>
                  </a:lnTo>
                  <a:lnTo>
                    <a:pt x="2858" y="1039"/>
                  </a:lnTo>
                  <a:lnTo>
                    <a:pt x="2857" y="1039"/>
                  </a:lnTo>
                  <a:lnTo>
                    <a:pt x="2854" y="1039"/>
                  </a:lnTo>
                  <a:lnTo>
                    <a:pt x="2853" y="1038"/>
                  </a:lnTo>
                  <a:lnTo>
                    <a:pt x="2852" y="1036"/>
                  </a:lnTo>
                  <a:lnTo>
                    <a:pt x="2849" y="1035"/>
                  </a:lnTo>
                  <a:lnTo>
                    <a:pt x="2848" y="1034"/>
                  </a:lnTo>
                  <a:lnTo>
                    <a:pt x="2846" y="1034"/>
                  </a:lnTo>
                  <a:lnTo>
                    <a:pt x="2844" y="1032"/>
                  </a:lnTo>
                  <a:lnTo>
                    <a:pt x="2842" y="1031"/>
                  </a:lnTo>
                  <a:lnTo>
                    <a:pt x="2837" y="1026"/>
                  </a:lnTo>
                  <a:lnTo>
                    <a:pt x="2833" y="1022"/>
                  </a:lnTo>
                  <a:lnTo>
                    <a:pt x="2818" y="998"/>
                  </a:lnTo>
                  <a:lnTo>
                    <a:pt x="2812" y="1002"/>
                  </a:lnTo>
                  <a:lnTo>
                    <a:pt x="2804" y="1006"/>
                  </a:lnTo>
                  <a:lnTo>
                    <a:pt x="2794" y="1011"/>
                  </a:lnTo>
                  <a:lnTo>
                    <a:pt x="2782" y="1015"/>
                  </a:lnTo>
                  <a:lnTo>
                    <a:pt x="2769" y="1019"/>
                  </a:lnTo>
                  <a:lnTo>
                    <a:pt x="2757" y="1022"/>
                  </a:lnTo>
                  <a:lnTo>
                    <a:pt x="2746" y="1024"/>
                  </a:lnTo>
                  <a:lnTo>
                    <a:pt x="2735" y="1024"/>
                  </a:lnTo>
                  <a:lnTo>
                    <a:pt x="2733" y="1024"/>
                  </a:lnTo>
                  <a:lnTo>
                    <a:pt x="2727" y="1023"/>
                  </a:lnTo>
                  <a:lnTo>
                    <a:pt x="2723" y="1021"/>
                  </a:lnTo>
                  <a:lnTo>
                    <a:pt x="2718" y="1017"/>
                  </a:lnTo>
                  <a:lnTo>
                    <a:pt x="2713" y="1013"/>
                  </a:lnTo>
                  <a:lnTo>
                    <a:pt x="2712" y="1011"/>
                  </a:lnTo>
                  <a:lnTo>
                    <a:pt x="2712" y="1011"/>
                  </a:lnTo>
                  <a:lnTo>
                    <a:pt x="2709" y="1011"/>
                  </a:lnTo>
                  <a:lnTo>
                    <a:pt x="2709" y="1010"/>
                  </a:lnTo>
                  <a:lnTo>
                    <a:pt x="2706" y="1011"/>
                  </a:lnTo>
                  <a:lnTo>
                    <a:pt x="2705" y="1013"/>
                  </a:lnTo>
                  <a:lnTo>
                    <a:pt x="2702" y="1013"/>
                  </a:lnTo>
                  <a:lnTo>
                    <a:pt x="2702" y="1013"/>
                  </a:lnTo>
                  <a:lnTo>
                    <a:pt x="2702" y="1014"/>
                  </a:lnTo>
                  <a:lnTo>
                    <a:pt x="2699" y="1015"/>
                  </a:lnTo>
                  <a:lnTo>
                    <a:pt x="2695" y="1017"/>
                  </a:lnTo>
                  <a:lnTo>
                    <a:pt x="2695" y="1015"/>
                  </a:lnTo>
                  <a:lnTo>
                    <a:pt x="2688" y="1015"/>
                  </a:lnTo>
                  <a:lnTo>
                    <a:pt x="2682" y="1018"/>
                  </a:lnTo>
                  <a:lnTo>
                    <a:pt x="2671" y="1017"/>
                  </a:lnTo>
                  <a:lnTo>
                    <a:pt x="2662" y="1014"/>
                  </a:lnTo>
                  <a:lnTo>
                    <a:pt x="2658" y="1013"/>
                  </a:lnTo>
                  <a:lnTo>
                    <a:pt x="2655" y="1010"/>
                  </a:lnTo>
                  <a:lnTo>
                    <a:pt x="2651" y="1010"/>
                  </a:lnTo>
                  <a:lnTo>
                    <a:pt x="2649" y="1009"/>
                  </a:lnTo>
                  <a:lnTo>
                    <a:pt x="2638" y="1009"/>
                  </a:lnTo>
                  <a:lnTo>
                    <a:pt x="2627" y="1009"/>
                  </a:lnTo>
                  <a:lnTo>
                    <a:pt x="2619" y="1010"/>
                  </a:lnTo>
                  <a:lnTo>
                    <a:pt x="2611" y="1013"/>
                  </a:lnTo>
                  <a:lnTo>
                    <a:pt x="2594" y="1021"/>
                  </a:lnTo>
                  <a:lnTo>
                    <a:pt x="2574" y="1030"/>
                  </a:lnTo>
                  <a:lnTo>
                    <a:pt x="2569" y="1032"/>
                  </a:lnTo>
                  <a:lnTo>
                    <a:pt x="2564" y="1036"/>
                  </a:lnTo>
                  <a:lnTo>
                    <a:pt x="2555" y="1042"/>
                  </a:lnTo>
                  <a:lnTo>
                    <a:pt x="2546" y="1047"/>
                  </a:lnTo>
                  <a:lnTo>
                    <a:pt x="2536" y="1052"/>
                  </a:lnTo>
                  <a:lnTo>
                    <a:pt x="2526" y="1060"/>
                  </a:lnTo>
                  <a:lnTo>
                    <a:pt x="2522" y="1065"/>
                  </a:lnTo>
                  <a:lnTo>
                    <a:pt x="2511" y="1072"/>
                  </a:lnTo>
                  <a:lnTo>
                    <a:pt x="2500" y="1079"/>
                  </a:lnTo>
                  <a:lnTo>
                    <a:pt x="2485" y="1089"/>
                  </a:lnTo>
                  <a:lnTo>
                    <a:pt x="2457" y="1107"/>
                  </a:lnTo>
                  <a:lnTo>
                    <a:pt x="2438" y="1119"/>
                  </a:lnTo>
                  <a:lnTo>
                    <a:pt x="2433" y="1123"/>
                  </a:lnTo>
                  <a:lnTo>
                    <a:pt x="2428" y="1127"/>
                  </a:lnTo>
                  <a:lnTo>
                    <a:pt x="2423" y="1129"/>
                  </a:lnTo>
                  <a:lnTo>
                    <a:pt x="2416" y="1132"/>
                  </a:lnTo>
                  <a:lnTo>
                    <a:pt x="2406" y="1134"/>
                  </a:lnTo>
                  <a:lnTo>
                    <a:pt x="2395" y="1134"/>
                  </a:lnTo>
                  <a:lnTo>
                    <a:pt x="2373" y="1132"/>
                  </a:lnTo>
                  <a:lnTo>
                    <a:pt x="2351" y="1128"/>
                  </a:lnTo>
                  <a:lnTo>
                    <a:pt x="2344" y="1125"/>
                  </a:lnTo>
                  <a:lnTo>
                    <a:pt x="2339" y="1123"/>
                  </a:lnTo>
                  <a:lnTo>
                    <a:pt x="2338" y="1121"/>
                  </a:lnTo>
                  <a:lnTo>
                    <a:pt x="2336" y="1121"/>
                  </a:lnTo>
                  <a:lnTo>
                    <a:pt x="2332" y="1120"/>
                  </a:lnTo>
                  <a:lnTo>
                    <a:pt x="2330" y="1119"/>
                  </a:lnTo>
                  <a:lnTo>
                    <a:pt x="2328" y="1119"/>
                  </a:lnTo>
                  <a:lnTo>
                    <a:pt x="2326" y="1117"/>
                  </a:lnTo>
                  <a:lnTo>
                    <a:pt x="2324" y="1113"/>
                  </a:lnTo>
                  <a:lnTo>
                    <a:pt x="2323" y="1111"/>
                  </a:lnTo>
                  <a:lnTo>
                    <a:pt x="2322" y="1108"/>
                  </a:lnTo>
                  <a:lnTo>
                    <a:pt x="2319" y="1104"/>
                  </a:lnTo>
                  <a:lnTo>
                    <a:pt x="2318" y="1102"/>
                  </a:lnTo>
                  <a:lnTo>
                    <a:pt x="2317" y="1100"/>
                  </a:lnTo>
                  <a:lnTo>
                    <a:pt x="2317" y="1099"/>
                  </a:lnTo>
                  <a:lnTo>
                    <a:pt x="2314" y="1093"/>
                  </a:lnTo>
                  <a:lnTo>
                    <a:pt x="2313" y="1087"/>
                  </a:lnTo>
                  <a:lnTo>
                    <a:pt x="2311" y="1086"/>
                  </a:lnTo>
                  <a:lnTo>
                    <a:pt x="2311" y="1086"/>
                  </a:lnTo>
                  <a:lnTo>
                    <a:pt x="2310" y="1082"/>
                  </a:lnTo>
                  <a:lnTo>
                    <a:pt x="2307" y="1078"/>
                  </a:lnTo>
                  <a:lnTo>
                    <a:pt x="2305" y="1073"/>
                  </a:lnTo>
                  <a:lnTo>
                    <a:pt x="2301" y="1064"/>
                  </a:lnTo>
                  <a:lnTo>
                    <a:pt x="2300" y="1060"/>
                  </a:lnTo>
                  <a:lnTo>
                    <a:pt x="2300" y="1056"/>
                  </a:lnTo>
                  <a:lnTo>
                    <a:pt x="2300" y="1052"/>
                  </a:lnTo>
                  <a:lnTo>
                    <a:pt x="2301" y="1051"/>
                  </a:lnTo>
                  <a:lnTo>
                    <a:pt x="2302" y="1048"/>
                  </a:lnTo>
                  <a:lnTo>
                    <a:pt x="2304" y="1045"/>
                  </a:lnTo>
                  <a:lnTo>
                    <a:pt x="2306" y="1039"/>
                  </a:lnTo>
                  <a:lnTo>
                    <a:pt x="2313" y="1032"/>
                  </a:lnTo>
                  <a:lnTo>
                    <a:pt x="2322" y="1022"/>
                  </a:lnTo>
                  <a:lnTo>
                    <a:pt x="2332" y="1011"/>
                  </a:lnTo>
                  <a:lnTo>
                    <a:pt x="2343" y="1002"/>
                  </a:lnTo>
                  <a:lnTo>
                    <a:pt x="2355" y="994"/>
                  </a:lnTo>
                  <a:lnTo>
                    <a:pt x="2377" y="979"/>
                  </a:lnTo>
                  <a:lnTo>
                    <a:pt x="2403" y="963"/>
                  </a:lnTo>
                  <a:lnTo>
                    <a:pt x="2412" y="959"/>
                  </a:lnTo>
                  <a:lnTo>
                    <a:pt x="2423" y="956"/>
                  </a:lnTo>
                  <a:lnTo>
                    <a:pt x="2433" y="956"/>
                  </a:lnTo>
                  <a:lnTo>
                    <a:pt x="2443" y="955"/>
                  </a:lnTo>
                  <a:lnTo>
                    <a:pt x="2453" y="954"/>
                  </a:lnTo>
                  <a:lnTo>
                    <a:pt x="2460" y="950"/>
                  </a:lnTo>
                  <a:lnTo>
                    <a:pt x="2464" y="947"/>
                  </a:lnTo>
                  <a:lnTo>
                    <a:pt x="2468" y="943"/>
                  </a:lnTo>
                  <a:lnTo>
                    <a:pt x="2471" y="938"/>
                  </a:lnTo>
                  <a:lnTo>
                    <a:pt x="2474" y="932"/>
                  </a:lnTo>
                  <a:lnTo>
                    <a:pt x="2477" y="922"/>
                  </a:lnTo>
                  <a:lnTo>
                    <a:pt x="2483" y="913"/>
                  </a:lnTo>
                  <a:lnTo>
                    <a:pt x="2488" y="907"/>
                  </a:lnTo>
                  <a:lnTo>
                    <a:pt x="2493" y="900"/>
                  </a:lnTo>
                  <a:lnTo>
                    <a:pt x="2508" y="888"/>
                  </a:lnTo>
                  <a:lnTo>
                    <a:pt x="2522" y="879"/>
                  </a:lnTo>
                  <a:lnTo>
                    <a:pt x="2536" y="871"/>
                  </a:lnTo>
                  <a:lnTo>
                    <a:pt x="2551" y="861"/>
                  </a:lnTo>
                  <a:lnTo>
                    <a:pt x="2557" y="856"/>
                  </a:lnTo>
                  <a:lnTo>
                    <a:pt x="2564" y="851"/>
                  </a:lnTo>
                  <a:lnTo>
                    <a:pt x="2569" y="844"/>
                  </a:lnTo>
                  <a:lnTo>
                    <a:pt x="2574" y="836"/>
                  </a:lnTo>
                  <a:lnTo>
                    <a:pt x="2581" y="827"/>
                  </a:lnTo>
                  <a:lnTo>
                    <a:pt x="2587" y="818"/>
                  </a:lnTo>
                  <a:lnTo>
                    <a:pt x="2595" y="810"/>
                  </a:lnTo>
                  <a:lnTo>
                    <a:pt x="2603" y="803"/>
                  </a:lnTo>
                  <a:lnTo>
                    <a:pt x="2620" y="790"/>
                  </a:lnTo>
                  <a:lnTo>
                    <a:pt x="2637" y="777"/>
                  </a:lnTo>
                  <a:lnTo>
                    <a:pt x="2655" y="766"/>
                  </a:lnTo>
                  <a:lnTo>
                    <a:pt x="2674" y="754"/>
                  </a:lnTo>
                  <a:lnTo>
                    <a:pt x="2692" y="741"/>
                  </a:lnTo>
                  <a:lnTo>
                    <a:pt x="2708" y="726"/>
                  </a:lnTo>
                  <a:lnTo>
                    <a:pt x="2717" y="717"/>
                  </a:lnTo>
                  <a:lnTo>
                    <a:pt x="2726" y="709"/>
                  </a:lnTo>
                  <a:lnTo>
                    <a:pt x="2735" y="703"/>
                  </a:lnTo>
                  <a:lnTo>
                    <a:pt x="2747" y="696"/>
                  </a:lnTo>
                  <a:lnTo>
                    <a:pt x="2753" y="694"/>
                  </a:lnTo>
                  <a:lnTo>
                    <a:pt x="2761" y="692"/>
                  </a:lnTo>
                  <a:lnTo>
                    <a:pt x="2763" y="691"/>
                  </a:lnTo>
                  <a:lnTo>
                    <a:pt x="2764" y="690"/>
                  </a:lnTo>
                  <a:lnTo>
                    <a:pt x="2764" y="687"/>
                  </a:lnTo>
                  <a:lnTo>
                    <a:pt x="2767" y="675"/>
                  </a:lnTo>
                  <a:lnTo>
                    <a:pt x="2770" y="661"/>
                  </a:lnTo>
                  <a:lnTo>
                    <a:pt x="2773" y="648"/>
                  </a:lnTo>
                  <a:lnTo>
                    <a:pt x="2777" y="636"/>
                  </a:lnTo>
                  <a:lnTo>
                    <a:pt x="2757" y="631"/>
                  </a:lnTo>
                  <a:lnTo>
                    <a:pt x="2746" y="628"/>
                  </a:lnTo>
                  <a:lnTo>
                    <a:pt x="2731" y="628"/>
                  </a:lnTo>
                  <a:lnTo>
                    <a:pt x="2727" y="627"/>
                  </a:lnTo>
                  <a:lnTo>
                    <a:pt x="2723" y="626"/>
                  </a:lnTo>
                  <a:lnTo>
                    <a:pt x="2721" y="626"/>
                  </a:lnTo>
                  <a:lnTo>
                    <a:pt x="2718" y="626"/>
                  </a:lnTo>
                  <a:lnTo>
                    <a:pt x="2717" y="624"/>
                  </a:lnTo>
                  <a:lnTo>
                    <a:pt x="2718" y="622"/>
                  </a:lnTo>
                  <a:lnTo>
                    <a:pt x="2722" y="616"/>
                  </a:lnTo>
                  <a:lnTo>
                    <a:pt x="2727" y="612"/>
                  </a:lnTo>
                  <a:lnTo>
                    <a:pt x="2730" y="607"/>
                  </a:lnTo>
                  <a:lnTo>
                    <a:pt x="2731" y="602"/>
                  </a:lnTo>
                  <a:lnTo>
                    <a:pt x="2730" y="595"/>
                  </a:lnTo>
                  <a:lnTo>
                    <a:pt x="2727" y="592"/>
                  </a:lnTo>
                  <a:lnTo>
                    <a:pt x="2723" y="588"/>
                  </a:lnTo>
                  <a:lnTo>
                    <a:pt x="2719" y="584"/>
                  </a:lnTo>
                  <a:lnTo>
                    <a:pt x="2716" y="580"/>
                  </a:lnTo>
                  <a:lnTo>
                    <a:pt x="2712" y="575"/>
                  </a:lnTo>
                  <a:lnTo>
                    <a:pt x="2709" y="568"/>
                  </a:lnTo>
                  <a:lnTo>
                    <a:pt x="2708" y="559"/>
                  </a:lnTo>
                  <a:lnTo>
                    <a:pt x="2708" y="544"/>
                  </a:lnTo>
                  <a:lnTo>
                    <a:pt x="2709" y="529"/>
                  </a:lnTo>
                  <a:lnTo>
                    <a:pt x="2709" y="521"/>
                  </a:lnTo>
                  <a:lnTo>
                    <a:pt x="2709" y="513"/>
                  </a:lnTo>
                  <a:lnTo>
                    <a:pt x="2709" y="507"/>
                  </a:lnTo>
                  <a:lnTo>
                    <a:pt x="2706" y="503"/>
                  </a:lnTo>
                  <a:lnTo>
                    <a:pt x="2699" y="492"/>
                  </a:lnTo>
                  <a:lnTo>
                    <a:pt x="2688" y="482"/>
                  </a:lnTo>
                  <a:lnTo>
                    <a:pt x="2678" y="474"/>
                  </a:lnTo>
                  <a:lnTo>
                    <a:pt x="2667" y="466"/>
                  </a:lnTo>
                  <a:lnTo>
                    <a:pt x="2655" y="458"/>
                  </a:lnTo>
                  <a:lnTo>
                    <a:pt x="2646" y="450"/>
                  </a:lnTo>
                  <a:lnTo>
                    <a:pt x="2637" y="441"/>
                  </a:lnTo>
                  <a:lnTo>
                    <a:pt x="2631" y="431"/>
                  </a:lnTo>
                  <a:lnTo>
                    <a:pt x="2628" y="423"/>
                  </a:lnTo>
                  <a:lnTo>
                    <a:pt x="2628" y="412"/>
                  </a:lnTo>
                  <a:lnTo>
                    <a:pt x="2629" y="399"/>
                  </a:lnTo>
                  <a:lnTo>
                    <a:pt x="2631" y="384"/>
                  </a:lnTo>
                  <a:lnTo>
                    <a:pt x="2636" y="351"/>
                  </a:lnTo>
                  <a:lnTo>
                    <a:pt x="2641" y="317"/>
                  </a:lnTo>
                  <a:lnTo>
                    <a:pt x="2642" y="300"/>
                  </a:lnTo>
                  <a:lnTo>
                    <a:pt x="2642" y="285"/>
                  </a:lnTo>
                  <a:lnTo>
                    <a:pt x="2641" y="272"/>
                  </a:lnTo>
                  <a:lnTo>
                    <a:pt x="2637" y="262"/>
                  </a:lnTo>
                  <a:lnTo>
                    <a:pt x="2636" y="258"/>
                  </a:lnTo>
                  <a:lnTo>
                    <a:pt x="2632" y="255"/>
                  </a:lnTo>
                  <a:lnTo>
                    <a:pt x="2628" y="253"/>
                  </a:lnTo>
                  <a:lnTo>
                    <a:pt x="2624" y="251"/>
                  </a:lnTo>
                  <a:lnTo>
                    <a:pt x="2619" y="250"/>
                  </a:lnTo>
                  <a:lnTo>
                    <a:pt x="2612" y="251"/>
                  </a:lnTo>
                  <a:lnTo>
                    <a:pt x="2606" y="253"/>
                  </a:lnTo>
                  <a:lnTo>
                    <a:pt x="2598" y="257"/>
                  </a:lnTo>
                  <a:lnTo>
                    <a:pt x="2556" y="276"/>
                  </a:lnTo>
                  <a:lnTo>
                    <a:pt x="2517" y="299"/>
                  </a:lnTo>
                  <a:lnTo>
                    <a:pt x="2477" y="321"/>
                  </a:lnTo>
                  <a:lnTo>
                    <a:pt x="2438" y="342"/>
                  </a:lnTo>
                  <a:lnTo>
                    <a:pt x="2409" y="357"/>
                  </a:lnTo>
                  <a:lnTo>
                    <a:pt x="2383" y="373"/>
                  </a:lnTo>
                  <a:lnTo>
                    <a:pt x="2372" y="381"/>
                  </a:lnTo>
                  <a:lnTo>
                    <a:pt x="2361" y="389"/>
                  </a:lnTo>
                  <a:lnTo>
                    <a:pt x="2351" y="398"/>
                  </a:lnTo>
                  <a:lnTo>
                    <a:pt x="2341" y="407"/>
                  </a:lnTo>
                  <a:lnTo>
                    <a:pt x="2332" y="416"/>
                  </a:lnTo>
                  <a:lnTo>
                    <a:pt x="2324" y="427"/>
                  </a:lnTo>
                  <a:lnTo>
                    <a:pt x="2317" y="437"/>
                  </a:lnTo>
                  <a:lnTo>
                    <a:pt x="2309" y="448"/>
                  </a:lnTo>
                  <a:lnTo>
                    <a:pt x="2302" y="461"/>
                  </a:lnTo>
                  <a:lnTo>
                    <a:pt x="2296" y="472"/>
                  </a:lnTo>
                  <a:lnTo>
                    <a:pt x="2290" y="487"/>
                  </a:lnTo>
                  <a:lnTo>
                    <a:pt x="2284" y="501"/>
                  </a:lnTo>
                  <a:lnTo>
                    <a:pt x="2281" y="509"/>
                  </a:lnTo>
                  <a:lnTo>
                    <a:pt x="2276" y="514"/>
                  </a:lnTo>
                  <a:lnTo>
                    <a:pt x="2270" y="520"/>
                  </a:lnTo>
                  <a:lnTo>
                    <a:pt x="2263" y="525"/>
                  </a:lnTo>
                  <a:lnTo>
                    <a:pt x="2249" y="531"/>
                  </a:lnTo>
                  <a:lnTo>
                    <a:pt x="2236" y="534"/>
                  </a:lnTo>
                  <a:lnTo>
                    <a:pt x="2198" y="541"/>
                  </a:lnTo>
                  <a:lnTo>
                    <a:pt x="2187" y="543"/>
                  </a:lnTo>
                  <a:lnTo>
                    <a:pt x="2178" y="546"/>
                  </a:lnTo>
                  <a:lnTo>
                    <a:pt x="2169" y="550"/>
                  </a:lnTo>
                  <a:lnTo>
                    <a:pt x="2160" y="554"/>
                  </a:lnTo>
                  <a:lnTo>
                    <a:pt x="2150" y="556"/>
                  </a:lnTo>
                  <a:lnTo>
                    <a:pt x="2141" y="558"/>
                  </a:lnTo>
                  <a:lnTo>
                    <a:pt x="2131" y="559"/>
                  </a:lnTo>
                  <a:lnTo>
                    <a:pt x="2122" y="558"/>
                  </a:lnTo>
                  <a:lnTo>
                    <a:pt x="2111" y="558"/>
                  </a:lnTo>
                  <a:lnTo>
                    <a:pt x="2101" y="558"/>
                  </a:lnTo>
                  <a:lnTo>
                    <a:pt x="2092" y="560"/>
                  </a:lnTo>
                  <a:lnTo>
                    <a:pt x="2081" y="564"/>
                  </a:lnTo>
                  <a:lnTo>
                    <a:pt x="1945" y="640"/>
                  </a:lnTo>
                  <a:lnTo>
                    <a:pt x="1933" y="645"/>
                  </a:lnTo>
                  <a:lnTo>
                    <a:pt x="1916" y="654"/>
                  </a:lnTo>
                  <a:lnTo>
                    <a:pt x="1909" y="658"/>
                  </a:lnTo>
                  <a:lnTo>
                    <a:pt x="1902" y="663"/>
                  </a:lnTo>
                  <a:lnTo>
                    <a:pt x="1899" y="666"/>
                  </a:lnTo>
                  <a:lnTo>
                    <a:pt x="1897" y="669"/>
                  </a:lnTo>
                  <a:lnTo>
                    <a:pt x="1895" y="673"/>
                  </a:lnTo>
                  <a:lnTo>
                    <a:pt x="1895" y="675"/>
                  </a:lnTo>
                  <a:lnTo>
                    <a:pt x="1895" y="677"/>
                  </a:lnTo>
                  <a:lnTo>
                    <a:pt x="1894" y="683"/>
                  </a:lnTo>
                  <a:lnTo>
                    <a:pt x="1890" y="690"/>
                  </a:lnTo>
                  <a:lnTo>
                    <a:pt x="1884" y="697"/>
                  </a:lnTo>
                  <a:lnTo>
                    <a:pt x="1877" y="704"/>
                  </a:lnTo>
                  <a:lnTo>
                    <a:pt x="1868" y="711"/>
                  </a:lnTo>
                  <a:lnTo>
                    <a:pt x="1860" y="717"/>
                  </a:lnTo>
                  <a:lnTo>
                    <a:pt x="1851" y="721"/>
                  </a:lnTo>
                  <a:lnTo>
                    <a:pt x="1843" y="725"/>
                  </a:lnTo>
                  <a:lnTo>
                    <a:pt x="1827" y="728"/>
                  </a:lnTo>
                  <a:lnTo>
                    <a:pt x="1808" y="731"/>
                  </a:lnTo>
                  <a:lnTo>
                    <a:pt x="1789" y="734"/>
                  </a:lnTo>
                  <a:lnTo>
                    <a:pt x="1772" y="737"/>
                  </a:lnTo>
                  <a:lnTo>
                    <a:pt x="1763" y="739"/>
                  </a:lnTo>
                  <a:lnTo>
                    <a:pt x="1753" y="742"/>
                  </a:lnTo>
                  <a:lnTo>
                    <a:pt x="1744" y="746"/>
                  </a:lnTo>
                  <a:lnTo>
                    <a:pt x="1735" y="751"/>
                  </a:lnTo>
                  <a:lnTo>
                    <a:pt x="1716" y="762"/>
                  </a:lnTo>
                  <a:lnTo>
                    <a:pt x="1698" y="773"/>
                  </a:lnTo>
                  <a:lnTo>
                    <a:pt x="1689" y="777"/>
                  </a:lnTo>
                  <a:lnTo>
                    <a:pt x="1678" y="781"/>
                  </a:lnTo>
                  <a:lnTo>
                    <a:pt x="1669" y="784"/>
                  </a:lnTo>
                  <a:lnTo>
                    <a:pt x="1660" y="785"/>
                  </a:lnTo>
                  <a:lnTo>
                    <a:pt x="1650" y="785"/>
                  </a:lnTo>
                  <a:lnTo>
                    <a:pt x="1640" y="783"/>
                  </a:lnTo>
                  <a:lnTo>
                    <a:pt x="1630" y="777"/>
                  </a:lnTo>
                  <a:lnTo>
                    <a:pt x="1619" y="771"/>
                  </a:lnTo>
                  <a:lnTo>
                    <a:pt x="1588" y="746"/>
                  </a:lnTo>
                  <a:lnTo>
                    <a:pt x="1583" y="762"/>
                  </a:lnTo>
                  <a:lnTo>
                    <a:pt x="1576" y="776"/>
                  </a:lnTo>
                  <a:lnTo>
                    <a:pt x="1557" y="807"/>
                  </a:lnTo>
                  <a:lnTo>
                    <a:pt x="1536" y="839"/>
                  </a:lnTo>
                  <a:lnTo>
                    <a:pt x="1527" y="854"/>
                  </a:lnTo>
                  <a:lnTo>
                    <a:pt x="1519" y="870"/>
                  </a:lnTo>
                  <a:lnTo>
                    <a:pt x="1515" y="879"/>
                  </a:lnTo>
                  <a:lnTo>
                    <a:pt x="1513" y="888"/>
                  </a:lnTo>
                  <a:lnTo>
                    <a:pt x="1511" y="896"/>
                  </a:lnTo>
                  <a:lnTo>
                    <a:pt x="1511" y="905"/>
                  </a:lnTo>
                  <a:lnTo>
                    <a:pt x="1511" y="916"/>
                  </a:lnTo>
                  <a:lnTo>
                    <a:pt x="1508" y="926"/>
                  </a:lnTo>
                  <a:lnTo>
                    <a:pt x="1506" y="937"/>
                  </a:lnTo>
                  <a:lnTo>
                    <a:pt x="1502" y="946"/>
                  </a:lnTo>
                  <a:lnTo>
                    <a:pt x="1494" y="964"/>
                  </a:lnTo>
                  <a:lnTo>
                    <a:pt x="1485" y="981"/>
                  </a:lnTo>
                  <a:lnTo>
                    <a:pt x="1482" y="990"/>
                  </a:lnTo>
                  <a:lnTo>
                    <a:pt x="1479" y="998"/>
                  </a:lnTo>
                  <a:lnTo>
                    <a:pt x="1478" y="1006"/>
                  </a:lnTo>
                  <a:lnTo>
                    <a:pt x="1478" y="1014"/>
                  </a:lnTo>
                  <a:lnTo>
                    <a:pt x="1479" y="1022"/>
                  </a:lnTo>
                  <a:lnTo>
                    <a:pt x="1482" y="1030"/>
                  </a:lnTo>
                  <a:lnTo>
                    <a:pt x="1489" y="1038"/>
                  </a:lnTo>
                  <a:lnTo>
                    <a:pt x="1495" y="1045"/>
                  </a:lnTo>
                  <a:lnTo>
                    <a:pt x="1517" y="1061"/>
                  </a:lnTo>
                  <a:lnTo>
                    <a:pt x="1546" y="1085"/>
                  </a:lnTo>
                  <a:lnTo>
                    <a:pt x="1574" y="1106"/>
                  </a:lnTo>
                  <a:lnTo>
                    <a:pt x="1585" y="1117"/>
                  </a:lnTo>
                  <a:lnTo>
                    <a:pt x="1585" y="1127"/>
                  </a:lnTo>
                  <a:lnTo>
                    <a:pt x="1584" y="1137"/>
                  </a:lnTo>
                  <a:lnTo>
                    <a:pt x="1580" y="1149"/>
                  </a:lnTo>
                  <a:lnTo>
                    <a:pt x="1574" y="1162"/>
                  </a:lnTo>
                  <a:lnTo>
                    <a:pt x="1567" y="1176"/>
                  </a:lnTo>
                  <a:lnTo>
                    <a:pt x="1559" y="1191"/>
                  </a:lnTo>
                  <a:lnTo>
                    <a:pt x="1550" y="1206"/>
                  </a:lnTo>
                  <a:lnTo>
                    <a:pt x="1541" y="1221"/>
                  </a:lnTo>
                  <a:lnTo>
                    <a:pt x="1519" y="1251"/>
                  </a:lnTo>
                  <a:lnTo>
                    <a:pt x="1498" y="1276"/>
                  </a:lnTo>
                  <a:lnTo>
                    <a:pt x="1487" y="1287"/>
                  </a:lnTo>
                  <a:lnTo>
                    <a:pt x="1477" y="1297"/>
                  </a:lnTo>
                  <a:lnTo>
                    <a:pt x="1468" y="1303"/>
                  </a:lnTo>
                  <a:lnTo>
                    <a:pt x="1459" y="1308"/>
                  </a:lnTo>
                  <a:lnTo>
                    <a:pt x="1423" y="1324"/>
                  </a:lnTo>
                  <a:lnTo>
                    <a:pt x="1370" y="1348"/>
                  </a:lnTo>
                  <a:lnTo>
                    <a:pt x="1343" y="1361"/>
                  </a:lnTo>
                  <a:lnTo>
                    <a:pt x="1323" y="1374"/>
                  </a:lnTo>
                  <a:lnTo>
                    <a:pt x="1315" y="1380"/>
                  </a:lnTo>
                  <a:lnTo>
                    <a:pt x="1309" y="1386"/>
                  </a:lnTo>
                  <a:lnTo>
                    <a:pt x="1308" y="1388"/>
                  </a:lnTo>
                  <a:lnTo>
                    <a:pt x="1307" y="1391"/>
                  </a:lnTo>
                  <a:lnTo>
                    <a:pt x="1306" y="1393"/>
                  </a:lnTo>
                  <a:lnTo>
                    <a:pt x="1307" y="1396"/>
                  </a:lnTo>
                  <a:lnTo>
                    <a:pt x="1311" y="1409"/>
                  </a:lnTo>
                  <a:lnTo>
                    <a:pt x="1313" y="1421"/>
                  </a:lnTo>
                  <a:lnTo>
                    <a:pt x="1313" y="1430"/>
                  </a:lnTo>
                  <a:lnTo>
                    <a:pt x="1312" y="1437"/>
                  </a:lnTo>
                  <a:lnTo>
                    <a:pt x="1309" y="1442"/>
                  </a:lnTo>
                  <a:lnTo>
                    <a:pt x="1306" y="1446"/>
                  </a:lnTo>
                  <a:lnTo>
                    <a:pt x="1300" y="1448"/>
                  </a:lnTo>
                  <a:lnTo>
                    <a:pt x="1294" y="1450"/>
                  </a:lnTo>
                  <a:lnTo>
                    <a:pt x="1278" y="1450"/>
                  </a:lnTo>
                  <a:lnTo>
                    <a:pt x="1262" y="1451"/>
                  </a:lnTo>
                  <a:lnTo>
                    <a:pt x="1256" y="1452"/>
                  </a:lnTo>
                  <a:lnTo>
                    <a:pt x="1248" y="1454"/>
                  </a:lnTo>
                  <a:lnTo>
                    <a:pt x="1241" y="1456"/>
                  </a:lnTo>
                  <a:lnTo>
                    <a:pt x="1236" y="1460"/>
                  </a:lnTo>
                  <a:lnTo>
                    <a:pt x="1231" y="1467"/>
                  </a:lnTo>
                  <a:lnTo>
                    <a:pt x="1228" y="1471"/>
                  </a:lnTo>
                  <a:lnTo>
                    <a:pt x="1226" y="1476"/>
                  </a:lnTo>
                  <a:lnTo>
                    <a:pt x="1224" y="1478"/>
                  </a:lnTo>
                  <a:lnTo>
                    <a:pt x="1224" y="1485"/>
                  </a:lnTo>
                  <a:lnTo>
                    <a:pt x="1224" y="1490"/>
                  </a:lnTo>
                  <a:lnTo>
                    <a:pt x="1223" y="1493"/>
                  </a:lnTo>
                  <a:lnTo>
                    <a:pt x="1223" y="1495"/>
                  </a:lnTo>
                  <a:lnTo>
                    <a:pt x="1220" y="1498"/>
                  </a:lnTo>
                  <a:lnTo>
                    <a:pt x="1218" y="1501"/>
                  </a:lnTo>
                  <a:lnTo>
                    <a:pt x="1207" y="1506"/>
                  </a:lnTo>
                  <a:lnTo>
                    <a:pt x="1189" y="1514"/>
                  </a:lnTo>
                  <a:lnTo>
                    <a:pt x="1183" y="1516"/>
                  </a:lnTo>
                  <a:lnTo>
                    <a:pt x="1177" y="1520"/>
                  </a:lnTo>
                  <a:lnTo>
                    <a:pt x="1172" y="1524"/>
                  </a:lnTo>
                  <a:lnTo>
                    <a:pt x="1166" y="1529"/>
                  </a:lnTo>
                  <a:lnTo>
                    <a:pt x="1155" y="1540"/>
                  </a:lnTo>
                  <a:lnTo>
                    <a:pt x="1143" y="1553"/>
                  </a:lnTo>
                  <a:lnTo>
                    <a:pt x="1130" y="1565"/>
                  </a:lnTo>
                  <a:lnTo>
                    <a:pt x="1116" y="1577"/>
                  </a:lnTo>
                  <a:lnTo>
                    <a:pt x="1108" y="1580"/>
                  </a:lnTo>
                  <a:lnTo>
                    <a:pt x="1099" y="1584"/>
                  </a:lnTo>
                  <a:lnTo>
                    <a:pt x="1090" y="1587"/>
                  </a:lnTo>
                  <a:lnTo>
                    <a:pt x="1081" y="1588"/>
                  </a:lnTo>
                  <a:lnTo>
                    <a:pt x="1064" y="1592"/>
                  </a:lnTo>
                  <a:lnTo>
                    <a:pt x="1044" y="1599"/>
                  </a:lnTo>
                  <a:lnTo>
                    <a:pt x="1022" y="1608"/>
                  </a:lnTo>
                  <a:lnTo>
                    <a:pt x="998" y="1618"/>
                  </a:lnTo>
                  <a:lnTo>
                    <a:pt x="976" y="1630"/>
                  </a:lnTo>
                  <a:lnTo>
                    <a:pt x="955" y="1642"/>
                  </a:lnTo>
                  <a:lnTo>
                    <a:pt x="937" y="1655"/>
                  </a:lnTo>
                  <a:lnTo>
                    <a:pt x="922" y="1667"/>
                  </a:lnTo>
                  <a:lnTo>
                    <a:pt x="918" y="1671"/>
                  </a:lnTo>
                  <a:lnTo>
                    <a:pt x="913" y="1675"/>
                  </a:lnTo>
                  <a:lnTo>
                    <a:pt x="911" y="1676"/>
                  </a:lnTo>
                  <a:lnTo>
                    <a:pt x="908" y="1679"/>
                  </a:lnTo>
                  <a:lnTo>
                    <a:pt x="903" y="1681"/>
                  </a:lnTo>
                  <a:lnTo>
                    <a:pt x="899" y="1685"/>
                  </a:lnTo>
                  <a:lnTo>
                    <a:pt x="897" y="1686"/>
                  </a:lnTo>
                  <a:lnTo>
                    <a:pt x="896" y="1688"/>
                  </a:lnTo>
                  <a:lnTo>
                    <a:pt x="887" y="1693"/>
                  </a:lnTo>
                  <a:lnTo>
                    <a:pt x="878" y="1698"/>
                  </a:lnTo>
                  <a:lnTo>
                    <a:pt x="873" y="1701"/>
                  </a:lnTo>
                  <a:lnTo>
                    <a:pt x="867" y="1705"/>
                  </a:lnTo>
                  <a:lnTo>
                    <a:pt x="866" y="1707"/>
                  </a:lnTo>
                  <a:lnTo>
                    <a:pt x="863" y="1710"/>
                  </a:lnTo>
                  <a:lnTo>
                    <a:pt x="862" y="1711"/>
                  </a:lnTo>
                  <a:lnTo>
                    <a:pt x="861" y="1713"/>
                  </a:lnTo>
                  <a:lnTo>
                    <a:pt x="861" y="1713"/>
                  </a:lnTo>
                  <a:lnTo>
                    <a:pt x="859" y="1714"/>
                  </a:lnTo>
                  <a:lnTo>
                    <a:pt x="858" y="1714"/>
                  </a:lnTo>
                  <a:lnTo>
                    <a:pt x="858" y="1714"/>
                  </a:lnTo>
                  <a:lnTo>
                    <a:pt x="856" y="1718"/>
                  </a:lnTo>
                  <a:lnTo>
                    <a:pt x="853" y="1722"/>
                  </a:lnTo>
                  <a:lnTo>
                    <a:pt x="852" y="1723"/>
                  </a:lnTo>
                  <a:lnTo>
                    <a:pt x="852" y="1723"/>
                  </a:lnTo>
                  <a:lnTo>
                    <a:pt x="850" y="1724"/>
                  </a:lnTo>
                  <a:lnTo>
                    <a:pt x="850" y="1726"/>
                  </a:lnTo>
                  <a:lnTo>
                    <a:pt x="844" y="1735"/>
                  </a:lnTo>
                  <a:lnTo>
                    <a:pt x="837" y="1744"/>
                  </a:lnTo>
                  <a:lnTo>
                    <a:pt x="835" y="1745"/>
                  </a:lnTo>
                  <a:lnTo>
                    <a:pt x="833" y="1748"/>
                  </a:lnTo>
                  <a:lnTo>
                    <a:pt x="832" y="1748"/>
                  </a:lnTo>
                  <a:lnTo>
                    <a:pt x="832" y="1750"/>
                  </a:lnTo>
                  <a:lnTo>
                    <a:pt x="831" y="1753"/>
                  </a:lnTo>
                  <a:lnTo>
                    <a:pt x="829" y="1757"/>
                  </a:lnTo>
                  <a:lnTo>
                    <a:pt x="828" y="1760"/>
                  </a:lnTo>
                  <a:lnTo>
                    <a:pt x="789" y="1808"/>
                  </a:lnTo>
                  <a:lnTo>
                    <a:pt x="784" y="1813"/>
                  </a:lnTo>
                  <a:lnTo>
                    <a:pt x="778" y="1817"/>
                  </a:lnTo>
                  <a:lnTo>
                    <a:pt x="772" y="1822"/>
                  </a:lnTo>
                  <a:lnTo>
                    <a:pt x="765" y="1825"/>
                  </a:lnTo>
                  <a:lnTo>
                    <a:pt x="763" y="1826"/>
                  </a:lnTo>
                  <a:lnTo>
                    <a:pt x="761" y="1829"/>
                  </a:lnTo>
                  <a:lnTo>
                    <a:pt x="754" y="1838"/>
                  </a:lnTo>
                  <a:lnTo>
                    <a:pt x="744" y="1847"/>
                  </a:lnTo>
                  <a:lnTo>
                    <a:pt x="743" y="1850"/>
                  </a:lnTo>
                  <a:lnTo>
                    <a:pt x="742" y="1853"/>
                  </a:lnTo>
                  <a:lnTo>
                    <a:pt x="740" y="1855"/>
                  </a:lnTo>
                  <a:lnTo>
                    <a:pt x="738" y="1856"/>
                  </a:lnTo>
                  <a:lnTo>
                    <a:pt x="735" y="1858"/>
                  </a:lnTo>
                  <a:lnTo>
                    <a:pt x="731" y="1860"/>
                  </a:lnTo>
                  <a:lnTo>
                    <a:pt x="725" y="1864"/>
                  </a:lnTo>
                  <a:lnTo>
                    <a:pt x="720" y="1868"/>
                  </a:lnTo>
                  <a:lnTo>
                    <a:pt x="713" y="1872"/>
                  </a:lnTo>
                  <a:lnTo>
                    <a:pt x="708" y="1877"/>
                  </a:lnTo>
                  <a:lnTo>
                    <a:pt x="705" y="1879"/>
                  </a:lnTo>
                  <a:lnTo>
                    <a:pt x="704" y="1881"/>
                  </a:lnTo>
                  <a:lnTo>
                    <a:pt x="703" y="1883"/>
                  </a:lnTo>
                  <a:lnTo>
                    <a:pt x="700" y="1883"/>
                  </a:lnTo>
                  <a:lnTo>
                    <a:pt x="697" y="1887"/>
                  </a:lnTo>
                  <a:lnTo>
                    <a:pt x="695" y="1890"/>
                  </a:lnTo>
                  <a:lnTo>
                    <a:pt x="693" y="1892"/>
                  </a:lnTo>
                  <a:lnTo>
                    <a:pt x="693" y="1893"/>
                  </a:lnTo>
                  <a:lnTo>
                    <a:pt x="691" y="1896"/>
                  </a:lnTo>
                  <a:lnTo>
                    <a:pt x="689" y="1898"/>
                  </a:lnTo>
                  <a:lnTo>
                    <a:pt x="684" y="1905"/>
                  </a:lnTo>
                  <a:lnTo>
                    <a:pt x="679" y="1910"/>
                  </a:lnTo>
                  <a:lnTo>
                    <a:pt x="678" y="1913"/>
                  </a:lnTo>
                  <a:lnTo>
                    <a:pt x="676" y="1914"/>
                  </a:lnTo>
                  <a:lnTo>
                    <a:pt x="674" y="1917"/>
                  </a:lnTo>
                  <a:lnTo>
                    <a:pt x="672" y="1919"/>
                  </a:lnTo>
                  <a:lnTo>
                    <a:pt x="671" y="1922"/>
                  </a:lnTo>
                  <a:lnTo>
                    <a:pt x="670" y="1923"/>
                  </a:lnTo>
                  <a:lnTo>
                    <a:pt x="665" y="1930"/>
                  </a:lnTo>
                  <a:lnTo>
                    <a:pt x="659" y="1936"/>
                  </a:lnTo>
                  <a:lnTo>
                    <a:pt x="655" y="1940"/>
                  </a:lnTo>
                  <a:lnTo>
                    <a:pt x="653" y="1943"/>
                  </a:lnTo>
                  <a:lnTo>
                    <a:pt x="649" y="1947"/>
                  </a:lnTo>
                  <a:lnTo>
                    <a:pt x="646" y="1949"/>
                  </a:lnTo>
                  <a:lnTo>
                    <a:pt x="645" y="1951"/>
                  </a:lnTo>
                  <a:lnTo>
                    <a:pt x="644" y="1952"/>
                  </a:lnTo>
                  <a:lnTo>
                    <a:pt x="642" y="1953"/>
                  </a:lnTo>
                  <a:lnTo>
                    <a:pt x="641" y="1953"/>
                  </a:lnTo>
                  <a:lnTo>
                    <a:pt x="641" y="1955"/>
                  </a:lnTo>
                  <a:lnTo>
                    <a:pt x="641" y="1955"/>
                  </a:lnTo>
                  <a:lnTo>
                    <a:pt x="635" y="1958"/>
                  </a:lnTo>
                  <a:lnTo>
                    <a:pt x="627" y="1961"/>
                  </a:lnTo>
                  <a:lnTo>
                    <a:pt x="625" y="1961"/>
                  </a:lnTo>
                  <a:lnTo>
                    <a:pt x="624" y="1962"/>
                  </a:lnTo>
                  <a:lnTo>
                    <a:pt x="623" y="1962"/>
                  </a:lnTo>
                  <a:lnTo>
                    <a:pt x="623" y="1964"/>
                  </a:lnTo>
                  <a:lnTo>
                    <a:pt x="621" y="1964"/>
                  </a:lnTo>
                  <a:lnTo>
                    <a:pt x="620" y="1965"/>
                  </a:lnTo>
                  <a:lnTo>
                    <a:pt x="606" y="1981"/>
                  </a:lnTo>
                  <a:lnTo>
                    <a:pt x="603" y="1986"/>
                  </a:lnTo>
                  <a:lnTo>
                    <a:pt x="599" y="1991"/>
                  </a:lnTo>
                  <a:lnTo>
                    <a:pt x="594" y="1996"/>
                  </a:lnTo>
                  <a:lnTo>
                    <a:pt x="590" y="2000"/>
                  </a:lnTo>
                  <a:lnTo>
                    <a:pt x="589" y="2003"/>
                  </a:lnTo>
                  <a:lnTo>
                    <a:pt x="587" y="2004"/>
                  </a:lnTo>
                  <a:lnTo>
                    <a:pt x="586" y="2006"/>
                  </a:lnTo>
                  <a:lnTo>
                    <a:pt x="585" y="2007"/>
                  </a:lnTo>
                  <a:lnTo>
                    <a:pt x="580" y="2011"/>
                  </a:lnTo>
                  <a:lnTo>
                    <a:pt x="576" y="2013"/>
                  </a:lnTo>
                  <a:lnTo>
                    <a:pt x="573" y="2015"/>
                  </a:lnTo>
                  <a:lnTo>
                    <a:pt x="568" y="2016"/>
                  </a:lnTo>
                  <a:lnTo>
                    <a:pt x="566" y="2017"/>
                  </a:lnTo>
                  <a:lnTo>
                    <a:pt x="564" y="2019"/>
                  </a:lnTo>
                  <a:lnTo>
                    <a:pt x="561" y="2019"/>
                  </a:lnTo>
                  <a:lnTo>
                    <a:pt x="560" y="2019"/>
                  </a:lnTo>
                  <a:lnTo>
                    <a:pt x="557" y="2020"/>
                  </a:lnTo>
                  <a:lnTo>
                    <a:pt x="557" y="2021"/>
                  </a:lnTo>
                  <a:lnTo>
                    <a:pt x="556" y="2021"/>
                  </a:lnTo>
                  <a:lnTo>
                    <a:pt x="555" y="2023"/>
                  </a:lnTo>
                  <a:lnTo>
                    <a:pt x="553" y="2023"/>
                  </a:lnTo>
                  <a:lnTo>
                    <a:pt x="553" y="2024"/>
                  </a:lnTo>
                  <a:lnTo>
                    <a:pt x="552" y="2024"/>
                  </a:lnTo>
                  <a:lnTo>
                    <a:pt x="544" y="2038"/>
                  </a:lnTo>
                  <a:lnTo>
                    <a:pt x="536" y="2051"/>
                  </a:lnTo>
                  <a:lnTo>
                    <a:pt x="530" y="2059"/>
                  </a:lnTo>
                  <a:lnTo>
                    <a:pt x="523" y="2066"/>
                  </a:lnTo>
                  <a:lnTo>
                    <a:pt x="521" y="2067"/>
                  </a:lnTo>
                  <a:lnTo>
                    <a:pt x="518" y="2068"/>
                  </a:lnTo>
                  <a:lnTo>
                    <a:pt x="517" y="2068"/>
                  </a:lnTo>
                  <a:lnTo>
                    <a:pt x="514" y="2071"/>
                  </a:lnTo>
                  <a:lnTo>
                    <a:pt x="512" y="2075"/>
                  </a:lnTo>
                  <a:lnTo>
                    <a:pt x="510" y="2076"/>
                  </a:lnTo>
                  <a:lnTo>
                    <a:pt x="509" y="2078"/>
                  </a:lnTo>
                  <a:lnTo>
                    <a:pt x="509" y="2079"/>
                  </a:lnTo>
                  <a:lnTo>
                    <a:pt x="508" y="2080"/>
                  </a:lnTo>
                  <a:lnTo>
                    <a:pt x="505" y="2080"/>
                  </a:lnTo>
                  <a:lnTo>
                    <a:pt x="502" y="2081"/>
                  </a:lnTo>
                  <a:lnTo>
                    <a:pt x="498" y="2083"/>
                  </a:lnTo>
                  <a:lnTo>
                    <a:pt x="495" y="2085"/>
                  </a:lnTo>
                  <a:lnTo>
                    <a:pt x="492" y="2085"/>
                  </a:lnTo>
                  <a:lnTo>
                    <a:pt x="491" y="2088"/>
                  </a:lnTo>
                  <a:lnTo>
                    <a:pt x="483" y="2095"/>
                  </a:lnTo>
                  <a:lnTo>
                    <a:pt x="475" y="2105"/>
                  </a:lnTo>
                  <a:lnTo>
                    <a:pt x="470" y="2114"/>
                  </a:lnTo>
                  <a:lnTo>
                    <a:pt x="464" y="2123"/>
                  </a:lnTo>
                  <a:lnTo>
                    <a:pt x="458" y="2131"/>
                  </a:lnTo>
                  <a:lnTo>
                    <a:pt x="451" y="2138"/>
                  </a:lnTo>
                  <a:lnTo>
                    <a:pt x="446" y="2142"/>
                  </a:lnTo>
                  <a:lnTo>
                    <a:pt x="441" y="2144"/>
                  </a:lnTo>
                  <a:lnTo>
                    <a:pt x="437" y="2147"/>
                  </a:lnTo>
                  <a:lnTo>
                    <a:pt x="434" y="2149"/>
                  </a:lnTo>
                  <a:lnTo>
                    <a:pt x="432" y="2151"/>
                  </a:lnTo>
                  <a:lnTo>
                    <a:pt x="429" y="2152"/>
                  </a:lnTo>
                  <a:lnTo>
                    <a:pt x="428" y="2153"/>
                  </a:lnTo>
                  <a:lnTo>
                    <a:pt x="427" y="2155"/>
                  </a:lnTo>
                  <a:lnTo>
                    <a:pt x="425" y="2156"/>
                  </a:lnTo>
                  <a:lnTo>
                    <a:pt x="424" y="2159"/>
                  </a:lnTo>
                  <a:lnTo>
                    <a:pt x="423" y="2159"/>
                  </a:lnTo>
                  <a:lnTo>
                    <a:pt x="421" y="2161"/>
                  </a:lnTo>
                  <a:lnTo>
                    <a:pt x="421" y="2161"/>
                  </a:lnTo>
                  <a:lnTo>
                    <a:pt x="404" y="2165"/>
                  </a:lnTo>
                  <a:lnTo>
                    <a:pt x="387" y="2169"/>
                  </a:lnTo>
                  <a:lnTo>
                    <a:pt x="385" y="2170"/>
                  </a:lnTo>
                  <a:lnTo>
                    <a:pt x="383" y="2173"/>
                  </a:lnTo>
                  <a:lnTo>
                    <a:pt x="376" y="2182"/>
                  </a:lnTo>
                  <a:lnTo>
                    <a:pt x="369" y="2194"/>
                  </a:lnTo>
                  <a:lnTo>
                    <a:pt x="366" y="2197"/>
                  </a:lnTo>
                  <a:lnTo>
                    <a:pt x="362" y="2198"/>
                  </a:lnTo>
                  <a:lnTo>
                    <a:pt x="359" y="2202"/>
                  </a:lnTo>
                  <a:lnTo>
                    <a:pt x="355" y="2206"/>
                  </a:lnTo>
                  <a:lnTo>
                    <a:pt x="304" y="2237"/>
                  </a:lnTo>
                  <a:lnTo>
                    <a:pt x="292" y="2246"/>
                  </a:lnTo>
                  <a:lnTo>
                    <a:pt x="279" y="2259"/>
                  </a:lnTo>
                  <a:lnTo>
                    <a:pt x="267" y="2274"/>
                  </a:lnTo>
                  <a:lnTo>
                    <a:pt x="255" y="2284"/>
                  </a:lnTo>
                  <a:lnTo>
                    <a:pt x="253" y="2288"/>
                  </a:lnTo>
                  <a:lnTo>
                    <a:pt x="250" y="2292"/>
                  </a:lnTo>
                  <a:lnTo>
                    <a:pt x="246" y="2297"/>
                  </a:lnTo>
                  <a:lnTo>
                    <a:pt x="243" y="2301"/>
                  </a:lnTo>
                  <a:lnTo>
                    <a:pt x="236" y="2310"/>
                  </a:lnTo>
                  <a:lnTo>
                    <a:pt x="228" y="2321"/>
                  </a:lnTo>
                  <a:lnTo>
                    <a:pt x="226" y="2322"/>
                  </a:lnTo>
                  <a:lnTo>
                    <a:pt x="225" y="2323"/>
                  </a:lnTo>
                  <a:lnTo>
                    <a:pt x="224" y="2325"/>
                  </a:lnTo>
                  <a:lnTo>
                    <a:pt x="222" y="2327"/>
                  </a:lnTo>
                  <a:lnTo>
                    <a:pt x="222" y="2329"/>
                  </a:lnTo>
                  <a:lnTo>
                    <a:pt x="221" y="2330"/>
                  </a:lnTo>
                  <a:lnTo>
                    <a:pt x="220" y="2333"/>
                  </a:lnTo>
                  <a:lnTo>
                    <a:pt x="217" y="2335"/>
                  </a:lnTo>
                  <a:lnTo>
                    <a:pt x="216" y="2335"/>
                  </a:lnTo>
                  <a:lnTo>
                    <a:pt x="216" y="2337"/>
                  </a:lnTo>
                  <a:lnTo>
                    <a:pt x="215" y="2338"/>
                  </a:lnTo>
                  <a:lnTo>
                    <a:pt x="213" y="2338"/>
                  </a:lnTo>
                  <a:lnTo>
                    <a:pt x="212" y="2338"/>
                  </a:lnTo>
                  <a:lnTo>
                    <a:pt x="212" y="2339"/>
                  </a:lnTo>
                  <a:lnTo>
                    <a:pt x="211" y="2339"/>
                  </a:lnTo>
                  <a:lnTo>
                    <a:pt x="209" y="2340"/>
                  </a:lnTo>
                  <a:lnTo>
                    <a:pt x="208" y="2343"/>
                  </a:lnTo>
                  <a:lnTo>
                    <a:pt x="207" y="2344"/>
                  </a:lnTo>
                  <a:lnTo>
                    <a:pt x="205" y="2347"/>
                  </a:lnTo>
                  <a:lnTo>
                    <a:pt x="203" y="2348"/>
                  </a:lnTo>
                  <a:lnTo>
                    <a:pt x="202" y="2348"/>
                  </a:lnTo>
                  <a:lnTo>
                    <a:pt x="202" y="2350"/>
                  </a:lnTo>
                  <a:lnTo>
                    <a:pt x="200" y="2351"/>
                  </a:lnTo>
                  <a:lnTo>
                    <a:pt x="200" y="2352"/>
                  </a:lnTo>
                  <a:lnTo>
                    <a:pt x="199" y="2352"/>
                  </a:lnTo>
                  <a:lnTo>
                    <a:pt x="198" y="2354"/>
                  </a:lnTo>
                  <a:lnTo>
                    <a:pt x="198" y="2354"/>
                  </a:lnTo>
                  <a:lnTo>
                    <a:pt x="196" y="2356"/>
                  </a:lnTo>
                  <a:lnTo>
                    <a:pt x="195" y="2357"/>
                  </a:lnTo>
                  <a:lnTo>
                    <a:pt x="194" y="2357"/>
                  </a:lnTo>
                  <a:lnTo>
                    <a:pt x="191" y="2360"/>
                  </a:lnTo>
                  <a:lnTo>
                    <a:pt x="188" y="2364"/>
                  </a:lnTo>
                  <a:lnTo>
                    <a:pt x="187" y="2364"/>
                  </a:lnTo>
                  <a:lnTo>
                    <a:pt x="187" y="2365"/>
                  </a:lnTo>
                  <a:lnTo>
                    <a:pt x="186" y="2367"/>
                  </a:lnTo>
                  <a:lnTo>
                    <a:pt x="186" y="2368"/>
                  </a:lnTo>
                  <a:lnTo>
                    <a:pt x="366" y="2542"/>
                  </a:lnTo>
                  <a:lnTo>
                    <a:pt x="339" y="2577"/>
                  </a:lnTo>
                  <a:lnTo>
                    <a:pt x="357" y="2594"/>
                  </a:lnTo>
                  <a:lnTo>
                    <a:pt x="158" y="2793"/>
                  </a:lnTo>
                  <a:lnTo>
                    <a:pt x="153" y="2801"/>
                  </a:lnTo>
                  <a:lnTo>
                    <a:pt x="148" y="2807"/>
                  </a:lnTo>
                  <a:lnTo>
                    <a:pt x="145" y="2815"/>
                  </a:lnTo>
                  <a:lnTo>
                    <a:pt x="143" y="2822"/>
                  </a:lnTo>
                  <a:lnTo>
                    <a:pt x="141" y="2837"/>
                  </a:lnTo>
                  <a:lnTo>
                    <a:pt x="141" y="2853"/>
                  </a:lnTo>
                  <a:lnTo>
                    <a:pt x="143" y="2869"/>
                  </a:lnTo>
                  <a:lnTo>
                    <a:pt x="141" y="2885"/>
                  </a:lnTo>
                  <a:lnTo>
                    <a:pt x="140" y="2892"/>
                  </a:lnTo>
                  <a:lnTo>
                    <a:pt x="137" y="2900"/>
                  </a:lnTo>
                  <a:lnTo>
                    <a:pt x="134" y="2908"/>
                  </a:lnTo>
                  <a:lnTo>
                    <a:pt x="128" y="2916"/>
                  </a:lnTo>
                  <a:lnTo>
                    <a:pt x="114" y="2934"/>
                  </a:lnTo>
                  <a:lnTo>
                    <a:pt x="96" y="2951"/>
                  </a:lnTo>
                  <a:lnTo>
                    <a:pt x="79" y="2968"/>
                  </a:lnTo>
                  <a:lnTo>
                    <a:pt x="63" y="2987"/>
                  </a:lnTo>
                  <a:lnTo>
                    <a:pt x="50" y="3001"/>
                  </a:lnTo>
                  <a:lnTo>
                    <a:pt x="38" y="3014"/>
                  </a:lnTo>
                  <a:lnTo>
                    <a:pt x="30" y="3025"/>
                  </a:lnTo>
                  <a:lnTo>
                    <a:pt x="25" y="3035"/>
                  </a:lnTo>
                  <a:lnTo>
                    <a:pt x="24" y="3039"/>
                  </a:lnTo>
                  <a:lnTo>
                    <a:pt x="24" y="3044"/>
                  </a:lnTo>
                  <a:lnTo>
                    <a:pt x="25" y="3049"/>
                  </a:lnTo>
                  <a:lnTo>
                    <a:pt x="28" y="3055"/>
                  </a:lnTo>
                  <a:lnTo>
                    <a:pt x="32" y="3060"/>
                  </a:lnTo>
                  <a:lnTo>
                    <a:pt x="37" y="3066"/>
                  </a:lnTo>
                  <a:lnTo>
                    <a:pt x="43" y="3073"/>
                  </a:lnTo>
                  <a:lnTo>
                    <a:pt x="52" y="3081"/>
                  </a:lnTo>
                  <a:lnTo>
                    <a:pt x="58" y="3085"/>
                  </a:lnTo>
                  <a:lnTo>
                    <a:pt x="63" y="3091"/>
                  </a:lnTo>
                  <a:lnTo>
                    <a:pt x="68" y="3098"/>
                  </a:lnTo>
                  <a:lnTo>
                    <a:pt x="73" y="3104"/>
                  </a:lnTo>
                  <a:lnTo>
                    <a:pt x="77" y="3112"/>
                  </a:lnTo>
                  <a:lnTo>
                    <a:pt x="80" y="3120"/>
                  </a:lnTo>
                  <a:lnTo>
                    <a:pt x="83" y="3128"/>
                  </a:lnTo>
                  <a:lnTo>
                    <a:pt x="83" y="3136"/>
                  </a:lnTo>
                  <a:lnTo>
                    <a:pt x="83" y="3144"/>
                  </a:lnTo>
                  <a:lnTo>
                    <a:pt x="80" y="3150"/>
                  </a:lnTo>
                  <a:lnTo>
                    <a:pt x="77" y="3158"/>
                  </a:lnTo>
                  <a:lnTo>
                    <a:pt x="73" y="3166"/>
                  </a:lnTo>
                  <a:lnTo>
                    <a:pt x="67" y="3179"/>
                  </a:lnTo>
                  <a:lnTo>
                    <a:pt x="62" y="3188"/>
                  </a:lnTo>
                  <a:lnTo>
                    <a:pt x="55" y="3197"/>
                  </a:lnTo>
                  <a:lnTo>
                    <a:pt x="47" y="3202"/>
                  </a:lnTo>
                  <a:lnTo>
                    <a:pt x="46" y="3204"/>
                  </a:lnTo>
                  <a:lnTo>
                    <a:pt x="46" y="3205"/>
                  </a:lnTo>
                  <a:lnTo>
                    <a:pt x="45" y="3208"/>
                  </a:lnTo>
                  <a:lnTo>
                    <a:pt x="45" y="3209"/>
                  </a:lnTo>
                  <a:lnTo>
                    <a:pt x="43" y="3210"/>
                  </a:lnTo>
                  <a:lnTo>
                    <a:pt x="43" y="3212"/>
                  </a:lnTo>
                  <a:lnTo>
                    <a:pt x="43" y="3213"/>
                  </a:lnTo>
                  <a:lnTo>
                    <a:pt x="42" y="3214"/>
                  </a:lnTo>
                  <a:lnTo>
                    <a:pt x="34" y="3233"/>
                  </a:lnTo>
                  <a:lnTo>
                    <a:pt x="25" y="3248"/>
                  </a:lnTo>
                  <a:lnTo>
                    <a:pt x="18" y="3259"/>
                  </a:lnTo>
                  <a:lnTo>
                    <a:pt x="12" y="3269"/>
                  </a:lnTo>
                  <a:lnTo>
                    <a:pt x="12" y="3272"/>
                  </a:lnTo>
                  <a:lnTo>
                    <a:pt x="11" y="3272"/>
                  </a:lnTo>
                  <a:lnTo>
                    <a:pt x="11" y="3272"/>
                  </a:lnTo>
                  <a:lnTo>
                    <a:pt x="11" y="3274"/>
                  </a:lnTo>
                  <a:lnTo>
                    <a:pt x="9" y="3277"/>
                  </a:lnTo>
                  <a:lnTo>
                    <a:pt x="8" y="3280"/>
                  </a:lnTo>
                  <a:lnTo>
                    <a:pt x="5" y="3284"/>
                  </a:lnTo>
                  <a:lnTo>
                    <a:pt x="1" y="3291"/>
                  </a:lnTo>
                  <a:lnTo>
                    <a:pt x="0" y="3298"/>
                  </a:lnTo>
                  <a:lnTo>
                    <a:pt x="0" y="3302"/>
                  </a:lnTo>
                  <a:lnTo>
                    <a:pt x="24" y="3302"/>
                  </a:lnTo>
                  <a:lnTo>
                    <a:pt x="29" y="3302"/>
                  </a:lnTo>
                  <a:lnTo>
                    <a:pt x="34" y="3304"/>
                  </a:lnTo>
                  <a:lnTo>
                    <a:pt x="35" y="3304"/>
                  </a:lnTo>
                  <a:lnTo>
                    <a:pt x="37" y="3304"/>
                  </a:lnTo>
                  <a:lnTo>
                    <a:pt x="43" y="3307"/>
                  </a:lnTo>
                  <a:lnTo>
                    <a:pt x="49" y="3310"/>
                  </a:lnTo>
                  <a:lnTo>
                    <a:pt x="54" y="3314"/>
                  </a:lnTo>
                  <a:lnTo>
                    <a:pt x="62" y="3316"/>
                  </a:lnTo>
                  <a:lnTo>
                    <a:pt x="75" y="3319"/>
                  </a:lnTo>
                  <a:lnTo>
                    <a:pt x="88" y="3321"/>
                  </a:lnTo>
                  <a:lnTo>
                    <a:pt x="102" y="3324"/>
                  </a:lnTo>
                  <a:lnTo>
                    <a:pt x="115" y="3327"/>
                  </a:lnTo>
                  <a:lnTo>
                    <a:pt x="126" y="3329"/>
                  </a:lnTo>
                  <a:lnTo>
                    <a:pt x="132" y="3333"/>
                  </a:lnTo>
                  <a:lnTo>
                    <a:pt x="143" y="3344"/>
                  </a:lnTo>
                  <a:lnTo>
                    <a:pt x="149" y="3353"/>
                  </a:lnTo>
                  <a:lnTo>
                    <a:pt x="149" y="3354"/>
                  </a:lnTo>
                  <a:lnTo>
                    <a:pt x="149" y="3355"/>
                  </a:lnTo>
                  <a:lnTo>
                    <a:pt x="151" y="3357"/>
                  </a:lnTo>
                  <a:lnTo>
                    <a:pt x="152" y="3357"/>
                  </a:lnTo>
                  <a:lnTo>
                    <a:pt x="152" y="3357"/>
                  </a:lnTo>
                  <a:lnTo>
                    <a:pt x="152" y="3359"/>
                  </a:lnTo>
                  <a:lnTo>
                    <a:pt x="153" y="3365"/>
                  </a:lnTo>
                  <a:lnTo>
                    <a:pt x="154" y="3371"/>
                  </a:lnTo>
                  <a:lnTo>
                    <a:pt x="156" y="3373"/>
                  </a:lnTo>
                  <a:lnTo>
                    <a:pt x="156" y="3374"/>
                  </a:lnTo>
                  <a:lnTo>
                    <a:pt x="157" y="3375"/>
                  </a:lnTo>
                  <a:lnTo>
                    <a:pt x="157" y="3378"/>
                  </a:lnTo>
                  <a:lnTo>
                    <a:pt x="160" y="3379"/>
                  </a:lnTo>
                  <a:lnTo>
                    <a:pt x="161" y="3383"/>
                  </a:lnTo>
                  <a:lnTo>
                    <a:pt x="166" y="3388"/>
                  </a:lnTo>
                  <a:lnTo>
                    <a:pt x="174" y="3393"/>
                  </a:lnTo>
                  <a:lnTo>
                    <a:pt x="182" y="3399"/>
                  </a:lnTo>
                  <a:lnTo>
                    <a:pt x="187" y="3401"/>
                  </a:lnTo>
                  <a:lnTo>
                    <a:pt x="190" y="3401"/>
                  </a:lnTo>
                  <a:lnTo>
                    <a:pt x="192" y="3403"/>
                  </a:lnTo>
                  <a:lnTo>
                    <a:pt x="194" y="3403"/>
                  </a:lnTo>
                  <a:lnTo>
                    <a:pt x="195" y="3403"/>
                  </a:lnTo>
                  <a:lnTo>
                    <a:pt x="209" y="3408"/>
                  </a:lnTo>
                  <a:lnTo>
                    <a:pt x="228" y="3417"/>
                  </a:lnTo>
                  <a:lnTo>
                    <a:pt x="233" y="3422"/>
                  </a:lnTo>
                  <a:lnTo>
                    <a:pt x="241" y="3427"/>
                  </a:lnTo>
                  <a:lnTo>
                    <a:pt x="250" y="3433"/>
                  </a:lnTo>
                  <a:lnTo>
                    <a:pt x="257" y="3435"/>
                  </a:lnTo>
                  <a:lnTo>
                    <a:pt x="268" y="3442"/>
                  </a:lnTo>
                  <a:lnTo>
                    <a:pt x="281" y="3450"/>
                  </a:lnTo>
                  <a:lnTo>
                    <a:pt x="289" y="3460"/>
                  </a:lnTo>
                  <a:lnTo>
                    <a:pt x="297" y="3469"/>
                  </a:lnTo>
                  <a:lnTo>
                    <a:pt x="298" y="3472"/>
                  </a:lnTo>
                  <a:lnTo>
                    <a:pt x="300" y="3475"/>
                  </a:lnTo>
                  <a:lnTo>
                    <a:pt x="300" y="3477"/>
                  </a:lnTo>
                  <a:lnTo>
                    <a:pt x="304" y="3482"/>
                  </a:lnTo>
                  <a:lnTo>
                    <a:pt x="309" y="3488"/>
                  </a:lnTo>
                  <a:lnTo>
                    <a:pt x="310" y="3494"/>
                  </a:lnTo>
                  <a:lnTo>
                    <a:pt x="315" y="3499"/>
                  </a:lnTo>
                  <a:lnTo>
                    <a:pt x="322" y="3503"/>
                  </a:lnTo>
                  <a:lnTo>
                    <a:pt x="330" y="3506"/>
                  </a:lnTo>
                  <a:lnTo>
                    <a:pt x="345" y="3510"/>
                  </a:lnTo>
                  <a:lnTo>
                    <a:pt x="359" y="3511"/>
                  </a:lnTo>
                  <a:lnTo>
                    <a:pt x="369" y="3515"/>
                  </a:lnTo>
                  <a:lnTo>
                    <a:pt x="379" y="3519"/>
                  </a:lnTo>
                  <a:lnTo>
                    <a:pt x="385" y="3520"/>
                  </a:lnTo>
                  <a:lnTo>
                    <a:pt x="391" y="3524"/>
                  </a:lnTo>
                  <a:lnTo>
                    <a:pt x="396" y="3527"/>
                  </a:lnTo>
                  <a:lnTo>
                    <a:pt x="398" y="3531"/>
                  </a:lnTo>
                  <a:lnTo>
                    <a:pt x="398" y="3532"/>
                  </a:lnTo>
                  <a:lnTo>
                    <a:pt x="398" y="3533"/>
                  </a:lnTo>
                  <a:lnTo>
                    <a:pt x="399" y="3533"/>
                  </a:lnTo>
                  <a:lnTo>
                    <a:pt x="400" y="3535"/>
                  </a:lnTo>
                  <a:lnTo>
                    <a:pt x="402" y="3536"/>
                  </a:lnTo>
                  <a:lnTo>
                    <a:pt x="402" y="3537"/>
                  </a:lnTo>
                  <a:lnTo>
                    <a:pt x="403" y="3543"/>
                  </a:lnTo>
                  <a:lnTo>
                    <a:pt x="406" y="3548"/>
                  </a:lnTo>
                  <a:lnTo>
                    <a:pt x="407" y="3550"/>
                  </a:lnTo>
                  <a:lnTo>
                    <a:pt x="407" y="3552"/>
                  </a:lnTo>
                  <a:lnTo>
                    <a:pt x="408" y="3553"/>
                  </a:lnTo>
                  <a:lnTo>
                    <a:pt x="410" y="3553"/>
                  </a:lnTo>
                  <a:lnTo>
                    <a:pt x="411" y="3557"/>
                  </a:lnTo>
                  <a:lnTo>
                    <a:pt x="412" y="3561"/>
                  </a:lnTo>
                  <a:lnTo>
                    <a:pt x="412" y="3561"/>
                  </a:lnTo>
                  <a:lnTo>
                    <a:pt x="412" y="3562"/>
                  </a:lnTo>
                  <a:lnTo>
                    <a:pt x="412" y="3563"/>
                  </a:lnTo>
                  <a:lnTo>
                    <a:pt x="413" y="3563"/>
                  </a:lnTo>
                  <a:lnTo>
                    <a:pt x="416" y="3566"/>
                  </a:lnTo>
                  <a:lnTo>
                    <a:pt x="419" y="3567"/>
                  </a:lnTo>
                  <a:lnTo>
                    <a:pt x="420" y="3571"/>
                  </a:lnTo>
                  <a:lnTo>
                    <a:pt x="421" y="3574"/>
                  </a:lnTo>
                  <a:lnTo>
                    <a:pt x="421" y="3580"/>
                  </a:lnTo>
                  <a:lnTo>
                    <a:pt x="420" y="3588"/>
                  </a:lnTo>
                  <a:lnTo>
                    <a:pt x="417" y="3595"/>
                  </a:lnTo>
                  <a:lnTo>
                    <a:pt x="413" y="3601"/>
                  </a:lnTo>
                  <a:lnTo>
                    <a:pt x="410" y="3607"/>
                  </a:lnTo>
                  <a:lnTo>
                    <a:pt x="404" y="3611"/>
                  </a:lnTo>
                  <a:lnTo>
                    <a:pt x="402" y="3612"/>
                  </a:lnTo>
                  <a:lnTo>
                    <a:pt x="402" y="3613"/>
                  </a:lnTo>
                  <a:lnTo>
                    <a:pt x="402" y="3616"/>
                  </a:lnTo>
                  <a:lnTo>
                    <a:pt x="400" y="3616"/>
                  </a:lnTo>
                  <a:lnTo>
                    <a:pt x="399" y="3617"/>
                  </a:lnTo>
                  <a:lnTo>
                    <a:pt x="399" y="3618"/>
                  </a:lnTo>
                  <a:lnTo>
                    <a:pt x="396" y="3618"/>
                  </a:lnTo>
                  <a:lnTo>
                    <a:pt x="394" y="3620"/>
                  </a:lnTo>
                  <a:lnTo>
                    <a:pt x="391" y="3622"/>
                  </a:lnTo>
                  <a:lnTo>
                    <a:pt x="390" y="3625"/>
                  </a:lnTo>
                  <a:lnTo>
                    <a:pt x="386" y="3633"/>
                  </a:lnTo>
                  <a:lnTo>
                    <a:pt x="383" y="3641"/>
                  </a:lnTo>
                  <a:lnTo>
                    <a:pt x="379" y="3659"/>
                  </a:lnTo>
                  <a:lnTo>
                    <a:pt x="377" y="3671"/>
                  </a:lnTo>
                  <a:lnTo>
                    <a:pt x="369" y="3685"/>
                  </a:lnTo>
                  <a:lnTo>
                    <a:pt x="360" y="3701"/>
                  </a:lnTo>
                  <a:lnTo>
                    <a:pt x="356" y="3709"/>
                  </a:lnTo>
                  <a:lnTo>
                    <a:pt x="351" y="3715"/>
                  </a:lnTo>
                  <a:lnTo>
                    <a:pt x="347" y="3720"/>
                  </a:lnTo>
                  <a:lnTo>
                    <a:pt x="342" y="3723"/>
                  </a:lnTo>
                  <a:lnTo>
                    <a:pt x="322" y="3734"/>
                  </a:lnTo>
                  <a:lnTo>
                    <a:pt x="306" y="3741"/>
                  </a:lnTo>
                  <a:lnTo>
                    <a:pt x="305" y="3745"/>
                  </a:lnTo>
                  <a:lnTo>
                    <a:pt x="304" y="3751"/>
                  </a:lnTo>
                  <a:lnTo>
                    <a:pt x="297" y="3766"/>
                  </a:lnTo>
                  <a:lnTo>
                    <a:pt x="284" y="3799"/>
                  </a:lnTo>
                  <a:lnTo>
                    <a:pt x="276" y="3817"/>
                  </a:lnTo>
                  <a:lnTo>
                    <a:pt x="268" y="3836"/>
                  </a:lnTo>
                  <a:lnTo>
                    <a:pt x="259" y="3851"/>
                  </a:lnTo>
                  <a:lnTo>
                    <a:pt x="251" y="3863"/>
                  </a:lnTo>
                  <a:lnTo>
                    <a:pt x="263" y="3894"/>
                  </a:lnTo>
                  <a:lnTo>
                    <a:pt x="334" y="3961"/>
                  </a:lnTo>
                  <a:lnTo>
                    <a:pt x="338" y="3965"/>
                  </a:lnTo>
                  <a:lnTo>
                    <a:pt x="398" y="3996"/>
                  </a:lnTo>
                  <a:lnTo>
                    <a:pt x="430" y="4006"/>
                  </a:lnTo>
                  <a:lnTo>
                    <a:pt x="432" y="3999"/>
                  </a:lnTo>
                  <a:lnTo>
                    <a:pt x="434" y="3996"/>
                  </a:lnTo>
                  <a:lnTo>
                    <a:pt x="440" y="3990"/>
                  </a:lnTo>
                  <a:lnTo>
                    <a:pt x="446" y="3983"/>
                  </a:lnTo>
                  <a:lnTo>
                    <a:pt x="451" y="3979"/>
                  </a:lnTo>
                  <a:lnTo>
                    <a:pt x="458" y="3973"/>
                  </a:lnTo>
                  <a:lnTo>
                    <a:pt x="464" y="3965"/>
                  </a:lnTo>
                  <a:lnTo>
                    <a:pt x="472" y="3956"/>
                  </a:lnTo>
                  <a:lnTo>
                    <a:pt x="489" y="3934"/>
                  </a:lnTo>
                  <a:lnTo>
                    <a:pt x="508" y="3908"/>
                  </a:lnTo>
                  <a:lnTo>
                    <a:pt x="523" y="3881"/>
                  </a:lnTo>
                  <a:lnTo>
                    <a:pt x="538" y="3858"/>
                  </a:lnTo>
                  <a:lnTo>
                    <a:pt x="543" y="3846"/>
                  </a:lnTo>
                  <a:lnTo>
                    <a:pt x="547" y="3837"/>
                  </a:lnTo>
                  <a:lnTo>
                    <a:pt x="551" y="3829"/>
                  </a:lnTo>
                  <a:lnTo>
                    <a:pt x="552" y="3822"/>
                  </a:lnTo>
                  <a:lnTo>
                    <a:pt x="555" y="3805"/>
                  </a:lnTo>
                  <a:lnTo>
                    <a:pt x="559" y="3787"/>
                  </a:lnTo>
                  <a:lnTo>
                    <a:pt x="563" y="3769"/>
                  </a:lnTo>
                  <a:lnTo>
                    <a:pt x="568" y="3749"/>
                  </a:lnTo>
                  <a:lnTo>
                    <a:pt x="561" y="3747"/>
                  </a:lnTo>
                  <a:lnTo>
                    <a:pt x="556" y="3744"/>
                  </a:lnTo>
                  <a:lnTo>
                    <a:pt x="552" y="3740"/>
                  </a:lnTo>
                  <a:lnTo>
                    <a:pt x="549" y="3739"/>
                  </a:lnTo>
                  <a:lnTo>
                    <a:pt x="548" y="3737"/>
                  </a:lnTo>
                  <a:lnTo>
                    <a:pt x="547" y="3737"/>
                  </a:lnTo>
                  <a:lnTo>
                    <a:pt x="546" y="3736"/>
                  </a:lnTo>
                  <a:lnTo>
                    <a:pt x="546" y="3735"/>
                  </a:lnTo>
                  <a:lnTo>
                    <a:pt x="544" y="3735"/>
                  </a:lnTo>
                  <a:lnTo>
                    <a:pt x="543" y="3734"/>
                  </a:lnTo>
                  <a:lnTo>
                    <a:pt x="543" y="3734"/>
                  </a:lnTo>
                  <a:lnTo>
                    <a:pt x="542" y="3732"/>
                  </a:lnTo>
                  <a:lnTo>
                    <a:pt x="542" y="3732"/>
                  </a:lnTo>
                  <a:lnTo>
                    <a:pt x="540" y="3731"/>
                  </a:lnTo>
                  <a:lnTo>
                    <a:pt x="539" y="3730"/>
                  </a:lnTo>
                  <a:lnTo>
                    <a:pt x="536" y="3730"/>
                  </a:lnTo>
                  <a:lnTo>
                    <a:pt x="535" y="3728"/>
                  </a:lnTo>
                  <a:lnTo>
                    <a:pt x="532" y="3727"/>
                  </a:lnTo>
                  <a:lnTo>
                    <a:pt x="525" y="3722"/>
                  </a:lnTo>
                  <a:lnTo>
                    <a:pt x="517" y="3715"/>
                  </a:lnTo>
                  <a:lnTo>
                    <a:pt x="515" y="3714"/>
                  </a:lnTo>
                  <a:lnTo>
                    <a:pt x="514" y="3713"/>
                  </a:lnTo>
                  <a:lnTo>
                    <a:pt x="512" y="3711"/>
                  </a:lnTo>
                  <a:lnTo>
                    <a:pt x="510" y="3710"/>
                  </a:lnTo>
                  <a:lnTo>
                    <a:pt x="505" y="3706"/>
                  </a:lnTo>
                  <a:lnTo>
                    <a:pt x="500" y="3702"/>
                  </a:lnTo>
                  <a:lnTo>
                    <a:pt x="497" y="3700"/>
                  </a:lnTo>
                  <a:lnTo>
                    <a:pt x="495" y="3697"/>
                  </a:lnTo>
                  <a:lnTo>
                    <a:pt x="489" y="3690"/>
                  </a:lnTo>
                  <a:lnTo>
                    <a:pt x="484" y="3686"/>
                  </a:lnTo>
                  <a:lnTo>
                    <a:pt x="483" y="3685"/>
                  </a:lnTo>
                  <a:lnTo>
                    <a:pt x="483" y="3685"/>
                  </a:lnTo>
                  <a:lnTo>
                    <a:pt x="479" y="3681"/>
                  </a:lnTo>
                  <a:lnTo>
                    <a:pt x="476" y="3677"/>
                  </a:lnTo>
                  <a:lnTo>
                    <a:pt x="474" y="3676"/>
                  </a:lnTo>
                  <a:lnTo>
                    <a:pt x="472" y="3673"/>
                  </a:lnTo>
                  <a:lnTo>
                    <a:pt x="471" y="3673"/>
                  </a:lnTo>
                  <a:lnTo>
                    <a:pt x="471" y="3673"/>
                  </a:lnTo>
                  <a:lnTo>
                    <a:pt x="463" y="3667"/>
                  </a:lnTo>
                  <a:lnTo>
                    <a:pt x="457" y="3660"/>
                  </a:lnTo>
                  <a:lnTo>
                    <a:pt x="457" y="3660"/>
                  </a:lnTo>
                  <a:lnTo>
                    <a:pt x="455" y="3660"/>
                  </a:lnTo>
                  <a:lnTo>
                    <a:pt x="455" y="3659"/>
                  </a:lnTo>
                  <a:lnTo>
                    <a:pt x="455" y="3659"/>
                  </a:lnTo>
                  <a:lnTo>
                    <a:pt x="454" y="3659"/>
                  </a:lnTo>
                  <a:lnTo>
                    <a:pt x="454" y="3658"/>
                  </a:lnTo>
                  <a:lnTo>
                    <a:pt x="454" y="3658"/>
                  </a:lnTo>
                  <a:lnTo>
                    <a:pt x="454" y="3658"/>
                  </a:lnTo>
                  <a:lnTo>
                    <a:pt x="453" y="3658"/>
                  </a:lnTo>
                  <a:lnTo>
                    <a:pt x="453" y="3656"/>
                  </a:lnTo>
                  <a:lnTo>
                    <a:pt x="451" y="3655"/>
                  </a:lnTo>
                  <a:lnTo>
                    <a:pt x="451" y="3652"/>
                  </a:lnTo>
                  <a:lnTo>
                    <a:pt x="450" y="3651"/>
                  </a:lnTo>
                  <a:lnTo>
                    <a:pt x="450" y="3649"/>
                  </a:lnTo>
                  <a:lnTo>
                    <a:pt x="451" y="3646"/>
                  </a:lnTo>
                  <a:lnTo>
                    <a:pt x="451" y="3646"/>
                  </a:lnTo>
                  <a:lnTo>
                    <a:pt x="453" y="3646"/>
                  </a:lnTo>
                  <a:lnTo>
                    <a:pt x="453" y="3645"/>
                  </a:lnTo>
                  <a:lnTo>
                    <a:pt x="454" y="3643"/>
                  </a:lnTo>
                  <a:lnTo>
                    <a:pt x="455" y="3643"/>
                  </a:lnTo>
                  <a:lnTo>
                    <a:pt x="455" y="3642"/>
                  </a:lnTo>
                  <a:lnTo>
                    <a:pt x="457" y="3641"/>
                  </a:lnTo>
                  <a:lnTo>
                    <a:pt x="458" y="3639"/>
                  </a:lnTo>
                  <a:lnTo>
                    <a:pt x="459" y="3639"/>
                  </a:lnTo>
                  <a:lnTo>
                    <a:pt x="459" y="3638"/>
                  </a:lnTo>
                  <a:lnTo>
                    <a:pt x="459" y="3638"/>
                  </a:lnTo>
                  <a:lnTo>
                    <a:pt x="459" y="3638"/>
                  </a:lnTo>
                  <a:lnTo>
                    <a:pt x="461" y="3637"/>
                  </a:lnTo>
                  <a:lnTo>
                    <a:pt x="461" y="3637"/>
                  </a:lnTo>
                  <a:lnTo>
                    <a:pt x="461" y="3637"/>
                  </a:lnTo>
                  <a:lnTo>
                    <a:pt x="462" y="3635"/>
                  </a:lnTo>
                  <a:lnTo>
                    <a:pt x="462" y="3635"/>
                  </a:lnTo>
                  <a:lnTo>
                    <a:pt x="463" y="3635"/>
                  </a:lnTo>
                  <a:lnTo>
                    <a:pt x="463" y="3634"/>
                  </a:lnTo>
                  <a:lnTo>
                    <a:pt x="464" y="3634"/>
                  </a:lnTo>
                  <a:lnTo>
                    <a:pt x="464" y="3633"/>
                  </a:lnTo>
                  <a:lnTo>
                    <a:pt x="466" y="3633"/>
                  </a:lnTo>
                  <a:lnTo>
                    <a:pt x="466" y="3632"/>
                  </a:lnTo>
                  <a:lnTo>
                    <a:pt x="467" y="3630"/>
                  </a:lnTo>
                  <a:lnTo>
                    <a:pt x="468" y="3629"/>
                  </a:lnTo>
                  <a:lnTo>
                    <a:pt x="470" y="3628"/>
                  </a:lnTo>
                  <a:lnTo>
                    <a:pt x="470" y="3626"/>
                  </a:lnTo>
                  <a:lnTo>
                    <a:pt x="471" y="3626"/>
                  </a:lnTo>
                  <a:lnTo>
                    <a:pt x="472" y="3626"/>
                  </a:lnTo>
                  <a:lnTo>
                    <a:pt x="472" y="3625"/>
                  </a:lnTo>
                  <a:lnTo>
                    <a:pt x="472" y="3625"/>
                  </a:lnTo>
                  <a:lnTo>
                    <a:pt x="474" y="3624"/>
                  </a:lnTo>
                  <a:lnTo>
                    <a:pt x="475" y="3622"/>
                  </a:lnTo>
                  <a:lnTo>
                    <a:pt x="476" y="3621"/>
                  </a:lnTo>
                  <a:lnTo>
                    <a:pt x="476" y="3621"/>
                  </a:lnTo>
                  <a:lnTo>
                    <a:pt x="479" y="3618"/>
                  </a:lnTo>
                  <a:lnTo>
                    <a:pt x="481" y="3614"/>
                  </a:lnTo>
                  <a:lnTo>
                    <a:pt x="481" y="3614"/>
                  </a:lnTo>
                  <a:lnTo>
                    <a:pt x="483" y="3613"/>
                  </a:lnTo>
                  <a:lnTo>
                    <a:pt x="484" y="3612"/>
                  </a:lnTo>
                  <a:lnTo>
                    <a:pt x="484" y="3611"/>
                  </a:lnTo>
                  <a:lnTo>
                    <a:pt x="485" y="3611"/>
                  </a:lnTo>
                  <a:lnTo>
                    <a:pt x="485" y="3611"/>
                  </a:lnTo>
                  <a:lnTo>
                    <a:pt x="487" y="3611"/>
                  </a:lnTo>
                  <a:lnTo>
                    <a:pt x="487" y="3609"/>
                  </a:lnTo>
                  <a:lnTo>
                    <a:pt x="491" y="3604"/>
                  </a:lnTo>
                  <a:lnTo>
                    <a:pt x="495" y="3599"/>
                  </a:lnTo>
                  <a:lnTo>
                    <a:pt x="496" y="3599"/>
                  </a:lnTo>
                  <a:lnTo>
                    <a:pt x="496" y="3597"/>
                  </a:lnTo>
                  <a:lnTo>
                    <a:pt x="496" y="3597"/>
                  </a:lnTo>
                  <a:lnTo>
                    <a:pt x="498" y="3596"/>
                  </a:lnTo>
                  <a:lnTo>
                    <a:pt x="501" y="3596"/>
                  </a:lnTo>
                  <a:lnTo>
                    <a:pt x="504" y="3596"/>
                  </a:lnTo>
                  <a:lnTo>
                    <a:pt x="508" y="3599"/>
                  </a:lnTo>
                  <a:lnTo>
                    <a:pt x="513" y="3603"/>
                  </a:lnTo>
                  <a:lnTo>
                    <a:pt x="518" y="3607"/>
                  </a:lnTo>
                  <a:lnTo>
                    <a:pt x="521" y="3608"/>
                  </a:lnTo>
                  <a:lnTo>
                    <a:pt x="522" y="3609"/>
                  </a:lnTo>
                  <a:lnTo>
                    <a:pt x="531" y="3617"/>
                  </a:lnTo>
                  <a:lnTo>
                    <a:pt x="539" y="3624"/>
                  </a:lnTo>
                  <a:lnTo>
                    <a:pt x="540" y="3624"/>
                  </a:lnTo>
                  <a:lnTo>
                    <a:pt x="540" y="3625"/>
                  </a:lnTo>
                  <a:lnTo>
                    <a:pt x="542" y="3626"/>
                  </a:lnTo>
                  <a:lnTo>
                    <a:pt x="543" y="3628"/>
                  </a:lnTo>
                  <a:lnTo>
                    <a:pt x="546" y="3630"/>
                  </a:lnTo>
                  <a:lnTo>
                    <a:pt x="548" y="3633"/>
                  </a:lnTo>
                  <a:lnTo>
                    <a:pt x="548" y="3634"/>
                  </a:lnTo>
                  <a:lnTo>
                    <a:pt x="548" y="3634"/>
                  </a:lnTo>
                  <a:lnTo>
                    <a:pt x="549" y="3635"/>
                  </a:lnTo>
                  <a:lnTo>
                    <a:pt x="551" y="3635"/>
                  </a:lnTo>
                  <a:lnTo>
                    <a:pt x="555" y="3639"/>
                  </a:lnTo>
                  <a:lnTo>
                    <a:pt x="559" y="3642"/>
                  </a:lnTo>
                  <a:lnTo>
                    <a:pt x="598" y="3664"/>
                  </a:lnTo>
                  <a:close/>
                  <a:moveTo>
                    <a:pt x="472" y="3717"/>
                  </a:moveTo>
                  <a:lnTo>
                    <a:pt x="464" y="3711"/>
                  </a:lnTo>
                  <a:lnTo>
                    <a:pt x="454" y="3705"/>
                  </a:lnTo>
                  <a:lnTo>
                    <a:pt x="449" y="3702"/>
                  </a:lnTo>
                  <a:lnTo>
                    <a:pt x="442" y="3701"/>
                  </a:lnTo>
                  <a:lnTo>
                    <a:pt x="438" y="3700"/>
                  </a:lnTo>
                  <a:lnTo>
                    <a:pt x="434" y="3701"/>
                  </a:lnTo>
                  <a:lnTo>
                    <a:pt x="430" y="3703"/>
                  </a:lnTo>
                  <a:lnTo>
                    <a:pt x="428" y="3706"/>
                  </a:lnTo>
                  <a:lnTo>
                    <a:pt x="425" y="3710"/>
                  </a:lnTo>
                  <a:lnTo>
                    <a:pt x="423" y="3715"/>
                  </a:lnTo>
                  <a:lnTo>
                    <a:pt x="419" y="3724"/>
                  </a:lnTo>
                  <a:lnTo>
                    <a:pt x="416" y="3732"/>
                  </a:lnTo>
                  <a:lnTo>
                    <a:pt x="415" y="3739"/>
                  </a:lnTo>
                  <a:lnTo>
                    <a:pt x="415" y="3744"/>
                  </a:lnTo>
                  <a:lnTo>
                    <a:pt x="416" y="3745"/>
                  </a:lnTo>
                  <a:lnTo>
                    <a:pt x="417" y="3747"/>
                  </a:lnTo>
                  <a:lnTo>
                    <a:pt x="420" y="3747"/>
                  </a:lnTo>
                  <a:lnTo>
                    <a:pt x="425" y="3745"/>
                  </a:lnTo>
                  <a:lnTo>
                    <a:pt x="433" y="3741"/>
                  </a:lnTo>
                  <a:lnTo>
                    <a:pt x="441" y="3737"/>
                  </a:lnTo>
                  <a:lnTo>
                    <a:pt x="449" y="3735"/>
                  </a:lnTo>
                  <a:lnTo>
                    <a:pt x="458" y="3734"/>
                  </a:lnTo>
                  <a:lnTo>
                    <a:pt x="466" y="3732"/>
                  </a:lnTo>
                  <a:lnTo>
                    <a:pt x="472" y="3730"/>
                  </a:lnTo>
                  <a:lnTo>
                    <a:pt x="474" y="3727"/>
                  </a:lnTo>
                  <a:lnTo>
                    <a:pt x="474" y="3723"/>
                  </a:lnTo>
                  <a:lnTo>
                    <a:pt x="474" y="3719"/>
                  </a:lnTo>
                  <a:lnTo>
                    <a:pt x="472" y="3717"/>
                  </a:lnTo>
                  <a:close/>
                  <a:moveTo>
                    <a:pt x="3189" y="1248"/>
                  </a:moveTo>
                  <a:lnTo>
                    <a:pt x="3180" y="1239"/>
                  </a:lnTo>
                  <a:lnTo>
                    <a:pt x="3173" y="1231"/>
                  </a:lnTo>
                  <a:lnTo>
                    <a:pt x="3167" y="1226"/>
                  </a:lnTo>
                  <a:lnTo>
                    <a:pt x="3162" y="1223"/>
                  </a:lnTo>
                  <a:lnTo>
                    <a:pt x="3156" y="1222"/>
                  </a:lnTo>
                  <a:lnTo>
                    <a:pt x="3152" y="1222"/>
                  </a:lnTo>
                  <a:lnTo>
                    <a:pt x="3148" y="1223"/>
                  </a:lnTo>
                  <a:lnTo>
                    <a:pt x="3146" y="1227"/>
                  </a:lnTo>
                  <a:lnTo>
                    <a:pt x="3139" y="1236"/>
                  </a:lnTo>
                  <a:lnTo>
                    <a:pt x="3131" y="1248"/>
                  </a:lnTo>
                  <a:lnTo>
                    <a:pt x="3128" y="1255"/>
                  </a:lnTo>
                  <a:lnTo>
                    <a:pt x="3122" y="1261"/>
                  </a:lnTo>
                  <a:lnTo>
                    <a:pt x="3117" y="1268"/>
                  </a:lnTo>
                  <a:lnTo>
                    <a:pt x="3111" y="1273"/>
                  </a:lnTo>
                  <a:lnTo>
                    <a:pt x="3103" y="1280"/>
                  </a:lnTo>
                  <a:lnTo>
                    <a:pt x="3095" y="1290"/>
                  </a:lnTo>
                  <a:lnTo>
                    <a:pt x="3087" y="1302"/>
                  </a:lnTo>
                  <a:lnTo>
                    <a:pt x="3079" y="1316"/>
                  </a:lnTo>
                  <a:lnTo>
                    <a:pt x="3062" y="1344"/>
                  </a:lnTo>
                  <a:lnTo>
                    <a:pt x="3049" y="1367"/>
                  </a:lnTo>
                  <a:lnTo>
                    <a:pt x="3041" y="1378"/>
                  </a:lnTo>
                  <a:lnTo>
                    <a:pt x="3032" y="1388"/>
                  </a:lnTo>
                  <a:lnTo>
                    <a:pt x="3023" y="1399"/>
                  </a:lnTo>
                  <a:lnTo>
                    <a:pt x="3014" y="1409"/>
                  </a:lnTo>
                  <a:lnTo>
                    <a:pt x="3010" y="1413"/>
                  </a:lnTo>
                  <a:lnTo>
                    <a:pt x="3001" y="1417"/>
                  </a:lnTo>
                  <a:lnTo>
                    <a:pt x="2989" y="1421"/>
                  </a:lnTo>
                  <a:lnTo>
                    <a:pt x="2977" y="1423"/>
                  </a:lnTo>
                  <a:lnTo>
                    <a:pt x="2951" y="1429"/>
                  </a:lnTo>
                  <a:lnTo>
                    <a:pt x="2934" y="1431"/>
                  </a:lnTo>
                  <a:lnTo>
                    <a:pt x="2927" y="1434"/>
                  </a:lnTo>
                  <a:lnTo>
                    <a:pt x="2924" y="1439"/>
                  </a:lnTo>
                  <a:lnTo>
                    <a:pt x="2921" y="1444"/>
                  </a:lnTo>
                  <a:lnTo>
                    <a:pt x="2918" y="1452"/>
                  </a:lnTo>
                  <a:lnTo>
                    <a:pt x="2918" y="1459"/>
                  </a:lnTo>
                  <a:lnTo>
                    <a:pt x="2920" y="1468"/>
                  </a:lnTo>
                  <a:lnTo>
                    <a:pt x="2922" y="1476"/>
                  </a:lnTo>
                  <a:lnTo>
                    <a:pt x="2926" y="1482"/>
                  </a:lnTo>
                  <a:lnTo>
                    <a:pt x="2931" y="1489"/>
                  </a:lnTo>
                  <a:lnTo>
                    <a:pt x="2938" y="1494"/>
                  </a:lnTo>
                  <a:lnTo>
                    <a:pt x="2946" y="1498"/>
                  </a:lnTo>
                  <a:lnTo>
                    <a:pt x="2955" y="1499"/>
                  </a:lnTo>
                  <a:lnTo>
                    <a:pt x="2967" y="1498"/>
                  </a:lnTo>
                  <a:lnTo>
                    <a:pt x="2978" y="1494"/>
                  </a:lnTo>
                  <a:lnTo>
                    <a:pt x="2992" y="1486"/>
                  </a:lnTo>
                  <a:lnTo>
                    <a:pt x="3006" y="1474"/>
                  </a:lnTo>
                  <a:lnTo>
                    <a:pt x="3022" y="1460"/>
                  </a:lnTo>
                  <a:lnTo>
                    <a:pt x="3036" y="1448"/>
                  </a:lnTo>
                  <a:lnTo>
                    <a:pt x="3041" y="1444"/>
                  </a:lnTo>
                  <a:lnTo>
                    <a:pt x="3048" y="1440"/>
                  </a:lnTo>
                  <a:lnTo>
                    <a:pt x="3053" y="1438"/>
                  </a:lnTo>
                  <a:lnTo>
                    <a:pt x="3058" y="1435"/>
                  </a:lnTo>
                  <a:lnTo>
                    <a:pt x="3065" y="1435"/>
                  </a:lnTo>
                  <a:lnTo>
                    <a:pt x="3070" y="1435"/>
                  </a:lnTo>
                  <a:lnTo>
                    <a:pt x="3077" y="1437"/>
                  </a:lnTo>
                  <a:lnTo>
                    <a:pt x="3082" y="1439"/>
                  </a:lnTo>
                  <a:lnTo>
                    <a:pt x="3088" y="1443"/>
                  </a:lnTo>
                  <a:lnTo>
                    <a:pt x="3096" y="1448"/>
                  </a:lnTo>
                  <a:lnTo>
                    <a:pt x="3104" y="1456"/>
                  </a:lnTo>
                  <a:lnTo>
                    <a:pt x="3113" y="1464"/>
                  </a:lnTo>
                  <a:lnTo>
                    <a:pt x="3128" y="1480"/>
                  </a:lnTo>
                  <a:lnTo>
                    <a:pt x="3142" y="1495"/>
                  </a:lnTo>
                  <a:lnTo>
                    <a:pt x="3151" y="1501"/>
                  </a:lnTo>
                  <a:lnTo>
                    <a:pt x="3159" y="1505"/>
                  </a:lnTo>
                  <a:lnTo>
                    <a:pt x="3164" y="1506"/>
                  </a:lnTo>
                  <a:lnTo>
                    <a:pt x="3168" y="1506"/>
                  </a:lnTo>
                  <a:lnTo>
                    <a:pt x="3173" y="1506"/>
                  </a:lnTo>
                  <a:lnTo>
                    <a:pt x="3179" y="1503"/>
                  </a:lnTo>
                  <a:lnTo>
                    <a:pt x="3184" y="1501"/>
                  </a:lnTo>
                  <a:lnTo>
                    <a:pt x="3189" y="1495"/>
                  </a:lnTo>
                  <a:lnTo>
                    <a:pt x="3196" y="1488"/>
                  </a:lnTo>
                  <a:lnTo>
                    <a:pt x="3203" y="1478"/>
                  </a:lnTo>
                  <a:lnTo>
                    <a:pt x="3219" y="1457"/>
                  </a:lnTo>
                  <a:lnTo>
                    <a:pt x="3235" y="1433"/>
                  </a:lnTo>
                  <a:lnTo>
                    <a:pt x="3249" y="1408"/>
                  </a:lnTo>
                  <a:lnTo>
                    <a:pt x="3262" y="1384"/>
                  </a:lnTo>
                  <a:lnTo>
                    <a:pt x="3266" y="1374"/>
                  </a:lnTo>
                  <a:lnTo>
                    <a:pt x="3270" y="1365"/>
                  </a:lnTo>
                  <a:lnTo>
                    <a:pt x="3271" y="1357"/>
                  </a:lnTo>
                  <a:lnTo>
                    <a:pt x="3271" y="1350"/>
                  </a:lnTo>
                  <a:lnTo>
                    <a:pt x="3270" y="1342"/>
                  </a:lnTo>
                  <a:lnTo>
                    <a:pt x="3265" y="1333"/>
                  </a:lnTo>
                  <a:lnTo>
                    <a:pt x="3260" y="1325"/>
                  </a:lnTo>
                  <a:lnTo>
                    <a:pt x="3252" y="1318"/>
                  </a:lnTo>
                  <a:lnTo>
                    <a:pt x="3236" y="1303"/>
                  </a:lnTo>
                  <a:lnTo>
                    <a:pt x="3219" y="1293"/>
                  </a:lnTo>
                  <a:lnTo>
                    <a:pt x="3215" y="1289"/>
                  </a:lnTo>
                  <a:lnTo>
                    <a:pt x="3210" y="1283"/>
                  </a:lnTo>
                  <a:lnTo>
                    <a:pt x="3205" y="1276"/>
                  </a:lnTo>
                  <a:lnTo>
                    <a:pt x="3200" y="1268"/>
                  </a:lnTo>
                  <a:lnTo>
                    <a:pt x="3192" y="1255"/>
                  </a:lnTo>
                  <a:lnTo>
                    <a:pt x="3189" y="1248"/>
                  </a:lnTo>
                  <a:close/>
                  <a:moveTo>
                    <a:pt x="2819" y="1361"/>
                  </a:moveTo>
                  <a:lnTo>
                    <a:pt x="2815" y="1361"/>
                  </a:lnTo>
                  <a:lnTo>
                    <a:pt x="2814" y="1362"/>
                  </a:lnTo>
                  <a:lnTo>
                    <a:pt x="2811" y="1363"/>
                  </a:lnTo>
                  <a:lnTo>
                    <a:pt x="2811" y="1366"/>
                  </a:lnTo>
                  <a:lnTo>
                    <a:pt x="2811" y="1367"/>
                  </a:lnTo>
                  <a:lnTo>
                    <a:pt x="2811" y="1371"/>
                  </a:lnTo>
                  <a:lnTo>
                    <a:pt x="2810" y="1372"/>
                  </a:lnTo>
                  <a:lnTo>
                    <a:pt x="2807" y="1372"/>
                  </a:lnTo>
                  <a:lnTo>
                    <a:pt x="2797" y="1389"/>
                  </a:lnTo>
                  <a:lnTo>
                    <a:pt x="2787" y="1406"/>
                  </a:lnTo>
                  <a:lnTo>
                    <a:pt x="2781" y="1416"/>
                  </a:lnTo>
                  <a:lnTo>
                    <a:pt x="2773" y="1423"/>
                  </a:lnTo>
                  <a:lnTo>
                    <a:pt x="2768" y="1429"/>
                  </a:lnTo>
                  <a:lnTo>
                    <a:pt x="2761" y="1435"/>
                  </a:lnTo>
                  <a:lnTo>
                    <a:pt x="2753" y="1442"/>
                  </a:lnTo>
                  <a:lnTo>
                    <a:pt x="2748" y="1451"/>
                  </a:lnTo>
                  <a:lnTo>
                    <a:pt x="2748" y="1454"/>
                  </a:lnTo>
                  <a:lnTo>
                    <a:pt x="2751" y="1459"/>
                  </a:lnTo>
                  <a:lnTo>
                    <a:pt x="2755" y="1463"/>
                  </a:lnTo>
                  <a:lnTo>
                    <a:pt x="2759" y="1468"/>
                  </a:lnTo>
                  <a:lnTo>
                    <a:pt x="2769" y="1477"/>
                  </a:lnTo>
                  <a:lnTo>
                    <a:pt x="2773" y="1484"/>
                  </a:lnTo>
                  <a:lnTo>
                    <a:pt x="2773" y="1488"/>
                  </a:lnTo>
                  <a:lnTo>
                    <a:pt x="2776" y="1494"/>
                  </a:lnTo>
                  <a:lnTo>
                    <a:pt x="2780" y="1501"/>
                  </a:lnTo>
                  <a:lnTo>
                    <a:pt x="2781" y="1505"/>
                  </a:lnTo>
                  <a:lnTo>
                    <a:pt x="2782" y="1510"/>
                  </a:lnTo>
                  <a:lnTo>
                    <a:pt x="2784" y="1516"/>
                  </a:lnTo>
                  <a:lnTo>
                    <a:pt x="2785" y="1524"/>
                  </a:lnTo>
                  <a:lnTo>
                    <a:pt x="2786" y="1527"/>
                  </a:lnTo>
                  <a:lnTo>
                    <a:pt x="2787" y="1529"/>
                  </a:lnTo>
                  <a:lnTo>
                    <a:pt x="2789" y="1532"/>
                  </a:lnTo>
                  <a:lnTo>
                    <a:pt x="2790" y="1533"/>
                  </a:lnTo>
                  <a:lnTo>
                    <a:pt x="2793" y="1533"/>
                  </a:lnTo>
                  <a:lnTo>
                    <a:pt x="2795" y="1533"/>
                  </a:lnTo>
                  <a:lnTo>
                    <a:pt x="2798" y="1529"/>
                  </a:lnTo>
                  <a:lnTo>
                    <a:pt x="2804" y="1524"/>
                  </a:lnTo>
                  <a:lnTo>
                    <a:pt x="2811" y="1519"/>
                  </a:lnTo>
                  <a:lnTo>
                    <a:pt x="2818" y="1516"/>
                  </a:lnTo>
                  <a:lnTo>
                    <a:pt x="2820" y="1516"/>
                  </a:lnTo>
                  <a:lnTo>
                    <a:pt x="2823" y="1514"/>
                  </a:lnTo>
                  <a:lnTo>
                    <a:pt x="2824" y="1511"/>
                  </a:lnTo>
                  <a:lnTo>
                    <a:pt x="2827" y="1511"/>
                  </a:lnTo>
                  <a:lnTo>
                    <a:pt x="2829" y="1511"/>
                  </a:lnTo>
                  <a:lnTo>
                    <a:pt x="2831" y="1510"/>
                  </a:lnTo>
                  <a:lnTo>
                    <a:pt x="2836" y="1507"/>
                  </a:lnTo>
                  <a:lnTo>
                    <a:pt x="2838" y="1505"/>
                  </a:lnTo>
                  <a:lnTo>
                    <a:pt x="2838" y="1501"/>
                  </a:lnTo>
                  <a:lnTo>
                    <a:pt x="2841" y="1499"/>
                  </a:lnTo>
                  <a:lnTo>
                    <a:pt x="2844" y="1498"/>
                  </a:lnTo>
                  <a:lnTo>
                    <a:pt x="2844" y="1494"/>
                  </a:lnTo>
                  <a:lnTo>
                    <a:pt x="2850" y="1482"/>
                  </a:lnTo>
                  <a:lnTo>
                    <a:pt x="2859" y="1467"/>
                  </a:lnTo>
                  <a:lnTo>
                    <a:pt x="2866" y="1454"/>
                  </a:lnTo>
                  <a:lnTo>
                    <a:pt x="2875" y="1437"/>
                  </a:lnTo>
                  <a:lnTo>
                    <a:pt x="2879" y="1426"/>
                  </a:lnTo>
                  <a:lnTo>
                    <a:pt x="2883" y="1417"/>
                  </a:lnTo>
                  <a:lnTo>
                    <a:pt x="2886" y="1408"/>
                  </a:lnTo>
                  <a:lnTo>
                    <a:pt x="2888" y="1399"/>
                  </a:lnTo>
                  <a:lnTo>
                    <a:pt x="2890" y="1386"/>
                  </a:lnTo>
                  <a:lnTo>
                    <a:pt x="2888" y="1371"/>
                  </a:lnTo>
                  <a:lnTo>
                    <a:pt x="2883" y="1362"/>
                  </a:lnTo>
                  <a:lnTo>
                    <a:pt x="2876" y="1354"/>
                  </a:lnTo>
                  <a:lnTo>
                    <a:pt x="2870" y="1349"/>
                  </a:lnTo>
                  <a:lnTo>
                    <a:pt x="2865" y="1342"/>
                  </a:lnTo>
                  <a:lnTo>
                    <a:pt x="2861" y="1341"/>
                  </a:lnTo>
                  <a:lnTo>
                    <a:pt x="2858" y="1341"/>
                  </a:lnTo>
                  <a:lnTo>
                    <a:pt x="2853" y="1344"/>
                  </a:lnTo>
                  <a:lnTo>
                    <a:pt x="2844" y="1350"/>
                  </a:lnTo>
                  <a:lnTo>
                    <a:pt x="2837" y="1354"/>
                  </a:lnTo>
                  <a:lnTo>
                    <a:pt x="2831" y="1358"/>
                  </a:lnTo>
                  <a:lnTo>
                    <a:pt x="2824" y="1359"/>
                  </a:lnTo>
                  <a:lnTo>
                    <a:pt x="2819" y="1361"/>
                  </a:lnTo>
                  <a:close/>
                  <a:moveTo>
                    <a:pt x="3596" y="309"/>
                  </a:moveTo>
                  <a:lnTo>
                    <a:pt x="3602" y="304"/>
                  </a:lnTo>
                  <a:lnTo>
                    <a:pt x="3612" y="300"/>
                  </a:lnTo>
                  <a:lnTo>
                    <a:pt x="3613" y="300"/>
                  </a:lnTo>
                  <a:lnTo>
                    <a:pt x="3617" y="300"/>
                  </a:lnTo>
                  <a:lnTo>
                    <a:pt x="3618" y="297"/>
                  </a:lnTo>
                  <a:lnTo>
                    <a:pt x="3618" y="295"/>
                  </a:lnTo>
                  <a:lnTo>
                    <a:pt x="3619" y="293"/>
                  </a:lnTo>
                  <a:lnTo>
                    <a:pt x="3622" y="293"/>
                  </a:lnTo>
                  <a:lnTo>
                    <a:pt x="3626" y="284"/>
                  </a:lnTo>
                  <a:lnTo>
                    <a:pt x="3634" y="276"/>
                  </a:lnTo>
                  <a:lnTo>
                    <a:pt x="3642" y="270"/>
                  </a:lnTo>
                  <a:lnTo>
                    <a:pt x="3647" y="267"/>
                  </a:lnTo>
                  <a:lnTo>
                    <a:pt x="3648" y="267"/>
                  </a:lnTo>
                  <a:lnTo>
                    <a:pt x="3652" y="265"/>
                  </a:lnTo>
                  <a:lnTo>
                    <a:pt x="3655" y="262"/>
                  </a:lnTo>
                  <a:lnTo>
                    <a:pt x="3655" y="259"/>
                  </a:lnTo>
                  <a:lnTo>
                    <a:pt x="3656" y="259"/>
                  </a:lnTo>
                  <a:lnTo>
                    <a:pt x="3656" y="258"/>
                  </a:lnTo>
                  <a:lnTo>
                    <a:pt x="3657" y="257"/>
                  </a:lnTo>
                  <a:lnTo>
                    <a:pt x="3660" y="257"/>
                  </a:lnTo>
                  <a:lnTo>
                    <a:pt x="3663" y="255"/>
                  </a:lnTo>
                  <a:lnTo>
                    <a:pt x="3668" y="248"/>
                  </a:lnTo>
                  <a:lnTo>
                    <a:pt x="3669" y="241"/>
                  </a:lnTo>
                  <a:lnTo>
                    <a:pt x="3670" y="233"/>
                  </a:lnTo>
                  <a:lnTo>
                    <a:pt x="3669" y="225"/>
                  </a:lnTo>
                  <a:lnTo>
                    <a:pt x="3666" y="221"/>
                  </a:lnTo>
                  <a:lnTo>
                    <a:pt x="3666" y="217"/>
                  </a:lnTo>
                  <a:lnTo>
                    <a:pt x="3676" y="211"/>
                  </a:lnTo>
                  <a:lnTo>
                    <a:pt x="3686" y="204"/>
                  </a:lnTo>
                  <a:lnTo>
                    <a:pt x="3689" y="203"/>
                  </a:lnTo>
                  <a:lnTo>
                    <a:pt x="3690" y="203"/>
                  </a:lnTo>
                  <a:lnTo>
                    <a:pt x="3691" y="203"/>
                  </a:lnTo>
                  <a:lnTo>
                    <a:pt x="3698" y="199"/>
                  </a:lnTo>
                  <a:lnTo>
                    <a:pt x="3704" y="195"/>
                  </a:lnTo>
                  <a:lnTo>
                    <a:pt x="3707" y="195"/>
                  </a:lnTo>
                  <a:lnTo>
                    <a:pt x="3708" y="193"/>
                  </a:lnTo>
                  <a:lnTo>
                    <a:pt x="3717" y="186"/>
                  </a:lnTo>
                  <a:lnTo>
                    <a:pt x="3734" y="176"/>
                  </a:lnTo>
                  <a:lnTo>
                    <a:pt x="3753" y="165"/>
                  </a:lnTo>
                  <a:lnTo>
                    <a:pt x="3763" y="160"/>
                  </a:lnTo>
                  <a:lnTo>
                    <a:pt x="3772" y="155"/>
                  </a:lnTo>
                  <a:lnTo>
                    <a:pt x="3782" y="149"/>
                  </a:lnTo>
                  <a:lnTo>
                    <a:pt x="3784" y="147"/>
                  </a:lnTo>
                  <a:lnTo>
                    <a:pt x="3787" y="144"/>
                  </a:lnTo>
                  <a:lnTo>
                    <a:pt x="3789" y="142"/>
                  </a:lnTo>
                  <a:lnTo>
                    <a:pt x="3792" y="140"/>
                  </a:lnTo>
                  <a:lnTo>
                    <a:pt x="3797" y="138"/>
                  </a:lnTo>
                  <a:lnTo>
                    <a:pt x="3802" y="135"/>
                  </a:lnTo>
                  <a:lnTo>
                    <a:pt x="3804" y="132"/>
                  </a:lnTo>
                  <a:lnTo>
                    <a:pt x="3806" y="130"/>
                  </a:lnTo>
                  <a:lnTo>
                    <a:pt x="3809" y="130"/>
                  </a:lnTo>
                  <a:lnTo>
                    <a:pt x="3826" y="121"/>
                  </a:lnTo>
                  <a:lnTo>
                    <a:pt x="3844" y="110"/>
                  </a:lnTo>
                  <a:lnTo>
                    <a:pt x="3855" y="104"/>
                  </a:lnTo>
                  <a:lnTo>
                    <a:pt x="3865" y="96"/>
                  </a:lnTo>
                  <a:lnTo>
                    <a:pt x="3873" y="88"/>
                  </a:lnTo>
                  <a:lnTo>
                    <a:pt x="3877" y="81"/>
                  </a:lnTo>
                  <a:lnTo>
                    <a:pt x="3877" y="80"/>
                  </a:lnTo>
                  <a:lnTo>
                    <a:pt x="3878" y="79"/>
                  </a:lnTo>
                  <a:lnTo>
                    <a:pt x="3880" y="77"/>
                  </a:lnTo>
                  <a:lnTo>
                    <a:pt x="3882" y="70"/>
                  </a:lnTo>
                  <a:lnTo>
                    <a:pt x="3888" y="64"/>
                  </a:lnTo>
                  <a:lnTo>
                    <a:pt x="3897" y="49"/>
                  </a:lnTo>
                  <a:lnTo>
                    <a:pt x="3905" y="36"/>
                  </a:lnTo>
                  <a:lnTo>
                    <a:pt x="3907" y="32"/>
                  </a:lnTo>
                  <a:lnTo>
                    <a:pt x="3908" y="29"/>
                  </a:lnTo>
                  <a:lnTo>
                    <a:pt x="3910" y="19"/>
                  </a:lnTo>
                  <a:lnTo>
                    <a:pt x="3912" y="9"/>
                  </a:lnTo>
                  <a:lnTo>
                    <a:pt x="3914" y="6"/>
                  </a:lnTo>
                  <a:lnTo>
                    <a:pt x="3915" y="0"/>
                  </a:lnTo>
                  <a:lnTo>
                    <a:pt x="3970" y="15"/>
                  </a:lnTo>
                  <a:lnTo>
                    <a:pt x="3996" y="60"/>
                  </a:lnTo>
                  <a:lnTo>
                    <a:pt x="3999" y="64"/>
                  </a:lnTo>
                  <a:lnTo>
                    <a:pt x="4000" y="70"/>
                  </a:lnTo>
                  <a:lnTo>
                    <a:pt x="4000" y="74"/>
                  </a:lnTo>
                  <a:lnTo>
                    <a:pt x="4000" y="77"/>
                  </a:lnTo>
                  <a:lnTo>
                    <a:pt x="3999" y="85"/>
                  </a:lnTo>
                  <a:lnTo>
                    <a:pt x="3996" y="93"/>
                  </a:lnTo>
                  <a:lnTo>
                    <a:pt x="3992" y="102"/>
                  </a:lnTo>
                  <a:lnTo>
                    <a:pt x="3990" y="110"/>
                  </a:lnTo>
                  <a:lnTo>
                    <a:pt x="3987" y="121"/>
                  </a:lnTo>
                  <a:lnTo>
                    <a:pt x="3986" y="130"/>
                  </a:lnTo>
                  <a:lnTo>
                    <a:pt x="3986" y="139"/>
                  </a:lnTo>
                  <a:lnTo>
                    <a:pt x="3987" y="148"/>
                  </a:lnTo>
                  <a:lnTo>
                    <a:pt x="3990" y="156"/>
                  </a:lnTo>
                  <a:lnTo>
                    <a:pt x="3992" y="164"/>
                  </a:lnTo>
                  <a:lnTo>
                    <a:pt x="3997" y="178"/>
                  </a:lnTo>
                  <a:lnTo>
                    <a:pt x="4000" y="194"/>
                  </a:lnTo>
                  <a:lnTo>
                    <a:pt x="4000" y="202"/>
                  </a:lnTo>
                  <a:lnTo>
                    <a:pt x="3999" y="210"/>
                  </a:lnTo>
                  <a:lnTo>
                    <a:pt x="3996" y="217"/>
                  </a:lnTo>
                  <a:lnTo>
                    <a:pt x="3993" y="225"/>
                  </a:lnTo>
                  <a:lnTo>
                    <a:pt x="3991" y="232"/>
                  </a:lnTo>
                  <a:lnTo>
                    <a:pt x="3990" y="238"/>
                  </a:lnTo>
                  <a:lnTo>
                    <a:pt x="3990" y="245"/>
                  </a:lnTo>
                  <a:lnTo>
                    <a:pt x="3993" y="253"/>
                  </a:lnTo>
                  <a:lnTo>
                    <a:pt x="4082" y="381"/>
                  </a:lnTo>
                  <a:lnTo>
                    <a:pt x="4131" y="450"/>
                  </a:lnTo>
                  <a:lnTo>
                    <a:pt x="4095" y="495"/>
                  </a:lnTo>
                  <a:lnTo>
                    <a:pt x="4067" y="489"/>
                  </a:lnTo>
                  <a:lnTo>
                    <a:pt x="4064" y="488"/>
                  </a:lnTo>
                  <a:lnTo>
                    <a:pt x="4063" y="488"/>
                  </a:lnTo>
                  <a:lnTo>
                    <a:pt x="4061" y="488"/>
                  </a:lnTo>
                  <a:lnTo>
                    <a:pt x="4059" y="489"/>
                  </a:lnTo>
                  <a:lnTo>
                    <a:pt x="4058" y="491"/>
                  </a:lnTo>
                  <a:lnTo>
                    <a:pt x="4056" y="492"/>
                  </a:lnTo>
                  <a:lnTo>
                    <a:pt x="4055" y="492"/>
                  </a:lnTo>
                  <a:lnTo>
                    <a:pt x="4054" y="491"/>
                  </a:lnTo>
                  <a:lnTo>
                    <a:pt x="4054" y="493"/>
                  </a:lnTo>
                  <a:lnTo>
                    <a:pt x="4055" y="499"/>
                  </a:lnTo>
                  <a:lnTo>
                    <a:pt x="4056" y="503"/>
                  </a:lnTo>
                  <a:lnTo>
                    <a:pt x="4056" y="516"/>
                  </a:lnTo>
                  <a:lnTo>
                    <a:pt x="4055" y="525"/>
                  </a:lnTo>
                  <a:lnTo>
                    <a:pt x="4054" y="533"/>
                  </a:lnTo>
                  <a:lnTo>
                    <a:pt x="4051" y="537"/>
                  </a:lnTo>
                  <a:lnTo>
                    <a:pt x="4043" y="547"/>
                  </a:lnTo>
                  <a:lnTo>
                    <a:pt x="4033" y="564"/>
                  </a:lnTo>
                  <a:lnTo>
                    <a:pt x="4022" y="578"/>
                  </a:lnTo>
                  <a:lnTo>
                    <a:pt x="4010" y="594"/>
                  </a:lnTo>
                  <a:lnTo>
                    <a:pt x="4005" y="603"/>
                  </a:lnTo>
                  <a:lnTo>
                    <a:pt x="4003" y="611"/>
                  </a:lnTo>
                  <a:lnTo>
                    <a:pt x="4004" y="616"/>
                  </a:lnTo>
                  <a:lnTo>
                    <a:pt x="4005" y="620"/>
                  </a:lnTo>
                  <a:lnTo>
                    <a:pt x="4008" y="624"/>
                  </a:lnTo>
                  <a:lnTo>
                    <a:pt x="4012" y="628"/>
                  </a:lnTo>
                  <a:lnTo>
                    <a:pt x="4026" y="640"/>
                  </a:lnTo>
                  <a:lnTo>
                    <a:pt x="4033" y="648"/>
                  </a:lnTo>
                  <a:lnTo>
                    <a:pt x="4033" y="652"/>
                  </a:lnTo>
                  <a:lnTo>
                    <a:pt x="4031" y="657"/>
                  </a:lnTo>
                  <a:lnTo>
                    <a:pt x="4025" y="662"/>
                  </a:lnTo>
                  <a:lnTo>
                    <a:pt x="4017" y="670"/>
                  </a:lnTo>
                  <a:lnTo>
                    <a:pt x="4000" y="683"/>
                  </a:lnTo>
                  <a:lnTo>
                    <a:pt x="3984" y="695"/>
                  </a:lnTo>
                  <a:lnTo>
                    <a:pt x="3976" y="701"/>
                  </a:lnTo>
                  <a:lnTo>
                    <a:pt x="3970" y="708"/>
                  </a:lnTo>
                  <a:lnTo>
                    <a:pt x="3963" y="717"/>
                  </a:lnTo>
                  <a:lnTo>
                    <a:pt x="3958" y="725"/>
                  </a:lnTo>
                  <a:lnTo>
                    <a:pt x="3948" y="743"/>
                  </a:lnTo>
                  <a:lnTo>
                    <a:pt x="3929" y="772"/>
                  </a:lnTo>
                  <a:lnTo>
                    <a:pt x="3919" y="784"/>
                  </a:lnTo>
                  <a:lnTo>
                    <a:pt x="3910" y="793"/>
                  </a:lnTo>
                  <a:lnTo>
                    <a:pt x="3906" y="796"/>
                  </a:lnTo>
                  <a:lnTo>
                    <a:pt x="3903" y="797"/>
                  </a:lnTo>
                  <a:lnTo>
                    <a:pt x="3901" y="796"/>
                  </a:lnTo>
                  <a:lnTo>
                    <a:pt x="3899" y="792"/>
                  </a:lnTo>
                  <a:lnTo>
                    <a:pt x="3893" y="783"/>
                  </a:lnTo>
                  <a:lnTo>
                    <a:pt x="3885" y="772"/>
                  </a:lnTo>
                  <a:lnTo>
                    <a:pt x="3880" y="767"/>
                  </a:lnTo>
                  <a:lnTo>
                    <a:pt x="3876" y="760"/>
                  </a:lnTo>
                  <a:lnTo>
                    <a:pt x="3874" y="755"/>
                  </a:lnTo>
                  <a:lnTo>
                    <a:pt x="3873" y="750"/>
                  </a:lnTo>
                  <a:lnTo>
                    <a:pt x="3876" y="743"/>
                  </a:lnTo>
                  <a:lnTo>
                    <a:pt x="3878" y="735"/>
                  </a:lnTo>
                  <a:lnTo>
                    <a:pt x="3882" y="728"/>
                  </a:lnTo>
                  <a:lnTo>
                    <a:pt x="3886" y="720"/>
                  </a:lnTo>
                  <a:lnTo>
                    <a:pt x="3890" y="713"/>
                  </a:lnTo>
                  <a:lnTo>
                    <a:pt x="3894" y="705"/>
                  </a:lnTo>
                  <a:lnTo>
                    <a:pt x="3895" y="696"/>
                  </a:lnTo>
                  <a:lnTo>
                    <a:pt x="3894" y="688"/>
                  </a:lnTo>
                  <a:lnTo>
                    <a:pt x="3890" y="680"/>
                  </a:lnTo>
                  <a:lnTo>
                    <a:pt x="3885" y="671"/>
                  </a:lnTo>
                  <a:lnTo>
                    <a:pt x="3882" y="666"/>
                  </a:lnTo>
                  <a:lnTo>
                    <a:pt x="3881" y="661"/>
                  </a:lnTo>
                  <a:lnTo>
                    <a:pt x="3880" y="656"/>
                  </a:lnTo>
                  <a:lnTo>
                    <a:pt x="3880" y="649"/>
                  </a:lnTo>
                  <a:lnTo>
                    <a:pt x="3888" y="641"/>
                  </a:lnTo>
                  <a:lnTo>
                    <a:pt x="3895" y="633"/>
                  </a:lnTo>
                  <a:lnTo>
                    <a:pt x="3897" y="629"/>
                  </a:lnTo>
                  <a:lnTo>
                    <a:pt x="3897" y="626"/>
                  </a:lnTo>
                  <a:lnTo>
                    <a:pt x="3897" y="622"/>
                  </a:lnTo>
                  <a:lnTo>
                    <a:pt x="3894" y="619"/>
                  </a:lnTo>
                  <a:lnTo>
                    <a:pt x="3888" y="610"/>
                  </a:lnTo>
                  <a:lnTo>
                    <a:pt x="3880" y="603"/>
                  </a:lnTo>
                  <a:lnTo>
                    <a:pt x="3869" y="598"/>
                  </a:lnTo>
                  <a:lnTo>
                    <a:pt x="3860" y="594"/>
                  </a:lnTo>
                  <a:lnTo>
                    <a:pt x="3851" y="593"/>
                  </a:lnTo>
                  <a:lnTo>
                    <a:pt x="3840" y="592"/>
                  </a:lnTo>
                  <a:lnTo>
                    <a:pt x="3831" y="593"/>
                  </a:lnTo>
                  <a:lnTo>
                    <a:pt x="3821" y="594"/>
                  </a:lnTo>
                  <a:lnTo>
                    <a:pt x="3801" y="597"/>
                  </a:lnTo>
                  <a:lnTo>
                    <a:pt x="3785" y="597"/>
                  </a:lnTo>
                  <a:lnTo>
                    <a:pt x="3779" y="598"/>
                  </a:lnTo>
                  <a:lnTo>
                    <a:pt x="3774" y="598"/>
                  </a:lnTo>
                  <a:lnTo>
                    <a:pt x="3772" y="597"/>
                  </a:lnTo>
                  <a:lnTo>
                    <a:pt x="3771" y="595"/>
                  </a:lnTo>
                  <a:lnTo>
                    <a:pt x="3766" y="595"/>
                  </a:lnTo>
                  <a:lnTo>
                    <a:pt x="3762" y="593"/>
                  </a:lnTo>
                  <a:lnTo>
                    <a:pt x="3759" y="588"/>
                  </a:lnTo>
                  <a:lnTo>
                    <a:pt x="3759" y="586"/>
                  </a:lnTo>
                  <a:lnTo>
                    <a:pt x="3751" y="578"/>
                  </a:lnTo>
                  <a:lnTo>
                    <a:pt x="3744" y="573"/>
                  </a:lnTo>
                  <a:lnTo>
                    <a:pt x="3745" y="573"/>
                  </a:lnTo>
                  <a:lnTo>
                    <a:pt x="3754" y="568"/>
                  </a:lnTo>
                  <a:lnTo>
                    <a:pt x="3762" y="561"/>
                  </a:lnTo>
                  <a:lnTo>
                    <a:pt x="3765" y="561"/>
                  </a:lnTo>
                  <a:lnTo>
                    <a:pt x="3766" y="560"/>
                  </a:lnTo>
                  <a:lnTo>
                    <a:pt x="3767" y="558"/>
                  </a:lnTo>
                  <a:lnTo>
                    <a:pt x="3768" y="558"/>
                  </a:lnTo>
                  <a:lnTo>
                    <a:pt x="3782" y="546"/>
                  </a:lnTo>
                  <a:lnTo>
                    <a:pt x="3792" y="533"/>
                  </a:lnTo>
                  <a:lnTo>
                    <a:pt x="3792" y="531"/>
                  </a:lnTo>
                  <a:lnTo>
                    <a:pt x="3793" y="530"/>
                  </a:lnTo>
                  <a:lnTo>
                    <a:pt x="3795" y="530"/>
                  </a:lnTo>
                  <a:lnTo>
                    <a:pt x="3796" y="527"/>
                  </a:lnTo>
                  <a:lnTo>
                    <a:pt x="3795" y="526"/>
                  </a:lnTo>
                  <a:lnTo>
                    <a:pt x="3768" y="497"/>
                  </a:lnTo>
                  <a:lnTo>
                    <a:pt x="3755" y="487"/>
                  </a:lnTo>
                  <a:lnTo>
                    <a:pt x="3736" y="474"/>
                  </a:lnTo>
                  <a:lnTo>
                    <a:pt x="3728" y="467"/>
                  </a:lnTo>
                  <a:lnTo>
                    <a:pt x="3720" y="461"/>
                  </a:lnTo>
                  <a:lnTo>
                    <a:pt x="3717" y="457"/>
                  </a:lnTo>
                  <a:lnTo>
                    <a:pt x="3715" y="453"/>
                  </a:lnTo>
                  <a:lnTo>
                    <a:pt x="3714" y="450"/>
                  </a:lnTo>
                  <a:lnTo>
                    <a:pt x="3712" y="448"/>
                  </a:lnTo>
                  <a:lnTo>
                    <a:pt x="3712" y="445"/>
                  </a:lnTo>
                  <a:lnTo>
                    <a:pt x="3703" y="435"/>
                  </a:lnTo>
                  <a:lnTo>
                    <a:pt x="3694" y="424"/>
                  </a:lnTo>
                  <a:lnTo>
                    <a:pt x="3694" y="423"/>
                  </a:lnTo>
                  <a:lnTo>
                    <a:pt x="3693" y="423"/>
                  </a:lnTo>
                  <a:lnTo>
                    <a:pt x="3691" y="421"/>
                  </a:lnTo>
                  <a:lnTo>
                    <a:pt x="3690" y="414"/>
                  </a:lnTo>
                  <a:lnTo>
                    <a:pt x="3686" y="407"/>
                  </a:lnTo>
                  <a:lnTo>
                    <a:pt x="3685" y="404"/>
                  </a:lnTo>
                  <a:lnTo>
                    <a:pt x="3686" y="399"/>
                  </a:lnTo>
                  <a:lnTo>
                    <a:pt x="3687" y="394"/>
                  </a:lnTo>
                  <a:lnTo>
                    <a:pt x="3690" y="387"/>
                  </a:lnTo>
                  <a:lnTo>
                    <a:pt x="3697" y="376"/>
                  </a:lnTo>
                  <a:lnTo>
                    <a:pt x="3700" y="367"/>
                  </a:lnTo>
                  <a:lnTo>
                    <a:pt x="3702" y="365"/>
                  </a:lnTo>
                  <a:lnTo>
                    <a:pt x="3703" y="363"/>
                  </a:lnTo>
                  <a:lnTo>
                    <a:pt x="3703" y="356"/>
                  </a:lnTo>
                  <a:lnTo>
                    <a:pt x="3702" y="351"/>
                  </a:lnTo>
                  <a:lnTo>
                    <a:pt x="3699" y="347"/>
                  </a:lnTo>
                  <a:lnTo>
                    <a:pt x="3695" y="343"/>
                  </a:lnTo>
                  <a:lnTo>
                    <a:pt x="3689" y="342"/>
                  </a:lnTo>
                  <a:lnTo>
                    <a:pt x="3678" y="339"/>
                  </a:lnTo>
                  <a:lnTo>
                    <a:pt x="3672" y="339"/>
                  </a:lnTo>
                  <a:lnTo>
                    <a:pt x="3665" y="339"/>
                  </a:lnTo>
                  <a:lnTo>
                    <a:pt x="3660" y="340"/>
                  </a:lnTo>
                  <a:lnTo>
                    <a:pt x="3655" y="343"/>
                  </a:lnTo>
                  <a:lnTo>
                    <a:pt x="3648" y="347"/>
                  </a:lnTo>
                  <a:lnTo>
                    <a:pt x="3643" y="348"/>
                  </a:lnTo>
                  <a:lnTo>
                    <a:pt x="3636" y="346"/>
                  </a:lnTo>
                  <a:lnTo>
                    <a:pt x="3629" y="339"/>
                  </a:lnTo>
                  <a:lnTo>
                    <a:pt x="3596" y="309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41" name="Freeform 71"/>
            <p:cNvSpPr>
              <a:spLocks noEditPoints="1"/>
            </p:cNvSpPr>
            <p:nvPr/>
          </p:nvSpPr>
          <p:spPr bwMode="auto">
            <a:xfrm>
              <a:off x="3525838" y="3022600"/>
              <a:ext cx="928687" cy="1225550"/>
            </a:xfrm>
            <a:custGeom>
              <a:avLst/>
              <a:gdLst/>
              <a:ahLst/>
              <a:cxnLst>
                <a:cxn ang="0">
                  <a:pos x="63" y="1681"/>
                </a:cxn>
                <a:cxn ang="0">
                  <a:pos x="419" y="1388"/>
                </a:cxn>
                <a:cxn ang="0">
                  <a:pos x="207" y="1661"/>
                </a:cxn>
                <a:cxn ang="0">
                  <a:pos x="522" y="1504"/>
                </a:cxn>
                <a:cxn ang="0">
                  <a:pos x="1495" y="616"/>
                </a:cxn>
                <a:cxn ang="0">
                  <a:pos x="1884" y="424"/>
                </a:cxn>
                <a:cxn ang="0">
                  <a:pos x="1952" y="438"/>
                </a:cxn>
                <a:cxn ang="0">
                  <a:pos x="1413" y="175"/>
                </a:cxn>
                <a:cxn ang="0">
                  <a:pos x="1847" y="1"/>
                </a:cxn>
                <a:cxn ang="0">
                  <a:pos x="1933" y="123"/>
                </a:cxn>
                <a:cxn ang="0">
                  <a:pos x="1843" y="247"/>
                </a:cxn>
                <a:cxn ang="0">
                  <a:pos x="1830" y="560"/>
                </a:cxn>
                <a:cxn ang="0">
                  <a:pos x="2118" y="686"/>
                </a:cxn>
                <a:cxn ang="0">
                  <a:pos x="2428" y="871"/>
                </a:cxn>
                <a:cxn ang="0">
                  <a:pos x="2237" y="896"/>
                </a:cxn>
                <a:cxn ang="0">
                  <a:pos x="2321" y="997"/>
                </a:cxn>
                <a:cxn ang="0">
                  <a:pos x="2263" y="1151"/>
                </a:cxn>
                <a:cxn ang="0">
                  <a:pos x="2204" y="1334"/>
                </a:cxn>
                <a:cxn ang="0">
                  <a:pos x="2216" y="1520"/>
                </a:cxn>
                <a:cxn ang="0">
                  <a:pos x="2459" y="1808"/>
                </a:cxn>
                <a:cxn ang="0">
                  <a:pos x="2450" y="2148"/>
                </a:cxn>
                <a:cxn ang="0">
                  <a:pos x="2291" y="2168"/>
                </a:cxn>
                <a:cxn ang="0">
                  <a:pos x="2249" y="2467"/>
                </a:cxn>
                <a:cxn ang="0">
                  <a:pos x="1880" y="2721"/>
                </a:cxn>
                <a:cxn ang="0">
                  <a:pos x="1760" y="2717"/>
                </a:cxn>
                <a:cxn ang="0">
                  <a:pos x="1606" y="2803"/>
                </a:cxn>
                <a:cxn ang="0">
                  <a:pos x="1364" y="3040"/>
                </a:cxn>
                <a:cxn ang="0">
                  <a:pos x="1185" y="3099"/>
                </a:cxn>
                <a:cxn ang="0">
                  <a:pos x="1078" y="3276"/>
                </a:cxn>
                <a:cxn ang="0">
                  <a:pos x="968" y="3279"/>
                </a:cxn>
                <a:cxn ang="0">
                  <a:pos x="718" y="2945"/>
                </a:cxn>
                <a:cxn ang="0">
                  <a:pos x="434" y="3007"/>
                </a:cxn>
                <a:cxn ang="0">
                  <a:pos x="372" y="2726"/>
                </a:cxn>
                <a:cxn ang="0">
                  <a:pos x="571" y="2632"/>
                </a:cxn>
                <a:cxn ang="0">
                  <a:pos x="455" y="2522"/>
                </a:cxn>
                <a:cxn ang="0">
                  <a:pos x="244" y="2521"/>
                </a:cxn>
                <a:cxn ang="0">
                  <a:pos x="199" y="2161"/>
                </a:cxn>
                <a:cxn ang="0">
                  <a:pos x="263" y="2107"/>
                </a:cxn>
                <a:cxn ang="0">
                  <a:pos x="475" y="2016"/>
                </a:cxn>
                <a:cxn ang="0">
                  <a:pos x="505" y="1895"/>
                </a:cxn>
                <a:cxn ang="0">
                  <a:pos x="759" y="1557"/>
                </a:cxn>
                <a:cxn ang="0">
                  <a:pos x="747" y="1346"/>
                </a:cxn>
                <a:cxn ang="0">
                  <a:pos x="870" y="1056"/>
                </a:cxn>
                <a:cxn ang="0">
                  <a:pos x="946" y="986"/>
                </a:cxn>
                <a:cxn ang="0">
                  <a:pos x="939" y="755"/>
                </a:cxn>
                <a:cxn ang="0">
                  <a:pos x="882" y="706"/>
                </a:cxn>
                <a:cxn ang="0">
                  <a:pos x="809" y="759"/>
                </a:cxn>
                <a:cxn ang="0">
                  <a:pos x="727" y="667"/>
                </a:cxn>
                <a:cxn ang="0">
                  <a:pos x="822" y="466"/>
                </a:cxn>
                <a:cxn ang="0">
                  <a:pos x="967" y="615"/>
                </a:cxn>
                <a:cxn ang="0">
                  <a:pos x="1132" y="765"/>
                </a:cxn>
                <a:cxn ang="0">
                  <a:pos x="1228" y="863"/>
                </a:cxn>
                <a:cxn ang="0">
                  <a:pos x="1354" y="682"/>
                </a:cxn>
                <a:cxn ang="0">
                  <a:pos x="148" y="1069"/>
                </a:cxn>
                <a:cxn ang="0">
                  <a:pos x="271" y="969"/>
                </a:cxn>
                <a:cxn ang="0">
                  <a:pos x="445" y="832"/>
                </a:cxn>
                <a:cxn ang="0">
                  <a:pos x="580" y="712"/>
                </a:cxn>
                <a:cxn ang="0">
                  <a:pos x="589" y="858"/>
                </a:cxn>
                <a:cxn ang="0">
                  <a:pos x="636" y="1154"/>
                </a:cxn>
                <a:cxn ang="0">
                  <a:pos x="466" y="1321"/>
                </a:cxn>
                <a:cxn ang="0">
                  <a:pos x="322" y="1371"/>
                </a:cxn>
                <a:cxn ang="0">
                  <a:pos x="178" y="1296"/>
                </a:cxn>
                <a:cxn ang="0">
                  <a:pos x="131" y="1230"/>
                </a:cxn>
              </a:cxnLst>
              <a:rect l="0" t="0" r="r" b="b"/>
              <a:pathLst>
                <a:path w="2526" h="3332">
                  <a:moveTo>
                    <a:pt x="71" y="1523"/>
                  </a:moveTo>
                  <a:lnTo>
                    <a:pt x="67" y="1523"/>
                  </a:lnTo>
                  <a:lnTo>
                    <a:pt x="66" y="1524"/>
                  </a:lnTo>
                  <a:lnTo>
                    <a:pt x="63" y="1525"/>
                  </a:lnTo>
                  <a:lnTo>
                    <a:pt x="63" y="1528"/>
                  </a:lnTo>
                  <a:lnTo>
                    <a:pt x="63" y="1529"/>
                  </a:lnTo>
                  <a:lnTo>
                    <a:pt x="63" y="1533"/>
                  </a:lnTo>
                  <a:lnTo>
                    <a:pt x="62" y="1534"/>
                  </a:lnTo>
                  <a:lnTo>
                    <a:pt x="59" y="1534"/>
                  </a:lnTo>
                  <a:lnTo>
                    <a:pt x="49" y="1551"/>
                  </a:lnTo>
                  <a:lnTo>
                    <a:pt x="39" y="1568"/>
                  </a:lnTo>
                  <a:lnTo>
                    <a:pt x="33" y="1578"/>
                  </a:lnTo>
                  <a:lnTo>
                    <a:pt x="25" y="1585"/>
                  </a:lnTo>
                  <a:lnTo>
                    <a:pt x="20" y="1591"/>
                  </a:lnTo>
                  <a:lnTo>
                    <a:pt x="13" y="1597"/>
                  </a:lnTo>
                  <a:lnTo>
                    <a:pt x="5" y="1604"/>
                  </a:lnTo>
                  <a:lnTo>
                    <a:pt x="0" y="1613"/>
                  </a:lnTo>
                  <a:lnTo>
                    <a:pt x="0" y="1616"/>
                  </a:lnTo>
                  <a:lnTo>
                    <a:pt x="3" y="1621"/>
                  </a:lnTo>
                  <a:lnTo>
                    <a:pt x="7" y="1625"/>
                  </a:lnTo>
                  <a:lnTo>
                    <a:pt x="11" y="1630"/>
                  </a:lnTo>
                  <a:lnTo>
                    <a:pt x="21" y="1639"/>
                  </a:lnTo>
                  <a:lnTo>
                    <a:pt x="25" y="1646"/>
                  </a:lnTo>
                  <a:lnTo>
                    <a:pt x="25" y="1650"/>
                  </a:lnTo>
                  <a:lnTo>
                    <a:pt x="28" y="1656"/>
                  </a:lnTo>
                  <a:lnTo>
                    <a:pt x="32" y="1663"/>
                  </a:lnTo>
                  <a:lnTo>
                    <a:pt x="33" y="1667"/>
                  </a:lnTo>
                  <a:lnTo>
                    <a:pt x="34" y="1672"/>
                  </a:lnTo>
                  <a:lnTo>
                    <a:pt x="36" y="1678"/>
                  </a:lnTo>
                  <a:lnTo>
                    <a:pt x="37" y="1686"/>
                  </a:lnTo>
                  <a:lnTo>
                    <a:pt x="38" y="1689"/>
                  </a:lnTo>
                  <a:lnTo>
                    <a:pt x="39" y="1691"/>
                  </a:lnTo>
                  <a:lnTo>
                    <a:pt x="41" y="1694"/>
                  </a:lnTo>
                  <a:lnTo>
                    <a:pt x="42" y="1695"/>
                  </a:lnTo>
                  <a:lnTo>
                    <a:pt x="45" y="1695"/>
                  </a:lnTo>
                  <a:lnTo>
                    <a:pt x="47" y="1695"/>
                  </a:lnTo>
                  <a:lnTo>
                    <a:pt x="50" y="1691"/>
                  </a:lnTo>
                  <a:lnTo>
                    <a:pt x="56" y="1686"/>
                  </a:lnTo>
                  <a:lnTo>
                    <a:pt x="63" y="1681"/>
                  </a:lnTo>
                  <a:lnTo>
                    <a:pt x="70" y="1678"/>
                  </a:lnTo>
                  <a:lnTo>
                    <a:pt x="72" y="1678"/>
                  </a:lnTo>
                  <a:lnTo>
                    <a:pt x="75" y="1676"/>
                  </a:lnTo>
                  <a:lnTo>
                    <a:pt x="76" y="1673"/>
                  </a:lnTo>
                  <a:lnTo>
                    <a:pt x="79" y="1673"/>
                  </a:lnTo>
                  <a:lnTo>
                    <a:pt x="81" y="1673"/>
                  </a:lnTo>
                  <a:lnTo>
                    <a:pt x="83" y="1672"/>
                  </a:lnTo>
                  <a:lnTo>
                    <a:pt x="88" y="1669"/>
                  </a:lnTo>
                  <a:lnTo>
                    <a:pt x="90" y="1667"/>
                  </a:lnTo>
                  <a:lnTo>
                    <a:pt x="90" y="1663"/>
                  </a:lnTo>
                  <a:lnTo>
                    <a:pt x="93" y="1661"/>
                  </a:lnTo>
                  <a:lnTo>
                    <a:pt x="96" y="1660"/>
                  </a:lnTo>
                  <a:lnTo>
                    <a:pt x="96" y="1656"/>
                  </a:lnTo>
                  <a:lnTo>
                    <a:pt x="102" y="1644"/>
                  </a:lnTo>
                  <a:lnTo>
                    <a:pt x="111" y="1629"/>
                  </a:lnTo>
                  <a:lnTo>
                    <a:pt x="118" y="1616"/>
                  </a:lnTo>
                  <a:lnTo>
                    <a:pt x="127" y="1599"/>
                  </a:lnTo>
                  <a:lnTo>
                    <a:pt x="131" y="1588"/>
                  </a:lnTo>
                  <a:lnTo>
                    <a:pt x="135" y="1579"/>
                  </a:lnTo>
                  <a:lnTo>
                    <a:pt x="138" y="1570"/>
                  </a:lnTo>
                  <a:lnTo>
                    <a:pt x="140" y="1561"/>
                  </a:lnTo>
                  <a:lnTo>
                    <a:pt x="142" y="1548"/>
                  </a:lnTo>
                  <a:lnTo>
                    <a:pt x="140" y="1533"/>
                  </a:lnTo>
                  <a:lnTo>
                    <a:pt x="135" y="1524"/>
                  </a:lnTo>
                  <a:lnTo>
                    <a:pt x="128" y="1516"/>
                  </a:lnTo>
                  <a:lnTo>
                    <a:pt x="122" y="1511"/>
                  </a:lnTo>
                  <a:lnTo>
                    <a:pt x="117" y="1504"/>
                  </a:lnTo>
                  <a:lnTo>
                    <a:pt x="113" y="1503"/>
                  </a:lnTo>
                  <a:lnTo>
                    <a:pt x="110" y="1503"/>
                  </a:lnTo>
                  <a:lnTo>
                    <a:pt x="105" y="1506"/>
                  </a:lnTo>
                  <a:lnTo>
                    <a:pt x="96" y="1512"/>
                  </a:lnTo>
                  <a:lnTo>
                    <a:pt x="89" y="1516"/>
                  </a:lnTo>
                  <a:lnTo>
                    <a:pt x="83" y="1520"/>
                  </a:lnTo>
                  <a:lnTo>
                    <a:pt x="76" y="1521"/>
                  </a:lnTo>
                  <a:lnTo>
                    <a:pt x="71" y="1523"/>
                  </a:lnTo>
                  <a:close/>
                  <a:moveTo>
                    <a:pt x="441" y="1410"/>
                  </a:moveTo>
                  <a:lnTo>
                    <a:pt x="432" y="1401"/>
                  </a:lnTo>
                  <a:lnTo>
                    <a:pt x="425" y="1393"/>
                  </a:lnTo>
                  <a:lnTo>
                    <a:pt x="419" y="1388"/>
                  </a:lnTo>
                  <a:lnTo>
                    <a:pt x="414" y="1385"/>
                  </a:lnTo>
                  <a:lnTo>
                    <a:pt x="408" y="1384"/>
                  </a:lnTo>
                  <a:lnTo>
                    <a:pt x="404" y="1384"/>
                  </a:lnTo>
                  <a:lnTo>
                    <a:pt x="400" y="1385"/>
                  </a:lnTo>
                  <a:lnTo>
                    <a:pt x="398" y="1389"/>
                  </a:lnTo>
                  <a:lnTo>
                    <a:pt x="391" y="1398"/>
                  </a:lnTo>
                  <a:lnTo>
                    <a:pt x="383" y="1410"/>
                  </a:lnTo>
                  <a:lnTo>
                    <a:pt x="380" y="1417"/>
                  </a:lnTo>
                  <a:lnTo>
                    <a:pt x="374" y="1423"/>
                  </a:lnTo>
                  <a:lnTo>
                    <a:pt x="369" y="1430"/>
                  </a:lnTo>
                  <a:lnTo>
                    <a:pt x="363" y="1435"/>
                  </a:lnTo>
                  <a:lnTo>
                    <a:pt x="355" y="1442"/>
                  </a:lnTo>
                  <a:lnTo>
                    <a:pt x="347" y="1452"/>
                  </a:lnTo>
                  <a:lnTo>
                    <a:pt x="339" y="1464"/>
                  </a:lnTo>
                  <a:lnTo>
                    <a:pt x="331" y="1478"/>
                  </a:lnTo>
                  <a:lnTo>
                    <a:pt x="314" y="1506"/>
                  </a:lnTo>
                  <a:lnTo>
                    <a:pt x="301" y="1529"/>
                  </a:lnTo>
                  <a:lnTo>
                    <a:pt x="293" y="1540"/>
                  </a:lnTo>
                  <a:lnTo>
                    <a:pt x="284" y="1550"/>
                  </a:lnTo>
                  <a:lnTo>
                    <a:pt x="275" y="1561"/>
                  </a:lnTo>
                  <a:lnTo>
                    <a:pt x="266" y="1571"/>
                  </a:lnTo>
                  <a:lnTo>
                    <a:pt x="262" y="1575"/>
                  </a:lnTo>
                  <a:lnTo>
                    <a:pt x="253" y="1579"/>
                  </a:lnTo>
                  <a:lnTo>
                    <a:pt x="241" y="1583"/>
                  </a:lnTo>
                  <a:lnTo>
                    <a:pt x="229" y="1585"/>
                  </a:lnTo>
                  <a:lnTo>
                    <a:pt x="203" y="1591"/>
                  </a:lnTo>
                  <a:lnTo>
                    <a:pt x="186" y="1593"/>
                  </a:lnTo>
                  <a:lnTo>
                    <a:pt x="179" y="1596"/>
                  </a:lnTo>
                  <a:lnTo>
                    <a:pt x="176" y="1601"/>
                  </a:lnTo>
                  <a:lnTo>
                    <a:pt x="173" y="1606"/>
                  </a:lnTo>
                  <a:lnTo>
                    <a:pt x="170" y="1614"/>
                  </a:lnTo>
                  <a:lnTo>
                    <a:pt x="170" y="1621"/>
                  </a:lnTo>
                  <a:lnTo>
                    <a:pt x="172" y="1630"/>
                  </a:lnTo>
                  <a:lnTo>
                    <a:pt x="174" y="1638"/>
                  </a:lnTo>
                  <a:lnTo>
                    <a:pt x="178" y="1644"/>
                  </a:lnTo>
                  <a:lnTo>
                    <a:pt x="183" y="1651"/>
                  </a:lnTo>
                  <a:lnTo>
                    <a:pt x="190" y="1656"/>
                  </a:lnTo>
                  <a:lnTo>
                    <a:pt x="198" y="1660"/>
                  </a:lnTo>
                  <a:lnTo>
                    <a:pt x="207" y="1661"/>
                  </a:lnTo>
                  <a:lnTo>
                    <a:pt x="219" y="1660"/>
                  </a:lnTo>
                  <a:lnTo>
                    <a:pt x="230" y="1656"/>
                  </a:lnTo>
                  <a:lnTo>
                    <a:pt x="244" y="1648"/>
                  </a:lnTo>
                  <a:lnTo>
                    <a:pt x="258" y="1636"/>
                  </a:lnTo>
                  <a:lnTo>
                    <a:pt x="274" y="1622"/>
                  </a:lnTo>
                  <a:lnTo>
                    <a:pt x="288" y="1610"/>
                  </a:lnTo>
                  <a:lnTo>
                    <a:pt x="293" y="1606"/>
                  </a:lnTo>
                  <a:lnTo>
                    <a:pt x="300" y="1602"/>
                  </a:lnTo>
                  <a:lnTo>
                    <a:pt x="305" y="1600"/>
                  </a:lnTo>
                  <a:lnTo>
                    <a:pt x="310" y="1597"/>
                  </a:lnTo>
                  <a:lnTo>
                    <a:pt x="317" y="1597"/>
                  </a:lnTo>
                  <a:lnTo>
                    <a:pt x="322" y="1597"/>
                  </a:lnTo>
                  <a:lnTo>
                    <a:pt x="329" y="1599"/>
                  </a:lnTo>
                  <a:lnTo>
                    <a:pt x="334" y="1601"/>
                  </a:lnTo>
                  <a:lnTo>
                    <a:pt x="340" y="1605"/>
                  </a:lnTo>
                  <a:lnTo>
                    <a:pt x="348" y="1610"/>
                  </a:lnTo>
                  <a:lnTo>
                    <a:pt x="356" y="1618"/>
                  </a:lnTo>
                  <a:lnTo>
                    <a:pt x="365" y="1626"/>
                  </a:lnTo>
                  <a:lnTo>
                    <a:pt x="380" y="1642"/>
                  </a:lnTo>
                  <a:lnTo>
                    <a:pt x="394" y="1657"/>
                  </a:lnTo>
                  <a:lnTo>
                    <a:pt x="403" y="1663"/>
                  </a:lnTo>
                  <a:lnTo>
                    <a:pt x="411" y="1667"/>
                  </a:lnTo>
                  <a:lnTo>
                    <a:pt x="416" y="1668"/>
                  </a:lnTo>
                  <a:lnTo>
                    <a:pt x="420" y="1668"/>
                  </a:lnTo>
                  <a:lnTo>
                    <a:pt x="425" y="1668"/>
                  </a:lnTo>
                  <a:lnTo>
                    <a:pt x="431" y="1665"/>
                  </a:lnTo>
                  <a:lnTo>
                    <a:pt x="436" y="1663"/>
                  </a:lnTo>
                  <a:lnTo>
                    <a:pt x="441" y="1657"/>
                  </a:lnTo>
                  <a:lnTo>
                    <a:pt x="448" y="1650"/>
                  </a:lnTo>
                  <a:lnTo>
                    <a:pt x="455" y="1640"/>
                  </a:lnTo>
                  <a:lnTo>
                    <a:pt x="471" y="1619"/>
                  </a:lnTo>
                  <a:lnTo>
                    <a:pt x="487" y="1595"/>
                  </a:lnTo>
                  <a:lnTo>
                    <a:pt x="501" y="1570"/>
                  </a:lnTo>
                  <a:lnTo>
                    <a:pt x="514" y="1546"/>
                  </a:lnTo>
                  <a:lnTo>
                    <a:pt x="518" y="1536"/>
                  </a:lnTo>
                  <a:lnTo>
                    <a:pt x="522" y="1527"/>
                  </a:lnTo>
                  <a:lnTo>
                    <a:pt x="523" y="1519"/>
                  </a:lnTo>
                  <a:lnTo>
                    <a:pt x="523" y="1512"/>
                  </a:lnTo>
                  <a:lnTo>
                    <a:pt x="522" y="1504"/>
                  </a:lnTo>
                  <a:lnTo>
                    <a:pt x="517" y="1495"/>
                  </a:lnTo>
                  <a:lnTo>
                    <a:pt x="512" y="1487"/>
                  </a:lnTo>
                  <a:lnTo>
                    <a:pt x="504" y="1480"/>
                  </a:lnTo>
                  <a:lnTo>
                    <a:pt x="488" y="1465"/>
                  </a:lnTo>
                  <a:lnTo>
                    <a:pt x="471" y="1455"/>
                  </a:lnTo>
                  <a:lnTo>
                    <a:pt x="467" y="1451"/>
                  </a:lnTo>
                  <a:lnTo>
                    <a:pt x="462" y="1445"/>
                  </a:lnTo>
                  <a:lnTo>
                    <a:pt x="457" y="1438"/>
                  </a:lnTo>
                  <a:lnTo>
                    <a:pt x="452" y="1430"/>
                  </a:lnTo>
                  <a:lnTo>
                    <a:pt x="444" y="1417"/>
                  </a:lnTo>
                  <a:lnTo>
                    <a:pt x="441" y="1410"/>
                  </a:lnTo>
                  <a:close/>
                  <a:moveTo>
                    <a:pt x="1559" y="540"/>
                  </a:moveTo>
                  <a:lnTo>
                    <a:pt x="1558" y="535"/>
                  </a:lnTo>
                  <a:lnTo>
                    <a:pt x="1557" y="530"/>
                  </a:lnTo>
                  <a:lnTo>
                    <a:pt x="1554" y="525"/>
                  </a:lnTo>
                  <a:lnTo>
                    <a:pt x="1552" y="521"/>
                  </a:lnTo>
                  <a:lnTo>
                    <a:pt x="1544" y="513"/>
                  </a:lnTo>
                  <a:lnTo>
                    <a:pt x="1535" y="508"/>
                  </a:lnTo>
                  <a:lnTo>
                    <a:pt x="1531" y="506"/>
                  </a:lnTo>
                  <a:lnTo>
                    <a:pt x="1525" y="505"/>
                  </a:lnTo>
                  <a:lnTo>
                    <a:pt x="1520" y="505"/>
                  </a:lnTo>
                  <a:lnTo>
                    <a:pt x="1515" y="505"/>
                  </a:lnTo>
                  <a:lnTo>
                    <a:pt x="1511" y="506"/>
                  </a:lnTo>
                  <a:lnTo>
                    <a:pt x="1507" y="509"/>
                  </a:lnTo>
                  <a:lnTo>
                    <a:pt x="1503" y="513"/>
                  </a:lnTo>
                  <a:lnTo>
                    <a:pt x="1499" y="518"/>
                  </a:lnTo>
                  <a:lnTo>
                    <a:pt x="1491" y="531"/>
                  </a:lnTo>
                  <a:lnTo>
                    <a:pt x="1485" y="546"/>
                  </a:lnTo>
                  <a:lnTo>
                    <a:pt x="1482" y="552"/>
                  </a:lnTo>
                  <a:lnTo>
                    <a:pt x="1481" y="560"/>
                  </a:lnTo>
                  <a:lnTo>
                    <a:pt x="1480" y="568"/>
                  </a:lnTo>
                  <a:lnTo>
                    <a:pt x="1481" y="576"/>
                  </a:lnTo>
                  <a:lnTo>
                    <a:pt x="1481" y="585"/>
                  </a:lnTo>
                  <a:lnTo>
                    <a:pt x="1481" y="598"/>
                  </a:lnTo>
                  <a:lnTo>
                    <a:pt x="1482" y="611"/>
                  </a:lnTo>
                  <a:lnTo>
                    <a:pt x="1485" y="619"/>
                  </a:lnTo>
                  <a:lnTo>
                    <a:pt x="1487" y="619"/>
                  </a:lnTo>
                  <a:lnTo>
                    <a:pt x="1491" y="619"/>
                  </a:lnTo>
                  <a:lnTo>
                    <a:pt x="1495" y="616"/>
                  </a:lnTo>
                  <a:lnTo>
                    <a:pt x="1501" y="614"/>
                  </a:lnTo>
                  <a:lnTo>
                    <a:pt x="1512" y="608"/>
                  </a:lnTo>
                  <a:lnTo>
                    <a:pt x="1519" y="604"/>
                  </a:lnTo>
                  <a:lnTo>
                    <a:pt x="1531" y="599"/>
                  </a:lnTo>
                  <a:lnTo>
                    <a:pt x="1545" y="594"/>
                  </a:lnTo>
                  <a:lnTo>
                    <a:pt x="1558" y="586"/>
                  </a:lnTo>
                  <a:lnTo>
                    <a:pt x="1567" y="580"/>
                  </a:lnTo>
                  <a:lnTo>
                    <a:pt x="1571" y="573"/>
                  </a:lnTo>
                  <a:lnTo>
                    <a:pt x="1572" y="568"/>
                  </a:lnTo>
                  <a:lnTo>
                    <a:pt x="1571" y="563"/>
                  </a:lnTo>
                  <a:lnTo>
                    <a:pt x="1569" y="557"/>
                  </a:lnTo>
                  <a:lnTo>
                    <a:pt x="1563" y="548"/>
                  </a:lnTo>
                  <a:lnTo>
                    <a:pt x="1559" y="540"/>
                  </a:lnTo>
                  <a:close/>
                  <a:moveTo>
                    <a:pt x="1956" y="432"/>
                  </a:moveTo>
                  <a:lnTo>
                    <a:pt x="1958" y="428"/>
                  </a:lnTo>
                  <a:lnTo>
                    <a:pt x="1958" y="424"/>
                  </a:lnTo>
                  <a:lnTo>
                    <a:pt x="1957" y="417"/>
                  </a:lnTo>
                  <a:lnTo>
                    <a:pt x="1956" y="411"/>
                  </a:lnTo>
                  <a:lnTo>
                    <a:pt x="1953" y="406"/>
                  </a:lnTo>
                  <a:lnTo>
                    <a:pt x="1950" y="400"/>
                  </a:lnTo>
                  <a:lnTo>
                    <a:pt x="1947" y="396"/>
                  </a:lnTo>
                  <a:lnTo>
                    <a:pt x="1943" y="395"/>
                  </a:lnTo>
                  <a:lnTo>
                    <a:pt x="1937" y="396"/>
                  </a:lnTo>
                  <a:lnTo>
                    <a:pt x="1932" y="399"/>
                  </a:lnTo>
                  <a:lnTo>
                    <a:pt x="1919" y="404"/>
                  </a:lnTo>
                  <a:lnTo>
                    <a:pt x="1906" y="410"/>
                  </a:lnTo>
                  <a:lnTo>
                    <a:pt x="1905" y="411"/>
                  </a:lnTo>
                  <a:lnTo>
                    <a:pt x="1903" y="412"/>
                  </a:lnTo>
                  <a:lnTo>
                    <a:pt x="1901" y="413"/>
                  </a:lnTo>
                  <a:lnTo>
                    <a:pt x="1898" y="415"/>
                  </a:lnTo>
                  <a:lnTo>
                    <a:pt x="1896" y="415"/>
                  </a:lnTo>
                  <a:lnTo>
                    <a:pt x="1893" y="416"/>
                  </a:lnTo>
                  <a:lnTo>
                    <a:pt x="1892" y="417"/>
                  </a:lnTo>
                  <a:lnTo>
                    <a:pt x="1890" y="419"/>
                  </a:lnTo>
                  <a:lnTo>
                    <a:pt x="1888" y="420"/>
                  </a:lnTo>
                  <a:lnTo>
                    <a:pt x="1888" y="420"/>
                  </a:lnTo>
                  <a:lnTo>
                    <a:pt x="1886" y="421"/>
                  </a:lnTo>
                  <a:lnTo>
                    <a:pt x="1885" y="423"/>
                  </a:lnTo>
                  <a:lnTo>
                    <a:pt x="1884" y="424"/>
                  </a:lnTo>
                  <a:lnTo>
                    <a:pt x="1882" y="424"/>
                  </a:lnTo>
                  <a:lnTo>
                    <a:pt x="1881" y="424"/>
                  </a:lnTo>
                  <a:lnTo>
                    <a:pt x="1880" y="425"/>
                  </a:lnTo>
                  <a:lnTo>
                    <a:pt x="1880" y="427"/>
                  </a:lnTo>
                  <a:lnTo>
                    <a:pt x="1879" y="429"/>
                  </a:lnTo>
                  <a:lnTo>
                    <a:pt x="1877" y="430"/>
                  </a:lnTo>
                  <a:lnTo>
                    <a:pt x="1877" y="459"/>
                  </a:lnTo>
                  <a:lnTo>
                    <a:pt x="1879" y="472"/>
                  </a:lnTo>
                  <a:lnTo>
                    <a:pt x="1880" y="485"/>
                  </a:lnTo>
                  <a:lnTo>
                    <a:pt x="1880" y="489"/>
                  </a:lnTo>
                  <a:lnTo>
                    <a:pt x="1881" y="491"/>
                  </a:lnTo>
                  <a:lnTo>
                    <a:pt x="1893" y="485"/>
                  </a:lnTo>
                  <a:lnTo>
                    <a:pt x="1906" y="476"/>
                  </a:lnTo>
                  <a:lnTo>
                    <a:pt x="1911" y="475"/>
                  </a:lnTo>
                  <a:lnTo>
                    <a:pt x="1918" y="472"/>
                  </a:lnTo>
                  <a:lnTo>
                    <a:pt x="1922" y="471"/>
                  </a:lnTo>
                  <a:lnTo>
                    <a:pt x="1924" y="468"/>
                  </a:lnTo>
                  <a:lnTo>
                    <a:pt x="1927" y="466"/>
                  </a:lnTo>
                  <a:lnTo>
                    <a:pt x="1930" y="463"/>
                  </a:lnTo>
                  <a:lnTo>
                    <a:pt x="1931" y="462"/>
                  </a:lnTo>
                  <a:lnTo>
                    <a:pt x="1932" y="462"/>
                  </a:lnTo>
                  <a:lnTo>
                    <a:pt x="1933" y="461"/>
                  </a:lnTo>
                  <a:lnTo>
                    <a:pt x="1935" y="459"/>
                  </a:lnTo>
                  <a:lnTo>
                    <a:pt x="1935" y="458"/>
                  </a:lnTo>
                  <a:lnTo>
                    <a:pt x="1936" y="458"/>
                  </a:lnTo>
                  <a:lnTo>
                    <a:pt x="1937" y="457"/>
                  </a:lnTo>
                  <a:lnTo>
                    <a:pt x="1939" y="455"/>
                  </a:lnTo>
                  <a:lnTo>
                    <a:pt x="1941" y="455"/>
                  </a:lnTo>
                  <a:lnTo>
                    <a:pt x="1944" y="451"/>
                  </a:lnTo>
                  <a:lnTo>
                    <a:pt x="1948" y="447"/>
                  </a:lnTo>
                  <a:lnTo>
                    <a:pt x="1949" y="447"/>
                  </a:lnTo>
                  <a:lnTo>
                    <a:pt x="1949" y="446"/>
                  </a:lnTo>
                  <a:lnTo>
                    <a:pt x="1949" y="445"/>
                  </a:lnTo>
                  <a:lnTo>
                    <a:pt x="1949" y="444"/>
                  </a:lnTo>
                  <a:lnTo>
                    <a:pt x="1950" y="444"/>
                  </a:lnTo>
                  <a:lnTo>
                    <a:pt x="1950" y="442"/>
                  </a:lnTo>
                  <a:lnTo>
                    <a:pt x="1950" y="441"/>
                  </a:lnTo>
                  <a:lnTo>
                    <a:pt x="1952" y="440"/>
                  </a:lnTo>
                  <a:lnTo>
                    <a:pt x="1952" y="438"/>
                  </a:lnTo>
                  <a:lnTo>
                    <a:pt x="1952" y="437"/>
                  </a:lnTo>
                  <a:lnTo>
                    <a:pt x="1953" y="436"/>
                  </a:lnTo>
                  <a:lnTo>
                    <a:pt x="1953" y="436"/>
                  </a:lnTo>
                  <a:lnTo>
                    <a:pt x="1953" y="434"/>
                  </a:lnTo>
                  <a:lnTo>
                    <a:pt x="1956" y="432"/>
                  </a:lnTo>
                  <a:close/>
                  <a:moveTo>
                    <a:pt x="1383" y="612"/>
                  </a:moveTo>
                  <a:lnTo>
                    <a:pt x="1334" y="543"/>
                  </a:lnTo>
                  <a:lnTo>
                    <a:pt x="1245" y="415"/>
                  </a:lnTo>
                  <a:lnTo>
                    <a:pt x="1242" y="407"/>
                  </a:lnTo>
                  <a:lnTo>
                    <a:pt x="1242" y="400"/>
                  </a:lnTo>
                  <a:lnTo>
                    <a:pt x="1243" y="394"/>
                  </a:lnTo>
                  <a:lnTo>
                    <a:pt x="1245" y="387"/>
                  </a:lnTo>
                  <a:lnTo>
                    <a:pt x="1248" y="379"/>
                  </a:lnTo>
                  <a:lnTo>
                    <a:pt x="1251" y="372"/>
                  </a:lnTo>
                  <a:lnTo>
                    <a:pt x="1252" y="364"/>
                  </a:lnTo>
                  <a:lnTo>
                    <a:pt x="1252" y="356"/>
                  </a:lnTo>
                  <a:lnTo>
                    <a:pt x="1249" y="340"/>
                  </a:lnTo>
                  <a:lnTo>
                    <a:pt x="1244" y="326"/>
                  </a:lnTo>
                  <a:lnTo>
                    <a:pt x="1242" y="318"/>
                  </a:lnTo>
                  <a:lnTo>
                    <a:pt x="1239" y="310"/>
                  </a:lnTo>
                  <a:lnTo>
                    <a:pt x="1238" y="301"/>
                  </a:lnTo>
                  <a:lnTo>
                    <a:pt x="1238" y="292"/>
                  </a:lnTo>
                  <a:lnTo>
                    <a:pt x="1239" y="283"/>
                  </a:lnTo>
                  <a:lnTo>
                    <a:pt x="1242" y="272"/>
                  </a:lnTo>
                  <a:lnTo>
                    <a:pt x="1244" y="264"/>
                  </a:lnTo>
                  <a:lnTo>
                    <a:pt x="1248" y="255"/>
                  </a:lnTo>
                  <a:lnTo>
                    <a:pt x="1251" y="247"/>
                  </a:lnTo>
                  <a:lnTo>
                    <a:pt x="1252" y="239"/>
                  </a:lnTo>
                  <a:lnTo>
                    <a:pt x="1252" y="236"/>
                  </a:lnTo>
                  <a:lnTo>
                    <a:pt x="1252" y="232"/>
                  </a:lnTo>
                  <a:lnTo>
                    <a:pt x="1251" y="226"/>
                  </a:lnTo>
                  <a:lnTo>
                    <a:pt x="1248" y="222"/>
                  </a:lnTo>
                  <a:lnTo>
                    <a:pt x="1222" y="177"/>
                  </a:lnTo>
                  <a:lnTo>
                    <a:pt x="1282" y="177"/>
                  </a:lnTo>
                  <a:lnTo>
                    <a:pt x="1404" y="179"/>
                  </a:lnTo>
                  <a:lnTo>
                    <a:pt x="1406" y="179"/>
                  </a:lnTo>
                  <a:lnTo>
                    <a:pt x="1409" y="178"/>
                  </a:lnTo>
                  <a:lnTo>
                    <a:pt x="1412" y="177"/>
                  </a:lnTo>
                  <a:lnTo>
                    <a:pt x="1413" y="175"/>
                  </a:lnTo>
                  <a:lnTo>
                    <a:pt x="1417" y="174"/>
                  </a:lnTo>
                  <a:lnTo>
                    <a:pt x="1422" y="174"/>
                  </a:lnTo>
                  <a:lnTo>
                    <a:pt x="1423" y="173"/>
                  </a:lnTo>
                  <a:lnTo>
                    <a:pt x="1426" y="171"/>
                  </a:lnTo>
                  <a:lnTo>
                    <a:pt x="1426" y="171"/>
                  </a:lnTo>
                  <a:lnTo>
                    <a:pt x="1427" y="170"/>
                  </a:lnTo>
                  <a:lnTo>
                    <a:pt x="1431" y="169"/>
                  </a:lnTo>
                  <a:lnTo>
                    <a:pt x="1436" y="168"/>
                  </a:lnTo>
                  <a:lnTo>
                    <a:pt x="1439" y="168"/>
                  </a:lnTo>
                  <a:lnTo>
                    <a:pt x="1451" y="165"/>
                  </a:lnTo>
                  <a:lnTo>
                    <a:pt x="1473" y="161"/>
                  </a:lnTo>
                  <a:lnTo>
                    <a:pt x="1497" y="157"/>
                  </a:lnTo>
                  <a:lnTo>
                    <a:pt x="1511" y="154"/>
                  </a:lnTo>
                  <a:lnTo>
                    <a:pt x="1525" y="151"/>
                  </a:lnTo>
                  <a:lnTo>
                    <a:pt x="1540" y="145"/>
                  </a:lnTo>
                  <a:lnTo>
                    <a:pt x="1561" y="139"/>
                  </a:lnTo>
                  <a:lnTo>
                    <a:pt x="1588" y="132"/>
                  </a:lnTo>
                  <a:lnTo>
                    <a:pt x="1616" y="126"/>
                  </a:lnTo>
                  <a:lnTo>
                    <a:pt x="1635" y="119"/>
                  </a:lnTo>
                  <a:lnTo>
                    <a:pt x="1763" y="56"/>
                  </a:lnTo>
                  <a:lnTo>
                    <a:pt x="1766" y="55"/>
                  </a:lnTo>
                  <a:lnTo>
                    <a:pt x="1767" y="54"/>
                  </a:lnTo>
                  <a:lnTo>
                    <a:pt x="1770" y="50"/>
                  </a:lnTo>
                  <a:lnTo>
                    <a:pt x="1773" y="48"/>
                  </a:lnTo>
                  <a:lnTo>
                    <a:pt x="1784" y="42"/>
                  </a:lnTo>
                  <a:lnTo>
                    <a:pt x="1795" y="33"/>
                  </a:lnTo>
                  <a:lnTo>
                    <a:pt x="1801" y="28"/>
                  </a:lnTo>
                  <a:lnTo>
                    <a:pt x="1808" y="24"/>
                  </a:lnTo>
                  <a:lnTo>
                    <a:pt x="1814" y="20"/>
                  </a:lnTo>
                  <a:lnTo>
                    <a:pt x="1821" y="17"/>
                  </a:lnTo>
                  <a:lnTo>
                    <a:pt x="1822" y="16"/>
                  </a:lnTo>
                  <a:lnTo>
                    <a:pt x="1824" y="14"/>
                  </a:lnTo>
                  <a:lnTo>
                    <a:pt x="1826" y="13"/>
                  </a:lnTo>
                  <a:lnTo>
                    <a:pt x="1828" y="12"/>
                  </a:lnTo>
                  <a:lnTo>
                    <a:pt x="1828" y="11"/>
                  </a:lnTo>
                  <a:lnTo>
                    <a:pt x="1829" y="9"/>
                  </a:lnTo>
                  <a:lnTo>
                    <a:pt x="1831" y="7"/>
                  </a:lnTo>
                  <a:lnTo>
                    <a:pt x="1833" y="5"/>
                  </a:lnTo>
                  <a:lnTo>
                    <a:pt x="1847" y="1"/>
                  </a:lnTo>
                  <a:lnTo>
                    <a:pt x="1860" y="0"/>
                  </a:lnTo>
                  <a:lnTo>
                    <a:pt x="1867" y="0"/>
                  </a:lnTo>
                  <a:lnTo>
                    <a:pt x="1873" y="0"/>
                  </a:lnTo>
                  <a:lnTo>
                    <a:pt x="1881" y="1"/>
                  </a:lnTo>
                  <a:lnTo>
                    <a:pt x="1888" y="4"/>
                  </a:lnTo>
                  <a:lnTo>
                    <a:pt x="1892" y="8"/>
                  </a:lnTo>
                  <a:lnTo>
                    <a:pt x="1894" y="14"/>
                  </a:lnTo>
                  <a:lnTo>
                    <a:pt x="1894" y="14"/>
                  </a:lnTo>
                  <a:lnTo>
                    <a:pt x="1894" y="16"/>
                  </a:lnTo>
                  <a:lnTo>
                    <a:pt x="1896" y="18"/>
                  </a:lnTo>
                  <a:lnTo>
                    <a:pt x="1897" y="21"/>
                  </a:lnTo>
                  <a:lnTo>
                    <a:pt x="1898" y="24"/>
                  </a:lnTo>
                  <a:lnTo>
                    <a:pt x="1899" y="26"/>
                  </a:lnTo>
                  <a:lnTo>
                    <a:pt x="1905" y="31"/>
                  </a:lnTo>
                  <a:lnTo>
                    <a:pt x="1909" y="42"/>
                  </a:lnTo>
                  <a:lnTo>
                    <a:pt x="1910" y="52"/>
                  </a:lnTo>
                  <a:lnTo>
                    <a:pt x="1910" y="60"/>
                  </a:lnTo>
                  <a:lnTo>
                    <a:pt x="1907" y="63"/>
                  </a:lnTo>
                  <a:lnTo>
                    <a:pt x="1907" y="67"/>
                  </a:lnTo>
                  <a:lnTo>
                    <a:pt x="1909" y="69"/>
                  </a:lnTo>
                  <a:lnTo>
                    <a:pt x="1909" y="71"/>
                  </a:lnTo>
                  <a:lnTo>
                    <a:pt x="1910" y="71"/>
                  </a:lnTo>
                  <a:lnTo>
                    <a:pt x="1911" y="72"/>
                  </a:lnTo>
                  <a:lnTo>
                    <a:pt x="1911" y="73"/>
                  </a:lnTo>
                  <a:lnTo>
                    <a:pt x="1911" y="76"/>
                  </a:lnTo>
                  <a:lnTo>
                    <a:pt x="1914" y="81"/>
                  </a:lnTo>
                  <a:lnTo>
                    <a:pt x="1916" y="85"/>
                  </a:lnTo>
                  <a:lnTo>
                    <a:pt x="1920" y="90"/>
                  </a:lnTo>
                  <a:lnTo>
                    <a:pt x="1923" y="96"/>
                  </a:lnTo>
                  <a:lnTo>
                    <a:pt x="1923" y="98"/>
                  </a:lnTo>
                  <a:lnTo>
                    <a:pt x="1924" y="102"/>
                  </a:lnTo>
                  <a:lnTo>
                    <a:pt x="1926" y="105"/>
                  </a:lnTo>
                  <a:lnTo>
                    <a:pt x="1927" y="107"/>
                  </a:lnTo>
                  <a:lnTo>
                    <a:pt x="1930" y="110"/>
                  </a:lnTo>
                  <a:lnTo>
                    <a:pt x="1930" y="111"/>
                  </a:lnTo>
                  <a:lnTo>
                    <a:pt x="1930" y="114"/>
                  </a:lnTo>
                  <a:lnTo>
                    <a:pt x="1932" y="116"/>
                  </a:lnTo>
                  <a:lnTo>
                    <a:pt x="1933" y="119"/>
                  </a:lnTo>
                  <a:lnTo>
                    <a:pt x="1933" y="123"/>
                  </a:lnTo>
                  <a:lnTo>
                    <a:pt x="1933" y="128"/>
                  </a:lnTo>
                  <a:lnTo>
                    <a:pt x="1933" y="136"/>
                  </a:lnTo>
                  <a:lnTo>
                    <a:pt x="1932" y="143"/>
                  </a:lnTo>
                  <a:lnTo>
                    <a:pt x="1927" y="153"/>
                  </a:lnTo>
                  <a:lnTo>
                    <a:pt x="1922" y="164"/>
                  </a:lnTo>
                  <a:lnTo>
                    <a:pt x="1914" y="174"/>
                  </a:lnTo>
                  <a:lnTo>
                    <a:pt x="1905" y="185"/>
                  </a:lnTo>
                  <a:lnTo>
                    <a:pt x="1905" y="186"/>
                  </a:lnTo>
                  <a:lnTo>
                    <a:pt x="1903" y="187"/>
                  </a:lnTo>
                  <a:lnTo>
                    <a:pt x="1899" y="190"/>
                  </a:lnTo>
                  <a:lnTo>
                    <a:pt x="1897" y="192"/>
                  </a:lnTo>
                  <a:lnTo>
                    <a:pt x="1893" y="200"/>
                  </a:lnTo>
                  <a:lnTo>
                    <a:pt x="1889" y="209"/>
                  </a:lnTo>
                  <a:lnTo>
                    <a:pt x="1888" y="211"/>
                  </a:lnTo>
                  <a:lnTo>
                    <a:pt x="1885" y="213"/>
                  </a:lnTo>
                  <a:lnTo>
                    <a:pt x="1885" y="213"/>
                  </a:lnTo>
                  <a:lnTo>
                    <a:pt x="1884" y="215"/>
                  </a:lnTo>
                  <a:lnTo>
                    <a:pt x="1881" y="217"/>
                  </a:lnTo>
                  <a:lnTo>
                    <a:pt x="1880" y="220"/>
                  </a:lnTo>
                  <a:lnTo>
                    <a:pt x="1879" y="220"/>
                  </a:lnTo>
                  <a:lnTo>
                    <a:pt x="1877" y="221"/>
                  </a:lnTo>
                  <a:lnTo>
                    <a:pt x="1877" y="222"/>
                  </a:lnTo>
                  <a:lnTo>
                    <a:pt x="1877" y="222"/>
                  </a:lnTo>
                  <a:lnTo>
                    <a:pt x="1876" y="224"/>
                  </a:lnTo>
                  <a:lnTo>
                    <a:pt x="1876" y="224"/>
                  </a:lnTo>
                  <a:lnTo>
                    <a:pt x="1873" y="226"/>
                  </a:lnTo>
                  <a:lnTo>
                    <a:pt x="1872" y="226"/>
                  </a:lnTo>
                  <a:lnTo>
                    <a:pt x="1869" y="226"/>
                  </a:lnTo>
                  <a:lnTo>
                    <a:pt x="1864" y="230"/>
                  </a:lnTo>
                  <a:lnTo>
                    <a:pt x="1859" y="234"/>
                  </a:lnTo>
                  <a:lnTo>
                    <a:pt x="1858" y="234"/>
                  </a:lnTo>
                  <a:lnTo>
                    <a:pt x="1856" y="236"/>
                  </a:lnTo>
                  <a:lnTo>
                    <a:pt x="1855" y="237"/>
                  </a:lnTo>
                  <a:lnTo>
                    <a:pt x="1852" y="238"/>
                  </a:lnTo>
                  <a:lnTo>
                    <a:pt x="1851" y="239"/>
                  </a:lnTo>
                  <a:lnTo>
                    <a:pt x="1850" y="239"/>
                  </a:lnTo>
                  <a:lnTo>
                    <a:pt x="1848" y="241"/>
                  </a:lnTo>
                  <a:lnTo>
                    <a:pt x="1848" y="242"/>
                  </a:lnTo>
                  <a:lnTo>
                    <a:pt x="1843" y="247"/>
                  </a:lnTo>
                  <a:lnTo>
                    <a:pt x="1839" y="254"/>
                  </a:lnTo>
                  <a:lnTo>
                    <a:pt x="1839" y="255"/>
                  </a:lnTo>
                  <a:lnTo>
                    <a:pt x="1839" y="260"/>
                  </a:lnTo>
                  <a:lnTo>
                    <a:pt x="1841" y="264"/>
                  </a:lnTo>
                  <a:lnTo>
                    <a:pt x="1842" y="276"/>
                  </a:lnTo>
                  <a:lnTo>
                    <a:pt x="1842" y="289"/>
                  </a:lnTo>
                  <a:lnTo>
                    <a:pt x="1846" y="302"/>
                  </a:lnTo>
                  <a:lnTo>
                    <a:pt x="1850" y="314"/>
                  </a:lnTo>
                  <a:lnTo>
                    <a:pt x="1851" y="322"/>
                  </a:lnTo>
                  <a:lnTo>
                    <a:pt x="1850" y="336"/>
                  </a:lnTo>
                  <a:lnTo>
                    <a:pt x="1848" y="349"/>
                  </a:lnTo>
                  <a:lnTo>
                    <a:pt x="1847" y="357"/>
                  </a:lnTo>
                  <a:lnTo>
                    <a:pt x="1847" y="357"/>
                  </a:lnTo>
                  <a:lnTo>
                    <a:pt x="1846" y="357"/>
                  </a:lnTo>
                  <a:lnTo>
                    <a:pt x="1845" y="360"/>
                  </a:lnTo>
                  <a:lnTo>
                    <a:pt x="1843" y="361"/>
                  </a:lnTo>
                  <a:lnTo>
                    <a:pt x="1843" y="362"/>
                  </a:lnTo>
                  <a:lnTo>
                    <a:pt x="1842" y="364"/>
                  </a:lnTo>
                  <a:lnTo>
                    <a:pt x="1841" y="365"/>
                  </a:lnTo>
                  <a:lnTo>
                    <a:pt x="1839" y="365"/>
                  </a:lnTo>
                  <a:lnTo>
                    <a:pt x="1839" y="366"/>
                  </a:lnTo>
                  <a:lnTo>
                    <a:pt x="1835" y="374"/>
                  </a:lnTo>
                  <a:lnTo>
                    <a:pt x="1831" y="381"/>
                  </a:lnTo>
                  <a:lnTo>
                    <a:pt x="1831" y="383"/>
                  </a:lnTo>
                  <a:lnTo>
                    <a:pt x="1830" y="385"/>
                  </a:lnTo>
                  <a:lnTo>
                    <a:pt x="1826" y="392"/>
                  </a:lnTo>
                  <a:lnTo>
                    <a:pt x="1825" y="400"/>
                  </a:lnTo>
                  <a:lnTo>
                    <a:pt x="1824" y="412"/>
                  </a:lnTo>
                  <a:lnTo>
                    <a:pt x="1825" y="424"/>
                  </a:lnTo>
                  <a:lnTo>
                    <a:pt x="1828" y="434"/>
                  </a:lnTo>
                  <a:lnTo>
                    <a:pt x="1830" y="445"/>
                  </a:lnTo>
                  <a:lnTo>
                    <a:pt x="1833" y="457"/>
                  </a:lnTo>
                  <a:lnTo>
                    <a:pt x="1837" y="467"/>
                  </a:lnTo>
                  <a:lnTo>
                    <a:pt x="1838" y="479"/>
                  </a:lnTo>
                  <a:lnTo>
                    <a:pt x="1839" y="491"/>
                  </a:lnTo>
                  <a:lnTo>
                    <a:pt x="1838" y="509"/>
                  </a:lnTo>
                  <a:lnTo>
                    <a:pt x="1835" y="535"/>
                  </a:lnTo>
                  <a:lnTo>
                    <a:pt x="1833" y="548"/>
                  </a:lnTo>
                  <a:lnTo>
                    <a:pt x="1830" y="560"/>
                  </a:lnTo>
                  <a:lnTo>
                    <a:pt x="1828" y="569"/>
                  </a:lnTo>
                  <a:lnTo>
                    <a:pt x="1825" y="574"/>
                  </a:lnTo>
                  <a:lnTo>
                    <a:pt x="1822" y="578"/>
                  </a:lnTo>
                  <a:lnTo>
                    <a:pt x="1821" y="582"/>
                  </a:lnTo>
                  <a:lnTo>
                    <a:pt x="1821" y="586"/>
                  </a:lnTo>
                  <a:lnTo>
                    <a:pt x="1822" y="591"/>
                  </a:lnTo>
                  <a:lnTo>
                    <a:pt x="1828" y="599"/>
                  </a:lnTo>
                  <a:lnTo>
                    <a:pt x="1835" y="607"/>
                  </a:lnTo>
                  <a:lnTo>
                    <a:pt x="1845" y="615"/>
                  </a:lnTo>
                  <a:lnTo>
                    <a:pt x="1854" y="620"/>
                  </a:lnTo>
                  <a:lnTo>
                    <a:pt x="1862" y="623"/>
                  </a:lnTo>
                  <a:lnTo>
                    <a:pt x="1864" y="624"/>
                  </a:lnTo>
                  <a:lnTo>
                    <a:pt x="1876" y="615"/>
                  </a:lnTo>
                  <a:lnTo>
                    <a:pt x="1885" y="610"/>
                  </a:lnTo>
                  <a:lnTo>
                    <a:pt x="1893" y="606"/>
                  </a:lnTo>
                  <a:lnTo>
                    <a:pt x="1901" y="603"/>
                  </a:lnTo>
                  <a:lnTo>
                    <a:pt x="1907" y="603"/>
                  </a:lnTo>
                  <a:lnTo>
                    <a:pt x="1914" y="604"/>
                  </a:lnTo>
                  <a:lnTo>
                    <a:pt x="1919" y="607"/>
                  </a:lnTo>
                  <a:lnTo>
                    <a:pt x="1924" y="611"/>
                  </a:lnTo>
                  <a:lnTo>
                    <a:pt x="1933" y="619"/>
                  </a:lnTo>
                  <a:lnTo>
                    <a:pt x="1945" y="627"/>
                  </a:lnTo>
                  <a:lnTo>
                    <a:pt x="1952" y="631"/>
                  </a:lnTo>
                  <a:lnTo>
                    <a:pt x="1960" y="633"/>
                  </a:lnTo>
                  <a:lnTo>
                    <a:pt x="1969" y="636"/>
                  </a:lnTo>
                  <a:lnTo>
                    <a:pt x="1979" y="636"/>
                  </a:lnTo>
                  <a:lnTo>
                    <a:pt x="1999" y="636"/>
                  </a:lnTo>
                  <a:lnTo>
                    <a:pt x="2016" y="637"/>
                  </a:lnTo>
                  <a:lnTo>
                    <a:pt x="2029" y="638"/>
                  </a:lnTo>
                  <a:lnTo>
                    <a:pt x="2039" y="641"/>
                  </a:lnTo>
                  <a:lnTo>
                    <a:pt x="2050" y="646"/>
                  </a:lnTo>
                  <a:lnTo>
                    <a:pt x="2060" y="654"/>
                  </a:lnTo>
                  <a:lnTo>
                    <a:pt x="2073" y="665"/>
                  </a:lnTo>
                  <a:lnTo>
                    <a:pt x="2088" y="680"/>
                  </a:lnTo>
                  <a:lnTo>
                    <a:pt x="2094" y="686"/>
                  </a:lnTo>
                  <a:lnTo>
                    <a:pt x="2101" y="688"/>
                  </a:lnTo>
                  <a:lnTo>
                    <a:pt x="2106" y="688"/>
                  </a:lnTo>
                  <a:lnTo>
                    <a:pt x="2113" y="688"/>
                  </a:lnTo>
                  <a:lnTo>
                    <a:pt x="2118" y="686"/>
                  </a:lnTo>
                  <a:lnTo>
                    <a:pt x="2123" y="683"/>
                  </a:lnTo>
                  <a:lnTo>
                    <a:pt x="2130" y="679"/>
                  </a:lnTo>
                  <a:lnTo>
                    <a:pt x="2135" y="674"/>
                  </a:lnTo>
                  <a:lnTo>
                    <a:pt x="2147" y="665"/>
                  </a:lnTo>
                  <a:lnTo>
                    <a:pt x="2158" y="657"/>
                  </a:lnTo>
                  <a:lnTo>
                    <a:pt x="2165" y="654"/>
                  </a:lnTo>
                  <a:lnTo>
                    <a:pt x="2172" y="653"/>
                  </a:lnTo>
                  <a:lnTo>
                    <a:pt x="2178" y="654"/>
                  </a:lnTo>
                  <a:lnTo>
                    <a:pt x="2185" y="657"/>
                  </a:lnTo>
                  <a:lnTo>
                    <a:pt x="2203" y="666"/>
                  </a:lnTo>
                  <a:lnTo>
                    <a:pt x="2224" y="675"/>
                  </a:lnTo>
                  <a:lnTo>
                    <a:pt x="2246" y="684"/>
                  </a:lnTo>
                  <a:lnTo>
                    <a:pt x="2270" y="692"/>
                  </a:lnTo>
                  <a:lnTo>
                    <a:pt x="2283" y="695"/>
                  </a:lnTo>
                  <a:lnTo>
                    <a:pt x="2294" y="696"/>
                  </a:lnTo>
                  <a:lnTo>
                    <a:pt x="2308" y="697"/>
                  </a:lnTo>
                  <a:lnTo>
                    <a:pt x="2321" y="696"/>
                  </a:lnTo>
                  <a:lnTo>
                    <a:pt x="2332" y="695"/>
                  </a:lnTo>
                  <a:lnTo>
                    <a:pt x="2344" y="692"/>
                  </a:lnTo>
                  <a:lnTo>
                    <a:pt x="2357" y="687"/>
                  </a:lnTo>
                  <a:lnTo>
                    <a:pt x="2369" y="680"/>
                  </a:lnTo>
                  <a:lnTo>
                    <a:pt x="2372" y="679"/>
                  </a:lnTo>
                  <a:lnTo>
                    <a:pt x="2376" y="679"/>
                  </a:lnTo>
                  <a:lnTo>
                    <a:pt x="2381" y="680"/>
                  </a:lnTo>
                  <a:lnTo>
                    <a:pt x="2385" y="683"/>
                  </a:lnTo>
                  <a:lnTo>
                    <a:pt x="2394" y="689"/>
                  </a:lnTo>
                  <a:lnTo>
                    <a:pt x="2403" y="701"/>
                  </a:lnTo>
                  <a:lnTo>
                    <a:pt x="2412" y="716"/>
                  </a:lnTo>
                  <a:lnTo>
                    <a:pt x="2420" y="733"/>
                  </a:lnTo>
                  <a:lnTo>
                    <a:pt x="2427" y="751"/>
                  </a:lnTo>
                  <a:lnTo>
                    <a:pt x="2433" y="772"/>
                  </a:lnTo>
                  <a:lnTo>
                    <a:pt x="2437" y="793"/>
                  </a:lnTo>
                  <a:lnTo>
                    <a:pt x="2438" y="814"/>
                  </a:lnTo>
                  <a:lnTo>
                    <a:pt x="2438" y="824"/>
                  </a:lnTo>
                  <a:lnTo>
                    <a:pt x="2438" y="833"/>
                  </a:lnTo>
                  <a:lnTo>
                    <a:pt x="2437" y="844"/>
                  </a:lnTo>
                  <a:lnTo>
                    <a:pt x="2434" y="853"/>
                  </a:lnTo>
                  <a:lnTo>
                    <a:pt x="2432" y="862"/>
                  </a:lnTo>
                  <a:lnTo>
                    <a:pt x="2428" y="871"/>
                  </a:lnTo>
                  <a:lnTo>
                    <a:pt x="2423" y="879"/>
                  </a:lnTo>
                  <a:lnTo>
                    <a:pt x="2416" y="887"/>
                  </a:lnTo>
                  <a:lnTo>
                    <a:pt x="2410" y="893"/>
                  </a:lnTo>
                  <a:lnTo>
                    <a:pt x="2402" y="900"/>
                  </a:lnTo>
                  <a:lnTo>
                    <a:pt x="2393" y="905"/>
                  </a:lnTo>
                  <a:lnTo>
                    <a:pt x="2382" y="909"/>
                  </a:lnTo>
                  <a:lnTo>
                    <a:pt x="2365" y="913"/>
                  </a:lnTo>
                  <a:lnTo>
                    <a:pt x="2342" y="914"/>
                  </a:lnTo>
                  <a:lnTo>
                    <a:pt x="2330" y="913"/>
                  </a:lnTo>
                  <a:lnTo>
                    <a:pt x="2319" y="912"/>
                  </a:lnTo>
                  <a:lnTo>
                    <a:pt x="2315" y="910"/>
                  </a:lnTo>
                  <a:lnTo>
                    <a:pt x="2313" y="908"/>
                  </a:lnTo>
                  <a:lnTo>
                    <a:pt x="2310" y="905"/>
                  </a:lnTo>
                  <a:lnTo>
                    <a:pt x="2310" y="901"/>
                  </a:lnTo>
                  <a:lnTo>
                    <a:pt x="2311" y="896"/>
                  </a:lnTo>
                  <a:lnTo>
                    <a:pt x="2314" y="891"/>
                  </a:lnTo>
                  <a:lnTo>
                    <a:pt x="2318" y="886"/>
                  </a:lnTo>
                  <a:lnTo>
                    <a:pt x="2322" y="882"/>
                  </a:lnTo>
                  <a:lnTo>
                    <a:pt x="2323" y="879"/>
                  </a:lnTo>
                  <a:lnTo>
                    <a:pt x="2325" y="876"/>
                  </a:lnTo>
                  <a:lnTo>
                    <a:pt x="2325" y="874"/>
                  </a:lnTo>
                  <a:lnTo>
                    <a:pt x="2323" y="871"/>
                  </a:lnTo>
                  <a:lnTo>
                    <a:pt x="2317" y="866"/>
                  </a:lnTo>
                  <a:lnTo>
                    <a:pt x="2306" y="859"/>
                  </a:lnTo>
                  <a:lnTo>
                    <a:pt x="2297" y="856"/>
                  </a:lnTo>
                  <a:lnTo>
                    <a:pt x="2289" y="853"/>
                  </a:lnTo>
                  <a:lnTo>
                    <a:pt x="2283" y="852"/>
                  </a:lnTo>
                  <a:lnTo>
                    <a:pt x="2279" y="852"/>
                  </a:lnTo>
                  <a:lnTo>
                    <a:pt x="2276" y="853"/>
                  </a:lnTo>
                  <a:lnTo>
                    <a:pt x="2275" y="856"/>
                  </a:lnTo>
                  <a:lnTo>
                    <a:pt x="2274" y="858"/>
                  </a:lnTo>
                  <a:lnTo>
                    <a:pt x="2272" y="862"/>
                  </a:lnTo>
                  <a:lnTo>
                    <a:pt x="2271" y="871"/>
                  </a:lnTo>
                  <a:lnTo>
                    <a:pt x="2267" y="880"/>
                  </a:lnTo>
                  <a:lnTo>
                    <a:pt x="2264" y="884"/>
                  </a:lnTo>
                  <a:lnTo>
                    <a:pt x="2260" y="888"/>
                  </a:lnTo>
                  <a:lnTo>
                    <a:pt x="2254" y="891"/>
                  </a:lnTo>
                  <a:lnTo>
                    <a:pt x="2246" y="893"/>
                  </a:lnTo>
                  <a:lnTo>
                    <a:pt x="2237" y="896"/>
                  </a:lnTo>
                  <a:lnTo>
                    <a:pt x="2229" y="899"/>
                  </a:lnTo>
                  <a:lnTo>
                    <a:pt x="2225" y="901"/>
                  </a:lnTo>
                  <a:lnTo>
                    <a:pt x="2223" y="905"/>
                  </a:lnTo>
                  <a:lnTo>
                    <a:pt x="2223" y="910"/>
                  </a:lnTo>
                  <a:lnTo>
                    <a:pt x="2224" y="916"/>
                  </a:lnTo>
                  <a:lnTo>
                    <a:pt x="2226" y="920"/>
                  </a:lnTo>
                  <a:lnTo>
                    <a:pt x="2229" y="925"/>
                  </a:lnTo>
                  <a:lnTo>
                    <a:pt x="2240" y="935"/>
                  </a:lnTo>
                  <a:lnTo>
                    <a:pt x="2250" y="946"/>
                  </a:lnTo>
                  <a:lnTo>
                    <a:pt x="2262" y="955"/>
                  </a:lnTo>
                  <a:lnTo>
                    <a:pt x="2271" y="962"/>
                  </a:lnTo>
                  <a:lnTo>
                    <a:pt x="2276" y="965"/>
                  </a:lnTo>
                  <a:lnTo>
                    <a:pt x="2279" y="968"/>
                  </a:lnTo>
                  <a:lnTo>
                    <a:pt x="2280" y="968"/>
                  </a:lnTo>
                  <a:lnTo>
                    <a:pt x="2281" y="969"/>
                  </a:lnTo>
                  <a:lnTo>
                    <a:pt x="2284" y="971"/>
                  </a:lnTo>
                  <a:lnTo>
                    <a:pt x="2287" y="973"/>
                  </a:lnTo>
                  <a:lnTo>
                    <a:pt x="2288" y="973"/>
                  </a:lnTo>
                  <a:lnTo>
                    <a:pt x="2289" y="975"/>
                  </a:lnTo>
                  <a:lnTo>
                    <a:pt x="2291" y="976"/>
                  </a:lnTo>
                  <a:lnTo>
                    <a:pt x="2293" y="976"/>
                  </a:lnTo>
                  <a:lnTo>
                    <a:pt x="2294" y="977"/>
                  </a:lnTo>
                  <a:lnTo>
                    <a:pt x="2296" y="977"/>
                  </a:lnTo>
                  <a:lnTo>
                    <a:pt x="2297" y="979"/>
                  </a:lnTo>
                  <a:lnTo>
                    <a:pt x="2297" y="980"/>
                  </a:lnTo>
                  <a:lnTo>
                    <a:pt x="2298" y="980"/>
                  </a:lnTo>
                  <a:lnTo>
                    <a:pt x="2302" y="981"/>
                  </a:lnTo>
                  <a:lnTo>
                    <a:pt x="2305" y="984"/>
                  </a:lnTo>
                  <a:lnTo>
                    <a:pt x="2308" y="985"/>
                  </a:lnTo>
                  <a:lnTo>
                    <a:pt x="2310" y="988"/>
                  </a:lnTo>
                  <a:lnTo>
                    <a:pt x="2310" y="989"/>
                  </a:lnTo>
                  <a:lnTo>
                    <a:pt x="2311" y="989"/>
                  </a:lnTo>
                  <a:lnTo>
                    <a:pt x="2313" y="989"/>
                  </a:lnTo>
                  <a:lnTo>
                    <a:pt x="2315" y="990"/>
                  </a:lnTo>
                  <a:lnTo>
                    <a:pt x="2318" y="993"/>
                  </a:lnTo>
                  <a:lnTo>
                    <a:pt x="2319" y="994"/>
                  </a:lnTo>
                  <a:lnTo>
                    <a:pt x="2319" y="994"/>
                  </a:lnTo>
                  <a:lnTo>
                    <a:pt x="2319" y="997"/>
                  </a:lnTo>
                  <a:lnTo>
                    <a:pt x="2321" y="997"/>
                  </a:lnTo>
                  <a:lnTo>
                    <a:pt x="2322" y="997"/>
                  </a:lnTo>
                  <a:lnTo>
                    <a:pt x="2325" y="1006"/>
                  </a:lnTo>
                  <a:lnTo>
                    <a:pt x="2330" y="1013"/>
                  </a:lnTo>
                  <a:lnTo>
                    <a:pt x="2332" y="1016"/>
                  </a:lnTo>
                  <a:lnTo>
                    <a:pt x="2332" y="1022"/>
                  </a:lnTo>
                  <a:lnTo>
                    <a:pt x="2331" y="1030"/>
                  </a:lnTo>
                  <a:lnTo>
                    <a:pt x="2330" y="1037"/>
                  </a:lnTo>
                  <a:lnTo>
                    <a:pt x="2327" y="1045"/>
                  </a:lnTo>
                  <a:lnTo>
                    <a:pt x="2323" y="1052"/>
                  </a:lnTo>
                  <a:lnTo>
                    <a:pt x="2321" y="1056"/>
                  </a:lnTo>
                  <a:lnTo>
                    <a:pt x="2317" y="1058"/>
                  </a:lnTo>
                  <a:lnTo>
                    <a:pt x="2317" y="1060"/>
                  </a:lnTo>
                  <a:lnTo>
                    <a:pt x="2315" y="1061"/>
                  </a:lnTo>
                  <a:lnTo>
                    <a:pt x="2314" y="1062"/>
                  </a:lnTo>
                  <a:lnTo>
                    <a:pt x="2313" y="1064"/>
                  </a:lnTo>
                  <a:lnTo>
                    <a:pt x="2311" y="1065"/>
                  </a:lnTo>
                  <a:lnTo>
                    <a:pt x="2310" y="1066"/>
                  </a:lnTo>
                  <a:lnTo>
                    <a:pt x="2306" y="1067"/>
                  </a:lnTo>
                  <a:lnTo>
                    <a:pt x="2304" y="1070"/>
                  </a:lnTo>
                  <a:lnTo>
                    <a:pt x="2304" y="1070"/>
                  </a:lnTo>
                  <a:lnTo>
                    <a:pt x="2302" y="1071"/>
                  </a:lnTo>
                  <a:lnTo>
                    <a:pt x="2301" y="1071"/>
                  </a:lnTo>
                  <a:lnTo>
                    <a:pt x="2300" y="1073"/>
                  </a:lnTo>
                  <a:lnTo>
                    <a:pt x="2298" y="1083"/>
                  </a:lnTo>
                  <a:lnTo>
                    <a:pt x="2297" y="1098"/>
                  </a:lnTo>
                  <a:lnTo>
                    <a:pt x="2293" y="1111"/>
                  </a:lnTo>
                  <a:lnTo>
                    <a:pt x="2289" y="1118"/>
                  </a:lnTo>
                  <a:lnTo>
                    <a:pt x="2289" y="1120"/>
                  </a:lnTo>
                  <a:lnTo>
                    <a:pt x="2288" y="1122"/>
                  </a:lnTo>
                  <a:lnTo>
                    <a:pt x="2284" y="1130"/>
                  </a:lnTo>
                  <a:lnTo>
                    <a:pt x="2279" y="1137"/>
                  </a:lnTo>
                  <a:lnTo>
                    <a:pt x="2276" y="1139"/>
                  </a:lnTo>
                  <a:lnTo>
                    <a:pt x="2275" y="1142"/>
                  </a:lnTo>
                  <a:lnTo>
                    <a:pt x="2271" y="1145"/>
                  </a:lnTo>
                  <a:lnTo>
                    <a:pt x="2267" y="1146"/>
                  </a:lnTo>
                  <a:lnTo>
                    <a:pt x="2266" y="1149"/>
                  </a:lnTo>
                  <a:lnTo>
                    <a:pt x="2264" y="1150"/>
                  </a:lnTo>
                  <a:lnTo>
                    <a:pt x="2264" y="1151"/>
                  </a:lnTo>
                  <a:lnTo>
                    <a:pt x="2263" y="1151"/>
                  </a:lnTo>
                  <a:lnTo>
                    <a:pt x="2260" y="1152"/>
                  </a:lnTo>
                  <a:lnTo>
                    <a:pt x="2260" y="1154"/>
                  </a:lnTo>
                  <a:lnTo>
                    <a:pt x="2260" y="1156"/>
                  </a:lnTo>
                  <a:lnTo>
                    <a:pt x="2259" y="1158"/>
                  </a:lnTo>
                  <a:lnTo>
                    <a:pt x="2258" y="1159"/>
                  </a:lnTo>
                  <a:lnTo>
                    <a:pt x="2257" y="1160"/>
                  </a:lnTo>
                  <a:lnTo>
                    <a:pt x="2255" y="1163"/>
                  </a:lnTo>
                  <a:lnTo>
                    <a:pt x="2253" y="1172"/>
                  </a:lnTo>
                  <a:lnTo>
                    <a:pt x="2247" y="1184"/>
                  </a:lnTo>
                  <a:lnTo>
                    <a:pt x="2243" y="1196"/>
                  </a:lnTo>
                  <a:lnTo>
                    <a:pt x="2241" y="1206"/>
                  </a:lnTo>
                  <a:lnTo>
                    <a:pt x="2240" y="1209"/>
                  </a:lnTo>
                  <a:lnTo>
                    <a:pt x="2240" y="1211"/>
                  </a:lnTo>
                  <a:lnTo>
                    <a:pt x="2238" y="1214"/>
                  </a:lnTo>
                  <a:lnTo>
                    <a:pt x="2237" y="1217"/>
                  </a:lnTo>
                  <a:lnTo>
                    <a:pt x="2234" y="1219"/>
                  </a:lnTo>
                  <a:lnTo>
                    <a:pt x="2232" y="1223"/>
                  </a:lnTo>
                  <a:lnTo>
                    <a:pt x="2229" y="1227"/>
                  </a:lnTo>
                  <a:lnTo>
                    <a:pt x="2228" y="1231"/>
                  </a:lnTo>
                  <a:lnTo>
                    <a:pt x="2228" y="1234"/>
                  </a:lnTo>
                  <a:lnTo>
                    <a:pt x="2226" y="1238"/>
                  </a:lnTo>
                  <a:lnTo>
                    <a:pt x="2225" y="1240"/>
                  </a:lnTo>
                  <a:lnTo>
                    <a:pt x="2224" y="1247"/>
                  </a:lnTo>
                  <a:lnTo>
                    <a:pt x="2223" y="1256"/>
                  </a:lnTo>
                  <a:lnTo>
                    <a:pt x="2223" y="1265"/>
                  </a:lnTo>
                  <a:lnTo>
                    <a:pt x="2223" y="1286"/>
                  </a:lnTo>
                  <a:lnTo>
                    <a:pt x="2223" y="1299"/>
                  </a:lnTo>
                  <a:lnTo>
                    <a:pt x="2221" y="1303"/>
                  </a:lnTo>
                  <a:lnTo>
                    <a:pt x="2220" y="1307"/>
                  </a:lnTo>
                  <a:lnTo>
                    <a:pt x="2220" y="1311"/>
                  </a:lnTo>
                  <a:lnTo>
                    <a:pt x="2217" y="1315"/>
                  </a:lnTo>
                  <a:lnTo>
                    <a:pt x="2215" y="1320"/>
                  </a:lnTo>
                  <a:lnTo>
                    <a:pt x="2211" y="1325"/>
                  </a:lnTo>
                  <a:lnTo>
                    <a:pt x="2208" y="1326"/>
                  </a:lnTo>
                  <a:lnTo>
                    <a:pt x="2207" y="1329"/>
                  </a:lnTo>
                  <a:lnTo>
                    <a:pt x="2207" y="1332"/>
                  </a:lnTo>
                  <a:lnTo>
                    <a:pt x="2207" y="1333"/>
                  </a:lnTo>
                  <a:lnTo>
                    <a:pt x="2206" y="1334"/>
                  </a:lnTo>
                  <a:lnTo>
                    <a:pt x="2204" y="1334"/>
                  </a:lnTo>
                  <a:lnTo>
                    <a:pt x="2204" y="1334"/>
                  </a:lnTo>
                  <a:lnTo>
                    <a:pt x="2200" y="1341"/>
                  </a:lnTo>
                  <a:lnTo>
                    <a:pt x="2198" y="1347"/>
                  </a:lnTo>
                  <a:lnTo>
                    <a:pt x="2195" y="1351"/>
                  </a:lnTo>
                  <a:lnTo>
                    <a:pt x="2191" y="1355"/>
                  </a:lnTo>
                  <a:lnTo>
                    <a:pt x="2191" y="1355"/>
                  </a:lnTo>
                  <a:lnTo>
                    <a:pt x="2190" y="1357"/>
                  </a:lnTo>
                  <a:lnTo>
                    <a:pt x="2189" y="1358"/>
                  </a:lnTo>
                  <a:lnTo>
                    <a:pt x="2187" y="1359"/>
                  </a:lnTo>
                  <a:lnTo>
                    <a:pt x="2187" y="1359"/>
                  </a:lnTo>
                  <a:lnTo>
                    <a:pt x="2186" y="1360"/>
                  </a:lnTo>
                  <a:lnTo>
                    <a:pt x="2185" y="1360"/>
                  </a:lnTo>
                  <a:lnTo>
                    <a:pt x="2185" y="1362"/>
                  </a:lnTo>
                  <a:lnTo>
                    <a:pt x="2183" y="1363"/>
                  </a:lnTo>
                  <a:lnTo>
                    <a:pt x="2182" y="1364"/>
                  </a:lnTo>
                  <a:lnTo>
                    <a:pt x="2182" y="1366"/>
                  </a:lnTo>
                  <a:lnTo>
                    <a:pt x="2182" y="1367"/>
                  </a:lnTo>
                  <a:lnTo>
                    <a:pt x="2181" y="1367"/>
                  </a:lnTo>
                  <a:lnTo>
                    <a:pt x="2179" y="1367"/>
                  </a:lnTo>
                  <a:lnTo>
                    <a:pt x="2179" y="1368"/>
                  </a:lnTo>
                  <a:lnTo>
                    <a:pt x="2179" y="1370"/>
                  </a:lnTo>
                  <a:lnTo>
                    <a:pt x="2179" y="1372"/>
                  </a:lnTo>
                  <a:lnTo>
                    <a:pt x="2181" y="1381"/>
                  </a:lnTo>
                  <a:lnTo>
                    <a:pt x="2185" y="1393"/>
                  </a:lnTo>
                  <a:lnTo>
                    <a:pt x="2189" y="1402"/>
                  </a:lnTo>
                  <a:lnTo>
                    <a:pt x="2191" y="1408"/>
                  </a:lnTo>
                  <a:lnTo>
                    <a:pt x="2191" y="1409"/>
                  </a:lnTo>
                  <a:lnTo>
                    <a:pt x="2192" y="1409"/>
                  </a:lnTo>
                  <a:lnTo>
                    <a:pt x="2195" y="1413"/>
                  </a:lnTo>
                  <a:lnTo>
                    <a:pt x="2196" y="1415"/>
                  </a:lnTo>
                  <a:lnTo>
                    <a:pt x="2203" y="1431"/>
                  </a:lnTo>
                  <a:lnTo>
                    <a:pt x="2212" y="1445"/>
                  </a:lnTo>
                  <a:lnTo>
                    <a:pt x="2216" y="1453"/>
                  </a:lnTo>
                  <a:lnTo>
                    <a:pt x="2219" y="1461"/>
                  </a:lnTo>
                  <a:lnTo>
                    <a:pt x="2221" y="1469"/>
                  </a:lnTo>
                  <a:lnTo>
                    <a:pt x="2221" y="1478"/>
                  </a:lnTo>
                  <a:lnTo>
                    <a:pt x="2220" y="1493"/>
                  </a:lnTo>
                  <a:lnTo>
                    <a:pt x="2219" y="1506"/>
                  </a:lnTo>
                  <a:lnTo>
                    <a:pt x="2216" y="1520"/>
                  </a:lnTo>
                  <a:lnTo>
                    <a:pt x="2213" y="1534"/>
                  </a:lnTo>
                  <a:lnTo>
                    <a:pt x="2207" y="1562"/>
                  </a:lnTo>
                  <a:lnTo>
                    <a:pt x="2200" y="1588"/>
                  </a:lnTo>
                  <a:lnTo>
                    <a:pt x="2199" y="1601"/>
                  </a:lnTo>
                  <a:lnTo>
                    <a:pt x="2198" y="1614"/>
                  </a:lnTo>
                  <a:lnTo>
                    <a:pt x="2196" y="1626"/>
                  </a:lnTo>
                  <a:lnTo>
                    <a:pt x="2198" y="1638"/>
                  </a:lnTo>
                  <a:lnTo>
                    <a:pt x="2200" y="1650"/>
                  </a:lnTo>
                  <a:lnTo>
                    <a:pt x="2204" y="1660"/>
                  </a:lnTo>
                  <a:lnTo>
                    <a:pt x="2211" y="1670"/>
                  </a:lnTo>
                  <a:lnTo>
                    <a:pt x="2219" y="1680"/>
                  </a:lnTo>
                  <a:lnTo>
                    <a:pt x="2228" y="1685"/>
                  </a:lnTo>
                  <a:lnTo>
                    <a:pt x="2243" y="1690"/>
                  </a:lnTo>
                  <a:lnTo>
                    <a:pt x="2264" y="1697"/>
                  </a:lnTo>
                  <a:lnTo>
                    <a:pt x="2288" y="1702"/>
                  </a:lnTo>
                  <a:lnTo>
                    <a:pt x="2313" y="1707"/>
                  </a:lnTo>
                  <a:lnTo>
                    <a:pt x="2336" y="1711"/>
                  </a:lnTo>
                  <a:lnTo>
                    <a:pt x="2356" y="1714"/>
                  </a:lnTo>
                  <a:lnTo>
                    <a:pt x="2370" y="1715"/>
                  </a:lnTo>
                  <a:lnTo>
                    <a:pt x="2382" y="1716"/>
                  </a:lnTo>
                  <a:lnTo>
                    <a:pt x="2391" y="1716"/>
                  </a:lnTo>
                  <a:lnTo>
                    <a:pt x="2399" y="1719"/>
                  </a:lnTo>
                  <a:lnTo>
                    <a:pt x="2404" y="1720"/>
                  </a:lnTo>
                  <a:lnTo>
                    <a:pt x="2408" y="1723"/>
                  </a:lnTo>
                  <a:lnTo>
                    <a:pt x="2411" y="1727"/>
                  </a:lnTo>
                  <a:lnTo>
                    <a:pt x="2414" y="1731"/>
                  </a:lnTo>
                  <a:lnTo>
                    <a:pt x="2414" y="1736"/>
                  </a:lnTo>
                  <a:lnTo>
                    <a:pt x="2407" y="1758"/>
                  </a:lnTo>
                  <a:lnTo>
                    <a:pt x="2396" y="1788"/>
                  </a:lnTo>
                  <a:lnTo>
                    <a:pt x="2396" y="1795"/>
                  </a:lnTo>
                  <a:lnTo>
                    <a:pt x="2398" y="1799"/>
                  </a:lnTo>
                  <a:lnTo>
                    <a:pt x="2400" y="1801"/>
                  </a:lnTo>
                  <a:lnTo>
                    <a:pt x="2404" y="1804"/>
                  </a:lnTo>
                  <a:lnTo>
                    <a:pt x="2414" y="1805"/>
                  </a:lnTo>
                  <a:lnTo>
                    <a:pt x="2427" y="1805"/>
                  </a:lnTo>
                  <a:lnTo>
                    <a:pt x="2440" y="1805"/>
                  </a:lnTo>
                  <a:lnTo>
                    <a:pt x="2451" y="1805"/>
                  </a:lnTo>
                  <a:lnTo>
                    <a:pt x="2455" y="1807"/>
                  </a:lnTo>
                  <a:lnTo>
                    <a:pt x="2459" y="1808"/>
                  </a:lnTo>
                  <a:lnTo>
                    <a:pt x="2462" y="1810"/>
                  </a:lnTo>
                  <a:lnTo>
                    <a:pt x="2463" y="1814"/>
                  </a:lnTo>
                  <a:lnTo>
                    <a:pt x="2466" y="1822"/>
                  </a:lnTo>
                  <a:lnTo>
                    <a:pt x="2470" y="1827"/>
                  </a:lnTo>
                  <a:lnTo>
                    <a:pt x="2474" y="1831"/>
                  </a:lnTo>
                  <a:lnTo>
                    <a:pt x="2480" y="1834"/>
                  </a:lnTo>
                  <a:lnTo>
                    <a:pt x="2493" y="1838"/>
                  </a:lnTo>
                  <a:lnTo>
                    <a:pt x="2508" y="1843"/>
                  </a:lnTo>
                  <a:lnTo>
                    <a:pt x="2513" y="1844"/>
                  </a:lnTo>
                  <a:lnTo>
                    <a:pt x="2517" y="1848"/>
                  </a:lnTo>
                  <a:lnTo>
                    <a:pt x="2519" y="1851"/>
                  </a:lnTo>
                  <a:lnTo>
                    <a:pt x="2522" y="1855"/>
                  </a:lnTo>
                  <a:lnTo>
                    <a:pt x="2525" y="1864"/>
                  </a:lnTo>
                  <a:lnTo>
                    <a:pt x="2526" y="1875"/>
                  </a:lnTo>
                  <a:lnTo>
                    <a:pt x="2525" y="1885"/>
                  </a:lnTo>
                  <a:lnTo>
                    <a:pt x="2522" y="1897"/>
                  </a:lnTo>
                  <a:lnTo>
                    <a:pt x="2517" y="1907"/>
                  </a:lnTo>
                  <a:lnTo>
                    <a:pt x="2510" y="1916"/>
                  </a:lnTo>
                  <a:lnTo>
                    <a:pt x="2508" y="1920"/>
                  </a:lnTo>
                  <a:lnTo>
                    <a:pt x="2506" y="1926"/>
                  </a:lnTo>
                  <a:lnTo>
                    <a:pt x="2504" y="1932"/>
                  </a:lnTo>
                  <a:lnTo>
                    <a:pt x="2504" y="1937"/>
                  </a:lnTo>
                  <a:lnTo>
                    <a:pt x="2502" y="1952"/>
                  </a:lnTo>
                  <a:lnTo>
                    <a:pt x="2502" y="1966"/>
                  </a:lnTo>
                  <a:lnTo>
                    <a:pt x="2504" y="1981"/>
                  </a:lnTo>
                  <a:lnTo>
                    <a:pt x="2502" y="1994"/>
                  </a:lnTo>
                  <a:lnTo>
                    <a:pt x="2502" y="2000"/>
                  </a:lnTo>
                  <a:lnTo>
                    <a:pt x="2501" y="2007"/>
                  </a:lnTo>
                  <a:lnTo>
                    <a:pt x="2500" y="2012"/>
                  </a:lnTo>
                  <a:lnTo>
                    <a:pt x="2497" y="2017"/>
                  </a:lnTo>
                  <a:lnTo>
                    <a:pt x="2491" y="2030"/>
                  </a:lnTo>
                  <a:lnTo>
                    <a:pt x="2485" y="2045"/>
                  </a:lnTo>
                  <a:lnTo>
                    <a:pt x="2480" y="2060"/>
                  </a:lnTo>
                  <a:lnTo>
                    <a:pt x="2476" y="2077"/>
                  </a:lnTo>
                  <a:lnTo>
                    <a:pt x="2471" y="2094"/>
                  </a:lnTo>
                  <a:lnTo>
                    <a:pt x="2466" y="2111"/>
                  </a:lnTo>
                  <a:lnTo>
                    <a:pt x="2461" y="2127"/>
                  </a:lnTo>
                  <a:lnTo>
                    <a:pt x="2454" y="2141"/>
                  </a:lnTo>
                  <a:lnTo>
                    <a:pt x="2450" y="2148"/>
                  </a:lnTo>
                  <a:lnTo>
                    <a:pt x="2446" y="2151"/>
                  </a:lnTo>
                  <a:lnTo>
                    <a:pt x="2442" y="2149"/>
                  </a:lnTo>
                  <a:lnTo>
                    <a:pt x="2438" y="2148"/>
                  </a:lnTo>
                  <a:lnTo>
                    <a:pt x="2434" y="2143"/>
                  </a:lnTo>
                  <a:lnTo>
                    <a:pt x="2429" y="2136"/>
                  </a:lnTo>
                  <a:lnTo>
                    <a:pt x="2425" y="2128"/>
                  </a:lnTo>
                  <a:lnTo>
                    <a:pt x="2421" y="2119"/>
                  </a:lnTo>
                  <a:lnTo>
                    <a:pt x="2414" y="2101"/>
                  </a:lnTo>
                  <a:lnTo>
                    <a:pt x="2406" y="2083"/>
                  </a:lnTo>
                  <a:lnTo>
                    <a:pt x="2399" y="2068"/>
                  </a:lnTo>
                  <a:lnTo>
                    <a:pt x="2393" y="2060"/>
                  </a:lnTo>
                  <a:lnTo>
                    <a:pt x="2389" y="2059"/>
                  </a:lnTo>
                  <a:lnTo>
                    <a:pt x="2383" y="2059"/>
                  </a:lnTo>
                  <a:lnTo>
                    <a:pt x="2378" y="2059"/>
                  </a:lnTo>
                  <a:lnTo>
                    <a:pt x="2372" y="2060"/>
                  </a:lnTo>
                  <a:lnTo>
                    <a:pt x="2357" y="2064"/>
                  </a:lnTo>
                  <a:lnTo>
                    <a:pt x="2345" y="2066"/>
                  </a:lnTo>
                  <a:lnTo>
                    <a:pt x="2318" y="2063"/>
                  </a:lnTo>
                  <a:lnTo>
                    <a:pt x="2300" y="2063"/>
                  </a:lnTo>
                  <a:lnTo>
                    <a:pt x="2297" y="2064"/>
                  </a:lnTo>
                  <a:lnTo>
                    <a:pt x="2296" y="2066"/>
                  </a:lnTo>
                  <a:lnTo>
                    <a:pt x="2296" y="2068"/>
                  </a:lnTo>
                  <a:lnTo>
                    <a:pt x="2297" y="2072"/>
                  </a:lnTo>
                  <a:lnTo>
                    <a:pt x="2302" y="2083"/>
                  </a:lnTo>
                  <a:lnTo>
                    <a:pt x="2314" y="2098"/>
                  </a:lnTo>
                  <a:lnTo>
                    <a:pt x="2318" y="2105"/>
                  </a:lnTo>
                  <a:lnTo>
                    <a:pt x="2322" y="2114"/>
                  </a:lnTo>
                  <a:lnTo>
                    <a:pt x="2325" y="2124"/>
                  </a:lnTo>
                  <a:lnTo>
                    <a:pt x="2326" y="2136"/>
                  </a:lnTo>
                  <a:lnTo>
                    <a:pt x="2327" y="2143"/>
                  </a:lnTo>
                  <a:lnTo>
                    <a:pt x="2326" y="2148"/>
                  </a:lnTo>
                  <a:lnTo>
                    <a:pt x="2326" y="2153"/>
                  </a:lnTo>
                  <a:lnTo>
                    <a:pt x="2323" y="2157"/>
                  </a:lnTo>
                  <a:lnTo>
                    <a:pt x="2321" y="2161"/>
                  </a:lnTo>
                  <a:lnTo>
                    <a:pt x="2318" y="2164"/>
                  </a:lnTo>
                  <a:lnTo>
                    <a:pt x="2313" y="2165"/>
                  </a:lnTo>
                  <a:lnTo>
                    <a:pt x="2308" y="2166"/>
                  </a:lnTo>
                  <a:lnTo>
                    <a:pt x="2298" y="2166"/>
                  </a:lnTo>
                  <a:lnTo>
                    <a:pt x="2291" y="2168"/>
                  </a:lnTo>
                  <a:lnTo>
                    <a:pt x="2281" y="2170"/>
                  </a:lnTo>
                  <a:lnTo>
                    <a:pt x="2274" y="2174"/>
                  </a:lnTo>
                  <a:lnTo>
                    <a:pt x="2267" y="2179"/>
                  </a:lnTo>
                  <a:lnTo>
                    <a:pt x="2260" y="2183"/>
                  </a:lnTo>
                  <a:lnTo>
                    <a:pt x="2255" y="2190"/>
                  </a:lnTo>
                  <a:lnTo>
                    <a:pt x="2250" y="2196"/>
                  </a:lnTo>
                  <a:lnTo>
                    <a:pt x="2246" y="2203"/>
                  </a:lnTo>
                  <a:lnTo>
                    <a:pt x="2243" y="2209"/>
                  </a:lnTo>
                  <a:lnTo>
                    <a:pt x="2242" y="2217"/>
                  </a:lnTo>
                  <a:lnTo>
                    <a:pt x="2242" y="2225"/>
                  </a:lnTo>
                  <a:lnTo>
                    <a:pt x="2243" y="2233"/>
                  </a:lnTo>
                  <a:lnTo>
                    <a:pt x="2246" y="2241"/>
                  </a:lnTo>
                  <a:lnTo>
                    <a:pt x="2251" y="2247"/>
                  </a:lnTo>
                  <a:lnTo>
                    <a:pt x="2258" y="2255"/>
                  </a:lnTo>
                  <a:lnTo>
                    <a:pt x="2264" y="2263"/>
                  </a:lnTo>
                  <a:lnTo>
                    <a:pt x="2268" y="2270"/>
                  </a:lnTo>
                  <a:lnTo>
                    <a:pt x="2272" y="2276"/>
                  </a:lnTo>
                  <a:lnTo>
                    <a:pt x="2275" y="2281"/>
                  </a:lnTo>
                  <a:lnTo>
                    <a:pt x="2276" y="2294"/>
                  </a:lnTo>
                  <a:lnTo>
                    <a:pt x="2275" y="2306"/>
                  </a:lnTo>
                  <a:lnTo>
                    <a:pt x="2272" y="2318"/>
                  </a:lnTo>
                  <a:lnTo>
                    <a:pt x="2271" y="2331"/>
                  </a:lnTo>
                  <a:lnTo>
                    <a:pt x="2271" y="2338"/>
                  </a:lnTo>
                  <a:lnTo>
                    <a:pt x="2272" y="2344"/>
                  </a:lnTo>
                  <a:lnTo>
                    <a:pt x="2274" y="2352"/>
                  </a:lnTo>
                  <a:lnTo>
                    <a:pt x="2276" y="2360"/>
                  </a:lnTo>
                  <a:lnTo>
                    <a:pt x="2284" y="2379"/>
                  </a:lnTo>
                  <a:lnTo>
                    <a:pt x="2292" y="2402"/>
                  </a:lnTo>
                  <a:lnTo>
                    <a:pt x="2293" y="2411"/>
                  </a:lnTo>
                  <a:lnTo>
                    <a:pt x="2292" y="2420"/>
                  </a:lnTo>
                  <a:lnTo>
                    <a:pt x="2291" y="2424"/>
                  </a:lnTo>
                  <a:lnTo>
                    <a:pt x="2288" y="2427"/>
                  </a:lnTo>
                  <a:lnTo>
                    <a:pt x="2285" y="2429"/>
                  </a:lnTo>
                  <a:lnTo>
                    <a:pt x="2280" y="2430"/>
                  </a:lnTo>
                  <a:lnTo>
                    <a:pt x="2272" y="2434"/>
                  </a:lnTo>
                  <a:lnTo>
                    <a:pt x="2264" y="2440"/>
                  </a:lnTo>
                  <a:lnTo>
                    <a:pt x="2259" y="2445"/>
                  </a:lnTo>
                  <a:lnTo>
                    <a:pt x="2255" y="2451"/>
                  </a:lnTo>
                  <a:lnTo>
                    <a:pt x="2249" y="2467"/>
                  </a:lnTo>
                  <a:lnTo>
                    <a:pt x="2243" y="2483"/>
                  </a:lnTo>
                  <a:lnTo>
                    <a:pt x="2241" y="2491"/>
                  </a:lnTo>
                  <a:lnTo>
                    <a:pt x="2237" y="2497"/>
                  </a:lnTo>
                  <a:lnTo>
                    <a:pt x="2233" y="2502"/>
                  </a:lnTo>
                  <a:lnTo>
                    <a:pt x="2226" y="2508"/>
                  </a:lnTo>
                  <a:lnTo>
                    <a:pt x="2220" y="2512"/>
                  </a:lnTo>
                  <a:lnTo>
                    <a:pt x="2211" y="2513"/>
                  </a:lnTo>
                  <a:lnTo>
                    <a:pt x="2200" y="2513"/>
                  </a:lnTo>
                  <a:lnTo>
                    <a:pt x="2187" y="2512"/>
                  </a:lnTo>
                  <a:lnTo>
                    <a:pt x="2170" y="2506"/>
                  </a:lnTo>
                  <a:lnTo>
                    <a:pt x="2153" y="2502"/>
                  </a:lnTo>
                  <a:lnTo>
                    <a:pt x="2145" y="2500"/>
                  </a:lnTo>
                  <a:lnTo>
                    <a:pt x="2138" y="2499"/>
                  </a:lnTo>
                  <a:lnTo>
                    <a:pt x="2131" y="2499"/>
                  </a:lnTo>
                  <a:lnTo>
                    <a:pt x="2123" y="2500"/>
                  </a:lnTo>
                  <a:lnTo>
                    <a:pt x="2117" y="2501"/>
                  </a:lnTo>
                  <a:lnTo>
                    <a:pt x="2110" y="2504"/>
                  </a:lnTo>
                  <a:lnTo>
                    <a:pt x="2104" y="2509"/>
                  </a:lnTo>
                  <a:lnTo>
                    <a:pt x="2098" y="2516"/>
                  </a:lnTo>
                  <a:lnTo>
                    <a:pt x="2093" y="2523"/>
                  </a:lnTo>
                  <a:lnTo>
                    <a:pt x="2087" y="2534"/>
                  </a:lnTo>
                  <a:lnTo>
                    <a:pt x="2083" y="2547"/>
                  </a:lnTo>
                  <a:lnTo>
                    <a:pt x="2077" y="2561"/>
                  </a:lnTo>
                  <a:lnTo>
                    <a:pt x="2072" y="2576"/>
                  </a:lnTo>
                  <a:lnTo>
                    <a:pt x="2066" y="2589"/>
                  </a:lnTo>
                  <a:lnTo>
                    <a:pt x="2056" y="2601"/>
                  </a:lnTo>
                  <a:lnTo>
                    <a:pt x="2047" y="2611"/>
                  </a:lnTo>
                  <a:lnTo>
                    <a:pt x="2035" y="2621"/>
                  </a:lnTo>
                  <a:lnTo>
                    <a:pt x="2024" y="2631"/>
                  </a:lnTo>
                  <a:lnTo>
                    <a:pt x="2011" y="2638"/>
                  </a:lnTo>
                  <a:lnTo>
                    <a:pt x="1998" y="2645"/>
                  </a:lnTo>
                  <a:lnTo>
                    <a:pt x="1949" y="2667"/>
                  </a:lnTo>
                  <a:lnTo>
                    <a:pt x="1901" y="2689"/>
                  </a:lnTo>
                  <a:lnTo>
                    <a:pt x="1898" y="2695"/>
                  </a:lnTo>
                  <a:lnTo>
                    <a:pt x="1894" y="2700"/>
                  </a:lnTo>
                  <a:lnTo>
                    <a:pt x="1889" y="2708"/>
                  </a:lnTo>
                  <a:lnTo>
                    <a:pt x="1882" y="2717"/>
                  </a:lnTo>
                  <a:lnTo>
                    <a:pt x="1881" y="2720"/>
                  </a:lnTo>
                  <a:lnTo>
                    <a:pt x="1880" y="2721"/>
                  </a:lnTo>
                  <a:lnTo>
                    <a:pt x="1876" y="2729"/>
                  </a:lnTo>
                  <a:lnTo>
                    <a:pt x="1868" y="2743"/>
                  </a:lnTo>
                  <a:lnTo>
                    <a:pt x="1859" y="2759"/>
                  </a:lnTo>
                  <a:lnTo>
                    <a:pt x="1855" y="2769"/>
                  </a:lnTo>
                  <a:lnTo>
                    <a:pt x="1854" y="2772"/>
                  </a:lnTo>
                  <a:lnTo>
                    <a:pt x="1852" y="2773"/>
                  </a:lnTo>
                  <a:lnTo>
                    <a:pt x="1850" y="2773"/>
                  </a:lnTo>
                  <a:lnTo>
                    <a:pt x="1846" y="2768"/>
                  </a:lnTo>
                  <a:lnTo>
                    <a:pt x="1841" y="2761"/>
                  </a:lnTo>
                  <a:lnTo>
                    <a:pt x="1839" y="2760"/>
                  </a:lnTo>
                  <a:lnTo>
                    <a:pt x="1838" y="2759"/>
                  </a:lnTo>
                  <a:lnTo>
                    <a:pt x="1835" y="2754"/>
                  </a:lnTo>
                  <a:lnTo>
                    <a:pt x="1831" y="2748"/>
                  </a:lnTo>
                  <a:lnTo>
                    <a:pt x="1830" y="2747"/>
                  </a:lnTo>
                  <a:lnTo>
                    <a:pt x="1829" y="2747"/>
                  </a:lnTo>
                  <a:lnTo>
                    <a:pt x="1829" y="2746"/>
                  </a:lnTo>
                  <a:lnTo>
                    <a:pt x="1828" y="2744"/>
                  </a:lnTo>
                  <a:lnTo>
                    <a:pt x="1826" y="2743"/>
                  </a:lnTo>
                  <a:lnTo>
                    <a:pt x="1825" y="2742"/>
                  </a:lnTo>
                  <a:lnTo>
                    <a:pt x="1818" y="2734"/>
                  </a:lnTo>
                  <a:lnTo>
                    <a:pt x="1812" y="2726"/>
                  </a:lnTo>
                  <a:lnTo>
                    <a:pt x="1811" y="2723"/>
                  </a:lnTo>
                  <a:lnTo>
                    <a:pt x="1808" y="2721"/>
                  </a:lnTo>
                  <a:lnTo>
                    <a:pt x="1807" y="2718"/>
                  </a:lnTo>
                  <a:lnTo>
                    <a:pt x="1805" y="2717"/>
                  </a:lnTo>
                  <a:lnTo>
                    <a:pt x="1804" y="2716"/>
                  </a:lnTo>
                  <a:lnTo>
                    <a:pt x="1803" y="2714"/>
                  </a:lnTo>
                  <a:lnTo>
                    <a:pt x="1801" y="2714"/>
                  </a:lnTo>
                  <a:lnTo>
                    <a:pt x="1800" y="2713"/>
                  </a:lnTo>
                  <a:lnTo>
                    <a:pt x="1799" y="2710"/>
                  </a:lnTo>
                  <a:lnTo>
                    <a:pt x="1792" y="2706"/>
                  </a:lnTo>
                  <a:lnTo>
                    <a:pt x="1786" y="2703"/>
                  </a:lnTo>
                  <a:lnTo>
                    <a:pt x="1783" y="2700"/>
                  </a:lnTo>
                  <a:lnTo>
                    <a:pt x="1779" y="2699"/>
                  </a:lnTo>
                  <a:lnTo>
                    <a:pt x="1777" y="2697"/>
                  </a:lnTo>
                  <a:lnTo>
                    <a:pt x="1773" y="2697"/>
                  </a:lnTo>
                  <a:lnTo>
                    <a:pt x="1769" y="2701"/>
                  </a:lnTo>
                  <a:lnTo>
                    <a:pt x="1767" y="2706"/>
                  </a:lnTo>
                  <a:lnTo>
                    <a:pt x="1760" y="2717"/>
                  </a:lnTo>
                  <a:lnTo>
                    <a:pt x="1752" y="2726"/>
                  </a:lnTo>
                  <a:lnTo>
                    <a:pt x="1749" y="2727"/>
                  </a:lnTo>
                  <a:lnTo>
                    <a:pt x="1748" y="2730"/>
                  </a:lnTo>
                  <a:lnTo>
                    <a:pt x="1745" y="2731"/>
                  </a:lnTo>
                  <a:lnTo>
                    <a:pt x="1744" y="2734"/>
                  </a:lnTo>
                  <a:lnTo>
                    <a:pt x="1740" y="2738"/>
                  </a:lnTo>
                  <a:lnTo>
                    <a:pt x="1736" y="2742"/>
                  </a:lnTo>
                  <a:lnTo>
                    <a:pt x="1732" y="2747"/>
                  </a:lnTo>
                  <a:lnTo>
                    <a:pt x="1728" y="2751"/>
                  </a:lnTo>
                  <a:lnTo>
                    <a:pt x="1725" y="2754"/>
                  </a:lnTo>
                  <a:lnTo>
                    <a:pt x="1723" y="2756"/>
                  </a:lnTo>
                  <a:lnTo>
                    <a:pt x="1712" y="2764"/>
                  </a:lnTo>
                  <a:lnTo>
                    <a:pt x="1701" y="2773"/>
                  </a:lnTo>
                  <a:lnTo>
                    <a:pt x="1699" y="2775"/>
                  </a:lnTo>
                  <a:lnTo>
                    <a:pt x="1698" y="2777"/>
                  </a:lnTo>
                  <a:lnTo>
                    <a:pt x="1694" y="2780"/>
                  </a:lnTo>
                  <a:lnTo>
                    <a:pt x="1690" y="2782"/>
                  </a:lnTo>
                  <a:lnTo>
                    <a:pt x="1689" y="2782"/>
                  </a:lnTo>
                  <a:lnTo>
                    <a:pt x="1685" y="2786"/>
                  </a:lnTo>
                  <a:lnTo>
                    <a:pt x="1681" y="2790"/>
                  </a:lnTo>
                  <a:lnTo>
                    <a:pt x="1680" y="2790"/>
                  </a:lnTo>
                  <a:lnTo>
                    <a:pt x="1677" y="2792"/>
                  </a:lnTo>
                  <a:lnTo>
                    <a:pt x="1674" y="2794"/>
                  </a:lnTo>
                  <a:lnTo>
                    <a:pt x="1668" y="2798"/>
                  </a:lnTo>
                  <a:lnTo>
                    <a:pt x="1660" y="2801"/>
                  </a:lnTo>
                  <a:lnTo>
                    <a:pt x="1659" y="2802"/>
                  </a:lnTo>
                  <a:lnTo>
                    <a:pt x="1659" y="2803"/>
                  </a:lnTo>
                  <a:lnTo>
                    <a:pt x="1659" y="2805"/>
                  </a:lnTo>
                  <a:lnTo>
                    <a:pt x="1657" y="2805"/>
                  </a:lnTo>
                  <a:lnTo>
                    <a:pt x="1650" y="2806"/>
                  </a:lnTo>
                  <a:lnTo>
                    <a:pt x="1637" y="2807"/>
                  </a:lnTo>
                  <a:lnTo>
                    <a:pt x="1630" y="2807"/>
                  </a:lnTo>
                  <a:lnTo>
                    <a:pt x="1623" y="2806"/>
                  </a:lnTo>
                  <a:lnTo>
                    <a:pt x="1620" y="2805"/>
                  </a:lnTo>
                  <a:lnTo>
                    <a:pt x="1616" y="2802"/>
                  </a:lnTo>
                  <a:lnTo>
                    <a:pt x="1616" y="2801"/>
                  </a:lnTo>
                  <a:lnTo>
                    <a:pt x="1613" y="2801"/>
                  </a:lnTo>
                  <a:lnTo>
                    <a:pt x="1609" y="2801"/>
                  </a:lnTo>
                  <a:lnTo>
                    <a:pt x="1606" y="2803"/>
                  </a:lnTo>
                  <a:lnTo>
                    <a:pt x="1605" y="2805"/>
                  </a:lnTo>
                  <a:lnTo>
                    <a:pt x="1605" y="2806"/>
                  </a:lnTo>
                  <a:lnTo>
                    <a:pt x="1600" y="2811"/>
                  </a:lnTo>
                  <a:lnTo>
                    <a:pt x="1597" y="2818"/>
                  </a:lnTo>
                  <a:lnTo>
                    <a:pt x="1593" y="2826"/>
                  </a:lnTo>
                  <a:lnTo>
                    <a:pt x="1589" y="2835"/>
                  </a:lnTo>
                  <a:lnTo>
                    <a:pt x="1584" y="2843"/>
                  </a:lnTo>
                  <a:lnTo>
                    <a:pt x="1580" y="2849"/>
                  </a:lnTo>
                  <a:lnTo>
                    <a:pt x="1575" y="2856"/>
                  </a:lnTo>
                  <a:lnTo>
                    <a:pt x="1570" y="2866"/>
                  </a:lnTo>
                  <a:lnTo>
                    <a:pt x="1565" y="2882"/>
                  </a:lnTo>
                  <a:lnTo>
                    <a:pt x="1558" y="2899"/>
                  </a:lnTo>
                  <a:lnTo>
                    <a:pt x="1552" y="2914"/>
                  </a:lnTo>
                  <a:lnTo>
                    <a:pt x="1542" y="2930"/>
                  </a:lnTo>
                  <a:lnTo>
                    <a:pt x="1537" y="2937"/>
                  </a:lnTo>
                  <a:lnTo>
                    <a:pt x="1532" y="2942"/>
                  </a:lnTo>
                  <a:lnTo>
                    <a:pt x="1527" y="2946"/>
                  </a:lnTo>
                  <a:lnTo>
                    <a:pt x="1520" y="2948"/>
                  </a:lnTo>
                  <a:lnTo>
                    <a:pt x="1515" y="2954"/>
                  </a:lnTo>
                  <a:lnTo>
                    <a:pt x="1510" y="2959"/>
                  </a:lnTo>
                  <a:lnTo>
                    <a:pt x="1507" y="2965"/>
                  </a:lnTo>
                  <a:lnTo>
                    <a:pt x="1502" y="2971"/>
                  </a:lnTo>
                  <a:lnTo>
                    <a:pt x="1494" y="2977"/>
                  </a:lnTo>
                  <a:lnTo>
                    <a:pt x="1487" y="2982"/>
                  </a:lnTo>
                  <a:lnTo>
                    <a:pt x="1473" y="2992"/>
                  </a:lnTo>
                  <a:lnTo>
                    <a:pt x="1465" y="2996"/>
                  </a:lnTo>
                  <a:lnTo>
                    <a:pt x="1450" y="3003"/>
                  </a:lnTo>
                  <a:lnTo>
                    <a:pt x="1436" y="3010"/>
                  </a:lnTo>
                  <a:lnTo>
                    <a:pt x="1435" y="3011"/>
                  </a:lnTo>
                  <a:lnTo>
                    <a:pt x="1435" y="3013"/>
                  </a:lnTo>
                  <a:lnTo>
                    <a:pt x="1435" y="3014"/>
                  </a:lnTo>
                  <a:lnTo>
                    <a:pt x="1434" y="3015"/>
                  </a:lnTo>
                  <a:lnTo>
                    <a:pt x="1431" y="3018"/>
                  </a:lnTo>
                  <a:lnTo>
                    <a:pt x="1430" y="3022"/>
                  </a:lnTo>
                  <a:lnTo>
                    <a:pt x="1430" y="3024"/>
                  </a:lnTo>
                  <a:lnTo>
                    <a:pt x="1414" y="3044"/>
                  </a:lnTo>
                  <a:lnTo>
                    <a:pt x="1412" y="3044"/>
                  </a:lnTo>
                  <a:lnTo>
                    <a:pt x="1408" y="3044"/>
                  </a:lnTo>
                  <a:lnTo>
                    <a:pt x="1364" y="3040"/>
                  </a:lnTo>
                  <a:lnTo>
                    <a:pt x="1351" y="3037"/>
                  </a:lnTo>
                  <a:lnTo>
                    <a:pt x="1341" y="3035"/>
                  </a:lnTo>
                  <a:lnTo>
                    <a:pt x="1332" y="3034"/>
                  </a:lnTo>
                  <a:lnTo>
                    <a:pt x="1325" y="3034"/>
                  </a:lnTo>
                  <a:lnTo>
                    <a:pt x="1308" y="3037"/>
                  </a:lnTo>
                  <a:lnTo>
                    <a:pt x="1294" y="3041"/>
                  </a:lnTo>
                  <a:lnTo>
                    <a:pt x="1291" y="3043"/>
                  </a:lnTo>
                  <a:lnTo>
                    <a:pt x="1290" y="3044"/>
                  </a:lnTo>
                  <a:lnTo>
                    <a:pt x="1286" y="3044"/>
                  </a:lnTo>
                  <a:lnTo>
                    <a:pt x="1281" y="3044"/>
                  </a:lnTo>
                  <a:lnTo>
                    <a:pt x="1277" y="3043"/>
                  </a:lnTo>
                  <a:lnTo>
                    <a:pt x="1273" y="3041"/>
                  </a:lnTo>
                  <a:lnTo>
                    <a:pt x="1273" y="3040"/>
                  </a:lnTo>
                  <a:lnTo>
                    <a:pt x="1273" y="3039"/>
                  </a:lnTo>
                  <a:lnTo>
                    <a:pt x="1268" y="3039"/>
                  </a:lnTo>
                  <a:lnTo>
                    <a:pt x="1261" y="3037"/>
                  </a:lnTo>
                  <a:lnTo>
                    <a:pt x="1253" y="3039"/>
                  </a:lnTo>
                  <a:lnTo>
                    <a:pt x="1249" y="3040"/>
                  </a:lnTo>
                  <a:lnTo>
                    <a:pt x="1242" y="3045"/>
                  </a:lnTo>
                  <a:lnTo>
                    <a:pt x="1234" y="3052"/>
                  </a:lnTo>
                  <a:lnTo>
                    <a:pt x="1234" y="3053"/>
                  </a:lnTo>
                  <a:lnTo>
                    <a:pt x="1232" y="3053"/>
                  </a:lnTo>
                  <a:lnTo>
                    <a:pt x="1231" y="3054"/>
                  </a:lnTo>
                  <a:lnTo>
                    <a:pt x="1231" y="3056"/>
                  </a:lnTo>
                  <a:lnTo>
                    <a:pt x="1228" y="3056"/>
                  </a:lnTo>
                  <a:lnTo>
                    <a:pt x="1227" y="3057"/>
                  </a:lnTo>
                  <a:lnTo>
                    <a:pt x="1226" y="3058"/>
                  </a:lnTo>
                  <a:lnTo>
                    <a:pt x="1226" y="3060"/>
                  </a:lnTo>
                  <a:lnTo>
                    <a:pt x="1225" y="3061"/>
                  </a:lnTo>
                  <a:lnTo>
                    <a:pt x="1225" y="3062"/>
                  </a:lnTo>
                  <a:lnTo>
                    <a:pt x="1223" y="3062"/>
                  </a:lnTo>
                  <a:lnTo>
                    <a:pt x="1222" y="3064"/>
                  </a:lnTo>
                  <a:lnTo>
                    <a:pt x="1221" y="3065"/>
                  </a:lnTo>
                  <a:lnTo>
                    <a:pt x="1219" y="3065"/>
                  </a:lnTo>
                  <a:lnTo>
                    <a:pt x="1218" y="3068"/>
                  </a:lnTo>
                  <a:lnTo>
                    <a:pt x="1214" y="3071"/>
                  </a:lnTo>
                  <a:lnTo>
                    <a:pt x="1200" y="3085"/>
                  </a:lnTo>
                  <a:lnTo>
                    <a:pt x="1187" y="3098"/>
                  </a:lnTo>
                  <a:lnTo>
                    <a:pt x="1185" y="3099"/>
                  </a:lnTo>
                  <a:lnTo>
                    <a:pt x="1184" y="3100"/>
                  </a:lnTo>
                  <a:lnTo>
                    <a:pt x="1183" y="3102"/>
                  </a:lnTo>
                  <a:lnTo>
                    <a:pt x="1181" y="3102"/>
                  </a:lnTo>
                  <a:lnTo>
                    <a:pt x="1180" y="3104"/>
                  </a:lnTo>
                  <a:lnTo>
                    <a:pt x="1179" y="3105"/>
                  </a:lnTo>
                  <a:lnTo>
                    <a:pt x="1167" y="3119"/>
                  </a:lnTo>
                  <a:lnTo>
                    <a:pt x="1154" y="3133"/>
                  </a:lnTo>
                  <a:lnTo>
                    <a:pt x="1143" y="3143"/>
                  </a:lnTo>
                  <a:lnTo>
                    <a:pt x="1134" y="3153"/>
                  </a:lnTo>
                  <a:lnTo>
                    <a:pt x="1133" y="3154"/>
                  </a:lnTo>
                  <a:lnTo>
                    <a:pt x="1132" y="3155"/>
                  </a:lnTo>
                  <a:lnTo>
                    <a:pt x="1130" y="3156"/>
                  </a:lnTo>
                  <a:lnTo>
                    <a:pt x="1129" y="3158"/>
                  </a:lnTo>
                  <a:lnTo>
                    <a:pt x="1128" y="3159"/>
                  </a:lnTo>
                  <a:lnTo>
                    <a:pt x="1126" y="3162"/>
                  </a:lnTo>
                  <a:lnTo>
                    <a:pt x="1125" y="3163"/>
                  </a:lnTo>
                  <a:lnTo>
                    <a:pt x="1123" y="3163"/>
                  </a:lnTo>
                  <a:lnTo>
                    <a:pt x="1120" y="3167"/>
                  </a:lnTo>
                  <a:lnTo>
                    <a:pt x="1116" y="3170"/>
                  </a:lnTo>
                  <a:lnTo>
                    <a:pt x="1112" y="3175"/>
                  </a:lnTo>
                  <a:lnTo>
                    <a:pt x="1108" y="3180"/>
                  </a:lnTo>
                  <a:lnTo>
                    <a:pt x="1107" y="3181"/>
                  </a:lnTo>
                  <a:lnTo>
                    <a:pt x="1106" y="3183"/>
                  </a:lnTo>
                  <a:lnTo>
                    <a:pt x="1103" y="3187"/>
                  </a:lnTo>
                  <a:lnTo>
                    <a:pt x="1099" y="3190"/>
                  </a:lnTo>
                  <a:lnTo>
                    <a:pt x="1099" y="3190"/>
                  </a:lnTo>
                  <a:lnTo>
                    <a:pt x="1098" y="3190"/>
                  </a:lnTo>
                  <a:lnTo>
                    <a:pt x="1096" y="3190"/>
                  </a:lnTo>
                  <a:lnTo>
                    <a:pt x="1094" y="3192"/>
                  </a:lnTo>
                  <a:lnTo>
                    <a:pt x="1092" y="3194"/>
                  </a:lnTo>
                  <a:lnTo>
                    <a:pt x="1092" y="3196"/>
                  </a:lnTo>
                  <a:lnTo>
                    <a:pt x="1091" y="3196"/>
                  </a:lnTo>
                  <a:lnTo>
                    <a:pt x="1090" y="3213"/>
                  </a:lnTo>
                  <a:lnTo>
                    <a:pt x="1087" y="3238"/>
                  </a:lnTo>
                  <a:lnTo>
                    <a:pt x="1085" y="3251"/>
                  </a:lnTo>
                  <a:lnTo>
                    <a:pt x="1083" y="3261"/>
                  </a:lnTo>
                  <a:lnTo>
                    <a:pt x="1081" y="3270"/>
                  </a:lnTo>
                  <a:lnTo>
                    <a:pt x="1078" y="3274"/>
                  </a:lnTo>
                  <a:lnTo>
                    <a:pt x="1078" y="3276"/>
                  </a:lnTo>
                  <a:lnTo>
                    <a:pt x="1078" y="3277"/>
                  </a:lnTo>
                  <a:lnTo>
                    <a:pt x="1077" y="3278"/>
                  </a:lnTo>
                  <a:lnTo>
                    <a:pt x="1073" y="3281"/>
                  </a:lnTo>
                  <a:lnTo>
                    <a:pt x="1068" y="3282"/>
                  </a:lnTo>
                  <a:lnTo>
                    <a:pt x="1053" y="3289"/>
                  </a:lnTo>
                  <a:lnTo>
                    <a:pt x="1037" y="3295"/>
                  </a:lnTo>
                  <a:lnTo>
                    <a:pt x="1034" y="3296"/>
                  </a:lnTo>
                  <a:lnTo>
                    <a:pt x="1028" y="3299"/>
                  </a:lnTo>
                  <a:lnTo>
                    <a:pt x="1015" y="3307"/>
                  </a:lnTo>
                  <a:lnTo>
                    <a:pt x="992" y="3317"/>
                  </a:lnTo>
                  <a:lnTo>
                    <a:pt x="968" y="3328"/>
                  </a:lnTo>
                  <a:lnTo>
                    <a:pt x="958" y="3332"/>
                  </a:lnTo>
                  <a:lnTo>
                    <a:pt x="952" y="3332"/>
                  </a:lnTo>
                  <a:lnTo>
                    <a:pt x="950" y="3330"/>
                  </a:lnTo>
                  <a:lnTo>
                    <a:pt x="947" y="3327"/>
                  </a:lnTo>
                  <a:lnTo>
                    <a:pt x="946" y="3320"/>
                  </a:lnTo>
                  <a:lnTo>
                    <a:pt x="945" y="3316"/>
                  </a:lnTo>
                  <a:lnTo>
                    <a:pt x="946" y="3313"/>
                  </a:lnTo>
                  <a:lnTo>
                    <a:pt x="946" y="3311"/>
                  </a:lnTo>
                  <a:lnTo>
                    <a:pt x="947" y="3308"/>
                  </a:lnTo>
                  <a:lnTo>
                    <a:pt x="950" y="3307"/>
                  </a:lnTo>
                  <a:lnTo>
                    <a:pt x="950" y="3304"/>
                  </a:lnTo>
                  <a:lnTo>
                    <a:pt x="951" y="3302"/>
                  </a:lnTo>
                  <a:lnTo>
                    <a:pt x="952" y="3300"/>
                  </a:lnTo>
                  <a:lnTo>
                    <a:pt x="955" y="3298"/>
                  </a:lnTo>
                  <a:lnTo>
                    <a:pt x="956" y="3295"/>
                  </a:lnTo>
                  <a:lnTo>
                    <a:pt x="958" y="3294"/>
                  </a:lnTo>
                  <a:lnTo>
                    <a:pt x="959" y="3294"/>
                  </a:lnTo>
                  <a:lnTo>
                    <a:pt x="960" y="3290"/>
                  </a:lnTo>
                  <a:lnTo>
                    <a:pt x="962" y="3287"/>
                  </a:lnTo>
                  <a:lnTo>
                    <a:pt x="963" y="3286"/>
                  </a:lnTo>
                  <a:lnTo>
                    <a:pt x="963" y="3285"/>
                  </a:lnTo>
                  <a:lnTo>
                    <a:pt x="964" y="3285"/>
                  </a:lnTo>
                  <a:lnTo>
                    <a:pt x="964" y="3283"/>
                  </a:lnTo>
                  <a:lnTo>
                    <a:pt x="966" y="3282"/>
                  </a:lnTo>
                  <a:lnTo>
                    <a:pt x="966" y="3281"/>
                  </a:lnTo>
                  <a:lnTo>
                    <a:pt x="967" y="3281"/>
                  </a:lnTo>
                  <a:lnTo>
                    <a:pt x="967" y="3281"/>
                  </a:lnTo>
                  <a:lnTo>
                    <a:pt x="968" y="3279"/>
                  </a:lnTo>
                  <a:lnTo>
                    <a:pt x="969" y="3278"/>
                  </a:lnTo>
                  <a:lnTo>
                    <a:pt x="969" y="3268"/>
                  </a:lnTo>
                  <a:lnTo>
                    <a:pt x="968" y="3255"/>
                  </a:lnTo>
                  <a:lnTo>
                    <a:pt x="967" y="3249"/>
                  </a:lnTo>
                  <a:lnTo>
                    <a:pt x="966" y="3243"/>
                  </a:lnTo>
                  <a:lnTo>
                    <a:pt x="963" y="3238"/>
                  </a:lnTo>
                  <a:lnTo>
                    <a:pt x="959" y="3232"/>
                  </a:lnTo>
                  <a:lnTo>
                    <a:pt x="951" y="3223"/>
                  </a:lnTo>
                  <a:lnTo>
                    <a:pt x="942" y="3214"/>
                  </a:lnTo>
                  <a:lnTo>
                    <a:pt x="933" y="3204"/>
                  </a:lnTo>
                  <a:lnTo>
                    <a:pt x="926" y="3192"/>
                  </a:lnTo>
                  <a:lnTo>
                    <a:pt x="922" y="3184"/>
                  </a:lnTo>
                  <a:lnTo>
                    <a:pt x="920" y="3176"/>
                  </a:lnTo>
                  <a:lnTo>
                    <a:pt x="918" y="3167"/>
                  </a:lnTo>
                  <a:lnTo>
                    <a:pt x="918" y="3158"/>
                  </a:lnTo>
                  <a:lnTo>
                    <a:pt x="917" y="3141"/>
                  </a:lnTo>
                  <a:lnTo>
                    <a:pt x="916" y="3126"/>
                  </a:lnTo>
                  <a:lnTo>
                    <a:pt x="913" y="3115"/>
                  </a:lnTo>
                  <a:lnTo>
                    <a:pt x="911" y="3104"/>
                  </a:lnTo>
                  <a:lnTo>
                    <a:pt x="908" y="3095"/>
                  </a:lnTo>
                  <a:lnTo>
                    <a:pt x="905" y="3085"/>
                  </a:lnTo>
                  <a:lnTo>
                    <a:pt x="904" y="3073"/>
                  </a:lnTo>
                  <a:lnTo>
                    <a:pt x="903" y="3060"/>
                  </a:lnTo>
                  <a:lnTo>
                    <a:pt x="903" y="3043"/>
                  </a:lnTo>
                  <a:lnTo>
                    <a:pt x="899" y="3028"/>
                  </a:lnTo>
                  <a:lnTo>
                    <a:pt x="894" y="3015"/>
                  </a:lnTo>
                  <a:lnTo>
                    <a:pt x="887" y="3005"/>
                  </a:lnTo>
                  <a:lnTo>
                    <a:pt x="879" y="2994"/>
                  </a:lnTo>
                  <a:lnTo>
                    <a:pt x="869" y="2985"/>
                  </a:lnTo>
                  <a:lnTo>
                    <a:pt x="858" y="2979"/>
                  </a:lnTo>
                  <a:lnTo>
                    <a:pt x="847" y="2972"/>
                  </a:lnTo>
                  <a:lnTo>
                    <a:pt x="833" y="2967"/>
                  </a:lnTo>
                  <a:lnTo>
                    <a:pt x="819" y="2963"/>
                  </a:lnTo>
                  <a:lnTo>
                    <a:pt x="806" y="2959"/>
                  </a:lnTo>
                  <a:lnTo>
                    <a:pt x="790" y="2956"/>
                  </a:lnTo>
                  <a:lnTo>
                    <a:pt x="761" y="2952"/>
                  </a:lnTo>
                  <a:lnTo>
                    <a:pt x="731" y="2950"/>
                  </a:lnTo>
                  <a:lnTo>
                    <a:pt x="725" y="2948"/>
                  </a:lnTo>
                  <a:lnTo>
                    <a:pt x="718" y="2945"/>
                  </a:lnTo>
                  <a:lnTo>
                    <a:pt x="712" y="2941"/>
                  </a:lnTo>
                  <a:lnTo>
                    <a:pt x="704" y="2935"/>
                  </a:lnTo>
                  <a:lnTo>
                    <a:pt x="688" y="2922"/>
                  </a:lnTo>
                  <a:lnTo>
                    <a:pt x="671" y="2909"/>
                  </a:lnTo>
                  <a:lnTo>
                    <a:pt x="663" y="2903"/>
                  </a:lnTo>
                  <a:lnTo>
                    <a:pt x="656" y="2897"/>
                  </a:lnTo>
                  <a:lnTo>
                    <a:pt x="646" y="2892"/>
                  </a:lnTo>
                  <a:lnTo>
                    <a:pt x="639" y="2890"/>
                  </a:lnTo>
                  <a:lnTo>
                    <a:pt x="631" y="2888"/>
                  </a:lnTo>
                  <a:lnTo>
                    <a:pt x="623" y="2890"/>
                  </a:lnTo>
                  <a:lnTo>
                    <a:pt x="615" y="2892"/>
                  </a:lnTo>
                  <a:lnTo>
                    <a:pt x="608" y="2899"/>
                  </a:lnTo>
                  <a:lnTo>
                    <a:pt x="594" y="2914"/>
                  </a:lnTo>
                  <a:lnTo>
                    <a:pt x="582" y="2929"/>
                  </a:lnTo>
                  <a:lnTo>
                    <a:pt x="580" y="2931"/>
                  </a:lnTo>
                  <a:lnTo>
                    <a:pt x="577" y="2931"/>
                  </a:lnTo>
                  <a:lnTo>
                    <a:pt x="576" y="2930"/>
                  </a:lnTo>
                  <a:lnTo>
                    <a:pt x="574" y="2928"/>
                  </a:lnTo>
                  <a:lnTo>
                    <a:pt x="572" y="2917"/>
                  </a:lnTo>
                  <a:lnTo>
                    <a:pt x="571" y="2899"/>
                  </a:lnTo>
                  <a:lnTo>
                    <a:pt x="571" y="2891"/>
                  </a:lnTo>
                  <a:lnTo>
                    <a:pt x="569" y="2884"/>
                  </a:lnTo>
                  <a:lnTo>
                    <a:pt x="568" y="2879"/>
                  </a:lnTo>
                  <a:lnTo>
                    <a:pt x="567" y="2877"/>
                  </a:lnTo>
                  <a:lnTo>
                    <a:pt x="564" y="2874"/>
                  </a:lnTo>
                  <a:lnTo>
                    <a:pt x="561" y="2873"/>
                  </a:lnTo>
                  <a:lnTo>
                    <a:pt x="559" y="2873"/>
                  </a:lnTo>
                  <a:lnTo>
                    <a:pt x="555" y="2874"/>
                  </a:lnTo>
                  <a:lnTo>
                    <a:pt x="547" y="2879"/>
                  </a:lnTo>
                  <a:lnTo>
                    <a:pt x="538" y="2887"/>
                  </a:lnTo>
                  <a:lnTo>
                    <a:pt x="529" y="2897"/>
                  </a:lnTo>
                  <a:lnTo>
                    <a:pt x="518" y="2909"/>
                  </a:lnTo>
                  <a:lnTo>
                    <a:pt x="496" y="2938"/>
                  </a:lnTo>
                  <a:lnTo>
                    <a:pt x="475" y="2967"/>
                  </a:lnTo>
                  <a:lnTo>
                    <a:pt x="465" y="2979"/>
                  </a:lnTo>
                  <a:lnTo>
                    <a:pt x="455" y="2990"/>
                  </a:lnTo>
                  <a:lnTo>
                    <a:pt x="446" y="2999"/>
                  </a:lnTo>
                  <a:lnTo>
                    <a:pt x="440" y="3005"/>
                  </a:lnTo>
                  <a:lnTo>
                    <a:pt x="434" y="3007"/>
                  </a:lnTo>
                  <a:lnTo>
                    <a:pt x="429" y="3009"/>
                  </a:lnTo>
                  <a:lnTo>
                    <a:pt x="424" y="3009"/>
                  </a:lnTo>
                  <a:lnTo>
                    <a:pt x="417" y="3007"/>
                  </a:lnTo>
                  <a:lnTo>
                    <a:pt x="404" y="3003"/>
                  </a:lnTo>
                  <a:lnTo>
                    <a:pt x="391" y="2996"/>
                  </a:lnTo>
                  <a:lnTo>
                    <a:pt x="376" y="2985"/>
                  </a:lnTo>
                  <a:lnTo>
                    <a:pt x="361" y="2972"/>
                  </a:lnTo>
                  <a:lnTo>
                    <a:pt x="347" y="2958"/>
                  </a:lnTo>
                  <a:lnTo>
                    <a:pt x="331" y="2941"/>
                  </a:lnTo>
                  <a:lnTo>
                    <a:pt x="318" y="2924"/>
                  </a:lnTo>
                  <a:lnTo>
                    <a:pt x="305" y="2907"/>
                  </a:lnTo>
                  <a:lnTo>
                    <a:pt x="293" y="2890"/>
                  </a:lnTo>
                  <a:lnTo>
                    <a:pt x="283" y="2873"/>
                  </a:lnTo>
                  <a:lnTo>
                    <a:pt x="274" y="2857"/>
                  </a:lnTo>
                  <a:lnTo>
                    <a:pt x="267" y="2841"/>
                  </a:lnTo>
                  <a:lnTo>
                    <a:pt x="263" y="2829"/>
                  </a:lnTo>
                  <a:lnTo>
                    <a:pt x="263" y="2819"/>
                  </a:lnTo>
                  <a:lnTo>
                    <a:pt x="263" y="2814"/>
                  </a:lnTo>
                  <a:lnTo>
                    <a:pt x="264" y="2807"/>
                  </a:lnTo>
                  <a:lnTo>
                    <a:pt x="267" y="2801"/>
                  </a:lnTo>
                  <a:lnTo>
                    <a:pt x="270" y="2797"/>
                  </a:lnTo>
                  <a:lnTo>
                    <a:pt x="272" y="2794"/>
                  </a:lnTo>
                  <a:lnTo>
                    <a:pt x="272" y="2790"/>
                  </a:lnTo>
                  <a:lnTo>
                    <a:pt x="274" y="2784"/>
                  </a:lnTo>
                  <a:lnTo>
                    <a:pt x="272" y="2778"/>
                  </a:lnTo>
                  <a:lnTo>
                    <a:pt x="272" y="2773"/>
                  </a:lnTo>
                  <a:lnTo>
                    <a:pt x="272" y="2768"/>
                  </a:lnTo>
                  <a:lnTo>
                    <a:pt x="274" y="2763"/>
                  </a:lnTo>
                  <a:lnTo>
                    <a:pt x="276" y="2758"/>
                  </a:lnTo>
                  <a:lnTo>
                    <a:pt x="281" y="2746"/>
                  </a:lnTo>
                  <a:lnTo>
                    <a:pt x="289" y="2734"/>
                  </a:lnTo>
                  <a:lnTo>
                    <a:pt x="304" y="2717"/>
                  </a:lnTo>
                  <a:lnTo>
                    <a:pt x="310" y="2709"/>
                  </a:lnTo>
                  <a:lnTo>
                    <a:pt x="313" y="2709"/>
                  </a:lnTo>
                  <a:lnTo>
                    <a:pt x="331" y="2710"/>
                  </a:lnTo>
                  <a:lnTo>
                    <a:pt x="347" y="2713"/>
                  </a:lnTo>
                  <a:lnTo>
                    <a:pt x="357" y="2717"/>
                  </a:lnTo>
                  <a:lnTo>
                    <a:pt x="365" y="2721"/>
                  </a:lnTo>
                  <a:lnTo>
                    <a:pt x="372" y="2726"/>
                  </a:lnTo>
                  <a:lnTo>
                    <a:pt x="378" y="2729"/>
                  </a:lnTo>
                  <a:lnTo>
                    <a:pt x="385" y="2731"/>
                  </a:lnTo>
                  <a:lnTo>
                    <a:pt x="395" y="2733"/>
                  </a:lnTo>
                  <a:lnTo>
                    <a:pt x="397" y="2731"/>
                  </a:lnTo>
                  <a:lnTo>
                    <a:pt x="398" y="2730"/>
                  </a:lnTo>
                  <a:lnTo>
                    <a:pt x="402" y="2726"/>
                  </a:lnTo>
                  <a:lnTo>
                    <a:pt x="407" y="2722"/>
                  </a:lnTo>
                  <a:lnTo>
                    <a:pt x="407" y="2722"/>
                  </a:lnTo>
                  <a:lnTo>
                    <a:pt x="408" y="2722"/>
                  </a:lnTo>
                  <a:lnTo>
                    <a:pt x="415" y="2722"/>
                  </a:lnTo>
                  <a:lnTo>
                    <a:pt x="419" y="2723"/>
                  </a:lnTo>
                  <a:lnTo>
                    <a:pt x="421" y="2729"/>
                  </a:lnTo>
                  <a:lnTo>
                    <a:pt x="425" y="2734"/>
                  </a:lnTo>
                  <a:lnTo>
                    <a:pt x="427" y="2740"/>
                  </a:lnTo>
                  <a:lnTo>
                    <a:pt x="432" y="2752"/>
                  </a:lnTo>
                  <a:lnTo>
                    <a:pt x="438" y="2764"/>
                  </a:lnTo>
                  <a:lnTo>
                    <a:pt x="448" y="2775"/>
                  </a:lnTo>
                  <a:lnTo>
                    <a:pt x="455" y="2782"/>
                  </a:lnTo>
                  <a:lnTo>
                    <a:pt x="458" y="2784"/>
                  </a:lnTo>
                  <a:lnTo>
                    <a:pt x="462" y="2784"/>
                  </a:lnTo>
                  <a:lnTo>
                    <a:pt x="463" y="2781"/>
                  </a:lnTo>
                  <a:lnTo>
                    <a:pt x="465" y="2777"/>
                  </a:lnTo>
                  <a:lnTo>
                    <a:pt x="470" y="2769"/>
                  </a:lnTo>
                  <a:lnTo>
                    <a:pt x="479" y="2754"/>
                  </a:lnTo>
                  <a:lnTo>
                    <a:pt x="486" y="2737"/>
                  </a:lnTo>
                  <a:lnTo>
                    <a:pt x="489" y="2725"/>
                  </a:lnTo>
                  <a:lnTo>
                    <a:pt x="489" y="2723"/>
                  </a:lnTo>
                  <a:lnTo>
                    <a:pt x="489" y="2718"/>
                  </a:lnTo>
                  <a:lnTo>
                    <a:pt x="491" y="2713"/>
                  </a:lnTo>
                  <a:lnTo>
                    <a:pt x="493" y="2708"/>
                  </a:lnTo>
                  <a:lnTo>
                    <a:pt x="497" y="2701"/>
                  </a:lnTo>
                  <a:lnTo>
                    <a:pt x="505" y="2687"/>
                  </a:lnTo>
                  <a:lnTo>
                    <a:pt x="517" y="2672"/>
                  </a:lnTo>
                  <a:lnTo>
                    <a:pt x="529" y="2659"/>
                  </a:lnTo>
                  <a:lnTo>
                    <a:pt x="543" y="2648"/>
                  </a:lnTo>
                  <a:lnTo>
                    <a:pt x="550" y="2642"/>
                  </a:lnTo>
                  <a:lnTo>
                    <a:pt x="556" y="2637"/>
                  </a:lnTo>
                  <a:lnTo>
                    <a:pt x="564" y="2635"/>
                  </a:lnTo>
                  <a:lnTo>
                    <a:pt x="571" y="2632"/>
                  </a:lnTo>
                  <a:lnTo>
                    <a:pt x="576" y="2628"/>
                  </a:lnTo>
                  <a:lnTo>
                    <a:pt x="580" y="2625"/>
                  </a:lnTo>
                  <a:lnTo>
                    <a:pt x="581" y="2624"/>
                  </a:lnTo>
                  <a:lnTo>
                    <a:pt x="584" y="2623"/>
                  </a:lnTo>
                  <a:lnTo>
                    <a:pt x="591" y="2623"/>
                  </a:lnTo>
                  <a:lnTo>
                    <a:pt x="598" y="2620"/>
                  </a:lnTo>
                  <a:lnTo>
                    <a:pt x="605" y="2616"/>
                  </a:lnTo>
                  <a:lnTo>
                    <a:pt x="608" y="2611"/>
                  </a:lnTo>
                  <a:lnTo>
                    <a:pt x="612" y="2603"/>
                  </a:lnTo>
                  <a:lnTo>
                    <a:pt x="615" y="2595"/>
                  </a:lnTo>
                  <a:lnTo>
                    <a:pt x="618" y="2585"/>
                  </a:lnTo>
                  <a:lnTo>
                    <a:pt x="618" y="2573"/>
                  </a:lnTo>
                  <a:lnTo>
                    <a:pt x="618" y="2572"/>
                  </a:lnTo>
                  <a:lnTo>
                    <a:pt x="616" y="2568"/>
                  </a:lnTo>
                  <a:lnTo>
                    <a:pt x="614" y="2565"/>
                  </a:lnTo>
                  <a:lnTo>
                    <a:pt x="608" y="2563"/>
                  </a:lnTo>
                  <a:lnTo>
                    <a:pt x="605" y="2560"/>
                  </a:lnTo>
                  <a:lnTo>
                    <a:pt x="601" y="2557"/>
                  </a:lnTo>
                  <a:lnTo>
                    <a:pt x="597" y="2556"/>
                  </a:lnTo>
                  <a:lnTo>
                    <a:pt x="582" y="2556"/>
                  </a:lnTo>
                  <a:lnTo>
                    <a:pt x="578" y="2559"/>
                  </a:lnTo>
                  <a:lnTo>
                    <a:pt x="576" y="2560"/>
                  </a:lnTo>
                  <a:lnTo>
                    <a:pt x="572" y="2561"/>
                  </a:lnTo>
                  <a:lnTo>
                    <a:pt x="568" y="2561"/>
                  </a:lnTo>
                  <a:lnTo>
                    <a:pt x="550" y="2568"/>
                  </a:lnTo>
                  <a:lnTo>
                    <a:pt x="530" y="2576"/>
                  </a:lnTo>
                  <a:lnTo>
                    <a:pt x="523" y="2577"/>
                  </a:lnTo>
                  <a:lnTo>
                    <a:pt x="514" y="2578"/>
                  </a:lnTo>
                  <a:lnTo>
                    <a:pt x="506" y="2577"/>
                  </a:lnTo>
                  <a:lnTo>
                    <a:pt x="500" y="2576"/>
                  </a:lnTo>
                  <a:lnTo>
                    <a:pt x="488" y="2564"/>
                  </a:lnTo>
                  <a:lnTo>
                    <a:pt x="480" y="2553"/>
                  </a:lnTo>
                  <a:lnTo>
                    <a:pt x="480" y="2552"/>
                  </a:lnTo>
                  <a:lnTo>
                    <a:pt x="480" y="2552"/>
                  </a:lnTo>
                  <a:lnTo>
                    <a:pt x="479" y="2551"/>
                  </a:lnTo>
                  <a:lnTo>
                    <a:pt x="479" y="2550"/>
                  </a:lnTo>
                  <a:lnTo>
                    <a:pt x="475" y="2542"/>
                  </a:lnTo>
                  <a:lnTo>
                    <a:pt x="466" y="2531"/>
                  </a:lnTo>
                  <a:lnTo>
                    <a:pt x="455" y="2522"/>
                  </a:lnTo>
                  <a:lnTo>
                    <a:pt x="446" y="2517"/>
                  </a:lnTo>
                  <a:lnTo>
                    <a:pt x="444" y="2516"/>
                  </a:lnTo>
                  <a:lnTo>
                    <a:pt x="442" y="2514"/>
                  </a:lnTo>
                  <a:lnTo>
                    <a:pt x="429" y="2504"/>
                  </a:lnTo>
                  <a:lnTo>
                    <a:pt x="415" y="2492"/>
                  </a:lnTo>
                  <a:lnTo>
                    <a:pt x="411" y="2489"/>
                  </a:lnTo>
                  <a:lnTo>
                    <a:pt x="404" y="2487"/>
                  </a:lnTo>
                  <a:lnTo>
                    <a:pt x="395" y="2484"/>
                  </a:lnTo>
                  <a:lnTo>
                    <a:pt x="387" y="2483"/>
                  </a:lnTo>
                  <a:lnTo>
                    <a:pt x="385" y="2483"/>
                  </a:lnTo>
                  <a:lnTo>
                    <a:pt x="378" y="2484"/>
                  </a:lnTo>
                  <a:lnTo>
                    <a:pt x="369" y="2489"/>
                  </a:lnTo>
                  <a:lnTo>
                    <a:pt x="359" y="2497"/>
                  </a:lnTo>
                  <a:lnTo>
                    <a:pt x="349" y="2506"/>
                  </a:lnTo>
                  <a:lnTo>
                    <a:pt x="331" y="2526"/>
                  </a:lnTo>
                  <a:lnTo>
                    <a:pt x="319" y="2539"/>
                  </a:lnTo>
                  <a:lnTo>
                    <a:pt x="317" y="2542"/>
                  </a:lnTo>
                  <a:lnTo>
                    <a:pt x="314" y="2540"/>
                  </a:lnTo>
                  <a:lnTo>
                    <a:pt x="312" y="2539"/>
                  </a:lnTo>
                  <a:lnTo>
                    <a:pt x="310" y="2536"/>
                  </a:lnTo>
                  <a:lnTo>
                    <a:pt x="305" y="2523"/>
                  </a:lnTo>
                  <a:lnTo>
                    <a:pt x="297" y="2509"/>
                  </a:lnTo>
                  <a:lnTo>
                    <a:pt x="292" y="2502"/>
                  </a:lnTo>
                  <a:lnTo>
                    <a:pt x="289" y="2496"/>
                  </a:lnTo>
                  <a:lnTo>
                    <a:pt x="285" y="2489"/>
                  </a:lnTo>
                  <a:lnTo>
                    <a:pt x="284" y="2484"/>
                  </a:lnTo>
                  <a:lnTo>
                    <a:pt x="278" y="2474"/>
                  </a:lnTo>
                  <a:lnTo>
                    <a:pt x="268" y="2464"/>
                  </a:lnTo>
                  <a:lnTo>
                    <a:pt x="264" y="2464"/>
                  </a:lnTo>
                  <a:lnTo>
                    <a:pt x="262" y="2466"/>
                  </a:lnTo>
                  <a:lnTo>
                    <a:pt x="261" y="2467"/>
                  </a:lnTo>
                  <a:lnTo>
                    <a:pt x="261" y="2468"/>
                  </a:lnTo>
                  <a:lnTo>
                    <a:pt x="259" y="2479"/>
                  </a:lnTo>
                  <a:lnTo>
                    <a:pt x="257" y="2489"/>
                  </a:lnTo>
                  <a:lnTo>
                    <a:pt x="254" y="2500"/>
                  </a:lnTo>
                  <a:lnTo>
                    <a:pt x="251" y="2509"/>
                  </a:lnTo>
                  <a:lnTo>
                    <a:pt x="249" y="2513"/>
                  </a:lnTo>
                  <a:lnTo>
                    <a:pt x="246" y="2518"/>
                  </a:lnTo>
                  <a:lnTo>
                    <a:pt x="244" y="2521"/>
                  </a:lnTo>
                  <a:lnTo>
                    <a:pt x="241" y="2523"/>
                  </a:lnTo>
                  <a:lnTo>
                    <a:pt x="237" y="2526"/>
                  </a:lnTo>
                  <a:lnTo>
                    <a:pt x="233" y="2527"/>
                  </a:lnTo>
                  <a:lnTo>
                    <a:pt x="217" y="2530"/>
                  </a:lnTo>
                  <a:lnTo>
                    <a:pt x="204" y="2535"/>
                  </a:lnTo>
                  <a:lnTo>
                    <a:pt x="202" y="2538"/>
                  </a:lnTo>
                  <a:lnTo>
                    <a:pt x="199" y="2539"/>
                  </a:lnTo>
                  <a:lnTo>
                    <a:pt x="198" y="2540"/>
                  </a:lnTo>
                  <a:lnTo>
                    <a:pt x="195" y="2540"/>
                  </a:lnTo>
                  <a:lnTo>
                    <a:pt x="191" y="2540"/>
                  </a:lnTo>
                  <a:lnTo>
                    <a:pt x="187" y="2539"/>
                  </a:lnTo>
                  <a:lnTo>
                    <a:pt x="185" y="2539"/>
                  </a:lnTo>
                  <a:lnTo>
                    <a:pt x="185" y="2538"/>
                  </a:lnTo>
                  <a:lnTo>
                    <a:pt x="185" y="2534"/>
                  </a:lnTo>
                  <a:lnTo>
                    <a:pt x="183" y="2531"/>
                  </a:lnTo>
                  <a:lnTo>
                    <a:pt x="185" y="2518"/>
                  </a:lnTo>
                  <a:lnTo>
                    <a:pt x="191" y="2496"/>
                  </a:lnTo>
                  <a:lnTo>
                    <a:pt x="198" y="2474"/>
                  </a:lnTo>
                  <a:lnTo>
                    <a:pt x="202" y="2463"/>
                  </a:lnTo>
                  <a:lnTo>
                    <a:pt x="204" y="2454"/>
                  </a:lnTo>
                  <a:lnTo>
                    <a:pt x="208" y="2437"/>
                  </a:lnTo>
                  <a:lnTo>
                    <a:pt x="212" y="2421"/>
                  </a:lnTo>
                  <a:lnTo>
                    <a:pt x="213" y="2413"/>
                  </a:lnTo>
                  <a:lnTo>
                    <a:pt x="219" y="2300"/>
                  </a:lnTo>
                  <a:lnTo>
                    <a:pt x="219" y="2289"/>
                  </a:lnTo>
                  <a:lnTo>
                    <a:pt x="217" y="2276"/>
                  </a:lnTo>
                  <a:lnTo>
                    <a:pt x="215" y="2260"/>
                  </a:lnTo>
                  <a:lnTo>
                    <a:pt x="211" y="2246"/>
                  </a:lnTo>
                  <a:lnTo>
                    <a:pt x="207" y="2230"/>
                  </a:lnTo>
                  <a:lnTo>
                    <a:pt x="202" y="2216"/>
                  </a:lnTo>
                  <a:lnTo>
                    <a:pt x="195" y="2204"/>
                  </a:lnTo>
                  <a:lnTo>
                    <a:pt x="189" y="2195"/>
                  </a:lnTo>
                  <a:lnTo>
                    <a:pt x="187" y="2192"/>
                  </a:lnTo>
                  <a:lnTo>
                    <a:pt x="186" y="2190"/>
                  </a:lnTo>
                  <a:lnTo>
                    <a:pt x="185" y="2187"/>
                  </a:lnTo>
                  <a:lnTo>
                    <a:pt x="186" y="2185"/>
                  </a:lnTo>
                  <a:lnTo>
                    <a:pt x="187" y="2179"/>
                  </a:lnTo>
                  <a:lnTo>
                    <a:pt x="191" y="2173"/>
                  </a:lnTo>
                  <a:lnTo>
                    <a:pt x="199" y="2161"/>
                  </a:lnTo>
                  <a:lnTo>
                    <a:pt x="203" y="2149"/>
                  </a:lnTo>
                  <a:lnTo>
                    <a:pt x="204" y="2148"/>
                  </a:lnTo>
                  <a:lnTo>
                    <a:pt x="206" y="2148"/>
                  </a:lnTo>
                  <a:lnTo>
                    <a:pt x="207" y="2144"/>
                  </a:lnTo>
                  <a:lnTo>
                    <a:pt x="208" y="2140"/>
                  </a:lnTo>
                  <a:lnTo>
                    <a:pt x="208" y="2139"/>
                  </a:lnTo>
                  <a:lnTo>
                    <a:pt x="210" y="2137"/>
                  </a:lnTo>
                  <a:lnTo>
                    <a:pt x="210" y="2136"/>
                  </a:lnTo>
                  <a:lnTo>
                    <a:pt x="210" y="2135"/>
                  </a:lnTo>
                  <a:lnTo>
                    <a:pt x="211" y="2134"/>
                  </a:lnTo>
                  <a:lnTo>
                    <a:pt x="211" y="2132"/>
                  </a:lnTo>
                  <a:lnTo>
                    <a:pt x="211" y="2131"/>
                  </a:lnTo>
                  <a:lnTo>
                    <a:pt x="211" y="2128"/>
                  </a:lnTo>
                  <a:lnTo>
                    <a:pt x="212" y="2126"/>
                  </a:lnTo>
                  <a:lnTo>
                    <a:pt x="211" y="2122"/>
                  </a:lnTo>
                  <a:lnTo>
                    <a:pt x="210" y="2119"/>
                  </a:lnTo>
                  <a:lnTo>
                    <a:pt x="210" y="2117"/>
                  </a:lnTo>
                  <a:lnTo>
                    <a:pt x="206" y="2114"/>
                  </a:lnTo>
                  <a:lnTo>
                    <a:pt x="203" y="2110"/>
                  </a:lnTo>
                  <a:lnTo>
                    <a:pt x="203" y="2107"/>
                  </a:lnTo>
                  <a:lnTo>
                    <a:pt x="204" y="2106"/>
                  </a:lnTo>
                  <a:lnTo>
                    <a:pt x="206" y="2103"/>
                  </a:lnTo>
                  <a:lnTo>
                    <a:pt x="207" y="2102"/>
                  </a:lnTo>
                  <a:lnTo>
                    <a:pt x="212" y="2098"/>
                  </a:lnTo>
                  <a:lnTo>
                    <a:pt x="215" y="2096"/>
                  </a:lnTo>
                  <a:lnTo>
                    <a:pt x="219" y="2093"/>
                  </a:lnTo>
                  <a:lnTo>
                    <a:pt x="223" y="2090"/>
                  </a:lnTo>
                  <a:lnTo>
                    <a:pt x="225" y="2090"/>
                  </a:lnTo>
                  <a:lnTo>
                    <a:pt x="228" y="2092"/>
                  </a:lnTo>
                  <a:lnTo>
                    <a:pt x="236" y="2094"/>
                  </a:lnTo>
                  <a:lnTo>
                    <a:pt x="244" y="2098"/>
                  </a:lnTo>
                  <a:lnTo>
                    <a:pt x="245" y="2100"/>
                  </a:lnTo>
                  <a:lnTo>
                    <a:pt x="246" y="2101"/>
                  </a:lnTo>
                  <a:lnTo>
                    <a:pt x="249" y="2101"/>
                  </a:lnTo>
                  <a:lnTo>
                    <a:pt x="250" y="2102"/>
                  </a:lnTo>
                  <a:lnTo>
                    <a:pt x="253" y="2105"/>
                  </a:lnTo>
                  <a:lnTo>
                    <a:pt x="257" y="2105"/>
                  </a:lnTo>
                  <a:lnTo>
                    <a:pt x="259" y="2106"/>
                  </a:lnTo>
                  <a:lnTo>
                    <a:pt x="263" y="2107"/>
                  </a:lnTo>
                  <a:lnTo>
                    <a:pt x="270" y="2109"/>
                  </a:lnTo>
                  <a:lnTo>
                    <a:pt x="275" y="2109"/>
                  </a:lnTo>
                  <a:lnTo>
                    <a:pt x="279" y="2107"/>
                  </a:lnTo>
                  <a:lnTo>
                    <a:pt x="279" y="2107"/>
                  </a:lnTo>
                  <a:lnTo>
                    <a:pt x="280" y="2107"/>
                  </a:lnTo>
                  <a:lnTo>
                    <a:pt x="284" y="2106"/>
                  </a:lnTo>
                  <a:lnTo>
                    <a:pt x="287" y="2102"/>
                  </a:lnTo>
                  <a:lnTo>
                    <a:pt x="291" y="2100"/>
                  </a:lnTo>
                  <a:lnTo>
                    <a:pt x="293" y="2094"/>
                  </a:lnTo>
                  <a:lnTo>
                    <a:pt x="298" y="2086"/>
                  </a:lnTo>
                  <a:lnTo>
                    <a:pt x="304" y="2081"/>
                  </a:lnTo>
                  <a:lnTo>
                    <a:pt x="306" y="2067"/>
                  </a:lnTo>
                  <a:lnTo>
                    <a:pt x="306" y="2055"/>
                  </a:lnTo>
                  <a:lnTo>
                    <a:pt x="308" y="2050"/>
                  </a:lnTo>
                  <a:lnTo>
                    <a:pt x="310" y="2045"/>
                  </a:lnTo>
                  <a:lnTo>
                    <a:pt x="313" y="2041"/>
                  </a:lnTo>
                  <a:lnTo>
                    <a:pt x="315" y="2038"/>
                  </a:lnTo>
                  <a:lnTo>
                    <a:pt x="322" y="2033"/>
                  </a:lnTo>
                  <a:lnTo>
                    <a:pt x="327" y="2032"/>
                  </a:lnTo>
                  <a:lnTo>
                    <a:pt x="382" y="2032"/>
                  </a:lnTo>
                  <a:lnTo>
                    <a:pt x="390" y="2038"/>
                  </a:lnTo>
                  <a:lnTo>
                    <a:pt x="399" y="2045"/>
                  </a:lnTo>
                  <a:lnTo>
                    <a:pt x="400" y="2045"/>
                  </a:lnTo>
                  <a:lnTo>
                    <a:pt x="406" y="2050"/>
                  </a:lnTo>
                  <a:lnTo>
                    <a:pt x="412" y="2055"/>
                  </a:lnTo>
                  <a:lnTo>
                    <a:pt x="414" y="2055"/>
                  </a:lnTo>
                  <a:lnTo>
                    <a:pt x="423" y="2052"/>
                  </a:lnTo>
                  <a:lnTo>
                    <a:pt x="432" y="2049"/>
                  </a:lnTo>
                  <a:lnTo>
                    <a:pt x="440" y="2043"/>
                  </a:lnTo>
                  <a:lnTo>
                    <a:pt x="444" y="2042"/>
                  </a:lnTo>
                  <a:lnTo>
                    <a:pt x="445" y="2042"/>
                  </a:lnTo>
                  <a:lnTo>
                    <a:pt x="446" y="2042"/>
                  </a:lnTo>
                  <a:lnTo>
                    <a:pt x="446" y="2041"/>
                  </a:lnTo>
                  <a:lnTo>
                    <a:pt x="448" y="2039"/>
                  </a:lnTo>
                  <a:lnTo>
                    <a:pt x="448" y="2039"/>
                  </a:lnTo>
                  <a:lnTo>
                    <a:pt x="466" y="2041"/>
                  </a:lnTo>
                  <a:lnTo>
                    <a:pt x="469" y="2035"/>
                  </a:lnTo>
                  <a:lnTo>
                    <a:pt x="474" y="2022"/>
                  </a:lnTo>
                  <a:lnTo>
                    <a:pt x="475" y="2016"/>
                  </a:lnTo>
                  <a:lnTo>
                    <a:pt x="476" y="2009"/>
                  </a:lnTo>
                  <a:lnTo>
                    <a:pt x="475" y="2004"/>
                  </a:lnTo>
                  <a:lnTo>
                    <a:pt x="472" y="2001"/>
                  </a:lnTo>
                  <a:lnTo>
                    <a:pt x="471" y="1996"/>
                  </a:lnTo>
                  <a:lnTo>
                    <a:pt x="472" y="1991"/>
                  </a:lnTo>
                  <a:lnTo>
                    <a:pt x="475" y="1983"/>
                  </a:lnTo>
                  <a:lnTo>
                    <a:pt x="476" y="1977"/>
                  </a:lnTo>
                  <a:lnTo>
                    <a:pt x="478" y="1975"/>
                  </a:lnTo>
                  <a:lnTo>
                    <a:pt x="478" y="1974"/>
                  </a:lnTo>
                  <a:lnTo>
                    <a:pt x="483" y="1969"/>
                  </a:lnTo>
                  <a:lnTo>
                    <a:pt x="487" y="1963"/>
                  </a:lnTo>
                  <a:lnTo>
                    <a:pt x="487" y="1960"/>
                  </a:lnTo>
                  <a:lnTo>
                    <a:pt x="487" y="1956"/>
                  </a:lnTo>
                  <a:lnTo>
                    <a:pt x="487" y="1954"/>
                  </a:lnTo>
                  <a:lnTo>
                    <a:pt x="487" y="1953"/>
                  </a:lnTo>
                  <a:lnTo>
                    <a:pt x="486" y="1953"/>
                  </a:lnTo>
                  <a:lnTo>
                    <a:pt x="478" y="1950"/>
                  </a:lnTo>
                  <a:lnTo>
                    <a:pt x="469" y="1948"/>
                  </a:lnTo>
                  <a:lnTo>
                    <a:pt x="465" y="1945"/>
                  </a:lnTo>
                  <a:lnTo>
                    <a:pt x="462" y="1941"/>
                  </a:lnTo>
                  <a:lnTo>
                    <a:pt x="459" y="1939"/>
                  </a:lnTo>
                  <a:lnTo>
                    <a:pt x="458" y="1933"/>
                  </a:lnTo>
                  <a:lnTo>
                    <a:pt x="455" y="1924"/>
                  </a:lnTo>
                  <a:lnTo>
                    <a:pt x="455" y="1916"/>
                  </a:lnTo>
                  <a:lnTo>
                    <a:pt x="457" y="1914"/>
                  </a:lnTo>
                  <a:lnTo>
                    <a:pt x="457" y="1911"/>
                  </a:lnTo>
                  <a:lnTo>
                    <a:pt x="457" y="1907"/>
                  </a:lnTo>
                  <a:lnTo>
                    <a:pt x="457" y="1905"/>
                  </a:lnTo>
                  <a:lnTo>
                    <a:pt x="459" y="1905"/>
                  </a:lnTo>
                  <a:lnTo>
                    <a:pt x="459" y="1903"/>
                  </a:lnTo>
                  <a:lnTo>
                    <a:pt x="462" y="1897"/>
                  </a:lnTo>
                  <a:lnTo>
                    <a:pt x="467" y="1890"/>
                  </a:lnTo>
                  <a:lnTo>
                    <a:pt x="476" y="1884"/>
                  </a:lnTo>
                  <a:lnTo>
                    <a:pt x="482" y="1884"/>
                  </a:lnTo>
                  <a:lnTo>
                    <a:pt x="487" y="1888"/>
                  </a:lnTo>
                  <a:lnTo>
                    <a:pt x="492" y="1890"/>
                  </a:lnTo>
                  <a:lnTo>
                    <a:pt x="499" y="1893"/>
                  </a:lnTo>
                  <a:lnTo>
                    <a:pt x="503" y="1894"/>
                  </a:lnTo>
                  <a:lnTo>
                    <a:pt x="505" y="1895"/>
                  </a:lnTo>
                  <a:lnTo>
                    <a:pt x="509" y="1894"/>
                  </a:lnTo>
                  <a:lnTo>
                    <a:pt x="512" y="1893"/>
                  </a:lnTo>
                  <a:lnTo>
                    <a:pt x="523" y="1878"/>
                  </a:lnTo>
                  <a:lnTo>
                    <a:pt x="535" y="1867"/>
                  </a:lnTo>
                  <a:lnTo>
                    <a:pt x="547" y="1863"/>
                  </a:lnTo>
                  <a:lnTo>
                    <a:pt x="559" y="1855"/>
                  </a:lnTo>
                  <a:lnTo>
                    <a:pt x="564" y="1851"/>
                  </a:lnTo>
                  <a:lnTo>
                    <a:pt x="568" y="1847"/>
                  </a:lnTo>
                  <a:lnTo>
                    <a:pt x="572" y="1843"/>
                  </a:lnTo>
                  <a:lnTo>
                    <a:pt x="572" y="1841"/>
                  </a:lnTo>
                  <a:lnTo>
                    <a:pt x="572" y="1838"/>
                  </a:lnTo>
                  <a:lnTo>
                    <a:pt x="573" y="1835"/>
                  </a:lnTo>
                  <a:lnTo>
                    <a:pt x="576" y="1831"/>
                  </a:lnTo>
                  <a:lnTo>
                    <a:pt x="578" y="1825"/>
                  </a:lnTo>
                  <a:lnTo>
                    <a:pt x="580" y="1817"/>
                  </a:lnTo>
                  <a:lnTo>
                    <a:pt x="581" y="1810"/>
                  </a:lnTo>
                  <a:lnTo>
                    <a:pt x="581" y="1803"/>
                  </a:lnTo>
                  <a:lnTo>
                    <a:pt x="582" y="1797"/>
                  </a:lnTo>
                  <a:lnTo>
                    <a:pt x="584" y="1791"/>
                  </a:lnTo>
                  <a:lnTo>
                    <a:pt x="595" y="1766"/>
                  </a:lnTo>
                  <a:lnTo>
                    <a:pt x="607" y="1749"/>
                  </a:lnTo>
                  <a:lnTo>
                    <a:pt x="619" y="1732"/>
                  </a:lnTo>
                  <a:lnTo>
                    <a:pt x="632" y="1712"/>
                  </a:lnTo>
                  <a:lnTo>
                    <a:pt x="640" y="1701"/>
                  </a:lnTo>
                  <a:lnTo>
                    <a:pt x="650" y="1693"/>
                  </a:lnTo>
                  <a:lnTo>
                    <a:pt x="661" y="1686"/>
                  </a:lnTo>
                  <a:lnTo>
                    <a:pt x="671" y="1680"/>
                  </a:lnTo>
                  <a:lnTo>
                    <a:pt x="682" y="1673"/>
                  </a:lnTo>
                  <a:lnTo>
                    <a:pt x="693" y="1668"/>
                  </a:lnTo>
                  <a:lnTo>
                    <a:pt x="703" y="1660"/>
                  </a:lnTo>
                  <a:lnTo>
                    <a:pt x="712" y="1652"/>
                  </a:lnTo>
                  <a:lnTo>
                    <a:pt x="726" y="1634"/>
                  </a:lnTo>
                  <a:lnTo>
                    <a:pt x="739" y="1616"/>
                  </a:lnTo>
                  <a:lnTo>
                    <a:pt x="744" y="1606"/>
                  </a:lnTo>
                  <a:lnTo>
                    <a:pt x="748" y="1596"/>
                  </a:lnTo>
                  <a:lnTo>
                    <a:pt x="752" y="1587"/>
                  </a:lnTo>
                  <a:lnTo>
                    <a:pt x="755" y="1578"/>
                  </a:lnTo>
                  <a:lnTo>
                    <a:pt x="758" y="1567"/>
                  </a:lnTo>
                  <a:lnTo>
                    <a:pt x="759" y="1557"/>
                  </a:lnTo>
                  <a:lnTo>
                    <a:pt x="759" y="1546"/>
                  </a:lnTo>
                  <a:lnTo>
                    <a:pt x="758" y="1537"/>
                  </a:lnTo>
                  <a:lnTo>
                    <a:pt x="756" y="1527"/>
                  </a:lnTo>
                  <a:lnTo>
                    <a:pt x="752" y="1516"/>
                  </a:lnTo>
                  <a:lnTo>
                    <a:pt x="748" y="1506"/>
                  </a:lnTo>
                  <a:lnTo>
                    <a:pt x="742" y="1495"/>
                  </a:lnTo>
                  <a:lnTo>
                    <a:pt x="739" y="1493"/>
                  </a:lnTo>
                  <a:lnTo>
                    <a:pt x="735" y="1490"/>
                  </a:lnTo>
                  <a:lnTo>
                    <a:pt x="731" y="1489"/>
                  </a:lnTo>
                  <a:lnTo>
                    <a:pt x="725" y="1487"/>
                  </a:lnTo>
                  <a:lnTo>
                    <a:pt x="713" y="1487"/>
                  </a:lnTo>
                  <a:lnTo>
                    <a:pt x="697" y="1489"/>
                  </a:lnTo>
                  <a:lnTo>
                    <a:pt x="683" y="1489"/>
                  </a:lnTo>
                  <a:lnTo>
                    <a:pt x="667" y="1489"/>
                  </a:lnTo>
                  <a:lnTo>
                    <a:pt x="661" y="1487"/>
                  </a:lnTo>
                  <a:lnTo>
                    <a:pt x="654" y="1485"/>
                  </a:lnTo>
                  <a:lnTo>
                    <a:pt x="649" y="1482"/>
                  </a:lnTo>
                  <a:lnTo>
                    <a:pt x="644" y="1478"/>
                  </a:lnTo>
                  <a:lnTo>
                    <a:pt x="642" y="1474"/>
                  </a:lnTo>
                  <a:lnTo>
                    <a:pt x="642" y="1470"/>
                  </a:lnTo>
                  <a:lnTo>
                    <a:pt x="645" y="1464"/>
                  </a:lnTo>
                  <a:lnTo>
                    <a:pt x="649" y="1457"/>
                  </a:lnTo>
                  <a:lnTo>
                    <a:pt x="661" y="1442"/>
                  </a:lnTo>
                  <a:lnTo>
                    <a:pt x="676" y="1426"/>
                  </a:lnTo>
                  <a:lnTo>
                    <a:pt x="693" y="1410"/>
                  </a:lnTo>
                  <a:lnTo>
                    <a:pt x="710" y="1396"/>
                  </a:lnTo>
                  <a:lnTo>
                    <a:pt x="718" y="1391"/>
                  </a:lnTo>
                  <a:lnTo>
                    <a:pt x="725" y="1387"/>
                  </a:lnTo>
                  <a:lnTo>
                    <a:pt x="731" y="1384"/>
                  </a:lnTo>
                  <a:lnTo>
                    <a:pt x="737" y="1384"/>
                  </a:lnTo>
                  <a:lnTo>
                    <a:pt x="738" y="1384"/>
                  </a:lnTo>
                  <a:lnTo>
                    <a:pt x="741" y="1383"/>
                  </a:lnTo>
                  <a:lnTo>
                    <a:pt x="742" y="1379"/>
                  </a:lnTo>
                  <a:lnTo>
                    <a:pt x="742" y="1374"/>
                  </a:lnTo>
                  <a:lnTo>
                    <a:pt x="743" y="1370"/>
                  </a:lnTo>
                  <a:lnTo>
                    <a:pt x="744" y="1364"/>
                  </a:lnTo>
                  <a:lnTo>
                    <a:pt x="744" y="1359"/>
                  </a:lnTo>
                  <a:lnTo>
                    <a:pt x="746" y="1353"/>
                  </a:lnTo>
                  <a:lnTo>
                    <a:pt x="747" y="1346"/>
                  </a:lnTo>
                  <a:lnTo>
                    <a:pt x="750" y="1341"/>
                  </a:lnTo>
                  <a:lnTo>
                    <a:pt x="752" y="1337"/>
                  </a:lnTo>
                  <a:lnTo>
                    <a:pt x="759" y="1329"/>
                  </a:lnTo>
                  <a:lnTo>
                    <a:pt x="765" y="1321"/>
                  </a:lnTo>
                  <a:lnTo>
                    <a:pt x="772" y="1317"/>
                  </a:lnTo>
                  <a:lnTo>
                    <a:pt x="780" y="1313"/>
                  </a:lnTo>
                  <a:lnTo>
                    <a:pt x="792" y="1308"/>
                  </a:lnTo>
                  <a:lnTo>
                    <a:pt x="802" y="1302"/>
                  </a:lnTo>
                  <a:lnTo>
                    <a:pt x="811" y="1296"/>
                  </a:lnTo>
                  <a:lnTo>
                    <a:pt x="818" y="1290"/>
                  </a:lnTo>
                  <a:lnTo>
                    <a:pt x="823" y="1282"/>
                  </a:lnTo>
                  <a:lnTo>
                    <a:pt x="827" y="1275"/>
                  </a:lnTo>
                  <a:lnTo>
                    <a:pt x="830" y="1268"/>
                  </a:lnTo>
                  <a:lnTo>
                    <a:pt x="832" y="1260"/>
                  </a:lnTo>
                  <a:lnTo>
                    <a:pt x="835" y="1252"/>
                  </a:lnTo>
                  <a:lnTo>
                    <a:pt x="839" y="1238"/>
                  </a:lnTo>
                  <a:lnTo>
                    <a:pt x="843" y="1224"/>
                  </a:lnTo>
                  <a:lnTo>
                    <a:pt x="847" y="1219"/>
                  </a:lnTo>
                  <a:lnTo>
                    <a:pt x="850" y="1214"/>
                  </a:lnTo>
                  <a:lnTo>
                    <a:pt x="857" y="1209"/>
                  </a:lnTo>
                  <a:lnTo>
                    <a:pt x="864" y="1206"/>
                  </a:lnTo>
                  <a:lnTo>
                    <a:pt x="865" y="1202"/>
                  </a:lnTo>
                  <a:lnTo>
                    <a:pt x="865" y="1198"/>
                  </a:lnTo>
                  <a:lnTo>
                    <a:pt x="865" y="1196"/>
                  </a:lnTo>
                  <a:lnTo>
                    <a:pt x="861" y="1183"/>
                  </a:lnTo>
                  <a:lnTo>
                    <a:pt x="853" y="1166"/>
                  </a:lnTo>
                  <a:lnTo>
                    <a:pt x="849" y="1155"/>
                  </a:lnTo>
                  <a:lnTo>
                    <a:pt x="845" y="1147"/>
                  </a:lnTo>
                  <a:lnTo>
                    <a:pt x="843" y="1138"/>
                  </a:lnTo>
                  <a:lnTo>
                    <a:pt x="841" y="1130"/>
                  </a:lnTo>
                  <a:lnTo>
                    <a:pt x="841" y="1128"/>
                  </a:lnTo>
                  <a:lnTo>
                    <a:pt x="843" y="1125"/>
                  </a:lnTo>
                  <a:lnTo>
                    <a:pt x="844" y="1122"/>
                  </a:lnTo>
                  <a:lnTo>
                    <a:pt x="847" y="1118"/>
                  </a:lnTo>
                  <a:lnTo>
                    <a:pt x="847" y="1116"/>
                  </a:lnTo>
                  <a:lnTo>
                    <a:pt x="853" y="1096"/>
                  </a:lnTo>
                  <a:lnTo>
                    <a:pt x="861" y="1078"/>
                  </a:lnTo>
                  <a:lnTo>
                    <a:pt x="866" y="1066"/>
                  </a:lnTo>
                  <a:lnTo>
                    <a:pt x="870" y="1056"/>
                  </a:lnTo>
                  <a:lnTo>
                    <a:pt x="871" y="1053"/>
                  </a:lnTo>
                  <a:lnTo>
                    <a:pt x="874" y="1052"/>
                  </a:lnTo>
                  <a:lnTo>
                    <a:pt x="878" y="1052"/>
                  </a:lnTo>
                  <a:lnTo>
                    <a:pt x="882" y="1053"/>
                  </a:lnTo>
                  <a:lnTo>
                    <a:pt x="883" y="1054"/>
                  </a:lnTo>
                  <a:lnTo>
                    <a:pt x="884" y="1056"/>
                  </a:lnTo>
                  <a:lnTo>
                    <a:pt x="901" y="1066"/>
                  </a:lnTo>
                  <a:lnTo>
                    <a:pt x="917" y="1077"/>
                  </a:lnTo>
                  <a:lnTo>
                    <a:pt x="920" y="1078"/>
                  </a:lnTo>
                  <a:lnTo>
                    <a:pt x="922" y="1079"/>
                  </a:lnTo>
                  <a:lnTo>
                    <a:pt x="925" y="1082"/>
                  </a:lnTo>
                  <a:lnTo>
                    <a:pt x="929" y="1084"/>
                  </a:lnTo>
                  <a:lnTo>
                    <a:pt x="937" y="1087"/>
                  </a:lnTo>
                  <a:lnTo>
                    <a:pt x="946" y="1087"/>
                  </a:lnTo>
                  <a:lnTo>
                    <a:pt x="951" y="1082"/>
                  </a:lnTo>
                  <a:lnTo>
                    <a:pt x="956" y="1075"/>
                  </a:lnTo>
                  <a:lnTo>
                    <a:pt x="960" y="1065"/>
                  </a:lnTo>
                  <a:lnTo>
                    <a:pt x="966" y="1054"/>
                  </a:lnTo>
                  <a:lnTo>
                    <a:pt x="967" y="1053"/>
                  </a:lnTo>
                  <a:lnTo>
                    <a:pt x="969" y="1052"/>
                  </a:lnTo>
                  <a:lnTo>
                    <a:pt x="969" y="1050"/>
                  </a:lnTo>
                  <a:lnTo>
                    <a:pt x="971" y="1043"/>
                  </a:lnTo>
                  <a:lnTo>
                    <a:pt x="976" y="1032"/>
                  </a:lnTo>
                  <a:lnTo>
                    <a:pt x="977" y="1028"/>
                  </a:lnTo>
                  <a:lnTo>
                    <a:pt x="979" y="1024"/>
                  </a:lnTo>
                  <a:lnTo>
                    <a:pt x="979" y="1020"/>
                  </a:lnTo>
                  <a:lnTo>
                    <a:pt x="977" y="1020"/>
                  </a:lnTo>
                  <a:lnTo>
                    <a:pt x="976" y="1020"/>
                  </a:lnTo>
                  <a:lnTo>
                    <a:pt x="976" y="1018"/>
                  </a:lnTo>
                  <a:lnTo>
                    <a:pt x="975" y="1018"/>
                  </a:lnTo>
                  <a:lnTo>
                    <a:pt x="971" y="1016"/>
                  </a:lnTo>
                  <a:lnTo>
                    <a:pt x="968" y="1013"/>
                  </a:lnTo>
                  <a:lnTo>
                    <a:pt x="964" y="1010"/>
                  </a:lnTo>
                  <a:lnTo>
                    <a:pt x="956" y="1005"/>
                  </a:lnTo>
                  <a:lnTo>
                    <a:pt x="950" y="999"/>
                  </a:lnTo>
                  <a:lnTo>
                    <a:pt x="949" y="998"/>
                  </a:lnTo>
                  <a:lnTo>
                    <a:pt x="947" y="997"/>
                  </a:lnTo>
                  <a:lnTo>
                    <a:pt x="946" y="992"/>
                  </a:lnTo>
                  <a:lnTo>
                    <a:pt x="946" y="986"/>
                  </a:lnTo>
                  <a:lnTo>
                    <a:pt x="945" y="982"/>
                  </a:lnTo>
                  <a:lnTo>
                    <a:pt x="946" y="977"/>
                  </a:lnTo>
                  <a:lnTo>
                    <a:pt x="949" y="972"/>
                  </a:lnTo>
                  <a:lnTo>
                    <a:pt x="950" y="967"/>
                  </a:lnTo>
                  <a:lnTo>
                    <a:pt x="958" y="948"/>
                  </a:lnTo>
                  <a:lnTo>
                    <a:pt x="964" y="933"/>
                  </a:lnTo>
                  <a:lnTo>
                    <a:pt x="964" y="930"/>
                  </a:lnTo>
                  <a:lnTo>
                    <a:pt x="964" y="924"/>
                  </a:lnTo>
                  <a:lnTo>
                    <a:pt x="964" y="921"/>
                  </a:lnTo>
                  <a:lnTo>
                    <a:pt x="956" y="921"/>
                  </a:lnTo>
                  <a:lnTo>
                    <a:pt x="949" y="922"/>
                  </a:lnTo>
                  <a:lnTo>
                    <a:pt x="942" y="925"/>
                  </a:lnTo>
                  <a:lnTo>
                    <a:pt x="935" y="928"/>
                  </a:lnTo>
                  <a:lnTo>
                    <a:pt x="930" y="930"/>
                  </a:lnTo>
                  <a:lnTo>
                    <a:pt x="926" y="933"/>
                  </a:lnTo>
                  <a:lnTo>
                    <a:pt x="921" y="935"/>
                  </a:lnTo>
                  <a:lnTo>
                    <a:pt x="915" y="935"/>
                  </a:lnTo>
                  <a:lnTo>
                    <a:pt x="911" y="933"/>
                  </a:lnTo>
                  <a:lnTo>
                    <a:pt x="908" y="930"/>
                  </a:lnTo>
                  <a:lnTo>
                    <a:pt x="905" y="926"/>
                  </a:lnTo>
                  <a:lnTo>
                    <a:pt x="904" y="922"/>
                  </a:lnTo>
                  <a:lnTo>
                    <a:pt x="904" y="918"/>
                  </a:lnTo>
                  <a:lnTo>
                    <a:pt x="903" y="914"/>
                  </a:lnTo>
                  <a:lnTo>
                    <a:pt x="904" y="910"/>
                  </a:lnTo>
                  <a:lnTo>
                    <a:pt x="905" y="907"/>
                  </a:lnTo>
                  <a:lnTo>
                    <a:pt x="911" y="895"/>
                  </a:lnTo>
                  <a:lnTo>
                    <a:pt x="916" y="878"/>
                  </a:lnTo>
                  <a:lnTo>
                    <a:pt x="921" y="856"/>
                  </a:lnTo>
                  <a:lnTo>
                    <a:pt x="928" y="832"/>
                  </a:lnTo>
                  <a:lnTo>
                    <a:pt x="934" y="810"/>
                  </a:lnTo>
                  <a:lnTo>
                    <a:pt x="939" y="789"/>
                  </a:lnTo>
                  <a:lnTo>
                    <a:pt x="945" y="774"/>
                  </a:lnTo>
                  <a:lnTo>
                    <a:pt x="949" y="768"/>
                  </a:lnTo>
                  <a:lnTo>
                    <a:pt x="950" y="767"/>
                  </a:lnTo>
                  <a:lnTo>
                    <a:pt x="949" y="764"/>
                  </a:lnTo>
                  <a:lnTo>
                    <a:pt x="947" y="763"/>
                  </a:lnTo>
                  <a:lnTo>
                    <a:pt x="946" y="761"/>
                  </a:lnTo>
                  <a:lnTo>
                    <a:pt x="942" y="759"/>
                  </a:lnTo>
                  <a:lnTo>
                    <a:pt x="939" y="755"/>
                  </a:lnTo>
                  <a:lnTo>
                    <a:pt x="938" y="754"/>
                  </a:lnTo>
                  <a:lnTo>
                    <a:pt x="937" y="752"/>
                  </a:lnTo>
                  <a:lnTo>
                    <a:pt x="935" y="751"/>
                  </a:lnTo>
                  <a:lnTo>
                    <a:pt x="933" y="748"/>
                  </a:lnTo>
                  <a:lnTo>
                    <a:pt x="932" y="747"/>
                  </a:lnTo>
                  <a:lnTo>
                    <a:pt x="930" y="746"/>
                  </a:lnTo>
                  <a:lnTo>
                    <a:pt x="928" y="744"/>
                  </a:lnTo>
                  <a:lnTo>
                    <a:pt x="925" y="743"/>
                  </a:lnTo>
                  <a:lnTo>
                    <a:pt x="922" y="740"/>
                  </a:lnTo>
                  <a:lnTo>
                    <a:pt x="921" y="738"/>
                  </a:lnTo>
                  <a:lnTo>
                    <a:pt x="920" y="737"/>
                  </a:lnTo>
                  <a:lnTo>
                    <a:pt x="920" y="735"/>
                  </a:lnTo>
                  <a:lnTo>
                    <a:pt x="918" y="734"/>
                  </a:lnTo>
                  <a:lnTo>
                    <a:pt x="918" y="733"/>
                  </a:lnTo>
                  <a:lnTo>
                    <a:pt x="916" y="731"/>
                  </a:lnTo>
                  <a:lnTo>
                    <a:pt x="915" y="730"/>
                  </a:lnTo>
                  <a:lnTo>
                    <a:pt x="915" y="730"/>
                  </a:lnTo>
                  <a:lnTo>
                    <a:pt x="913" y="729"/>
                  </a:lnTo>
                  <a:lnTo>
                    <a:pt x="912" y="726"/>
                  </a:lnTo>
                  <a:lnTo>
                    <a:pt x="911" y="723"/>
                  </a:lnTo>
                  <a:lnTo>
                    <a:pt x="909" y="722"/>
                  </a:lnTo>
                  <a:lnTo>
                    <a:pt x="907" y="721"/>
                  </a:lnTo>
                  <a:lnTo>
                    <a:pt x="905" y="720"/>
                  </a:lnTo>
                  <a:lnTo>
                    <a:pt x="904" y="718"/>
                  </a:lnTo>
                  <a:lnTo>
                    <a:pt x="903" y="716"/>
                  </a:lnTo>
                  <a:lnTo>
                    <a:pt x="900" y="712"/>
                  </a:lnTo>
                  <a:lnTo>
                    <a:pt x="900" y="712"/>
                  </a:lnTo>
                  <a:lnTo>
                    <a:pt x="899" y="712"/>
                  </a:lnTo>
                  <a:lnTo>
                    <a:pt x="898" y="710"/>
                  </a:lnTo>
                  <a:lnTo>
                    <a:pt x="896" y="709"/>
                  </a:lnTo>
                  <a:lnTo>
                    <a:pt x="896" y="708"/>
                  </a:lnTo>
                  <a:lnTo>
                    <a:pt x="895" y="706"/>
                  </a:lnTo>
                  <a:lnTo>
                    <a:pt x="895" y="706"/>
                  </a:lnTo>
                  <a:lnTo>
                    <a:pt x="894" y="705"/>
                  </a:lnTo>
                  <a:lnTo>
                    <a:pt x="891" y="704"/>
                  </a:lnTo>
                  <a:lnTo>
                    <a:pt x="886" y="704"/>
                  </a:lnTo>
                  <a:lnTo>
                    <a:pt x="884" y="704"/>
                  </a:lnTo>
                  <a:lnTo>
                    <a:pt x="883" y="705"/>
                  </a:lnTo>
                  <a:lnTo>
                    <a:pt x="882" y="706"/>
                  </a:lnTo>
                  <a:lnTo>
                    <a:pt x="878" y="712"/>
                  </a:lnTo>
                  <a:lnTo>
                    <a:pt x="874" y="717"/>
                  </a:lnTo>
                  <a:lnTo>
                    <a:pt x="870" y="721"/>
                  </a:lnTo>
                  <a:lnTo>
                    <a:pt x="865" y="726"/>
                  </a:lnTo>
                  <a:lnTo>
                    <a:pt x="865" y="727"/>
                  </a:lnTo>
                  <a:lnTo>
                    <a:pt x="864" y="729"/>
                  </a:lnTo>
                  <a:lnTo>
                    <a:pt x="860" y="731"/>
                  </a:lnTo>
                  <a:lnTo>
                    <a:pt x="856" y="734"/>
                  </a:lnTo>
                  <a:lnTo>
                    <a:pt x="853" y="735"/>
                  </a:lnTo>
                  <a:lnTo>
                    <a:pt x="852" y="738"/>
                  </a:lnTo>
                  <a:lnTo>
                    <a:pt x="850" y="739"/>
                  </a:lnTo>
                  <a:lnTo>
                    <a:pt x="849" y="740"/>
                  </a:lnTo>
                  <a:lnTo>
                    <a:pt x="847" y="743"/>
                  </a:lnTo>
                  <a:lnTo>
                    <a:pt x="844" y="746"/>
                  </a:lnTo>
                  <a:lnTo>
                    <a:pt x="844" y="748"/>
                  </a:lnTo>
                  <a:lnTo>
                    <a:pt x="843" y="751"/>
                  </a:lnTo>
                  <a:lnTo>
                    <a:pt x="841" y="752"/>
                  </a:lnTo>
                  <a:lnTo>
                    <a:pt x="840" y="755"/>
                  </a:lnTo>
                  <a:lnTo>
                    <a:pt x="839" y="756"/>
                  </a:lnTo>
                  <a:lnTo>
                    <a:pt x="839" y="759"/>
                  </a:lnTo>
                  <a:lnTo>
                    <a:pt x="836" y="765"/>
                  </a:lnTo>
                  <a:lnTo>
                    <a:pt x="832" y="769"/>
                  </a:lnTo>
                  <a:lnTo>
                    <a:pt x="831" y="771"/>
                  </a:lnTo>
                  <a:lnTo>
                    <a:pt x="830" y="771"/>
                  </a:lnTo>
                  <a:lnTo>
                    <a:pt x="827" y="772"/>
                  </a:lnTo>
                  <a:lnTo>
                    <a:pt x="826" y="773"/>
                  </a:lnTo>
                  <a:lnTo>
                    <a:pt x="824" y="773"/>
                  </a:lnTo>
                  <a:lnTo>
                    <a:pt x="823" y="772"/>
                  </a:lnTo>
                  <a:lnTo>
                    <a:pt x="822" y="772"/>
                  </a:lnTo>
                  <a:lnTo>
                    <a:pt x="820" y="771"/>
                  </a:lnTo>
                  <a:lnTo>
                    <a:pt x="819" y="771"/>
                  </a:lnTo>
                  <a:lnTo>
                    <a:pt x="819" y="771"/>
                  </a:lnTo>
                  <a:lnTo>
                    <a:pt x="818" y="769"/>
                  </a:lnTo>
                  <a:lnTo>
                    <a:pt x="816" y="768"/>
                  </a:lnTo>
                  <a:lnTo>
                    <a:pt x="815" y="767"/>
                  </a:lnTo>
                  <a:lnTo>
                    <a:pt x="814" y="765"/>
                  </a:lnTo>
                  <a:lnTo>
                    <a:pt x="813" y="764"/>
                  </a:lnTo>
                  <a:lnTo>
                    <a:pt x="811" y="761"/>
                  </a:lnTo>
                  <a:lnTo>
                    <a:pt x="809" y="759"/>
                  </a:lnTo>
                  <a:lnTo>
                    <a:pt x="807" y="757"/>
                  </a:lnTo>
                  <a:lnTo>
                    <a:pt x="807" y="756"/>
                  </a:lnTo>
                  <a:lnTo>
                    <a:pt x="803" y="752"/>
                  </a:lnTo>
                  <a:lnTo>
                    <a:pt x="799" y="748"/>
                  </a:lnTo>
                  <a:lnTo>
                    <a:pt x="798" y="746"/>
                  </a:lnTo>
                  <a:lnTo>
                    <a:pt x="797" y="744"/>
                  </a:lnTo>
                  <a:lnTo>
                    <a:pt x="796" y="743"/>
                  </a:lnTo>
                  <a:lnTo>
                    <a:pt x="794" y="742"/>
                  </a:lnTo>
                  <a:lnTo>
                    <a:pt x="792" y="739"/>
                  </a:lnTo>
                  <a:lnTo>
                    <a:pt x="790" y="738"/>
                  </a:lnTo>
                  <a:lnTo>
                    <a:pt x="789" y="735"/>
                  </a:lnTo>
                  <a:lnTo>
                    <a:pt x="789" y="734"/>
                  </a:lnTo>
                  <a:lnTo>
                    <a:pt x="788" y="733"/>
                  </a:lnTo>
                  <a:lnTo>
                    <a:pt x="786" y="731"/>
                  </a:lnTo>
                  <a:lnTo>
                    <a:pt x="785" y="730"/>
                  </a:lnTo>
                  <a:lnTo>
                    <a:pt x="784" y="730"/>
                  </a:lnTo>
                  <a:lnTo>
                    <a:pt x="782" y="729"/>
                  </a:lnTo>
                  <a:lnTo>
                    <a:pt x="781" y="727"/>
                  </a:lnTo>
                  <a:lnTo>
                    <a:pt x="780" y="725"/>
                  </a:lnTo>
                  <a:lnTo>
                    <a:pt x="779" y="723"/>
                  </a:lnTo>
                  <a:lnTo>
                    <a:pt x="777" y="722"/>
                  </a:lnTo>
                  <a:lnTo>
                    <a:pt x="777" y="721"/>
                  </a:lnTo>
                  <a:lnTo>
                    <a:pt x="771" y="714"/>
                  </a:lnTo>
                  <a:lnTo>
                    <a:pt x="765" y="706"/>
                  </a:lnTo>
                  <a:lnTo>
                    <a:pt x="764" y="703"/>
                  </a:lnTo>
                  <a:lnTo>
                    <a:pt x="763" y="700"/>
                  </a:lnTo>
                  <a:lnTo>
                    <a:pt x="761" y="699"/>
                  </a:lnTo>
                  <a:lnTo>
                    <a:pt x="760" y="697"/>
                  </a:lnTo>
                  <a:lnTo>
                    <a:pt x="756" y="692"/>
                  </a:lnTo>
                  <a:lnTo>
                    <a:pt x="754" y="686"/>
                  </a:lnTo>
                  <a:lnTo>
                    <a:pt x="752" y="684"/>
                  </a:lnTo>
                  <a:lnTo>
                    <a:pt x="750" y="682"/>
                  </a:lnTo>
                  <a:lnTo>
                    <a:pt x="750" y="680"/>
                  </a:lnTo>
                  <a:lnTo>
                    <a:pt x="743" y="678"/>
                  </a:lnTo>
                  <a:lnTo>
                    <a:pt x="738" y="674"/>
                  </a:lnTo>
                  <a:lnTo>
                    <a:pt x="734" y="671"/>
                  </a:lnTo>
                  <a:lnTo>
                    <a:pt x="730" y="669"/>
                  </a:lnTo>
                  <a:lnTo>
                    <a:pt x="729" y="669"/>
                  </a:lnTo>
                  <a:lnTo>
                    <a:pt x="727" y="667"/>
                  </a:lnTo>
                  <a:lnTo>
                    <a:pt x="726" y="666"/>
                  </a:lnTo>
                  <a:lnTo>
                    <a:pt x="724" y="663"/>
                  </a:lnTo>
                  <a:lnTo>
                    <a:pt x="724" y="663"/>
                  </a:lnTo>
                  <a:lnTo>
                    <a:pt x="722" y="662"/>
                  </a:lnTo>
                  <a:lnTo>
                    <a:pt x="722" y="658"/>
                  </a:lnTo>
                  <a:lnTo>
                    <a:pt x="722" y="654"/>
                  </a:lnTo>
                  <a:lnTo>
                    <a:pt x="722" y="651"/>
                  </a:lnTo>
                  <a:lnTo>
                    <a:pt x="724" y="648"/>
                  </a:lnTo>
                  <a:lnTo>
                    <a:pt x="725" y="644"/>
                  </a:lnTo>
                  <a:lnTo>
                    <a:pt x="726" y="642"/>
                  </a:lnTo>
                  <a:lnTo>
                    <a:pt x="727" y="641"/>
                  </a:lnTo>
                  <a:lnTo>
                    <a:pt x="727" y="638"/>
                  </a:lnTo>
                  <a:lnTo>
                    <a:pt x="729" y="634"/>
                  </a:lnTo>
                  <a:lnTo>
                    <a:pt x="730" y="633"/>
                  </a:lnTo>
                  <a:lnTo>
                    <a:pt x="729" y="631"/>
                  </a:lnTo>
                  <a:lnTo>
                    <a:pt x="725" y="625"/>
                  </a:lnTo>
                  <a:lnTo>
                    <a:pt x="704" y="599"/>
                  </a:lnTo>
                  <a:lnTo>
                    <a:pt x="714" y="589"/>
                  </a:lnTo>
                  <a:lnTo>
                    <a:pt x="725" y="578"/>
                  </a:lnTo>
                  <a:lnTo>
                    <a:pt x="733" y="573"/>
                  </a:lnTo>
                  <a:lnTo>
                    <a:pt x="747" y="564"/>
                  </a:lnTo>
                  <a:lnTo>
                    <a:pt x="761" y="553"/>
                  </a:lnTo>
                  <a:lnTo>
                    <a:pt x="769" y="548"/>
                  </a:lnTo>
                  <a:lnTo>
                    <a:pt x="780" y="539"/>
                  </a:lnTo>
                  <a:lnTo>
                    <a:pt x="794" y="530"/>
                  </a:lnTo>
                  <a:lnTo>
                    <a:pt x="801" y="525"/>
                  </a:lnTo>
                  <a:lnTo>
                    <a:pt x="806" y="519"/>
                  </a:lnTo>
                  <a:lnTo>
                    <a:pt x="810" y="514"/>
                  </a:lnTo>
                  <a:lnTo>
                    <a:pt x="811" y="509"/>
                  </a:lnTo>
                  <a:lnTo>
                    <a:pt x="811" y="508"/>
                  </a:lnTo>
                  <a:lnTo>
                    <a:pt x="814" y="502"/>
                  </a:lnTo>
                  <a:lnTo>
                    <a:pt x="816" y="497"/>
                  </a:lnTo>
                  <a:lnTo>
                    <a:pt x="816" y="488"/>
                  </a:lnTo>
                  <a:lnTo>
                    <a:pt x="815" y="478"/>
                  </a:lnTo>
                  <a:lnTo>
                    <a:pt x="814" y="472"/>
                  </a:lnTo>
                  <a:lnTo>
                    <a:pt x="815" y="470"/>
                  </a:lnTo>
                  <a:lnTo>
                    <a:pt x="816" y="467"/>
                  </a:lnTo>
                  <a:lnTo>
                    <a:pt x="819" y="466"/>
                  </a:lnTo>
                  <a:lnTo>
                    <a:pt x="822" y="466"/>
                  </a:lnTo>
                  <a:lnTo>
                    <a:pt x="826" y="466"/>
                  </a:lnTo>
                  <a:lnTo>
                    <a:pt x="830" y="467"/>
                  </a:lnTo>
                  <a:lnTo>
                    <a:pt x="835" y="468"/>
                  </a:lnTo>
                  <a:lnTo>
                    <a:pt x="840" y="471"/>
                  </a:lnTo>
                  <a:lnTo>
                    <a:pt x="844" y="472"/>
                  </a:lnTo>
                  <a:lnTo>
                    <a:pt x="848" y="471"/>
                  </a:lnTo>
                  <a:lnTo>
                    <a:pt x="881" y="501"/>
                  </a:lnTo>
                  <a:lnTo>
                    <a:pt x="888" y="508"/>
                  </a:lnTo>
                  <a:lnTo>
                    <a:pt x="895" y="510"/>
                  </a:lnTo>
                  <a:lnTo>
                    <a:pt x="900" y="509"/>
                  </a:lnTo>
                  <a:lnTo>
                    <a:pt x="907" y="505"/>
                  </a:lnTo>
                  <a:lnTo>
                    <a:pt x="912" y="502"/>
                  </a:lnTo>
                  <a:lnTo>
                    <a:pt x="917" y="501"/>
                  </a:lnTo>
                  <a:lnTo>
                    <a:pt x="924" y="501"/>
                  </a:lnTo>
                  <a:lnTo>
                    <a:pt x="930" y="501"/>
                  </a:lnTo>
                  <a:lnTo>
                    <a:pt x="941" y="504"/>
                  </a:lnTo>
                  <a:lnTo>
                    <a:pt x="947" y="505"/>
                  </a:lnTo>
                  <a:lnTo>
                    <a:pt x="951" y="509"/>
                  </a:lnTo>
                  <a:lnTo>
                    <a:pt x="954" y="513"/>
                  </a:lnTo>
                  <a:lnTo>
                    <a:pt x="955" y="518"/>
                  </a:lnTo>
                  <a:lnTo>
                    <a:pt x="955" y="525"/>
                  </a:lnTo>
                  <a:lnTo>
                    <a:pt x="954" y="527"/>
                  </a:lnTo>
                  <a:lnTo>
                    <a:pt x="952" y="529"/>
                  </a:lnTo>
                  <a:lnTo>
                    <a:pt x="949" y="538"/>
                  </a:lnTo>
                  <a:lnTo>
                    <a:pt x="942" y="549"/>
                  </a:lnTo>
                  <a:lnTo>
                    <a:pt x="939" y="556"/>
                  </a:lnTo>
                  <a:lnTo>
                    <a:pt x="938" y="561"/>
                  </a:lnTo>
                  <a:lnTo>
                    <a:pt x="937" y="566"/>
                  </a:lnTo>
                  <a:lnTo>
                    <a:pt x="938" y="569"/>
                  </a:lnTo>
                  <a:lnTo>
                    <a:pt x="942" y="576"/>
                  </a:lnTo>
                  <a:lnTo>
                    <a:pt x="943" y="583"/>
                  </a:lnTo>
                  <a:lnTo>
                    <a:pt x="945" y="585"/>
                  </a:lnTo>
                  <a:lnTo>
                    <a:pt x="946" y="585"/>
                  </a:lnTo>
                  <a:lnTo>
                    <a:pt x="946" y="586"/>
                  </a:lnTo>
                  <a:lnTo>
                    <a:pt x="955" y="597"/>
                  </a:lnTo>
                  <a:lnTo>
                    <a:pt x="964" y="607"/>
                  </a:lnTo>
                  <a:lnTo>
                    <a:pt x="964" y="610"/>
                  </a:lnTo>
                  <a:lnTo>
                    <a:pt x="966" y="612"/>
                  </a:lnTo>
                  <a:lnTo>
                    <a:pt x="967" y="615"/>
                  </a:lnTo>
                  <a:lnTo>
                    <a:pt x="969" y="619"/>
                  </a:lnTo>
                  <a:lnTo>
                    <a:pt x="972" y="623"/>
                  </a:lnTo>
                  <a:lnTo>
                    <a:pt x="980" y="629"/>
                  </a:lnTo>
                  <a:lnTo>
                    <a:pt x="988" y="636"/>
                  </a:lnTo>
                  <a:lnTo>
                    <a:pt x="1007" y="649"/>
                  </a:lnTo>
                  <a:lnTo>
                    <a:pt x="1020" y="659"/>
                  </a:lnTo>
                  <a:lnTo>
                    <a:pt x="1047" y="688"/>
                  </a:lnTo>
                  <a:lnTo>
                    <a:pt x="1048" y="689"/>
                  </a:lnTo>
                  <a:lnTo>
                    <a:pt x="1047" y="692"/>
                  </a:lnTo>
                  <a:lnTo>
                    <a:pt x="1045" y="692"/>
                  </a:lnTo>
                  <a:lnTo>
                    <a:pt x="1044" y="693"/>
                  </a:lnTo>
                  <a:lnTo>
                    <a:pt x="1044" y="695"/>
                  </a:lnTo>
                  <a:lnTo>
                    <a:pt x="1034" y="708"/>
                  </a:lnTo>
                  <a:lnTo>
                    <a:pt x="1020" y="720"/>
                  </a:lnTo>
                  <a:lnTo>
                    <a:pt x="1019" y="720"/>
                  </a:lnTo>
                  <a:lnTo>
                    <a:pt x="1018" y="722"/>
                  </a:lnTo>
                  <a:lnTo>
                    <a:pt x="1017" y="723"/>
                  </a:lnTo>
                  <a:lnTo>
                    <a:pt x="1014" y="723"/>
                  </a:lnTo>
                  <a:lnTo>
                    <a:pt x="1006" y="730"/>
                  </a:lnTo>
                  <a:lnTo>
                    <a:pt x="997" y="735"/>
                  </a:lnTo>
                  <a:lnTo>
                    <a:pt x="996" y="735"/>
                  </a:lnTo>
                  <a:lnTo>
                    <a:pt x="1003" y="740"/>
                  </a:lnTo>
                  <a:lnTo>
                    <a:pt x="1011" y="748"/>
                  </a:lnTo>
                  <a:lnTo>
                    <a:pt x="1011" y="750"/>
                  </a:lnTo>
                  <a:lnTo>
                    <a:pt x="1014" y="755"/>
                  </a:lnTo>
                  <a:lnTo>
                    <a:pt x="1018" y="757"/>
                  </a:lnTo>
                  <a:lnTo>
                    <a:pt x="1023" y="757"/>
                  </a:lnTo>
                  <a:lnTo>
                    <a:pt x="1024" y="759"/>
                  </a:lnTo>
                  <a:lnTo>
                    <a:pt x="1026" y="760"/>
                  </a:lnTo>
                  <a:lnTo>
                    <a:pt x="1031" y="760"/>
                  </a:lnTo>
                  <a:lnTo>
                    <a:pt x="1037" y="759"/>
                  </a:lnTo>
                  <a:lnTo>
                    <a:pt x="1053" y="759"/>
                  </a:lnTo>
                  <a:lnTo>
                    <a:pt x="1073" y="756"/>
                  </a:lnTo>
                  <a:lnTo>
                    <a:pt x="1083" y="755"/>
                  </a:lnTo>
                  <a:lnTo>
                    <a:pt x="1092" y="754"/>
                  </a:lnTo>
                  <a:lnTo>
                    <a:pt x="1103" y="755"/>
                  </a:lnTo>
                  <a:lnTo>
                    <a:pt x="1112" y="756"/>
                  </a:lnTo>
                  <a:lnTo>
                    <a:pt x="1121" y="760"/>
                  </a:lnTo>
                  <a:lnTo>
                    <a:pt x="1132" y="765"/>
                  </a:lnTo>
                  <a:lnTo>
                    <a:pt x="1140" y="772"/>
                  </a:lnTo>
                  <a:lnTo>
                    <a:pt x="1146" y="781"/>
                  </a:lnTo>
                  <a:lnTo>
                    <a:pt x="1149" y="784"/>
                  </a:lnTo>
                  <a:lnTo>
                    <a:pt x="1149" y="788"/>
                  </a:lnTo>
                  <a:lnTo>
                    <a:pt x="1149" y="791"/>
                  </a:lnTo>
                  <a:lnTo>
                    <a:pt x="1147" y="795"/>
                  </a:lnTo>
                  <a:lnTo>
                    <a:pt x="1140" y="803"/>
                  </a:lnTo>
                  <a:lnTo>
                    <a:pt x="1132" y="811"/>
                  </a:lnTo>
                  <a:lnTo>
                    <a:pt x="1132" y="818"/>
                  </a:lnTo>
                  <a:lnTo>
                    <a:pt x="1133" y="823"/>
                  </a:lnTo>
                  <a:lnTo>
                    <a:pt x="1134" y="828"/>
                  </a:lnTo>
                  <a:lnTo>
                    <a:pt x="1137" y="833"/>
                  </a:lnTo>
                  <a:lnTo>
                    <a:pt x="1142" y="842"/>
                  </a:lnTo>
                  <a:lnTo>
                    <a:pt x="1146" y="850"/>
                  </a:lnTo>
                  <a:lnTo>
                    <a:pt x="1147" y="858"/>
                  </a:lnTo>
                  <a:lnTo>
                    <a:pt x="1146" y="867"/>
                  </a:lnTo>
                  <a:lnTo>
                    <a:pt x="1142" y="875"/>
                  </a:lnTo>
                  <a:lnTo>
                    <a:pt x="1138" y="882"/>
                  </a:lnTo>
                  <a:lnTo>
                    <a:pt x="1134" y="890"/>
                  </a:lnTo>
                  <a:lnTo>
                    <a:pt x="1130" y="897"/>
                  </a:lnTo>
                  <a:lnTo>
                    <a:pt x="1128" y="905"/>
                  </a:lnTo>
                  <a:lnTo>
                    <a:pt x="1125" y="912"/>
                  </a:lnTo>
                  <a:lnTo>
                    <a:pt x="1126" y="917"/>
                  </a:lnTo>
                  <a:lnTo>
                    <a:pt x="1128" y="922"/>
                  </a:lnTo>
                  <a:lnTo>
                    <a:pt x="1132" y="929"/>
                  </a:lnTo>
                  <a:lnTo>
                    <a:pt x="1137" y="934"/>
                  </a:lnTo>
                  <a:lnTo>
                    <a:pt x="1145" y="945"/>
                  </a:lnTo>
                  <a:lnTo>
                    <a:pt x="1151" y="954"/>
                  </a:lnTo>
                  <a:lnTo>
                    <a:pt x="1153" y="958"/>
                  </a:lnTo>
                  <a:lnTo>
                    <a:pt x="1155" y="959"/>
                  </a:lnTo>
                  <a:lnTo>
                    <a:pt x="1158" y="958"/>
                  </a:lnTo>
                  <a:lnTo>
                    <a:pt x="1162" y="955"/>
                  </a:lnTo>
                  <a:lnTo>
                    <a:pt x="1171" y="946"/>
                  </a:lnTo>
                  <a:lnTo>
                    <a:pt x="1181" y="934"/>
                  </a:lnTo>
                  <a:lnTo>
                    <a:pt x="1200" y="905"/>
                  </a:lnTo>
                  <a:lnTo>
                    <a:pt x="1210" y="887"/>
                  </a:lnTo>
                  <a:lnTo>
                    <a:pt x="1215" y="879"/>
                  </a:lnTo>
                  <a:lnTo>
                    <a:pt x="1222" y="870"/>
                  </a:lnTo>
                  <a:lnTo>
                    <a:pt x="1228" y="863"/>
                  </a:lnTo>
                  <a:lnTo>
                    <a:pt x="1236" y="857"/>
                  </a:lnTo>
                  <a:lnTo>
                    <a:pt x="1252" y="845"/>
                  </a:lnTo>
                  <a:lnTo>
                    <a:pt x="1269" y="832"/>
                  </a:lnTo>
                  <a:lnTo>
                    <a:pt x="1277" y="824"/>
                  </a:lnTo>
                  <a:lnTo>
                    <a:pt x="1283" y="819"/>
                  </a:lnTo>
                  <a:lnTo>
                    <a:pt x="1285" y="814"/>
                  </a:lnTo>
                  <a:lnTo>
                    <a:pt x="1285" y="810"/>
                  </a:lnTo>
                  <a:lnTo>
                    <a:pt x="1278" y="802"/>
                  </a:lnTo>
                  <a:lnTo>
                    <a:pt x="1264" y="790"/>
                  </a:lnTo>
                  <a:lnTo>
                    <a:pt x="1260" y="786"/>
                  </a:lnTo>
                  <a:lnTo>
                    <a:pt x="1257" y="782"/>
                  </a:lnTo>
                  <a:lnTo>
                    <a:pt x="1256" y="778"/>
                  </a:lnTo>
                  <a:lnTo>
                    <a:pt x="1255" y="773"/>
                  </a:lnTo>
                  <a:lnTo>
                    <a:pt x="1257" y="765"/>
                  </a:lnTo>
                  <a:lnTo>
                    <a:pt x="1262" y="756"/>
                  </a:lnTo>
                  <a:lnTo>
                    <a:pt x="1274" y="740"/>
                  </a:lnTo>
                  <a:lnTo>
                    <a:pt x="1285" y="726"/>
                  </a:lnTo>
                  <a:lnTo>
                    <a:pt x="1295" y="709"/>
                  </a:lnTo>
                  <a:lnTo>
                    <a:pt x="1303" y="699"/>
                  </a:lnTo>
                  <a:lnTo>
                    <a:pt x="1306" y="695"/>
                  </a:lnTo>
                  <a:lnTo>
                    <a:pt x="1307" y="687"/>
                  </a:lnTo>
                  <a:lnTo>
                    <a:pt x="1308" y="678"/>
                  </a:lnTo>
                  <a:lnTo>
                    <a:pt x="1308" y="665"/>
                  </a:lnTo>
                  <a:lnTo>
                    <a:pt x="1307" y="661"/>
                  </a:lnTo>
                  <a:lnTo>
                    <a:pt x="1306" y="655"/>
                  </a:lnTo>
                  <a:lnTo>
                    <a:pt x="1306" y="653"/>
                  </a:lnTo>
                  <a:lnTo>
                    <a:pt x="1307" y="654"/>
                  </a:lnTo>
                  <a:lnTo>
                    <a:pt x="1308" y="654"/>
                  </a:lnTo>
                  <a:lnTo>
                    <a:pt x="1310" y="653"/>
                  </a:lnTo>
                  <a:lnTo>
                    <a:pt x="1311" y="651"/>
                  </a:lnTo>
                  <a:lnTo>
                    <a:pt x="1313" y="650"/>
                  </a:lnTo>
                  <a:lnTo>
                    <a:pt x="1315" y="650"/>
                  </a:lnTo>
                  <a:lnTo>
                    <a:pt x="1316" y="650"/>
                  </a:lnTo>
                  <a:lnTo>
                    <a:pt x="1319" y="651"/>
                  </a:lnTo>
                  <a:lnTo>
                    <a:pt x="1347" y="657"/>
                  </a:lnTo>
                  <a:lnTo>
                    <a:pt x="1349" y="675"/>
                  </a:lnTo>
                  <a:lnTo>
                    <a:pt x="1349" y="680"/>
                  </a:lnTo>
                  <a:lnTo>
                    <a:pt x="1351" y="682"/>
                  </a:lnTo>
                  <a:lnTo>
                    <a:pt x="1354" y="682"/>
                  </a:lnTo>
                  <a:lnTo>
                    <a:pt x="1357" y="682"/>
                  </a:lnTo>
                  <a:lnTo>
                    <a:pt x="1362" y="683"/>
                  </a:lnTo>
                  <a:lnTo>
                    <a:pt x="1367" y="683"/>
                  </a:lnTo>
                  <a:lnTo>
                    <a:pt x="1374" y="676"/>
                  </a:lnTo>
                  <a:lnTo>
                    <a:pt x="1381" y="669"/>
                  </a:lnTo>
                  <a:lnTo>
                    <a:pt x="1384" y="665"/>
                  </a:lnTo>
                  <a:lnTo>
                    <a:pt x="1387" y="662"/>
                  </a:lnTo>
                  <a:lnTo>
                    <a:pt x="1389" y="662"/>
                  </a:lnTo>
                  <a:lnTo>
                    <a:pt x="1396" y="658"/>
                  </a:lnTo>
                  <a:lnTo>
                    <a:pt x="1402" y="651"/>
                  </a:lnTo>
                  <a:lnTo>
                    <a:pt x="1402" y="650"/>
                  </a:lnTo>
                  <a:lnTo>
                    <a:pt x="1404" y="648"/>
                  </a:lnTo>
                  <a:lnTo>
                    <a:pt x="1406" y="645"/>
                  </a:lnTo>
                  <a:lnTo>
                    <a:pt x="1410" y="642"/>
                  </a:lnTo>
                  <a:lnTo>
                    <a:pt x="1413" y="641"/>
                  </a:lnTo>
                  <a:lnTo>
                    <a:pt x="1414" y="640"/>
                  </a:lnTo>
                  <a:lnTo>
                    <a:pt x="1414" y="637"/>
                  </a:lnTo>
                  <a:lnTo>
                    <a:pt x="1415" y="633"/>
                  </a:lnTo>
                  <a:lnTo>
                    <a:pt x="1415" y="629"/>
                  </a:lnTo>
                  <a:lnTo>
                    <a:pt x="1413" y="624"/>
                  </a:lnTo>
                  <a:lnTo>
                    <a:pt x="1409" y="617"/>
                  </a:lnTo>
                  <a:lnTo>
                    <a:pt x="1406" y="616"/>
                  </a:lnTo>
                  <a:lnTo>
                    <a:pt x="1404" y="616"/>
                  </a:lnTo>
                  <a:lnTo>
                    <a:pt x="1401" y="615"/>
                  </a:lnTo>
                  <a:lnTo>
                    <a:pt x="1398" y="615"/>
                  </a:lnTo>
                  <a:lnTo>
                    <a:pt x="1396" y="615"/>
                  </a:lnTo>
                  <a:lnTo>
                    <a:pt x="1392" y="614"/>
                  </a:lnTo>
                  <a:lnTo>
                    <a:pt x="1388" y="612"/>
                  </a:lnTo>
                  <a:lnTo>
                    <a:pt x="1383" y="612"/>
                  </a:lnTo>
                  <a:close/>
                  <a:moveTo>
                    <a:pt x="70" y="1160"/>
                  </a:moveTo>
                  <a:lnTo>
                    <a:pt x="80" y="1151"/>
                  </a:lnTo>
                  <a:lnTo>
                    <a:pt x="88" y="1139"/>
                  </a:lnTo>
                  <a:lnTo>
                    <a:pt x="96" y="1129"/>
                  </a:lnTo>
                  <a:lnTo>
                    <a:pt x="104" y="1117"/>
                  </a:lnTo>
                  <a:lnTo>
                    <a:pt x="111" y="1107"/>
                  </a:lnTo>
                  <a:lnTo>
                    <a:pt x="119" y="1096"/>
                  </a:lnTo>
                  <a:lnTo>
                    <a:pt x="128" y="1086"/>
                  </a:lnTo>
                  <a:lnTo>
                    <a:pt x="139" y="1075"/>
                  </a:lnTo>
                  <a:lnTo>
                    <a:pt x="148" y="1069"/>
                  </a:lnTo>
                  <a:lnTo>
                    <a:pt x="151" y="1069"/>
                  </a:lnTo>
                  <a:lnTo>
                    <a:pt x="152" y="1067"/>
                  </a:lnTo>
                  <a:lnTo>
                    <a:pt x="153" y="1066"/>
                  </a:lnTo>
                  <a:lnTo>
                    <a:pt x="156" y="1064"/>
                  </a:lnTo>
                  <a:lnTo>
                    <a:pt x="160" y="1061"/>
                  </a:lnTo>
                  <a:lnTo>
                    <a:pt x="164" y="1057"/>
                  </a:lnTo>
                  <a:lnTo>
                    <a:pt x="169" y="1054"/>
                  </a:lnTo>
                  <a:lnTo>
                    <a:pt x="170" y="1053"/>
                  </a:lnTo>
                  <a:lnTo>
                    <a:pt x="172" y="1053"/>
                  </a:lnTo>
                  <a:lnTo>
                    <a:pt x="172" y="1052"/>
                  </a:lnTo>
                  <a:lnTo>
                    <a:pt x="173" y="1052"/>
                  </a:lnTo>
                  <a:lnTo>
                    <a:pt x="174" y="1052"/>
                  </a:lnTo>
                  <a:lnTo>
                    <a:pt x="177" y="1050"/>
                  </a:lnTo>
                  <a:lnTo>
                    <a:pt x="179" y="1048"/>
                  </a:lnTo>
                  <a:lnTo>
                    <a:pt x="182" y="1043"/>
                  </a:lnTo>
                  <a:lnTo>
                    <a:pt x="187" y="1039"/>
                  </a:lnTo>
                  <a:lnTo>
                    <a:pt x="193" y="1035"/>
                  </a:lnTo>
                  <a:lnTo>
                    <a:pt x="196" y="1032"/>
                  </a:lnTo>
                  <a:lnTo>
                    <a:pt x="198" y="1032"/>
                  </a:lnTo>
                  <a:lnTo>
                    <a:pt x="203" y="1031"/>
                  </a:lnTo>
                  <a:lnTo>
                    <a:pt x="208" y="1026"/>
                  </a:lnTo>
                  <a:lnTo>
                    <a:pt x="212" y="1019"/>
                  </a:lnTo>
                  <a:lnTo>
                    <a:pt x="216" y="1014"/>
                  </a:lnTo>
                  <a:lnTo>
                    <a:pt x="219" y="1010"/>
                  </a:lnTo>
                  <a:lnTo>
                    <a:pt x="221" y="1006"/>
                  </a:lnTo>
                  <a:lnTo>
                    <a:pt x="241" y="986"/>
                  </a:lnTo>
                  <a:lnTo>
                    <a:pt x="242" y="986"/>
                  </a:lnTo>
                  <a:lnTo>
                    <a:pt x="244" y="985"/>
                  </a:lnTo>
                  <a:lnTo>
                    <a:pt x="247" y="982"/>
                  </a:lnTo>
                  <a:lnTo>
                    <a:pt x="251" y="980"/>
                  </a:lnTo>
                  <a:lnTo>
                    <a:pt x="254" y="979"/>
                  </a:lnTo>
                  <a:lnTo>
                    <a:pt x="257" y="976"/>
                  </a:lnTo>
                  <a:lnTo>
                    <a:pt x="258" y="975"/>
                  </a:lnTo>
                  <a:lnTo>
                    <a:pt x="259" y="973"/>
                  </a:lnTo>
                  <a:lnTo>
                    <a:pt x="261" y="973"/>
                  </a:lnTo>
                  <a:lnTo>
                    <a:pt x="263" y="972"/>
                  </a:lnTo>
                  <a:lnTo>
                    <a:pt x="266" y="971"/>
                  </a:lnTo>
                  <a:lnTo>
                    <a:pt x="267" y="971"/>
                  </a:lnTo>
                  <a:lnTo>
                    <a:pt x="271" y="969"/>
                  </a:lnTo>
                  <a:lnTo>
                    <a:pt x="275" y="968"/>
                  </a:lnTo>
                  <a:lnTo>
                    <a:pt x="285" y="964"/>
                  </a:lnTo>
                  <a:lnTo>
                    <a:pt x="298" y="962"/>
                  </a:lnTo>
                  <a:lnTo>
                    <a:pt x="312" y="955"/>
                  </a:lnTo>
                  <a:lnTo>
                    <a:pt x="323" y="948"/>
                  </a:lnTo>
                  <a:lnTo>
                    <a:pt x="326" y="946"/>
                  </a:lnTo>
                  <a:lnTo>
                    <a:pt x="329" y="943"/>
                  </a:lnTo>
                  <a:lnTo>
                    <a:pt x="332" y="938"/>
                  </a:lnTo>
                  <a:lnTo>
                    <a:pt x="336" y="933"/>
                  </a:lnTo>
                  <a:lnTo>
                    <a:pt x="340" y="929"/>
                  </a:lnTo>
                  <a:lnTo>
                    <a:pt x="344" y="925"/>
                  </a:lnTo>
                  <a:lnTo>
                    <a:pt x="346" y="924"/>
                  </a:lnTo>
                  <a:lnTo>
                    <a:pt x="347" y="921"/>
                  </a:lnTo>
                  <a:lnTo>
                    <a:pt x="348" y="920"/>
                  </a:lnTo>
                  <a:lnTo>
                    <a:pt x="351" y="918"/>
                  </a:lnTo>
                  <a:lnTo>
                    <a:pt x="352" y="916"/>
                  </a:lnTo>
                  <a:lnTo>
                    <a:pt x="353" y="913"/>
                  </a:lnTo>
                  <a:lnTo>
                    <a:pt x="357" y="908"/>
                  </a:lnTo>
                  <a:lnTo>
                    <a:pt x="363" y="901"/>
                  </a:lnTo>
                  <a:lnTo>
                    <a:pt x="366" y="897"/>
                  </a:lnTo>
                  <a:lnTo>
                    <a:pt x="370" y="893"/>
                  </a:lnTo>
                  <a:lnTo>
                    <a:pt x="370" y="892"/>
                  </a:lnTo>
                  <a:lnTo>
                    <a:pt x="372" y="891"/>
                  </a:lnTo>
                  <a:lnTo>
                    <a:pt x="377" y="886"/>
                  </a:lnTo>
                  <a:lnTo>
                    <a:pt x="382" y="878"/>
                  </a:lnTo>
                  <a:lnTo>
                    <a:pt x="389" y="873"/>
                  </a:lnTo>
                  <a:lnTo>
                    <a:pt x="395" y="869"/>
                  </a:lnTo>
                  <a:lnTo>
                    <a:pt x="400" y="869"/>
                  </a:lnTo>
                  <a:lnTo>
                    <a:pt x="404" y="866"/>
                  </a:lnTo>
                  <a:lnTo>
                    <a:pt x="408" y="863"/>
                  </a:lnTo>
                  <a:lnTo>
                    <a:pt x="414" y="861"/>
                  </a:lnTo>
                  <a:lnTo>
                    <a:pt x="420" y="856"/>
                  </a:lnTo>
                  <a:lnTo>
                    <a:pt x="425" y="852"/>
                  </a:lnTo>
                  <a:lnTo>
                    <a:pt x="427" y="850"/>
                  </a:lnTo>
                  <a:lnTo>
                    <a:pt x="428" y="850"/>
                  </a:lnTo>
                  <a:lnTo>
                    <a:pt x="431" y="845"/>
                  </a:lnTo>
                  <a:lnTo>
                    <a:pt x="436" y="842"/>
                  </a:lnTo>
                  <a:lnTo>
                    <a:pt x="437" y="842"/>
                  </a:lnTo>
                  <a:lnTo>
                    <a:pt x="445" y="832"/>
                  </a:lnTo>
                  <a:lnTo>
                    <a:pt x="452" y="819"/>
                  </a:lnTo>
                  <a:lnTo>
                    <a:pt x="455" y="810"/>
                  </a:lnTo>
                  <a:lnTo>
                    <a:pt x="462" y="802"/>
                  </a:lnTo>
                  <a:lnTo>
                    <a:pt x="466" y="798"/>
                  </a:lnTo>
                  <a:lnTo>
                    <a:pt x="472" y="794"/>
                  </a:lnTo>
                  <a:lnTo>
                    <a:pt x="475" y="791"/>
                  </a:lnTo>
                  <a:lnTo>
                    <a:pt x="478" y="790"/>
                  </a:lnTo>
                  <a:lnTo>
                    <a:pt x="478" y="789"/>
                  </a:lnTo>
                  <a:lnTo>
                    <a:pt x="479" y="788"/>
                  </a:lnTo>
                  <a:lnTo>
                    <a:pt x="482" y="786"/>
                  </a:lnTo>
                  <a:lnTo>
                    <a:pt x="483" y="785"/>
                  </a:lnTo>
                  <a:lnTo>
                    <a:pt x="488" y="778"/>
                  </a:lnTo>
                  <a:lnTo>
                    <a:pt x="492" y="773"/>
                  </a:lnTo>
                  <a:lnTo>
                    <a:pt x="492" y="771"/>
                  </a:lnTo>
                  <a:lnTo>
                    <a:pt x="493" y="769"/>
                  </a:lnTo>
                  <a:lnTo>
                    <a:pt x="495" y="765"/>
                  </a:lnTo>
                  <a:lnTo>
                    <a:pt x="496" y="763"/>
                  </a:lnTo>
                  <a:lnTo>
                    <a:pt x="496" y="761"/>
                  </a:lnTo>
                  <a:lnTo>
                    <a:pt x="497" y="760"/>
                  </a:lnTo>
                  <a:lnTo>
                    <a:pt x="497" y="759"/>
                  </a:lnTo>
                  <a:lnTo>
                    <a:pt x="497" y="759"/>
                  </a:lnTo>
                  <a:lnTo>
                    <a:pt x="501" y="754"/>
                  </a:lnTo>
                  <a:lnTo>
                    <a:pt x="506" y="747"/>
                  </a:lnTo>
                  <a:lnTo>
                    <a:pt x="509" y="744"/>
                  </a:lnTo>
                  <a:lnTo>
                    <a:pt x="512" y="740"/>
                  </a:lnTo>
                  <a:lnTo>
                    <a:pt x="516" y="739"/>
                  </a:lnTo>
                  <a:lnTo>
                    <a:pt x="518" y="738"/>
                  </a:lnTo>
                  <a:lnTo>
                    <a:pt x="520" y="738"/>
                  </a:lnTo>
                  <a:lnTo>
                    <a:pt x="521" y="737"/>
                  </a:lnTo>
                  <a:lnTo>
                    <a:pt x="527" y="733"/>
                  </a:lnTo>
                  <a:lnTo>
                    <a:pt x="533" y="729"/>
                  </a:lnTo>
                  <a:lnTo>
                    <a:pt x="534" y="726"/>
                  </a:lnTo>
                  <a:lnTo>
                    <a:pt x="535" y="725"/>
                  </a:lnTo>
                  <a:lnTo>
                    <a:pt x="544" y="720"/>
                  </a:lnTo>
                  <a:lnTo>
                    <a:pt x="551" y="712"/>
                  </a:lnTo>
                  <a:lnTo>
                    <a:pt x="557" y="703"/>
                  </a:lnTo>
                  <a:lnTo>
                    <a:pt x="563" y="692"/>
                  </a:lnTo>
                  <a:lnTo>
                    <a:pt x="573" y="704"/>
                  </a:lnTo>
                  <a:lnTo>
                    <a:pt x="580" y="712"/>
                  </a:lnTo>
                  <a:lnTo>
                    <a:pt x="590" y="720"/>
                  </a:lnTo>
                  <a:lnTo>
                    <a:pt x="603" y="727"/>
                  </a:lnTo>
                  <a:lnTo>
                    <a:pt x="615" y="735"/>
                  </a:lnTo>
                  <a:lnTo>
                    <a:pt x="628" y="739"/>
                  </a:lnTo>
                  <a:lnTo>
                    <a:pt x="642" y="742"/>
                  </a:lnTo>
                  <a:lnTo>
                    <a:pt x="657" y="746"/>
                  </a:lnTo>
                  <a:lnTo>
                    <a:pt x="670" y="750"/>
                  </a:lnTo>
                  <a:lnTo>
                    <a:pt x="674" y="754"/>
                  </a:lnTo>
                  <a:lnTo>
                    <a:pt x="678" y="757"/>
                  </a:lnTo>
                  <a:lnTo>
                    <a:pt x="680" y="763"/>
                  </a:lnTo>
                  <a:lnTo>
                    <a:pt x="683" y="768"/>
                  </a:lnTo>
                  <a:lnTo>
                    <a:pt x="684" y="780"/>
                  </a:lnTo>
                  <a:lnTo>
                    <a:pt x="688" y="790"/>
                  </a:lnTo>
                  <a:lnTo>
                    <a:pt x="688" y="793"/>
                  </a:lnTo>
                  <a:lnTo>
                    <a:pt x="688" y="795"/>
                  </a:lnTo>
                  <a:lnTo>
                    <a:pt x="687" y="797"/>
                  </a:lnTo>
                  <a:lnTo>
                    <a:pt x="684" y="798"/>
                  </a:lnTo>
                  <a:lnTo>
                    <a:pt x="679" y="801"/>
                  </a:lnTo>
                  <a:lnTo>
                    <a:pt x="673" y="803"/>
                  </a:lnTo>
                  <a:lnTo>
                    <a:pt x="658" y="807"/>
                  </a:lnTo>
                  <a:lnTo>
                    <a:pt x="648" y="810"/>
                  </a:lnTo>
                  <a:lnTo>
                    <a:pt x="639" y="812"/>
                  </a:lnTo>
                  <a:lnTo>
                    <a:pt x="631" y="814"/>
                  </a:lnTo>
                  <a:lnTo>
                    <a:pt x="622" y="814"/>
                  </a:lnTo>
                  <a:lnTo>
                    <a:pt x="612" y="815"/>
                  </a:lnTo>
                  <a:lnTo>
                    <a:pt x="605" y="815"/>
                  </a:lnTo>
                  <a:lnTo>
                    <a:pt x="595" y="816"/>
                  </a:lnTo>
                  <a:lnTo>
                    <a:pt x="588" y="819"/>
                  </a:lnTo>
                  <a:lnTo>
                    <a:pt x="580" y="823"/>
                  </a:lnTo>
                  <a:lnTo>
                    <a:pt x="576" y="825"/>
                  </a:lnTo>
                  <a:lnTo>
                    <a:pt x="573" y="828"/>
                  </a:lnTo>
                  <a:lnTo>
                    <a:pt x="569" y="832"/>
                  </a:lnTo>
                  <a:lnTo>
                    <a:pt x="568" y="837"/>
                  </a:lnTo>
                  <a:lnTo>
                    <a:pt x="567" y="841"/>
                  </a:lnTo>
                  <a:lnTo>
                    <a:pt x="568" y="846"/>
                  </a:lnTo>
                  <a:lnTo>
                    <a:pt x="571" y="850"/>
                  </a:lnTo>
                  <a:lnTo>
                    <a:pt x="574" y="854"/>
                  </a:lnTo>
                  <a:lnTo>
                    <a:pt x="582" y="857"/>
                  </a:lnTo>
                  <a:lnTo>
                    <a:pt x="589" y="858"/>
                  </a:lnTo>
                  <a:lnTo>
                    <a:pt x="597" y="858"/>
                  </a:lnTo>
                  <a:lnTo>
                    <a:pt x="605" y="858"/>
                  </a:lnTo>
                  <a:lnTo>
                    <a:pt x="618" y="853"/>
                  </a:lnTo>
                  <a:lnTo>
                    <a:pt x="632" y="848"/>
                  </a:lnTo>
                  <a:lnTo>
                    <a:pt x="645" y="841"/>
                  </a:lnTo>
                  <a:lnTo>
                    <a:pt x="657" y="837"/>
                  </a:lnTo>
                  <a:lnTo>
                    <a:pt x="663" y="837"/>
                  </a:lnTo>
                  <a:lnTo>
                    <a:pt x="669" y="837"/>
                  </a:lnTo>
                  <a:lnTo>
                    <a:pt x="674" y="839"/>
                  </a:lnTo>
                  <a:lnTo>
                    <a:pt x="678" y="842"/>
                  </a:lnTo>
                  <a:lnTo>
                    <a:pt x="690" y="852"/>
                  </a:lnTo>
                  <a:lnTo>
                    <a:pt x="704" y="865"/>
                  </a:lnTo>
                  <a:lnTo>
                    <a:pt x="710" y="871"/>
                  </a:lnTo>
                  <a:lnTo>
                    <a:pt x="714" y="878"/>
                  </a:lnTo>
                  <a:lnTo>
                    <a:pt x="717" y="882"/>
                  </a:lnTo>
                  <a:lnTo>
                    <a:pt x="717" y="884"/>
                  </a:lnTo>
                  <a:lnTo>
                    <a:pt x="718" y="888"/>
                  </a:lnTo>
                  <a:lnTo>
                    <a:pt x="717" y="892"/>
                  </a:lnTo>
                  <a:lnTo>
                    <a:pt x="714" y="900"/>
                  </a:lnTo>
                  <a:lnTo>
                    <a:pt x="709" y="909"/>
                  </a:lnTo>
                  <a:lnTo>
                    <a:pt x="704" y="917"/>
                  </a:lnTo>
                  <a:lnTo>
                    <a:pt x="697" y="925"/>
                  </a:lnTo>
                  <a:lnTo>
                    <a:pt x="684" y="941"/>
                  </a:lnTo>
                  <a:lnTo>
                    <a:pt x="671" y="954"/>
                  </a:lnTo>
                  <a:lnTo>
                    <a:pt x="661" y="967"/>
                  </a:lnTo>
                  <a:lnTo>
                    <a:pt x="652" y="981"/>
                  </a:lnTo>
                  <a:lnTo>
                    <a:pt x="644" y="999"/>
                  </a:lnTo>
                  <a:lnTo>
                    <a:pt x="636" y="1019"/>
                  </a:lnTo>
                  <a:lnTo>
                    <a:pt x="631" y="1039"/>
                  </a:lnTo>
                  <a:lnTo>
                    <a:pt x="628" y="1058"/>
                  </a:lnTo>
                  <a:lnTo>
                    <a:pt x="628" y="1069"/>
                  </a:lnTo>
                  <a:lnTo>
                    <a:pt x="629" y="1078"/>
                  </a:lnTo>
                  <a:lnTo>
                    <a:pt x="631" y="1086"/>
                  </a:lnTo>
                  <a:lnTo>
                    <a:pt x="633" y="1094"/>
                  </a:lnTo>
                  <a:lnTo>
                    <a:pt x="637" y="1107"/>
                  </a:lnTo>
                  <a:lnTo>
                    <a:pt x="639" y="1120"/>
                  </a:lnTo>
                  <a:lnTo>
                    <a:pt x="637" y="1132"/>
                  </a:lnTo>
                  <a:lnTo>
                    <a:pt x="637" y="1143"/>
                  </a:lnTo>
                  <a:lnTo>
                    <a:pt x="636" y="1154"/>
                  </a:lnTo>
                  <a:lnTo>
                    <a:pt x="635" y="1164"/>
                  </a:lnTo>
                  <a:lnTo>
                    <a:pt x="636" y="1175"/>
                  </a:lnTo>
                  <a:lnTo>
                    <a:pt x="639" y="1183"/>
                  </a:lnTo>
                  <a:lnTo>
                    <a:pt x="641" y="1188"/>
                  </a:lnTo>
                  <a:lnTo>
                    <a:pt x="646" y="1190"/>
                  </a:lnTo>
                  <a:lnTo>
                    <a:pt x="653" y="1192"/>
                  </a:lnTo>
                  <a:lnTo>
                    <a:pt x="659" y="1190"/>
                  </a:lnTo>
                  <a:lnTo>
                    <a:pt x="674" y="1185"/>
                  </a:lnTo>
                  <a:lnTo>
                    <a:pt x="690" y="1179"/>
                  </a:lnTo>
                  <a:lnTo>
                    <a:pt x="703" y="1172"/>
                  </a:lnTo>
                  <a:lnTo>
                    <a:pt x="712" y="1169"/>
                  </a:lnTo>
                  <a:lnTo>
                    <a:pt x="713" y="1171"/>
                  </a:lnTo>
                  <a:lnTo>
                    <a:pt x="714" y="1171"/>
                  </a:lnTo>
                  <a:lnTo>
                    <a:pt x="716" y="1172"/>
                  </a:lnTo>
                  <a:lnTo>
                    <a:pt x="716" y="1175"/>
                  </a:lnTo>
                  <a:lnTo>
                    <a:pt x="716" y="1181"/>
                  </a:lnTo>
                  <a:lnTo>
                    <a:pt x="712" y="1189"/>
                  </a:lnTo>
                  <a:lnTo>
                    <a:pt x="704" y="1210"/>
                  </a:lnTo>
                  <a:lnTo>
                    <a:pt x="693" y="1231"/>
                  </a:lnTo>
                  <a:lnTo>
                    <a:pt x="683" y="1251"/>
                  </a:lnTo>
                  <a:lnTo>
                    <a:pt x="670" y="1269"/>
                  </a:lnTo>
                  <a:lnTo>
                    <a:pt x="656" y="1287"/>
                  </a:lnTo>
                  <a:lnTo>
                    <a:pt x="640" y="1303"/>
                  </a:lnTo>
                  <a:lnTo>
                    <a:pt x="623" y="1317"/>
                  </a:lnTo>
                  <a:lnTo>
                    <a:pt x="603" y="1330"/>
                  </a:lnTo>
                  <a:lnTo>
                    <a:pt x="555" y="1358"/>
                  </a:lnTo>
                  <a:lnTo>
                    <a:pt x="551" y="1359"/>
                  </a:lnTo>
                  <a:lnTo>
                    <a:pt x="546" y="1360"/>
                  </a:lnTo>
                  <a:lnTo>
                    <a:pt x="539" y="1360"/>
                  </a:lnTo>
                  <a:lnTo>
                    <a:pt x="533" y="1359"/>
                  </a:lnTo>
                  <a:lnTo>
                    <a:pt x="526" y="1358"/>
                  </a:lnTo>
                  <a:lnTo>
                    <a:pt x="520" y="1357"/>
                  </a:lnTo>
                  <a:lnTo>
                    <a:pt x="514" y="1355"/>
                  </a:lnTo>
                  <a:lnTo>
                    <a:pt x="512" y="1353"/>
                  </a:lnTo>
                  <a:lnTo>
                    <a:pt x="493" y="1342"/>
                  </a:lnTo>
                  <a:lnTo>
                    <a:pt x="476" y="1330"/>
                  </a:lnTo>
                  <a:lnTo>
                    <a:pt x="471" y="1326"/>
                  </a:lnTo>
                  <a:lnTo>
                    <a:pt x="467" y="1323"/>
                  </a:lnTo>
                  <a:lnTo>
                    <a:pt x="466" y="1321"/>
                  </a:lnTo>
                  <a:lnTo>
                    <a:pt x="466" y="1320"/>
                  </a:lnTo>
                  <a:lnTo>
                    <a:pt x="462" y="1316"/>
                  </a:lnTo>
                  <a:lnTo>
                    <a:pt x="458" y="1313"/>
                  </a:lnTo>
                  <a:lnTo>
                    <a:pt x="457" y="1312"/>
                  </a:lnTo>
                  <a:lnTo>
                    <a:pt x="457" y="1311"/>
                  </a:lnTo>
                  <a:lnTo>
                    <a:pt x="457" y="1309"/>
                  </a:lnTo>
                  <a:lnTo>
                    <a:pt x="455" y="1307"/>
                  </a:lnTo>
                  <a:lnTo>
                    <a:pt x="453" y="1306"/>
                  </a:lnTo>
                  <a:lnTo>
                    <a:pt x="452" y="1304"/>
                  </a:lnTo>
                  <a:lnTo>
                    <a:pt x="450" y="1302"/>
                  </a:lnTo>
                  <a:lnTo>
                    <a:pt x="449" y="1300"/>
                  </a:lnTo>
                  <a:lnTo>
                    <a:pt x="449" y="1299"/>
                  </a:lnTo>
                  <a:lnTo>
                    <a:pt x="448" y="1298"/>
                  </a:lnTo>
                  <a:lnTo>
                    <a:pt x="446" y="1296"/>
                  </a:lnTo>
                  <a:lnTo>
                    <a:pt x="445" y="1294"/>
                  </a:lnTo>
                  <a:lnTo>
                    <a:pt x="444" y="1291"/>
                  </a:lnTo>
                  <a:lnTo>
                    <a:pt x="441" y="1290"/>
                  </a:lnTo>
                  <a:lnTo>
                    <a:pt x="438" y="1290"/>
                  </a:lnTo>
                  <a:lnTo>
                    <a:pt x="433" y="1290"/>
                  </a:lnTo>
                  <a:lnTo>
                    <a:pt x="429" y="1291"/>
                  </a:lnTo>
                  <a:lnTo>
                    <a:pt x="423" y="1296"/>
                  </a:lnTo>
                  <a:lnTo>
                    <a:pt x="417" y="1302"/>
                  </a:lnTo>
                  <a:lnTo>
                    <a:pt x="407" y="1311"/>
                  </a:lnTo>
                  <a:lnTo>
                    <a:pt x="397" y="1320"/>
                  </a:lnTo>
                  <a:lnTo>
                    <a:pt x="394" y="1323"/>
                  </a:lnTo>
                  <a:lnTo>
                    <a:pt x="391" y="1324"/>
                  </a:lnTo>
                  <a:lnTo>
                    <a:pt x="389" y="1325"/>
                  </a:lnTo>
                  <a:lnTo>
                    <a:pt x="386" y="1328"/>
                  </a:lnTo>
                  <a:lnTo>
                    <a:pt x="385" y="1329"/>
                  </a:lnTo>
                  <a:lnTo>
                    <a:pt x="382" y="1332"/>
                  </a:lnTo>
                  <a:lnTo>
                    <a:pt x="380" y="1333"/>
                  </a:lnTo>
                  <a:lnTo>
                    <a:pt x="377" y="1334"/>
                  </a:lnTo>
                  <a:lnTo>
                    <a:pt x="370" y="1338"/>
                  </a:lnTo>
                  <a:lnTo>
                    <a:pt x="365" y="1343"/>
                  </a:lnTo>
                  <a:lnTo>
                    <a:pt x="357" y="1351"/>
                  </a:lnTo>
                  <a:lnTo>
                    <a:pt x="342" y="1362"/>
                  </a:lnTo>
                  <a:lnTo>
                    <a:pt x="334" y="1366"/>
                  </a:lnTo>
                  <a:lnTo>
                    <a:pt x="327" y="1370"/>
                  </a:lnTo>
                  <a:lnTo>
                    <a:pt x="322" y="1371"/>
                  </a:lnTo>
                  <a:lnTo>
                    <a:pt x="319" y="1370"/>
                  </a:lnTo>
                  <a:lnTo>
                    <a:pt x="310" y="1363"/>
                  </a:lnTo>
                  <a:lnTo>
                    <a:pt x="301" y="1357"/>
                  </a:lnTo>
                  <a:lnTo>
                    <a:pt x="297" y="1355"/>
                  </a:lnTo>
                  <a:lnTo>
                    <a:pt x="295" y="1354"/>
                  </a:lnTo>
                  <a:lnTo>
                    <a:pt x="292" y="1353"/>
                  </a:lnTo>
                  <a:lnTo>
                    <a:pt x="288" y="1351"/>
                  </a:lnTo>
                  <a:lnTo>
                    <a:pt x="285" y="1350"/>
                  </a:lnTo>
                  <a:lnTo>
                    <a:pt x="283" y="1347"/>
                  </a:lnTo>
                  <a:lnTo>
                    <a:pt x="279" y="1343"/>
                  </a:lnTo>
                  <a:lnTo>
                    <a:pt x="275" y="1341"/>
                  </a:lnTo>
                  <a:lnTo>
                    <a:pt x="266" y="1333"/>
                  </a:lnTo>
                  <a:lnTo>
                    <a:pt x="258" y="1328"/>
                  </a:lnTo>
                  <a:lnTo>
                    <a:pt x="257" y="1326"/>
                  </a:lnTo>
                  <a:lnTo>
                    <a:pt x="257" y="1325"/>
                  </a:lnTo>
                  <a:lnTo>
                    <a:pt x="253" y="1323"/>
                  </a:lnTo>
                  <a:lnTo>
                    <a:pt x="249" y="1320"/>
                  </a:lnTo>
                  <a:lnTo>
                    <a:pt x="245" y="1317"/>
                  </a:lnTo>
                  <a:lnTo>
                    <a:pt x="240" y="1313"/>
                  </a:lnTo>
                  <a:lnTo>
                    <a:pt x="234" y="1308"/>
                  </a:lnTo>
                  <a:lnTo>
                    <a:pt x="230" y="1306"/>
                  </a:lnTo>
                  <a:lnTo>
                    <a:pt x="228" y="1306"/>
                  </a:lnTo>
                  <a:lnTo>
                    <a:pt x="227" y="1304"/>
                  </a:lnTo>
                  <a:lnTo>
                    <a:pt x="225" y="1302"/>
                  </a:lnTo>
                  <a:lnTo>
                    <a:pt x="224" y="1302"/>
                  </a:lnTo>
                  <a:lnTo>
                    <a:pt x="224" y="1302"/>
                  </a:lnTo>
                  <a:lnTo>
                    <a:pt x="223" y="1300"/>
                  </a:lnTo>
                  <a:lnTo>
                    <a:pt x="221" y="1300"/>
                  </a:lnTo>
                  <a:lnTo>
                    <a:pt x="216" y="1300"/>
                  </a:lnTo>
                  <a:lnTo>
                    <a:pt x="211" y="1302"/>
                  </a:lnTo>
                  <a:lnTo>
                    <a:pt x="206" y="1303"/>
                  </a:lnTo>
                  <a:lnTo>
                    <a:pt x="202" y="1307"/>
                  </a:lnTo>
                  <a:lnTo>
                    <a:pt x="200" y="1308"/>
                  </a:lnTo>
                  <a:lnTo>
                    <a:pt x="198" y="1309"/>
                  </a:lnTo>
                  <a:lnTo>
                    <a:pt x="195" y="1309"/>
                  </a:lnTo>
                  <a:lnTo>
                    <a:pt x="191" y="1308"/>
                  </a:lnTo>
                  <a:lnTo>
                    <a:pt x="185" y="1303"/>
                  </a:lnTo>
                  <a:lnTo>
                    <a:pt x="179" y="1298"/>
                  </a:lnTo>
                  <a:lnTo>
                    <a:pt x="178" y="1296"/>
                  </a:lnTo>
                  <a:lnTo>
                    <a:pt x="178" y="1294"/>
                  </a:lnTo>
                  <a:lnTo>
                    <a:pt x="174" y="1291"/>
                  </a:lnTo>
                  <a:lnTo>
                    <a:pt x="172" y="1287"/>
                  </a:lnTo>
                  <a:lnTo>
                    <a:pt x="168" y="1286"/>
                  </a:lnTo>
                  <a:lnTo>
                    <a:pt x="164" y="1285"/>
                  </a:lnTo>
                  <a:lnTo>
                    <a:pt x="162" y="1282"/>
                  </a:lnTo>
                  <a:lnTo>
                    <a:pt x="161" y="1279"/>
                  </a:lnTo>
                  <a:lnTo>
                    <a:pt x="161" y="1277"/>
                  </a:lnTo>
                  <a:lnTo>
                    <a:pt x="161" y="1274"/>
                  </a:lnTo>
                  <a:lnTo>
                    <a:pt x="160" y="1270"/>
                  </a:lnTo>
                  <a:lnTo>
                    <a:pt x="157" y="1268"/>
                  </a:lnTo>
                  <a:lnTo>
                    <a:pt x="155" y="1266"/>
                  </a:lnTo>
                  <a:lnTo>
                    <a:pt x="152" y="1264"/>
                  </a:lnTo>
                  <a:lnTo>
                    <a:pt x="148" y="1264"/>
                  </a:lnTo>
                  <a:lnTo>
                    <a:pt x="143" y="1262"/>
                  </a:lnTo>
                  <a:lnTo>
                    <a:pt x="139" y="1264"/>
                  </a:lnTo>
                  <a:lnTo>
                    <a:pt x="136" y="1265"/>
                  </a:lnTo>
                  <a:lnTo>
                    <a:pt x="135" y="1268"/>
                  </a:lnTo>
                  <a:lnTo>
                    <a:pt x="134" y="1269"/>
                  </a:lnTo>
                  <a:lnTo>
                    <a:pt x="132" y="1270"/>
                  </a:lnTo>
                  <a:lnTo>
                    <a:pt x="131" y="1270"/>
                  </a:lnTo>
                  <a:lnTo>
                    <a:pt x="130" y="1270"/>
                  </a:lnTo>
                  <a:lnTo>
                    <a:pt x="123" y="1278"/>
                  </a:lnTo>
                  <a:lnTo>
                    <a:pt x="115" y="1285"/>
                  </a:lnTo>
                  <a:lnTo>
                    <a:pt x="114" y="1285"/>
                  </a:lnTo>
                  <a:lnTo>
                    <a:pt x="113" y="1285"/>
                  </a:lnTo>
                  <a:lnTo>
                    <a:pt x="110" y="1283"/>
                  </a:lnTo>
                  <a:lnTo>
                    <a:pt x="107" y="1282"/>
                  </a:lnTo>
                  <a:lnTo>
                    <a:pt x="109" y="1277"/>
                  </a:lnTo>
                  <a:lnTo>
                    <a:pt x="110" y="1272"/>
                  </a:lnTo>
                  <a:lnTo>
                    <a:pt x="113" y="1266"/>
                  </a:lnTo>
                  <a:lnTo>
                    <a:pt x="115" y="1261"/>
                  </a:lnTo>
                  <a:lnTo>
                    <a:pt x="122" y="1249"/>
                  </a:lnTo>
                  <a:lnTo>
                    <a:pt x="125" y="1239"/>
                  </a:lnTo>
                  <a:lnTo>
                    <a:pt x="125" y="1238"/>
                  </a:lnTo>
                  <a:lnTo>
                    <a:pt x="126" y="1234"/>
                  </a:lnTo>
                  <a:lnTo>
                    <a:pt x="130" y="1231"/>
                  </a:lnTo>
                  <a:lnTo>
                    <a:pt x="131" y="1230"/>
                  </a:lnTo>
                  <a:lnTo>
                    <a:pt x="131" y="1230"/>
                  </a:lnTo>
                  <a:lnTo>
                    <a:pt x="131" y="1228"/>
                  </a:lnTo>
                  <a:lnTo>
                    <a:pt x="131" y="1227"/>
                  </a:lnTo>
                  <a:lnTo>
                    <a:pt x="132" y="1226"/>
                  </a:lnTo>
                  <a:lnTo>
                    <a:pt x="132" y="1224"/>
                  </a:lnTo>
                  <a:lnTo>
                    <a:pt x="132" y="1218"/>
                  </a:lnTo>
                  <a:lnTo>
                    <a:pt x="131" y="1213"/>
                  </a:lnTo>
                  <a:lnTo>
                    <a:pt x="131" y="1211"/>
                  </a:lnTo>
                  <a:lnTo>
                    <a:pt x="131" y="1210"/>
                  </a:lnTo>
                  <a:lnTo>
                    <a:pt x="130" y="1209"/>
                  </a:lnTo>
                  <a:lnTo>
                    <a:pt x="128" y="1209"/>
                  </a:lnTo>
                  <a:lnTo>
                    <a:pt x="123" y="1207"/>
                  </a:lnTo>
                  <a:lnTo>
                    <a:pt x="117" y="1205"/>
                  </a:lnTo>
                  <a:lnTo>
                    <a:pt x="114" y="1204"/>
                  </a:lnTo>
                  <a:lnTo>
                    <a:pt x="110" y="1201"/>
                  </a:lnTo>
                  <a:lnTo>
                    <a:pt x="110" y="1201"/>
                  </a:lnTo>
                  <a:lnTo>
                    <a:pt x="109" y="1201"/>
                  </a:lnTo>
                  <a:lnTo>
                    <a:pt x="106" y="1201"/>
                  </a:lnTo>
                  <a:lnTo>
                    <a:pt x="105" y="1200"/>
                  </a:lnTo>
                  <a:lnTo>
                    <a:pt x="104" y="1198"/>
                  </a:lnTo>
                  <a:lnTo>
                    <a:pt x="101" y="1197"/>
                  </a:lnTo>
                  <a:lnTo>
                    <a:pt x="100" y="1196"/>
                  </a:lnTo>
                  <a:lnTo>
                    <a:pt x="98" y="1196"/>
                  </a:lnTo>
                  <a:lnTo>
                    <a:pt x="96" y="1194"/>
                  </a:lnTo>
                  <a:lnTo>
                    <a:pt x="94" y="1193"/>
                  </a:lnTo>
                  <a:lnTo>
                    <a:pt x="89" y="1188"/>
                  </a:lnTo>
                  <a:lnTo>
                    <a:pt x="85" y="1184"/>
                  </a:lnTo>
                  <a:lnTo>
                    <a:pt x="70" y="116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42" name="Freeform 15"/>
            <p:cNvSpPr>
              <a:spLocks noEditPoints="1"/>
            </p:cNvSpPr>
            <p:nvPr/>
          </p:nvSpPr>
          <p:spPr bwMode="auto">
            <a:xfrm>
              <a:off x="4398963" y="1952625"/>
              <a:ext cx="1016000" cy="923925"/>
            </a:xfrm>
            <a:custGeom>
              <a:avLst/>
              <a:gdLst/>
              <a:ahLst/>
              <a:cxnLst>
                <a:cxn ang="0">
                  <a:pos x="1400" y="2058"/>
                </a:cxn>
                <a:cxn ang="0">
                  <a:pos x="586" y="105"/>
                </a:cxn>
                <a:cxn ang="0">
                  <a:pos x="366" y="18"/>
                </a:cxn>
                <a:cxn ang="0">
                  <a:pos x="368" y="109"/>
                </a:cxn>
                <a:cxn ang="0">
                  <a:pos x="443" y="294"/>
                </a:cxn>
                <a:cxn ang="0">
                  <a:pos x="744" y="233"/>
                </a:cxn>
                <a:cxn ang="0">
                  <a:pos x="757" y="20"/>
                </a:cxn>
                <a:cxn ang="0">
                  <a:pos x="448" y="419"/>
                </a:cxn>
                <a:cxn ang="0">
                  <a:pos x="260" y="526"/>
                </a:cxn>
                <a:cxn ang="0">
                  <a:pos x="822" y="1130"/>
                </a:cxn>
                <a:cxn ang="0">
                  <a:pos x="709" y="1226"/>
                </a:cxn>
                <a:cxn ang="0">
                  <a:pos x="549" y="1317"/>
                </a:cxn>
                <a:cxn ang="0">
                  <a:pos x="298" y="1473"/>
                </a:cxn>
                <a:cxn ang="0">
                  <a:pos x="172" y="1600"/>
                </a:cxn>
                <a:cxn ang="0">
                  <a:pos x="41" y="1813"/>
                </a:cxn>
                <a:cxn ang="0">
                  <a:pos x="172" y="2009"/>
                </a:cxn>
                <a:cxn ang="0">
                  <a:pos x="385" y="1877"/>
                </a:cxn>
                <a:cxn ang="0">
                  <a:pos x="555" y="1928"/>
                </a:cxn>
                <a:cxn ang="0">
                  <a:pos x="463" y="2041"/>
                </a:cxn>
                <a:cxn ang="0">
                  <a:pos x="332" y="2122"/>
                </a:cxn>
                <a:cxn ang="0">
                  <a:pos x="215" y="2242"/>
                </a:cxn>
                <a:cxn ang="0">
                  <a:pos x="282" y="2386"/>
                </a:cxn>
                <a:cxn ang="0">
                  <a:pos x="486" y="2501"/>
                </a:cxn>
                <a:cxn ang="0">
                  <a:pos x="638" y="2249"/>
                </a:cxn>
                <a:cxn ang="0">
                  <a:pos x="822" y="2009"/>
                </a:cxn>
                <a:cxn ang="0">
                  <a:pos x="960" y="2009"/>
                </a:cxn>
                <a:cxn ang="0">
                  <a:pos x="1230" y="2050"/>
                </a:cxn>
                <a:cxn ang="0">
                  <a:pos x="1331" y="1835"/>
                </a:cxn>
                <a:cxn ang="0">
                  <a:pos x="1208" y="1627"/>
                </a:cxn>
                <a:cxn ang="0">
                  <a:pos x="1013" y="1409"/>
                </a:cxn>
                <a:cxn ang="0">
                  <a:pos x="1281" y="1268"/>
                </a:cxn>
                <a:cxn ang="0">
                  <a:pos x="1641" y="1439"/>
                </a:cxn>
                <a:cxn ang="0">
                  <a:pos x="1803" y="1427"/>
                </a:cxn>
                <a:cxn ang="0">
                  <a:pos x="1988" y="1362"/>
                </a:cxn>
                <a:cxn ang="0">
                  <a:pos x="2107" y="1117"/>
                </a:cxn>
                <a:cxn ang="0">
                  <a:pos x="2291" y="957"/>
                </a:cxn>
                <a:cxn ang="0">
                  <a:pos x="2487" y="1065"/>
                </a:cxn>
                <a:cxn ang="0">
                  <a:pos x="2763" y="743"/>
                </a:cxn>
                <a:cxn ang="0">
                  <a:pos x="2671" y="552"/>
                </a:cxn>
                <a:cxn ang="0">
                  <a:pos x="2578" y="421"/>
                </a:cxn>
                <a:cxn ang="0">
                  <a:pos x="2459" y="310"/>
                </a:cxn>
                <a:cxn ang="0">
                  <a:pos x="2434" y="366"/>
                </a:cxn>
                <a:cxn ang="0">
                  <a:pos x="2439" y="505"/>
                </a:cxn>
                <a:cxn ang="0">
                  <a:pos x="2204" y="549"/>
                </a:cxn>
                <a:cxn ang="0">
                  <a:pos x="1958" y="799"/>
                </a:cxn>
                <a:cxn ang="0">
                  <a:pos x="1680" y="926"/>
                </a:cxn>
                <a:cxn ang="0">
                  <a:pos x="1421" y="755"/>
                </a:cxn>
                <a:cxn ang="0">
                  <a:pos x="1297" y="527"/>
                </a:cxn>
                <a:cxn ang="0">
                  <a:pos x="1471" y="187"/>
                </a:cxn>
                <a:cxn ang="0">
                  <a:pos x="1305" y="20"/>
                </a:cxn>
                <a:cxn ang="0">
                  <a:pos x="1101" y="71"/>
                </a:cxn>
                <a:cxn ang="0">
                  <a:pos x="1122" y="285"/>
                </a:cxn>
                <a:cxn ang="0">
                  <a:pos x="941" y="377"/>
                </a:cxn>
                <a:cxn ang="0">
                  <a:pos x="947" y="508"/>
                </a:cxn>
                <a:cxn ang="0">
                  <a:pos x="689" y="657"/>
                </a:cxn>
                <a:cxn ang="0">
                  <a:pos x="501" y="577"/>
                </a:cxn>
                <a:cxn ang="0">
                  <a:pos x="554" y="769"/>
                </a:cxn>
                <a:cxn ang="0">
                  <a:pos x="681" y="746"/>
                </a:cxn>
                <a:cxn ang="0">
                  <a:pos x="735" y="806"/>
                </a:cxn>
                <a:cxn ang="0">
                  <a:pos x="812" y="908"/>
                </a:cxn>
                <a:cxn ang="0">
                  <a:pos x="913" y="990"/>
                </a:cxn>
                <a:cxn ang="0">
                  <a:pos x="910" y="1044"/>
                </a:cxn>
              </a:cxnLst>
              <a:rect l="0" t="0" r="r" b="b"/>
              <a:pathLst>
                <a:path w="2766" h="2510">
                  <a:moveTo>
                    <a:pt x="1399" y="1974"/>
                  </a:moveTo>
                  <a:lnTo>
                    <a:pt x="1390" y="1978"/>
                  </a:lnTo>
                  <a:lnTo>
                    <a:pt x="1383" y="1983"/>
                  </a:lnTo>
                  <a:lnTo>
                    <a:pt x="1376" y="1986"/>
                  </a:lnTo>
                  <a:lnTo>
                    <a:pt x="1368" y="1987"/>
                  </a:lnTo>
                  <a:lnTo>
                    <a:pt x="1363" y="1988"/>
                  </a:lnTo>
                  <a:lnTo>
                    <a:pt x="1360" y="1990"/>
                  </a:lnTo>
                  <a:lnTo>
                    <a:pt x="1357" y="1992"/>
                  </a:lnTo>
                  <a:lnTo>
                    <a:pt x="1356" y="1995"/>
                  </a:lnTo>
                  <a:lnTo>
                    <a:pt x="1355" y="2003"/>
                  </a:lnTo>
                  <a:lnTo>
                    <a:pt x="1351" y="2009"/>
                  </a:lnTo>
                  <a:lnTo>
                    <a:pt x="1346" y="2017"/>
                  </a:lnTo>
                  <a:lnTo>
                    <a:pt x="1343" y="2024"/>
                  </a:lnTo>
                  <a:lnTo>
                    <a:pt x="1340" y="2029"/>
                  </a:lnTo>
                  <a:lnTo>
                    <a:pt x="1339" y="2037"/>
                  </a:lnTo>
                  <a:lnTo>
                    <a:pt x="1338" y="2041"/>
                  </a:lnTo>
                  <a:lnTo>
                    <a:pt x="1338" y="2043"/>
                  </a:lnTo>
                  <a:lnTo>
                    <a:pt x="1339" y="2043"/>
                  </a:lnTo>
                  <a:lnTo>
                    <a:pt x="1342" y="2043"/>
                  </a:lnTo>
                  <a:lnTo>
                    <a:pt x="1346" y="2042"/>
                  </a:lnTo>
                  <a:lnTo>
                    <a:pt x="1351" y="2042"/>
                  </a:lnTo>
                  <a:lnTo>
                    <a:pt x="1357" y="2042"/>
                  </a:lnTo>
                  <a:lnTo>
                    <a:pt x="1365" y="2043"/>
                  </a:lnTo>
                  <a:lnTo>
                    <a:pt x="1378" y="2048"/>
                  </a:lnTo>
                  <a:lnTo>
                    <a:pt x="1386" y="2052"/>
                  </a:lnTo>
                  <a:lnTo>
                    <a:pt x="1393" y="2056"/>
                  </a:lnTo>
                  <a:lnTo>
                    <a:pt x="1397" y="2058"/>
                  </a:lnTo>
                  <a:lnTo>
                    <a:pt x="1400" y="2058"/>
                  </a:lnTo>
                  <a:lnTo>
                    <a:pt x="1402" y="2056"/>
                  </a:lnTo>
                  <a:lnTo>
                    <a:pt x="1406" y="2048"/>
                  </a:lnTo>
                  <a:lnTo>
                    <a:pt x="1410" y="2039"/>
                  </a:lnTo>
                  <a:lnTo>
                    <a:pt x="1419" y="2029"/>
                  </a:lnTo>
                  <a:lnTo>
                    <a:pt x="1429" y="2020"/>
                  </a:lnTo>
                  <a:lnTo>
                    <a:pt x="1436" y="2010"/>
                  </a:lnTo>
                  <a:lnTo>
                    <a:pt x="1440" y="2003"/>
                  </a:lnTo>
                  <a:lnTo>
                    <a:pt x="1433" y="2001"/>
                  </a:lnTo>
                  <a:lnTo>
                    <a:pt x="1425" y="2001"/>
                  </a:lnTo>
                  <a:lnTo>
                    <a:pt x="1421" y="1999"/>
                  </a:lnTo>
                  <a:lnTo>
                    <a:pt x="1419" y="1995"/>
                  </a:lnTo>
                  <a:lnTo>
                    <a:pt x="1416" y="1991"/>
                  </a:lnTo>
                  <a:lnTo>
                    <a:pt x="1414" y="1986"/>
                  </a:lnTo>
                  <a:lnTo>
                    <a:pt x="1410" y="1980"/>
                  </a:lnTo>
                  <a:lnTo>
                    <a:pt x="1407" y="1976"/>
                  </a:lnTo>
                  <a:lnTo>
                    <a:pt x="1403" y="1974"/>
                  </a:lnTo>
                  <a:lnTo>
                    <a:pt x="1399" y="1974"/>
                  </a:lnTo>
                  <a:close/>
                  <a:moveTo>
                    <a:pt x="668" y="0"/>
                  </a:moveTo>
                  <a:lnTo>
                    <a:pt x="667" y="14"/>
                  </a:lnTo>
                  <a:lnTo>
                    <a:pt x="663" y="27"/>
                  </a:lnTo>
                  <a:lnTo>
                    <a:pt x="659" y="39"/>
                  </a:lnTo>
                  <a:lnTo>
                    <a:pt x="654" y="51"/>
                  </a:lnTo>
                  <a:lnTo>
                    <a:pt x="646" y="61"/>
                  </a:lnTo>
                  <a:lnTo>
                    <a:pt x="637" y="71"/>
                  </a:lnTo>
                  <a:lnTo>
                    <a:pt x="625" y="81"/>
                  </a:lnTo>
                  <a:lnTo>
                    <a:pt x="612" y="90"/>
                  </a:lnTo>
                  <a:lnTo>
                    <a:pt x="599" y="98"/>
                  </a:lnTo>
                  <a:lnTo>
                    <a:pt x="586" y="105"/>
                  </a:lnTo>
                  <a:lnTo>
                    <a:pt x="578" y="109"/>
                  </a:lnTo>
                  <a:lnTo>
                    <a:pt x="571" y="110"/>
                  </a:lnTo>
                  <a:lnTo>
                    <a:pt x="563" y="111"/>
                  </a:lnTo>
                  <a:lnTo>
                    <a:pt x="555" y="112"/>
                  </a:lnTo>
                  <a:lnTo>
                    <a:pt x="548" y="112"/>
                  </a:lnTo>
                  <a:lnTo>
                    <a:pt x="540" y="111"/>
                  </a:lnTo>
                  <a:lnTo>
                    <a:pt x="533" y="109"/>
                  </a:lnTo>
                  <a:lnTo>
                    <a:pt x="525" y="105"/>
                  </a:lnTo>
                  <a:lnTo>
                    <a:pt x="519" y="99"/>
                  </a:lnTo>
                  <a:lnTo>
                    <a:pt x="511" y="93"/>
                  </a:lnTo>
                  <a:lnTo>
                    <a:pt x="504" y="85"/>
                  </a:lnTo>
                  <a:lnTo>
                    <a:pt x="498" y="76"/>
                  </a:lnTo>
                  <a:lnTo>
                    <a:pt x="493" y="69"/>
                  </a:lnTo>
                  <a:lnTo>
                    <a:pt x="484" y="61"/>
                  </a:lnTo>
                  <a:lnTo>
                    <a:pt x="473" y="55"/>
                  </a:lnTo>
                  <a:lnTo>
                    <a:pt x="461" y="48"/>
                  </a:lnTo>
                  <a:lnTo>
                    <a:pt x="450" y="43"/>
                  </a:lnTo>
                  <a:lnTo>
                    <a:pt x="436" y="38"/>
                  </a:lnTo>
                  <a:lnTo>
                    <a:pt x="426" y="35"/>
                  </a:lnTo>
                  <a:lnTo>
                    <a:pt x="416" y="33"/>
                  </a:lnTo>
                  <a:lnTo>
                    <a:pt x="402" y="29"/>
                  </a:lnTo>
                  <a:lnTo>
                    <a:pt x="387" y="24"/>
                  </a:lnTo>
                  <a:lnTo>
                    <a:pt x="385" y="24"/>
                  </a:lnTo>
                  <a:lnTo>
                    <a:pt x="384" y="24"/>
                  </a:lnTo>
                  <a:lnTo>
                    <a:pt x="382" y="21"/>
                  </a:lnTo>
                  <a:lnTo>
                    <a:pt x="375" y="18"/>
                  </a:lnTo>
                  <a:lnTo>
                    <a:pt x="370" y="17"/>
                  </a:lnTo>
                  <a:lnTo>
                    <a:pt x="366" y="18"/>
                  </a:lnTo>
                  <a:lnTo>
                    <a:pt x="361" y="31"/>
                  </a:lnTo>
                  <a:lnTo>
                    <a:pt x="357" y="51"/>
                  </a:lnTo>
                  <a:lnTo>
                    <a:pt x="354" y="60"/>
                  </a:lnTo>
                  <a:lnTo>
                    <a:pt x="350" y="68"/>
                  </a:lnTo>
                  <a:lnTo>
                    <a:pt x="349" y="72"/>
                  </a:lnTo>
                  <a:lnTo>
                    <a:pt x="346" y="75"/>
                  </a:lnTo>
                  <a:lnTo>
                    <a:pt x="345" y="76"/>
                  </a:lnTo>
                  <a:lnTo>
                    <a:pt x="342" y="76"/>
                  </a:lnTo>
                  <a:lnTo>
                    <a:pt x="340" y="76"/>
                  </a:lnTo>
                  <a:lnTo>
                    <a:pt x="338" y="77"/>
                  </a:lnTo>
                  <a:lnTo>
                    <a:pt x="337" y="78"/>
                  </a:lnTo>
                  <a:lnTo>
                    <a:pt x="336" y="80"/>
                  </a:lnTo>
                  <a:lnTo>
                    <a:pt x="334" y="82"/>
                  </a:lnTo>
                  <a:lnTo>
                    <a:pt x="334" y="88"/>
                  </a:lnTo>
                  <a:lnTo>
                    <a:pt x="333" y="92"/>
                  </a:lnTo>
                  <a:lnTo>
                    <a:pt x="330" y="94"/>
                  </a:lnTo>
                  <a:lnTo>
                    <a:pt x="328" y="97"/>
                  </a:lnTo>
                  <a:lnTo>
                    <a:pt x="327" y="102"/>
                  </a:lnTo>
                  <a:lnTo>
                    <a:pt x="324" y="109"/>
                  </a:lnTo>
                  <a:lnTo>
                    <a:pt x="323" y="110"/>
                  </a:lnTo>
                  <a:lnTo>
                    <a:pt x="323" y="111"/>
                  </a:lnTo>
                  <a:lnTo>
                    <a:pt x="324" y="111"/>
                  </a:lnTo>
                  <a:lnTo>
                    <a:pt x="328" y="115"/>
                  </a:lnTo>
                  <a:lnTo>
                    <a:pt x="333" y="115"/>
                  </a:lnTo>
                  <a:lnTo>
                    <a:pt x="338" y="115"/>
                  </a:lnTo>
                  <a:lnTo>
                    <a:pt x="345" y="114"/>
                  </a:lnTo>
                  <a:lnTo>
                    <a:pt x="357" y="111"/>
                  </a:lnTo>
                  <a:lnTo>
                    <a:pt x="368" y="109"/>
                  </a:lnTo>
                  <a:lnTo>
                    <a:pt x="374" y="110"/>
                  </a:lnTo>
                  <a:lnTo>
                    <a:pt x="380" y="112"/>
                  </a:lnTo>
                  <a:lnTo>
                    <a:pt x="385" y="114"/>
                  </a:lnTo>
                  <a:lnTo>
                    <a:pt x="391" y="116"/>
                  </a:lnTo>
                  <a:lnTo>
                    <a:pt x="393" y="119"/>
                  </a:lnTo>
                  <a:lnTo>
                    <a:pt x="396" y="120"/>
                  </a:lnTo>
                  <a:lnTo>
                    <a:pt x="397" y="120"/>
                  </a:lnTo>
                  <a:lnTo>
                    <a:pt x="400" y="123"/>
                  </a:lnTo>
                  <a:lnTo>
                    <a:pt x="402" y="126"/>
                  </a:lnTo>
                  <a:lnTo>
                    <a:pt x="404" y="126"/>
                  </a:lnTo>
                  <a:lnTo>
                    <a:pt x="406" y="127"/>
                  </a:lnTo>
                  <a:lnTo>
                    <a:pt x="408" y="129"/>
                  </a:lnTo>
                  <a:lnTo>
                    <a:pt x="412" y="132"/>
                  </a:lnTo>
                  <a:lnTo>
                    <a:pt x="416" y="135"/>
                  </a:lnTo>
                  <a:lnTo>
                    <a:pt x="431" y="148"/>
                  </a:lnTo>
                  <a:lnTo>
                    <a:pt x="448" y="158"/>
                  </a:lnTo>
                  <a:lnTo>
                    <a:pt x="450" y="158"/>
                  </a:lnTo>
                  <a:lnTo>
                    <a:pt x="450" y="161"/>
                  </a:lnTo>
                  <a:lnTo>
                    <a:pt x="450" y="170"/>
                  </a:lnTo>
                  <a:lnTo>
                    <a:pt x="450" y="182"/>
                  </a:lnTo>
                  <a:lnTo>
                    <a:pt x="450" y="194"/>
                  </a:lnTo>
                  <a:lnTo>
                    <a:pt x="448" y="199"/>
                  </a:lnTo>
                  <a:lnTo>
                    <a:pt x="436" y="207"/>
                  </a:lnTo>
                  <a:lnTo>
                    <a:pt x="423" y="216"/>
                  </a:lnTo>
                  <a:lnTo>
                    <a:pt x="434" y="260"/>
                  </a:lnTo>
                  <a:lnTo>
                    <a:pt x="435" y="272"/>
                  </a:lnTo>
                  <a:lnTo>
                    <a:pt x="439" y="284"/>
                  </a:lnTo>
                  <a:lnTo>
                    <a:pt x="443" y="294"/>
                  </a:lnTo>
                  <a:lnTo>
                    <a:pt x="448" y="303"/>
                  </a:lnTo>
                  <a:lnTo>
                    <a:pt x="451" y="306"/>
                  </a:lnTo>
                  <a:lnTo>
                    <a:pt x="455" y="309"/>
                  </a:lnTo>
                  <a:lnTo>
                    <a:pt x="459" y="309"/>
                  </a:lnTo>
                  <a:lnTo>
                    <a:pt x="464" y="309"/>
                  </a:lnTo>
                  <a:lnTo>
                    <a:pt x="468" y="306"/>
                  </a:lnTo>
                  <a:lnTo>
                    <a:pt x="474" y="303"/>
                  </a:lnTo>
                  <a:lnTo>
                    <a:pt x="480" y="297"/>
                  </a:lnTo>
                  <a:lnTo>
                    <a:pt x="486" y="289"/>
                  </a:lnTo>
                  <a:lnTo>
                    <a:pt x="490" y="286"/>
                  </a:lnTo>
                  <a:lnTo>
                    <a:pt x="495" y="283"/>
                  </a:lnTo>
                  <a:lnTo>
                    <a:pt x="503" y="279"/>
                  </a:lnTo>
                  <a:lnTo>
                    <a:pt x="511" y="273"/>
                  </a:lnTo>
                  <a:lnTo>
                    <a:pt x="532" y="266"/>
                  </a:lnTo>
                  <a:lnTo>
                    <a:pt x="554" y="258"/>
                  </a:lnTo>
                  <a:lnTo>
                    <a:pt x="578" y="250"/>
                  </a:lnTo>
                  <a:lnTo>
                    <a:pt x="599" y="245"/>
                  </a:lnTo>
                  <a:lnTo>
                    <a:pt x="617" y="241"/>
                  </a:lnTo>
                  <a:lnTo>
                    <a:pt x="629" y="239"/>
                  </a:lnTo>
                  <a:lnTo>
                    <a:pt x="643" y="241"/>
                  </a:lnTo>
                  <a:lnTo>
                    <a:pt x="654" y="243"/>
                  </a:lnTo>
                  <a:lnTo>
                    <a:pt x="659" y="243"/>
                  </a:lnTo>
                  <a:lnTo>
                    <a:pt x="664" y="243"/>
                  </a:lnTo>
                  <a:lnTo>
                    <a:pt x="671" y="241"/>
                  </a:lnTo>
                  <a:lnTo>
                    <a:pt x="677" y="237"/>
                  </a:lnTo>
                  <a:lnTo>
                    <a:pt x="697" y="235"/>
                  </a:lnTo>
                  <a:lnTo>
                    <a:pt x="728" y="234"/>
                  </a:lnTo>
                  <a:lnTo>
                    <a:pt x="744" y="233"/>
                  </a:lnTo>
                  <a:lnTo>
                    <a:pt x="756" y="232"/>
                  </a:lnTo>
                  <a:lnTo>
                    <a:pt x="761" y="230"/>
                  </a:lnTo>
                  <a:lnTo>
                    <a:pt x="763" y="228"/>
                  </a:lnTo>
                  <a:lnTo>
                    <a:pt x="765" y="226"/>
                  </a:lnTo>
                  <a:lnTo>
                    <a:pt x="765" y="222"/>
                  </a:lnTo>
                  <a:lnTo>
                    <a:pt x="760" y="208"/>
                  </a:lnTo>
                  <a:lnTo>
                    <a:pt x="757" y="196"/>
                  </a:lnTo>
                  <a:lnTo>
                    <a:pt x="756" y="184"/>
                  </a:lnTo>
                  <a:lnTo>
                    <a:pt x="754" y="175"/>
                  </a:lnTo>
                  <a:lnTo>
                    <a:pt x="756" y="167"/>
                  </a:lnTo>
                  <a:lnTo>
                    <a:pt x="757" y="160"/>
                  </a:lnTo>
                  <a:lnTo>
                    <a:pt x="760" y="153"/>
                  </a:lnTo>
                  <a:lnTo>
                    <a:pt x="762" y="146"/>
                  </a:lnTo>
                  <a:lnTo>
                    <a:pt x="770" y="135"/>
                  </a:lnTo>
                  <a:lnTo>
                    <a:pt x="777" y="120"/>
                  </a:lnTo>
                  <a:lnTo>
                    <a:pt x="779" y="112"/>
                  </a:lnTo>
                  <a:lnTo>
                    <a:pt x="782" y="102"/>
                  </a:lnTo>
                  <a:lnTo>
                    <a:pt x="783" y="92"/>
                  </a:lnTo>
                  <a:lnTo>
                    <a:pt x="783" y="80"/>
                  </a:lnTo>
                  <a:lnTo>
                    <a:pt x="783" y="71"/>
                  </a:lnTo>
                  <a:lnTo>
                    <a:pt x="782" y="61"/>
                  </a:lnTo>
                  <a:lnTo>
                    <a:pt x="780" y="51"/>
                  </a:lnTo>
                  <a:lnTo>
                    <a:pt x="777" y="42"/>
                  </a:lnTo>
                  <a:lnTo>
                    <a:pt x="773" y="33"/>
                  </a:lnTo>
                  <a:lnTo>
                    <a:pt x="767" y="26"/>
                  </a:lnTo>
                  <a:lnTo>
                    <a:pt x="765" y="24"/>
                  </a:lnTo>
                  <a:lnTo>
                    <a:pt x="761" y="21"/>
                  </a:lnTo>
                  <a:lnTo>
                    <a:pt x="757" y="20"/>
                  </a:lnTo>
                  <a:lnTo>
                    <a:pt x="753" y="20"/>
                  </a:lnTo>
                  <a:lnTo>
                    <a:pt x="743" y="20"/>
                  </a:lnTo>
                  <a:lnTo>
                    <a:pt x="733" y="17"/>
                  </a:lnTo>
                  <a:lnTo>
                    <a:pt x="724" y="16"/>
                  </a:lnTo>
                  <a:lnTo>
                    <a:pt x="715" y="13"/>
                  </a:lnTo>
                  <a:lnTo>
                    <a:pt x="699" y="8"/>
                  </a:lnTo>
                  <a:lnTo>
                    <a:pt x="685" y="4"/>
                  </a:lnTo>
                  <a:lnTo>
                    <a:pt x="668" y="0"/>
                  </a:lnTo>
                  <a:lnTo>
                    <a:pt x="668" y="0"/>
                  </a:lnTo>
                  <a:close/>
                  <a:moveTo>
                    <a:pt x="313" y="319"/>
                  </a:moveTo>
                  <a:lnTo>
                    <a:pt x="330" y="324"/>
                  </a:lnTo>
                  <a:lnTo>
                    <a:pt x="344" y="324"/>
                  </a:lnTo>
                  <a:lnTo>
                    <a:pt x="367" y="324"/>
                  </a:lnTo>
                  <a:lnTo>
                    <a:pt x="391" y="326"/>
                  </a:lnTo>
                  <a:lnTo>
                    <a:pt x="402" y="326"/>
                  </a:lnTo>
                  <a:lnTo>
                    <a:pt x="408" y="332"/>
                  </a:lnTo>
                  <a:lnTo>
                    <a:pt x="413" y="339"/>
                  </a:lnTo>
                  <a:lnTo>
                    <a:pt x="417" y="348"/>
                  </a:lnTo>
                  <a:lnTo>
                    <a:pt x="419" y="357"/>
                  </a:lnTo>
                  <a:lnTo>
                    <a:pt x="423" y="366"/>
                  </a:lnTo>
                  <a:lnTo>
                    <a:pt x="427" y="375"/>
                  </a:lnTo>
                  <a:lnTo>
                    <a:pt x="431" y="383"/>
                  </a:lnTo>
                  <a:lnTo>
                    <a:pt x="435" y="391"/>
                  </a:lnTo>
                  <a:lnTo>
                    <a:pt x="439" y="396"/>
                  </a:lnTo>
                  <a:lnTo>
                    <a:pt x="443" y="402"/>
                  </a:lnTo>
                  <a:lnTo>
                    <a:pt x="446" y="407"/>
                  </a:lnTo>
                  <a:lnTo>
                    <a:pt x="447" y="413"/>
                  </a:lnTo>
                  <a:lnTo>
                    <a:pt x="448" y="419"/>
                  </a:lnTo>
                  <a:lnTo>
                    <a:pt x="448" y="425"/>
                  </a:lnTo>
                  <a:lnTo>
                    <a:pt x="447" y="432"/>
                  </a:lnTo>
                  <a:lnTo>
                    <a:pt x="444" y="439"/>
                  </a:lnTo>
                  <a:lnTo>
                    <a:pt x="435" y="456"/>
                  </a:lnTo>
                  <a:lnTo>
                    <a:pt x="429" y="475"/>
                  </a:lnTo>
                  <a:lnTo>
                    <a:pt x="419" y="492"/>
                  </a:lnTo>
                  <a:lnTo>
                    <a:pt x="410" y="508"/>
                  </a:lnTo>
                  <a:lnTo>
                    <a:pt x="406" y="513"/>
                  </a:lnTo>
                  <a:lnTo>
                    <a:pt x="402" y="514"/>
                  </a:lnTo>
                  <a:lnTo>
                    <a:pt x="397" y="515"/>
                  </a:lnTo>
                  <a:lnTo>
                    <a:pt x="393" y="515"/>
                  </a:lnTo>
                  <a:lnTo>
                    <a:pt x="383" y="513"/>
                  </a:lnTo>
                  <a:lnTo>
                    <a:pt x="372" y="509"/>
                  </a:lnTo>
                  <a:lnTo>
                    <a:pt x="361" y="505"/>
                  </a:lnTo>
                  <a:lnTo>
                    <a:pt x="350" y="502"/>
                  </a:lnTo>
                  <a:lnTo>
                    <a:pt x="345" y="504"/>
                  </a:lnTo>
                  <a:lnTo>
                    <a:pt x="340" y="505"/>
                  </a:lnTo>
                  <a:lnTo>
                    <a:pt x="336" y="509"/>
                  </a:lnTo>
                  <a:lnTo>
                    <a:pt x="330" y="513"/>
                  </a:lnTo>
                  <a:lnTo>
                    <a:pt x="325" y="521"/>
                  </a:lnTo>
                  <a:lnTo>
                    <a:pt x="319" y="527"/>
                  </a:lnTo>
                  <a:lnTo>
                    <a:pt x="311" y="531"/>
                  </a:lnTo>
                  <a:lnTo>
                    <a:pt x="304" y="532"/>
                  </a:lnTo>
                  <a:lnTo>
                    <a:pt x="296" y="534"/>
                  </a:lnTo>
                  <a:lnTo>
                    <a:pt x="290" y="534"/>
                  </a:lnTo>
                  <a:lnTo>
                    <a:pt x="282" y="532"/>
                  </a:lnTo>
                  <a:lnTo>
                    <a:pt x="274" y="531"/>
                  </a:lnTo>
                  <a:lnTo>
                    <a:pt x="260" y="526"/>
                  </a:lnTo>
                  <a:lnTo>
                    <a:pt x="244" y="521"/>
                  </a:lnTo>
                  <a:lnTo>
                    <a:pt x="230" y="515"/>
                  </a:lnTo>
                  <a:lnTo>
                    <a:pt x="217" y="514"/>
                  </a:lnTo>
                  <a:lnTo>
                    <a:pt x="138" y="510"/>
                  </a:lnTo>
                  <a:lnTo>
                    <a:pt x="151" y="425"/>
                  </a:lnTo>
                  <a:lnTo>
                    <a:pt x="145" y="387"/>
                  </a:lnTo>
                  <a:lnTo>
                    <a:pt x="163" y="386"/>
                  </a:lnTo>
                  <a:lnTo>
                    <a:pt x="181" y="386"/>
                  </a:lnTo>
                  <a:lnTo>
                    <a:pt x="185" y="385"/>
                  </a:lnTo>
                  <a:lnTo>
                    <a:pt x="189" y="383"/>
                  </a:lnTo>
                  <a:lnTo>
                    <a:pt x="192" y="383"/>
                  </a:lnTo>
                  <a:lnTo>
                    <a:pt x="193" y="382"/>
                  </a:lnTo>
                  <a:lnTo>
                    <a:pt x="211" y="375"/>
                  </a:lnTo>
                  <a:lnTo>
                    <a:pt x="227" y="368"/>
                  </a:lnTo>
                  <a:lnTo>
                    <a:pt x="238" y="366"/>
                  </a:lnTo>
                  <a:lnTo>
                    <a:pt x="249" y="362"/>
                  </a:lnTo>
                  <a:lnTo>
                    <a:pt x="260" y="357"/>
                  </a:lnTo>
                  <a:lnTo>
                    <a:pt x="272" y="351"/>
                  </a:lnTo>
                  <a:lnTo>
                    <a:pt x="291" y="337"/>
                  </a:lnTo>
                  <a:lnTo>
                    <a:pt x="307" y="326"/>
                  </a:lnTo>
                  <a:lnTo>
                    <a:pt x="310" y="323"/>
                  </a:lnTo>
                  <a:lnTo>
                    <a:pt x="313" y="319"/>
                  </a:lnTo>
                  <a:close/>
                  <a:moveTo>
                    <a:pt x="864" y="1063"/>
                  </a:moveTo>
                  <a:lnTo>
                    <a:pt x="830" y="1101"/>
                  </a:lnTo>
                  <a:lnTo>
                    <a:pt x="826" y="1107"/>
                  </a:lnTo>
                  <a:lnTo>
                    <a:pt x="825" y="1113"/>
                  </a:lnTo>
                  <a:lnTo>
                    <a:pt x="824" y="1121"/>
                  </a:lnTo>
                  <a:lnTo>
                    <a:pt x="822" y="1130"/>
                  </a:lnTo>
                  <a:lnTo>
                    <a:pt x="822" y="1148"/>
                  </a:lnTo>
                  <a:lnTo>
                    <a:pt x="822" y="1162"/>
                  </a:lnTo>
                  <a:lnTo>
                    <a:pt x="822" y="1163"/>
                  </a:lnTo>
                  <a:lnTo>
                    <a:pt x="821" y="1164"/>
                  </a:lnTo>
                  <a:lnTo>
                    <a:pt x="818" y="1169"/>
                  </a:lnTo>
                  <a:lnTo>
                    <a:pt x="816" y="1173"/>
                  </a:lnTo>
                  <a:lnTo>
                    <a:pt x="814" y="1177"/>
                  </a:lnTo>
                  <a:lnTo>
                    <a:pt x="812" y="1180"/>
                  </a:lnTo>
                  <a:lnTo>
                    <a:pt x="811" y="1182"/>
                  </a:lnTo>
                  <a:lnTo>
                    <a:pt x="807" y="1184"/>
                  </a:lnTo>
                  <a:lnTo>
                    <a:pt x="805" y="1184"/>
                  </a:lnTo>
                  <a:lnTo>
                    <a:pt x="805" y="1185"/>
                  </a:lnTo>
                  <a:lnTo>
                    <a:pt x="777" y="1205"/>
                  </a:lnTo>
                  <a:lnTo>
                    <a:pt x="773" y="1206"/>
                  </a:lnTo>
                  <a:lnTo>
                    <a:pt x="770" y="1209"/>
                  </a:lnTo>
                  <a:lnTo>
                    <a:pt x="769" y="1209"/>
                  </a:lnTo>
                  <a:lnTo>
                    <a:pt x="767" y="1210"/>
                  </a:lnTo>
                  <a:lnTo>
                    <a:pt x="765" y="1210"/>
                  </a:lnTo>
                  <a:lnTo>
                    <a:pt x="762" y="1210"/>
                  </a:lnTo>
                  <a:lnTo>
                    <a:pt x="760" y="1211"/>
                  </a:lnTo>
                  <a:lnTo>
                    <a:pt x="758" y="1211"/>
                  </a:lnTo>
                  <a:lnTo>
                    <a:pt x="756" y="1213"/>
                  </a:lnTo>
                  <a:lnTo>
                    <a:pt x="753" y="1214"/>
                  </a:lnTo>
                  <a:lnTo>
                    <a:pt x="752" y="1214"/>
                  </a:lnTo>
                  <a:lnTo>
                    <a:pt x="750" y="1214"/>
                  </a:lnTo>
                  <a:lnTo>
                    <a:pt x="740" y="1216"/>
                  </a:lnTo>
                  <a:lnTo>
                    <a:pt x="728" y="1220"/>
                  </a:lnTo>
                  <a:lnTo>
                    <a:pt x="709" y="1226"/>
                  </a:lnTo>
                  <a:lnTo>
                    <a:pt x="689" y="1231"/>
                  </a:lnTo>
                  <a:lnTo>
                    <a:pt x="686" y="1233"/>
                  </a:lnTo>
                  <a:lnTo>
                    <a:pt x="681" y="1233"/>
                  </a:lnTo>
                  <a:lnTo>
                    <a:pt x="680" y="1233"/>
                  </a:lnTo>
                  <a:lnTo>
                    <a:pt x="680" y="1235"/>
                  </a:lnTo>
                  <a:lnTo>
                    <a:pt x="678" y="1236"/>
                  </a:lnTo>
                  <a:lnTo>
                    <a:pt x="677" y="1237"/>
                  </a:lnTo>
                  <a:lnTo>
                    <a:pt x="665" y="1244"/>
                  </a:lnTo>
                  <a:lnTo>
                    <a:pt x="646" y="1257"/>
                  </a:lnTo>
                  <a:lnTo>
                    <a:pt x="635" y="1264"/>
                  </a:lnTo>
                  <a:lnTo>
                    <a:pt x="623" y="1270"/>
                  </a:lnTo>
                  <a:lnTo>
                    <a:pt x="612" y="1274"/>
                  </a:lnTo>
                  <a:lnTo>
                    <a:pt x="600" y="1275"/>
                  </a:lnTo>
                  <a:lnTo>
                    <a:pt x="597" y="1277"/>
                  </a:lnTo>
                  <a:lnTo>
                    <a:pt x="595" y="1278"/>
                  </a:lnTo>
                  <a:lnTo>
                    <a:pt x="593" y="1278"/>
                  </a:lnTo>
                  <a:lnTo>
                    <a:pt x="592" y="1278"/>
                  </a:lnTo>
                  <a:lnTo>
                    <a:pt x="591" y="1279"/>
                  </a:lnTo>
                  <a:lnTo>
                    <a:pt x="591" y="1281"/>
                  </a:lnTo>
                  <a:lnTo>
                    <a:pt x="589" y="1281"/>
                  </a:lnTo>
                  <a:lnTo>
                    <a:pt x="588" y="1282"/>
                  </a:lnTo>
                  <a:lnTo>
                    <a:pt x="587" y="1283"/>
                  </a:lnTo>
                  <a:lnTo>
                    <a:pt x="586" y="1283"/>
                  </a:lnTo>
                  <a:lnTo>
                    <a:pt x="580" y="1286"/>
                  </a:lnTo>
                  <a:lnTo>
                    <a:pt x="574" y="1290"/>
                  </a:lnTo>
                  <a:lnTo>
                    <a:pt x="567" y="1296"/>
                  </a:lnTo>
                  <a:lnTo>
                    <a:pt x="561" y="1303"/>
                  </a:lnTo>
                  <a:lnTo>
                    <a:pt x="549" y="1317"/>
                  </a:lnTo>
                  <a:lnTo>
                    <a:pt x="541" y="1328"/>
                  </a:lnTo>
                  <a:lnTo>
                    <a:pt x="504" y="1390"/>
                  </a:lnTo>
                  <a:lnTo>
                    <a:pt x="468" y="1394"/>
                  </a:lnTo>
                  <a:lnTo>
                    <a:pt x="452" y="1397"/>
                  </a:lnTo>
                  <a:lnTo>
                    <a:pt x="427" y="1401"/>
                  </a:lnTo>
                  <a:lnTo>
                    <a:pt x="402" y="1406"/>
                  </a:lnTo>
                  <a:lnTo>
                    <a:pt x="389" y="1407"/>
                  </a:lnTo>
                  <a:lnTo>
                    <a:pt x="387" y="1407"/>
                  </a:lnTo>
                  <a:lnTo>
                    <a:pt x="383" y="1409"/>
                  </a:lnTo>
                  <a:lnTo>
                    <a:pt x="379" y="1413"/>
                  </a:lnTo>
                  <a:lnTo>
                    <a:pt x="374" y="1417"/>
                  </a:lnTo>
                  <a:lnTo>
                    <a:pt x="367" y="1422"/>
                  </a:lnTo>
                  <a:lnTo>
                    <a:pt x="362" y="1428"/>
                  </a:lnTo>
                  <a:lnTo>
                    <a:pt x="355" y="1432"/>
                  </a:lnTo>
                  <a:lnTo>
                    <a:pt x="350" y="1436"/>
                  </a:lnTo>
                  <a:lnTo>
                    <a:pt x="346" y="1439"/>
                  </a:lnTo>
                  <a:lnTo>
                    <a:pt x="341" y="1441"/>
                  </a:lnTo>
                  <a:lnTo>
                    <a:pt x="337" y="1445"/>
                  </a:lnTo>
                  <a:lnTo>
                    <a:pt x="334" y="1447"/>
                  </a:lnTo>
                  <a:lnTo>
                    <a:pt x="330" y="1447"/>
                  </a:lnTo>
                  <a:lnTo>
                    <a:pt x="329" y="1447"/>
                  </a:lnTo>
                  <a:lnTo>
                    <a:pt x="327" y="1447"/>
                  </a:lnTo>
                  <a:lnTo>
                    <a:pt x="306" y="1452"/>
                  </a:lnTo>
                  <a:lnTo>
                    <a:pt x="302" y="1455"/>
                  </a:lnTo>
                  <a:lnTo>
                    <a:pt x="299" y="1457"/>
                  </a:lnTo>
                  <a:lnTo>
                    <a:pt x="299" y="1458"/>
                  </a:lnTo>
                  <a:lnTo>
                    <a:pt x="298" y="1466"/>
                  </a:lnTo>
                  <a:lnTo>
                    <a:pt x="298" y="1473"/>
                  </a:lnTo>
                  <a:lnTo>
                    <a:pt x="304" y="1490"/>
                  </a:lnTo>
                  <a:lnTo>
                    <a:pt x="310" y="1508"/>
                  </a:lnTo>
                  <a:lnTo>
                    <a:pt x="313" y="1512"/>
                  </a:lnTo>
                  <a:lnTo>
                    <a:pt x="316" y="1517"/>
                  </a:lnTo>
                  <a:lnTo>
                    <a:pt x="317" y="1520"/>
                  </a:lnTo>
                  <a:lnTo>
                    <a:pt x="317" y="1523"/>
                  </a:lnTo>
                  <a:lnTo>
                    <a:pt x="317" y="1525"/>
                  </a:lnTo>
                  <a:lnTo>
                    <a:pt x="316" y="1528"/>
                  </a:lnTo>
                  <a:lnTo>
                    <a:pt x="315" y="1529"/>
                  </a:lnTo>
                  <a:lnTo>
                    <a:pt x="308" y="1530"/>
                  </a:lnTo>
                  <a:lnTo>
                    <a:pt x="300" y="1533"/>
                  </a:lnTo>
                  <a:lnTo>
                    <a:pt x="290" y="1534"/>
                  </a:lnTo>
                  <a:lnTo>
                    <a:pt x="278" y="1536"/>
                  </a:lnTo>
                  <a:lnTo>
                    <a:pt x="276" y="1536"/>
                  </a:lnTo>
                  <a:lnTo>
                    <a:pt x="259" y="1557"/>
                  </a:lnTo>
                  <a:lnTo>
                    <a:pt x="259" y="1558"/>
                  </a:lnTo>
                  <a:lnTo>
                    <a:pt x="256" y="1563"/>
                  </a:lnTo>
                  <a:lnTo>
                    <a:pt x="251" y="1568"/>
                  </a:lnTo>
                  <a:lnTo>
                    <a:pt x="243" y="1574"/>
                  </a:lnTo>
                  <a:lnTo>
                    <a:pt x="236" y="1578"/>
                  </a:lnTo>
                  <a:lnTo>
                    <a:pt x="234" y="1580"/>
                  </a:lnTo>
                  <a:lnTo>
                    <a:pt x="231" y="1580"/>
                  </a:lnTo>
                  <a:lnTo>
                    <a:pt x="219" y="1584"/>
                  </a:lnTo>
                  <a:lnTo>
                    <a:pt x="206" y="1587"/>
                  </a:lnTo>
                  <a:lnTo>
                    <a:pt x="198" y="1591"/>
                  </a:lnTo>
                  <a:lnTo>
                    <a:pt x="189" y="1595"/>
                  </a:lnTo>
                  <a:lnTo>
                    <a:pt x="181" y="1597"/>
                  </a:lnTo>
                  <a:lnTo>
                    <a:pt x="172" y="1600"/>
                  </a:lnTo>
                  <a:lnTo>
                    <a:pt x="171" y="1600"/>
                  </a:lnTo>
                  <a:lnTo>
                    <a:pt x="170" y="1601"/>
                  </a:lnTo>
                  <a:lnTo>
                    <a:pt x="167" y="1601"/>
                  </a:lnTo>
                  <a:lnTo>
                    <a:pt x="164" y="1602"/>
                  </a:lnTo>
                  <a:lnTo>
                    <a:pt x="163" y="1602"/>
                  </a:lnTo>
                  <a:lnTo>
                    <a:pt x="160" y="1604"/>
                  </a:lnTo>
                  <a:lnTo>
                    <a:pt x="116" y="1635"/>
                  </a:lnTo>
                  <a:lnTo>
                    <a:pt x="104" y="1646"/>
                  </a:lnTo>
                  <a:lnTo>
                    <a:pt x="92" y="1657"/>
                  </a:lnTo>
                  <a:lnTo>
                    <a:pt x="79" y="1657"/>
                  </a:lnTo>
                  <a:lnTo>
                    <a:pt x="68" y="1656"/>
                  </a:lnTo>
                  <a:lnTo>
                    <a:pt x="58" y="1656"/>
                  </a:lnTo>
                  <a:lnTo>
                    <a:pt x="51" y="1657"/>
                  </a:lnTo>
                  <a:lnTo>
                    <a:pt x="43" y="1659"/>
                  </a:lnTo>
                  <a:lnTo>
                    <a:pt x="35" y="1661"/>
                  </a:lnTo>
                  <a:lnTo>
                    <a:pt x="23" y="1665"/>
                  </a:lnTo>
                  <a:lnTo>
                    <a:pt x="14" y="1669"/>
                  </a:lnTo>
                  <a:lnTo>
                    <a:pt x="7" y="1674"/>
                  </a:lnTo>
                  <a:lnTo>
                    <a:pt x="3" y="1680"/>
                  </a:lnTo>
                  <a:lnTo>
                    <a:pt x="1" y="1686"/>
                  </a:lnTo>
                  <a:lnTo>
                    <a:pt x="0" y="1694"/>
                  </a:lnTo>
                  <a:lnTo>
                    <a:pt x="1" y="1700"/>
                  </a:lnTo>
                  <a:lnTo>
                    <a:pt x="2" y="1708"/>
                  </a:lnTo>
                  <a:lnTo>
                    <a:pt x="17" y="1744"/>
                  </a:lnTo>
                  <a:lnTo>
                    <a:pt x="31" y="1784"/>
                  </a:lnTo>
                  <a:lnTo>
                    <a:pt x="35" y="1796"/>
                  </a:lnTo>
                  <a:lnTo>
                    <a:pt x="38" y="1805"/>
                  </a:lnTo>
                  <a:lnTo>
                    <a:pt x="41" y="1813"/>
                  </a:lnTo>
                  <a:lnTo>
                    <a:pt x="45" y="1818"/>
                  </a:lnTo>
                  <a:lnTo>
                    <a:pt x="49" y="1821"/>
                  </a:lnTo>
                  <a:lnTo>
                    <a:pt x="55" y="1823"/>
                  </a:lnTo>
                  <a:lnTo>
                    <a:pt x="60" y="1823"/>
                  </a:lnTo>
                  <a:lnTo>
                    <a:pt x="64" y="1825"/>
                  </a:lnTo>
                  <a:lnTo>
                    <a:pt x="74" y="1823"/>
                  </a:lnTo>
                  <a:lnTo>
                    <a:pt x="86" y="1825"/>
                  </a:lnTo>
                  <a:lnTo>
                    <a:pt x="92" y="1826"/>
                  </a:lnTo>
                  <a:lnTo>
                    <a:pt x="99" y="1829"/>
                  </a:lnTo>
                  <a:lnTo>
                    <a:pt x="106" y="1833"/>
                  </a:lnTo>
                  <a:lnTo>
                    <a:pt x="113" y="1839"/>
                  </a:lnTo>
                  <a:lnTo>
                    <a:pt x="134" y="1860"/>
                  </a:lnTo>
                  <a:lnTo>
                    <a:pt x="149" y="1878"/>
                  </a:lnTo>
                  <a:lnTo>
                    <a:pt x="160" y="1898"/>
                  </a:lnTo>
                  <a:lnTo>
                    <a:pt x="175" y="1924"/>
                  </a:lnTo>
                  <a:lnTo>
                    <a:pt x="176" y="1929"/>
                  </a:lnTo>
                  <a:lnTo>
                    <a:pt x="177" y="1935"/>
                  </a:lnTo>
                  <a:lnTo>
                    <a:pt x="177" y="1939"/>
                  </a:lnTo>
                  <a:lnTo>
                    <a:pt x="177" y="1944"/>
                  </a:lnTo>
                  <a:lnTo>
                    <a:pt x="175" y="1954"/>
                  </a:lnTo>
                  <a:lnTo>
                    <a:pt x="172" y="1965"/>
                  </a:lnTo>
                  <a:lnTo>
                    <a:pt x="168" y="1975"/>
                  </a:lnTo>
                  <a:lnTo>
                    <a:pt x="167" y="1986"/>
                  </a:lnTo>
                  <a:lnTo>
                    <a:pt x="166" y="1991"/>
                  </a:lnTo>
                  <a:lnTo>
                    <a:pt x="166" y="1996"/>
                  </a:lnTo>
                  <a:lnTo>
                    <a:pt x="167" y="2001"/>
                  </a:lnTo>
                  <a:lnTo>
                    <a:pt x="168" y="2008"/>
                  </a:lnTo>
                  <a:lnTo>
                    <a:pt x="172" y="2009"/>
                  </a:lnTo>
                  <a:lnTo>
                    <a:pt x="180" y="2008"/>
                  </a:lnTo>
                  <a:lnTo>
                    <a:pt x="192" y="2007"/>
                  </a:lnTo>
                  <a:lnTo>
                    <a:pt x="206" y="2005"/>
                  </a:lnTo>
                  <a:lnTo>
                    <a:pt x="235" y="2001"/>
                  </a:lnTo>
                  <a:lnTo>
                    <a:pt x="257" y="2000"/>
                  </a:lnTo>
                  <a:lnTo>
                    <a:pt x="265" y="2000"/>
                  </a:lnTo>
                  <a:lnTo>
                    <a:pt x="273" y="1997"/>
                  </a:lnTo>
                  <a:lnTo>
                    <a:pt x="281" y="1993"/>
                  </a:lnTo>
                  <a:lnTo>
                    <a:pt x="290" y="1988"/>
                  </a:lnTo>
                  <a:lnTo>
                    <a:pt x="298" y="1982"/>
                  </a:lnTo>
                  <a:lnTo>
                    <a:pt x="306" y="1974"/>
                  </a:lnTo>
                  <a:lnTo>
                    <a:pt x="313" y="1965"/>
                  </a:lnTo>
                  <a:lnTo>
                    <a:pt x="321" y="1956"/>
                  </a:lnTo>
                  <a:lnTo>
                    <a:pt x="336" y="1936"/>
                  </a:lnTo>
                  <a:lnTo>
                    <a:pt x="346" y="1915"/>
                  </a:lnTo>
                  <a:lnTo>
                    <a:pt x="350" y="1906"/>
                  </a:lnTo>
                  <a:lnTo>
                    <a:pt x="354" y="1897"/>
                  </a:lnTo>
                  <a:lnTo>
                    <a:pt x="355" y="1888"/>
                  </a:lnTo>
                  <a:lnTo>
                    <a:pt x="357" y="1880"/>
                  </a:lnTo>
                  <a:lnTo>
                    <a:pt x="357" y="1874"/>
                  </a:lnTo>
                  <a:lnTo>
                    <a:pt x="358" y="1871"/>
                  </a:lnTo>
                  <a:lnTo>
                    <a:pt x="359" y="1867"/>
                  </a:lnTo>
                  <a:lnTo>
                    <a:pt x="361" y="1865"/>
                  </a:lnTo>
                  <a:lnTo>
                    <a:pt x="363" y="1864"/>
                  </a:lnTo>
                  <a:lnTo>
                    <a:pt x="366" y="1865"/>
                  </a:lnTo>
                  <a:lnTo>
                    <a:pt x="370" y="1865"/>
                  </a:lnTo>
                  <a:lnTo>
                    <a:pt x="372" y="1867"/>
                  </a:lnTo>
                  <a:lnTo>
                    <a:pt x="385" y="1877"/>
                  </a:lnTo>
                  <a:lnTo>
                    <a:pt x="396" y="1888"/>
                  </a:lnTo>
                  <a:lnTo>
                    <a:pt x="402" y="1894"/>
                  </a:lnTo>
                  <a:lnTo>
                    <a:pt x="408" y="1898"/>
                  </a:lnTo>
                  <a:lnTo>
                    <a:pt x="412" y="1899"/>
                  </a:lnTo>
                  <a:lnTo>
                    <a:pt x="416" y="1898"/>
                  </a:lnTo>
                  <a:lnTo>
                    <a:pt x="419" y="1895"/>
                  </a:lnTo>
                  <a:lnTo>
                    <a:pt x="422" y="1891"/>
                  </a:lnTo>
                  <a:lnTo>
                    <a:pt x="425" y="1886"/>
                  </a:lnTo>
                  <a:lnTo>
                    <a:pt x="427" y="1880"/>
                  </a:lnTo>
                  <a:lnTo>
                    <a:pt x="433" y="1865"/>
                  </a:lnTo>
                  <a:lnTo>
                    <a:pt x="440" y="1851"/>
                  </a:lnTo>
                  <a:lnTo>
                    <a:pt x="444" y="1843"/>
                  </a:lnTo>
                  <a:lnTo>
                    <a:pt x="450" y="1837"/>
                  </a:lnTo>
                  <a:lnTo>
                    <a:pt x="456" y="1831"/>
                  </a:lnTo>
                  <a:lnTo>
                    <a:pt x="464" y="1827"/>
                  </a:lnTo>
                  <a:lnTo>
                    <a:pt x="478" y="1822"/>
                  </a:lnTo>
                  <a:lnTo>
                    <a:pt x="490" y="1820"/>
                  </a:lnTo>
                  <a:lnTo>
                    <a:pt x="499" y="1818"/>
                  </a:lnTo>
                  <a:lnTo>
                    <a:pt x="507" y="1820"/>
                  </a:lnTo>
                  <a:lnTo>
                    <a:pt x="514" y="1822"/>
                  </a:lnTo>
                  <a:lnTo>
                    <a:pt x="518" y="1826"/>
                  </a:lnTo>
                  <a:lnTo>
                    <a:pt x="521" y="1831"/>
                  </a:lnTo>
                  <a:lnTo>
                    <a:pt x="524" y="1838"/>
                  </a:lnTo>
                  <a:lnTo>
                    <a:pt x="529" y="1871"/>
                  </a:lnTo>
                  <a:lnTo>
                    <a:pt x="537" y="1908"/>
                  </a:lnTo>
                  <a:lnTo>
                    <a:pt x="541" y="1916"/>
                  </a:lnTo>
                  <a:lnTo>
                    <a:pt x="548" y="1923"/>
                  </a:lnTo>
                  <a:lnTo>
                    <a:pt x="555" y="1928"/>
                  </a:lnTo>
                  <a:lnTo>
                    <a:pt x="565" y="1932"/>
                  </a:lnTo>
                  <a:lnTo>
                    <a:pt x="583" y="1937"/>
                  </a:lnTo>
                  <a:lnTo>
                    <a:pt x="601" y="1941"/>
                  </a:lnTo>
                  <a:lnTo>
                    <a:pt x="608" y="1944"/>
                  </a:lnTo>
                  <a:lnTo>
                    <a:pt x="613" y="1948"/>
                  </a:lnTo>
                  <a:lnTo>
                    <a:pt x="617" y="1950"/>
                  </a:lnTo>
                  <a:lnTo>
                    <a:pt x="620" y="1956"/>
                  </a:lnTo>
                  <a:lnTo>
                    <a:pt x="621" y="1959"/>
                  </a:lnTo>
                  <a:lnTo>
                    <a:pt x="620" y="1965"/>
                  </a:lnTo>
                  <a:lnTo>
                    <a:pt x="620" y="1970"/>
                  </a:lnTo>
                  <a:lnTo>
                    <a:pt x="617" y="1975"/>
                  </a:lnTo>
                  <a:lnTo>
                    <a:pt x="610" y="1986"/>
                  </a:lnTo>
                  <a:lnTo>
                    <a:pt x="603" y="1995"/>
                  </a:lnTo>
                  <a:lnTo>
                    <a:pt x="595" y="2003"/>
                  </a:lnTo>
                  <a:lnTo>
                    <a:pt x="587" y="2009"/>
                  </a:lnTo>
                  <a:lnTo>
                    <a:pt x="571" y="2022"/>
                  </a:lnTo>
                  <a:lnTo>
                    <a:pt x="559" y="2034"/>
                  </a:lnTo>
                  <a:lnTo>
                    <a:pt x="550" y="2046"/>
                  </a:lnTo>
                  <a:lnTo>
                    <a:pt x="541" y="2054"/>
                  </a:lnTo>
                  <a:lnTo>
                    <a:pt x="537" y="2058"/>
                  </a:lnTo>
                  <a:lnTo>
                    <a:pt x="532" y="2059"/>
                  </a:lnTo>
                  <a:lnTo>
                    <a:pt x="525" y="2060"/>
                  </a:lnTo>
                  <a:lnTo>
                    <a:pt x="519" y="2060"/>
                  </a:lnTo>
                  <a:lnTo>
                    <a:pt x="511" y="2060"/>
                  </a:lnTo>
                  <a:lnTo>
                    <a:pt x="502" y="2058"/>
                  </a:lnTo>
                  <a:lnTo>
                    <a:pt x="491" y="2052"/>
                  </a:lnTo>
                  <a:lnTo>
                    <a:pt x="480" y="2047"/>
                  </a:lnTo>
                  <a:lnTo>
                    <a:pt x="463" y="2041"/>
                  </a:lnTo>
                  <a:lnTo>
                    <a:pt x="450" y="2037"/>
                  </a:lnTo>
                  <a:lnTo>
                    <a:pt x="443" y="2035"/>
                  </a:lnTo>
                  <a:lnTo>
                    <a:pt x="436" y="2035"/>
                  </a:lnTo>
                  <a:lnTo>
                    <a:pt x="431" y="2037"/>
                  </a:lnTo>
                  <a:lnTo>
                    <a:pt x="426" y="2039"/>
                  </a:lnTo>
                  <a:lnTo>
                    <a:pt x="422" y="2042"/>
                  </a:lnTo>
                  <a:lnTo>
                    <a:pt x="418" y="2046"/>
                  </a:lnTo>
                  <a:lnTo>
                    <a:pt x="414" y="2050"/>
                  </a:lnTo>
                  <a:lnTo>
                    <a:pt x="412" y="2056"/>
                  </a:lnTo>
                  <a:lnTo>
                    <a:pt x="409" y="2063"/>
                  </a:lnTo>
                  <a:lnTo>
                    <a:pt x="406" y="2071"/>
                  </a:lnTo>
                  <a:lnTo>
                    <a:pt x="405" y="2080"/>
                  </a:lnTo>
                  <a:lnTo>
                    <a:pt x="404" y="2089"/>
                  </a:lnTo>
                  <a:lnTo>
                    <a:pt x="404" y="2093"/>
                  </a:lnTo>
                  <a:lnTo>
                    <a:pt x="402" y="2097"/>
                  </a:lnTo>
                  <a:lnTo>
                    <a:pt x="401" y="2098"/>
                  </a:lnTo>
                  <a:lnTo>
                    <a:pt x="399" y="2101"/>
                  </a:lnTo>
                  <a:lnTo>
                    <a:pt x="393" y="2102"/>
                  </a:lnTo>
                  <a:lnTo>
                    <a:pt x="387" y="2102"/>
                  </a:lnTo>
                  <a:lnTo>
                    <a:pt x="380" y="2101"/>
                  </a:lnTo>
                  <a:lnTo>
                    <a:pt x="374" y="2101"/>
                  </a:lnTo>
                  <a:lnTo>
                    <a:pt x="366" y="2099"/>
                  </a:lnTo>
                  <a:lnTo>
                    <a:pt x="361" y="2101"/>
                  </a:lnTo>
                  <a:lnTo>
                    <a:pt x="351" y="2105"/>
                  </a:lnTo>
                  <a:lnTo>
                    <a:pt x="345" y="2109"/>
                  </a:lnTo>
                  <a:lnTo>
                    <a:pt x="338" y="2114"/>
                  </a:lnTo>
                  <a:lnTo>
                    <a:pt x="334" y="2118"/>
                  </a:lnTo>
                  <a:lnTo>
                    <a:pt x="332" y="2122"/>
                  </a:lnTo>
                  <a:lnTo>
                    <a:pt x="329" y="2127"/>
                  </a:lnTo>
                  <a:lnTo>
                    <a:pt x="328" y="2132"/>
                  </a:lnTo>
                  <a:lnTo>
                    <a:pt x="328" y="2136"/>
                  </a:lnTo>
                  <a:lnTo>
                    <a:pt x="330" y="2147"/>
                  </a:lnTo>
                  <a:lnTo>
                    <a:pt x="336" y="2157"/>
                  </a:lnTo>
                  <a:lnTo>
                    <a:pt x="341" y="2167"/>
                  </a:lnTo>
                  <a:lnTo>
                    <a:pt x="347" y="2178"/>
                  </a:lnTo>
                  <a:lnTo>
                    <a:pt x="353" y="2188"/>
                  </a:lnTo>
                  <a:lnTo>
                    <a:pt x="357" y="2199"/>
                  </a:lnTo>
                  <a:lnTo>
                    <a:pt x="358" y="2204"/>
                  </a:lnTo>
                  <a:lnTo>
                    <a:pt x="359" y="2209"/>
                  </a:lnTo>
                  <a:lnTo>
                    <a:pt x="359" y="2215"/>
                  </a:lnTo>
                  <a:lnTo>
                    <a:pt x="358" y="2218"/>
                  </a:lnTo>
                  <a:lnTo>
                    <a:pt x="355" y="2224"/>
                  </a:lnTo>
                  <a:lnTo>
                    <a:pt x="353" y="2228"/>
                  </a:lnTo>
                  <a:lnTo>
                    <a:pt x="347" y="2232"/>
                  </a:lnTo>
                  <a:lnTo>
                    <a:pt x="342" y="2237"/>
                  </a:lnTo>
                  <a:lnTo>
                    <a:pt x="334" y="2241"/>
                  </a:lnTo>
                  <a:lnTo>
                    <a:pt x="325" y="2243"/>
                  </a:lnTo>
                  <a:lnTo>
                    <a:pt x="315" y="2247"/>
                  </a:lnTo>
                  <a:lnTo>
                    <a:pt x="302" y="2251"/>
                  </a:lnTo>
                  <a:lnTo>
                    <a:pt x="285" y="2254"/>
                  </a:lnTo>
                  <a:lnTo>
                    <a:pt x="270" y="2254"/>
                  </a:lnTo>
                  <a:lnTo>
                    <a:pt x="257" y="2254"/>
                  </a:lnTo>
                  <a:lnTo>
                    <a:pt x="245" y="2252"/>
                  </a:lnTo>
                  <a:lnTo>
                    <a:pt x="235" y="2249"/>
                  </a:lnTo>
                  <a:lnTo>
                    <a:pt x="225" y="2246"/>
                  </a:lnTo>
                  <a:lnTo>
                    <a:pt x="215" y="2242"/>
                  </a:lnTo>
                  <a:lnTo>
                    <a:pt x="206" y="2237"/>
                  </a:lnTo>
                  <a:lnTo>
                    <a:pt x="191" y="2229"/>
                  </a:lnTo>
                  <a:lnTo>
                    <a:pt x="175" y="2224"/>
                  </a:lnTo>
                  <a:lnTo>
                    <a:pt x="166" y="2224"/>
                  </a:lnTo>
                  <a:lnTo>
                    <a:pt x="158" y="2224"/>
                  </a:lnTo>
                  <a:lnTo>
                    <a:pt x="147" y="2226"/>
                  </a:lnTo>
                  <a:lnTo>
                    <a:pt x="137" y="2230"/>
                  </a:lnTo>
                  <a:lnTo>
                    <a:pt x="130" y="2234"/>
                  </a:lnTo>
                  <a:lnTo>
                    <a:pt x="126" y="2241"/>
                  </a:lnTo>
                  <a:lnTo>
                    <a:pt x="124" y="2249"/>
                  </a:lnTo>
                  <a:lnTo>
                    <a:pt x="123" y="2256"/>
                  </a:lnTo>
                  <a:lnTo>
                    <a:pt x="123" y="2266"/>
                  </a:lnTo>
                  <a:lnTo>
                    <a:pt x="123" y="2276"/>
                  </a:lnTo>
                  <a:lnTo>
                    <a:pt x="125" y="2287"/>
                  </a:lnTo>
                  <a:lnTo>
                    <a:pt x="128" y="2297"/>
                  </a:lnTo>
                  <a:lnTo>
                    <a:pt x="143" y="2343"/>
                  </a:lnTo>
                  <a:lnTo>
                    <a:pt x="155" y="2379"/>
                  </a:lnTo>
                  <a:lnTo>
                    <a:pt x="159" y="2389"/>
                  </a:lnTo>
                  <a:lnTo>
                    <a:pt x="164" y="2395"/>
                  </a:lnTo>
                  <a:lnTo>
                    <a:pt x="172" y="2400"/>
                  </a:lnTo>
                  <a:lnTo>
                    <a:pt x="180" y="2404"/>
                  </a:lnTo>
                  <a:lnTo>
                    <a:pt x="189" y="2406"/>
                  </a:lnTo>
                  <a:lnTo>
                    <a:pt x="200" y="2407"/>
                  </a:lnTo>
                  <a:lnTo>
                    <a:pt x="211" y="2407"/>
                  </a:lnTo>
                  <a:lnTo>
                    <a:pt x="222" y="2406"/>
                  </a:lnTo>
                  <a:lnTo>
                    <a:pt x="244" y="2400"/>
                  </a:lnTo>
                  <a:lnTo>
                    <a:pt x="265" y="2394"/>
                  </a:lnTo>
                  <a:lnTo>
                    <a:pt x="282" y="2386"/>
                  </a:lnTo>
                  <a:lnTo>
                    <a:pt x="294" y="2381"/>
                  </a:lnTo>
                  <a:lnTo>
                    <a:pt x="302" y="2377"/>
                  </a:lnTo>
                  <a:lnTo>
                    <a:pt x="313" y="2372"/>
                  </a:lnTo>
                  <a:lnTo>
                    <a:pt x="327" y="2369"/>
                  </a:lnTo>
                  <a:lnTo>
                    <a:pt x="340" y="2366"/>
                  </a:lnTo>
                  <a:lnTo>
                    <a:pt x="346" y="2366"/>
                  </a:lnTo>
                  <a:lnTo>
                    <a:pt x="353" y="2368"/>
                  </a:lnTo>
                  <a:lnTo>
                    <a:pt x="358" y="2369"/>
                  </a:lnTo>
                  <a:lnTo>
                    <a:pt x="362" y="2372"/>
                  </a:lnTo>
                  <a:lnTo>
                    <a:pt x="365" y="2375"/>
                  </a:lnTo>
                  <a:lnTo>
                    <a:pt x="367" y="2382"/>
                  </a:lnTo>
                  <a:lnTo>
                    <a:pt x="367" y="2389"/>
                  </a:lnTo>
                  <a:lnTo>
                    <a:pt x="366" y="2398"/>
                  </a:lnTo>
                  <a:lnTo>
                    <a:pt x="363" y="2413"/>
                  </a:lnTo>
                  <a:lnTo>
                    <a:pt x="363" y="2428"/>
                  </a:lnTo>
                  <a:lnTo>
                    <a:pt x="365" y="2442"/>
                  </a:lnTo>
                  <a:lnTo>
                    <a:pt x="368" y="2455"/>
                  </a:lnTo>
                  <a:lnTo>
                    <a:pt x="374" y="2467"/>
                  </a:lnTo>
                  <a:lnTo>
                    <a:pt x="380" y="2477"/>
                  </a:lnTo>
                  <a:lnTo>
                    <a:pt x="388" y="2487"/>
                  </a:lnTo>
                  <a:lnTo>
                    <a:pt x="397" y="2494"/>
                  </a:lnTo>
                  <a:lnTo>
                    <a:pt x="408" y="2501"/>
                  </a:lnTo>
                  <a:lnTo>
                    <a:pt x="418" y="2506"/>
                  </a:lnTo>
                  <a:lnTo>
                    <a:pt x="431" y="2509"/>
                  </a:lnTo>
                  <a:lnTo>
                    <a:pt x="444" y="2510"/>
                  </a:lnTo>
                  <a:lnTo>
                    <a:pt x="457" y="2509"/>
                  </a:lnTo>
                  <a:lnTo>
                    <a:pt x="472" y="2506"/>
                  </a:lnTo>
                  <a:lnTo>
                    <a:pt x="486" y="2501"/>
                  </a:lnTo>
                  <a:lnTo>
                    <a:pt x="501" y="2494"/>
                  </a:lnTo>
                  <a:lnTo>
                    <a:pt x="511" y="2487"/>
                  </a:lnTo>
                  <a:lnTo>
                    <a:pt x="519" y="2479"/>
                  </a:lnTo>
                  <a:lnTo>
                    <a:pt x="524" y="2470"/>
                  </a:lnTo>
                  <a:lnTo>
                    <a:pt x="527" y="2460"/>
                  </a:lnTo>
                  <a:lnTo>
                    <a:pt x="527" y="2451"/>
                  </a:lnTo>
                  <a:lnTo>
                    <a:pt x="524" y="2441"/>
                  </a:lnTo>
                  <a:lnTo>
                    <a:pt x="521" y="2430"/>
                  </a:lnTo>
                  <a:lnTo>
                    <a:pt x="518" y="2419"/>
                  </a:lnTo>
                  <a:lnTo>
                    <a:pt x="507" y="2396"/>
                  </a:lnTo>
                  <a:lnTo>
                    <a:pt x="497" y="2374"/>
                  </a:lnTo>
                  <a:lnTo>
                    <a:pt x="491" y="2364"/>
                  </a:lnTo>
                  <a:lnTo>
                    <a:pt x="487" y="2352"/>
                  </a:lnTo>
                  <a:lnTo>
                    <a:pt x="485" y="2341"/>
                  </a:lnTo>
                  <a:lnTo>
                    <a:pt x="484" y="2331"/>
                  </a:lnTo>
                  <a:lnTo>
                    <a:pt x="485" y="2326"/>
                  </a:lnTo>
                  <a:lnTo>
                    <a:pt x="487" y="2321"/>
                  </a:lnTo>
                  <a:lnTo>
                    <a:pt x="490" y="2317"/>
                  </a:lnTo>
                  <a:lnTo>
                    <a:pt x="494" y="2311"/>
                  </a:lnTo>
                  <a:lnTo>
                    <a:pt x="506" y="2305"/>
                  </a:lnTo>
                  <a:lnTo>
                    <a:pt x="520" y="2298"/>
                  </a:lnTo>
                  <a:lnTo>
                    <a:pt x="552" y="2289"/>
                  </a:lnTo>
                  <a:lnTo>
                    <a:pt x="580" y="2283"/>
                  </a:lnTo>
                  <a:lnTo>
                    <a:pt x="593" y="2279"/>
                  </a:lnTo>
                  <a:lnTo>
                    <a:pt x="606" y="2273"/>
                  </a:lnTo>
                  <a:lnTo>
                    <a:pt x="617" y="2266"/>
                  </a:lnTo>
                  <a:lnTo>
                    <a:pt x="629" y="2258"/>
                  </a:lnTo>
                  <a:lnTo>
                    <a:pt x="638" y="2249"/>
                  </a:lnTo>
                  <a:lnTo>
                    <a:pt x="648" y="2238"/>
                  </a:lnTo>
                  <a:lnTo>
                    <a:pt x="656" y="2228"/>
                  </a:lnTo>
                  <a:lnTo>
                    <a:pt x="665" y="2216"/>
                  </a:lnTo>
                  <a:lnTo>
                    <a:pt x="694" y="2167"/>
                  </a:lnTo>
                  <a:lnTo>
                    <a:pt x="722" y="2120"/>
                  </a:lnTo>
                  <a:lnTo>
                    <a:pt x="727" y="2110"/>
                  </a:lnTo>
                  <a:lnTo>
                    <a:pt x="731" y="2098"/>
                  </a:lnTo>
                  <a:lnTo>
                    <a:pt x="732" y="2085"/>
                  </a:lnTo>
                  <a:lnTo>
                    <a:pt x="733" y="2073"/>
                  </a:lnTo>
                  <a:lnTo>
                    <a:pt x="733" y="2048"/>
                  </a:lnTo>
                  <a:lnTo>
                    <a:pt x="733" y="2026"/>
                  </a:lnTo>
                  <a:lnTo>
                    <a:pt x="733" y="2017"/>
                  </a:lnTo>
                  <a:lnTo>
                    <a:pt x="736" y="2009"/>
                  </a:lnTo>
                  <a:lnTo>
                    <a:pt x="739" y="2005"/>
                  </a:lnTo>
                  <a:lnTo>
                    <a:pt x="740" y="2003"/>
                  </a:lnTo>
                  <a:lnTo>
                    <a:pt x="744" y="2000"/>
                  </a:lnTo>
                  <a:lnTo>
                    <a:pt x="746" y="1997"/>
                  </a:lnTo>
                  <a:lnTo>
                    <a:pt x="750" y="1996"/>
                  </a:lnTo>
                  <a:lnTo>
                    <a:pt x="756" y="1996"/>
                  </a:lnTo>
                  <a:lnTo>
                    <a:pt x="761" y="1995"/>
                  </a:lnTo>
                  <a:lnTo>
                    <a:pt x="767" y="1996"/>
                  </a:lnTo>
                  <a:lnTo>
                    <a:pt x="782" y="1999"/>
                  </a:lnTo>
                  <a:lnTo>
                    <a:pt x="801" y="2004"/>
                  </a:lnTo>
                  <a:lnTo>
                    <a:pt x="808" y="2008"/>
                  </a:lnTo>
                  <a:lnTo>
                    <a:pt x="814" y="2010"/>
                  </a:lnTo>
                  <a:lnTo>
                    <a:pt x="816" y="2010"/>
                  </a:lnTo>
                  <a:lnTo>
                    <a:pt x="817" y="2010"/>
                  </a:lnTo>
                  <a:lnTo>
                    <a:pt x="822" y="2009"/>
                  </a:lnTo>
                  <a:lnTo>
                    <a:pt x="826" y="2007"/>
                  </a:lnTo>
                  <a:lnTo>
                    <a:pt x="828" y="2007"/>
                  </a:lnTo>
                  <a:lnTo>
                    <a:pt x="828" y="2007"/>
                  </a:lnTo>
                  <a:lnTo>
                    <a:pt x="828" y="2005"/>
                  </a:lnTo>
                  <a:lnTo>
                    <a:pt x="839" y="1995"/>
                  </a:lnTo>
                  <a:lnTo>
                    <a:pt x="858" y="1976"/>
                  </a:lnTo>
                  <a:lnTo>
                    <a:pt x="876" y="1961"/>
                  </a:lnTo>
                  <a:lnTo>
                    <a:pt x="886" y="1953"/>
                  </a:lnTo>
                  <a:lnTo>
                    <a:pt x="889" y="1954"/>
                  </a:lnTo>
                  <a:lnTo>
                    <a:pt x="892" y="1956"/>
                  </a:lnTo>
                  <a:lnTo>
                    <a:pt x="893" y="1957"/>
                  </a:lnTo>
                  <a:lnTo>
                    <a:pt x="896" y="1958"/>
                  </a:lnTo>
                  <a:lnTo>
                    <a:pt x="897" y="1965"/>
                  </a:lnTo>
                  <a:lnTo>
                    <a:pt x="899" y="1970"/>
                  </a:lnTo>
                  <a:lnTo>
                    <a:pt x="902" y="1976"/>
                  </a:lnTo>
                  <a:lnTo>
                    <a:pt x="906" y="1982"/>
                  </a:lnTo>
                  <a:lnTo>
                    <a:pt x="909" y="1984"/>
                  </a:lnTo>
                  <a:lnTo>
                    <a:pt x="913" y="1986"/>
                  </a:lnTo>
                  <a:lnTo>
                    <a:pt x="916" y="1987"/>
                  </a:lnTo>
                  <a:lnTo>
                    <a:pt x="922" y="1987"/>
                  </a:lnTo>
                  <a:lnTo>
                    <a:pt x="930" y="1988"/>
                  </a:lnTo>
                  <a:lnTo>
                    <a:pt x="936" y="1988"/>
                  </a:lnTo>
                  <a:lnTo>
                    <a:pt x="941" y="1991"/>
                  </a:lnTo>
                  <a:lnTo>
                    <a:pt x="947" y="1993"/>
                  </a:lnTo>
                  <a:lnTo>
                    <a:pt x="950" y="1996"/>
                  </a:lnTo>
                  <a:lnTo>
                    <a:pt x="954" y="2000"/>
                  </a:lnTo>
                  <a:lnTo>
                    <a:pt x="957" y="2004"/>
                  </a:lnTo>
                  <a:lnTo>
                    <a:pt x="960" y="2009"/>
                  </a:lnTo>
                  <a:lnTo>
                    <a:pt x="966" y="2029"/>
                  </a:lnTo>
                  <a:lnTo>
                    <a:pt x="970" y="2050"/>
                  </a:lnTo>
                  <a:lnTo>
                    <a:pt x="973" y="2060"/>
                  </a:lnTo>
                  <a:lnTo>
                    <a:pt x="977" y="2068"/>
                  </a:lnTo>
                  <a:lnTo>
                    <a:pt x="979" y="2071"/>
                  </a:lnTo>
                  <a:lnTo>
                    <a:pt x="983" y="2075"/>
                  </a:lnTo>
                  <a:lnTo>
                    <a:pt x="987" y="2076"/>
                  </a:lnTo>
                  <a:lnTo>
                    <a:pt x="992" y="2077"/>
                  </a:lnTo>
                  <a:lnTo>
                    <a:pt x="998" y="2079"/>
                  </a:lnTo>
                  <a:lnTo>
                    <a:pt x="1004" y="2079"/>
                  </a:lnTo>
                  <a:lnTo>
                    <a:pt x="1011" y="2077"/>
                  </a:lnTo>
                  <a:lnTo>
                    <a:pt x="1020" y="2076"/>
                  </a:lnTo>
                  <a:lnTo>
                    <a:pt x="1039" y="2069"/>
                  </a:lnTo>
                  <a:lnTo>
                    <a:pt x="1064" y="2058"/>
                  </a:lnTo>
                  <a:lnTo>
                    <a:pt x="1075" y="2052"/>
                  </a:lnTo>
                  <a:lnTo>
                    <a:pt x="1087" y="2050"/>
                  </a:lnTo>
                  <a:lnTo>
                    <a:pt x="1098" y="2048"/>
                  </a:lnTo>
                  <a:lnTo>
                    <a:pt x="1109" y="2048"/>
                  </a:lnTo>
                  <a:lnTo>
                    <a:pt x="1132" y="2051"/>
                  </a:lnTo>
                  <a:lnTo>
                    <a:pt x="1156" y="2055"/>
                  </a:lnTo>
                  <a:lnTo>
                    <a:pt x="1177" y="2060"/>
                  </a:lnTo>
                  <a:lnTo>
                    <a:pt x="1195" y="2064"/>
                  </a:lnTo>
                  <a:lnTo>
                    <a:pt x="1202" y="2064"/>
                  </a:lnTo>
                  <a:lnTo>
                    <a:pt x="1209" y="2065"/>
                  </a:lnTo>
                  <a:lnTo>
                    <a:pt x="1215" y="2064"/>
                  </a:lnTo>
                  <a:lnTo>
                    <a:pt x="1219" y="2063"/>
                  </a:lnTo>
                  <a:lnTo>
                    <a:pt x="1225" y="2056"/>
                  </a:lnTo>
                  <a:lnTo>
                    <a:pt x="1230" y="2050"/>
                  </a:lnTo>
                  <a:lnTo>
                    <a:pt x="1234" y="2042"/>
                  </a:lnTo>
                  <a:lnTo>
                    <a:pt x="1238" y="2034"/>
                  </a:lnTo>
                  <a:lnTo>
                    <a:pt x="1242" y="2017"/>
                  </a:lnTo>
                  <a:lnTo>
                    <a:pt x="1247" y="2000"/>
                  </a:lnTo>
                  <a:lnTo>
                    <a:pt x="1250" y="1991"/>
                  </a:lnTo>
                  <a:lnTo>
                    <a:pt x="1253" y="1983"/>
                  </a:lnTo>
                  <a:lnTo>
                    <a:pt x="1258" y="1976"/>
                  </a:lnTo>
                  <a:lnTo>
                    <a:pt x="1263" y="1970"/>
                  </a:lnTo>
                  <a:lnTo>
                    <a:pt x="1270" y="1965"/>
                  </a:lnTo>
                  <a:lnTo>
                    <a:pt x="1277" y="1961"/>
                  </a:lnTo>
                  <a:lnTo>
                    <a:pt x="1288" y="1958"/>
                  </a:lnTo>
                  <a:lnTo>
                    <a:pt x="1300" y="1958"/>
                  </a:lnTo>
                  <a:lnTo>
                    <a:pt x="1306" y="1957"/>
                  </a:lnTo>
                  <a:lnTo>
                    <a:pt x="1311" y="1957"/>
                  </a:lnTo>
                  <a:lnTo>
                    <a:pt x="1315" y="1954"/>
                  </a:lnTo>
                  <a:lnTo>
                    <a:pt x="1321" y="1952"/>
                  </a:lnTo>
                  <a:lnTo>
                    <a:pt x="1325" y="1949"/>
                  </a:lnTo>
                  <a:lnTo>
                    <a:pt x="1328" y="1945"/>
                  </a:lnTo>
                  <a:lnTo>
                    <a:pt x="1331" y="1941"/>
                  </a:lnTo>
                  <a:lnTo>
                    <a:pt x="1334" y="1937"/>
                  </a:lnTo>
                  <a:lnTo>
                    <a:pt x="1338" y="1927"/>
                  </a:lnTo>
                  <a:lnTo>
                    <a:pt x="1340" y="1915"/>
                  </a:lnTo>
                  <a:lnTo>
                    <a:pt x="1342" y="1902"/>
                  </a:lnTo>
                  <a:lnTo>
                    <a:pt x="1340" y="1889"/>
                  </a:lnTo>
                  <a:lnTo>
                    <a:pt x="1340" y="1874"/>
                  </a:lnTo>
                  <a:lnTo>
                    <a:pt x="1338" y="1861"/>
                  </a:lnTo>
                  <a:lnTo>
                    <a:pt x="1334" y="1847"/>
                  </a:lnTo>
                  <a:lnTo>
                    <a:pt x="1331" y="1835"/>
                  </a:lnTo>
                  <a:lnTo>
                    <a:pt x="1326" y="1823"/>
                  </a:lnTo>
                  <a:lnTo>
                    <a:pt x="1322" y="1813"/>
                  </a:lnTo>
                  <a:lnTo>
                    <a:pt x="1317" y="1805"/>
                  </a:lnTo>
                  <a:lnTo>
                    <a:pt x="1313" y="1799"/>
                  </a:lnTo>
                  <a:lnTo>
                    <a:pt x="1304" y="1793"/>
                  </a:lnTo>
                  <a:lnTo>
                    <a:pt x="1292" y="1789"/>
                  </a:lnTo>
                  <a:lnTo>
                    <a:pt x="1276" y="1786"/>
                  </a:lnTo>
                  <a:lnTo>
                    <a:pt x="1260" y="1782"/>
                  </a:lnTo>
                  <a:lnTo>
                    <a:pt x="1245" y="1778"/>
                  </a:lnTo>
                  <a:lnTo>
                    <a:pt x="1233" y="1772"/>
                  </a:lnTo>
                  <a:lnTo>
                    <a:pt x="1228" y="1770"/>
                  </a:lnTo>
                  <a:lnTo>
                    <a:pt x="1224" y="1767"/>
                  </a:lnTo>
                  <a:lnTo>
                    <a:pt x="1221" y="1763"/>
                  </a:lnTo>
                  <a:lnTo>
                    <a:pt x="1220" y="1761"/>
                  </a:lnTo>
                  <a:lnTo>
                    <a:pt x="1223" y="1741"/>
                  </a:lnTo>
                  <a:lnTo>
                    <a:pt x="1225" y="1717"/>
                  </a:lnTo>
                  <a:lnTo>
                    <a:pt x="1225" y="1704"/>
                  </a:lnTo>
                  <a:lnTo>
                    <a:pt x="1224" y="1693"/>
                  </a:lnTo>
                  <a:lnTo>
                    <a:pt x="1223" y="1686"/>
                  </a:lnTo>
                  <a:lnTo>
                    <a:pt x="1220" y="1681"/>
                  </a:lnTo>
                  <a:lnTo>
                    <a:pt x="1217" y="1676"/>
                  </a:lnTo>
                  <a:lnTo>
                    <a:pt x="1213" y="1670"/>
                  </a:lnTo>
                  <a:lnTo>
                    <a:pt x="1208" y="1664"/>
                  </a:lnTo>
                  <a:lnTo>
                    <a:pt x="1206" y="1657"/>
                  </a:lnTo>
                  <a:lnTo>
                    <a:pt x="1204" y="1651"/>
                  </a:lnTo>
                  <a:lnTo>
                    <a:pt x="1203" y="1646"/>
                  </a:lnTo>
                  <a:lnTo>
                    <a:pt x="1206" y="1635"/>
                  </a:lnTo>
                  <a:lnTo>
                    <a:pt x="1208" y="1627"/>
                  </a:lnTo>
                  <a:lnTo>
                    <a:pt x="1209" y="1623"/>
                  </a:lnTo>
                  <a:lnTo>
                    <a:pt x="1211" y="1621"/>
                  </a:lnTo>
                  <a:lnTo>
                    <a:pt x="1209" y="1618"/>
                  </a:lnTo>
                  <a:lnTo>
                    <a:pt x="1208" y="1615"/>
                  </a:lnTo>
                  <a:lnTo>
                    <a:pt x="1204" y="1614"/>
                  </a:lnTo>
                  <a:lnTo>
                    <a:pt x="1199" y="1613"/>
                  </a:lnTo>
                  <a:lnTo>
                    <a:pt x="1190" y="1612"/>
                  </a:lnTo>
                  <a:lnTo>
                    <a:pt x="1179" y="1612"/>
                  </a:lnTo>
                  <a:lnTo>
                    <a:pt x="1169" y="1612"/>
                  </a:lnTo>
                  <a:lnTo>
                    <a:pt x="1158" y="1609"/>
                  </a:lnTo>
                  <a:lnTo>
                    <a:pt x="1149" y="1606"/>
                  </a:lnTo>
                  <a:lnTo>
                    <a:pt x="1139" y="1602"/>
                  </a:lnTo>
                  <a:lnTo>
                    <a:pt x="1122" y="1592"/>
                  </a:lnTo>
                  <a:lnTo>
                    <a:pt x="1104" y="1580"/>
                  </a:lnTo>
                  <a:lnTo>
                    <a:pt x="1070" y="1551"/>
                  </a:lnTo>
                  <a:lnTo>
                    <a:pt x="1037" y="1527"/>
                  </a:lnTo>
                  <a:lnTo>
                    <a:pt x="1032" y="1523"/>
                  </a:lnTo>
                  <a:lnTo>
                    <a:pt x="1028" y="1517"/>
                  </a:lnTo>
                  <a:lnTo>
                    <a:pt x="1025" y="1511"/>
                  </a:lnTo>
                  <a:lnTo>
                    <a:pt x="1024" y="1503"/>
                  </a:lnTo>
                  <a:lnTo>
                    <a:pt x="1022" y="1486"/>
                  </a:lnTo>
                  <a:lnTo>
                    <a:pt x="1024" y="1466"/>
                  </a:lnTo>
                  <a:lnTo>
                    <a:pt x="1024" y="1457"/>
                  </a:lnTo>
                  <a:lnTo>
                    <a:pt x="1024" y="1447"/>
                  </a:lnTo>
                  <a:lnTo>
                    <a:pt x="1022" y="1436"/>
                  </a:lnTo>
                  <a:lnTo>
                    <a:pt x="1021" y="1427"/>
                  </a:lnTo>
                  <a:lnTo>
                    <a:pt x="1017" y="1418"/>
                  </a:lnTo>
                  <a:lnTo>
                    <a:pt x="1013" y="1409"/>
                  </a:lnTo>
                  <a:lnTo>
                    <a:pt x="1007" y="1400"/>
                  </a:lnTo>
                  <a:lnTo>
                    <a:pt x="999" y="1392"/>
                  </a:lnTo>
                  <a:lnTo>
                    <a:pt x="990" y="1384"/>
                  </a:lnTo>
                  <a:lnTo>
                    <a:pt x="983" y="1377"/>
                  </a:lnTo>
                  <a:lnTo>
                    <a:pt x="977" y="1370"/>
                  </a:lnTo>
                  <a:lnTo>
                    <a:pt x="973" y="1363"/>
                  </a:lnTo>
                  <a:lnTo>
                    <a:pt x="970" y="1356"/>
                  </a:lnTo>
                  <a:lnTo>
                    <a:pt x="969" y="1351"/>
                  </a:lnTo>
                  <a:lnTo>
                    <a:pt x="970" y="1345"/>
                  </a:lnTo>
                  <a:lnTo>
                    <a:pt x="971" y="1339"/>
                  </a:lnTo>
                  <a:lnTo>
                    <a:pt x="974" y="1336"/>
                  </a:lnTo>
                  <a:lnTo>
                    <a:pt x="978" y="1330"/>
                  </a:lnTo>
                  <a:lnTo>
                    <a:pt x="983" y="1326"/>
                  </a:lnTo>
                  <a:lnTo>
                    <a:pt x="988" y="1322"/>
                  </a:lnTo>
                  <a:lnTo>
                    <a:pt x="1003" y="1316"/>
                  </a:lnTo>
                  <a:lnTo>
                    <a:pt x="1019" y="1309"/>
                  </a:lnTo>
                  <a:lnTo>
                    <a:pt x="1037" y="1304"/>
                  </a:lnTo>
                  <a:lnTo>
                    <a:pt x="1056" y="1300"/>
                  </a:lnTo>
                  <a:lnTo>
                    <a:pt x="1077" y="1298"/>
                  </a:lnTo>
                  <a:lnTo>
                    <a:pt x="1097" y="1295"/>
                  </a:lnTo>
                  <a:lnTo>
                    <a:pt x="1135" y="1292"/>
                  </a:lnTo>
                  <a:lnTo>
                    <a:pt x="1164" y="1292"/>
                  </a:lnTo>
                  <a:lnTo>
                    <a:pt x="1199" y="1292"/>
                  </a:lnTo>
                  <a:lnTo>
                    <a:pt x="1226" y="1290"/>
                  </a:lnTo>
                  <a:lnTo>
                    <a:pt x="1240" y="1287"/>
                  </a:lnTo>
                  <a:lnTo>
                    <a:pt x="1251" y="1282"/>
                  </a:lnTo>
                  <a:lnTo>
                    <a:pt x="1266" y="1275"/>
                  </a:lnTo>
                  <a:lnTo>
                    <a:pt x="1281" y="1268"/>
                  </a:lnTo>
                  <a:lnTo>
                    <a:pt x="1300" y="1257"/>
                  </a:lnTo>
                  <a:lnTo>
                    <a:pt x="1321" y="1248"/>
                  </a:lnTo>
                  <a:lnTo>
                    <a:pt x="1331" y="1243"/>
                  </a:lnTo>
                  <a:lnTo>
                    <a:pt x="1342" y="1239"/>
                  </a:lnTo>
                  <a:lnTo>
                    <a:pt x="1352" y="1236"/>
                  </a:lnTo>
                  <a:lnTo>
                    <a:pt x="1363" y="1233"/>
                  </a:lnTo>
                  <a:lnTo>
                    <a:pt x="1372" y="1232"/>
                  </a:lnTo>
                  <a:lnTo>
                    <a:pt x="1382" y="1232"/>
                  </a:lnTo>
                  <a:lnTo>
                    <a:pt x="1391" y="1233"/>
                  </a:lnTo>
                  <a:lnTo>
                    <a:pt x="1400" y="1236"/>
                  </a:lnTo>
                  <a:lnTo>
                    <a:pt x="1410" y="1241"/>
                  </a:lnTo>
                  <a:lnTo>
                    <a:pt x="1417" y="1247"/>
                  </a:lnTo>
                  <a:lnTo>
                    <a:pt x="1425" y="1254"/>
                  </a:lnTo>
                  <a:lnTo>
                    <a:pt x="1432" y="1265"/>
                  </a:lnTo>
                  <a:lnTo>
                    <a:pt x="1445" y="1283"/>
                  </a:lnTo>
                  <a:lnTo>
                    <a:pt x="1463" y="1305"/>
                  </a:lnTo>
                  <a:lnTo>
                    <a:pt x="1488" y="1332"/>
                  </a:lnTo>
                  <a:lnTo>
                    <a:pt x="1516" y="1358"/>
                  </a:lnTo>
                  <a:lnTo>
                    <a:pt x="1543" y="1383"/>
                  </a:lnTo>
                  <a:lnTo>
                    <a:pt x="1570" y="1405"/>
                  </a:lnTo>
                  <a:lnTo>
                    <a:pt x="1584" y="1414"/>
                  </a:lnTo>
                  <a:lnTo>
                    <a:pt x="1595" y="1422"/>
                  </a:lnTo>
                  <a:lnTo>
                    <a:pt x="1606" y="1428"/>
                  </a:lnTo>
                  <a:lnTo>
                    <a:pt x="1616" y="1434"/>
                  </a:lnTo>
                  <a:lnTo>
                    <a:pt x="1623" y="1436"/>
                  </a:lnTo>
                  <a:lnTo>
                    <a:pt x="1629" y="1438"/>
                  </a:lnTo>
                  <a:lnTo>
                    <a:pt x="1635" y="1439"/>
                  </a:lnTo>
                  <a:lnTo>
                    <a:pt x="1641" y="1439"/>
                  </a:lnTo>
                  <a:lnTo>
                    <a:pt x="1650" y="1438"/>
                  </a:lnTo>
                  <a:lnTo>
                    <a:pt x="1659" y="1432"/>
                  </a:lnTo>
                  <a:lnTo>
                    <a:pt x="1667" y="1427"/>
                  </a:lnTo>
                  <a:lnTo>
                    <a:pt x="1674" y="1419"/>
                  </a:lnTo>
                  <a:lnTo>
                    <a:pt x="1680" y="1411"/>
                  </a:lnTo>
                  <a:lnTo>
                    <a:pt x="1687" y="1404"/>
                  </a:lnTo>
                  <a:lnTo>
                    <a:pt x="1692" y="1396"/>
                  </a:lnTo>
                  <a:lnTo>
                    <a:pt x="1697" y="1388"/>
                  </a:lnTo>
                  <a:lnTo>
                    <a:pt x="1703" y="1383"/>
                  </a:lnTo>
                  <a:lnTo>
                    <a:pt x="1708" y="1379"/>
                  </a:lnTo>
                  <a:lnTo>
                    <a:pt x="1710" y="1377"/>
                  </a:lnTo>
                  <a:lnTo>
                    <a:pt x="1713" y="1377"/>
                  </a:lnTo>
                  <a:lnTo>
                    <a:pt x="1717" y="1377"/>
                  </a:lnTo>
                  <a:lnTo>
                    <a:pt x="1720" y="1379"/>
                  </a:lnTo>
                  <a:lnTo>
                    <a:pt x="1726" y="1384"/>
                  </a:lnTo>
                  <a:lnTo>
                    <a:pt x="1735" y="1392"/>
                  </a:lnTo>
                  <a:lnTo>
                    <a:pt x="1744" y="1407"/>
                  </a:lnTo>
                  <a:lnTo>
                    <a:pt x="1755" y="1424"/>
                  </a:lnTo>
                  <a:lnTo>
                    <a:pt x="1760" y="1432"/>
                  </a:lnTo>
                  <a:lnTo>
                    <a:pt x="1768" y="1438"/>
                  </a:lnTo>
                  <a:lnTo>
                    <a:pt x="1772" y="1439"/>
                  </a:lnTo>
                  <a:lnTo>
                    <a:pt x="1776" y="1440"/>
                  </a:lnTo>
                  <a:lnTo>
                    <a:pt x="1781" y="1440"/>
                  </a:lnTo>
                  <a:lnTo>
                    <a:pt x="1786" y="1440"/>
                  </a:lnTo>
                  <a:lnTo>
                    <a:pt x="1792" y="1438"/>
                  </a:lnTo>
                  <a:lnTo>
                    <a:pt x="1797" y="1435"/>
                  </a:lnTo>
                  <a:lnTo>
                    <a:pt x="1801" y="1431"/>
                  </a:lnTo>
                  <a:lnTo>
                    <a:pt x="1803" y="1427"/>
                  </a:lnTo>
                  <a:lnTo>
                    <a:pt x="1810" y="1418"/>
                  </a:lnTo>
                  <a:lnTo>
                    <a:pt x="1815" y="1407"/>
                  </a:lnTo>
                  <a:lnTo>
                    <a:pt x="1820" y="1397"/>
                  </a:lnTo>
                  <a:lnTo>
                    <a:pt x="1828" y="1388"/>
                  </a:lnTo>
                  <a:lnTo>
                    <a:pt x="1832" y="1385"/>
                  </a:lnTo>
                  <a:lnTo>
                    <a:pt x="1837" y="1383"/>
                  </a:lnTo>
                  <a:lnTo>
                    <a:pt x="1843" y="1381"/>
                  </a:lnTo>
                  <a:lnTo>
                    <a:pt x="1849" y="1381"/>
                  </a:lnTo>
                  <a:lnTo>
                    <a:pt x="1857" y="1385"/>
                  </a:lnTo>
                  <a:lnTo>
                    <a:pt x="1862" y="1392"/>
                  </a:lnTo>
                  <a:lnTo>
                    <a:pt x="1866" y="1397"/>
                  </a:lnTo>
                  <a:lnTo>
                    <a:pt x="1870" y="1401"/>
                  </a:lnTo>
                  <a:lnTo>
                    <a:pt x="1871" y="1401"/>
                  </a:lnTo>
                  <a:lnTo>
                    <a:pt x="1873" y="1402"/>
                  </a:lnTo>
                  <a:lnTo>
                    <a:pt x="1874" y="1404"/>
                  </a:lnTo>
                  <a:lnTo>
                    <a:pt x="1877" y="1405"/>
                  </a:lnTo>
                  <a:lnTo>
                    <a:pt x="1879" y="1406"/>
                  </a:lnTo>
                  <a:lnTo>
                    <a:pt x="1880" y="1407"/>
                  </a:lnTo>
                  <a:lnTo>
                    <a:pt x="1882" y="1407"/>
                  </a:lnTo>
                  <a:lnTo>
                    <a:pt x="1883" y="1409"/>
                  </a:lnTo>
                  <a:lnTo>
                    <a:pt x="1884" y="1410"/>
                  </a:lnTo>
                  <a:lnTo>
                    <a:pt x="1890" y="1410"/>
                  </a:lnTo>
                  <a:lnTo>
                    <a:pt x="1895" y="1410"/>
                  </a:lnTo>
                  <a:lnTo>
                    <a:pt x="1901" y="1410"/>
                  </a:lnTo>
                  <a:lnTo>
                    <a:pt x="1903" y="1410"/>
                  </a:lnTo>
                  <a:lnTo>
                    <a:pt x="1905" y="1409"/>
                  </a:lnTo>
                  <a:lnTo>
                    <a:pt x="1956" y="1397"/>
                  </a:lnTo>
                  <a:lnTo>
                    <a:pt x="1988" y="1362"/>
                  </a:lnTo>
                  <a:lnTo>
                    <a:pt x="1990" y="1360"/>
                  </a:lnTo>
                  <a:lnTo>
                    <a:pt x="1992" y="1359"/>
                  </a:lnTo>
                  <a:lnTo>
                    <a:pt x="1992" y="1356"/>
                  </a:lnTo>
                  <a:lnTo>
                    <a:pt x="1992" y="1356"/>
                  </a:lnTo>
                  <a:lnTo>
                    <a:pt x="1993" y="1356"/>
                  </a:lnTo>
                  <a:lnTo>
                    <a:pt x="1993" y="1354"/>
                  </a:lnTo>
                  <a:lnTo>
                    <a:pt x="1994" y="1353"/>
                  </a:lnTo>
                  <a:lnTo>
                    <a:pt x="1997" y="1351"/>
                  </a:lnTo>
                  <a:lnTo>
                    <a:pt x="1997" y="1350"/>
                  </a:lnTo>
                  <a:lnTo>
                    <a:pt x="1998" y="1346"/>
                  </a:lnTo>
                  <a:lnTo>
                    <a:pt x="2001" y="1345"/>
                  </a:lnTo>
                  <a:lnTo>
                    <a:pt x="2003" y="1339"/>
                  </a:lnTo>
                  <a:lnTo>
                    <a:pt x="2005" y="1336"/>
                  </a:lnTo>
                  <a:lnTo>
                    <a:pt x="2006" y="1336"/>
                  </a:lnTo>
                  <a:lnTo>
                    <a:pt x="2006" y="1334"/>
                  </a:lnTo>
                  <a:lnTo>
                    <a:pt x="2006" y="1333"/>
                  </a:lnTo>
                  <a:lnTo>
                    <a:pt x="2006" y="1332"/>
                  </a:lnTo>
                  <a:lnTo>
                    <a:pt x="2007" y="1332"/>
                  </a:lnTo>
                  <a:lnTo>
                    <a:pt x="2014" y="1317"/>
                  </a:lnTo>
                  <a:lnTo>
                    <a:pt x="2022" y="1304"/>
                  </a:lnTo>
                  <a:lnTo>
                    <a:pt x="2028" y="1288"/>
                  </a:lnTo>
                  <a:lnTo>
                    <a:pt x="2041" y="1258"/>
                  </a:lnTo>
                  <a:lnTo>
                    <a:pt x="2054" y="1227"/>
                  </a:lnTo>
                  <a:lnTo>
                    <a:pt x="2064" y="1207"/>
                  </a:lnTo>
                  <a:lnTo>
                    <a:pt x="2083" y="1164"/>
                  </a:lnTo>
                  <a:lnTo>
                    <a:pt x="2096" y="1130"/>
                  </a:lnTo>
                  <a:lnTo>
                    <a:pt x="2102" y="1124"/>
                  </a:lnTo>
                  <a:lnTo>
                    <a:pt x="2107" y="1117"/>
                  </a:lnTo>
                  <a:lnTo>
                    <a:pt x="2113" y="1112"/>
                  </a:lnTo>
                  <a:lnTo>
                    <a:pt x="2121" y="1107"/>
                  </a:lnTo>
                  <a:lnTo>
                    <a:pt x="2132" y="1103"/>
                  </a:lnTo>
                  <a:lnTo>
                    <a:pt x="2142" y="1100"/>
                  </a:lnTo>
                  <a:lnTo>
                    <a:pt x="2156" y="1097"/>
                  </a:lnTo>
                  <a:lnTo>
                    <a:pt x="2172" y="1095"/>
                  </a:lnTo>
                  <a:lnTo>
                    <a:pt x="2185" y="1094"/>
                  </a:lnTo>
                  <a:lnTo>
                    <a:pt x="2196" y="1091"/>
                  </a:lnTo>
                  <a:lnTo>
                    <a:pt x="2205" y="1086"/>
                  </a:lnTo>
                  <a:lnTo>
                    <a:pt x="2213" y="1080"/>
                  </a:lnTo>
                  <a:lnTo>
                    <a:pt x="2218" y="1074"/>
                  </a:lnTo>
                  <a:lnTo>
                    <a:pt x="2223" y="1067"/>
                  </a:lnTo>
                  <a:lnTo>
                    <a:pt x="2227" y="1060"/>
                  </a:lnTo>
                  <a:lnTo>
                    <a:pt x="2230" y="1050"/>
                  </a:lnTo>
                  <a:lnTo>
                    <a:pt x="2234" y="1032"/>
                  </a:lnTo>
                  <a:lnTo>
                    <a:pt x="2236" y="1012"/>
                  </a:lnTo>
                  <a:lnTo>
                    <a:pt x="2239" y="1003"/>
                  </a:lnTo>
                  <a:lnTo>
                    <a:pt x="2241" y="993"/>
                  </a:lnTo>
                  <a:lnTo>
                    <a:pt x="2244" y="984"/>
                  </a:lnTo>
                  <a:lnTo>
                    <a:pt x="2248" y="974"/>
                  </a:lnTo>
                  <a:lnTo>
                    <a:pt x="2253" y="965"/>
                  </a:lnTo>
                  <a:lnTo>
                    <a:pt x="2258" y="960"/>
                  </a:lnTo>
                  <a:lnTo>
                    <a:pt x="2264" y="955"/>
                  </a:lnTo>
                  <a:lnTo>
                    <a:pt x="2269" y="952"/>
                  </a:lnTo>
                  <a:lnTo>
                    <a:pt x="2274" y="952"/>
                  </a:lnTo>
                  <a:lnTo>
                    <a:pt x="2279" y="952"/>
                  </a:lnTo>
                  <a:lnTo>
                    <a:pt x="2285" y="955"/>
                  </a:lnTo>
                  <a:lnTo>
                    <a:pt x="2291" y="957"/>
                  </a:lnTo>
                  <a:lnTo>
                    <a:pt x="2303" y="965"/>
                  </a:lnTo>
                  <a:lnTo>
                    <a:pt x="2315" y="973"/>
                  </a:lnTo>
                  <a:lnTo>
                    <a:pt x="2321" y="977"/>
                  </a:lnTo>
                  <a:lnTo>
                    <a:pt x="2328" y="980"/>
                  </a:lnTo>
                  <a:lnTo>
                    <a:pt x="2336" y="982"/>
                  </a:lnTo>
                  <a:lnTo>
                    <a:pt x="2342" y="984"/>
                  </a:lnTo>
                  <a:lnTo>
                    <a:pt x="2364" y="986"/>
                  </a:lnTo>
                  <a:lnTo>
                    <a:pt x="2385" y="988"/>
                  </a:lnTo>
                  <a:lnTo>
                    <a:pt x="2405" y="989"/>
                  </a:lnTo>
                  <a:lnTo>
                    <a:pt x="2421" y="993"/>
                  </a:lnTo>
                  <a:lnTo>
                    <a:pt x="2427" y="997"/>
                  </a:lnTo>
                  <a:lnTo>
                    <a:pt x="2432" y="1001"/>
                  </a:lnTo>
                  <a:lnTo>
                    <a:pt x="2436" y="1006"/>
                  </a:lnTo>
                  <a:lnTo>
                    <a:pt x="2439" y="1012"/>
                  </a:lnTo>
                  <a:lnTo>
                    <a:pt x="2440" y="1022"/>
                  </a:lnTo>
                  <a:lnTo>
                    <a:pt x="2440" y="1032"/>
                  </a:lnTo>
                  <a:lnTo>
                    <a:pt x="2439" y="1044"/>
                  </a:lnTo>
                  <a:lnTo>
                    <a:pt x="2436" y="1057"/>
                  </a:lnTo>
                  <a:lnTo>
                    <a:pt x="2434" y="1065"/>
                  </a:lnTo>
                  <a:lnTo>
                    <a:pt x="2434" y="1070"/>
                  </a:lnTo>
                  <a:lnTo>
                    <a:pt x="2435" y="1075"/>
                  </a:lnTo>
                  <a:lnTo>
                    <a:pt x="2436" y="1078"/>
                  </a:lnTo>
                  <a:lnTo>
                    <a:pt x="2439" y="1079"/>
                  </a:lnTo>
                  <a:lnTo>
                    <a:pt x="2443" y="1080"/>
                  </a:lnTo>
                  <a:lnTo>
                    <a:pt x="2447" y="1080"/>
                  </a:lnTo>
                  <a:lnTo>
                    <a:pt x="2451" y="1079"/>
                  </a:lnTo>
                  <a:lnTo>
                    <a:pt x="2470" y="1073"/>
                  </a:lnTo>
                  <a:lnTo>
                    <a:pt x="2487" y="1065"/>
                  </a:lnTo>
                  <a:lnTo>
                    <a:pt x="2507" y="1057"/>
                  </a:lnTo>
                  <a:lnTo>
                    <a:pt x="2534" y="1044"/>
                  </a:lnTo>
                  <a:lnTo>
                    <a:pt x="2565" y="1028"/>
                  </a:lnTo>
                  <a:lnTo>
                    <a:pt x="2596" y="1009"/>
                  </a:lnTo>
                  <a:lnTo>
                    <a:pt x="2612" y="998"/>
                  </a:lnTo>
                  <a:lnTo>
                    <a:pt x="2626" y="988"/>
                  </a:lnTo>
                  <a:lnTo>
                    <a:pt x="2638" y="977"/>
                  </a:lnTo>
                  <a:lnTo>
                    <a:pt x="2650" y="967"/>
                  </a:lnTo>
                  <a:lnTo>
                    <a:pt x="2659" y="956"/>
                  </a:lnTo>
                  <a:lnTo>
                    <a:pt x="2665" y="946"/>
                  </a:lnTo>
                  <a:lnTo>
                    <a:pt x="2668" y="942"/>
                  </a:lnTo>
                  <a:lnTo>
                    <a:pt x="2669" y="937"/>
                  </a:lnTo>
                  <a:lnTo>
                    <a:pt x="2671" y="931"/>
                  </a:lnTo>
                  <a:lnTo>
                    <a:pt x="2669" y="927"/>
                  </a:lnTo>
                  <a:lnTo>
                    <a:pt x="2669" y="916"/>
                  </a:lnTo>
                  <a:lnTo>
                    <a:pt x="2672" y="904"/>
                  </a:lnTo>
                  <a:lnTo>
                    <a:pt x="2674" y="889"/>
                  </a:lnTo>
                  <a:lnTo>
                    <a:pt x="2680" y="875"/>
                  </a:lnTo>
                  <a:lnTo>
                    <a:pt x="2690" y="848"/>
                  </a:lnTo>
                  <a:lnTo>
                    <a:pt x="2701" y="825"/>
                  </a:lnTo>
                  <a:lnTo>
                    <a:pt x="2708" y="812"/>
                  </a:lnTo>
                  <a:lnTo>
                    <a:pt x="2720" y="801"/>
                  </a:lnTo>
                  <a:lnTo>
                    <a:pt x="2732" y="787"/>
                  </a:lnTo>
                  <a:lnTo>
                    <a:pt x="2745" y="773"/>
                  </a:lnTo>
                  <a:lnTo>
                    <a:pt x="2750" y="767"/>
                  </a:lnTo>
                  <a:lnTo>
                    <a:pt x="2756" y="759"/>
                  </a:lnTo>
                  <a:lnTo>
                    <a:pt x="2761" y="751"/>
                  </a:lnTo>
                  <a:lnTo>
                    <a:pt x="2763" y="743"/>
                  </a:lnTo>
                  <a:lnTo>
                    <a:pt x="2765" y="734"/>
                  </a:lnTo>
                  <a:lnTo>
                    <a:pt x="2766" y="726"/>
                  </a:lnTo>
                  <a:lnTo>
                    <a:pt x="2765" y="717"/>
                  </a:lnTo>
                  <a:lnTo>
                    <a:pt x="2762" y="706"/>
                  </a:lnTo>
                  <a:lnTo>
                    <a:pt x="2759" y="698"/>
                  </a:lnTo>
                  <a:lnTo>
                    <a:pt x="2758" y="691"/>
                  </a:lnTo>
                  <a:lnTo>
                    <a:pt x="2757" y="681"/>
                  </a:lnTo>
                  <a:lnTo>
                    <a:pt x="2758" y="675"/>
                  </a:lnTo>
                  <a:lnTo>
                    <a:pt x="2759" y="661"/>
                  </a:lnTo>
                  <a:lnTo>
                    <a:pt x="2762" y="647"/>
                  </a:lnTo>
                  <a:lnTo>
                    <a:pt x="2762" y="641"/>
                  </a:lnTo>
                  <a:lnTo>
                    <a:pt x="2761" y="637"/>
                  </a:lnTo>
                  <a:lnTo>
                    <a:pt x="2759" y="632"/>
                  </a:lnTo>
                  <a:lnTo>
                    <a:pt x="2756" y="628"/>
                  </a:lnTo>
                  <a:lnTo>
                    <a:pt x="2750" y="625"/>
                  </a:lnTo>
                  <a:lnTo>
                    <a:pt x="2742" y="623"/>
                  </a:lnTo>
                  <a:lnTo>
                    <a:pt x="2733" y="621"/>
                  </a:lnTo>
                  <a:lnTo>
                    <a:pt x="2720" y="621"/>
                  </a:lnTo>
                  <a:lnTo>
                    <a:pt x="2702" y="620"/>
                  </a:lnTo>
                  <a:lnTo>
                    <a:pt x="2690" y="619"/>
                  </a:lnTo>
                  <a:lnTo>
                    <a:pt x="2686" y="617"/>
                  </a:lnTo>
                  <a:lnTo>
                    <a:pt x="2684" y="615"/>
                  </a:lnTo>
                  <a:lnTo>
                    <a:pt x="2681" y="612"/>
                  </a:lnTo>
                  <a:lnTo>
                    <a:pt x="2680" y="610"/>
                  </a:lnTo>
                  <a:lnTo>
                    <a:pt x="2680" y="593"/>
                  </a:lnTo>
                  <a:lnTo>
                    <a:pt x="2676" y="564"/>
                  </a:lnTo>
                  <a:lnTo>
                    <a:pt x="2673" y="557"/>
                  </a:lnTo>
                  <a:lnTo>
                    <a:pt x="2671" y="552"/>
                  </a:lnTo>
                  <a:lnTo>
                    <a:pt x="2668" y="547"/>
                  </a:lnTo>
                  <a:lnTo>
                    <a:pt x="2664" y="542"/>
                  </a:lnTo>
                  <a:lnTo>
                    <a:pt x="2656" y="535"/>
                  </a:lnTo>
                  <a:lnTo>
                    <a:pt x="2647" y="528"/>
                  </a:lnTo>
                  <a:lnTo>
                    <a:pt x="2636" y="523"/>
                  </a:lnTo>
                  <a:lnTo>
                    <a:pt x="2625" y="521"/>
                  </a:lnTo>
                  <a:lnTo>
                    <a:pt x="2613" y="517"/>
                  </a:lnTo>
                  <a:lnTo>
                    <a:pt x="2601" y="514"/>
                  </a:lnTo>
                  <a:lnTo>
                    <a:pt x="2588" y="511"/>
                  </a:lnTo>
                  <a:lnTo>
                    <a:pt x="2576" y="508"/>
                  </a:lnTo>
                  <a:lnTo>
                    <a:pt x="2565" y="504"/>
                  </a:lnTo>
                  <a:lnTo>
                    <a:pt x="2553" y="498"/>
                  </a:lnTo>
                  <a:lnTo>
                    <a:pt x="2544" y="492"/>
                  </a:lnTo>
                  <a:lnTo>
                    <a:pt x="2534" y="483"/>
                  </a:lnTo>
                  <a:lnTo>
                    <a:pt x="2529" y="479"/>
                  </a:lnTo>
                  <a:lnTo>
                    <a:pt x="2527" y="472"/>
                  </a:lnTo>
                  <a:lnTo>
                    <a:pt x="2523" y="466"/>
                  </a:lnTo>
                  <a:lnTo>
                    <a:pt x="2520" y="459"/>
                  </a:lnTo>
                  <a:lnTo>
                    <a:pt x="2519" y="453"/>
                  </a:lnTo>
                  <a:lnTo>
                    <a:pt x="2519" y="446"/>
                  </a:lnTo>
                  <a:lnTo>
                    <a:pt x="2521" y="442"/>
                  </a:lnTo>
                  <a:lnTo>
                    <a:pt x="2527" y="439"/>
                  </a:lnTo>
                  <a:lnTo>
                    <a:pt x="2538" y="436"/>
                  </a:lnTo>
                  <a:lnTo>
                    <a:pt x="2553" y="433"/>
                  </a:lnTo>
                  <a:lnTo>
                    <a:pt x="2559" y="430"/>
                  </a:lnTo>
                  <a:lnTo>
                    <a:pt x="2567" y="429"/>
                  </a:lnTo>
                  <a:lnTo>
                    <a:pt x="2572" y="425"/>
                  </a:lnTo>
                  <a:lnTo>
                    <a:pt x="2578" y="421"/>
                  </a:lnTo>
                  <a:lnTo>
                    <a:pt x="2580" y="416"/>
                  </a:lnTo>
                  <a:lnTo>
                    <a:pt x="2582" y="409"/>
                  </a:lnTo>
                  <a:lnTo>
                    <a:pt x="2582" y="400"/>
                  </a:lnTo>
                  <a:lnTo>
                    <a:pt x="2578" y="390"/>
                  </a:lnTo>
                  <a:lnTo>
                    <a:pt x="2572" y="369"/>
                  </a:lnTo>
                  <a:lnTo>
                    <a:pt x="2568" y="343"/>
                  </a:lnTo>
                  <a:lnTo>
                    <a:pt x="2565" y="314"/>
                  </a:lnTo>
                  <a:lnTo>
                    <a:pt x="2559" y="285"/>
                  </a:lnTo>
                  <a:lnTo>
                    <a:pt x="2557" y="272"/>
                  </a:lnTo>
                  <a:lnTo>
                    <a:pt x="2554" y="259"/>
                  </a:lnTo>
                  <a:lnTo>
                    <a:pt x="2550" y="249"/>
                  </a:lnTo>
                  <a:lnTo>
                    <a:pt x="2546" y="238"/>
                  </a:lnTo>
                  <a:lnTo>
                    <a:pt x="2541" y="232"/>
                  </a:lnTo>
                  <a:lnTo>
                    <a:pt x="2536" y="226"/>
                  </a:lnTo>
                  <a:lnTo>
                    <a:pt x="2532" y="224"/>
                  </a:lnTo>
                  <a:lnTo>
                    <a:pt x="2529" y="224"/>
                  </a:lnTo>
                  <a:lnTo>
                    <a:pt x="2525" y="224"/>
                  </a:lnTo>
                  <a:lnTo>
                    <a:pt x="2521" y="224"/>
                  </a:lnTo>
                  <a:lnTo>
                    <a:pt x="2470" y="235"/>
                  </a:lnTo>
                  <a:lnTo>
                    <a:pt x="2465" y="290"/>
                  </a:lnTo>
                  <a:lnTo>
                    <a:pt x="2465" y="292"/>
                  </a:lnTo>
                  <a:lnTo>
                    <a:pt x="2464" y="292"/>
                  </a:lnTo>
                  <a:lnTo>
                    <a:pt x="2463" y="294"/>
                  </a:lnTo>
                  <a:lnTo>
                    <a:pt x="2463" y="297"/>
                  </a:lnTo>
                  <a:lnTo>
                    <a:pt x="2461" y="302"/>
                  </a:lnTo>
                  <a:lnTo>
                    <a:pt x="2460" y="307"/>
                  </a:lnTo>
                  <a:lnTo>
                    <a:pt x="2459" y="309"/>
                  </a:lnTo>
                  <a:lnTo>
                    <a:pt x="2459" y="310"/>
                  </a:lnTo>
                  <a:lnTo>
                    <a:pt x="2457" y="310"/>
                  </a:lnTo>
                  <a:lnTo>
                    <a:pt x="2456" y="311"/>
                  </a:lnTo>
                  <a:lnTo>
                    <a:pt x="2455" y="315"/>
                  </a:lnTo>
                  <a:lnTo>
                    <a:pt x="2453" y="318"/>
                  </a:lnTo>
                  <a:lnTo>
                    <a:pt x="2451" y="322"/>
                  </a:lnTo>
                  <a:lnTo>
                    <a:pt x="2448" y="323"/>
                  </a:lnTo>
                  <a:lnTo>
                    <a:pt x="2447" y="323"/>
                  </a:lnTo>
                  <a:lnTo>
                    <a:pt x="2446" y="323"/>
                  </a:lnTo>
                  <a:lnTo>
                    <a:pt x="2444" y="326"/>
                  </a:lnTo>
                  <a:lnTo>
                    <a:pt x="2443" y="327"/>
                  </a:lnTo>
                  <a:lnTo>
                    <a:pt x="2442" y="327"/>
                  </a:lnTo>
                  <a:lnTo>
                    <a:pt x="2439" y="330"/>
                  </a:lnTo>
                  <a:lnTo>
                    <a:pt x="2438" y="332"/>
                  </a:lnTo>
                  <a:lnTo>
                    <a:pt x="2435" y="334"/>
                  </a:lnTo>
                  <a:lnTo>
                    <a:pt x="2434" y="335"/>
                  </a:lnTo>
                  <a:lnTo>
                    <a:pt x="2431" y="335"/>
                  </a:lnTo>
                  <a:lnTo>
                    <a:pt x="2431" y="335"/>
                  </a:lnTo>
                  <a:lnTo>
                    <a:pt x="2430" y="337"/>
                  </a:lnTo>
                  <a:lnTo>
                    <a:pt x="2427" y="337"/>
                  </a:lnTo>
                  <a:lnTo>
                    <a:pt x="2426" y="337"/>
                  </a:lnTo>
                  <a:lnTo>
                    <a:pt x="2425" y="339"/>
                  </a:lnTo>
                  <a:lnTo>
                    <a:pt x="2425" y="341"/>
                  </a:lnTo>
                  <a:lnTo>
                    <a:pt x="2426" y="345"/>
                  </a:lnTo>
                  <a:lnTo>
                    <a:pt x="2427" y="348"/>
                  </a:lnTo>
                  <a:lnTo>
                    <a:pt x="2427" y="349"/>
                  </a:lnTo>
                  <a:lnTo>
                    <a:pt x="2427" y="353"/>
                  </a:lnTo>
                  <a:lnTo>
                    <a:pt x="2429" y="357"/>
                  </a:lnTo>
                  <a:lnTo>
                    <a:pt x="2434" y="366"/>
                  </a:lnTo>
                  <a:lnTo>
                    <a:pt x="2438" y="377"/>
                  </a:lnTo>
                  <a:lnTo>
                    <a:pt x="2440" y="385"/>
                  </a:lnTo>
                  <a:lnTo>
                    <a:pt x="2446" y="398"/>
                  </a:lnTo>
                  <a:lnTo>
                    <a:pt x="2449" y="411"/>
                  </a:lnTo>
                  <a:lnTo>
                    <a:pt x="2452" y="417"/>
                  </a:lnTo>
                  <a:lnTo>
                    <a:pt x="2457" y="425"/>
                  </a:lnTo>
                  <a:lnTo>
                    <a:pt x="2461" y="433"/>
                  </a:lnTo>
                  <a:lnTo>
                    <a:pt x="2464" y="442"/>
                  </a:lnTo>
                  <a:lnTo>
                    <a:pt x="2468" y="459"/>
                  </a:lnTo>
                  <a:lnTo>
                    <a:pt x="2469" y="467"/>
                  </a:lnTo>
                  <a:lnTo>
                    <a:pt x="2468" y="475"/>
                  </a:lnTo>
                  <a:lnTo>
                    <a:pt x="2468" y="479"/>
                  </a:lnTo>
                  <a:lnTo>
                    <a:pt x="2466" y="481"/>
                  </a:lnTo>
                  <a:lnTo>
                    <a:pt x="2465" y="483"/>
                  </a:lnTo>
                  <a:lnTo>
                    <a:pt x="2464" y="484"/>
                  </a:lnTo>
                  <a:lnTo>
                    <a:pt x="2463" y="485"/>
                  </a:lnTo>
                  <a:lnTo>
                    <a:pt x="2463" y="487"/>
                  </a:lnTo>
                  <a:lnTo>
                    <a:pt x="2460" y="491"/>
                  </a:lnTo>
                  <a:lnTo>
                    <a:pt x="2457" y="494"/>
                  </a:lnTo>
                  <a:lnTo>
                    <a:pt x="2457" y="496"/>
                  </a:lnTo>
                  <a:lnTo>
                    <a:pt x="2455" y="496"/>
                  </a:lnTo>
                  <a:lnTo>
                    <a:pt x="2455" y="497"/>
                  </a:lnTo>
                  <a:lnTo>
                    <a:pt x="2453" y="498"/>
                  </a:lnTo>
                  <a:lnTo>
                    <a:pt x="2452" y="500"/>
                  </a:lnTo>
                  <a:lnTo>
                    <a:pt x="2451" y="501"/>
                  </a:lnTo>
                  <a:lnTo>
                    <a:pt x="2449" y="501"/>
                  </a:lnTo>
                  <a:lnTo>
                    <a:pt x="2447" y="501"/>
                  </a:lnTo>
                  <a:lnTo>
                    <a:pt x="2439" y="505"/>
                  </a:lnTo>
                  <a:lnTo>
                    <a:pt x="2431" y="509"/>
                  </a:lnTo>
                  <a:lnTo>
                    <a:pt x="2422" y="510"/>
                  </a:lnTo>
                  <a:lnTo>
                    <a:pt x="2414" y="513"/>
                  </a:lnTo>
                  <a:lnTo>
                    <a:pt x="2414" y="513"/>
                  </a:lnTo>
                  <a:lnTo>
                    <a:pt x="2413" y="513"/>
                  </a:lnTo>
                  <a:lnTo>
                    <a:pt x="2408" y="513"/>
                  </a:lnTo>
                  <a:lnTo>
                    <a:pt x="2402" y="515"/>
                  </a:lnTo>
                  <a:lnTo>
                    <a:pt x="2388" y="527"/>
                  </a:lnTo>
                  <a:lnTo>
                    <a:pt x="2375" y="542"/>
                  </a:lnTo>
                  <a:lnTo>
                    <a:pt x="2362" y="557"/>
                  </a:lnTo>
                  <a:lnTo>
                    <a:pt x="2347" y="573"/>
                  </a:lnTo>
                  <a:lnTo>
                    <a:pt x="2340" y="581"/>
                  </a:lnTo>
                  <a:lnTo>
                    <a:pt x="2332" y="587"/>
                  </a:lnTo>
                  <a:lnTo>
                    <a:pt x="2323" y="594"/>
                  </a:lnTo>
                  <a:lnTo>
                    <a:pt x="2313" y="599"/>
                  </a:lnTo>
                  <a:lnTo>
                    <a:pt x="2303" y="604"/>
                  </a:lnTo>
                  <a:lnTo>
                    <a:pt x="2291" y="607"/>
                  </a:lnTo>
                  <a:lnTo>
                    <a:pt x="2279" y="610"/>
                  </a:lnTo>
                  <a:lnTo>
                    <a:pt x="2266" y="611"/>
                  </a:lnTo>
                  <a:lnTo>
                    <a:pt x="2257" y="610"/>
                  </a:lnTo>
                  <a:lnTo>
                    <a:pt x="2249" y="606"/>
                  </a:lnTo>
                  <a:lnTo>
                    <a:pt x="2243" y="600"/>
                  </a:lnTo>
                  <a:lnTo>
                    <a:pt x="2238" y="594"/>
                  </a:lnTo>
                  <a:lnTo>
                    <a:pt x="2227" y="578"/>
                  </a:lnTo>
                  <a:lnTo>
                    <a:pt x="2218" y="564"/>
                  </a:lnTo>
                  <a:lnTo>
                    <a:pt x="2214" y="557"/>
                  </a:lnTo>
                  <a:lnTo>
                    <a:pt x="2209" y="552"/>
                  </a:lnTo>
                  <a:lnTo>
                    <a:pt x="2204" y="549"/>
                  </a:lnTo>
                  <a:lnTo>
                    <a:pt x="2197" y="549"/>
                  </a:lnTo>
                  <a:lnTo>
                    <a:pt x="2190" y="552"/>
                  </a:lnTo>
                  <a:lnTo>
                    <a:pt x="2183" y="559"/>
                  </a:lnTo>
                  <a:lnTo>
                    <a:pt x="2173" y="568"/>
                  </a:lnTo>
                  <a:lnTo>
                    <a:pt x="2163" y="582"/>
                  </a:lnTo>
                  <a:lnTo>
                    <a:pt x="2156" y="594"/>
                  </a:lnTo>
                  <a:lnTo>
                    <a:pt x="2151" y="608"/>
                  </a:lnTo>
                  <a:lnTo>
                    <a:pt x="2147" y="624"/>
                  </a:lnTo>
                  <a:lnTo>
                    <a:pt x="2143" y="641"/>
                  </a:lnTo>
                  <a:lnTo>
                    <a:pt x="2137" y="668"/>
                  </a:lnTo>
                  <a:lnTo>
                    <a:pt x="2132" y="685"/>
                  </a:lnTo>
                  <a:lnTo>
                    <a:pt x="2128" y="689"/>
                  </a:lnTo>
                  <a:lnTo>
                    <a:pt x="2122" y="693"/>
                  </a:lnTo>
                  <a:lnTo>
                    <a:pt x="2116" y="697"/>
                  </a:lnTo>
                  <a:lnTo>
                    <a:pt x="2108" y="700"/>
                  </a:lnTo>
                  <a:lnTo>
                    <a:pt x="2091" y="706"/>
                  </a:lnTo>
                  <a:lnTo>
                    <a:pt x="2073" y="713"/>
                  </a:lnTo>
                  <a:lnTo>
                    <a:pt x="2053" y="718"/>
                  </a:lnTo>
                  <a:lnTo>
                    <a:pt x="2034" y="723"/>
                  </a:lnTo>
                  <a:lnTo>
                    <a:pt x="2017" y="730"/>
                  </a:lnTo>
                  <a:lnTo>
                    <a:pt x="2002" y="736"/>
                  </a:lnTo>
                  <a:lnTo>
                    <a:pt x="1994" y="743"/>
                  </a:lnTo>
                  <a:lnTo>
                    <a:pt x="1988" y="753"/>
                  </a:lnTo>
                  <a:lnTo>
                    <a:pt x="1981" y="764"/>
                  </a:lnTo>
                  <a:lnTo>
                    <a:pt x="1975" y="776"/>
                  </a:lnTo>
                  <a:lnTo>
                    <a:pt x="1968" y="786"/>
                  </a:lnTo>
                  <a:lnTo>
                    <a:pt x="1960" y="795"/>
                  </a:lnTo>
                  <a:lnTo>
                    <a:pt x="1958" y="799"/>
                  </a:lnTo>
                  <a:lnTo>
                    <a:pt x="1952" y="802"/>
                  </a:lnTo>
                  <a:lnTo>
                    <a:pt x="1948" y="804"/>
                  </a:lnTo>
                  <a:lnTo>
                    <a:pt x="1945" y="806"/>
                  </a:lnTo>
                  <a:lnTo>
                    <a:pt x="1921" y="807"/>
                  </a:lnTo>
                  <a:lnTo>
                    <a:pt x="1888" y="812"/>
                  </a:lnTo>
                  <a:lnTo>
                    <a:pt x="1873" y="815"/>
                  </a:lnTo>
                  <a:lnTo>
                    <a:pt x="1858" y="819"/>
                  </a:lnTo>
                  <a:lnTo>
                    <a:pt x="1853" y="821"/>
                  </a:lnTo>
                  <a:lnTo>
                    <a:pt x="1848" y="823"/>
                  </a:lnTo>
                  <a:lnTo>
                    <a:pt x="1844" y="825"/>
                  </a:lnTo>
                  <a:lnTo>
                    <a:pt x="1841" y="829"/>
                  </a:lnTo>
                  <a:lnTo>
                    <a:pt x="1831" y="848"/>
                  </a:lnTo>
                  <a:lnTo>
                    <a:pt x="1824" y="866"/>
                  </a:lnTo>
                  <a:lnTo>
                    <a:pt x="1819" y="883"/>
                  </a:lnTo>
                  <a:lnTo>
                    <a:pt x="1816" y="897"/>
                  </a:lnTo>
                  <a:lnTo>
                    <a:pt x="1812" y="923"/>
                  </a:lnTo>
                  <a:lnTo>
                    <a:pt x="1810" y="942"/>
                  </a:lnTo>
                  <a:lnTo>
                    <a:pt x="1809" y="946"/>
                  </a:lnTo>
                  <a:lnTo>
                    <a:pt x="1806" y="948"/>
                  </a:lnTo>
                  <a:lnTo>
                    <a:pt x="1803" y="951"/>
                  </a:lnTo>
                  <a:lnTo>
                    <a:pt x="1801" y="952"/>
                  </a:lnTo>
                  <a:lnTo>
                    <a:pt x="1793" y="955"/>
                  </a:lnTo>
                  <a:lnTo>
                    <a:pt x="1782" y="955"/>
                  </a:lnTo>
                  <a:lnTo>
                    <a:pt x="1767" y="952"/>
                  </a:lnTo>
                  <a:lnTo>
                    <a:pt x="1748" y="948"/>
                  </a:lnTo>
                  <a:lnTo>
                    <a:pt x="1724" y="940"/>
                  </a:lnTo>
                  <a:lnTo>
                    <a:pt x="1693" y="931"/>
                  </a:lnTo>
                  <a:lnTo>
                    <a:pt x="1680" y="926"/>
                  </a:lnTo>
                  <a:lnTo>
                    <a:pt x="1669" y="921"/>
                  </a:lnTo>
                  <a:lnTo>
                    <a:pt x="1657" y="916"/>
                  </a:lnTo>
                  <a:lnTo>
                    <a:pt x="1646" y="909"/>
                  </a:lnTo>
                  <a:lnTo>
                    <a:pt x="1636" y="903"/>
                  </a:lnTo>
                  <a:lnTo>
                    <a:pt x="1625" y="896"/>
                  </a:lnTo>
                  <a:lnTo>
                    <a:pt x="1616" y="888"/>
                  </a:lnTo>
                  <a:lnTo>
                    <a:pt x="1608" y="880"/>
                  </a:lnTo>
                  <a:lnTo>
                    <a:pt x="1599" y="872"/>
                  </a:lnTo>
                  <a:lnTo>
                    <a:pt x="1593" y="863"/>
                  </a:lnTo>
                  <a:lnTo>
                    <a:pt x="1586" y="853"/>
                  </a:lnTo>
                  <a:lnTo>
                    <a:pt x="1580" y="844"/>
                  </a:lnTo>
                  <a:lnTo>
                    <a:pt x="1574" y="832"/>
                  </a:lnTo>
                  <a:lnTo>
                    <a:pt x="1569" y="821"/>
                  </a:lnTo>
                  <a:lnTo>
                    <a:pt x="1564" y="810"/>
                  </a:lnTo>
                  <a:lnTo>
                    <a:pt x="1560" y="797"/>
                  </a:lnTo>
                  <a:lnTo>
                    <a:pt x="1559" y="791"/>
                  </a:lnTo>
                  <a:lnTo>
                    <a:pt x="1556" y="786"/>
                  </a:lnTo>
                  <a:lnTo>
                    <a:pt x="1552" y="781"/>
                  </a:lnTo>
                  <a:lnTo>
                    <a:pt x="1548" y="777"/>
                  </a:lnTo>
                  <a:lnTo>
                    <a:pt x="1539" y="769"/>
                  </a:lnTo>
                  <a:lnTo>
                    <a:pt x="1529" y="763"/>
                  </a:lnTo>
                  <a:lnTo>
                    <a:pt x="1516" y="759"/>
                  </a:lnTo>
                  <a:lnTo>
                    <a:pt x="1501" y="755"/>
                  </a:lnTo>
                  <a:lnTo>
                    <a:pt x="1487" y="753"/>
                  </a:lnTo>
                  <a:lnTo>
                    <a:pt x="1470" y="752"/>
                  </a:lnTo>
                  <a:lnTo>
                    <a:pt x="1454" y="752"/>
                  </a:lnTo>
                  <a:lnTo>
                    <a:pt x="1438" y="753"/>
                  </a:lnTo>
                  <a:lnTo>
                    <a:pt x="1421" y="755"/>
                  </a:lnTo>
                  <a:lnTo>
                    <a:pt x="1406" y="757"/>
                  </a:lnTo>
                  <a:lnTo>
                    <a:pt x="1377" y="763"/>
                  </a:lnTo>
                  <a:lnTo>
                    <a:pt x="1353" y="769"/>
                  </a:lnTo>
                  <a:lnTo>
                    <a:pt x="1323" y="777"/>
                  </a:lnTo>
                  <a:lnTo>
                    <a:pt x="1280" y="786"/>
                  </a:lnTo>
                  <a:lnTo>
                    <a:pt x="1259" y="789"/>
                  </a:lnTo>
                  <a:lnTo>
                    <a:pt x="1238" y="790"/>
                  </a:lnTo>
                  <a:lnTo>
                    <a:pt x="1229" y="790"/>
                  </a:lnTo>
                  <a:lnTo>
                    <a:pt x="1221" y="789"/>
                  </a:lnTo>
                  <a:lnTo>
                    <a:pt x="1215" y="787"/>
                  </a:lnTo>
                  <a:lnTo>
                    <a:pt x="1211" y="786"/>
                  </a:lnTo>
                  <a:lnTo>
                    <a:pt x="1207" y="778"/>
                  </a:lnTo>
                  <a:lnTo>
                    <a:pt x="1204" y="761"/>
                  </a:lnTo>
                  <a:lnTo>
                    <a:pt x="1200" y="738"/>
                  </a:lnTo>
                  <a:lnTo>
                    <a:pt x="1196" y="710"/>
                  </a:lnTo>
                  <a:lnTo>
                    <a:pt x="1190" y="655"/>
                  </a:lnTo>
                  <a:lnTo>
                    <a:pt x="1185" y="623"/>
                  </a:lnTo>
                  <a:lnTo>
                    <a:pt x="1179" y="602"/>
                  </a:lnTo>
                  <a:lnTo>
                    <a:pt x="1175" y="568"/>
                  </a:lnTo>
                  <a:lnTo>
                    <a:pt x="1173" y="552"/>
                  </a:lnTo>
                  <a:lnTo>
                    <a:pt x="1173" y="538"/>
                  </a:lnTo>
                  <a:lnTo>
                    <a:pt x="1173" y="532"/>
                  </a:lnTo>
                  <a:lnTo>
                    <a:pt x="1173" y="528"/>
                  </a:lnTo>
                  <a:lnTo>
                    <a:pt x="1174" y="526"/>
                  </a:lnTo>
                  <a:lnTo>
                    <a:pt x="1175" y="525"/>
                  </a:lnTo>
                  <a:lnTo>
                    <a:pt x="1280" y="528"/>
                  </a:lnTo>
                  <a:lnTo>
                    <a:pt x="1289" y="528"/>
                  </a:lnTo>
                  <a:lnTo>
                    <a:pt x="1297" y="527"/>
                  </a:lnTo>
                  <a:lnTo>
                    <a:pt x="1304" y="526"/>
                  </a:lnTo>
                  <a:lnTo>
                    <a:pt x="1311" y="525"/>
                  </a:lnTo>
                  <a:lnTo>
                    <a:pt x="1318" y="522"/>
                  </a:lnTo>
                  <a:lnTo>
                    <a:pt x="1325" y="518"/>
                  </a:lnTo>
                  <a:lnTo>
                    <a:pt x="1330" y="514"/>
                  </a:lnTo>
                  <a:lnTo>
                    <a:pt x="1335" y="510"/>
                  </a:lnTo>
                  <a:lnTo>
                    <a:pt x="1346" y="500"/>
                  </a:lnTo>
                  <a:lnTo>
                    <a:pt x="1353" y="489"/>
                  </a:lnTo>
                  <a:lnTo>
                    <a:pt x="1361" y="475"/>
                  </a:lnTo>
                  <a:lnTo>
                    <a:pt x="1366" y="460"/>
                  </a:lnTo>
                  <a:lnTo>
                    <a:pt x="1370" y="450"/>
                  </a:lnTo>
                  <a:lnTo>
                    <a:pt x="1373" y="439"/>
                  </a:lnTo>
                  <a:lnTo>
                    <a:pt x="1374" y="429"/>
                  </a:lnTo>
                  <a:lnTo>
                    <a:pt x="1374" y="419"/>
                  </a:lnTo>
                  <a:lnTo>
                    <a:pt x="1374" y="398"/>
                  </a:lnTo>
                  <a:lnTo>
                    <a:pt x="1373" y="378"/>
                  </a:lnTo>
                  <a:lnTo>
                    <a:pt x="1370" y="358"/>
                  </a:lnTo>
                  <a:lnTo>
                    <a:pt x="1370" y="339"/>
                  </a:lnTo>
                  <a:lnTo>
                    <a:pt x="1372" y="330"/>
                  </a:lnTo>
                  <a:lnTo>
                    <a:pt x="1373" y="320"/>
                  </a:lnTo>
                  <a:lnTo>
                    <a:pt x="1376" y="311"/>
                  </a:lnTo>
                  <a:lnTo>
                    <a:pt x="1378" y="303"/>
                  </a:lnTo>
                  <a:lnTo>
                    <a:pt x="1387" y="289"/>
                  </a:lnTo>
                  <a:lnTo>
                    <a:pt x="1398" y="273"/>
                  </a:lnTo>
                  <a:lnTo>
                    <a:pt x="1410" y="259"/>
                  </a:lnTo>
                  <a:lnTo>
                    <a:pt x="1423" y="245"/>
                  </a:lnTo>
                  <a:lnTo>
                    <a:pt x="1449" y="216"/>
                  </a:lnTo>
                  <a:lnTo>
                    <a:pt x="1471" y="187"/>
                  </a:lnTo>
                  <a:lnTo>
                    <a:pt x="1471" y="184"/>
                  </a:lnTo>
                  <a:lnTo>
                    <a:pt x="1472" y="182"/>
                  </a:lnTo>
                  <a:lnTo>
                    <a:pt x="1471" y="179"/>
                  </a:lnTo>
                  <a:lnTo>
                    <a:pt x="1470" y="175"/>
                  </a:lnTo>
                  <a:lnTo>
                    <a:pt x="1466" y="166"/>
                  </a:lnTo>
                  <a:lnTo>
                    <a:pt x="1459" y="157"/>
                  </a:lnTo>
                  <a:lnTo>
                    <a:pt x="1445" y="139"/>
                  </a:lnTo>
                  <a:lnTo>
                    <a:pt x="1432" y="122"/>
                  </a:lnTo>
                  <a:lnTo>
                    <a:pt x="1427" y="116"/>
                  </a:lnTo>
                  <a:lnTo>
                    <a:pt x="1420" y="112"/>
                  </a:lnTo>
                  <a:lnTo>
                    <a:pt x="1412" y="109"/>
                  </a:lnTo>
                  <a:lnTo>
                    <a:pt x="1404" y="106"/>
                  </a:lnTo>
                  <a:lnTo>
                    <a:pt x="1387" y="103"/>
                  </a:lnTo>
                  <a:lnTo>
                    <a:pt x="1368" y="101"/>
                  </a:lnTo>
                  <a:lnTo>
                    <a:pt x="1351" y="99"/>
                  </a:lnTo>
                  <a:lnTo>
                    <a:pt x="1334" y="95"/>
                  </a:lnTo>
                  <a:lnTo>
                    <a:pt x="1327" y="93"/>
                  </a:lnTo>
                  <a:lnTo>
                    <a:pt x="1321" y="89"/>
                  </a:lnTo>
                  <a:lnTo>
                    <a:pt x="1315" y="85"/>
                  </a:lnTo>
                  <a:lnTo>
                    <a:pt x="1311" y="78"/>
                  </a:lnTo>
                  <a:lnTo>
                    <a:pt x="1310" y="72"/>
                  </a:lnTo>
                  <a:lnTo>
                    <a:pt x="1309" y="63"/>
                  </a:lnTo>
                  <a:lnTo>
                    <a:pt x="1309" y="54"/>
                  </a:lnTo>
                  <a:lnTo>
                    <a:pt x="1309" y="43"/>
                  </a:lnTo>
                  <a:lnTo>
                    <a:pt x="1309" y="33"/>
                  </a:lnTo>
                  <a:lnTo>
                    <a:pt x="1308" y="25"/>
                  </a:lnTo>
                  <a:lnTo>
                    <a:pt x="1306" y="22"/>
                  </a:lnTo>
                  <a:lnTo>
                    <a:pt x="1305" y="20"/>
                  </a:lnTo>
                  <a:lnTo>
                    <a:pt x="1302" y="18"/>
                  </a:lnTo>
                  <a:lnTo>
                    <a:pt x="1301" y="18"/>
                  </a:lnTo>
                  <a:lnTo>
                    <a:pt x="1281" y="20"/>
                  </a:lnTo>
                  <a:lnTo>
                    <a:pt x="1268" y="21"/>
                  </a:lnTo>
                  <a:lnTo>
                    <a:pt x="1264" y="22"/>
                  </a:lnTo>
                  <a:lnTo>
                    <a:pt x="1260" y="24"/>
                  </a:lnTo>
                  <a:lnTo>
                    <a:pt x="1258" y="25"/>
                  </a:lnTo>
                  <a:lnTo>
                    <a:pt x="1257" y="27"/>
                  </a:lnTo>
                  <a:lnTo>
                    <a:pt x="1255" y="33"/>
                  </a:lnTo>
                  <a:lnTo>
                    <a:pt x="1255" y="41"/>
                  </a:lnTo>
                  <a:lnTo>
                    <a:pt x="1257" y="51"/>
                  </a:lnTo>
                  <a:lnTo>
                    <a:pt x="1257" y="65"/>
                  </a:lnTo>
                  <a:lnTo>
                    <a:pt x="1257" y="75"/>
                  </a:lnTo>
                  <a:lnTo>
                    <a:pt x="1255" y="81"/>
                  </a:lnTo>
                  <a:lnTo>
                    <a:pt x="1253" y="88"/>
                  </a:lnTo>
                  <a:lnTo>
                    <a:pt x="1249" y="92"/>
                  </a:lnTo>
                  <a:lnTo>
                    <a:pt x="1245" y="95"/>
                  </a:lnTo>
                  <a:lnTo>
                    <a:pt x="1240" y="98"/>
                  </a:lnTo>
                  <a:lnTo>
                    <a:pt x="1234" y="99"/>
                  </a:lnTo>
                  <a:lnTo>
                    <a:pt x="1228" y="101"/>
                  </a:lnTo>
                  <a:lnTo>
                    <a:pt x="1213" y="99"/>
                  </a:lnTo>
                  <a:lnTo>
                    <a:pt x="1199" y="97"/>
                  </a:lnTo>
                  <a:lnTo>
                    <a:pt x="1182" y="93"/>
                  </a:lnTo>
                  <a:lnTo>
                    <a:pt x="1165" y="88"/>
                  </a:lnTo>
                  <a:lnTo>
                    <a:pt x="1147" y="81"/>
                  </a:lnTo>
                  <a:lnTo>
                    <a:pt x="1131" y="77"/>
                  </a:lnTo>
                  <a:lnTo>
                    <a:pt x="1115" y="73"/>
                  </a:lnTo>
                  <a:lnTo>
                    <a:pt x="1101" y="71"/>
                  </a:lnTo>
                  <a:lnTo>
                    <a:pt x="1094" y="71"/>
                  </a:lnTo>
                  <a:lnTo>
                    <a:pt x="1089" y="71"/>
                  </a:lnTo>
                  <a:lnTo>
                    <a:pt x="1084" y="72"/>
                  </a:lnTo>
                  <a:lnTo>
                    <a:pt x="1080" y="75"/>
                  </a:lnTo>
                  <a:lnTo>
                    <a:pt x="1077" y="77"/>
                  </a:lnTo>
                  <a:lnTo>
                    <a:pt x="1075" y="82"/>
                  </a:lnTo>
                  <a:lnTo>
                    <a:pt x="1073" y="88"/>
                  </a:lnTo>
                  <a:lnTo>
                    <a:pt x="1072" y="94"/>
                  </a:lnTo>
                  <a:lnTo>
                    <a:pt x="1070" y="129"/>
                  </a:lnTo>
                  <a:lnTo>
                    <a:pt x="1068" y="154"/>
                  </a:lnTo>
                  <a:lnTo>
                    <a:pt x="1068" y="160"/>
                  </a:lnTo>
                  <a:lnTo>
                    <a:pt x="1071" y="165"/>
                  </a:lnTo>
                  <a:lnTo>
                    <a:pt x="1073" y="169"/>
                  </a:lnTo>
                  <a:lnTo>
                    <a:pt x="1077" y="174"/>
                  </a:lnTo>
                  <a:lnTo>
                    <a:pt x="1083" y="178"/>
                  </a:lnTo>
                  <a:lnTo>
                    <a:pt x="1089" y="182"/>
                  </a:lnTo>
                  <a:lnTo>
                    <a:pt x="1098" y="186"/>
                  </a:lnTo>
                  <a:lnTo>
                    <a:pt x="1109" y="190"/>
                  </a:lnTo>
                  <a:lnTo>
                    <a:pt x="1117" y="194"/>
                  </a:lnTo>
                  <a:lnTo>
                    <a:pt x="1123" y="199"/>
                  </a:lnTo>
                  <a:lnTo>
                    <a:pt x="1127" y="205"/>
                  </a:lnTo>
                  <a:lnTo>
                    <a:pt x="1131" y="212"/>
                  </a:lnTo>
                  <a:lnTo>
                    <a:pt x="1132" y="220"/>
                  </a:lnTo>
                  <a:lnTo>
                    <a:pt x="1134" y="228"/>
                  </a:lnTo>
                  <a:lnTo>
                    <a:pt x="1134" y="237"/>
                  </a:lnTo>
                  <a:lnTo>
                    <a:pt x="1132" y="246"/>
                  </a:lnTo>
                  <a:lnTo>
                    <a:pt x="1128" y="266"/>
                  </a:lnTo>
                  <a:lnTo>
                    <a:pt x="1122" y="285"/>
                  </a:lnTo>
                  <a:lnTo>
                    <a:pt x="1115" y="302"/>
                  </a:lnTo>
                  <a:lnTo>
                    <a:pt x="1109" y="318"/>
                  </a:lnTo>
                  <a:lnTo>
                    <a:pt x="1098" y="348"/>
                  </a:lnTo>
                  <a:lnTo>
                    <a:pt x="1092" y="370"/>
                  </a:lnTo>
                  <a:lnTo>
                    <a:pt x="1089" y="378"/>
                  </a:lnTo>
                  <a:lnTo>
                    <a:pt x="1087" y="383"/>
                  </a:lnTo>
                  <a:lnTo>
                    <a:pt x="1084" y="388"/>
                  </a:lnTo>
                  <a:lnTo>
                    <a:pt x="1081" y="392"/>
                  </a:lnTo>
                  <a:lnTo>
                    <a:pt x="1077" y="395"/>
                  </a:lnTo>
                  <a:lnTo>
                    <a:pt x="1072" y="398"/>
                  </a:lnTo>
                  <a:lnTo>
                    <a:pt x="1067" y="399"/>
                  </a:lnTo>
                  <a:lnTo>
                    <a:pt x="1059" y="399"/>
                  </a:lnTo>
                  <a:lnTo>
                    <a:pt x="1037" y="400"/>
                  </a:lnTo>
                  <a:lnTo>
                    <a:pt x="1005" y="403"/>
                  </a:lnTo>
                  <a:lnTo>
                    <a:pt x="996" y="408"/>
                  </a:lnTo>
                  <a:lnTo>
                    <a:pt x="983" y="417"/>
                  </a:lnTo>
                  <a:lnTo>
                    <a:pt x="975" y="421"/>
                  </a:lnTo>
                  <a:lnTo>
                    <a:pt x="969" y="422"/>
                  </a:lnTo>
                  <a:lnTo>
                    <a:pt x="965" y="422"/>
                  </a:lnTo>
                  <a:lnTo>
                    <a:pt x="962" y="422"/>
                  </a:lnTo>
                  <a:lnTo>
                    <a:pt x="960" y="420"/>
                  </a:lnTo>
                  <a:lnTo>
                    <a:pt x="957" y="417"/>
                  </a:lnTo>
                  <a:lnTo>
                    <a:pt x="953" y="405"/>
                  </a:lnTo>
                  <a:lnTo>
                    <a:pt x="949" y="392"/>
                  </a:lnTo>
                  <a:lnTo>
                    <a:pt x="948" y="386"/>
                  </a:lnTo>
                  <a:lnTo>
                    <a:pt x="945" y="379"/>
                  </a:lnTo>
                  <a:lnTo>
                    <a:pt x="943" y="378"/>
                  </a:lnTo>
                  <a:lnTo>
                    <a:pt x="941" y="377"/>
                  </a:lnTo>
                  <a:lnTo>
                    <a:pt x="939" y="375"/>
                  </a:lnTo>
                  <a:lnTo>
                    <a:pt x="936" y="375"/>
                  </a:lnTo>
                  <a:lnTo>
                    <a:pt x="928" y="375"/>
                  </a:lnTo>
                  <a:lnTo>
                    <a:pt x="922" y="377"/>
                  </a:lnTo>
                  <a:lnTo>
                    <a:pt x="916" y="379"/>
                  </a:lnTo>
                  <a:lnTo>
                    <a:pt x="913" y="382"/>
                  </a:lnTo>
                  <a:lnTo>
                    <a:pt x="910" y="386"/>
                  </a:lnTo>
                  <a:lnTo>
                    <a:pt x="909" y="390"/>
                  </a:lnTo>
                  <a:lnTo>
                    <a:pt x="907" y="395"/>
                  </a:lnTo>
                  <a:lnTo>
                    <a:pt x="907" y="400"/>
                  </a:lnTo>
                  <a:lnTo>
                    <a:pt x="910" y="425"/>
                  </a:lnTo>
                  <a:lnTo>
                    <a:pt x="914" y="451"/>
                  </a:lnTo>
                  <a:lnTo>
                    <a:pt x="914" y="456"/>
                  </a:lnTo>
                  <a:lnTo>
                    <a:pt x="915" y="460"/>
                  </a:lnTo>
                  <a:lnTo>
                    <a:pt x="918" y="464"/>
                  </a:lnTo>
                  <a:lnTo>
                    <a:pt x="920" y="467"/>
                  </a:lnTo>
                  <a:lnTo>
                    <a:pt x="927" y="470"/>
                  </a:lnTo>
                  <a:lnTo>
                    <a:pt x="935" y="472"/>
                  </a:lnTo>
                  <a:lnTo>
                    <a:pt x="943" y="475"/>
                  </a:lnTo>
                  <a:lnTo>
                    <a:pt x="949" y="479"/>
                  </a:lnTo>
                  <a:lnTo>
                    <a:pt x="953" y="481"/>
                  </a:lnTo>
                  <a:lnTo>
                    <a:pt x="956" y="484"/>
                  </a:lnTo>
                  <a:lnTo>
                    <a:pt x="957" y="489"/>
                  </a:lnTo>
                  <a:lnTo>
                    <a:pt x="958" y="494"/>
                  </a:lnTo>
                  <a:lnTo>
                    <a:pt x="957" y="498"/>
                  </a:lnTo>
                  <a:lnTo>
                    <a:pt x="956" y="502"/>
                  </a:lnTo>
                  <a:lnTo>
                    <a:pt x="952" y="505"/>
                  </a:lnTo>
                  <a:lnTo>
                    <a:pt x="947" y="508"/>
                  </a:lnTo>
                  <a:lnTo>
                    <a:pt x="935" y="510"/>
                  </a:lnTo>
                  <a:lnTo>
                    <a:pt x="920" y="510"/>
                  </a:lnTo>
                  <a:lnTo>
                    <a:pt x="903" y="509"/>
                  </a:lnTo>
                  <a:lnTo>
                    <a:pt x="889" y="508"/>
                  </a:lnTo>
                  <a:lnTo>
                    <a:pt x="876" y="505"/>
                  </a:lnTo>
                  <a:lnTo>
                    <a:pt x="868" y="504"/>
                  </a:lnTo>
                  <a:lnTo>
                    <a:pt x="858" y="502"/>
                  </a:lnTo>
                  <a:lnTo>
                    <a:pt x="842" y="502"/>
                  </a:lnTo>
                  <a:lnTo>
                    <a:pt x="824" y="505"/>
                  </a:lnTo>
                  <a:lnTo>
                    <a:pt x="803" y="508"/>
                  </a:lnTo>
                  <a:lnTo>
                    <a:pt x="783" y="511"/>
                  </a:lnTo>
                  <a:lnTo>
                    <a:pt x="766" y="515"/>
                  </a:lnTo>
                  <a:lnTo>
                    <a:pt x="754" y="519"/>
                  </a:lnTo>
                  <a:lnTo>
                    <a:pt x="750" y="523"/>
                  </a:lnTo>
                  <a:lnTo>
                    <a:pt x="749" y="560"/>
                  </a:lnTo>
                  <a:lnTo>
                    <a:pt x="744" y="611"/>
                  </a:lnTo>
                  <a:lnTo>
                    <a:pt x="741" y="623"/>
                  </a:lnTo>
                  <a:lnTo>
                    <a:pt x="737" y="633"/>
                  </a:lnTo>
                  <a:lnTo>
                    <a:pt x="733" y="644"/>
                  </a:lnTo>
                  <a:lnTo>
                    <a:pt x="727" y="651"/>
                  </a:lnTo>
                  <a:lnTo>
                    <a:pt x="724" y="654"/>
                  </a:lnTo>
                  <a:lnTo>
                    <a:pt x="720" y="657"/>
                  </a:lnTo>
                  <a:lnTo>
                    <a:pt x="715" y="658"/>
                  </a:lnTo>
                  <a:lnTo>
                    <a:pt x="711" y="659"/>
                  </a:lnTo>
                  <a:lnTo>
                    <a:pt x="706" y="661"/>
                  </a:lnTo>
                  <a:lnTo>
                    <a:pt x="701" y="659"/>
                  </a:lnTo>
                  <a:lnTo>
                    <a:pt x="695" y="659"/>
                  </a:lnTo>
                  <a:lnTo>
                    <a:pt x="689" y="657"/>
                  </a:lnTo>
                  <a:lnTo>
                    <a:pt x="682" y="655"/>
                  </a:lnTo>
                  <a:lnTo>
                    <a:pt x="677" y="654"/>
                  </a:lnTo>
                  <a:lnTo>
                    <a:pt x="672" y="655"/>
                  </a:lnTo>
                  <a:lnTo>
                    <a:pt x="667" y="657"/>
                  </a:lnTo>
                  <a:lnTo>
                    <a:pt x="657" y="661"/>
                  </a:lnTo>
                  <a:lnTo>
                    <a:pt x="648" y="667"/>
                  </a:lnTo>
                  <a:lnTo>
                    <a:pt x="640" y="674"/>
                  </a:lnTo>
                  <a:lnTo>
                    <a:pt x="630" y="680"/>
                  </a:lnTo>
                  <a:lnTo>
                    <a:pt x="625" y="681"/>
                  </a:lnTo>
                  <a:lnTo>
                    <a:pt x="620" y="683"/>
                  </a:lnTo>
                  <a:lnTo>
                    <a:pt x="613" y="683"/>
                  </a:lnTo>
                  <a:lnTo>
                    <a:pt x="606" y="681"/>
                  </a:lnTo>
                  <a:lnTo>
                    <a:pt x="595" y="678"/>
                  </a:lnTo>
                  <a:lnTo>
                    <a:pt x="583" y="671"/>
                  </a:lnTo>
                  <a:lnTo>
                    <a:pt x="574" y="663"/>
                  </a:lnTo>
                  <a:lnTo>
                    <a:pt x="565" y="653"/>
                  </a:lnTo>
                  <a:lnTo>
                    <a:pt x="557" y="642"/>
                  </a:lnTo>
                  <a:lnTo>
                    <a:pt x="549" y="632"/>
                  </a:lnTo>
                  <a:lnTo>
                    <a:pt x="544" y="621"/>
                  </a:lnTo>
                  <a:lnTo>
                    <a:pt x="538" y="611"/>
                  </a:lnTo>
                  <a:lnTo>
                    <a:pt x="533" y="602"/>
                  </a:lnTo>
                  <a:lnTo>
                    <a:pt x="528" y="594"/>
                  </a:lnTo>
                  <a:lnTo>
                    <a:pt x="524" y="587"/>
                  </a:lnTo>
                  <a:lnTo>
                    <a:pt x="519" y="583"/>
                  </a:lnTo>
                  <a:lnTo>
                    <a:pt x="515" y="581"/>
                  </a:lnTo>
                  <a:lnTo>
                    <a:pt x="510" y="578"/>
                  </a:lnTo>
                  <a:lnTo>
                    <a:pt x="506" y="577"/>
                  </a:lnTo>
                  <a:lnTo>
                    <a:pt x="501" y="577"/>
                  </a:lnTo>
                  <a:lnTo>
                    <a:pt x="477" y="579"/>
                  </a:lnTo>
                  <a:lnTo>
                    <a:pt x="443" y="579"/>
                  </a:lnTo>
                  <a:lnTo>
                    <a:pt x="431" y="578"/>
                  </a:lnTo>
                  <a:lnTo>
                    <a:pt x="421" y="578"/>
                  </a:lnTo>
                  <a:lnTo>
                    <a:pt x="413" y="579"/>
                  </a:lnTo>
                  <a:lnTo>
                    <a:pt x="406" y="582"/>
                  </a:lnTo>
                  <a:lnTo>
                    <a:pt x="402" y="586"/>
                  </a:lnTo>
                  <a:lnTo>
                    <a:pt x="399" y="590"/>
                  </a:lnTo>
                  <a:lnTo>
                    <a:pt x="396" y="595"/>
                  </a:lnTo>
                  <a:lnTo>
                    <a:pt x="395" y="600"/>
                  </a:lnTo>
                  <a:lnTo>
                    <a:pt x="396" y="630"/>
                  </a:lnTo>
                  <a:lnTo>
                    <a:pt x="396" y="668"/>
                  </a:lnTo>
                  <a:lnTo>
                    <a:pt x="393" y="712"/>
                  </a:lnTo>
                  <a:lnTo>
                    <a:pt x="438" y="736"/>
                  </a:lnTo>
                  <a:lnTo>
                    <a:pt x="444" y="744"/>
                  </a:lnTo>
                  <a:lnTo>
                    <a:pt x="451" y="751"/>
                  </a:lnTo>
                  <a:lnTo>
                    <a:pt x="452" y="751"/>
                  </a:lnTo>
                  <a:lnTo>
                    <a:pt x="453" y="751"/>
                  </a:lnTo>
                  <a:lnTo>
                    <a:pt x="455" y="753"/>
                  </a:lnTo>
                  <a:lnTo>
                    <a:pt x="456" y="756"/>
                  </a:lnTo>
                  <a:lnTo>
                    <a:pt x="460" y="757"/>
                  </a:lnTo>
                  <a:lnTo>
                    <a:pt x="461" y="757"/>
                  </a:lnTo>
                  <a:lnTo>
                    <a:pt x="476" y="759"/>
                  </a:lnTo>
                  <a:lnTo>
                    <a:pt x="498" y="761"/>
                  </a:lnTo>
                  <a:lnTo>
                    <a:pt x="521" y="763"/>
                  </a:lnTo>
                  <a:lnTo>
                    <a:pt x="537" y="765"/>
                  </a:lnTo>
                  <a:lnTo>
                    <a:pt x="545" y="767"/>
                  </a:lnTo>
                  <a:lnTo>
                    <a:pt x="554" y="769"/>
                  </a:lnTo>
                  <a:lnTo>
                    <a:pt x="555" y="769"/>
                  </a:lnTo>
                  <a:lnTo>
                    <a:pt x="557" y="769"/>
                  </a:lnTo>
                  <a:lnTo>
                    <a:pt x="557" y="770"/>
                  </a:lnTo>
                  <a:lnTo>
                    <a:pt x="558" y="770"/>
                  </a:lnTo>
                  <a:lnTo>
                    <a:pt x="559" y="770"/>
                  </a:lnTo>
                  <a:lnTo>
                    <a:pt x="559" y="772"/>
                  </a:lnTo>
                  <a:lnTo>
                    <a:pt x="561" y="772"/>
                  </a:lnTo>
                  <a:lnTo>
                    <a:pt x="562" y="772"/>
                  </a:lnTo>
                  <a:lnTo>
                    <a:pt x="563" y="773"/>
                  </a:lnTo>
                  <a:lnTo>
                    <a:pt x="565" y="773"/>
                  </a:lnTo>
                  <a:lnTo>
                    <a:pt x="565" y="773"/>
                  </a:lnTo>
                  <a:lnTo>
                    <a:pt x="566" y="774"/>
                  </a:lnTo>
                  <a:lnTo>
                    <a:pt x="571" y="776"/>
                  </a:lnTo>
                  <a:lnTo>
                    <a:pt x="582" y="777"/>
                  </a:lnTo>
                  <a:lnTo>
                    <a:pt x="591" y="777"/>
                  </a:lnTo>
                  <a:lnTo>
                    <a:pt x="597" y="776"/>
                  </a:lnTo>
                  <a:lnTo>
                    <a:pt x="609" y="769"/>
                  </a:lnTo>
                  <a:lnTo>
                    <a:pt x="618" y="763"/>
                  </a:lnTo>
                  <a:lnTo>
                    <a:pt x="620" y="763"/>
                  </a:lnTo>
                  <a:lnTo>
                    <a:pt x="621" y="763"/>
                  </a:lnTo>
                  <a:lnTo>
                    <a:pt x="622" y="761"/>
                  </a:lnTo>
                  <a:lnTo>
                    <a:pt x="623" y="760"/>
                  </a:lnTo>
                  <a:lnTo>
                    <a:pt x="626" y="756"/>
                  </a:lnTo>
                  <a:lnTo>
                    <a:pt x="629" y="753"/>
                  </a:lnTo>
                  <a:lnTo>
                    <a:pt x="637" y="751"/>
                  </a:lnTo>
                  <a:lnTo>
                    <a:pt x="646" y="748"/>
                  </a:lnTo>
                  <a:lnTo>
                    <a:pt x="663" y="746"/>
                  </a:lnTo>
                  <a:lnTo>
                    <a:pt x="681" y="746"/>
                  </a:lnTo>
                  <a:lnTo>
                    <a:pt x="698" y="747"/>
                  </a:lnTo>
                  <a:lnTo>
                    <a:pt x="720" y="750"/>
                  </a:lnTo>
                  <a:lnTo>
                    <a:pt x="723" y="750"/>
                  </a:lnTo>
                  <a:lnTo>
                    <a:pt x="727" y="751"/>
                  </a:lnTo>
                  <a:lnTo>
                    <a:pt x="727" y="751"/>
                  </a:lnTo>
                  <a:lnTo>
                    <a:pt x="728" y="752"/>
                  </a:lnTo>
                  <a:lnTo>
                    <a:pt x="732" y="755"/>
                  </a:lnTo>
                  <a:lnTo>
                    <a:pt x="736" y="761"/>
                  </a:lnTo>
                  <a:lnTo>
                    <a:pt x="736" y="764"/>
                  </a:lnTo>
                  <a:lnTo>
                    <a:pt x="736" y="765"/>
                  </a:lnTo>
                  <a:lnTo>
                    <a:pt x="733" y="774"/>
                  </a:lnTo>
                  <a:lnTo>
                    <a:pt x="731" y="784"/>
                  </a:lnTo>
                  <a:lnTo>
                    <a:pt x="731" y="785"/>
                  </a:lnTo>
                  <a:lnTo>
                    <a:pt x="729" y="786"/>
                  </a:lnTo>
                  <a:lnTo>
                    <a:pt x="728" y="787"/>
                  </a:lnTo>
                  <a:lnTo>
                    <a:pt x="728" y="787"/>
                  </a:lnTo>
                  <a:lnTo>
                    <a:pt x="728" y="789"/>
                  </a:lnTo>
                  <a:lnTo>
                    <a:pt x="728" y="790"/>
                  </a:lnTo>
                  <a:lnTo>
                    <a:pt x="727" y="791"/>
                  </a:lnTo>
                  <a:lnTo>
                    <a:pt x="726" y="791"/>
                  </a:lnTo>
                  <a:lnTo>
                    <a:pt x="724" y="793"/>
                  </a:lnTo>
                  <a:lnTo>
                    <a:pt x="724" y="798"/>
                  </a:lnTo>
                  <a:lnTo>
                    <a:pt x="726" y="799"/>
                  </a:lnTo>
                  <a:lnTo>
                    <a:pt x="727" y="801"/>
                  </a:lnTo>
                  <a:lnTo>
                    <a:pt x="729" y="803"/>
                  </a:lnTo>
                  <a:lnTo>
                    <a:pt x="731" y="806"/>
                  </a:lnTo>
                  <a:lnTo>
                    <a:pt x="732" y="806"/>
                  </a:lnTo>
                  <a:lnTo>
                    <a:pt x="735" y="806"/>
                  </a:lnTo>
                  <a:lnTo>
                    <a:pt x="737" y="807"/>
                  </a:lnTo>
                  <a:lnTo>
                    <a:pt x="740" y="808"/>
                  </a:lnTo>
                  <a:lnTo>
                    <a:pt x="746" y="811"/>
                  </a:lnTo>
                  <a:lnTo>
                    <a:pt x="760" y="815"/>
                  </a:lnTo>
                  <a:lnTo>
                    <a:pt x="774" y="819"/>
                  </a:lnTo>
                  <a:lnTo>
                    <a:pt x="782" y="821"/>
                  </a:lnTo>
                  <a:lnTo>
                    <a:pt x="784" y="824"/>
                  </a:lnTo>
                  <a:lnTo>
                    <a:pt x="787" y="827"/>
                  </a:lnTo>
                  <a:lnTo>
                    <a:pt x="788" y="829"/>
                  </a:lnTo>
                  <a:lnTo>
                    <a:pt x="791" y="832"/>
                  </a:lnTo>
                  <a:lnTo>
                    <a:pt x="792" y="835"/>
                  </a:lnTo>
                  <a:lnTo>
                    <a:pt x="794" y="838"/>
                  </a:lnTo>
                  <a:lnTo>
                    <a:pt x="794" y="844"/>
                  </a:lnTo>
                  <a:lnTo>
                    <a:pt x="792" y="849"/>
                  </a:lnTo>
                  <a:lnTo>
                    <a:pt x="790" y="859"/>
                  </a:lnTo>
                  <a:lnTo>
                    <a:pt x="787" y="865"/>
                  </a:lnTo>
                  <a:lnTo>
                    <a:pt x="786" y="867"/>
                  </a:lnTo>
                  <a:lnTo>
                    <a:pt x="784" y="871"/>
                  </a:lnTo>
                  <a:lnTo>
                    <a:pt x="784" y="875"/>
                  </a:lnTo>
                  <a:lnTo>
                    <a:pt x="786" y="880"/>
                  </a:lnTo>
                  <a:lnTo>
                    <a:pt x="788" y="891"/>
                  </a:lnTo>
                  <a:lnTo>
                    <a:pt x="792" y="897"/>
                  </a:lnTo>
                  <a:lnTo>
                    <a:pt x="799" y="903"/>
                  </a:lnTo>
                  <a:lnTo>
                    <a:pt x="805" y="906"/>
                  </a:lnTo>
                  <a:lnTo>
                    <a:pt x="809" y="906"/>
                  </a:lnTo>
                  <a:lnTo>
                    <a:pt x="811" y="906"/>
                  </a:lnTo>
                  <a:lnTo>
                    <a:pt x="812" y="908"/>
                  </a:lnTo>
                  <a:lnTo>
                    <a:pt x="812" y="908"/>
                  </a:lnTo>
                  <a:lnTo>
                    <a:pt x="813" y="908"/>
                  </a:lnTo>
                  <a:lnTo>
                    <a:pt x="813" y="909"/>
                  </a:lnTo>
                  <a:lnTo>
                    <a:pt x="814" y="910"/>
                  </a:lnTo>
                  <a:lnTo>
                    <a:pt x="850" y="922"/>
                  </a:lnTo>
                  <a:lnTo>
                    <a:pt x="885" y="940"/>
                  </a:lnTo>
                  <a:lnTo>
                    <a:pt x="889" y="943"/>
                  </a:lnTo>
                  <a:lnTo>
                    <a:pt x="889" y="946"/>
                  </a:lnTo>
                  <a:lnTo>
                    <a:pt x="888" y="950"/>
                  </a:lnTo>
                  <a:lnTo>
                    <a:pt x="888" y="952"/>
                  </a:lnTo>
                  <a:lnTo>
                    <a:pt x="890" y="959"/>
                  </a:lnTo>
                  <a:lnTo>
                    <a:pt x="893" y="964"/>
                  </a:lnTo>
                  <a:lnTo>
                    <a:pt x="894" y="965"/>
                  </a:lnTo>
                  <a:lnTo>
                    <a:pt x="896" y="967"/>
                  </a:lnTo>
                  <a:lnTo>
                    <a:pt x="897" y="969"/>
                  </a:lnTo>
                  <a:lnTo>
                    <a:pt x="899" y="973"/>
                  </a:lnTo>
                  <a:lnTo>
                    <a:pt x="899" y="974"/>
                  </a:lnTo>
                  <a:lnTo>
                    <a:pt x="901" y="976"/>
                  </a:lnTo>
                  <a:lnTo>
                    <a:pt x="902" y="977"/>
                  </a:lnTo>
                  <a:lnTo>
                    <a:pt x="903" y="980"/>
                  </a:lnTo>
                  <a:lnTo>
                    <a:pt x="903" y="981"/>
                  </a:lnTo>
                  <a:lnTo>
                    <a:pt x="905" y="982"/>
                  </a:lnTo>
                  <a:lnTo>
                    <a:pt x="906" y="984"/>
                  </a:lnTo>
                  <a:lnTo>
                    <a:pt x="906" y="984"/>
                  </a:lnTo>
                  <a:lnTo>
                    <a:pt x="907" y="985"/>
                  </a:lnTo>
                  <a:lnTo>
                    <a:pt x="909" y="986"/>
                  </a:lnTo>
                  <a:lnTo>
                    <a:pt x="910" y="988"/>
                  </a:lnTo>
                  <a:lnTo>
                    <a:pt x="911" y="989"/>
                  </a:lnTo>
                  <a:lnTo>
                    <a:pt x="913" y="990"/>
                  </a:lnTo>
                  <a:lnTo>
                    <a:pt x="913" y="992"/>
                  </a:lnTo>
                  <a:lnTo>
                    <a:pt x="914" y="993"/>
                  </a:lnTo>
                  <a:lnTo>
                    <a:pt x="915" y="994"/>
                  </a:lnTo>
                  <a:lnTo>
                    <a:pt x="916" y="997"/>
                  </a:lnTo>
                  <a:lnTo>
                    <a:pt x="918" y="999"/>
                  </a:lnTo>
                  <a:lnTo>
                    <a:pt x="918" y="1001"/>
                  </a:lnTo>
                  <a:lnTo>
                    <a:pt x="918" y="1003"/>
                  </a:lnTo>
                  <a:lnTo>
                    <a:pt x="919" y="1005"/>
                  </a:lnTo>
                  <a:lnTo>
                    <a:pt x="919" y="1006"/>
                  </a:lnTo>
                  <a:lnTo>
                    <a:pt x="920" y="1007"/>
                  </a:lnTo>
                  <a:lnTo>
                    <a:pt x="920" y="1007"/>
                  </a:lnTo>
                  <a:lnTo>
                    <a:pt x="920" y="1009"/>
                  </a:lnTo>
                  <a:lnTo>
                    <a:pt x="922" y="1010"/>
                  </a:lnTo>
                  <a:lnTo>
                    <a:pt x="922" y="1012"/>
                  </a:lnTo>
                  <a:lnTo>
                    <a:pt x="923" y="1016"/>
                  </a:lnTo>
                  <a:lnTo>
                    <a:pt x="923" y="1024"/>
                  </a:lnTo>
                  <a:lnTo>
                    <a:pt x="923" y="1028"/>
                  </a:lnTo>
                  <a:lnTo>
                    <a:pt x="922" y="1032"/>
                  </a:lnTo>
                  <a:lnTo>
                    <a:pt x="920" y="1035"/>
                  </a:lnTo>
                  <a:lnTo>
                    <a:pt x="918" y="1036"/>
                  </a:lnTo>
                  <a:lnTo>
                    <a:pt x="916" y="1037"/>
                  </a:lnTo>
                  <a:lnTo>
                    <a:pt x="915" y="1039"/>
                  </a:lnTo>
                  <a:lnTo>
                    <a:pt x="915" y="1039"/>
                  </a:lnTo>
                  <a:lnTo>
                    <a:pt x="914" y="1040"/>
                  </a:lnTo>
                  <a:lnTo>
                    <a:pt x="914" y="1041"/>
                  </a:lnTo>
                  <a:lnTo>
                    <a:pt x="911" y="1043"/>
                  </a:lnTo>
                  <a:lnTo>
                    <a:pt x="910" y="1043"/>
                  </a:lnTo>
                  <a:lnTo>
                    <a:pt x="910" y="1044"/>
                  </a:lnTo>
                  <a:lnTo>
                    <a:pt x="909" y="1045"/>
                  </a:lnTo>
                  <a:lnTo>
                    <a:pt x="909" y="1045"/>
                  </a:lnTo>
                  <a:lnTo>
                    <a:pt x="907" y="1046"/>
                  </a:lnTo>
                  <a:lnTo>
                    <a:pt x="905" y="1048"/>
                  </a:lnTo>
                  <a:lnTo>
                    <a:pt x="902" y="1048"/>
                  </a:lnTo>
                  <a:lnTo>
                    <a:pt x="902" y="1049"/>
                  </a:lnTo>
                  <a:lnTo>
                    <a:pt x="901" y="1050"/>
                  </a:lnTo>
                  <a:lnTo>
                    <a:pt x="898" y="1050"/>
                  </a:lnTo>
                  <a:lnTo>
                    <a:pt x="896" y="1052"/>
                  </a:lnTo>
                  <a:lnTo>
                    <a:pt x="896" y="1052"/>
                  </a:lnTo>
                  <a:lnTo>
                    <a:pt x="894" y="1053"/>
                  </a:lnTo>
                  <a:lnTo>
                    <a:pt x="893" y="1053"/>
                  </a:lnTo>
                  <a:lnTo>
                    <a:pt x="892" y="1054"/>
                  </a:lnTo>
                  <a:lnTo>
                    <a:pt x="892" y="1056"/>
                  </a:lnTo>
                  <a:lnTo>
                    <a:pt x="892" y="1056"/>
                  </a:lnTo>
                  <a:lnTo>
                    <a:pt x="864" y="1063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43" name="Freeform 7"/>
            <p:cNvSpPr>
              <a:spLocks noEditPoints="1"/>
            </p:cNvSpPr>
            <p:nvPr/>
          </p:nvSpPr>
          <p:spPr bwMode="auto">
            <a:xfrm>
              <a:off x="3687763" y="2292350"/>
              <a:ext cx="2351087" cy="2195513"/>
            </a:xfrm>
            <a:custGeom>
              <a:avLst/>
              <a:gdLst/>
              <a:ahLst/>
              <a:cxnLst>
                <a:cxn ang="0">
                  <a:pos x="1457" y="2404"/>
                </a:cxn>
                <a:cxn ang="0">
                  <a:pos x="2686" y="136"/>
                </a:cxn>
                <a:cxn ang="0">
                  <a:pos x="2848" y="115"/>
                </a:cxn>
                <a:cxn ang="0">
                  <a:pos x="2613" y="311"/>
                </a:cxn>
                <a:cxn ang="0">
                  <a:pos x="2249" y="603"/>
                </a:cxn>
                <a:cxn ang="0">
                  <a:pos x="2045" y="917"/>
                </a:cxn>
                <a:cxn ang="0">
                  <a:pos x="2396" y="905"/>
                </a:cxn>
                <a:cxn ang="0">
                  <a:pos x="2319" y="1180"/>
                </a:cxn>
                <a:cxn ang="0">
                  <a:pos x="2132" y="1485"/>
                </a:cxn>
                <a:cxn ang="0">
                  <a:pos x="2561" y="1336"/>
                </a:cxn>
                <a:cxn ang="0">
                  <a:pos x="2905" y="1138"/>
                </a:cxn>
                <a:cxn ang="0">
                  <a:pos x="3208" y="864"/>
                </a:cxn>
                <a:cxn ang="0">
                  <a:pos x="2906" y="414"/>
                </a:cxn>
                <a:cxn ang="0">
                  <a:pos x="3658" y="462"/>
                </a:cxn>
                <a:cxn ang="0">
                  <a:pos x="3918" y="708"/>
                </a:cxn>
                <a:cxn ang="0">
                  <a:pos x="4041" y="925"/>
                </a:cxn>
                <a:cxn ang="0">
                  <a:pos x="4091" y="1137"/>
                </a:cxn>
                <a:cxn ang="0">
                  <a:pos x="4048" y="1694"/>
                </a:cxn>
                <a:cxn ang="0">
                  <a:pos x="4370" y="2090"/>
                </a:cxn>
                <a:cxn ang="0">
                  <a:pos x="4041" y="2503"/>
                </a:cxn>
                <a:cxn ang="0">
                  <a:pos x="4077" y="2966"/>
                </a:cxn>
                <a:cxn ang="0">
                  <a:pos x="4371" y="3239"/>
                </a:cxn>
                <a:cxn ang="0">
                  <a:pos x="4706" y="3274"/>
                </a:cxn>
                <a:cxn ang="0">
                  <a:pos x="5308" y="3392"/>
                </a:cxn>
                <a:cxn ang="0">
                  <a:pos x="5692" y="3477"/>
                </a:cxn>
                <a:cxn ang="0">
                  <a:pos x="6360" y="3465"/>
                </a:cxn>
                <a:cxn ang="0">
                  <a:pos x="6357" y="3873"/>
                </a:cxn>
                <a:cxn ang="0">
                  <a:pos x="6027" y="4373"/>
                </a:cxn>
                <a:cxn ang="0">
                  <a:pos x="5157" y="4772"/>
                </a:cxn>
                <a:cxn ang="0">
                  <a:pos x="4340" y="4913"/>
                </a:cxn>
                <a:cxn ang="0">
                  <a:pos x="3446" y="5435"/>
                </a:cxn>
                <a:cxn ang="0">
                  <a:pos x="2966" y="5437"/>
                </a:cxn>
                <a:cxn ang="0">
                  <a:pos x="2699" y="5553"/>
                </a:cxn>
                <a:cxn ang="0">
                  <a:pos x="2727" y="5671"/>
                </a:cxn>
                <a:cxn ang="0">
                  <a:pos x="2498" y="5633"/>
                </a:cxn>
                <a:cxn ang="0">
                  <a:pos x="1857" y="5873"/>
                </a:cxn>
                <a:cxn ang="0">
                  <a:pos x="1523" y="5975"/>
                </a:cxn>
                <a:cxn ang="0">
                  <a:pos x="1344" y="5643"/>
                </a:cxn>
                <a:cxn ang="0">
                  <a:pos x="1343" y="5355"/>
                </a:cxn>
                <a:cxn ang="0">
                  <a:pos x="1483" y="5132"/>
                </a:cxn>
                <a:cxn ang="0">
                  <a:pos x="1782" y="4499"/>
                </a:cxn>
                <a:cxn ang="0">
                  <a:pos x="1853" y="4063"/>
                </a:cxn>
                <a:cxn ang="0">
                  <a:pos x="2019" y="3805"/>
                </a:cxn>
                <a:cxn ang="0">
                  <a:pos x="1735" y="3359"/>
                </a:cxn>
                <a:cxn ang="0">
                  <a:pos x="1820" y="3142"/>
                </a:cxn>
                <a:cxn ang="0">
                  <a:pos x="1843" y="2964"/>
                </a:cxn>
                <a:cxn ang="0">
                  <a:pos x="1994" y="2824"/>
                </a:cxn>
                <a:cxn ang="0">
                  <a:pos x="1441" y="2601"/>
                </a:cxn>
                <a:cxn ang="0">
                  <a:pos x="1412" y="2227"/>
                </a:cxn>
                <a:cxn ang="0">
                  <a:pos x="1453" y="2012"/>
                </a:cxn>
                <a:cxn ang="0">
                  <a:pos x="728" y="2145"/>
                </a:cxn>
                <a:cxn ang="0">
                  <a:pos x="747" y="1797"/>
                </a:cxn>
                <a:cxn ang="0">
                  <a:pos x="787" y="1426"/>
                </a:cxn>
                <a:cxn ang="0">
                  <a:pos x="658" y="1368"/>
                </a:cxn>
                <a:cxn ang="0">
                  <a:pos x="191" y="1444"/>
                </a:cxn>
                <a:cxn ang="0">
                  <a:pos x="127" y="1126"/>
                </a:cxn>
                <a:cxn ang="0">
                  <a:pos x="342" y="943"/>
                </a:cxn>
                <a:cxn ang="0">
                  <a:pos x="468" y="1005"/>
                </a:cxn>
                <a:cxn ang="0">
                  <a:pos x="798" y="662"/>
                </a:cxn>
                <a:cxn ang="0">
                  <a:pos x="1148" y="510"/>
                </a:cxn>
                <a:cxn ang="0">
                  <a:pos x="1565" y="352"/>
                </a:cxn>
                <a:cxn ang="0">
                  <a:pos x="2453" y="216"/>
                </a:cxn>
                <a:cxn ang="0">
                  <a:pos x="3351" y="1073"/>
                </a:cxn>
              </a:cxnLst>
              <a:rect l="0" t="0" r="r" b="b"/>
              <a:pathLst>
                <a:path w="6394" h="5975">
                  <a:moveTo>
                    <a:pt x="1115" y="2531"/>
                  </a:moveTo>
                  <a:lnTo>
                    <a:pt x="1114" y="2526"/>
                  </a:lnTo>
                  <a:lnTo>
                    <a:pt x="1113" y="2521"/>
                  </a:lnTo>
                  <a:lnTo>
                    <a:pt x="1110" y="2516"/>
                  </a:lnTo>
                  <a:lnTo>
                    <a:pt x="1108" y="2512"/>
                  </a:lnTo>
                  <a:lnTo>
                    <a:pt x="1100" y="2504"/>
                  </a:lnTo>
                  <a:lnTo>
                    <a:pt x="1091" y="2499"/>
                  </a:lnTo>
                  <a:lnTo>
                    <a:pt x="1087" y="2497"/>
                  </a:lnTo>
                  <a:lnTo>
                    <a:pt x="1081" y="2496"/>
                  </a:lnTo>
                  <a:lnTo>
                    <a:pt x="1076" y="2496"/>
                  </a:lnTo>
                  <a:lnTo>
                    <a:pt x="1071" y="2496"/>
                  </a:lnTo>
                  <a:lnTo>
                    <a:pt x="1067" y="2497"/>
                  </a:lnTo>
                  <a:lnTo>
                    <a:pt x="1063" y="2500"/>
                  </a:lnTo>
                  <a:lnTo>
                    <a:pt x="1059" y="2504"/>
                  </a:lnTo>
                  <a:lnTo>
                    <a:pt x="1055" y="2509"/>
                  </a:lnTo>
                  <a:lnTo>
                    <a:pt x="1047" y="2522"/>
                  </a:lnTo>
                  <a:lnTo>
                    <a:pt x="1041" y="2537"/>
                  </a:lnTo>
                  <a:lnTo>
                    <a:pt x="1038" y="2543"/>
                  </a:lnTo>
                  <a:lnTo>
                    <a:pt x="1037" y="2551"/>
                  </a:lnTo>
                  <a:lnTo>
                    <a:pt x="1036" y="2559"/>
                  </a:lnTo>
                  <a:lnTo>
                    <a:pt x="1037" y="2567"/>
                  </a:lnTo>
                  <a:lnTo>
                    <a:pt x="1037" y="2576"/>
                  </a:lnTo>
                  <a:lnTo>
                    <a:pt x="1037" y="2589"/>
                  </a:lnTo>
                  <a:lnTo>
                    <a:pt x="1038" y="2602"/>
                  </a:lnTo>
                  <a:lnTo>
                    <a:pt x="1041" y="2610"/>
                  </a:lnTo>
                  <a:lnTo>
                    <a:pt x="1043" y="2610"/>
                  </a:lnTo>
                  <a:lnTo>
                    <a:pt x="1047" y="2610"/>
                  </a:lnTo>
                  <a:lnTo>
                    <a:pt x="1051" y="2607"/>
                  </a:lnTo>
                  <a:lnTo>
                    <a:pt x="1057" y="2605"/>
                  </a:lnTo>
                  <a:lnTo>
                    <a:pt x="1068" y="2599"/>
                  </a:lnTo>
                  <a:lnTo>
                    <a:pt x="1075" y="2595"/>
                  </a:lnTo>
                  <a:lnTo>
                    <a:pt x="1087" y="2590"/>
                  </a:lnTo>
                  <a:lnTo>
                    <a:pt x="1101" y="2585"/>
                  </a:lnTo>
                  <a:lnTo>
                    <a:pt x="1114" y="2577"/>
                  </a:lnTo>
                  <a:lnTo>
                    <a:pt x="1123" y="2571"/>
                  </a:lnTo>
                  <a:lnTo>
                    <a:pt x="1127" y="2564"/>
                  </a:lnTo>
                  <a:lnTo>
                    <a:pt x="1128" y="2559"/>
                  </a:lnTo>
                  <a:lnTo>
                    <a:pt x="1127" y="2554"/>
                  </a:lnTo>
                  <a:lnTo>
                    <a:pt x="1125" y="2548"/>
                  </a:lnTo>
                  <a:lnTo>
                    <a:pt x="1119" y="2539"/>
                  </a:lnTo>
                  <a:lnTo>
                    <a:pt x="1115" y="2531"/>
                  </a:lnTo>
                  <a:close/>
                  <a:moveTo>
                    <a:pt x="723" y="2153"/>
                  </a:moveTo>
                  <a:lnTo>
                    <a:pt x="778" y="2168"/>
                  </a:lnTo>
                  <a:lnTo>
                    <a:pt x="723" y="2153"/>
                  </a:lnTo>
                  <a:close/>
                  <a:moveTo>
                    <a:pt x="1512" y="2423"/>
                  </a:moveTo>
                  <a:lnTo>
                    <a:pt x="1514" y="2419"/>
                  </a:lnTo>
                  <a:lnTo>
                    <a:pt x="1514" y="2415"/>
                  </a:lnTo>
                  <a:lnTo>
                    <a:pt x="1513" y="2408"/>
                  </a:lnTo>
                  <a:lnTo>
                    <a:pt x="1512" y="2402"/>
                  </a:lnTo>
                  <a:lnTo>
                    <a:pt x="1509" y="2397"/>
                  </a:lnTo>
                  <a:lnTo>
                    <a:pt x="1506" y="2391"/>
                  </a:lnTo>
                  <a:lnTo>
                    <a:pt x="1503" y="2387"/>
                  </a:lnTo>
                  <a:lnTo>
                    <a:pt x="1499" y="2386"/>
                  </a:lnTo>
                  <a:lnTo>
                    <a:pt x="1493" y="2387"/>
                  </a:lnTo>
                  <a:lnTo>
                    <a:pt x="1488" y="2390"/>
                  </a:lnTo>
                  <a:lnTo>
                    <a:pt x="1475" y="2395"/>
                  </a:lnTo>
                  <a:lnTo>
                    <a:pt x="1462" y="2401"/>
                  </a:lnTo>
                  <a:lnTo>
                    <a:pt x="1461" y="2402"/>
                  </a:lnTo>
                  <a:lnTo>
                    <a:pt x="1459" y="2403"/>
                  </a:lnTo>
                  <a:lnTo>
                    <a:pt x="1457" y="2404"/>
                  </a:lnTo>
                  <a:lnTo>
                    <a:pt x="1454" y="2406"/>
                  </a:lnTo>
                  <a:lnTo>
                    <a:pt x="1452" y="2406"/>
                  </a:lnTo>
                  <a:lnTo>
                    <a:pt x="1449" y="2407"/>
                  </a:lnTo>
                  <a:lnTo>
                    <a:pt x="1448" y="2408"/>
                  </a:lnTo>
                  <a:lnTo>
                    <a:pt x="1446" y="2410"/>
                  </a:lnTo>
                  <a:lnTo>
                    <a:pt x="1444" y="2411"/>
                  </a:lnTo>
                  <a:lnTo>
                    <a:pt x="1444" y="2411"/>
                  </a:lnTo>
                  <a:lnTo>
                    <a:pt x="1442" y="2412"/>
                  </a:lnTo>
                  <a:lnTo>
                    <a:pt x="1441" y="2414"/>
                  </a:lnTo>
                  <a:lnTo>
                    <a:pt x="1440" y="2415"/>
                  </a:lnTo>
                  <a:lnTo>
                    <a:pt x="1438" y="2415"/>
                  </a:lnTo>
                  <a:lnTo>
                    <a:pt x="1437" y="2415"/>
                  </a:lnTo>
                  <a:lnTo>
                    <a:pt x="1436" y="2416"/>
                  </a:lnTo>
                  <a:lnTo>
                    <a:pt x="1436" y="2418"/>
                  </a:lnTo>
                  <a:lnTo>
                    <a:pt x="1435" y="2420"/>
                  </a:lnTo>
                  <a:lnTo>
                    <a:pt x="1433" y="2421"/>
                  </a:lnTo>
                  <a:lnTo>
                    <a:pt x="1433" y="2450"/>
                  </a:lnTo>
                  <a:lnTo>
                    <a:pt x="1435" y="2463"/>
                  </a:lnTo>
                  <a:lnTo>
                    <a:pt x="1436" y="2476"/>
                  </a:lnTo>
                  <a:lnTo>
                    <a:pt x="1436" y="2480"/>
                  </a:lnTo>
                  <a:lnTo>
                    <a:pt x="1437" y="2482"/>
                  </a:lnTo>
                  <a:lnTo>
                    <a:pt x="1449" y="2476"/>
                  </a:lnTo>
                  <a:lnTo>
                    <a:pt x="1462" y="2467"/>
                  </a:lnTo>
                  <a:lnTo>
                    <a:pt x="1467" y="2466"/>
                  </a:lnTo>
                  <a:lnTo>
                    <a:pt x="1474" y="2463"/>
                  </a:lnTo>
                  <a:lnTo>
                    <a:pt x="1478" y="2462"/>
                  </a:lnTo>
                  <a:lnTo>
                    <a:pt x="1480" y="2459"/>
                  </a:lnTo>
                  <a:lnTo>
                    <a:pt x="1483" y="2457"/>
                  </a:lnTo>
                  <a:lnTo>
                    <a:pt x="1486" y="2454"/>
                  </a:lnTo>
                  <a:lnTo>
                    <a:pt x="1487" y="2453"/>
                  </a:lnTo>
                  <a:lnTo>
                    <a:pt x="1488" y="2453"/>
                  </a:lnTo>
                  <a:lnTo>
                    <a:pt x="1489" y="2452"/>
                  </a:lnTo>
                  <a:lnTo>
                    <a:pt x="1491" y="2450"/>
                  </a:lnTo>
                  <a:lnTo>
                    <a:pt x="1491" y="2449"/>
                  </a:lnTo>
                  <a:lnTo>
                    <a:pt x="1492" y="2449"/>
                  </a:lnTo>
                  <a:lnTo>
                    <a:pt x="1493" y="2448"/>
                  </a:lnTo>
                  <a:lnTo>
                    <a:pt x="1495" y="2446"/>
                  </a:lnTo>
                  <a:lnTo>
                    <a:pt x="1497" y="2446"/>
                  </a:lnTo>
                  <a:lnTo>
                    <a:pt x="1500" y="2442"/>
                  </a:lnTo>
                  <a:lnTo>
                    <a:pt x="1504" y="2438"/>
                  </a:lnTo>
                  <a:lnTo>
                    <a:pt x="1505" y="2438"/>
                  </a:lnTo>
                  <a:lnTo>
                    <a:pt x="1505" y="2437"/>
                  </a:lnTo>
                  <a:lnTo>
                    <a:pt x="1505" y="2436"/>
                  </a:lnTo>
                  <a:lnTo>
                    <a:pt x="1505" y="2435"/>
                  </a:lnTo>
                  <a:lnTo>
                    <a:pt x="1506" y="2435"/>
                  </a:lnTo>
                  <a:lnTo>
                    <a:pt x="1506" y="2433"/>
                  </a:lnTo>
                  <a:lnTo>
                    <a:pt x="1506" y="2432"/>
                  </a:lnTo>
                  <a:lnTo>
                    <a:pt x="1508" y="2431"/>
                  </a:lnTo>
                  <a:lnTo>
                    <a:pt x="1508" y="2429"/>
                  </a:lnTo>
                  <a:lnTo>
                    <a:pt x="1508" y="2428"/>
                  </a:lnTo>
                  <a:lnTo>
                    <a:pt x="1509" y="2427"/>
                  </a:lnTo>
                  <a:lnTo>
                    <a:pt x="1509" y="2427"/>
                  </a:lnTo>
                  <a:lnTo>
                    <a:pt x="1509" y="2425"/>
                  </a:lnTo>
                  <a:lnTo>
                    <a:pt x="1512" y="2423"/>
                  </a:lnTo>
                  <a:close/>
                  <a:moveTo>
                    <a:pt x="2796" y="141"/>
                  </a:moveTo>
                  <a:lnTo>
                    <a:pt x="2727" y="139"/>
                  </a:lnTo>
                  <a:lnTo>
                    <a:pt x="2714" y="139"/>
                  </a:lnTo>
                  <a:lnTo>
                    <a:pt x="2699" y="139"/>
                  </a:lnTo>
                  <a:lnTo>
                    <a:pt x="2692" y="138"/>
                  </a:lnTo>
                  <a:lnTo>
                    <a:pt x="2686" y="136"/>
                  </a:lnTo>
                  <a:lnTo>
                    <a:pt x="2684" y="135"/>
                  </a:lnTo>
                  <a:lnTo>
                    <a:pt x="2682" y="132"/>
                  </a:lnTo>
                  <a:lnTo>
                    <a:pt x="2681" y="130"/>
                  </a:lnTo>
                  <a:lnTo>
                    <a:pt x="2680" y="127"/>
                  </a:lnTo>
                  <a:lnTo>
                    <a:pt x="2680" y="119"/>
                  </a:lnTo>
                  <a:lnTo>
                    <a:pt x="2678" y="111"/>
                  </a:lnTo>
                  <a:lnTo>
                    <a:pt x="2678" y="104"/>
                  </a:lnTo>
                  <a:lnTo>
                    <a:pt x="2680" y="96"/>
                  </a:lnTo>
                  <a:lnTo>
                    <a:pt x="2686" y="87"/>
                  </a:lnTo>
                  <a:lnTo>
                    <a:pt x="2694" y="77"/>
                  </a:lnTo>
                  <a:lnTo>
                    <a:pt x="2703" y="68"/>
                  </a:lnTo>
                  <a:lnTo>
                    <a:pt x="2714" y="60"/>
                  </a:lnTo>
                  <a:lnTo>
                    <a:pt x="2735" y="45"/>
                  </a:lnTo>
                  <a:lnTo>
                    <a:pt x="2753" y="29"/>
                  </a:lnTo>
                  <a:lnTo>
                    <a:pt x="2782" y="0"/>
                  </a:lnTo>
                  <a:lnTo>
                    <a:pt x="2817" y="18"/>
                  </a:lnTo>
                  <a:lnTo>
                    <a:pt x="2821" y="21"/>
                  </a:lnTo>
                  <a:lnTo>
                    <a:pt x="2821" y="24"/>
                  </a:lnTo>
                  <a:lnTo>
                    <a:pt x="2820" y="28"/>
                  </a:lnTo>
                  <a:lnTo>
                    <a:pt x="2820" y="30"/>
                  </a:lnTo>
                  <a:lnTo>
                    <a:pt x="2822" y="37"/>
                  </a:lnTo>
                  <a:lnTo>
                    <a:pt x="2825" y="42"/>
                  </a:lnTo>
                  <a:lnTo>
                    <a:pt x="2826" y="43"/>
                  </a:lnTo>
                  <a:lnTo>
                    <a:pt x="2828" y="45"/>
                  </a:lnTo>
                  <a:lnTo>
                    <a:pt x="2829" y="47"/>
                  </a:lnTo>
                  <a:lnTo>
                    <a:pt x="2831" y="51"/>
                  </a:lnTo>
                  <a:lnTo>
                    <a:pt x="2831" y="52"/>
                  </a:lnTo>
                  <a:lnTo>
                    <a:pt x="2833" y="54"/>
                  </a:lnTo>
                  <a:lnTo>
                    <a:pt x="2834" y="55"/>
                  </a:lnTo>
                  <a:lnTo>
                    <a:pt x="2835" y="58"/>
                  </a:lnTo>
                  <a:lnTo>
                    <a:pt x="2835" y="59"/>
                  </a:lnTo>
                  <a:lnTo>
                    <a:pt x="2837" y="60"/>
                  </a:lnTo>
                  <a:lnTo>
                    <a:pt x="2838" y="62"/>
                  </a:lnTo>
                  <a:lnTo>
                    <a:pt x="2838" y="62"/>
                  </a:lnTo>
                  <a:lnTo>
                    <a:pt x="2839" y="63"/>
                  </a:lnTo>
                  <a:lnTo>
                    <a:pt x="2841" y="64"/>
                  </a:lnTo>
                  <a:lnTo>
                    <a:pt x="2842" y="66"/>
                  </a:lnTo>
                  <a:lnTo>
                    <a:pt x="2843" y="67"/>
                  </a:lnTo>
                  <a:lnTo>
                    <a:pt x="2845" y="68"/>
                  </a:lnTo>
                  <a:lnTo>
                    <a:pt x="2845" y="70"/>
                  </a:lnTo>
                  <a:lnTo>
                    <a:pt x="2846" y="71"/>
                  </a:lnTo>
                  <a:lnTo>
                    <a:pt x="2847" y="72"/>
                  </a:lnTo>
                  <a:lnTo>
                    <a:pt x="2848" y="75"/>
                  </a:lnTo>
                  <a:lnTo>
                    <a:pt x="2850" y="77"/>
                  </a:lnTo>
                  <a:lnTo>
                    <a:pt x="2850" y="79"/>
                  </a:lnTo>
                  <a:lnTo>
                    <a:pt x="2850" y="81"/>
                  </a:lnTo>
                  <a:lnTo>
                    <a:pt x="2851" y="83"/>
                  </a:lnTo>
                  <a:lnTo>
                    <a:pt x="2851" y="84"/>
                  </a:lnTo>
                  <a:lnTo>
                    <a:pt x="2852" y="85"/>
                  </a:lnTo>
                  <a:lnTo>
                    <a:pt x="2852" y="85"/>
                  </a:lnTo>
                  <a:lnTo>
                    <a:pt x="2852" y="87"/>
                  </a:lnTo>
                  <a:lnTo>
                    <a:pt x="2854" y="88"/>
                  </a:lnTo>
                  <a:lnTo>
                    <a:pt x="2854" y="90"/>
                  </a:lnTo>
                  <a:lnTo>
                    <a:pt x="2855" y="94"/>
                  </a:lnTo>
                  <a:lnTo>
                    <a:pt x="2855" y="102"/>
                  </a:lnTo>
                  <a:lnTo>
                    <a:pt x="2855" y="106"/>
                  </a:lnTo>
                  <a:lnTo>
                    <a:pt x="2854" y="110"/>
                  </a:lnTo>
                  <a:lnTo>
                    <a:pt x="2852" y="113"/>
                  </a:lnTo>
                  <a:lnTo>
                    <a:pt x="2850" y="114"/>
                  </a:lnTo>
                  <a:lnTo>
                    <a:pt x="2848" y="115"/>
                  </a:lnTo>
                  <a:lnTo>
                    <a:pt x="2847" y="117"/>
                  </a:lnTo>
                  <a:lnTo>
                    <a:pt x="2847" y="117"/>
                  </a:lnTo>
                  <a:lnTo>
                    <a:pt x="2846" y="118"/>
                  </a:lnTo>
                  <a:lnTo>
                    <a:pt x="2846" y="119"/>
                  </a:lnTo>
                  <a:lnTo>
                    <a:pt x="2843" y="121"/>
                  </a:lnTo>
                  <a:lnTo>
                    <a:pt x="2842" y="121"/>
                  </a:lnTo>
                  <a:lnTo>
                    <a:pt x="2842" y="122"/>
                  </a:lnTo>
                  <a:lnTo>
                    <a:pt x="2841" y="123"/>
                  </a:lnTo>
                  <a:lnTo>
                    <a:pt x="2841" y="123"/>
                  </a:lnTo>
                  <a:lnTo>
                    <a:pt x="2839" y="124"/>
                  </a:lnTo>
                  <a:lnTo>
                    <a:pt x="2837" y="126"/>
                  </a:lnTo>
                  <a:lnTo>
                    <a:pt x="2834" y="126"/>
                  </a:lnTo>
                  <a:lnTo>
                    <a:pt x="2834" y="127"/>
                  </a:lnTo>
                  <a:lnTo>
                    <a:pt x="2833" y="128"/>
                  </a:lnTo>
                  <a:lnTo>
                    <a:pt x="2830" y="128"/>
                  </a:lnTo>
                  <a:lnTo>
                    <a:pt x="2828" y="130"/>
                  </a:lnTo>
                  <a:lnTo>
                    <a:pt x="2828" y="130"/>
                  </a:lnTo>
                  <a:lnTo>
                    <a:pt x="2826" y="131"/>
                  </a:lnTo>
                  <a:lnTo>
                    <a:pt x="2825" y="131"/>
                  </a:lnTo>
                  <a:lnTo>
                    <a:pt x="2824" y="132"/>
                  </a:lnTo>
                  <a:lnTo>
                    <a:pt x="2824" y="134"/>
                  </a:lnTo>
                  <a:lnTo>
                    <a:pt x="2824" y="134"/>
                  </a:lnTo>
                  <a:lnTo>
                    <a:pt x="2796" y="141"/>
                  </a:lnTo>
                  <a:close/>
                  <a:moveTo>
                    <a:pt x="2796" y="141"/>
                  </a:moveTo>
                  <a:lnTo>
                    <a:pt x="2762" y="179"/>
                  </a:lnTo>
                  <a:lnTo>
                    <a:pt x="2758" y="185"/>
                  </a:lnTo>
                  <a:lnTo>
                    <a:pt x="2757" y="191"/>
                  </a:lnTo>
                  <a:lnTo>
                    <a:pt x="2756" y="199"/>
                  </a:lnTo>
                  <a:lnTo>
                    <a:pt x="2754" y="208"/>
                  </a:lnTo>
                  <a:lnTo>
                    <a:pt x="2754" y="226"/>
                  </a:lnTo>
                  <a:lnTo>
                    <a:pt x="2754" y="240"/>
                  </a:lnTo>
                  <a:lnTo>
                    <a:pt x="2754" y="241"/>
                  </a:lnTo>
                  <a:lnTo>
                    <a:pt x="2753" y="242"/>
                  </a:lnTo>
                  <a:lnTo>
                    <a:pt x="2750" y="247"/>
                  </a:lnTo>
                  <a:lnTo>
                    <a:pt x="2748" y="251"/>
                  </a:lnTo>
                  <a:lnTo>
                    <a:pt x="2746" y="255"/>
                  </a:lnTo>
                  <a:lnTo>
                    <a:pt x="2744" y="258"/>
                  </a:lnTo>
                  <a:lnTo>
                    <a:pt x="2743" y="260"/>
                  </a:lnTo>
                  <a:lnTo>
                    <a:pt x="2739" y="262"/>
                  </a:lnTo>
                  <a:lnTo>
                    <a:pt x="2737" y="262"/>
                  </a:lnTo>
                  <a:lnTo>
                    <a:pt x="2737" y="263"/>
                  </a:lnTo>
                  <a:lnTo>
                    <a:pt x="2709" y="283"/>
                  </a:lnTo>
                  <a:lnTo>
                    <a:pt x="2705" y="284"/>
                  </a:lnTo>
                  <a:lnTo>
                    <a:pt x="2702" y="287"/>
                  </a:lnTo>
                  <a:lnTo>
                    <a:pt x="2701" y="287"/>
                  </a:lnTo>
                  <a:lnTo>
                    <a:pt x="2699" y="288"/>
                  </a:lnTo>
                  <a:lnTo>
                    <a:pt x="2697" y="288"/>
                  </a:lnTo>
                  <a:lnTo>
                    <a:pt x="2694" y="288"/>
                  </a:lnTo>
                  <a:lnTo>
                    <a:pt x="2692" y="289"/>
                  </a:lnTo>
                  <a:lnTo>
                    <a:pt x="2690" y="289"/>
                  </a:lnTo>
                  <a:lnTo>
                    <a:pt x="2688" y="291"/>
                  </a:lnTo>
                  <a:lnTo>
                    <a:pt x="2685" y="292"/>
                  </a:lnTo>
                  <a:lnTo>
                    <a:pt x="2684" y="292"/>
                  </a:lnTo>
                  <a:lnTo>
                    <a:pt x="2682" y="292"/>
                  </a:lnTo>
                  <a:lnTo>
                    <a:pt x="2672" y="294"/>
                  </a:lnTo>
                  <a:lnTo>
                    <a:pt x="2660" y="298"/>
                  </a:lnTo>
                  <a:lnTo>
                    <a:pt x="2641" y="304"/>
                  </a:lnTo>
                  <a:lnTo>
                    <a:pt x="2621" y="309"/>
                  </a:lnTo>
                  <a:lnTo>
                    <a:pt x="2618" y="311"/>
                  </a:lnTo>
                  <a:lnTo>
                    <a:pt x="2613" y="311"/>
                  </a:lnTo>
                  <a:lnTo>
                    <a:pt x="2612" y="311"/>
                  </a:lnTo>
                  <a:lnTo>
                    <a:pt x="2612" y="313"/>
                  </a:lnTo>
                  <a:lnTo>
                    <a:pt x="2610" y="314"/>
                  </a:lnTo>
                  <a:lnTo>
                    <a:pt x="2609" y="315"/>
                  </a:lnTo>
                  <a:lnTo>
                    <a:pt x="2597" y="322"/>
                  </a:lnTo>
                  <a:lnTo>
                    <a:pt x="2578" y="335"/>
                  </a:lnTo>
                  <a:lnTo>
                    <a:pt x="2567" y="342"/>
                  </a:lnTo>
                  <a:lnTo>
                    <a:pt x="2555" y="348"/>
                  </a:lnTo>
                  <a:lnTo>
                    <a:pt x="2544" y="352"/>
                  </a:lnTo>
                  <a:lnTo>
                    <a:pt x="2532" y="353"/>
                  </a:lnTo>
                  <a:lnTo>
                    <a:pt x="2529" y="355"/>
                  </a:lnTo>
                  <a:lnTo>
                    <a:pt x="2527" y="356"/>
                  </a:lnTo>
                  <a:lnTo>
                    <a:pt x="2525" y="356"/>
                  </a:lnTo>
                  <a:lnTo>
                    <a:pt x="2524" y="356"/>
                  </a:lnTo>
                  <a:lnTo>
                    <a:pt x="2523" y="357"/>
                  </a:lnTo>
                  <a:lnTo>
                    <a:pt x="2523" y="359"/>
                  </a:lnTo>
                  <a:lnTo>
                    <a:pt x="2521" y="359"/>
                  </a:lnTo>
                  <a:lnTo>
                    <a:pt x="2520" y="360"/>
                  </a:lnTo>
                  <a:lnTo>
                    <a:pt x="2519" y="361"/>
                  </a:lnTo>
                  <a:lnTo>
                    <a:pt x="2518" y="361"/>
                  </a:lnTo>
                  <a:lnTo>
                    <a:pt x="2512" y="364"/>
                  </a:lnTo>
                  <a:lnTo>
                    <a:pt x="2506" y="368"/>
                  </a:lnTo>
                  <a:lnTo>
                    <a:pt x="2499" y="374"/>
                  </a:lnTo>
                  <a:lnTo>
                    <a:pt x="2493" y="381"/>
                  </a:lnTo>
                  <a:lnTo>
                    <a:pt x="2481" y="395"/>
                  </a:lnTo>
                  <a:lnTo>
                    <a:pt x="2473" y="406"/>
                  </a:lnTo>
                  <a:lnTo>
                    <a:pt x="2436" y="468"/>
                  </a:lnTo>
                  <a:lnTo>
                    <a:pt x="2400" y="472"/>
                  </a:lnTo>
                  <a:lnTo>
                    <a:pt x="2384" y="475"/>
                  </a:lnTo>
                  <a:lnTo>
                    <a:pt x="2359" y="479"/>
                  </a:lnTo>
                  <a:lnTo>
                    <a:pt x="2334" y="484"/>
                  </a:lnTo>
                  <a:lnTo>
                    <a:pt x="2321" y="485"/>
                  </a:lnTo>
                  <a:lnTo>
                    <a:pt x="2319" y="485"/>
                  </a:lnTo>
                  <a:lnTo>
                    <a:pt x="2315" y="487"/>
                  </a:lnTo>
                  <a:lnTo>
                    <a:pt x="2311" y="491"/>
                  </a:lnTo>
                  <a:lnTo>
                    <a:pt x="2306" y="495"/>
                  </a:lnTo>
                  <a:lnTo>
                    <a:pt x="2299" y="500"/>
                  </a:lnTo>
                  <a:lnTo>
                    <a:pt x="2294" y="506"/>
                  </a:lnTo>
                  <a:lnTo>
                    <a:pt x="2287" y="510"/>
                  </a:lnTo>
                  <a:lnTo>
                    <a:pt x="2282" y="514"/>
                  </a:lnTo>
                  <a:lnTo>
                    <a:pt x="2278" y="517"/>
                  </a:lnTo>
                  <a:lnTo>
                    <a:pt x="2273" y="519"/>
                  </a:lnTo>
                  <a:lnTo>
                    <a:pt x="2269" y="523"/>
                  </a:lnTo>
                  <a:lnTo>
                    <a:pt x="2266" y="525"/>
                  </a:lnTo>
                  <a:lnTo>
                    <a:pt x="2262" y="525"/>
                  </a:lnTo>
                  <a:lnTo>
                    <a:pt x="2261" y="525"/>
                  </a:lnTo>
                  <a:lnTo>
                    <a:pt x="2259" y="525"/>
                  </a:lnTo>
                  <a:lnTo>
                    <a:pt x="2238" y="530"/>
                  </a:lnTo>
                  <a:lnTo>
                    <a:pt x="2234" y="533"/>
                  </a:lnTo>
                  <a:lnTo>
                    <a:pt x="2231" y="535"/>
                  </a:lnTo>
                  <a:lnTo>
                    <a:pt x="2231" y="536"/>
                  </a:lnTo>
                  <a:lnTo>
                    <a:pt x="2230" y="544"/>
                  </a:lnTo>
                  <a:lnTo>
                    <a:pt x="2230" y="551"/>
                  </a:lnTo>
                  <a:lnTo>
                    <a:pt x="2236" y="568"/>
                  </a:lnTo>
                  <a:lnTo>
                    <a:pt x="2242" y="586"/>
                  </a:lnTo>
                  <a:lnTo>
                    <a:pt x="2245" y="590"/>
                  </a:lnTo>
                  <a:lnTo>
                    <a:pt x="2248" y="595"/>
                  </a:lnTo>
                  <a:lnTo>
                    <a:pt x="2249" y="598"/>
                  </a:lnTo>
                  <a:lnTo>
                    <a:pt x="2249" y="601"/>
                  </a:lnTo>
                  <a:lnTo>
                    <a:pt x="2249" y="603"/>
                  </a:lnTo>
                  <a:lnTo>
                    <a:pt x="2248" y="606"/>
                  </a:lnTo>
                  <a:lnTo>
                    <a:pt x="2247" y="607"/>
                  </a:lnTo>
                  <a:lnTo>
                    <a:pt x="2240" y="608"/>
                  </a:lnTo>
                  <a:lnTo>
                    <a:pt x="2232" y="611"/>
                  </a:lnTo>
                  <a:lnTo>
                    <a:pt x="2222" y="612"/>
                  </a:lnTo>
                  <a:lnTo>
                    <a:pt x="2210" y="614"/>
                  </a:lnTo>
                  <a:lnTo>
                    <a:pt x="2208" y="614"/>
                  </a:lnTo>
                  <a:lnTo>
                    <a:pt x="2191" y="635"/>
                  </a:lnTo>
                  <a:lnTo>
                    <a:pt x="2191" y="636"/>
                  </a:lnTo>
                  <a:lnTo>
                    <a:pt x="2188" y="641"/>
                  </a:lnTo>
                  <a:lnTo>
                    <a:pt x="2183" y="646"/>
                  </a:lnTo>
                  <a:lnTo>
                    <a:pt x="2175" y="652"/>
                  </a:lnTo>
                  <a:lnTo>
                    <a:pt x="2168" y="656"/>
                  </a:lnTo>
                  <a:lnTo>
                    <a:pt x="2166" y="658"/>
                  </a:lnTo>
                  <a:lnTo>
                    <a:pt x="2163" y="658"/>
                  </a:lnTo>
                  <a:lnTo>
                    <a:pt x="2151" y="662"/>
                  </a:lnTo>
                  <a:lnTo>
                    <a:pt x="2138" y="665"/>
                  </a:lnTo>
                  <a:lnTo>
                    <a:pt x="2130" y="669"/>
                  </a:lnTo>
                  <a:lnTo>
                    <a:pt x="2121" y="673"/>
                  </a:lnTo>
                  <a:lnTo>
                    <a:pt x="2113" y="675"/>
                  </a:lnTo>
                  <a:lnTo>
                    <a:pt x="2104" y="678"/>
                  </a:lnTo>
                  <a:lnTo>
                    <a:pt x="2103" y="678"/>
                  </a:lnTo>
                  <a:lnTo>
                    <a:pt x="2102" y="679"/>
                  </a:lnTo>
                  <a:lnTo>
                    <a:pt x="2099" y="679"/>
                  </a:lnTo>
                  <a:lnTo>
                    <a:pt x="2096" y="680"/>
                  </a:lnTo>
                  <a:lnTo>
                    <a:pt x="2095" y="680"/>
                  </a:lnTo>
                  <a:lnTo>
                    <a:pt x="2092" y="682"/>
                  </a:lnTo>
                  <a:lnTo>
                    <a:pt x="2048" y="713"/>
                  </a:lnTo>
                  <a:lnTo>
                    <a:pt x="2036" y="724"/>
                  </a:lnTo>
                  <a:lnTo>
                    <a:pt x="2024" y="735"/>
                  </a:lnTo>
                  <a:lnTo>
                    <a:pt x="2011" y="735"/>
                  </a:lnTo>
                  <a:lnTo>
                    <a:pt x="2000" y="734"/>
                  </a:lnTo>
                  <a:lnTo>
                    <a:pt x="1990" y="734"/>
                  </a:lnTo>
                  <a:lnTo>
                    <a:pt x="1983" y="735"/>
                  </a:lnTo>
                  <a:lnTo>
                    <a:pt x="1975" y="737"/>
                  </a:lnTo>
                  <a:lnTo>
                    <a:pt x="1967" y="739"/>
                  </a:lnTo>
                  <a:lnTo>
                    <a:pt x="1955" y="743"/>
                  </a:lnTo>
                  <a:lnTo>
                    <a:pt x="1946" y="747"/>
                  </a:lnTo>
                  <a:lnTo>
                    <a:pt x="1939" y="752"/>
                  </a:lnTo>
                  <a:lnTo>
                    <a:pt x="1935" y="758"/>
                  </a:lnTo>
                  <a:lnTo>
                    <a:pt x="1933" y="764"/>
                  </a:lnTo>
                  <a:lnTo>
                    <a:pt x="1932" y="772"/>
                  </a:lnTo>
                  <a:lnTo>
                    <a:pt x="1933" y="778"/>
                  </a:lnTo>
                  <a:lnTo>
                    <a:pt x="1934" y="786"/>
                  </a:lnTo>
                  <a:lnTo>
                    <a:pt x="1949" y="822"/>
                  </a:lnTo>
                  <a:lnTo>
                    <a:pt x="1963" y="862"/>
                  </a:lnTo>
                  <a:lnTo>
                    <a:pt x="1967" y="874"/>
                  </a:lnTo>
                  <a:lnTo>
                    <a:pt x="1970" y="883"/>
                  </a:lnTo>
                  <a:lnTo>
                    <a:pt x="1973" y="891"/>
                  </a:lnTo>
                  <a:lnTo>
                    <a:pt x="1977" y="896"/>
                  </a:lnTo>
                  <a:lnTo>
                    <a:pt x="1981" y="899"/>
                  </a:lnTo>
                  <a:lnTo>
                    <a:pt x="1987" y="901"/>
                  </a:lnTo>
                  <a:lnTo>
                    <a:pt x="1992" y="901"/>
                  </a:lnTo>
                  <a:lnTo>
                    <a:pt x="1996" y="903"/>
                  </a:lnTo>
                  <a:lnTo>
                    <a:pt x="2006" y="901"/>
                  </a:lnTo>
                  <a:lnTo>
                    <a:pt x="2018" y="903"/>
                  </a:lnTo>
                  <a:lnTo>
                    <a:pt x="2024" y="904"/>
                  </a:lnTo>
                  <a:lnTo>
                    <a:pt x="2031" y="907"/>
                  </a:lnTo>
                  <a:lnTo>
                    <a:pt x="2038" y="911"/>
                  </a:lnTo>
                  <a:lnTo>
                    <a:pt x="2045" y="917"/>
                  </a:lnTo>
                  <a:lnTo>
                    <a:pt x="2066" y="938"/>
                  </a:lnTo>
                  <a:lnTo>
                    <a:pt x="2081" y="956"/>
                  </a:lnTo>
                  <a:lnTo>
                    <a:pt x="2092" y="976"/>
                  </a:lnTo>
                  <a:lnTo>
                    <a:pt x="2107" y="1002"/>
                  </a:lnTo>
                  <a:lnTo>
                    <a:pt x="2108" y="1007"/>
                  </a:lnTo>
                  <a:lnTo>
                    <a:pt x="2109" y="1013"/>
                  </a:lnTo>
                  <a:lnTo>
                    <a:pt x="2109" y="1017"/>
                  </a:lnTo>
                  <a:lnTo>
                    <a:pt x="2109" y="1022"/>
                  </a:lnTo>
                  <a:lnTo>
                    <a:pt x="2107" y="1032"/>
                  </a:lnTo>
                  <a:lnTo>
                    <a:pt x="2104" y="1043"/>
                  </a:lnTo>
                  <a:lnTo>
                    <a:pt x="2100" y="1053"/>
                  </a:lnTo>
                  <a:lnTo>
                    <a:pt x="2099" y="1064"/>
                  </a:lnTo>
                  <a:lnTo>
                    <a:pt x="2098" y="1069"/>
                  </a:lnTo>
                  <a:lnTo>
                    <a:pt x="2098" y="1074"/>
                  </a:lnTo>
                  <a:lnTo>
                    <a:pt x="2099" y="1079"/>
                  </a:lnTo>
                  <a:lnTo>
                    <a:pt x="2100" y="1086"/>
                  </a:lnTo>
                  <a:lnTo>
                    <a:pt x="2104" y="1087"/>
                  </a:lnTo>
                  <a:lnTo>
                    <a:pt x="2112" y="1086"/>
                  </a:lnTo>
                  <a:lnTo>
                    <a:pt x="2124" y="1085"/>
                  </a:lnTo>
                  <a:lnTo>
                    <a:pt x="2138" y="1083"/>
                  </a:lnTo>
                  <a:lnTo>
                    <a:pt x="2167" y="1079"/>
                  </a:lnTo>
                  <a:lnTo>
                    <a:pt x="2189" y="1078"/>
                  </a:lnTo>
                  <a:lnTo>
                    <a:pt x="2197" y="1078"/>
                  </a:lnTo>
                  <a:lnTo>
                    <a:pt x="2205" y="1075"/>
                  </a:lnTo>
                  <a:lnTo>
                    <a:pt x="2213" y="1071"/>
                  </a:lnTo>
                  <a:lnTo>
                    <a:pt x="2222" y="1066"/>
                  </a:lnTo>
                  <a:lnTo>
                    <a:pt x="2230" y="1060"/>
                  </a:lnTo>
                  <a:lnTo>
                    <a:pt x="2238" y="1052"/>
                  </a:lnTo>
                  <a:lnTo>
                    <a:pt x="2245" y="1043"/>
                  </a:lnTo>
                  <a:lnTo>
                    <a:pt x="2253" y="1034"/>
                  </a:lnTo>
                  <a:lnTo>
                    <a:pt x="2268" y="1014"/>
                  </a:lnTo>
                  <a:lnTo>
                    <a:pt x="2278" y="993"/>
                  </a:lnTo>
                  <a:lnTo>
                    <a:pt x="2282" y="984"/>
                  </a:lnTo>
                  <a:lnTo>
                    <a:pt x="2286" y="975"/>
                  </a:lnTo>
                  <a:lnTo>
                    <a:pt x="2287" y="966"/>
                  </a:lnTo>
                  <a:lnTo>
                    <a:pt x="2289" y="958"/>
                  </a:lnTo>
                  <a:lnTo>
                    <a:pt x="2289" y="952"/>
                  </a:lnTo>
                  <a:lnTo>
                    <a:pt x="2290" y="949"/>
                  </a:lnTo>
                  <a:lnTo>
                    <a:pt x="2291" y="945"/>
                  </a:lnTo>
                  <a:lnTo>
                    <a:pt x="2293" y="943"/>
                  </a:lnTo>
                  <a:lnTo>
                    <a:pt x="2295" y="942"/>
                  </a:lnTo>
                  <a:lnTo>
                    <a:pt x="2298" y="943"/>
                  </a:lnTo>
                  <a:lnTo>
                    <a:pt x="2302" y="943"/>
                  </a:lnTo>
                  <a:lnTo>
                    <a:pt x="2304" y="945"/>
                  </a:lnTo>
                  <a:lnTo>
                    <a:pt x="2317" y="955"/>
                  </a:lnTo>
                  <a:lnTo>
                    <a:pt x="2328" y="966"/>
                  </a:lnTo>
                  <a:lnTo>
                    <a:pt x="2334" y="972"/>
                  </a:lnTo>
                  <a:lnTo>
                    <a:pt x="2340" y="976"/>
                  </a:lnTo>
                  <a:lnTo>
                    <a:pt x="2344" y="977"/>
                  </a:lnTo>
                  <a:lnTo>
                    <a:pt x="2348" y="976"/>
                  </a:lnTo>
                  <a:lnTo>
                    <a:pt x="2351" y="973"/>
                  </a:lnTo>
                  <a:lnTo>
                    <a:pt x="2354" y="969"/>
                  </a:lnTo>
                  <a:lnTo>
                    <a:pt x="2357" y="964"/>
                  </a:lnTo>
                  <a:lnTo>
                    <a:pt x="2359" y="958"/>
                  </a:lnTo>
                  <a:lnTo>
                    <a:pt x="2365" y="943"/>
                  </a:lnTo>
                  <a:lnTo>
                    <a:pt x="2372" y="929"/>
                  </a:lnTo>
                  <a:lnTo>
                    <a:pt x="2376" y="921"/>
                  </a:lnTo>
                  <a:lnTo>
                    <a:pt x="2382" y="915"/>
                  </a:lnTo>
                  <a:lnTo>
                    <a:pt x="2388" y="909"/>
                  </a:lnTo>
                  <a:lnTo>
                    <a:pt x="2396" y="905"/>
                  </a:lnTo>
                  <a:lnTo>
                    <a:pt x="2410" y="900"/>
                  </a:lnTo>
                  <a:lnTo>
                    <a:pt x="2422" y="898"/>
                  </a:lnTo>
                  <a:lnTo>
                    <a:pt x="2431" y="896"/>
                  </a:lnTo>
                  <a:lnTo>
                    <a:pt x="2439" y="898"/>
                  </a:lnTo>
                  <a:lnTo>
                    <a:pt x="2446" y="900"/>
                  </a:lnTo>
                  <a:lnTo>
                    <a:pt x="2450" y="904"/>
                  </a:lnTo>
                  <a:lnTo>
                    <a:pt x="2453" y="909"/>
                  </a:lnTo>
                  <a:lnTo>
                    <a:pt x="2456" y="916"/>
                  </a:lnTo>
                  <a:lnTo>
                    <a:pt x="2461" y="949"/>
                  </a:lnTo>
                  <a:lnTo>
                    <a:pt x="2469" y="986"/>
                  </a:lnTo>
                  <a:lnTo>
                    <a:pt x="2473" y="994"/>
                  </a:lnTo>
                  <a:lnTo>
                    <a:pt x="2480" y="1001"/>
                  </a:lnTo>
                  <a:lnTo>
                    <a:pt x="2487" y="1006"/>
                  </a:lnTo>
                  <a:lnTo>
                    <a:pt x="2497" y="1010"/>
                  </a:lnTo>
                  <a:lnTo>
                    <a:pt x="2515" y="1015"/>
                  </a:lnTo>
                  <a:lnTo>
                    <a:pt x="2533" y="1019"/>
                  </a:lnTo>
                  <a:lnTo>
                    <a:pt x="2540" y="1022"/>
                  </a:lnTo>
                  <a:lnTo>
                    <a:pt x="2545" y="1026"/>
                  </a:lnTo>
                  <a:lnTo>
                    <a:pt x="2549" y="1028"/>
                  </a:lnTo>
                  <a:lnTo>
                    <a:pt x="2552" y="1034"/>
                  </a:lnTo>
                  <a:lnTo>
                    <a:pt x="2553" y="1037"/>
                  </a:lnTo>
                  <a:lnTo>
                    <a:pt x="2552" y="1043"/>
                  </a:lnTo>
                  <a:lnTo>
                    <a:pt x="2552" y="1048"/>
                  </a:lnTo>
                  <a:lnTo>
                    <a:pt x="2549" y="1053"/>
                  </a:lnTo>
                  <a:lnTo>
                    <a:pt x="2542" y="1064"/>
                  </a:lnTo>
                  <a:lnTo>
                    <a:pt x="2535" y="1073"/>
                  </a:lnTo>
                  <a:lnTo>
                    <a:pt x="2527" y="1081"/>
                  </a:lnTo>
                  <a:lnTo>
                    <a:pt x="2519" y="1087"/>
                  </a:lnTo>
                  <a:lnTo>
                    <a:pt x="2503" y="1100"/>
                  </a:lnTo>
                  <a:lnTo>
                    <a:pt x="2491" y="1112"/>
                  </a:lnTo>
                  <a:lnTo>
                    <a:pt x="2482" y="1124"/>
                  </a:lnTo>
                  <a:lnTo>
                    <a:pt x="2473" y="1132"/>
                  </a:lnTo>
                  <a:lnTo>
                    <a:pt x="2469" y="1136"/>
                  </a:lnTo>
                  <a:lnTo>
                    <a:pt x="2464" y="1137"/>
                  </a:lnTo>
                  <a:lnTo>
                    <a:pt x="2457" y="1138"/>
                  </a:lnTo>
                  <a:lnTo>
                    <a:pt x="2451" y="1138"/>
                  </a:lnTo>
                  <a:lnTo>
                    <a:pt x="2443" y="1138"/>
                  </a:lnTo>
                  <a:lnTo>
                    <a:pt x="2434" y="1136"/>
                  </a:lnTo>
                  <a:lnTo>
                    <a:pt x="2423" y="1130"/>
                  </a:lnTo>
                  <a:lnTo>
                    <a:pt x="2412" y="1125"/>
                  </a:lnTo>
                  <a:lnTo>
                    <a:pt x="2395" y="1119"/>
                  </a:lnTo>
                  <a:lnTo>
                    <a:pt x="2382" y="1115"/>
                  </a:lnTo>
                  <a:lnTo>
                    <a:pt x="2375" y="1113"/>
                  </a:lnTo>
                  <a:lnTo>
                    <a:pt x="2368" y="1113"/>
                  </a:lnTo>
                  <a:lnTo>
                    <a:pt x="2363" y="1115"/>
                  </a:lnTo>
                  <a:lnTo>
                    <a:pt x="2358" y="1117"/>
                  </a:lnTo>
                  <a:lnTo>
                    <a:pt x="2354" y="1120"/>
                  </a:lnTo>
                  <a:lnTo>
                    <a:pt x="2350" y="1124"/>
                  </a:lnTo>
                  <a:lnTo>
                    <a:pt x="2346" y="1128"/>
                  </a:lnTo>
                  <a:lnTo>
                    <a:pt x="2344" y="1134"/>
                  </a:lnTo>
                  <a:lnTo>
                    <a:pt x="2341" y="1141"/>
                  </a:lnTo>
                  <a:lnTo>
                    <a:pt x="2338" y="1149"/>
                  </a:lnTo>
                  <a:lnTo>
                    <a:pt x="2337" y="1158"/>
                  </a:lnTo>
                  <a:lnTo>
                    <a:pt x="2336" y="1167"/>
                  </a:lnTo>
                  <a:lnTo>
                    <a:pt x="2336" y="1171"/>
                  </a:lnTo>
                  <a:lnTo>
                    <a:pt x="2334" y="1175"/>
                  </a:lnTo>
                  <a:lnTo>
                    <a:pt x="2333" y="1176"/>
                  </a:lnTo>
                  <a:lnTo>
                    <a:pt x="2331" y="1179"/>
                  </a:lnTo>
                  <a:lnTo>
                    <a:pt x="2325" y="1180"/>
                  </a:lnTo>
                  <a:lnTo>
                    <a:pt x="2319" y="1180"/>
                  </a:lnTo>
                  <a:lnTo>
                    <a:pt x="2312" y="1179"/>
                  </a:lnTo>
                  <a:lnTo>
                    <a:pt x="2306" y="1179"/>
                  </a:lnTo>
                  <a:lnTo>
                    <a:pt x="2298" y="1177"/>
                  </a:lnTo>
                  <a:lnTo>
                    <a:pt x="2293" y="1179"/>
                  </a:lnTo>
                  <a:lnTo>
                    <a:pt x="2283" y="1183"/>
                  </a:lnTo>
                  <a:lnTo>
                    <a:pt x="2277" y="1187"/>
                  </a:lnTo>
                  <a:lnTo>
                    <a:pt x="2270" y="1192"/>
                  </a:lnTo>
                  <a:lnTo>
                    <a:pt x="2266" y="1196"/>
                  </a:lnTo>
                  <a:lnTo>
                    <a:pt x="2264" y="1200"/>
                  </a:lnTo>
                  <a:lnTo>
                    <a:pt x="2261" y="1205"/>
                  </a:lnTo>
                  <a:lnTo>
                    <a:pt x="2260" y="1210"/>
                  </a:lnTo>
                  <a:lnTo>
                    <a:pt x="2260" y="1214"/>
                  </a:lnTo>
                  <a:lnTo>
                    <a:pt x="2262" y="1225"/>
                  </a:lnTo>
                  <a:lnTo>
                    <a:pt x="2268" y="1235"/>
                  </a:lnTo>
                  <a:lnTo>
                    <a:pt x="2273" y="1245"/>
                  </a:lnTo>
                  <a:lnTo>
                    <a:pt x="2279" y="1256"/>
                  </a:lnTo>
                  <a:lnTo>
                    <a:pt x="2285" y="1266"/>
                  </a:lnTo>
                  <a:lnTo>
                    <a:pt x="2289" y="1277"/>
                  </a:lnTo>
                  <a:lnTo>
                    <a:pt x="2290" y="1282"/>
                  </a:lnTo>
                  <a:lnTo>
                    <a:pt x="2291" y="1287"/>
                  </a:lnTo>
                  <a:lnTo>
                    <a:pt x="2291" y="1293"/>
                  </a:lnTo>
                  <a:lnTo>
                    <a:pt x="2290" y="1296"/>
                  </a:lnTo>
                  <a:lnTo>
                    <a:pt x="2287" y="1302"/>
                  </a:lnTo>
                  <a:lnTo>
                    <a:pt x="2285" y="1306"/>
                  </a:lnTo>
                  <a:lnTo>
                    <a:pt x="2279" y="1310"/>
                  </a:lnTo>
                  <a:lnTo>
                    <a:pt x="2274" y="1315"/>
                  </a:lnTo>
                  <a:lnTo>
                    <a:pt x="2266" y="1319"/>
                  </a:lnTo>
                  <a:lnTo>
                    <a:pt x="2257" y="1321"/>
                  </a:lnTo>
                  <a:lnTo>
                    <a:pt x="2247" y="1325"/>
                  </a:lnTo>
                  <a:lnTo>
                    <a:pt x="2234" y="1329"/>
                  </a:lnTo>
                  <a:lnTo>
                    <a:pt x="2217" y="1332"/>
                  </a:lnTo>
                  <a:lnTo>
                    <a:pt x="2202" y="1332"/>
                  </a:lnTo>
                  <a:lnTo>
                    <a:pt x="2189" y="1332"/>
                  </a:lnTo>
                  <a:lnTo>
                    <a:pt x="2177" y="1330"/>
                  </a:lnTo>
                  <a:lnTo>
                    <a:pt x="2167" y="1327"/>
                  </a:lnTo>
                  <a:lnTo>
                    <a:pt x="2157" y="1324"/>
                  </a:lnTo>
                  <a:lnTo>
                    <a:pt x="2147" y="1320"/>
                  </a:lnTo>
                  <a:lnTo>
                    <a:pt x="2138" y="1315"/>
                  </a:lnTo>
                  <a:lnTo>
                    <a:pt x="2123" y="1307"/>
                  </a:lnTo>
                  <a:lnTo>
                    <a:pt x="2107" y="1302"/>
                  </a:lnTo>
                  <a:lnTo>
                    <a:pt x="2098" y="1302"/>
                  </a:lnTo>
                  <a:lnTo>
                    <a:pt x="2090" y="1302"/>
                  </a:lnTo>
                  <a:lnTo>
                    <a:pt x="2079" y="1304"/>
                  </a:lnTo>
                  <a:lnTo>
                    <a:pt x="2069" y="1308"/>
                  </a:lnTo>
                  <a:lnTo>
                    <a:pt x="2062" y="1312"/>
                  </a:lnTo>
                  <a:lnTo>
                    <a:pt x="2058" y="1319"/>
                  </a:lnTo>
                  <a:lnTo>
                    <a:pt x="2056" y="1327"/>
                  </a:lnTo>
                  <a:lnTo>
                    <a:pt x="2055" y="1334"/>
                  </a:lnTo>
                  <a:lnTo>
                    <a:pt x="2055" y="1344"/>
                  </a:lnTo>
                  <a:lnTo>
                    <a:pt x="2055" y="1354"/>
                  </a:lnTo>
                  <a:lnTo>
                    <a:pt x="2057" y="1365"/>
                  </a:lnTo>
                  <a:lnTo>
                    <a:pt x="2060" y="1375"/>
                  </a:lnTo>
                  <a:lnTo>
                    <a:pt x="2075" y="1421"/>
                  </a:lnTo>
                  <a:lnTo>
                    <a:pt x="2087" y="1457"/>
                  </a:lnTo>
                  <a:lnTo>
                    <a:pt x="2091" y="1467"/>
                  </a:lnTo>
                  <a:lnTo>
                    <a:pt x="2096" y="1473"/>
                  </a:lnTo>
                  <a:lnTo>
                    <a:pt x="2104" y="1478"/>
                  </a:lnTo>
                  <a:lnTo>
                    <a:pt x="2112" y="1482"/>
                  </a:lnTo>
                  <a:lnTo>
                    <a:pt x="2121" y="1484"/>
                  </a:lnTo>
                  <a:lnTo>
                    <a:pt x="2132" y="1485"/>
                  </a:lnTo>
                  <a:lnTo>
                    <a:pt x="2143" y="1485"/>
                  </a:lnTo>
                  <a:lnTo>
                    <a:pt x="2154" y="1484"/>
                  </a:lnTo>
                  <a:lnTo>
                    <a:pt x="2176" y="1478"/>
                  </a:lnTo>
                  <a:lnTo>
                    <a:pt x="2197" y="1472"/>
                  </a:lnTo>
                  <a:lnTo>
                    <a:pt x="2214" y="1464"/>
                  </a:lnTo>
                  <a:lnTo>
                    <a:pt x="2226" y="1459"/>
                  </a:lnTo>
                  <a:lnTo>
                    <a:pt x="2234" y="1455"/>
                  </a:lnTo>
                  <a:lnTo>
                    <a:pt x="2245" y="1450"/>
                  </a:lnTo>
                  <a:lnTo>
                    <a:pt x="2259" y="1447"/>
                  </a:lnTo>
                  <a:lnTo>
                    <a:pt x="2272" y="1444"/>
                  </a:lnTo>
                  <a:lnTo>
                    <a:pt x="2278" y="1444"/>
                  </a:lnTo>
                  <a:lnTo>
                    <a:pt x="2285" y="1446"/>
                  </a:lnTo>
                  <a:lnTo>
                    <a:pt x="2290" y="1447"/>
                  </a:lnTo>
                  <a:lnTo>
                    <a:pt x="2294" y="1450"/>
                  </a:lnTo>
                  <a:lnTo>
                    <a:pt x="2297" y="1453"/>
                  </a:lnTo>
                  <a:lnTo>
                    <a:pt x="2299" y="1460"/>
                  </a:lnTo>
                  <a:lnTo>
                    <a:pt x="2299" y="1467"/>
                  </a:lnTo>
                  <a:lnTo>
                    <a:pt x="2298" y="1476"/>
                  </a:lnTo>
                  <a:lnTo>
                    <a:pt x="2295" y="1491"/>
                  </a:lnTo>
                  <a:lnTo>
                    <a:pt x="2295" y="1506"/>
                  </a:lnTo>
                  <a:lnTo>
                    <a:pt x="2297" y="1520"/>
                  </a:lnTo>
                  <a:lnTo>
                    <a:pt x="2300" y="1533"/>
                  </a:lnTo>
                  <a:lnTo>
                    <a:pt x="2306" y="1545"/>
                  </a:lnTo>
                  <a:lnTo>
                    <a:pt x="2312" y="1555"/>
                  </a:lnTo>
                  <a:lnTo>
                    <a:pt x="2320" y="1565"/>
                  </a:lnTo>
                  <a:lnTo>
                    <a:pt x="2329" y="1572"/>
                  </a:lnTo>
                  <a:lnTo>
                    <a:pt x="2340" y="1579"/>
                  </a:lnTo>
                  <a:lnTo>
                    <a:pt x="2350" y="1584"/>
                  </a:lnTo>
                  <a:lnTo>
                    <a:pt x="2363" y="1587"/>
                  </a:lnTo>
                  <a:lnTo>
                    <a:pt x="2376" y="1588"/>
                  </a:lnTo>
                  <a:lnTo>
                    <a:pt x="2389" y="1587"/>
                  </a:lnTo>
                  <a:lnTo>
                    <a:pt x="2404" y="1584"/>
                  </a:lnTo>
                  <a:lnTo>
                    <a:pt x="2418" y="1579"/>
                  </a:lnTo>
                  <a:lnTo>
                    <a:pt x="2433" y="1572"/>
                  </a:lnTo>
                  <a:lnTo>
                    <a:pt x="2443" y="1565"/>
                  </a:lnTo>
                  <a:lnTo>
                    <a:pt x="2451" y="1557"/>
                  </a:lnTo>
                  <a:lnTo>
                    <a:pt x="2456" y="1548"/>
                  </a:lnTo>
                  <a:lnTo>
                    <a:pt x="2459" y="1538"/>
                  </a:lnTo>
                  <a:lnTo>
                    <a:pt x="2459" y="1529"/>
                  </a:lnTo>
                  <a:lnTo>
                    <a:pt x="2456" y="1519"/>
                  </a:lnTo>
                  <a:lnTo>
                    <a:pt x="2453" y="1508"/>
                  </a:lnTo>
                  <a:lnTo>
                    <a:pt x="2450" y="1497"/>
                  </a:lnTo>
                  <a:lnTo>
                    <a:pt x="2439" y="1474"/>
                  </a:lnTo>
                  <a:lnTo>
                    <a:pt x="2429" y="1452"/>
                  </a:lnTo>
                  <a:lnTo>
                    <a:pt x="2423" y="1442"/>
                  </a:lnTo>
                  <a:lnTo>
                    <a:pt x="2419" y="1430"/>
                  </a:lnTo>
                  <a:lnTo>
                    <a:pt x="2417" y="1419"/>
                  </a:lnTo>
                  <a:lnTo>
                    <a:pt x="2416" y="1409"/>
                  </a:lnTo>
                  <a:lnTo>
                    <a:pt x="2417" y="1404"/>
                  </a:lnTo>
                  <a:lnTo>
                    <a:pt x="2419" y="1399"/>
                  </a:lnTo>
                  <a:lnTo>
                    <a:pt x="2422" y="1395"/>
                  </a:lnTo>
                  <a:lnTo>
                    <a:pt x="2426" y="1389"/>
                  </a:lnTo>
                  <a:lnTo>
                    <a:pt x="2438" y="1383"/>
                  </a:lnTo>
                  <a:lnTo>
                    <a:pt x="2452" y="1376"/>
                  </a:lnTo>
                  <a:lnTo>
                    <a:pt x="2484" y="1367"/>
                  </a:lnTo>
                  <a:lnTo>
                    <a:pt x="2512" y="1361"/>
                  </a:lnTo>
                  <a:lnTo>
                    <a:pt x="2525" y="1357"/>
                  </a:lnTo>
                  <a:lnTo>
                    <a:pt x="2538" y="1351"/>
                  </a:lnTo>
                  <a:lnTo>
                    <a:pt x="2549" y="1344"/>
                  </a:lnTo>
                  <a:lnTo>
                    <a:pt x="2561" y="1336"/>
                  </a:lnTo>
                  <a:lnTo>
                    <a:pt x="2570" y="1327"/>
                  </a:lnTo>
                  <a:lnTo>
                    <a:pt x="2580" y="1316"/>
                  </a:lnTo>
                  <a:lnTo>
                    <a:pt x="2588" y="1306"/>
                  </a:lnTo>
                  <a:lnTo>
                    <a:pt x="2597" y="1294"/>
                  </a:lnTo>
                  <a:lnTo>
                    <a:pt x="2626" y="1245"/>
                  </a:lnTo>
                  <a:lnTo>
                    <a:pt x="2654" y="1198"/>
                  </a:lnTo>
                  <a:lnTo>
                    <a:pt x="2659" y="1188"/>
                  </a:lnTo>
                  <a:lnTo>
                    <a:pt x="2663" y="1176"/>
                  </a:lnTo>
                  <a:lnTo>
                    <a:pt x="2664" y="1163"/>
                  </a:lnTo>
                  <a:lnTo>
                    <a:pt x="2665" y="1151"/>
                  </a:lnTo>
                  <a:lnTo>
                    <a:pt x="2665" y="1126"/>
                  </a:lnTo>
                  <a:lnTo>
                    <a:pt x="2665" y="1104"/>
                  </a:lnTo>
                  <a:lnTo>
                    <a:pt x="2665" y="1095"/>
                  </a:lnTo>
                  <a:lnTo>
                    <a:pt x="2668" y="1087"/>
                  </a:lnTo>
                  <a:lnTo>
                    <a:pt x="2671" y="1083"/>
                  </a:lnTo>
                  <a:lnTo>
                    <a:pt x="2672" y="1081"/>
                  </a:lnTo>
                  <a:lnTo>
                    <a:pt x="2676" y="1078"/>
                  </a:lnTo>
                  <a:lnTo>
                    <a:pt x="2678" y="1075"/>
                  </a:lnTo>
                  <a:lnTo>
                    <a:pt x="2682" y="1074"/>
                  </a:lnTo>
                  <a:lnTo>
                    <a:pt x="2688" y="1074"/>
                  </a:lnTo>
                  <a:lnTo>
                    <a:pt x="2693" y="1073"/>
                  </a:lnTo>
                  <a:lnTo>
                    <a:pt x="2699" y="1074"/>
                  </a:lnTo>
                  <a:lnTo>
                    <a:pt x="2714" y="1077"/>
                  </a:lnTo>
                  <a:lnTo>
                    <a:pt x="2733" y="1082"/>
                  </a:lnTo>
                  <a:lnTo>
                    <a:pt x="2740" y="1086"/>
                  </a:lnTo>
                  <a:lnTo>
                    <a:pt x="2746" y="1088"/>
                  </a:lnTo>
                  <a:lnTo>
                    <a:pt x="2748" y="1088"/>
                  </a:lnTo>
                  <a:lnTo>
                    <a:pt x="2749" y="1088"/>
                  </a:lnTo>
                  <a:lnTo>
                    <a:pt x="2754" y="1087"/>
                  </a:lnTo>
                  <a:lnTo>
                    <a:pt x="2758" y="1085"/>
                  </a:lnTo>
                  <a:lnTo>
                    <a:pt x="2760" y="1085"/>
                  </a:lnTo>
                  <a:lnTo>
                    <a:pt x="2760" y="1085"/>
                  </a:lnTo>
                  <a:lnTo>
                    <a:pt x="2760" y="1083"/>
                  </a:lnTo>
                  <a:lnTo>
                    <a:pt x="2771" y="1073"/>
                  </a:lnTo>
                  <a:lnTo>
                    <a:pt x="2790" y="1054"/>
                  </a:lnTo>
                  <a:lnTo>
                    <a:pt x="2808" y="1039"/>
                  </a:lnTo>
                  <a:lnTo>
                    <a:pt x="2818" y="1031"/>
                  </a:lnTo>
                  <a:lnTo>
                    <a:pt x="2821" y="1032"/>
                  </a:lnTo>
                  <a:lnTo>
                    <a:pt x="2824" y="1034"/>
                  </a:lnTo>
                  <a:lnTo>
                    <a:pt x="2825" y="1035"/>
                  </a:lnTo>
                  <a:lnTo>
                    <a:pt x="2828" y="1036"/>
                  </a:lnTo>
                  <a:lnTo>
                    <a:pt x="2829" y="1043"/>
                  </a:lnTo>
                  <a:lnTo>
                    <a:pt x="2831" y="1048"/>
                  </a:lnTo>
                  <a:lnTo>
                    <a:pt x="2834" y="1054"/>
                  </a:lnTo>
                  <a:lnTo>
                    <a:pt x="2838" y="1060"/>
                  </a:lnTo>
                  <a:lnTo>
                    <a:pt x="2841" y="1062"/>
                  </a:lnTo>
                  <a:lnTo>
                    <a:pt x="2845" y="1064"/>
                  </a:lnTo>
                  <a:lnTo>
                    <a:pt x="2848" y="1065"/>
                  </a:lnTo>
                  <a:lnTo>
                    <a:pt x="2854" y="1065"/>
                  </a:lnTo>
                  <a:lnTo>
                    <a:pt x="2862" y="1066"/>
                  </a:lnTo>
                  <a:lnTo>
                    <a:pt x="2868" y="1066"/>
                  </a:lnTo>
                  <a:lnTo>
                    <a:pt x="2873" y="1069"/>
                  </a:lnTo>
                  <a:lnTo>
                    <a:pt x="2879" y="1071"/>
                  </a:lnTo>
                  <a:lnTo>
                    <a:pt x="2882" y="1074"/>
                  </a:lnTo>
                  <a:lnTo>
                    <a:pt x="2886" y="1078"/>
                  </a:lnTo>
                  <a:lnTo>
                    <a:pt x="2889" y="1082"/>
                  </a:lnTo>
                  <a:lnTo>
                    <a:pt x="2892" y="1087"/>
                  </a:lnTo>
                  <a:lnTo>
                    <a:pt x="2898" y="1107"/>
                  </a:lnTo>
                  <a:lnTo>
                    <a:pt x="2902" y="1128"/>
                  </a:lnTo>
                  <a:lnTo>
                    <a:pt x="2905" y="1138"/>
                  </a:lnTo>
                  <a:lnTo>
                    <a:pt x="2909" y="1146"/>
                  </a:lnTo>
                  <a:lnTo>
                    <a:pt x="2911" y="1149"/>
                  </a:lnTo>
                  <a:lnTo>
                    <a:pt x="2915" y="1153"/>
                  </a:lnTo>
                  <a:lnTo>
                    <a:pt x="2919" y="1154"/>
                  </a:lnTo>
                  <a:lnTo>
                    <a:pt x="2924" y="1155"/>
                  </a:lnTo>
                  <a:lnTo>
                    <a:pt x="2930" y="1157"/>
                  </a:lnTo>
                  <a:lnTo>
                    <a:pt x="2936" y="1157"/>
                  </a:lnTo>
                  <a:lnTo>
                    <a:pt x="2943" y="1155"/>
                  </a:lnTo>
                  <a:lnTo>
                    <a:pt x="2952" y="1154"/>
                  </a:lnTo>
                  <a:lnTo>
                    <a:pt x="2971" y="1147"/>
                  </a:lnTo>
                  <a:lnTo>
                    <a:pt x="2996" y="1136"/>
                  </a:lnTo>
                  <a:lnTo>
                    <a:pt x="3007" y="1130"/>
                  </a:lnTo>
                  <a:lnTo>
                    <a:pt x="3019" y="1128"/>
                  </a:lnTo>
                  <a:lnTo>
                    <a:pt x="3030" y="1126"/>
                  </a:lnTo>
                  <a:lnTo>
                    <a:pt x="3041" y="1126"/>
                  </a:lnTo>
                  <a:lnTo>
                    <a:pt x="3064" y="1129"/>
                  </a:lnTo>
                  <a:lnTo>
                    <a:pt x="3088" y="1133"/>
                  </a:lnTo>
                  <a:lnTo>
                    <a:pt x="3109" y="1138"/>
                  </a:lnTo>
                  <a:lnTo>
                    <a:pt x="3127" y="1142"/>
                  </a:lnTo>
                  <a:lnTo>
                    <a:pt x="3134" y="1142"/>
                  </a:lnTo>
                  <a:lnTo>
                    <a:pt x="3141" y="1143"/>
                  </a:lnTo>
                  <a:lnTo>
                    <a:pt x="3147" y="1142"/>
                  </a:lnTo>
                  <a:lnTo>
                    <a:pt x="3151" y="1141"/>
                  </a:lnTo>
                  <a:lnTo>
                    <a:pt x="3157" y="1134"/>
                  </a:lnTo>
                  <a:lnTo>
                    <a:pt x="3162" y="1128"/>
                  </a:lnTo>
                  <a:lnTo>
                    <a:pt x="3166" y="1120"/>
                  </a:lnTo>
                  <a:lnTo>
                    <a:pt x="3170" y="1112"/>
                  </a:lnTo>
                  <a:lnTo>
                    <a:pt x="3174" y="1095"/>
                  </a:lnTo>
                  <a:lnTo>
                    <a:pt x="3179" y="1078"/>
                  </a:lnTo>
                  <a:lnTo>
                    <a:pt x="3182" y="1069"/>
                  </a:lnTo>
                  <a:lnTo>
                    <a:pt x="3185" y="1061"/>
                  </a:lnTo>
                  <a:lnTo>
                    <a:pt x="3190" y="1054"/>
                  </a:lnTo>
                  <a:lnTo>
                    <a:pt x="3195" y="1048"/>
                  </a:lnTo>
                  <a:lnTo>
                    <a:pt x="3202" y="1043"/>
                  </a:lnTo>
                  <a:lnTo>
                    <a:pt x="3209" y="1039"/>
                  </a:lnTo>
                  <a:lnTo>
                    <a:pt x="3220" y="1036"/>
                  </a:lnTo>
                  <a:lnTo>
                    <a:pt x="3232" y="1036"/>
                  </a:lnTo>
                  <a:lnTo>
                    <a:pt x="3238" y="1035"/>
                  </a:lnTo>
                  <a:lnTo>
                    <a:pt x="3243" y="1035"/>
                  </a:lnTo>
                  <a:lnTo>
                    <a:pt x="3247" y="1032"/>
                  </a:lnTo>
                  <a:lnTo>
                    <a:pt x="3253" y="1030"/>
                  </a:lnTo>
                  <a:lnTo>
                    <a:pt x="3257" y="1027"/>
                  </a:lnTo>
                  <a:lnTo>
                    <a:pt x="3260" y="1023"/>
                  </a:lnTo>
                  <a:lnTo>
                    <a:pt x="3263" y="1019"/>
                  </a:lnTo>
                  <a:lnTo>
                    <a:pt x="3266" y="1015"/>
                  </a:lnTo>
                  <a:lnTo>
                    <a:pt x="3270" y="1005"/>
                  </a:lnTo>
                  <a:lnTo>
                    <a:pt x="3272" y="993"/>
                  </a:lnTo>
                  <a:lnTo>
                    <a:pt x="3274" y="980"/>
                  </a:lnTo>
                  <a:lnTo>
                    <a:pt x="3272" y="967"/>
                  </a:lnTo>
                  <a:lnTo>
                    <a:pt x="3272" y="952"/>
                  </a:lnTo>
                  <a:lnTo>
                    <a:pt x="3270" y="939"/>
                  </a:lnTo>
                  <a:lnTo>
                    <a:pt x="3266" y="925"/>
                  </a:lnTo>
                  <a:lnTo>
                    <a:pt x="3263" y="913"/>
                  </a:lnTo>
                  <a:lnTo>
                    <a:pt x="3258" y="901"/>
                  </a:lnTo>
                  <a:lnTo>
                    <a:pt x="3254" y="891"/>
                  </a:lnTo>
                  <a:lnTo>
                    <a:pt x="3249" y="883"/>
                  </a:lnTo>
                  <a:lnTo>
                    <a:pt x="3245" y="877"/>
                  </a:lnTo>
                  <a:lnTo>
                    <a:pt x="3236" y="871"/>
                  </a:lnTo>
                  <a:lnTo>
                    <a:pt x="3224" y="867"/>
                  </a:lnTo>
                  <a:lnTo>
                    <a:pt x="3208" y="864"/>
                  </a:lnTo>
                  <a:lnTo>
                    <a:pt x="3192" y="860"/>
                  </a:lnTo>
                  <a:lnTo>
                    <a:pt x="3177" y="856"/>
                  </a:lnTo>
                  <a:lnTo>
                    <a:pt x="3165" y="850"/>
                  </a:lnTo>
                  <a:lnTo>
                    <a:pt x="3160" y="848"/>
                  </a:lnTo>
                  <a:lnTo>
                    <a:pt x="3156" y="845"/>
                  </a:lnTo>
                  <a:lnTo>
                    <a:pt x="3153" y="841"/>
                  </a:lnTo>
                  <a:lnTo>
                    <a:pt x="3152" y="839"/>
                  </a:lnTo>
                  <a:lnTo>
                    <a:pt x="3155" y="819"/>
                  </a:lnTo>
                  <a:lnTo>
                    <a:pt x="3157" y="795"/>
                  </a:lnTo>
                  <a:lnTo>
                    <a:pt x="3157" y="782"/>
                  </a:lnTo>
                  <a:lnTo>
                    <a:pt x="3156" y="771"/>
                  </a:lnTo>
                  <a:lnTo>
                    <a:pt x="3155" y="764"/>
                  </a:lnTo>
                  <a:lnTo>
                    <a:pt x="3152" y="759"/>
                  </a:lnTo>
                  <a:lnTo>
                    <a:pt x="3149" y="754"/>
                  </a:lnTo>
                  <a:lnTo>
                    <a:pt x="3145" y="748"/>
                  </a:lnTo>
                  <a:lnTo>
                    <a:pt x="3140" y="742"/>
                  </a:lnTo>
                  <a:lnTo>
                    <a:pt x="3138" y="735"/>
                  </a:lnTo>
                  <a:lnTo>
                    <a:pt x="3136" y="729"/>
                  </a:lnTo>
                  <a:lnTo>
                    <a:pt x="3135" y="724"/>
                  </a:lnTo>
                  <a:lnTo>
                    <a:pt x="3138" y="713"/>
                  </a:lnTo>
                  <a:lnTo>
                    <a:pt x="3140" y="705"/>
                  </a:lnTo>
                  <a:lnTo>
                    <a:pt x="3141" y="701"/>
                  </a:lnTo>
                  <a:lnTo>
                    <a:pt x="3143" y="699"/>
                  </a:lnTo>
                  <a:lnTo>
                    <a:pt x="3141" y="696"/>
                  </a:lnTo>
                  <a:lnTo>
                    <a:pt x="3140" y="693"/>
                  </a:lnTo>
                  <a:lnTo>
                    <a:pt x="3136" y="692"/>
                  </a:lnTo>
                  <a:lnTo>
                    <a:pt x="3131" y="691"/>
                  </a:lnTo>
                  <a:lnTo>
                    <a:pt x="3122" y="690"/>
                  </a:lnTo>
                  <a:lnTo>
                    <a:pt x="3111" y="690"/>
                  </a:lnTo>
                  <a:lnTo>
                    <a:pt x="3101" y="690"/>
                  </a:lnTo>
                  <a:lnTo>
                    <a:pt x="3090" y="687"/>
                  </a:lnTo>
                  <a:lnTo>
                    <a:pt x="3081" y="684"/>
                  </a:lnTo>
                  <a:lnTo>
                    <a:pt x="3071" y="680"/>
                  </a:lnTo>
                  <a:lnTo>
                    <a:pt x="3054" y="670"/>
                  </a:lnTo>
                  <a:lnTo>
                    <a:pt x="3036" y="658"/>
                  </a:lnTo>
                  <a:lnTo>
                    <a:pt x="3002" y="629"/>
                  </a:lnTo>
                  <a:lnTo>
                    <a:pt x="2969" y="605"/>
                  </a:lnTo>
                  <a:lnTo>
                    <a:pt x="2964" y="601"/>
                  </a:lnTo>
                  <a:lnTo>
                    <a:pt x="2960" y="595"/>
                  </a:lnTo>
                  <a:lnTo>
                    <a:pt x="2957" y="589"/>
                  </a:lnTo>
                  <a:lnTo>
                    <a:pt x="2956" y="581"/>
                  </a:lnTo>
                  <a:lnTo>
                    <a:pt x="2954" y="564"/>
                  </a:lnTo>
                  <a:lnTo>
                    <a:pt x="2956" y="544"/>
                  </a:lnTo>
                  <a:lnTo>
                    <a:pt x="2956" y="535"/>
                  </a:lnTo>
                  <a:lnTo>
                    <a:pt x="2956" y="525"/>
                  </a:lnTo>
                  <a:lnTo>
                    <a:pt x="2954" y="514"/>
                  </a:lnTo>
                  <a:lnTo>
                    <a:pt x="2953" y="505"/>
                  </a:lnTo>
                  <a:lnTo>
                    <a:pt x="2949" y="496"/>
                  </a:lnTo>
                  <a:lnTo>
                    <a:pt x="2945" y="487"/>
                  </a:lnTo>
                  <a:lnTo>
                    <a:pt x="2939" y="478"/>
                  </a:lnTo>
                  <a:lnTo>
                    <a:pt x="2931" y="470"/>
                  </a:lnTo>
                  <a:lnTo>
                    <a:pt x="2922" y="462"/>
                  </a:lnTo>
                  <a:lnTo>
                    <a:pt x="2915" y="455"/>
                  </a:lnTo>
                  <a:lnTo>
                    <a:pt x="2909" y="448"/>
                  </a:lnTo>
                  <a:lnTo>
                    <a:pt x="2905" y="441"/>
                  </a:lnTo>
                  <a:lnTo>
                    <a:pt x="2902" y="434"/>
                  </a:lnTo>
                  <a:lnTo>
                    <a:pt x="2901" y="429"/>
                  </a:lnTo>
                  <a:lnTo>
                    <a:pt x="2902" y="423"/>
                  </a:lnTo>
                  <a:lnTo>
                    <a:pt x="2903" y="417"/>
                  </a:lnTo>
                  <a:lnTo>
                    <a:pt x="2906" y="414"/>
                  </a:lnTo>
                  <a:lnTo>
                    <a:pt x="2910" y="408"/>
                  </a:lnTo>
                  <a:lnTo>
                    <a:pt x="2915" y="404"/>
                  </a:lnTo>
                  <a:lnTo>
                    <a:pt x="2920" y="400"/>
                  </a:lnTo>
                  <a:lnTo>
                    <a:pt x="2935" y="394"/>
                  </a:lnTo>
                  <a:lnTo>
                    <a:pt x="2951" y="387"/>
                  </a:lnTo>
                  <a:lnTo>
                    <a:pt x="2969" y="382"/>
                  </a:lnTo>
                  <a:lnTo>
                    <a:pt x="2988" y="378"/>
                  </a:lnTo>
                  <a:lnTo>
                    <a:pt x="3009" y="376"/>
                  </a:lnTo>
                  <a:lnTo>
                    <a:pt x="3029" y="373"/>
                  </a:lnTo>
                  <a:lnTo>
                    <a:pt x="3067" y="370"/>
                  </a:lnTo>
                  <a:lnTo>
                    <a:pt x="3096" y="370"/>
                  </a:lnTo>
                  <a:lnTo>
                    <a:pt x="3131" y="370"/>
                  </a:lnTo>
                  <a:lnTo>
                    <a:pt x="3158" y="368"/>
                  </a:lnTo>
                  <a:lnTo>
                    <a:pt x="3172" y="365"/>
                  </a:lnTo>
                  <a:lnTo>
                    <a:pt x="3183" y="360"/>
                  </a:lnTo>
                  <a:lnTo>
                    <a:pt x="3198" y="353"/>
                  </a:lnTo>
                  <a:lnTo>
                    <a:pt x="3213" y="346"/>
                  </a:lnTo>
                  <a:lnTo>
                    <a:pt x="3232" y="335"/>
                  </a:lnTo>
                  <a:lnTo>
                    <a:pt x="3253" y="326"/>
                  </a:lnTo>
                  <a:lnTo>
                    <a:pt x="3263" y="321"/>
                  </a:lnTo>
                  <a:lnTo>
                    <a:pt x="3274" y="317"/>
                  </a:lnTo>
                  <a:lnTo>
                    <a:pt x="3284" y="314"/>
                  </a:lnTo>
                  <a:lnTo>
                    <a:pt x="3295" y="311"/>
                  </a:lnTo>
                  <a:lnTo>
                    <a:pt x="3304" y="310"/>
                  </a:lnTo>
                  <a:lnTo>
                    <a:pt x="3314" y="310"/>
                  </a:lnTo>
                  <a:lnTo>
                    <a:pt x="3323" y="311"/>
                  </a:lnTo>
                  <a:lnTo>
                    <a:pt x="3332" y="314"/>
                  </a:lnTo>
                  <a:lnTo>
                    <a:pt x="3342" y="319"/>
                  </a:lnTo>
                  <a:lnTo>
                    <a:pt x="3349" y="325"/>
                  </a:lnTo>
                  <a:lnTo>
                    <a:pt x="3357" y="332"/>
                  </a:lnTo>
                  <a:lnTo>
                    <a:pt x="3364" y="343"/>
                  </a:lnTo>
                  <a:lnTo>
                    <a:pt x="3377" y="361"/>
                  </a:lnTo>
                  <a:lnTo>
                    <a:pt x="3395" y="383"/>
                  </a:lnTo>
                  <a:lnTo>
                    <a:pt x="3420" y="410"/>
                  </a:lnTo>
                  <a:lnTo>
                    <a:pt x="3448" y="436"/>
                  </a:lnTo>
                  <a:lnTo>
                    <a:pt x="3475" y="461"/>
                  </a:lnTo>
                  <a:lnTo>
                    <a:pt x="3502" y="483"/>
                  </a:lnTo>
                  <a:lnTo>
                    <a:pt x="3516" y="492"/>
                  </a:lnTo>
                  <a:lnTo>
                    <a:pt x="3527" y="500"/>
                  </a:lnTo>
                  <a:lnTo>
                    <a:pt x="3538" y="506"/>
                  </a:lnTo>
                  <a:lnTo>
                    <a:pt x="3548" y="512"/>
                  </a:lnTo>
                  <a:lnTo>
                    <a:pt x="3555" y="514"/>
                  </a:lnTo>
                  <a:lnTo>
                    <a:pt x="3561" y="516"/>
                  </a:lnTo>
                  <a:lnTo>
                    <a:pt x="3567" y="517"/>
                  </a:lnTo>
                  <a:lnTo>
                    <a:pt x="3573" y="517"/>
                  </a:lnTo>
                  <a:lnTo>
                    <a:pt x="3582" y="516"/>
                  </a:lnTo>
                  <a:lnTo>
                    <a:pt x="3591" y="510"/>
                  </a:lnTo>
                  <a:lnTo>
                    <a:pt x="3599" y="505"/>
                  </a:lnTo>
                  <a:lnTo>
                    <a:pt x="3606" y="497"/>
                  </a:lnTo>
                  <a:lnTo>
                    <a:pt x="3612" y="489"/>
                  </a:lnTo>
                  <a:lnTo>
                    <a:pt x="3619" y="482"/>
                  </a:lnTo>
                  <a:lnTo>
                    <a:pt x="3624" y="474"/>
                  </a:lnTo>
                  <a:lnTo>
                    <a:pt x="3629" y="466"/>
                  </a:lnTo>
                  <a:lnTo>
                    <a:pt x="3635" y="461"/>
                  </a:lnTo>
                  <a:lnTo>
                    <a:pt x="3640" y="457"/>
                  </a:lnTo>
                  <a:lnTo>
                    <a:pt x="3642" y="455"/>
                  </a:lnTo>
                  <a:lnTo>
                    <a:pt x="3645" y="455"/>
                  </a:lnTo>
                  <a:lnTo>
                    <a:pt x="3649" y="455"/>
                  </a:lnTo>
                  <a:lnTo>
                    <a:pt x="3652" y="457"/>
                  </a:lnTo>
                  <a:lnTo>
                    <a:pt x="3658" y="462"/>
                  </a:lnTo>
                  <a:lnTo>
                    <a:pt x="3667" y="470"/>
                  </a:lnTo>
                  <a:lnTo>
                    <a:pt x="3676" y="485"/>
                  </a:lnTo>
                  <a:lnTo>
                    <a:pt x="3687" y="502"/>
                  </a:lnTo>
                  <a:lnTo>
                    <a:pt x="3692" y="510"/>
                  </a:lnTo>
                  <a:lnTo>
                    <a:pt x="3700" y="516"/>
                  </a:lnTo>
                  <a:lnTo>
                    <a:pt x="3704" y="517"/>
                  </a:lnTo>
                  <a:lnTo>
                    <a:pt x="3708" y="518"/>
                  </a:lnTo>
                  <a:lnTo>
                    <a:pt x="3713" y="518"/>
                  </a:lnTo>
                  <a:lnTo>
                    <a:pt x="3718" y="518"/>
                  </a:lnTo>
                  <a:lnTo>
                    <a:pt x="3724" y="516"/>
                  </a:lnTo>
                  <a:lnTo>
                    <a:pt x="3729" y="513"/>
                  </a:lnTo>
                  <a:lnTo>
                    <a:pt x="3733" y="509"/>
                  </a:lnTo>
                  <a:lnTo>
                    <a:pt x="3735" y="505"/>
                  </a:lnTo>
                  <a:lnTo>
                    <a:pt x="3742" y="496"/>
                  </a:lnTo>
                  <a:lnTo>
                    <a:pt x="3747" y="485"/>
                  </a:lnTo>
                  <a:lnTo>
                    <a:pt x="3752" y="475"/>
                  </a:lnTo>
                  <a:lnTo>
                    <a:pt x="3760" y="466"/>
                  </a:lnTo>
                  <a:lnTo>
                    <a:pt x="3764" y="463"/>
                  </a:lnTo>
                  <a:lnTo>
                    <a:pt x="3769" y="461"/>
                  </a:lnTo>
                  <a:lnTo>
                    <a:pt x="3775" y="459"/>
                  </a:lnTo>
                  <a:lnTo>
                    <a:pt x="3781" y="459"/>
                  </a:lnTo>
                  <a:lnTo>
                    <a:pt x="3789" y="463"/>
                  </a:lnTo>
                  <a:lnTo>
                    <a:pt x="3794" y="470"/>
                  </a:lnTo>
                  <a:lnTo>
                    <a:pt x="3798" y="475"/>
                  </a:lnTo>
                  <a:lnTo>
                    <a:pt x="3802" y="479"/>
                  </a:lnTo>
                  <a:lnTo>
                    <a:pt x="3803" y="479"/>
                  </a:lnTo>
                  <a:lnTo>
                    <a:pt x="3805" y="480"/>
                  </a:lnTo>
                  <a:lnTo>
                    <a:pt x="3806" y="482"/>
                  </a:lnTo>
                  <a:lnTo>
                    <a:pt x="3809" y="483"/>
                  </a:lnTo>
                  <a:lnTo>
                    <a:pt x="3811" y="484"/>
                  </a:lnTo>
                  <a:lnTo>
                    <a:pt x="3812" y="485"/>
                  </a:lnTo>
                  <a:lnTo>
                    <a:pt x="3814" y="485"/>
                  </a:lnTo>
                  <a:lnTo>
                    <a:pt x="3815" y="487"/>
                  </a:lnTo>
                  <a:lnTo>
                    <a:pt x="3816" y="488"/>
                  </a:lnTo>
                  <a:lnTo>
                    <a:pt x="3822" y="488"/>
                  </a:lnTo>
                  <a:lnTo>
                    <a:pt x="3827" y="488"/>
                  </a:lnTo>
                  <a:lnTo>
                    <a:pt x="3833" y="488"/>
                  </a:lnTo>
                  <a:lnTo>
                    <a:pt x="3835" y="488"/>
                  </a:lnTo>
                  <a:lnTo>
                    <a:pt x="3837" y="487"/>
                  </a:lnTo>
                  <a:lnTo>
                    <a:pt x="3888" y="475"/>
                  </a:lnTo>
                  <a:lnTo>
                    <a:pt x="3886" y="521"/>
                  </a:lnTo>
                  <a:lnTo>
                    <a:pt x="3883" y="530"/>
                  </a:lnTo>
                  <a:lnTo>
                    <a:pt x="3882" y="539"/>
                  </a:lnTo>
                  <a:lnTo>
                    <a:pt x="3880" y="543"/>
                  </a:lnTo>
                  <a:lnTo>
                    <a:pt x="3879" y="546"/>
                  </a:lnTo>
                  <a:lnTo>
                    <a:pt x="3879" y="551"/>
                  </a:lnTo>
                  <a:lnTo>
                    <a:pt x="3877" y="556"/>
                  </a:lnTo>
                  <a:lnTo>
                    <a:pt x="3877" y="564"/>
                  </a:lnTo>
                  <a:lnTo>
                    <a:pt x="3879" y="573"/>
                  </a:lnTo>
                  <a:lnTo>
                    <a:pt x="3880" y="578"/>
                  </a:lnTo>
                  <a:lnTo>
                    <a:pt x="3883" y="585"/>
                  </a:lnTo>
                  <a:lnTo>
                    <a:pt x="3883" y="588"/>
                  </a:lnTo>
                  <a:lnTo>
                    <a:pt x="3884" y="589"/>
                  </a:lnTo>
                  <a:lnTo>
                    <a:pt x="3887" y="595"/>
                  </a:lnTo>
                  <a:lnTo>
                    <a:pt x="3891" y="602"/>
                  </a:lnTo>
                  <a:lnTo>
                    <a:pt x="3892" y="603"/>
                  </a:lnTo>
                  <a:lnTo>
                    <a:pt x="3892" y="605"/>
                  </a:lnTo>
                  <a:lnTo>
                    <a:pt x="3930" y="653"/>
                  </a:lnTo>
                  <a:lnTo>
                    <a:pt x="3917" y="699"/>
                  </a:lnTo>
                  <a:lnTo>
                    <a:pt x="3918" y="708"/>
                  </a:lnTo>
                  <a:lnTo>
                    <a:pt x="3921" y="712"/>
                  </a:lnTo>
                  <a:lnTo>
                    <a:pt x="3926" y="717"/>
                  </a:lnTo>
                  <a:lnTo>
                    <a:pt x="3926" y="718"/>
                  </a:lnTo>
                  <a:lnTo>
                    <a:pt x="3929" y="720"/>
                  </a:lnTo>
                  <a:lnTo>
                    <a:pt x="3929" y="721"/>
                  </a:lnTo>
                  <a:lnTo>
                    <a:pt x="3929" y="722"/>
                  </a:lnTo>
                  <a:lnTo>
                    <a:pt x="3935" y="727"/>
                  </a:lnTo>
                  <a:lnTo>
                    <a:pt x="3938" y="734"/>
                  </a:lnTo>
                  <a:lnTo>
                    <a:pt x="3938" y="737"/>
                  </a:lnTo>
                  <a:lnTo>
                    <a:pt x="3939" y="738"/>
                  </a:lnTo>
                  <a:lnTo>
                    <a:pt x="3941" y="741"/>
                  </a:lnTo>
                  <a:lnTo>
                    <a:pt x="3942" y="741"/>
                  </a:lnTo>
                  <a:lnTo>
                    <a:pt x="3943" y="742"/>
                  </a:lnTo>
                  <a:lnTo>
                    <a:pt x="3945" y="746"/>
                  </a:lnTo>
                  <a:lnTo>
                    <a:pt x="3946" y="748"/>
                  </a:lnTo>
                  <a:lnTo>
                    <a:pt x="3949" y="752"/>
                  </a:lnTo>
                  <a:lnTo>
                    <a:pt x="3950" y="756"/>
                  </a:lnTo>
                  <a:lnTo>
                    <a:pt x="3952" y="761"/>
                  </a:lnTo>
                  <a:lnTo>
                    <a:pt x="3955" y="768"/>
                  </a:lnTo>
                  <a:lnTo>
                    <a:pt x="3955" y="769"/>
                  </a:lnTo>
                  <a:lnTo>
                    <a:pt x="3956" y="772"/>
                  </a:lnTo>
                  <a:lnTo>
                    <a:pt x="3956" y="773"/>
                  </a:lnTo>
                  <a:lnTo>
                    <a:pt x="3958" y="775"/>
                  </a:lnTo>
                  <a:lnTo>
                    <a:pt x="3960" y="778"/>
                  </a:lnTo>
                  <a:lnTo>
                    <a:pt x="3962" y="784"/>
                  </a:lnTo>
                  <a:lnTo>
                    <a:pt x="3964" y="786"/>
                  </a:lnTo>
                  <a:lnTo>
                    <a:pt x="3966" y="789"/>
                  </a:lnTo>
                  <a:lnTo>
                    <a:pt x="3967" y="790"/>
                  </a:lnTo>
                  <a:lnTo>
                    <a:pt x="3967" y="792"/>
                  </a:lnTo>
                  <a:lnTo>
                    <a:pt x="3968" y="793"/>
                  </a:lnTo>
                  <a:lnTo>
                    <a:pt x="3969" y="795"/>
                  </a:lnTo>
                  <a:lnTo>
                    <a:pt x="3971" y="795"/>
                  </a:lnTo>
                  <a:lnTo>
                    <a:pt x="3972" y="797"/>
                  </a:lnTo>
                  <a:lnTo>
                    <a:pt x="3975" y="801"/>
                  </a:lnTo>
                  <a:lnTo>
                    <a:pt x="3976" y="806"/>
                  </a:lnTo>
                  <a:lnTo>
                    <a:pt x="3979" y="810"/>
                  </a:lnTo>
                  <a:lnTo>
                    <a:pt x="3981" y="814"/>
                  </a:lnTo>
                  <a:lnTo>
                    <a:pt x="3983" y="818"/>
                  </a:lnTo>
                  <a:lnTo>
                    <a:pt x="3985" y="822"/>
                  </a:lnTo>
                  <a:lnTo>
                    <a:pt x="3986" y="824"/>
                  </a:lnTo>
                  <a:lnTo>
                    <a:pt x="3988" y="827"/>
                  </a:lnTo>
                  <a:lnTo>
                    <a:pt x="3992" y="835"/>
                  </a:lnTo>
                  <a:lnTo>
                    <a:pt x="3997" y="849"/>
                  </a:lnTo>
                  <a:lnTo>
                    <a:pt x="4001" y="864"/>
                  </a:lnTo>
                  <a:lnTo>
                    <a:pt x="4005" y="873"/>
                  </a:lnTo>
                  <a:lnTo>
                    <a:pt x="4007" y="886"/>
                  </a:lnTo>
                  <a:lnTo>
                    <a:pt x="4011" y="899"/>
                  </a:lnTo>
                  <a:lnTo>
                    <a:pt x="4011" y="900"/>
                  </a:lnTo>
                  <a:lnTo>
                    <a:pt x="4017" y="905"/>
                  </a:lnTo>
                  <a:lnTo>
                    <a:pt x="4022" y="909"/>
                  </a:lnTo>
                  <a:lnTo>
                    <a:pt x="4027" y="912"/>
                  </a:lnTo>
                  <a:lnTo>
                    <a:pt x="4031" y="915"/>
                  </a:lnTo>
                  <a:lnTo>
                    <a:pt x="4032" y="916"/>
                  </a:lnTo>
                  <a:lnTo>
                    <a:pt x="4032" y="917"/>
                  </a:lnTo>
                  <a:lnTo>
                    <a:pt x="4034" y="917"/>
                  </a:lnTo>
                  <a:lnTo>
                    <a:pt x="4035" y="918"/>
                  </a:lnTo>
                  <a:lnTo>
                    <a:pt x="4037" y="920"/>
                  </a:lnTo>
                  <a:lnTo>
                    <a:pt x="4037" y="921"/>
                  </a:lnTo>
                  <a:lnTo>
                    <a:pt x="4039" y="922"/>
                  </a:lnTo>
                  <a:lnTo>
                    <a:pt x="4041" y="925"/>
                  </a:lnTo>
                  <a:lnTo>
                    <a:pt x="4043" y="929"/>
                  </a:lnTo>
                  <a:lnTo>
                    <a:pt x="4044" y="929"/>
                  </a:lnTo>
                  <a:lnTo>
                    <a:pt x="4045" y="930"/>
                  </a:lnTo>
                  <a:lnTo>
                    <a:pt x="4045" y="932"/>
                  </a:lnTo>
                  <a:lnTo>
                    <a:pt x="4047" y="933"/>
                  </a:lnTo>
                  <a:lnTo>
                    <a:pt x="4048" y="934"/>
                  </a:lnTo>
                  <a:lnTo>
                    <a:pt x="4049" y="935"/>
                  </a:lnTo>
                  <a:lnTo>
                    <a:pt x="4051" y="937"/>
                  </a:lnTo>
                  <a:lnTo>
                    <a:pt x="4052" y="938"/>
                  </a:lnTo>
                  <a:lnTo>
                    <a:pt x="4053" y="938"/>
                  </a:lnTo>
                  <a:lnTo>
                    <a:pt x="4058" y="943"/>
                  </a:lnTo>
                  <a:lnTo>
                    <a:pt x="4064" y="949"/>
                  </a:lnTo>
                  <a:lnTo>
                    <a:pt x="4066" y="949"/>
                  </a:lnTo>
                  <a:lnTo>
                    <a:pt x="4071" y="952"/>
                  </a:lnTo>
                  <a:lnTo>
                    <a:pt x="4078" y="959"/>
                  </a:lnTo>
                  <a:lnTo>
                    <a:pt x="4078" y="960"/>
                  </a:lnTo>
                  <a:lnTo>
                    <a:pt x="4079" y="960"/>
                  </a:lnTo>
                  <a:lnTo>
                    <a:pt x="4081" y="962"/>
                  </a:lnTo>
                  <a:lnTo>
                    <a:pt x="4082" y="963"/>
                  </a:lnTo>
                  <a:lnTo>
                    <a:pt x="4083" y="963"/>
                  </a:lnTo>
                  <a:lnTo>
                    <a:pt x="4085" y="964"/>
                  </a:lnTo>
                  <a:lnTo>
                    <a:pt x="4085" y="967"/>
                  </a:lnTo>
                  <a:lnTo>
                    <a:pt x="4085" y="968"/>
                  </a:lnTo>
                  <a:lnTo>
                    <a:pt x="4087" y="968"/>
                  </a:lnTo>
                  <a:lnTo>
                    <a:pt x="4090" y="973"/>
                  </a:lnTo>
                  <a:lnTo>
                    <a:pt x="4092" y="977"/>
                  </a:lnTo>
                  <a:lnTo>
                    <a:pt x="4095" y="984"/>
                  </a:lnTo>
                  <a:lnTo>
                    <a:pt x="4099" y="990"/>
                  </a:lnTo>
                  <a:lnTo>
                    <a:pt x="4100" y="993"/>
                  </a:lnTo>
                  <a:lnTo>
                    <a:pt x="4102" y="997"/>
                  </a:lnTo>
                  <a:lnTo>
                    <a:pt x="4102" y="1001"/>
                  </a:lnTo>
                  <a:lnTo>
                    <a:pt x="4102" y="1006"/>
                  </a:lnTo>
                  <a:lnTo>
                    <a:pt x="4100" y="1015"/>
                  </a:lnTo>
                  <a:lnTo>
                    <a:pt x="4099" y="1022"/>
                  </a:lnTo>
                  <a:lnTo>
                    <a:pt x="4098" y="1023"/>
                  </a:lnTo>
                  <a:lnTo>
                    <a:pt x="4096" y="1026"/>
                  </a:lnTo>
                  <a:lnTo>
                    <a:pt x="4096" y="1027"/>
                  </a:lnTo>
                  <a:lnTo>
                    <a:pt x="4095" y="1030"/>
                  </a:lnTo>
                  <a:lnTo>
                    <a:pt x="4092" y="1036"/>
                  </a:lnTo>
                  <a:lnTo>
                    <a:pt x="4090" y="1043"/>
                  </a:lnTo>
                  <a:lnTo>
                    <a:pt x="4088" y="1045"/>
                  </a:lnTo>
                  <a:lnTo>
                    <a:pt x="4087" y="1047"/>
                  </a:lnTo>
                  <a:lnTo>
                    <a:pt x="4086" y="1047"/>
                  </a:lnTo>
                  <a:lnTo>
                    <a:pt x="4086" y="1048"/>
                  </a:lnTo>
                  <a:lnTo>
                    <a:pt x="4086" y="1051"/>
                  </a:lnTo>
                  <a:lnTo>
                    <a:pt x="4086" y="1051"/>
                  </a:lnTo>
                  <a:lnTo>
                    <a:pt x="4085" y="1051"/>
                  </a:lnTo>
                  <a:lnTo>
                    <a:pt x="4083" y="1054"/>
                  </a:lnTo>
                  <a:lnTo>
                    <a:pt x="4082" y="1057"/>
                  </a:lnTo>
                  <a:lnTo>
                    <a:pt x="4081" y="1064"/>
                  </a:lnTo>
                  <a:lnTo>
                    <a:pt x="4078" y="1070"/>
                  </a:lnTo>
                  <a:lnTo>
                    <a:pt x="4075" y="1083"/>
                  </a:lnTo>
                  <a:lnTo>
                    <a:pt x="4075" y="1099"/>
                  </a:lnTo>
                  <a:lnTo>
                    <a:pt x="4078" y="1111"/>
                  </a:lnTo>
                  <a:lnTo>
                    <a:pt x="4082" y="1124"/>
                  </a:lnTo>
                  <a:lnTo>
                    <a:pt x="4085" y="1128"/>
                  </a:lnTo>
                  <a:lnTo>
                    <a:pt x="4086" y="1132"/>
                  </a:lnTo>
                  <a:lnTo>
                    <a:pt x="4087" y="1134"/>
                  </a:lnTo>
                  <a:lnTo>
                    <a:pt x="4090" y="1136"/>
                  </a:lnTo>
                  <a:lnTo>
                    <a:pt x="4091" y="1137"/>
                  </a:lnTo>
                  <a:lnTo>
                    <a:pt x="4091" y="1138"/>
                  </a:lnTo>
                  <a:lnTo>
                    <a:pt x="4096" y="1150"/>
                  </a:lnTo>
                  <a:lnTo>
                    <a:pt x="4104" y="1162"/>
                  </a:lnTo>
                  <a:lnTo>
                    <a:pt x="4105" y="1163"/>
                  </a:lnTo>
                  <a:lnTo>
                    <a:pt x="4105" y="1164"/>
                  </a:lnTo>
                  <a:lnTo>
                    <a:pt x="4107" y="1166"/>
                  </a:lnTo>
                  <a:lnTo>
                    <a:pt x="4108" y="1167"/>
                  </a:lnTo>
                  <a:lnTo>
                    <a:pt x="4113" y="1174"/>
                  </a:lnTo>
                  <a:lnTo>
                    <a:pt x="4117" y="1181"/>
                  </a:lnTo>
                  <a:lnTo>
                    <a:pt x="4124" y="1193"/>
                  </a:lnTo>
                  <a:lnTo>
                    <a:pt x="4130" y="1206"/>
                  </a:lnTo>
                  <a:lnTo>
                    <a:pt x="4132" y="1213"/>
                  </a:lnTo>
                  <a:lnTo>
                    <a:pt x="4133" y="1218"/>
                  </a:lnTo>
                  <a:lnTo>
                    <a:pt x="4134" y="1221"/>
                  </a:lnTo>
                  <a:lnTo>
                    <a:pt x="4134" y="1225"/>
                  </a:lnTo>
                  <a:lnTo>
                    <a:pt x="4134" y="1231"/>
                  </a:lnTo>
                  <a:lnTo>
                    <a:pt x="4133" y="1236"/>
                  </a:lnTo>
                  <a:lnTo>
                    <a:pt x="4130" y="1248"/>
                  </a:lnTo>
                  <a:lnTo>
                    <a:pt x="4129" y="1255"/>
                  </a:lnTo>
                  <a:lnTo>
                    <a:pt x="4125" y="1262"/>
                  </a:lnTo>
                  <a:lnTo>
                    <a:pt x="4119" y="1269"/>
                  </a:lnTo>
                  <a:lnTo>
                    <a:pt x="4111" y="1276"/>
                  </a:lnTo>
                  <a:lnTo>
                    <a:pt x="4102" y="1282"/>
                  </a:lnTo>
                  <a:lnTo>
                    <a:pt x="4082" y="1294"/>
                  </a:lnTo>
                  <a:lnTo>
                    <a:pt x="4062" y="1306"/>
                  </a:lnTo>
                  <a:lnTo>
                    <a:pt x="4053" y="1311"/>
                  </a:lnTo>
                  <a:lnTo>
                    <a:pt x="4047" y="1317"/>
                  </a:lnTo>
                  <a:lnTo>
                    <a:pt x="4040" y="1324"/>
                  </a:lnTo>
                  <a:lnTo>
                    <a:pt x="4036" y="1332"/>
                  </a:lnTo>
                  <a:lnTo>
                    <a:pt x="4035" y="1336"/>
                  </a:lnTo>
                  <a:lnTo>
                    <a:pt x="4035" y="1340"/>
                  </a:lnTo>
                  <a:lnTo>
                    <a:pt x="4035" y="1344"/>
                  </a:lnTo>
                  <a:lnTo>
                    <a:pt x="4036" y="1347"/>
                  </a:lnTo>
                  <a:lnTo>
                    <a:pt x="4040" y="1358"/>
                  </a:lnTo>
                  <a:lnTo>
                    <a:pt x="4048" y="1368"/>
                  </a:lnTo>
                  <a:lnTo>
                    <a:pt x="4058" y="1379"/>
                  </a:lnTo>
                  <a:lnTo>
                    <a:pt x="4068" y="1392"/>
                  </a:lnTo>
                  <a:lnTo>
                    <a:pt x="4070" y="1399"/>
                  </a:lnTo>
                  <a:lnTo>
                    <a:pt x="4071" y="1405"/>
                  </a:lnTo>
                  <a:lnTo>
                    <a:pt x="4071" y="1413"/>
                  </a:lnTo>
                  <a:lnTo>
                    <a:pt x="4070" y="1421"/>
                  </a:lnTo>
                  <a:lnTo>
                    <a:pt x="4068" y="1429"/>
                  </a:lnTo>
                  <a:lnTo>
                    <a:pt x="4066" y="1435"/>
                  </a:lnTo>
                  <a:lnTo>
                    <a:pt x="4066" y="1440"/>
                  </a:lnTo>
                  <a:lnTo>
                    <a:pt x="4068" y="1446"/>
                  </a:lnTo>
                  <a:lnTo>
                    <a:pt x="4070" y="1455"/>
                  </a:lnTo>
                  <a:lnTo>
                    <a:pt x="4075" y="1464"/>
                  </a:lnTo>
                  <a:lnTo>
                    <a:pt x="4082" y="1473"/>
                  </a:lnTo>
                  <a:lnTo>
                    <a:pt x="4087" y="1482"/>
                  </a:lnTo>
                  <a:lnTo>
                    <a:pt x="4090" y="1489"/>
                  </a:lnTo>
                  <a:lnTo>
                    <a:pt x="4091" y="1495"/>
                  </a:lnTo>
                  <a:lnTo>
                    <a:pt x="4092" y="1503"/>
                  </a:lnTo>
                  <a:lnTo>
                    <a:pt x="4092" y="1511"/>
                  </a:lnTo>
                  <a:lnTo>
                    <a:pt x="4091" y="1535"/>
                  </a:lnTo>
                  <a:lnTo>
                    <a:pt x="4088" y="1557"/>
                  </a:lnTo>
                  <a:lnTo>
                    <a:pt x="4085" y="1578"/>
                  </a:lnTo>
                  <a:lnTo>
                    <a:pt x="4079" y="1599"/>
                  </a:lnTo>
                  <a:lnTo>
                    <a:pt x="4066" y="1639"/>
                  </a:lnTo>
                  <a:lnTo>
                    <a:pt x="4052" y="1680"/>
                  </a:lnTo>
                  <a:lnTo>
                    <a:pt x="4048" y="1694"/>
                  </a:lnTo>
                  <a:lnTo>
                    <a:pt x="4045" y="1707"/>
                  </a:lnTo>
                  <a:lnTo>
                    <a:pt x="4044" y="1719"/>
                  </a:lnTo>
                  <a:lnTo>
                    <a:pt x="4043" y="1729"/>
                  </a:lnTo>
                  <a:lnTo>
                    <a:pt x="4044" y="1740"/>
                  </a:lnTo>
                  <a:lnTo>
                    <a:pt x="4047" y="1749"/>
                  </a:lnTo>
                  <a:lnTo>
                    <a:pt x="4051" y="1758"/>
                  </a:lnTo>
                  <a:lnTo>
                    <a:pt x="4054" y="1766"/>
                  </a:lnTo>
                  <a:lnTo>
                    <a:pt x="4066" y="1780"/>
                  </a:lnTo>
                  <a:lnTo>
                    <a:pt x="4079" y="1795"/>
                  </a:lnTo>
                  <a:lnTo>
                    <a:pt x="4096" y="1809"/>
                  </a:lnTo>
                  <a:lnTo>
                    <a:pt x="4113" y="1825"/>
                  </a:lnTo>
                  <a:lnTo>
                    <a:pt x="4121" y="1833"/>
                  </a:lnTo>
                  <a:lnTo>
                    <a:pt x="4128" y="1843"/>
                  </a:lnTo>
                  <a:lnTo>
                    <a:pt x="4133" y="1856"/>
                  </a:lnTo>
                  <a:lnTo>
                    <a:pt x="4138" y="1871"/>
                  </a:lnTo>
                  <a:lnTo>
                    <a:pt x="4147" y="1901"/>
                  </a:lnTo>
                  <a:lnTo>
                    <a:pt x="4156" y="1932"/>
                  </a:lnTo>
                  <a:lnTo>
                    <a:pt x="4162" y="1947"/>
                  </a:lnTo>
                  <a:lnTo>
                    <a:pt x="4167" y="1960"/>
                  </a:lnTo>
                  <a:lnTo>
                    <a:pt x="4172" y="1970"/>
                  </a:lnTo>
                  <a:lnTo>
                    <a:pt x="4179" y="1981"/>
                  </a:lnTo>
                  <a:lnTo>
                    <a:pt x="4183" y="1985"/>
                  </a:lnTo>
                  <a:lnTo>
                    <a:pt x="4187" y="1987"/>
                  </a:lnTo>
                  <a:lnTo>
                    <a:pt x="4190" y="1990"/>
                  </a:lnTo>
                  <a:lnTo>
                    <a:pt x="4194" y="1991"/>
                  </a:lnTo>
                  <a:lnTo>
                    <a:pt x="4200" y="1991"/>
                  </a:lnTo>
                  <a:lnTo>
                    <a:pt x="4204" y="1991"/>
                  </a:lnTo>
                  <a:lnTo>
                    <a:pt x="4209" y="1990"/>
                  </a:lnTo>
                  <a:lnTo>
                    <a:pt x="4214" y="1987"/>
                  </a:lnTo>
                  <a:lnTo>
                    <a:pt x="4227" y="1982"/>
                  </a:lnTo>
                  <a:lnTo>
                    <a:pt x="4236" y="1977"/>
                  </a:lnTo>
                  <a:lnTo>
                    <a:pt x="4245" y="1974"/>
                  </a:lnTo>
                  <a:lnTo>
                    <a:pt x="4252" y="1973"/>
                  </a:lnTo>
                  <a:lnTo>
                    <a:pt x="4259" y="1974"/>
                  </a:lnTo>
                  <a:lnTo>
                    <a:pt x="4265" y="1977"/>
                  </a:lnTo>
                  <a:lnTo>
                    <a:pt x="4272" y="1982"/>
                  </a:lnTo>
                  <a:lnTo>
                    <a:pt x="4279" y="1991"/>
                  </a:lnTo>
                  <a:lnTo>
                    <a:pt x="4285" y="1995"/>
                  </a:lnTo>
                  <a:lnTo>
                    <a:pt x="4291" y="1998"/>
                  </a:lnTo>
                  <a:lnTo>
                    <a:pt x="4299" y="1999"/>
                  </a:lnTo>
                  <a:lnTo>
                    <a:pt x="4307" y="1999"/>
                  </a:lnTo>
                  <a:lnTo>
                    <a:pt x="4327" y="1998"/>
                  </a:lnTo>
                  <a:lnTo>
                    <a:pt x="4347" y="1995"/>
                  </a:lnTo>
                  <a:lnTo>
                    <a:pt x="4357" y="1994"/>
                  </a:lnTo>
                  <a:lnTo>
                    <a:pt x="4366" y="1994"/>
                  </a:lnTo>
                  <a:lnTo>
                    <a:pt x="4375" y="1994"/>
                  </a:lnTo>
                  <a:lnTo>
                    <a:pt x="4383" y="1996"/>
                  </a:lnTo>
                  <a:lnTo>
                    <a:pt x="4389" y="1999"/>
                  </a:lnTo>
                  <a:lnTo>
                    <a:pt x="4395" y="2004"/>
                  </a:lnTo>
                  <a:lnTo>
                    <a:pt x="4397" y="2011"/>
                  </a:lnTo>
                  <a:lnTo>
                    <a:pt x="4398" y="2020"/>
                  </a:lnTo>
                  <a:lnTo>
                    <a:pt x="4397" y="2026"/>
                  </a:lnTo>
                  <a:lnTo>
                    <a:pt x="4396" y="2032"/>
                  </a:lnTo>
                  <a:lnTo>
                    <a:pt x="4395" y="2037"/>
                  </a:lnTo>
                  <a:lnTo>
                    <a:pt x="4392" y="2042"/>
                  </a:lnTo>
                  <a:lnTo>
                    <a:pt x="4385" y="2051"/>
                  </a:lnTo>
                  <a:lnTo>
                    <a:pt x="4380" y="2062"/>
                  </a:lnTo>
                  <a:lnTo>
                    <a:pt x="4374" y="2071"/>
                  </a:lnTo>
                  <a:lnTo>
                    <a:pt x="4371" y="2084"/>
                  </a:lnTo>
                  <a:lnTo>
                    <a:pt x="4370" y="2090"/>
                  </a:lnTo>
                  <a:lnTo>
                    <a:pt x="4371" y="2098"/>
                  </a:lnTo>
                  <a:lnTo>
                    <a:pt x="4372" y="2106"/>
                  </a:lnTo>
                  <a:lnTo>
                    <a:pt x="4375" y="2115"/>
                  </a:lnTo>
                  <a:lnTo>
                    <a:pt x="4376" y="2121"/>
                  </a:lnTo>
                  <a:lnTo>
                    <a:pt x="4376" y="2127"/>
                  </a:lnTo>
                  <a:lnTo>
                    <a:pt x="4376" y="2135"/>
                  </a:lnTo>
                  <a:lnTo>
                    <a:pt x="4375" y="2144"/>
                  </a:lnTo>
                  <a:lnTo>
                    <a:pt x="4371" y="2165"/>
                  </a:lnTo>
                  <a:lnTo>
                    <a:pt x="4363" y="2186"/>
                  </a:lnTo>
                  <a:lnTo>
                    <a:pt x="4359" y="2198"/>
                  </a:lnTo>
                  <a:lnTo>
                    <a:pt x="4354" y="2207"/>
                  </a:lnTo>
                  <a:lnTo>
                    <a:pt x="4350" y="2217"/>
                  </a:lnTo>
                  <a:lnTo>
                    <a:pt x="4345" y="2225"/>
                  </a:lnTo>
                  <a:lnTo>
                    <a:pt x="4338" y="2233"/>
                  </a:lnTo>
                  <a:lnTo>
                    <a:pt x="4333" y="2238"/>
                  </a:lnTo>
                  <a:lnTo>
                    <a:pt x="4327" y="2242"/>
                  </a:lnTo>
                  <a:lnTo>
                    <a:pt x="4321" y="2244"/>
                  </a:lnTo>
                  <a:lnTo>
                    <a:pt x="4317" y="2245"/>
                  </a:lnTo>
                  <a:lnTo>
                    <a:pt x="4313" y="2247"/>
                  </a:lnTo>
                  <a:lnTo>
                    <a:pt x="4311" y="2250"/>
                  </a:lnTo>
                  <a:lnTo>
                    <a:pt x="4310" y="2254"/>
                  </a:lnTo>
                  <a:lnTo>
                    <a:pt x="4307" y="2264"/>
                  </a:lnTo>
                  <a:lnTo>
                    <a:pt x="4304" y="2278"/>
                  </a:lnTo>
                  <a:lnTo>
                    <a:pt x="4303" y="2302"/>
                  </a:lnTo>
                  <a:lnTo>
                    <a:pt x="4299" y="2322"/>
                  </a:lnTo>
                  <a:lnTo>
                    <a:pt x="4296" y="2327"/>
                  </a:lnTo>
                  <a:lnTo>
                    <a:pt x="4293" y="2331"/>
                  </a:lnTo>
                  <a:lnTo>
                    <a:pt x="4289" y="2334"/>
                  </a:lnTo>
                  <a:lnTo>
                    <a:pt x="4285" y="2334"/>
                  </a:lnTo>
                  <a:lnTo>
                    <a:pt x="4279" y="2335"/>
                  </a:lnTo>
                  <a:lnTo>
                    <a:pt x="4276" y="2336"/>
                  </a:lnTo>
                  <a:lnTo>
                    <a:pt x="4270" y="2338"/>
                  </a:lnTo>
                  <a:lnTo>
                    <a:pt x="4265" y="2342"/>
                  </a:lnTo>
                  <a:lnTo>
                    <a:pt x="4260" y="2346"/>
                  </a:lnTo>
                  <a:lnTo>
                    <a:pt x="4256" y="2351"/>
                  </a:lnTo>
                  <a:lnTo>
                    <a:pt x="4253" y="2356"/>
                  </a:lnTo>
                  <a:lnTo>
                    <a:pt x="4251" y="2361"/>
                  </a:lnTo>
                  <a:lnTo>
                    <a:pt x="4248" y="2372"/>
                  </a:lnTo>
                  <a:lnTo>
                    <a:pt x="4245" y="2383"/>
                  </a:lnTo>
                  <a:lnTo>
                    <a:pt x="4243" y="2397"/>
                  </a:lnTo>
                  <a:lnTo>
                    <a:pt x="4239" y="2407"/>
                  </a:lnTo>
                  <a:lnTo>
                    <a:pt x="4236" y="2415"/>
                  </a:lnTo>
                  <a:lnTo>
                    <a:pt x="4232" y="2420"/>
                  </a:lnTo>
                  <a:lnTo>
                    <a:pt x="4228" y="2424"/>
                  </a:lnTo>
                  <a:lnTo>
                    <a:pt x="4224" y="2427"/>
                  </a:lnTo>
                  <a:lnTo>
                    <a:pt x="4221" y="2427"/>
                  </a:lnTo>
                  <a:lnTo>
                    <a:pt x="4217" y="2427"/>
                  </a:lnTo>
                  <a:lnTo>
                    <a:pt x="4197" y="2419"/>
                  </a:lnTo>
                  <a:lnTo>
                    <a:pt x="4177" y="2412"/>
                  </a:lnTo>
                  <a:lnTo>
                    <a:pt x="4171" y="2412"/>
                  </a:lnTo>
                  <a:lnTo>
                    <a:pt x="4163" y="2415"/>
                  </a:lnTo>
                  <a:lnTo>
                    <a:pt x="4153" y="2420"/>
                  </a:lnTo>
                  <a:lnTo>
                    <a:pt x="4141" y="2425"/>
                  </a:lnTo>
                  <a:lnTo>
                    <a:pt x="4116" y="2440"/>
                  </a:lnTo>
                  <a:lnTo>
                    <a:pt x="4090" y="2457"/>
                  </a:lnTo>
                  <a:lnTo>
                    <a:pt x="4078" y="2466"/>
                  </a:lnTo>
                  <a:lnTo>
                    <a:pt x="4066" y="2475"/>
                  </a:lnTo>
                  <a:lnTo>
                    <a:pt x="4056" y="2484"/>
                  </a:lnTo>
                  <a:lnTo>
                    <a:pt x="4048" y="2493"/>
                  </a:lnTo>
                  <a:lnTo>
                    <a:pt x="4041" y="2503"/>
                  </a:lnTo>
                  <a:lnTo>
                    <a:pt x="4037" y="2512"/>
                  </a:lnTo>
                  <a:lnTo>
                    <a:pt x="4037" y="2516"/>
                  </a:lnTo>
                  <a:lnTo>
                    <a:pt x="4037" y="2520"/>
                  </a:lnTo>
                  <a:lnTo>
                    <a:pt x="4037" y="2522"/>
                  </a:lnTo>
                  <a:lnTo>
                    <a:pt x="4040" y="2526"/>
                  </a:lnTo>
                  <a:lnTo>
                    <a:pt x="4047" y="2535"/>
                  </a:lnTo>
                  <a:lnTo>
                    <a:pt x="4054" y="2542"/>
                  </a:lnTo>
                  <a:lnTo>
                    <a:pt x="4061" y="2548"/>
                  </a:lnTo>
                  <a:lnTo>
                    <a:pt x="4068" y="2552"/>
                  </a:lnTo>
                  <a:lnTo>
                    <a:pt x="4081" y="2559"/>
                  </a:lnTo>
                  <a:lnTo>
                    <a:pt x="4091" y="2564"/>
                  </a:lnTo>
                  <a:lnTo>
                    <a:pt x="4095" y="2568"/>
                  </a:lnTo>
                  <a:lnTo>
                    <a:pt x="4098" y="2572"/>
                  </a:lnTo>
                  <a:lnTo>
                    <a:pt x="4100" y="2576"/>
                  </a:lnTo>
                  <a:lnTo>
                    <a:pt x="4102" y="2582"/>
                  </a:lnTo>
                  <a:lnTo>
                    <a:pt x="4102" y="2590"/>
                  </a:lnTo>
                  <a:lnTo>
                    <a:pt x="4099" y="2599"/>
                  </a:lnTo>
                  <a:lnTo>
                    <a:pt x="4096" y="2611"/>
                  </a:lnTo>
                  <a:lnTo>
                    <a:pt x="4092" y="2627"/>
                  </a:lnTo>
                  <a:lnTo>
                    <a:pt x="4087" y="2640"/>
                  </a:lnTo>
                  <a:lnTo>
                    <a:pt x="4083" y="2650"/>
                  </a:lnTo>
                  <a:lnTo>
                    <a:pt x="4078" y="2661"/>
                  </a:lnTo>
                  <a:lnTo>
                    <a:pt x="4073" y="2669"/>
                  </a:lnTo>
                  <a:lnTo>
                    <a:pt x="4068" y="2675"/>
                  </a:lnTo>
                  <a:lnTo>
                    <a:pt x="4060" y="2683"/>
                  </a:lnTo>
                  <a:lnTo>
                    <a:pt x="4051" y="2690"/>
                  </a:lnTo>
                  <a:lnTo>
                    <a:pt x="4039" y="2697"/>
                  </a:lnTo>
                  <a:lnTo>
                    <a:pt x="4026" y="2704"/>
                  </a:lnTo>
                  <a:lnTo>
                    <a:pt x="4015" y="2707"/>
                  </a:lnTo>
                  <a:lnTo>
                    <a:pt x="4009" y="2707"/>
                  </a:lnTo>
                  <a:lnTo>
                    <a:pt x="4005" y="2707"/>
                  </a:lnTo>
                  <a:lnTo>
                    <a:pt x="4003" y="2708"/>
                  </a:lnTo>
                  <a:lnTo>
                    <a:pt x="4003" y="2713"/>
                  </a:lnTo>
                  <a:lnTo>
                    <a:pt x="4003" y="2724"/>
                  </a:lnTo>
                  <a:lnTo>
                    <a:pt x="4003" y="2742"/>
                  </a:lnTo>
                  <a:lnTo>
                    <a:pt x="4005" y="2763"/>
                  </a:lnTo>
                  <a:lnTo>
                    <a:pt x="4007" y="2777"/>
                  </a:lnTo>
                  <a:lnTo>
                    <a:pt x="4009" y="2781"/>
                  </a:lnTo>
                  <a:lnTo>
                    <a:pt x="4011" y="2785"/>
                  </a:lnTo>
                  <a:lnTo>
                    <a:pt x="4014" y="2788"/>
                  </a:lnTo>
                  <a:lnTo>
                    <a:pt x="4017" y="2790"/>
                  </a:lnTo>
                  <a:lnTo>
                    <a:pt x="4023" y="2794"/>
                  </a:lnTo>
                  <a:lnTo>
                    <a:pt x="4030" y="2798"/>
                  </a:lnTo>
                  <a:lnTo>
                    <a:pt x="4034" y="2802"/>
                  </a:lnTo>
                  <a:lnTo>
                    <a:pt x="4037" y="2806"/>
                  </a:lnTo>
                  <a:lnTo>
                    <a:pt x="4041" y="2813"/>
                  </a:lnTo>
                  <a:lnTo>
                    <a:pt x="4045" y="2819"/>
                  </a:lnTo>
                  <a:lnTo>
                    <a:pt x="4049" y="2830"/>
                  </a:lnTo>
                  <a:lnTo>
                    <a:pt x="4051" y="2843"/>
                  </a:lnTo>
                  <a:lnTo>
                    <a:pt x="4052" y="2858"/>
                  </a:lnTo>
                  <a:lnTo>
                    <a:pt x="4053" y="2875"/>
                  </a:lnTo>
                  <a:lnTo>
                    <a:pt x="4056" y="2911"/>
                  </a:lnTo>
                  <a:lnTo>
                    <a:pt x="4058" y="2937"/>
                  </a:lnTo>
                  <a:lnTo>
                    <a:pt x="4061" y="2943"/>
                  </a:lnTo>
                  <a:lnTo>
                    <a:pt x="4064" y="2950"/>
                  </a:lnTo>
                  <a:lnTo>
                    <a:pt x="4065" y="2951"/>
                  </a:lnTo>
                  <a:lnTo>
                    <a:pt x="4066" y="2953"/>
                  </a:lnTo>
                  <a:lnTo>
                    <a:pt x="4069" y="2956"/>
                  </a:lnTo>
                  <a:lnTo>
                    <a:pt x="4071" y="2959"/>
                  </a:lnTo>
                  <a:lnTo>
                    <a:pt x="4077" y="2966"/>
                  </a:lnTo>
                  <a:lnTo>
                    <a:pt x="4083" y="2972"/>
                  </a:lnTo>
                  <a:lnTo>
                    <a:pt x="4085" y="2973"/>
                  </a:lnTo>
                  <a:lnTo>
                    <a:pt x="4085" y="2973"/>
                  </a:lnTo>
                  <a:lnTo>
                    <a:pt x="4088" y="2976"/>
                  </a:lnTo>
                  <a:lnTo>
                    <a:pt x="4091" y="2979"/>
                  </a:lnTo>
                  <a:lnTo>
                    <a:pt x="4092" y="2979"/>
                  </a:lnTo>
                  <a:lnTo>
                    <a:pt x="4094" y="2981"/>
                  </a:lnTo>
                  <a:lnTo>
                    <a:pt x="4096" y="2983"/>
                  </a:lnTo>
                  <a:lnTo>
                    <a:pt x="4099" y="2987"/>
                  </a:lnTo>
                  <a:lnTo>
                    <a:pt x="4108" y="2992"/>
                  </a:lnTo>
                  <a:lnTo>
                    <a:pt x="4117" y="2997"/>
                  </a:lnTo>
                  <a:lnTo>
                    <a:pt x="4119" y="2998"/>
                  </a:lnTo>
                  <a:lnTo>
                    <a:pt x="4120" y="3000"/>
                  </a:lnTo>
                  <a:lnTo>
                    <a:pt x="4129" y="3007"/>
                  </a:lnTo>
                  <a:lnTo>
                    <a:pt x="4137" y="3015"/>
                  </a:lnTo>
                  <a:lnTo>
                    <a:pt x="4139" y="3019"/>
                  </a:lnTo>
                  <a:lnTo>
                    <a:pt x="4143" y="3022"/>
                  </a:lnTo>
                  <a:lnTo>
                    <a:pt x="4143" y="3023"/>
                  </a:lnTo>
                  <a:lnTo>
                    <a:pt x="4145" y="3023"/>
                  </a:lnTo>
                  <a:lnTo>
                    <a:pt x="4147" y="3024"/>
                  </a:lnTo>
                  <a:lnTo>
                    <a:pt x="4149" y="3026"/>
                  </a:lnTo>
                  <a:lnTo>
                    <a:pt x="4155" y="3030"/>
                  </a:lnTo>
                  <a:lnTo>
                    <a:pt x="4160" y="3035"/>
                  </a:lnTo>
                  <a:lnTo>
                    <a:pt x="4168" y="3040"/>
                  </a:lnTo>
                  <a:lnTo>
                    <a:pt x="4177" y="3044"/>
                  </a:lnTo>
                  <a:lnTo>
                    <a:pt x="4180" y="3044"/>
                  </a:lnTo>
                  <a:lnTo>
                    <a:pt x="4184" y="3045"/>
                  </a:lnTo>
                  <a:lnTo>
                    <a:pt x="4192" y="3049"/>
                  </a:lnTo>
                  <a:lnTo>
                    <a:pt x="4202" y="3053"/>
                  </a:lnTo>
                  <a:lnTo>
                    <a:pt x="4210" y="3061"/>
                  </a:lnTo>
                  <a:lnTo>
                    <a:pt x="4217" y="3069"/>
                  </a:lnTo>
                  <a:lnTo>
                    <a:pt x="4223" y="3078"/>
                  </a:lnTo>
                  <a:lnTo>
                    <a:pt x="4228" y="3087"/>
                  </a:lnTo>
                  <a:lnTo>
                    <a:pt x="4232" y="3090"/>
                  </a:lnTo>
                  <a:lnTo>
                    <a:pt x="4235" y="3092"/>
                  </a:lnTo>
                  <a:lnTo>
                    <a:pt x="4243" y="3098"/>
                  </a:lnTo>
                  <a:lnTo>
                    <a:pt x="4249" y="3102"/>
                  </a:lnTo>
                  <a:lnTo>
                    <a:pt x="4253" y="3104"/>
                  </a:lnTo>
                  <a:lnTo>
                    <a:pt x="4256" y="3107"/>
                  </a:lnTo>
                  <a:lnTo>
                    <a:pt x="4257" y="3108"/>
                  </a:lnTo>
                  <a:lnTo>
                    <a:pt x="4260" y="3111"/>
                  </a:lnTo>
                  <a:lnTo>
                    <a:pt x="4261" y="3112"/>
                  </a:lnTo>
                  <a:lnTo>
                    <a:pt x="4264" y="3115"/>
                  </a:lnTo>
                  <a:lnTo>
                    <a:pt x="4276" y="3124"/>
                  </a:lnTo>
                  <a:lnTo>
                    <a:pt x="4302" y="3140"/>
                  </a:lnTo>
                  <a:lnTo>
                    <a:pt x="4329" y="3155"/>
                  </a:lnTo>
                  <a:lnTo>
                    <a:pt x="4345" y="3163"/>
                  </a:lnTo>
                  <a:lnTo>
                    <a:pt x="4346" y="3164"/>
                  </a:lnTo>
                  <a:lnTo>
                    <a:pt x="4346" y="3166"/>
                  </a:lnTo>
                  <a:lnTo>
                    <a:pt x="4347" y="3166"/>
                  </a:lnTo>
                  <a:lnTo>
                    <a:pt x="4349" y="3167"/>
                  </a:lnTo>
                  <a:lnTo>
                    <a:pt x="4349" y="3168"/>
                  </a:lnTo>
                  <a:lnTo>
                    <a:pt x="4350" y="3171"/>
                  </a:lnTo>
                  <a:lnTo>
                    <a:pt x="4355" y="3177"/>
                  </a:lnTo>
                  <a:lnTo>
                    <a:pt x="4358" y="3185"/>
                  </a:lnTo>
                  <a:lnTo>
                    <a:pt x="4361" y="3193"/>
                  </a:lnTo>
                  <a:lnTo>
                    <a:pt x="4364" y="3209"/>
                  </a:lnTo>
                  <a:lnTo>
                    <a:pt x="4367" y="3226"/>
                  </a:lnTo>
                  <a:lnTo>
                    <a:pt x="4370" y="3236"/>
                  </a:lnTo>
                  <a:lnTo>
                    <a:pt x="4371" y="3239"/>
                  </a:lnTo>
                  <a:lnTo>
                    <a:pt x="4372" y="3242"/>
                  </a:lnTo>
                  <a:lnTo>
                    <a:pt x="4374" y="3244"/>
                  </a:lnTo>
                  <a:lnTo>
                    <a:pt x="4375" y="3247"/>
                  </a:lnTo>
                  <a:lnTo>
                    <a:pt x="4380" y="3249"/>
                  </a:lnTo>
                  <a:lnTo>
                    <a:pt x="4385" y="3255"/>
                  </a:lnTo>
                  <a:lnTo>
                    <a:pt x="4392" y="3260"/>
                  </a:lnTo>
                  <a:lnTo>
                    <a:pt x="4398" y="3263"/>
                  </a:lnTo>
                  <a:lnTo>
                    <a:pt x="4402" y="3263"/>
                  </a:lnTo>
                  <a:lnTo>
                    <a:pt x="4406" y="3264"/>
                  </a:lnTo>
                  <a:lnTo>
                    <a:pt x="4439" y="3282"/>
                  </a:lnTo>
                  <a:lnTo>
                    <a:pt x="4440" y="3283"/>
                  </a:lnTo>
                  <a:lnTo>
                    <a:pt x="4442" y="3285"/>
                  </a:lnTo>
                  <a:lnTo>
                    <a:pt x="4444" y="3289"/>
                  </a:lnTo>
                  <a:lnTo>
                    <a:pt x="4446" y="3291"/>
                  </a:lnTo>
                  <a:lnTo>
                    <a:pt x="4452" y="3302"/>
                  </a:lnTo>
                  <a:lnTo>
                    <a:pt x="4459" y="3314"/>
                  </a:lnTo>
                  <a:lnTo>
                    <a:pt x="4460" y="3315"/>
                  </a:lnTo>
                  <a:lnTo>
                    <a:pt x="4463" y="3316"/>
                  </a:lnTo>
                  <a:lnTo>
                    <a:pt x="4470" y="3328"/>
                  </a:lnTo>
                  <a:lnTo>
                    <a:pt x="4480" y="3337"/>
                  </a:lnTo>
                  <a:lnTo>
                    <a:pt x="4482" y="3338"/>
                  </a:lnTo>
                  <a:lnTo>
                    <a:pt x="4483" y="3340"/>
                  </a:lnTo>
                  <a:lnTo>
                    <a:pt x="4485" y="3341"/>
                  </a:lnTo>
                  <a:lnTo>
                    <a:pt x="4486" y="3342"/>
                  </a:lnTo>
                  <a:lnTo>
                    <a:pt x="4489" y="3344"/>
                  </a:lnTo>
                  <a:lnTo>
                    <a:pt x="4490" y="3345"/>
                  </a:lnTo>
                  <a:lnTo>
                    <a:pt x="4493" y="3349"/>
                  </a:lnTo>
                  <a:lnTo>
                    <a:pt x="4499" y="3351"/>
                  </a:lnTo>
                  <a:lnTo>
                    <a:pt x="4506" y="3353"/>
                  </a:lnTo>
                  <a:lnTo>
                    <a:pt x="4514" y="3353"/>
                  </a:lnTo>
                  <a:lnTo>
                    <a:pt x="4520" y="3351"/>
                  </a:lnTo>
                  <a:lnTo>
                    <a:pt x="4528" y="3350"/>
                  </a:lnTo>
                  <a:lnTo>
                    <a:pt x="4533" y="3348"/>
                  </a:lnTo>
                  <a:lnTo>
                    <a:pt x="4536" y="3346"/>
                  </a:lnTo>
                  <a:lnTo>
                    <a:pt x="4551" y="3331"/>
                  </a:lnTo>
                  <a:lnTo>
                    <a:pt x="4562" y="3320"/>
                  </a:lnTo>
                  <a:lnTo>
                    <a:pt x="4572" y="3310"/>
                  </a:lnTo>
                  <a:lnTo>
                    <a:pt x="4583" y="3304"/>
                  </a:lnTo>
                  <a:lnTo>
                    <a:pt x="4604" y="3297"/>
                  </a:lnTo>
                  <a:lnTo>
                    <a:pt x="4614" y="3293"/>
                  </a:lnTo>
                  <a:lnTo>
                    <a:pt x="4625" y="3289"/>
                  </a:lnTo>
                  <a:lnTo>
                    <a:pt x="4631" y="3285"/>
                  </a:lnTo>
                  <a:lnTo>
                    <a:pt x="4635" y="3281"/>
                  </a:lnTo>
                  <a:lnTo>
                    <a:pt x="4640" y="3278"/>
                  </a:lnTo>
                  <a:lnTo>
                    <a:pt x="4646" y="3276"/>
                  </a:lnTo>
                  <a:lnTo>
                    <a:pt x="4657" y="3269"/>
                  </a:lnTo>
                  <a:lnTo>
                    <a:pt x="4672" y="3265"/>
                  </a:lnTo>
                  <a:lnTo>
                    <a:pt x="4677" y="3264"/>
                  </a:lnTo>
                  <a:lnTo>
                    <a:pt x="4684" y="3264"/>
                  </a:lnTo>
                  <a:lnTo>
                    <a:pt x="4686" y="3265"/>
                  </a:lnTo>
                  <a:lnTo>
                    <a:pt x="4689" y="3266"/>
                  </a:lnTo>
                  <a:lnTo>
                    <a:pt x="4691" y="3266"/>
                  </a:lnTo>
                  <a:lnTo>
                    <a:pt x="4693" y="3268"/>
                  </a:lnTo>
                  <a:lnTo>
                    <a:pt x="4693" y="3268"/>
                  </a:lnTo>
                  <a:lnTo>
                    <a:pt x="4694" y="3269"/>
                  </a:lnTo>
                  <a:lnTo>
                    <a:pt x="4695" y="3269"/>
                  </a:lnTo>
                  <a:lnTo>
                    <a:pt x="4697" y="3270"/>
                  </a:lnTo>
                  <a:lnTo>
                    <a:pt x="4699" y="3272"/>
                  </a:lnTo>
                  <a:lnTo>
                    <a:pt x="4703" y="3273"/>
                  </a:lnTo>
                  <a:lnTo>
                    <a:pt x="4706" y="3274"/>
                  </a:lnTo>
                  <a:lnTo>
                    <a:pt x="4708" y="3276"/>
                  </a:lnTo>
                  <a:lnTo>
                    <a:pt x="4710" y="3276"/>
                  </a:lnTo>
                  <a:lnTo>
                    <a:pt x="4710" y="3277"/>
                  </a:lnTo>
                  <a:lnTo>
                    <a:pt x="4712" y="3277"/>
                  </a:lnTo>
                  <a:lnTo>
                    <a:pt x="4715" y="3277"/>
                  </a:lnTo>
                  <a:lnTo>
                    <a:pt x="4791" y="3270"/>
                  </a:lnTo>
                  <a:lnTo>
                    <a:pt x="4817" y="3290"/>
                  </a:lnTo>
                  <a:lnTo>
                    <a:pt x="4824" y="3294"/>
                  </a:lnTo>
                  <a:lnTo>
                    <a:pt x="4831" y="3297"/>
                  </a:lnTo>
                  <a:lnTo>
                    <a:pt x="4839" y="3297"/>
                  </a:lnTo>
                  <a:lnTo>
                    <a:pt x="4848" y="3297"/>
                  </a:lnTo>
                  <a:lnTo>
                    <a:pt x="4868" y="3295"/>
                  </a:lnTo>
                  <a:lnTo>
                    <a:pt x="4889" y="3294"/>
                  </a:lnTo>
                  <a:lnTo>
                    <a:pt x="4909" y="3291"/>
                  </a:lnTo>
                  <a:lnTo>
                    <a:pt x="4926" y="3293"/>
                  </a:lnTo>
                  <a:lnTo>
                    <a:pt x="4933" y="3294"/>
                  </a:lnTo>
                  <a:lnTo>
                    <a:pt x="4940" y="3297"/>
                  </a:lnTo>
                  <a:lnTo>
                    <a:pt x="4945" y="3302"/>
                  </a:lnTo>
                  <a:lnTo>
                    <a:pt x="4949" y="3307"/>
                  </a:lnTo>
                  <a:lnTo>
                    <a:pt x="4958" y="3329"/>
                  </a:lnTo>
                  <a:lnTo>
                    <a:pt x="4966" y="3348"/>
                  </a:lnTo>
                  <a:lnTo>
                    <a:pt x="4970" y="3354"/>
                  </a:lnTo>
                  <a:lnTo>
                    <a:pt x="4974" y="3361"/>
                  </a:lnTo>
                  <a:lnTo>
                    <a:pt x="4978" y="3366"/>
                  </a:lnTo>
                  <a:lnTo>
                    <a:pt x="4983" y="3370"/>
                  </a:lnTo>
                  <a:lnTo>
                    <a:pt x="4988" y="3374"/>
                  </a:lnTo>
                  <a:lnTo>
                    <a:pt x="4995" y="3376"/>
                  </a:lnTo>
                  <a:lnTo>
                    <a:pt x="5001" y="3379"/>
                  </a:lnTo>
                  <a:lnTo>
                    <a:pt x="5009" y="3380"/>
                  </a:lnTo>
                  <a:lnTo>
                    <a:pt x="5030" y="3382"/>
                  </a:lnTo>
                  <a:lnTo>
                    <a:pt x="5058" y="3383"/>
                  </a:lnTo>
                  <a:lnTo>
                    <a:pt x="5063" y="3383"/>
                  </a:lnTo>
                  <a:lnTo>
                    <a:pt x="5069" y="3384"/>
                  </a:lnTo>
                  <a:lnTo>
                    <a:pt x="5075" y="3385"/>
                  </a:lnTo>
                  <a:lnTo>
                    <a:pt x="5079" y="3389"/>
                  </a:lnTo>
                  <a:lnTo>
                    <a:pt x="5088" y="3396"/>
                  </a:lnTo>
                  <a:lnTo>
                    <a:pt x="5096" y="3405"/>
                  </a:lnTo>
                  <a:lnTo>
                    <a:pt x="5111" y="3425"/>
                  </a:lnTo>
                  <a:lnTo>
                    <a:pt x="5126" y="3442"/>
                  </a:lnTo>
                  <a:lnTo>
                    <a:pt x="5139" y="3452"/>
                  </a:lnTo>
                  <a:lnTo>
                    <a:pt x="5151" y="3460"/>
                  </a:lnTo>
                  <a:lnTo>
                    <a:pt x="5156" y="3463"/>
                  </a:lnTo>
                  <a:lnTo>
                    <a:pt x="5161" y="3464"/>
                  </a:lnTo>
                  <a:lnTo>
                    <a:pt x="5166" y="3465"/>
                  </a:lnTo>
                  <a:lnTo>
                    <a:pt x="5171" y="3465"/>
                  </a:lnTo>
                  <a:lnTo>
                    <a:pt x="5182" y="3463"/>
                  </a:lnTo>
                  <a:lnTo>
                    <a:pt x="5192" y="3459"/>
                  </a:lnTo>
                  <a:lnTo>
                    <a:pt x="5204" y="3454"/>
                  </a:lnTo>
                  <a:lnTo>
                    <a:pt x="5216" y="3444"/>
                  </a:lnTo>
                  <a:lnTo>
                    <a:pt x="5230" y="3433"/>
                  </a:lnTo>
                  <a:lnTo>
                    <a:pt x="5245" y="3422"/>
                  </a:lnTo>
                  <a:lnTo>
                    <a:pt x="5258" y="3417"/>
                  </a:lnTo>
                  <a:lnTo>
                    <a:pt x="5271" y="3413"/>
                  </a:lnTo>
                  <a:lnTo>
                    <a:pt x="5277" y="3410"/>
                  </a:lnTo>
                  <a:lnTo>
                    <a:pt x="5285" y="3408"/>
                  </a:lnTo>
                  <a:lnTo>
                    <a:pt x="5292" y="3405"/>
                  </a:lnTo>
                  <a:lnTo>
                    <a:pt x="5296" y="3401"/>
                  </a:lnTo>
                  <a:lnTo>
                    <a:pt x="5300" y="3397"/>
                  </a:lnTo>
                  <a:lnTo>
                    <a:pt x="5302" y="3393"/>
                  </a:lnTo>
                  <a:lnTo>
                    <a:pt x="5308" y="3392"/>
                  </a:lnTo>
                  <a:lnTo>
                    <a:pt x="5311" y="3391"/>
                  </a:lnTo>
                  <a:lnTo>
                    <a:pt x="5322" y="3389"/>
                  </a:lnTo>
                  <a:lnTo>
                    <a:pt x="5334" y="3389"/>
                  </a:lnTo>
                  <a:lnTo>
                    <a:pt x="5357" y="3393"/>
                  </a:lnTo>
                  <a:lnTo>
                    <a:pt x="5376" y="3396"/>
                  </a:lnTo>
                  <a:lnTo>
                    <a:pt x="5389" y="3393"/>
                  </a:lnTo>
                  <a:lnTo>
                    <a:pt x="5406" y="3391"/>
                  </a:lnTo>
                  <a:lnTo>
                    <a:pt x="5407" y="3391"/>
                  </a:lnTo>
                  <a:lnTo>
                    <a:pt x="5413" y="3393"/>
                  </a:lnTo>
                  <a:lnTo>
                    <a:pt x="5424" y="3397"/>
                  </a:lnTo>
                  <a:lnTo>
                    <a:pt x="5436" y="3405"/>
                  </a:lnTo>
                  <a:lnTo>
                    <a:pt x="5449" y="3414"/>
                  </a:lnTo>
                  <a:lnTo>
                    <a:pt x="5474" y="3431"/>
                  </a:lnTo>
                  <a:lnTo>
                    <a:pt x="5487" y="3442"/>
                  </a:lnTo>
                  <a:lnTo>
                    <a:pt x="5488" y="3443"/>
                  </a:lnTo>
                  <a:lnTo>
                    <a:pt x="5491" y="3443"/>
                  </a:lnTo>
                  <a:lnTo>
                    <a:pt x="5493" y="3442"/>
                  </a:lnTo>
                  <a:lnTo>
                    <a:pt x="5496" y="3440"/>
                  </a:lnTo>
                  <a:lnTo>
                    <a:pt x="5497" y="3439"/>
                  </a:lnTo>
                  <a:lnTo>
                    <a:pt x="5498" y="3439"/>
                  </a:lnTo>
                  <a:lnTo>
                    <a:pt x="5501" y="3439"/>
                  </a:lnTo>
                  <a:lnTo>
                    <a:pt x="5504" y="3438"/>
                  </a:lnTo>
                  <a:lnTo>
                    <a:pt x="5508" y="3436"/>
                  </a:lnTo>
                  <a:lnTo>
                    <a:pt x="5512" y="3435"/>
                  </a:lnTo>
                  <a:lnTo>
                    <a:pt x="5514" y="3433"/>
                  </a:lnTo>
                  <a:lnTo>
                    <a:pt x="5518" y="3429"/>
                  </a:lnTo>
                  <a:lnTo>
                    <a:pt x="5521" y="3425"/>
                  </a:lnTo>
                  <a:lnTo>
                    <a:pt x="5522" y="3421"/>
                  </a:lnTo>
                  <a:lnTo>
                    <a:pt x="5523" y="3417"/>
                  </a:lnTo>
                  <a:lnTo>
                    <a:pt x="5527" y="3409"/>
                  </a:lnTo>
                  <a:lnTo>
                    <a:pt x="5531" y="3401"/>
                  </a:lnTo>
                  <a:lnTo>
                    <a:pt x="5531" y="3400"/>
                  </a:lnTo>
                  <a:lnTo>
                    <a:pt x="5532" y="3396"/>
                  </a:lnTo>
                  <a:lnTo>
                    <a:pt x="5535" y="3393"/>
                  </a:lnTo>
                  <a:lnTo>
                    <a:pt x="5538" y="3392"/>
                  </a:lnTo>
                  <a:lnTo>
                    <a:pt x="5543" y="3391"/>
                  </a:lnTo>
                  <a:lnTo>
                    <a:pt x="5551" y="3391"/>
                  </a:lnTo>
                  <a:lnTo>
                    <a:pt x="5552" y="3391"/>
                  </a:lnTo>
                  <a:lnTo>
                    <a:pt x="5555" y="3392"/>
                  </a:lnTo>
                  <a:lnTo>
                    <a:pt x="5556" y="3395"/>
                  </a:lnTo>
                  <a:lnTo>
                    <a:pt x="5557" y="3396"/>
                  </a:lnTo>
                  <a:lnTo>
                    <a:pt x="5559" y="3397"/>
                  </a:lnTo>
                  <a:lnTo>
                    <a:pt x="5567" y="3399"/>
                  </a:lnTo>
                  <a:lnTo>
                    <a:pt x="5576" y="3401"/>
                  </a:lnTo>
                  <a:lnTo>
                    <a:pt x="5584" y="3405"/>
                  </a:lnTo>
                  <a:lnTo>
                    <a:pt x="5593" y="3409"/>
                  </a:lnTo>
                  <a:lnTo>
                    <a:pt x="5610" y="3419"/>
                  </a:lnTo>
                  <a:lnTo>
                    <a:pt x="5625" y="3427"/>
                  </a:lnTo>
                  <a:lnTo>
                    <a:pt x="5632" y="3431"/>
                  </a:lnTo>
                  <a:lnTo>
                    <a:pt x="5640" y="3440"/>
                  </a:lnTo>
                  <a:lnTo>
                    <a:pt x="5648" y="3450"/>
                  </a:lnTo>
                  <a:lnTo>
                    <a:pt x="5652" y="3459"/>
                  </a:lnTo>
                  <a:lnTo>
                    <a:pt x="5654" y="3461"/>
                  </a:lnTo>
                  <a:lnTo>
                    <a:pt x="5657" y="3464"/>
                  </a:lnTo>
                  <a:lnTo>
                    <a:pt x="5659" y="3468"/>
                  </a:lnTo>
                  <a:lnTo>
                    <a:pt x="5662" y="3473"/>
                  </a:lnTo>
                  <a:lnTo>
                    <a:pt x="5666" y="3476"/>
                  </a:lnTo>
                  <a:lnTo>
                    <a:pt x="5669" y="3477"/>
                  </a:lnTo>
                  <a:lnTo>
                    <a:pt x="5680" y="3478"/>
                  </a:lnTo>
                  <a:lnTo>
                    <a:pt x="5692" y="3477"/>
                  </a:lnTo>
                  <a:lnTo>
                    <a:pt x="5703" y="3476"/>
                  </a:lnTo>
                  <a:lnTo>
                    <a:pt x="5713" y="3473"/>
                  </a:lnTo>
                  <a:lnTo>
                    <a:pt x="5733" y="3467"/>
                  </a:lnTo>
                  <a:lnTo>
                    <a:pt x="5751" y="3463"/>
                  </a:lnTo>
                  <a:lnTo>
                    <a:pt x="5754" y="3461"/>
                  </a:lnTo>
                  <a:lnTo>
                    <a:pt x="5756" y="3459"/>
                  </a:lnTo>
                  <a:lnTo>
                    <a:pt x="5759" y="3450"/>
                  </a:lnTo>
                  <a:lnTo>
                    <a:pt x="5765" y="3440"/>
                  </a:lnTo>
                  <a:lnTo>
                    <a:pt x="5774" y="3431"/>
                  </a:lnTo>
                  <a:lnTo>
                    <a:pt x="5786" y="3421"/>
                  </a:lnTo>
                  <a:lnTo>
                    <a:pt x="5814" y="3401"/>
                  </a:lnTo>
                  <a:lnTo>
                    <a:pt x="5844" y="3383"/>
                  </a:lnTo>
                  <a:lnTo>
                    <a:pt x="5874" y="3363"/>
                  </a:lnTo>
                  <a:lnTo>
                    <a:pt x="5901" y="3345"/>
                  </a:lnTo>
                  <a:lnTo>
                    <a:pt x="5912" y="3336"/>
                  </a:lnTo>
                  <a:lnTo>
                    <a:pt x="5922" y="3328"/>
                  </a:lnTo>
                  <a:lnTo>
                    <a:pt x="5929" y="3319"/>
                  </a:lnTo>
                  <a:lnTo>
                    <a:pt x="5933" y="3311"/>
                  </a:lnTo>
                  <a:lnTo>
                    <a:pt x="5937" y="3310"/>
                  </a:lnTo>
                  <a:lnTo>
                    <a:pt x="5946" y="3308"/>
                  </a:lnTo>
                  <a:lnTo>
                    <a:pt x="5956" y="3307"/>
                  </a:lnTo>
                  <a:lnTo>
                    <a:pt x="5962" y="3308"/>
                  </a:lnTo>
                  <a:lnTo>
                    <a:pt x="5964" y="3310"/>
                  </a:lnTo>
                  <a:lnTo>
                    <a:pt x="5967" y="3310"/>
                  </a:lnTo>
                  <a:lnTo>
                    <a:pt x="5998" y="3308"/>
                  </a:lnTo>
                  <a:lnTo>
                    <a:pt x="6079" y="3291"/>
                  </a:lnTo>
                  <a:lnTo>
                    <a:pt x="6154" y="3368"/>
                  </a:lnTo>
                  <a:lnTo>
                    <a:pt x="6238" y="3345"/>
                  </a:lnTo>
                  <a:lnTo>
                    <a:pt x="6249" y="3344"/>
                  </a:lnTo>
                  <a:lnTo>
                    <a:pt x="6261" y="3345"/>
                  </a:lnTo>
                  <a:lnTo>
                    <a:pt x="6268" y="3346"/>
                  </a:lnTo>
                  <a:lnTo>
                    <a:pt x="6272" y="3346"/>
                  </a:lnTo>
                  <a:lnTo>
                    <a:pt x="6277" y="3345"/>
                  </a:lnTo>
                  <a:lnTo>
                    <a:pt x="6279" y="3342"/>
                  </a:lnTo>
                  <a:lnTo>
                    <a:pt x="6313" y="3365"/>
                  </a:lnTo>
                  <a:lnTo>
                    <a:pt x="6317" y="3367"/>
                  </a:lnTo>
                  <a:lnTo>
                    <a:pt x="6321" y="3370"/>
                  </a:lnTo>
                  <a:lnTo>
                    <a:pt x="6323" y="3370"/>
                  </a:lnTo>
                  <a:lnTo>
                    <a:pt x="6324" y="3370"/>
                  </a:lnTo>
                  <a:lnTo>
                    <a:pt x="6325" y="3371"/>
                  </a:lnTo>
                  <a:lnTo>
                    <a:pt x="6338" y="3372"/>
                  </a:lnTo>
                  <a:lnTo>
                    <a:pt x="6353" y="3374"/>
                  </a:lnTo>
                  <a:lnTo>
                    <a:pt x="6357" y="3374"/>
                  </a:lnTo>
                  <a:lnTo>
                    <a:pt x="6359" y="3375"/>
                  </a:lnTo>
                  <a:lnTo>
                    <a:pt x="6359" y="3378"/>
                  </a:lnTo>
                  <a:lnTo>
                    <a:pt x="6359" y="3378"/>
                  </a:lnTo>
                  <a:lnTo>
                    <a:pt x="6360" y="3379"/>
                  </a:lnTo>
                  <a:lnTo>
                    <a:pt x="6362" y="3383"/>
                  </a:lnTo>
                  <a:lnTo>
                    <a:pt x="6363" y="3387"/>
                  </a:lnTo>
                  <a:lnTo>
                    <a:pt x="6363" y="3387"/>
                  </a:lnTo>
                  <a:lnTo>
                    <a:pt x="6364" y="3388"/>
                  </a:lnTo>
                  <a:lnTo>
                    <a:pt x="6364" y="3389"/>
                  </a:lnTo>
                  <a:lnTo>
                    <a:pt x="6364" y="3392"/>
                  </a:lnTo>
                  <a:lnTo>
                    <a:pt x="6366" y="3396"/>
                  </a:lnTo>
                  <a:lnTo>
                    <a:pt x="6367" y="3400"/>
                  </a:lnTo>
                  <a:lnTo>
                    <a:pt x="6377" y="3413"/>
                  </a:lnTo>
                  <a:lnTo>
                    <a:pt x="6363" y="3457"/>
                  </a:lnTo>
                  <a:lnTo>
                    <a:pt x="6362" y="3459"/>
                  </a:lnTo>
                  <a:lnTo>
                    <a:pt x="6360" y="3461"/>
                  </a:lnTo>
                  <a:lnTo>
                    <a:pt x="6360" y="3465"/>
                  </a:lnTo>
                  <a:lnTo>
                    <a:pt x="6359" y="3465"/>
                  </a:lnTo>
                  <a:lnTo>
                    <a:pt x="6358" y="3465"/>
                  </a:lnTo>
                  <a:lnTo>
                    <a:pt x="6355" y="3471"/>
                  </a:lnTo>
                  <a:lnTo>
                    <a:pt x="6353" y="3474"/>
                  </a:lnTo>
                  <a:lnTo>
                    <a:pt x="6353" y="3474"/>
                  </a:lnTo>
                  <a:lnTo>
                    <a:pt x="6351" y="3476"/>
                  </a:lnTo>
                  <a:lnTo>
                    <a:pt x="6351" y="3476"/>
                  </a:lnTo>
                  <a:lnTo>
                    <a:pt x="6350" y="3477"/>
                  </a:lnTo>
                  <a:lnTo>
                    <a:pt x="6349" y="3477"/>
                  </a:lnTo>
                  <a:lnTo>
                    <a:pt x="6349" y="3478"/>
                  </a:lnTo>
                  <a:lnTo>
                    <a:pt x="6349" y="3480"/>
                  </a:lnTo>
                  <a:lnTo>
                    <a:pt x="6347" y="3481"/>
                  </a:lnTo>
                  <a:lnTo>
                    <a:pt x="6346" y="3481"/>
                  </a:lnTo>
                  <a:lnTo>
                    <a:pt x="6346" y="3482"/>
                  </a:lnTo>
                  <a:lnTo>
                    <a:pt x="6346" y="3482"/>
                  </a:lnTo>
                  <a:lnTo>
                    <a:pt x="6345" y="3490"/>
                  </a:lnTo>
                  <a:lnTo>
                    <a:pt x="6346" y="3497"/>
                  </a:lnTo>
                  <a:lnTo>
                    <a:pt x="6349" y="3510"/>
                  </a:lnTo>
                  <a:lnTo>
                    <a:pt x="6347" y="3523"/>
                  </a:lnTo>
                  <a:lnTo>
                    <a:pt x="6346" y="3536"/>
                  </a:lnTo>
                  <a:lnTo>
                    <a:pt x="6345" y="3548"/>
                  </a:lnTo>
                  <a:lnTo>
                    <a:pt x="6345" y="3559"/>
                  </a:lnTo>
                  <a:lnTo>
                    <a:pt x="6346" y="3573"/>
                  </a:lnTo>
                  <a:lnTo>
                    <a:pt x="6347" y="3578"/>
                  </a:lnTo>
                  <a:lnTo>
                    <a:pt x="6350" y="3584"/>
                  </a:lnTo>
                  <a:lnTo>
                    <a:pt x="6353" y="3591"/>
                  </a:lnTo>
                  <a:lnTo>
                    <a:pt x="6358" y="3596"/>
                  </a:lnTo>
                  <a:lnTo>
                    <a:pt x="6362" y="3601"/>
                  </a:lnTo>
                  <a:lnTo>
                    <a:pt x="6364" y="3608"/>
                  </a:lnTo>
                  <a:lnTo>
                    <a:pt x="6367" y="3613"/>
                  </a:lnTo>
                  <a:lnTo>
                    <a:pt x="6368" y="3618"/>
                  </a:lnTo>
                  <a:lnTo>
                    <a:pt x="6371" y="3630"/>
                  </a:lnTo>
                  <a:lnTo>
                    <a:pt x="6371" y="3643"/>
                  </a:lnTo>
                  <a:lnTo>
                    <a:pt x="6370" y="3669"/>
                  </a:lnTo>
                  <a:lnTo>
                    <a:pt x="6368" y="3698"/>
                  </a:lnTo>
                  <a:lnTo>
                    <a:pt x="6368" y="3703"/>
                  </a:lnTo>
                  <a:lnTo>
                    <a:pt x="6370" y="3709"/>
                  </a:lnTo>
                  <a:lnTo>
                    <a:pt x="6371" y="3713"/>
                  </a:lnTo>
                  <a:lnTo>
                    <a:pt x="6374" y="3715"/>
                  </a:lnTo>
                  <a:lnTo>
                    <a:pt x="6379" y="3719"/>
                  </a:lnTo>
                  <a:lnTo>
                    <a:pt x="6384" y="3722"/>
                  </a:lnTo>
                  <a:lnTo>
                    <a:pt x="6389" y="3726"/>
                  </a:lnTo>
                  <a:lnTo>
                    <a:pt x="6393" y="3730"/>
                  </a:lnTo>
                  <a:lnTo>
                    <a:pt x="6393" y="3733"/>
                  </a:lnTo>
                  <a:lnTo>
                    <a:pt x="6394" y="3739"/>
                  </a:lnTo>
                  <a:lnTo>
                    <a:pt x="6393" y="3744"/>
                  </a:lnTo>
                  <a:lnTo>
                    <a:pt x="6392" y="3750"/>
                  </a:lnTo>
                  <a:lnTo>
                    <a:pt x="6389" y="3764"/>
                  </a:lnTo>
                  <a:lnTo>
                    <a:pt x="6389" y="3777"/>
                  </a:lnTo>
                  <a:lnTo>
                    <a:pt x="6389" y="3791"/>
                  </a:lnTo>
                  <a:lnTo>
                    <a:pt x="6391" y="3804"/>
                  </a:lnTo>
                  <a:lnTo>
                    <a:pt x="6392" y="3817"/>
                  </a:lnTo>
                  <a:lnTo>
                    <a:pt x="6392" y="3830"/>
                  </a:lnTo>
                  <a:lnTo>
                    <a:pt x="6391" y="3843"/>
                  </a:lnTo>
                  <a:lnTo>
                    <a:pt x="6388" y="3855"/>
                  </a:lnTo>
                  <a:lnTo>
                    <a:pt x="6384" y="3860"/>
                  </a:lnTo>
                  <a:lnTo>
                    <a:pt x="6380" y="3866"/>
                  </a:lnTo>
                  <a:lnTo>
                    <a:pt x="6374" y="3869"/>
                  </a:lnTo>
                  <a:lnTo>
                    <a:pt x="6366" y="3872"/>
                  </a:lnTo>
                  <a:lnTo>
                    <a:pt x="6357" y="3873"/>
                  </a:lnTo>
                  <a:lnTo>
                    <a:pt x="6347" y="3875"/>
                  </a:lnTo>
                  <a:lnTo>
                    <a:pt x="6337" y="3875"/>
                  </a:lnTo>
                  <a:lnTo>
                    <a:pt x="6326" y="3873"/>
                  </a:lnTo>
                  <a:lnTo>
                    <a:pt x="6306" y="3871"/>
                  </a:lnTo>
                  <a:lnTo>
                    <a:pt x="6286" y="3867"/>
                  </a:lnTo>
                  <a:lnTo>
                    <a:pt x="6270" y="3862"/>
                  </a:lnTo>
                  <a:lnTo>
                    <a:pt x="6258" y="3858"/>
                  </a:lnTo>
                  <a:lnTo>
                    <a:pt x="6234" y="3846"/>
                  </a:lnTo>
                  <a:lnTo>
                    <a:pt x="6214" y="3839"/>
                  </a:lnTo>
                  <a:lnTo>
                    <a:pt x="6206" y="3838"/>
                  </a:lnTo>
                  <a:lnTo>
                    <a:pt x="6198" y="3838"/>
                  </a:lnTo>
                  <a:lnTo>
                    <a:pt x="6192" y="3838"/>
                  </a:lnTo>
                  <a:lnTo>
                    <a:pt x="6186" y="3841"/>
                  </a:lnTo>
                  <a:lnTo>
                    <a:pt x="6183" y="3845"/>
                  </a:lnTo>
                  <a:lnTo>
                    <a:pt x="6179" y="3850"/>
                  </a:lnTo>
                  <a:lnTo>
                    <a:pt x="6175" y="3856"/>
                  </a:lnTo>
                  <a:lnTo>
                    <a:pt x="6173" y="3864"/>
                  </a:lnTo>
                  <a:lnTo>
                    <a:pt x="6171" y="3875"/>
                  </a:lnTo>
                  <a:lnTo>
                    <a:pt x="6169" y="3886"/>
                  </a:lnTo>
                  <a:lnTo>
                    <a:pt x="6169" y="3900"/>
                  </a:lnTo>
                  <a:lnTo>
                    <a:pt x="6169" y="3914"/>
                  </a:lnTo>
                  <a:lnTo>
                    <a:pt x="6169" y="3922"/>
                  </a:lnTo>
                  <a:lnTo>
                    <a:pt x="6171" y="3930"/>
                  </a:lnTo>
                  <a:lnTo>
                    <a:pt x="6172" y="3936"/>
                  </a:lnTo>
                  <a:lnTo>
                    <a:pt x="6175" y="3941"/>
                  </a:lnTo>
                  <a:lnTo>
                    <a:pt x="6181" y="3952"/>
                  </a:lnTo>
                  <a:lnTo>
                    <a:pt x="6188" y="3961"/>
                  </a:lnTo>
                  <a:lnTo>
                    <a:pt x="6196" y="3969"/>
                  </a:lnTo>
                  <a:lnTo>
                    <a:pt x="6202" y="3978"/>
                  </a:lnTo>
                  <a:lnTo>
                    <a:pt x="6206" y="3983"/>
                  </a:lnTo>
                  <a:lnTo>
                    <a:pt x="6207" y="3989"/>
                  </a:lnTo>
                  <a:lnTo>
                    <a:pt x="6210" y="3995"/>
                  </a:lnTo>
                  <a:lnTo>
                    <a:pt x="6211" y="4003"/>
                  </a:lnTo>
                  <a:lnTo>
                    <a:pt x="6217" y="4054"/>
                  </a:lnTo>
                  <a:lnTo>
                    <a:pt x="6162" y="4087"/>
                  </a:lnTo>
                  <a:lnTo>
                    <a:pt x="6154" y="4093"/>
                  </a:lnTo>
                  <a:lnTo>
                    <a:pt x="6146" y="4100"/>
                  </a:lnTo>
                  <a:lnTo>
                    <a:pt x="6139" y="4106"/>
                  </a:lnTo>
                  <a:lnTo>
                    <a:pt x="6133" y="4114"/>
                  </a:lnTo>
                  <a:lnTo>
                    <a:pt x="6122" y="4132"/>
                  </a:lnTo>
                  <a:lnTo>
                    <a:pt x="6112" y="4152"/>
                  </a:lnTo>
                  <a:lnTo>
                    <a:pt x="6105" y="4161"/>
                  </a:lnTo>
                  <a:lnTo>
                    <a:pt x="6098" y="4169"/>
                  </a:lnTo>
                  <a:lnTo>
                    <a:pt x="6090" y="4176"/>
                  </a:lnTo>
                  <a:lnTo>
                    <a:pt x="6081" y="4182"/>
                  </a:lnTo>
                  <a:lnTo>
                    <a:pt x="6071" y="4190"/>
                  </a:lnTo>
                  <a:lnTo>
                    <a:pt x="6065" y="4196"/>
                  </a:lnTo>
                  <a:lnTo>
                    <a:pt x="6062" y="4200"/>
                  </a:lnTo>
                  <a:lnTo>
                    <a:pt x="6060" y="4206"/>
                  </a:lnTo>
                  <a:lnTo>
                    <a:pt x="6058" y="4210"/>
                  </a:lnTo>
                  <a:lnTo>
                    <a:pt x="6058" y="4215"/>
                  </a:lnTo>
                  <a:lnTo>
                    <a:pt x="6058" y="4231"/>
                  </a:lnTo>
                  <a:lnTo>
                    <a:pt x="6060" y="4246"/>
                  </a:lnTo>
                  <a:lnTo>
                    <a:pt x="6060" y="4262"/>
                  </a:lnTo>
                  <a:lnTo>
                    <a:pt x="6060" y="4279"/>
                  </a:lnTo>
                  <a:lnTo>
                    <a:pt x="6057" y="4300"/>
                  </a:lnTo>
                  <a:lnTo>
                    <a:pt x="6052" y="4319"/>
                  </a:lnTo>
                  <a:lnTo>
                    <a:pt x="6045" y="4339"/>
                  </a:lnTo>
                  <a:lnTo>
                    <a:pt x="6035" y="4357"/>
                  </a:lnTo>
                  <a:lnTo>
                    <a:pt x="6027" y="4373"/>
                  </a:lnTo>
                  <a:lnTo>
                    <a:pt x="6022" y="4387"/>
                  </a:lnTo>
                  <a:lnTo>
                    <a:pt x="6019" y="4399"/>
                  </a:lnTo>
                  <a:lnTo>
                    <a:pt x="6018" y="4412"/>
                  </a:lnTo>
                  <a:lnTo>
                    <a:pt x="6018" y="4425"/>
                  </a:lnTo>
                  <a:lnTo>
                    <a:pt x="6019" y="4438"/>
                  </a:lnTo>
                  <a:lnTo>
                    <a:pt x="6023" y="4454"/>
                  </a:lnTo>
                  <a:lnTo>
                    <a:pt x="6026" y="4470"/>
                  </a:lnTo>
                  <a:lnTo>
                    <a:pt x="6026" y="4475"/>
                  </a:lnTo>
                  <a:lnTo>
                    <a:pt x="6024" y="4483"/>
                  </a:lnTo>
                  <a:lnTo>
                    <a:pt x="6022" y="4491"/>
                  </a:lnTo>
                  <a:lnTo>
                    <a:pt x="6016" y="4500"/>
                  </a:lnTo>
                  <a:lnTo>
                    <a:pt x="6005" y="4521"/>
                  </a:lnTo>
                  <a:lnTo>
                    <a:pt x="5990" y="4543"/>
                  </a:lnTo>
                  <a:lnTo>
                    <a:pt x="5975" y="4565"/>
                  </a:lnTo>
                  <a:lnTo>
                    <a:pt x="5959" y="4582"/>
                  </a:lnTo>
                  <a:lnTo>
                    <a:pt x="5952" y="4590"/>
                  </a:lnTo>
                  <a:lnTo>
                    <a:pt x="5946" y="4595"/>
                  </a:lnTo>
                  <a:lnTo>
                    <a:pt x="5941" y="4599"/>
                  </a:lnTo>
                  <a:lnTo>
                    <a:pt x="5937" y="4602"/>
                  </a:lnTo>
                  <a:lnTo>
                    <a:pt x="5908" y="4607"/>
                  </a:lnTo>
                  <a:lnTo>
                    <a:pt x="5886" y="4611"/>
                  </a:lnTo>
                  <a:lnTo>
                    <a:pt x="5870" y="4615"/>
                  </a:lnTo>
                  <a:lnTo>
                    <a:pt x="5858" y="4622"/>
                  </a:lnTo>
                  <a:lnTo>
                    <a:pt x="5853" y="4626"/>
                  </a:lnTo>
                  <a:lnTo>
                    <a:pt x="5848" y="4629"/>
                  </a:lnTo>
                  <a:lnTo>
                    <a:pt x="5844" y="4636"/>
                  </a:lnTo>
                  <a:lnTo>
                    <a:pt x="5839" y="4643"/>
                  </a:lnTo>
                  <a:lnTo>
                    <a:pt x="5827" y="4660"/>
                  </a:lnTo>
                  <a:lnTo>
                    <a:pt x="5811" y="4683"/>
                  </a:lnTo>
                  <a:lnTo>
                    <a:pt x="5803" y="4692"/>
                  </a:lnTo>
                  <a:lnTo>
                    <a:pt x="5791" y="4700"/>
                  </a:lnTo>
                  <a:lnTo>
                    <a:pt x="5778" y="4709"/>
                  </a:lnTo>
                  <a:lnTo>
                    <a:pt x="5764" y="4716"/>
                  </a:lnTo>
                  <a:lnTo>
                    <a:pt x="5735" y="4730"/>
                  </a:lnTo>
                  <a:lnTo>
                    <a:pt x="5712" y="4742"/>
                  </a:lnTo>
                  <a:lnTo>
                    <a:pt x="5699" y="4749"/>
                  </a:lnTo>
                  <a:lnTo>
                    <a:pt x="5680" y="4756"/>
                  </a:lnTo>
                  <a:lnTo>
                    <a:pt x="5655" y="4764"/>
                  </a:lnTo>
                  <a:lnTo>
                    <a:pt x="5628" y="4772"/>
                  </a:lnTo>
                  <a:lnTo>
                    <a:pt x="5561" y="4789"/>
                  </a:lnTo>
                  <a:lnTo>
                    <a:pt x="5488" y="4805"/>
                  </a:lnTo>
                  <a:lnTo>
                    <a:pt x="5417" y="4819"/>
                  </a:lnTo>
                  <a:lnTo>
                    <a:pt x="5356" y="4828"/>
                  </a:lnTo>
                  <a:lnTo>
                    <a:pt x="5331" y="4831"/>
                  </a:lnTo>
                  <a:lnTo>
                    <a:pt x="5311" y="4832"/>
                  </a:lnTo>
                  <a:lnTo>
                    <a:pt x="5304" y="4831"/>
                  </a:lnTo>
                  <a:lnTo>
                    <a:pt x="5297" y="4831"/>
                  </a:lnTo>
                  <a:lnTo>
                    <a:pt x="5293" y="4830"/>
                  </a:lnTo>
                  <a:lnTo>
                    <a:pt x="5291" y="4828"/>
                  </a:lnTo>
                  <a:lnTo>
                    <a:pt x="5277" y="4809"/>
                  </a:lnTo>
                  <a:lnTo>
                    <a:pt x="5266" y="4796"/>
                  </a:lnTo>
                  <a:lnTo>
                    <a:pt x="5260" y="4790"/>
                  </a:lnTo>
                  <a:lnTo>
                    <a:pt x="5255" y="4785"/>
                  </a:lnTo>
                  <a:lnTo>
                    <a:pt x="5250" y="4783"/>
                  </a:lnTo>
                  <a:lnTo>
                    <a:pt x="5245" y="4779"/>
                  </a:lnTo>
                  <a:lnTo>
                    <a:pt x="5232" y="4775"/>
                  </a:lnTo>
                  <a:lnTo>
                    <a:pt x="5216" y="4773"/>
                  </a:lnTo>
                  <a:lnTo>
                    <a:pt x="5195" y="4772"/>
                  </a:lnTo>
                  <a:lnTo>
                    <a:pt x="5169" y="4772"/>
                  </a:lnTo>
                  <a:lnTo>
                    <a:pt x="5157" y="4772"/>
                  </a:lnTo>
                  <a:lnTo>
                    <a:pt x="5147" y="4771"/>
                  </a:lnTo>
                  <a:lnTo>
                    <a:pt x="5136" y="4768"/>
                  </a:lnTo>
                  <a:lnTo>
                    <a:pt x="5127" y="4766"/>
                  </a:lnTo>
                  <a:lnTo>
                    <a:pt x="5118" y="4763"/>
                  </a:lnTo>
                  <a:lnTo>
                    <a:pt x="5109" y="4759"/>
                  </a:lnTo>
                  <a:lnTo>
                    <a:pt x="5101" y="4755"/>
                  </a:lnTo>
                  <a:lnTo>
                    <a:pt x="5093" y="4750"/>
                  </a:lnTo>
                  <a:lnTo>
                    <a:pt x="5079" y="4738"/>
                  </a:lnTo>
                  <a:lnTo>
                    <a:pt x="5066" y="4726"/>
                  </a:lnTo>
                  <a:lnTo>
                    <a:pt x="5052" y="4713"/>
                  </a:lnTo>
                  <a:lnTo>
                    <a:pt x="5041" y="4699"/>
                  </a:lnTo>
                  <a:lnTo>
                    <a:pt x="5029" y="4688"/>
                  </a:lnTo>
                  <a:lnTo>
                    <a:pt x="5017" y="4679"/>
                  </a:lnTo>
                  <a:lnTo>
                    <a:pt x="5004" y="4671"/>
                  </a:lnTo>
                  <a:lnTo>
                    <a:pt x="4988" y="4665"/>
                  </a:lnTo>
                  <a:lnTo>
                    <a:pt x="4973" y="4660"/>
                  </a:lnTo>
                  <a:lnTo>
                    <a:pt x="4957" y="4656"/>
                  </a:lnTo>
                  <a:lnTo>
                    <a:pt x="4940" y="4653"/>
                  </a:lnTo>
                  <a:lnTo>
                    <a:pt x="4923" y="4650"/>
                  </a:lnTo>
                  <a:lnTo>
                    <a:pt x="4889" y="4646"/>
                  </a:lnTo>
                  <a:lnTo>
                    <a:pt x="4855" y="4644"/>
                  </a:lnTo>
                  <a:lnTo>
                    <a:pt x="4824" y="4641"/>
                  </a:lnTo>
                  <a:lnTo>
                    <a:pt x="4797" y="4636"/>
                  </a:lnTo>
                  <a:lnTo>
                    <a:pt x="4759" y="4624"/>
                  </a:lnTo>
                  <a:lnTo>
                    <a:pt x="4716" y="4607"/>
                  </a:lnTo>
                  <a:lnTo>
                    <a:pt x="4694" y="4601"/>
                  </a:lnTo>
                  <a:lnTo>
                    <a:pt x="4673" y="4597"/>
                  </a:lnTo>
                  <a:lnTo>
                    <a:pt x="4664" y="4595"/>
                  </a:lnTo>
                  <a:lnTo>
                    <a:pt x="4654" y="4597"/>
                  </a:lnTo>
                  <a:lnTo>
                    <a:pt x="4644" y="4597"/>
                  </a:lnTo>
                  <a:lnTo>
                    <a:pt x="4637" y="4599"/>
                  </a:lnTo>
                  <a:lnTo>
                    <a:pt x="4616" y="4610"/>
                  </a:lnTo>
                  <a:lnTo>
                    <a:pt x="4588" y="4623"/>
                  </a:lnTo>
                  <a:lnTo>
                    <a:pt x="4557" y="4640"/>
                  </a:lnTo>
                  <a:lnTo>
                    <a:pt x="4525" y="4660"/>
                  </a:lnTo>
                  <a:lnTo>
                    <a:pt x="4494" y="4680"/>
                  </a:lnTo>
                  <a:lnTo>
                    <a:pt x="4466" y="4700"/>
                  </a:lnTo>
                  <a:lnTo>
                    <a:pt x="4455" y="4709"/>
                  </a:lnTo>
                  <a:lnTo>
                    <a:pt x="4444" y="4718"/>
                  </a:lnTo>
                  <a:lnTo>
                    <a:pt x="4435" y="4728"/>
                  </a:lnTo>
                  <a:lnTo>
                    <a:pt x="4430" y="4735"/>
                  </a:lnTo>
                  <a:lnTo>
                    <a:pt x="4429" y="4741"/>
                  </a:lnTo>
                  <a:lnTo>
                    <a:pt x="4432" y="4751"/>
                  </a:lnTo>
                  <a:lnTo>
                    <a:pt x="4436" y="4764"/>
                  </a:lnTo>
                  <a:lnTo>
                    <a:pt x="4443" y="4779"/>
                  </a:lnTo>
                  <a:lnTo>
                    <a:pt x="4449" y="4794"/>
                  </a:lnTo>
                  <a:lnTo>
                    <a:pt x="4456" y="4810"/>
                  </a:lnTo>
                  <a:lnTo>
                    <a:pt x="4460" y="4824"/>
                  </a:lnTo>
                  <a:lnTo>
                    <a:pt x="4463" y="4835"/>
                  </a:lnTo>
                  <a:lnTo>
                    <a:pt x="4460" y="4840"/>
                  </a:lnTo>
                  <a:lnTo>
                    <a:pt x="4451" y="4849"/>
                  </a:lnTo>
                  <a:lnTo>
                    <a:pt x="4438" y="4861"/>
                  </a:lnTo>
                  <a:lnTo>
                    <a:pt x="4422" y="4875"/>
                  </a:lnTo>
                  <a:lnTo>
                    <a:pt x="4405" y="4888"/>
                  </a:lnTo>
                  <a:lnTo>
                    <a:pt x="4391" y="4900"/>
                  </a:lnTo>
                  <a:lnTo>
                    <a:pt x="4379" y="4909"/>
                  </a:lnTo>
                  <a:lnTo>
                    <a:pt x="4371" y="4913"/>
                  </a:lnTo>
                  <a:lnTo>
                    <a:pt x="4358" y="4915"/>
                  </a:lnTo>
                  <a:lnTo>
                    <a:pt x="4347" y="4915"/>
                  </a:lnTo>
                  <a:lnTo>
                    <a:pt x="4340" y="4913"/>
                  </a:lnTo>
                  <a:lnTo>
                    <a:pt x="4334" y="4912"/>
                  </a:lnTo>
                  <a:lnTo>
                    <a:pt x="4332" y="4912"/>
                  </a:lnTo>
                  <a:lnTo>
                    <a:pt x="4329" y="4913"/>
                  </a:lnTo>
                  <a:lnTo>
                    <a:pt x="4327" y="4915"/>
                  </a:lnTo>
                  <a:lnTo>
                    <a:pt x="4324" y="4919"/>
                  </a:lnTo>
                  <a:lnTo>
                    <a:pt x="4319" y="4928"/>
                  </a:lnTo>
                  <a:lnTo>
                    <a:pt x="4311" y="4943"/>
                  </a:lnTo>
                  <a:lnTo>
                    <a:pt x="4303" y="4956"/>
                  </a:lnTo>
                  <a:lnTo>
                    <a:pt x="4294" y="4972"/>
                  </a:lnTo>
                  <a:lnTo>
                    <a:pt x="4283" y="4987"/>
                  </a:lnTo>
                  <a:lnTo>
                    <a:pt x="4270" y="5000"/>
                  </a:lnTo>
                  <a:lnTo>
                    <a:pt x="4256" y="5013"/>
                  </a:lnTo>
                  <a:lnTo>
                    <a:pt x="4241" y="5023"/>
                  </a:lnTo>
                  <a:lnTo>
                    <a:pt x="4234" y="5027"/>
                  </a:lnTo>
                  <a:lnTo>
                    <a:pt x="4227" y="5031"/>
                  </a:lnTo>
                  <a:lnTo>
                    <a:pt x="4219" y="5034"/>
                  </a:lnTo>
                  <a:lnTo>
                    <a:pt x="4211" y="5035"/>
                  </a:lnTo>
                  <a:lnTo>
                    <a:pt x="4194" y="5039"/>
                  </a:lnTo>
                  <a:lnTo>
                    <a:pt x="4176" y="5045"/>
                  </a:lnTo>
                  <a:lnTo>
                    <a:pt x="4159" y="5055"/>
                  </a:lnTo>
                  <a:lnTo>
                    <a:pt x="4141" y="5062"/>
                  </a:lnTo>
                  <a:lnTo>
                    <a:pt x="4122" y="5070"/>
                  </a:lnTo>
                  <a:lnTo>
                    <a:pt x="4104" y="5078"/>
                  </a:lnTo>
                  <a:lnTo>
                    <a:pt x="4095" y="5081"/>
                  </a:lnTo>
                  <a:lnTo>
                    <a:pt x="4086" y="5082"/>
                  </a:lnTo>
                  <a:lnTo>
                    <a:pt x="4075" y="5083"/>
                  </a:lnTo>
                  <a:lnTo>
                    <a:pt x="4066" y="5085"/>
                  </a:lnTo>
                  <a:lnTo>
                    <a:pt x="4034" y="5085"/>
                  </a:lnTo>
                  <a:lnTo>
                    <a:pt x="4005" y="5086"/>
                  </a:lnTo>
                  <a:lnTo>
                    <a:pt x="3992" y="5086"/>
                  </a:lnTo>
                  <a:lnTo>
                    <a:pt x="3980" y="5089"/>
                  </a:lnTo>
                  <a:lnTo>
                    <a:pt x="3968" y="5090"/>
                  </a:lnTo>
                  <a:lnTo>
                    <a:pt x="3958" y="5093"/>
                  </a:lnTo>
                  <a:lnTo>
                    <a:pt x="3947" y="5096"/>
                  </a:lnTo>
                  <a:lnTo>
                    <a:pt x="3937" y="5102"/>
                  </a:lnTo>
                  <a:lnTo>
                    <a:pt x="3926" y="5107"/>
                  </a:lnTo>
                  <a:lnTo>
                    <a:pt x="3916" y="5113"/>
                  </a:lnTo>
                  <a:lnTo>
                    <a:pt x="3905" y="5121"/>
                  </a:lnTo>
                  <a:lnTo>
                    <a:pt x="3895" y="5130"/>
                  </a:lnTo>
                  <a:lnTo>
                    <a:pt x="3883" y="5141"/>
                  </a:lnTo>
                  <a:lnTo>
                    <a:pt x="3871" y="5153"/>
                  </a:lnTo>
                  <a:lnTo>
                    <a:pt x="3860" y="5163"/>
                  </a:lnTo>
                  <a:lnTo>
                    <a:pt x="3848" y="5171"/>
                  </a:lnTo>
                  <a:lnTo>
                    <a:pt x="3835" y="5178"/>
                  </a:lnTo>
                  <a:lnTo>
                    <a:pt x="3822" y="5183"/>
                  </a:lnTo>
                  <a:lnTo>
                    <a:pt x="3795" y="5192"/>
                  </a:lnTo>
                  <a:lnTo>
                    <a:pt x="3767" y="5205"/>
                  </a:lnTo>
                  <a:lnTo>
                    <a:pt x="3738" y="5229"/>
                  </a:lnTo>
                  <a:lnTo>
                    <a:pt x="3687" y="5273"/>
                  </a:lnTo>
                  <a:lnTo>
                    <a:pt x="3635" y="5320"/>
                  </a:lnTo>
                  <a:lnTo>
                    <a:pt x="3601" y="5349"/>
                  </a:lnTo>
                  <a:lnTo>
                    <a:pt x="3584" y="5361"/>
                  </a:lnTo>
                  <a:lnTo>
                    <a:pt x="3563" y="5372"/>
                  </a:lnTo>
                  <a:lnTo>
                    <a:pt x="3539" y="5384"/>
                  </a:lnTo>
                  <a:lnTo>
                    <a:pt x="3514" y="5396"/>
                  </a:lnTo>
                  <a:lnTo>
                    <a:pt x="3491" y="5408"/>
                  </a:lnTo>
                  <a:lnTo>
                    <a:pt x="3470" y="5418"/>
                  </a:lnTo>
                  <a:lnTo>
                    <a:pt x="3461" y="5423"/>
                  </a:lnTo>
                  <a:lnTo>
                    <a:pt x="3453" y="5430"/>
                  </a:lnTo>
                  <a:lnTo>
                    <a:pt x="3446" y="5435"/>
                  </a:lnTo>
                  <a:lnTo>
                    <a:pt x="3442" y="5440"/>
                  </a:lnTo>
                  <a:lnTo>
                    <a:pt x="3436" y="5450"/>
                  </a:lnTo>
                  <a:lnTo>
                    <a:pt x="3429" y="5456"/>
                  </a:lnTo>
                  <a:lnTo>
                    <a:pt x="3424" y="5461"/>
                  </a:lnTo>
                  <a:lnTo>
                    <a:pt x="3420" y="5464"/>
                  </a:lnTo>
                  <a:lnTo>
                    <a:pt x="3415" y="5465"/>
                  </a:lnTo>
                  <a:lnTo>
                    <a:pt x="3411" y="5467"/>
                  </a:lnTo>
                  <a:lnTo>
                    <a:pt x="3408" y="5465"/>
                  </a:lnTo>
                  <a:lnTo>
                    <a:pt x="3404" y="5463"/>
                  </a:lnTo>
                  <a:lnTo>
                    <a:pt x="3391" y="5448"/>
                  </a:lnTo>
                  <a:lnTo>
                    <a:pt x="3373" y="5427"/>
                  </a:lnTo>
                  <a:lnTo>
                    <a:pt x="3349" y="5406"/>
                  </a:lnTo>
                  <a:lnTo>
                    <a:pt x="3327" y="5389"/>
                  </a:lnTo>
                  <a:lnTo>
                    <a:pt x="3315" y="5383"/>
                  </a:lnTo>
                  <a:lnTo>
                    <a:pt x="3302" y="5375"/>
                  </a:lnTo>
                  <a:lnTo>
                    <a:pt x="3289" y="5369"/>
                  </a:lnTo>
                  <a:lnTo>
                    <a:pt x="3274" y="5362"/>
                  </a:lnTo>
                  <a:lnTo>
                    <a:pt x="3232" y="5348"/>
                  </a:lnTo>
                  <a:lnTo>
                    <a:pt x="3190" y="5332"/>
                  </a:lnTo>
                  <a:lnTo>
                    <a:pt x="3170" y="5324"/>
                  </a:lnTo>
                  <a:lnTo>
                    <a:pt x="3149" y="5316"/>
                  </a:lnTo>
                  <a:lnTo>
                    <a:pt x="3131" y="5306"/>
                  </a:lnTo>
                  <a:lnTo>
                    <a:pt x="3113" y="5297"/>
                  </a:lnTo>
                  <a:lnTo>
                    <a:pt x="3110" y="5294"/>
                  </a:lnTo>
                  <a:lnTo>
                    <a:pt x="3110" y="5293"/>
                  </a:lnTo>
                  <a:lnTo>
                    <a:pt x="3104" y="5290"/>
                  </a:lnTo>
                  <a:lnTo>
                    <a:pt x="3098" y="5287"/>
                  </a:lnTo>
                  <a:lnTo>
                    <a:pt x="3090" y="5286"/>
                  </a:lnTo>
                  <a:lnTo>
                    <a:pt x="3084" y="5285"/>
                  </a:lnTo>
                  <a:lnTo>
                    <a:pt x="3079" y="5285"/>
                  </a:lnTo>
                  <a:lnTo>
                    <a:pt x="3075" y="5287"/>
                  </a:lnTo>
                  <a:lnTo>
                    <a:pt x="3071" y="5291"/>
                  </a:lnTo>
                  <a:lnTo>
                    <a:pt x="3068" y="5295"/>
                  </a:lnTo>
                  <a:lnTo>
                    <a:pt x="3064" y="5299"/>
                  </a:lnTo>
                  <a:lnTo>
                    <a:pt x="3062" y="5304"/>
                  </a:lnTo>
                  <a:lnTo>
                    <a:pt x="3058" y="5307"/>
                  </a:lnTo>
                  <a:lnTo>
                    <a:pt x="3054" y="5310"/>
                  </a:lnTo>
                  <a:lnTo>
                    <a:pt x="3016" y="5327"/>
                  </a:lnTo>
                  <a:lnTo>
                    <a:pt x="3012" y="5329"/>
                  </a:lnTo>
                  <a:lnTo>
                    <a:pt x="3008" y="5335"/>
                  </a:lnTo>
                  <a:lnTo>
                    <a:pt x="3005" y="5340"/>
                  </a:lnTo>
                  <a:lnTo>
                    <a:pt x="3003" y="5345"/>
                  </a:lnTo>
                  <a:lnTo>
                    <a:pt x="3002" y="5352"/>
                  </a:lnTo>
                  <a:lnTo>
                    <a:pt x="3002" y="5357"/>
                  </a:lnTo>
                  <a:lnTo>
                    <a:pt x="3002" y="5361"/>
                  </a:lnTo>
                  <a:lnTo>
                    <a:pt x="3004" y="5363"/>
                  </a:lnTo>
                  <a:lnTo>
                    <a:pt x="3004" y="5365"/>
                  </a:lnTo>
                  <a:lnTo>
                    <a:pt x="3004" y="5366"/>
                  </a:lnTo>
                  <a:lnTo>
                    <a:pt x="3007" y="5376"/>
                  </a:lnTo>
                  <a:lnTo>
                    <a:pt x="3005" y="5387"/>
                  </a:lnTo>
                  <a:lnTo>
                    <a:pt x="3002" y="5393"/>
                  </a:lnTo>
                  <a:lnTo>
                    <a:pt x="2996" y="5400"/>
                  </a:lnTo>
                  <a:lnTo>
                    <a:pt x="2991" y="5405"/>
                  </a:lnTo>
                  <a:lnTo>
                    <a:pt x="2987" y="5412"/>
                  </a:lnTo>
                  <a:lnTo>
                    <a:pt x="2986" y="5413"/>
                  </a:lnTo>
                  <a:lnTo>
                    <a:pt x="2985" y="5413"/>
                  </a:lnTo>
                  <a:lnTo>
                    <a:pt x="2983" y="5413"/>
                  </a:lnTo>
                  <a:lnTo>
                    <a:pt x="2969" y="5434"/>
                  </a:lnTo>
                  <a:lnTo>
                    <a:pt x="2968" y="5435"/>
                  </a:lnTo>
                  <a:lnTo>
                    <a:pt x="2966" y="5437"/>
                  </a:lnTo>
                  <a:lnTo>
                    <a:pt x="2964" y="5443"/>
                  </a:lnTo>
                  <a:lnTo>
                    <a:pt x="2962" y="5448"/>
                  </a:lnTo>
                  <a:lnTo>
                    <a:pt x="2960" y="5455"/>
                  </a:lnTo>
                  <a:lnTo>
                    <a:pt x="2957" y="5460"/>
                  </a:lnTo>
                  <a:lnTo>
                    <a:pt x="2956" y="5465"/>
                  </a:lnTo>
                  <a:lnTo>
                    <a:pt x="2954" y="5471"/>
                  </a:lnTo>
                  <a:lnTo>
                    <a:pt x="2952" y="5476"/>
                  </a:lnTo>
                  <a:lnTo>
                    <a:pt x="2949" y="5477"/>
                  </a:lnTo>
                  <a:lnTo>
                    <a:pt x="2947" y="5477"/>
                  </a:lnTo>
                  <a:lnTo>
                    <a:pt x="2944" y="5477"/>
                  </a:lnTo>
                  <a:lnTo>
                    <a:pt x="2943" y="5476"/>
                  </a:lnTo>
                  <a:lnTo>
                    <a:pt x="2935" y="5471"/>
                  </a:lnTo>
                  <a:lnTo>
                    <a:pt x="2927" y="5464"/>
                  </a:lnTo>
                  <a:lnTo>
                    <a:pt x="2923" y="5461"/>
                  </a:lnTo>
                  <a:lnTo>
                    <a:pt x="2919" y="5460"/>
                  </a:lnTo>
                  <a:lnTo>
                    <a:pt x="2913" y="5457"/>
                  </a:lnTo>
                  <a:lnTo>
                    <a:pt x="2909" y="5455"/>
                  </a:lnTo>
                  <a:lnTo>
                    <a:pt x="2907" y="5455"/>
                  </a:lnTo>
                  <a:lnTo>
                    <a:pt x="2901" y="5452"/>
                  </a:lnTo>
                  <a:lnTo>
                    <a:pt x="2896" y="5448"/>
                  </a:lnTo>
                  <a:lnTo>
                    <a:pt x="2894" y="5446"/>
                  </a:lnTo>
                  <a:lnTo>
                    <a:pt x="2893" y="5443"/>
                  </a:lnTo>
                  <a:lnTo>
                    <a:pt x="2890" y="5443"/>
                  </a:lnTo>
                  <a:lnTo>
                    <a:pt x="2888" y="5442"/>
                  </a:lnTo>
                  <a:lnTo>
                    <a:pt x="2884" y="5442"/>
                  </a:lnTo>
                  <a:lnTo>
                    <a:pt x="2884" y="5443"/>
                  </a:lnTo>
                  <a:lnTo>
                    <a:pt x="2882" y="5443"/>
                  </a:lnTo>
                  <a:lnTo>
                    <a:pt x="2877" y="5444"/>
                  </a:lnTo>
                  <a:lnTo>
                    <a:pt x="2872" y="5447"/>
                  </a:lnTo>
                  <a:lnTo>
                    <a:pt x="2867" y="5451"/>
                  </a:lnTo>
                  <a:lnTo>
                    <a:pt x="2863" y="5455"/>
                  </a:lnTo>
                  <a:lnTo>
                    <a:pt x="2852" y="5459"/>
                  </a:lnTo>
                  <a:lnTo>
                    <a:pt x="2831" y="5463"/>
                  </a:lnTo>
                  <a:lnTo>
                    <a:pt x="2811" y="5467"/>
                  </a:lnTo>
                  <a:lnTo>
                    <a:pt x="2796" y="5469"/>
                  </a:lnTo>
                  <a:lnTo>
                    <a:pt x="2787" y="5472"/>
                  </a:lnTo>
                  <a:lnTo>
                    <a:pt x="2777" y="5472"/>
                  </a:lnTo>
                  <a:lnTo>
                    <a:pt x="2774" y="5471"/>
                  </a:lnTo>
                  <a:lnTo>
                    <a:pt x="2771" y="5471"/>
                  </a:lnTo>
                  <a:lnTo>
                    <a:pt x="2746" y="5471"/>
                  </a:lnTo>
                  <a:lnTo>
                    <a:pt x="2727" y="5472"/>
                  </a:lnTo>
                  <a:lnTo>
                    <a:pt x="2719" y="5474"/>
                  </a:lnTo>
                  <a:lnTo>
                    <a:pt x="2711" y="5478"/>
                  </a:lnTo>
                  <a:lnTo>
                    <a:pt x="2705" y="5482"/>
                  </a:lnTo>
                  <a:lnTo>
                    <a:pt x="2697" y="5489"/>
                  </a:lnTo>
                  <a:lnTo>
                    <a:pt x="2693" y="5495"/>
                  </a:lnTo>
                  <a:lnTo>
                    <a:pt x="2688" y="5503"/>
                  </a:lnTo>
                  <a:lnTo>
                    <a:pt x="2684" y="5512"/>
                  </a:lnTo>
                  <a:lnTo>
                    <a:pt x="2681" y="5522"/>
                  </a:lnTo>
                  <a:lnTo>
                    <a:pt x="2678" y="5531"/>
                  </a:lnTo>
                  <a:lnTo>
                    <a:pt x="2678" y="5537"/>
                  </a:lnTo>
                  <a:lnTo>
                    <a:pt x="2680" y="5541"/>
                  </a:lnTo>
                  <a:lnTo>
                    <a:pt x="2681" y="5543"/>
                  </a:lnTo>
                  <a:lnTo>
                    <a:pt x="2682" y="5544"/>
                  </a:lnTo>
                  <a:lnTo>
                    <a:pt x="2685" y="5545"/>
                  </a:lnTo>
                  <a:lnTo>
                    <a:pt x="2688" y="5545"/>
                  </a:lnTo>
                  <a:lnTo>
                    <a:pt x="2693" y="5548"/>
                  </a:lnTo>
                  <a:lnTo>
                    <a:pt x="2697" y="5552"/>
                  </a:lnTo>
                  <a:lnTo>
                    <a:pt x="2698" y="5552"/>
                  </a:lnTo>
                  <a:lnTo>
                    <a:pt x="2699" y="5553"/>
                  </a:lnTo>
                  <a:lnTo>
                    <a:pt x="2699" y="5553"/>
                  </a:lnTo>
                  <a:lnTo>
                    <a:pt x="2701" y="5553"/>
                  </a:lnTo>
                  <a:lnTo>
                    <a:pt x="2702" y="5554"/>
                  </a:lnTo>
                  <a:lnTo>
                    <a:pt x="2702" y="5554"/>
                  </a:lnTo>
                  <a:lnTo>
                    <a:pt x="2705" y="5556"/>
                  </a:lnTo>
                  <a:lnTo>
                    <a:pt x="2706" y="5557"/>
                  </a:lnTo>
                  <a:lnTo>
                    <a:pt x="2712" y="5561"/>
                  </a:lnTo>
                  <a:lnTo>
                    <a:pt x="2720" y="5565"/>
                  </a:lnTo>
                  <a:lnTo>
                    <a:pt x="2723" y="5567"/>
                  </a:lnTo>
                  <a:lnTo>
                    <a:pt x="2727" y="5570"/>
                  </a:lnTo>
                  <a:lnTo>
                    <a:pt x="2729" y="5570"/>
                  </a:lnTo>
                  <a:lnTo>
                    <a:pt x="2732" y="5571"/>
                  </a:lnTo>
                  <a:lnTo>
                    <a:pt x="2733" y="5573"/>
                  </a:lnTo>
                  <a:lnTo>
                    <a:pt x="2735" y="5573"/>
                  </a:lnTo>
                  <a:lnTo>
                    <a:pt x="2741" y="5575"/>
                  </a:lnTo>
                  <a:lnTo>
                    <a:pt x="2746" y="5578"/>
                  </a:lnTo>
                  <a:lnTo>
                    <a:pt x="2746" y="5578"/>
                  </a:lnTo>
                  <a:lnTo>
                    <a:pt x="2748" y="5579"/>
                  </a:lnTo>
                  <a:lnTo>
                    <a:pt x="2756" y="5583"/>
                  </a:lnTo>
                  <a:lnTo>
                    <a:pt x="2763" y="5586"/>
                  </a:lnTo>
                  <a:lnTo>
                    <a:pt x="2769" y="5590"/>
                  </a:lnTo>
                  <a:lnTo>
                    <a:pt x="2777" y="5595"/>
                  </a:lnTo>
                  <a:lnTo>
                    <a:pt x="2782" y="5600"/>
                  </a:lnTo>
                  <a:lnTo>
                    <a:pt x="2784" y="5605"/>
                  </a:lnTo>
                  <a:lnTo>
                    <a:pt x="2784" y="5607"/>
                  </a:lnTo>
                  <a:lnTo>
                    <a:pt x="2786" y="5608"/>
                  </a:lnTo>
                  <a:lnTo>
                    <a:pt x="2787" y="5608"/>
                  </a:lnTo>
                  <a:lnTo>
                    <a:pt x="2787" y="5609"/>
                  </a:lnTo>
                  <a:lnTo>
                    <a:pt x="2787" y="5611"/>
                  </a:lnTo>
                  <a:lnTo>
                    <a:pt x="2784" y="5611"/>
                  </a:lnTo>
                  <a:lnTo>
                    <a:pt x="2784" y="5611"/>
                  </a:lnTo>
                  <a:lnTo>
                    <a:pt x="2784" y="5612"/>
                  </a:lnTo>
                  <a:lnTo>
                    <a:pt x="2782" y="5613"/>
                  </a:lnTo>
                  <a:lnTo>
                    <a:pt x="2780" y="5613"/>
                  </a:lnTo>
                  <a:lnTo>
                    <a:pt x="2779" y="5613"/>
                  </a:lnTo>
                  <a:lnTo>
                    <a:pt x="2779" y="5614"/>
                  </a:lnTo>
                  <a:lnTo>
                    <a:pt x="2778" y="5614"/>
                  </a:lnTo>
                  <a:lnTo>
                    <a:pt x="2777" y="5614"/>
                  </a:lnTo>
                  <a:lnTo>
                    <a:pt x="2774" y="5616"/>
                  </a:lnTo>
                  <a:lnTo>
                    <a:pt x="2773" y="5617"/>
                  </a:lnTo>
                  <a:lnTo>
                    <a:pt x="2770" y="5617"/>
                  </a:lnTo>
                  <a:lnTo>
                    <a:pt x="2770" y="5618"/>
                  </a:lnTo>
                  <a:lnTo>
                    <a:pt x="2766" y="5621"/>
                  </a:lnTo>
                  <a:lnTo>
                    <a:pt x="2762" y="5624"/>
                  </a:lnTo>
                  <a:lnTo>
                    <a:pt x="2760" y="5625"/>
                  </a:lnTo>
                  <a:lnTo>
                    <a:pt x="2758" y="5625"/>
                  </a:lnTo>
                  <a:lnTo>
                    <a:pt x="2745" y="5633"/>
                  </a:lnTo>
                  <a:lnTo>
                    <a:pt x="2735" y="5643"/>
                  </a:lnTo>
                  <a:lnTo>
                    <a:pt x="2733" y="5646"/>
                  </a:lnTo>
                  <a:lnTo>
                    <a:pt x="2732" y="5648"/>
                  </a:lnTo>
                  <a:lnTo>
                    <a:pt x="2732" y="5648"/>
                  </a:lnTo>
                  <a:lnTo>
                    <a:pt x="2732" y="5650"/>
                  </a:lnTo>
                  <a:lnTo>
                    <a:pt x="2731" y="5651"/>
                  </a:lnTo>
                  <a:lnTo>
                    <a:pt x="2731" y="5651"/>
                  </a:lnTo>
                  <a:lnTo>
                    <a:pt x="2731" y="5652"/>
                  </a:lnTo>
                  <a:lnTo>
                    <a:pt x="2729" y="5652"/>
                  </a:lnTo>
                  <a:lnTo>
                    <a:pt x="2729" y="5658"/>
                  </a:lnTo>
                  <a:lnTo>
                    <a:pt x="2728" y="5662"/>
                  </a:lnTo>
                  <a:lnTo>
                    <a:pt x="2728" y="5667"/>
                  </a:lnTo>
                  <a:lnTo>
                    <a:pt x="2727" y="5671"/>
                  </a:lnTo>
                  <a:lnTo>
                    <a:pt x="2724" y="5675"/>
                  </a:lnTo>
                  <a:lnTo>
                    <a:pt x="2723" y="5677"/>
                  </a:lnTo>
                  <a:lnTo>
                    <a:pt x="2714" y="5679"/>
                  </a:lnTo>
                  <a:lnTo>
                    <a:pt x="2706" y="5679"/>
                  </a:lnTo>
                  <a:lnTo>
                    <a:pt x="2692" y="5681"/>
                  </a:lnTo>
                  <a:lnTo>
                    <a:pt x="2668" y="5685"/>
                  </a:lnTo>
                  <a:lnTo>
                    <a:pt x="2655" y="5686"/>
                  </a:lnTo>
                  <a:lnTo>
                    <a:pt x="2644" y="5686"/>
                  </a:lnTo>
                  <a:lnTo>
                    <a:pt x="2635" y="5686"/>
                  </a:lnTo>
                  <a:lnTo>
                    <a:pt x="2631" y="5684"/>
                  </a:lnTo>
                  <a:lnTo>
                    <a:pt x="2625" y="5681"/>
                  </a:lnTo>
                  <a:lnTo>
                    <a:pt x="2618" y="5681"/>
                  </a:lnTo>
                  <a:lnTo>
                    <a:pt x="2610" y="5681"/>
                  </a:lnTo>
                  <a:lnTo>
                    <a:pt x="2605" y="5682"/>
                  </a:lnTo>
                  <a:lnTo>
                    <a:pt x="2601" y="5685"/>
                  </a:lnTo>
                  <a:lnTo>
                    <a:pt x="2596" y="5688"/>
                  </a:lnTo>
                  <a:lnTo>
                    <a:pt x="2595" y="5689"/>
                  </a:lnTo>
                  <a:lnTo>
                    <a:pt x="2595" y="5690"/>
                  </a:lnTo>
                  <a:lnTo>
                    <a:pt x="2595" y="5693"/>
                  </a:lnTo>
                  <a:lnTo>
                    <a:pt x="2593" y="5698"/>
                  </a:lnTo>
                  <a:lnTo>
                    <a:pt x="2591" y="5702"/>
                  </a:lnTo>
                  <a:lnTo>
                    <a:pt x="2589" y="5705"/>
                  </a:lnTo>
                  <a:lnTo>
                    <a:pt x="2589" y="5706"/>
                  </a:lnTo>
                  <a:lnTo>
                    <a:pt x="2587" y="5711"/>
                  </a:lnTo>
                  <a:lnTo>
                    <a:pt x="2582" y="5715"/>
                  </a:lnTo>
                  <a:lnTo>
                    <a:pt x="2575" y="5718"/>
                  </a:lnTo>
                  <a:lnTo>
                    <a:pt x="2567" y="5719"/>
                  </a:lnTo>
                  <a:lnTo>
                    <a:pt x="2566" y="5719"/>
                  </a:lnTo>
                  <a:lnTo>
                    <a:pt x="2563" y="5718"/>
                  </a:lnTo>
                  <a:lnTo>
                    <a:pt x="2562" y="5715"/>
                  </a:lnTo>
                  <a:lnTo>
                    <a:pt x="2559" y="5715"/>
                  </a:lnTo>
                  <a:lnTo>
                    <a:pt x="2559" y="5714"/>
                  </a:lnTo>
                  <a:lnTo>
                    <a:pt x="2559" y="5713"/>
                  </a:lnTo>
                  <a:lnTo>
                    <a:pt x="2555" y="5710"/>
                  </a:lnTo>
                  <a:lnTo>
                    <a:pt x="2552" y="5707"/>
                  </a:lnTo>
                  <a:lnTo>
                    <a:pt x="2549" y="5707"/>
                  </a:lnTo>
                  <a:lnTo>
                    <a:pt x="2545" y="5707"/>
                  </a:lnTo>
                  <a:lnTo>
                    <a:pt x="2541" y="5707"/>
                  </a:lnTo>
                  <a:lnTo>
                    <a:pt x="2538" y="5710"/>
                  </a:lnTo>
                  <a:lnTo>
                    <a:pt x="2537" y="5710"/>
                  </a:lnTo>
                  <a:lnTo>
                    <a:pt x="2536" y="5710"/>
                  </a:lnTo>
                  <a:lnTo>
                    <a:pt x="2528" y="5710"/>
                  </a:lnTo>
                  <a:lnTo>
                    <a:pt x="2520" y="5707"/>
                  </a:lnTo>
                  <a:lnTo>
                    <a:pt x="2518" y="5707"/>
                  </a:lnTo>
                  <a:lnTo>
                    <a:pt x="2515" y="5706"/>
                  </a:lnTo>
                  <a:lnTo>
                    <a:pt x="2514" y="5705"/>
                  </a:lnTo>
                  <a:lnTo>
                    <a:pt x="2514" y="5702"/>
                  </a:lnTo>
                  <a:lnTo>
                    <a:pt x="2514" y="5702"/>
                  </a:lnTo>
                  <a:lnTo>
                    <a:pt x="2512" y="5702"/>
                  </a:lnTo>
                  <a:lnTo>
                    <a:pt x="2511" y="5701"/>
                  </a:lnTo>
                  <a:lnTo>
                    <a:pt x="2511" y="5699"/>
                  </a:lnTo>
                  <a:lnTo>
                    <a:pt x="2511" y="5697"/>
                  </a:lnTo>
                  <a:lnTo>
                    <a:pt x="2510" y="5696"/>
                  </a:lnTo>
                  <a:lnTo>
                    <a:pt x="2510" y="5694"/>
                  </a:lnTo>
                  <a:lnTo>
                    <a:pt x="2510" y="5693"/>
                  </a:lnTo>
                  <a:lnTo>
                    <a:pt x="2507" y="5681"/>
                  </a:lnTo>
                  <a:lnTo>
                    <a:pt x="2504" y="5663"/>
                  </a:lnTo>
                  <a:lnTo>
                    <a:pt x="2502" y="5646"/>
                  </a:lnTo>
                  <a:lnTo>
                    <a:pt x="2501" y="5637"/>
                  </a:lnTo>
                  <a:lnTo>
                    <a:pt x="2498" y="5633"/>
                  </a:lnTo>
                  <a:lnTo>
                    <a:pt x="2494" y="5630"/>
                  </a:lnTo>
                  <a:lnTo>
                    <a:pt x="2493" y="5629"/>
                  </a:lnTo>
                  <a:lnTo>
                    <a:pt x="2491" y="5629"/>
                  </a:lnTo>
                  <a:lnTo>
                    <a:pt x="2485" y="5630"/>
                  </a:lnTo>
                  <a:lnTo>
                    <a:pt x="2478" y="5631"/>
                  </a:lnTo>
                  <a:lnTo>
                    <a:pt x="2477" y="5631"/>
                  </a:lnTo>
                  <a:lnTo>
                    <a:pt x="2474" y="5633"/>
                  </a:lnTo>
                  <a:lnTo>
                    <a:pt x="2473" y="5634"/>
                  </a:lnTo>
                  <a:lnTo>
                    <a:pt x="2469" y="5635"/>
                  </a:lnTo>
                  <a:lnTo>
                    <a:pt x="2465" y="5637"/>
                  </a:lnTo>
                  <a:lnTo>
                    <a:pt x="2459" y="5647"/>
                  </a:lnTo>
                  <a:lnTo>
                    <a:pt x="2450" y="5658"/>
                  </a:lnTo>
                  <a:lnTo>
                    <a:pt x="2444" y="5663"/>
                  </a:lnTo>
                  <a:lnTo>
                    <a:pt x="2439" y="5667"/>
                  </a:lnTo>
                  <a:lnTo>
                    <a:pt x="2434" y="5669"/>
                  </a:lnTo>
                  <a:lnTo>
                    <a:pt x="2430" y="5671"/>
                  </a:lnTo>
                  <a:lnTo>
                    <a:pt x="2427" y="5671"/>
                  </a:lnTo>
                  <a:lnTo>
                    <a:pt x="2427" y="5671"/>
                  </a:lnTo>
                  <a:lnTo>
                    <a:pt x="2427" y="5672"/>
                  </a:lnTo>
                  <a:lnTo>
                    <a:pt x="2425" y="5672"/>
                  </a:lnTo>
                  <a:lnTo>
                    <a:pt x="2423" y="5672"/>
                  </a:lnTo>
                  <a:lnTo>
                    <a:pt x="2422" y="5671"/>
                  </a:lnTo>
                  <a:lnTo>
                    <a:pt x="2421" y="5671"/>
                  </a:lnTo>
                  <a:lnTo>
                    <a:pt x="2417" y="5671"/>
                  </a:lnTo>
                  <a:lnTo>
                    <a:pt x="2416" y="5669"/>
                  </a:lnTo>
                  <a:lnTo>
                    <a:pt x="2413" y="5667"/>
                  </a:lnTo>
                  <a:lnTo>
                    <a:pt x="2412" y="5663"/>
                  </a:lnTo>
                  <a:lnTo>
                    <a:pt x="2409" y="5660"/>
                  </a:lnTo>
                  <a:lnTo>
                    <a:pt x="2406" y="5660"/>
                  </a:lnTo>
                  <a:lnTo>
                    <a:pt x="2404" y="5660"/>
                  </a:lnTo>
                  <a:lnTo>
                    <a:pt x="2393" y="5655"/>
                  </a:lnTo>
                  <a:lnTo>
                    <a:pt x="2385" y="5650"/>
                  </a:lnTo>
                  <a:lnTo>
                    <a:pt x="2380" y="5648"/>
                  </a:lnTo>
                  <a:lnTo>
                    <a:pt x="2374" y="5645"/>
                  </a:lnTo>
                  <a:lnTo>
                    <a:pt x="2366" y="5639"/>
                  </a:lnTo>
                  <a:lnTo>
                    <a:pt x="2358" y="5635"/>
                  </a:lnTo>
                  <a:lnTo>
                    <a:pt x="2350" y="5633"/>
                  </a:lnTo>
                  <a:lnTo>
                    <a:pt x="2341" y="5630"/>
                  </a:lnTo>
                  <a:lnTo>
                    <a:pt x="2333" y="5629"/>
                  </a:lnTo>
                  <a:lnTo>
                    <a:pt x="2324" y="5629"/>
                  </a:lnTo>
                  <a:lnTo>
                    <a:pt x="2314" y="5629"/>
                  </a:lnTo>
                  <a:lnTo>
                    <a:pt x="2304" y="5630"/>
                  </a:lnTo>
                  <a:lnTo>
                    <a:pt x="2285" y="5634"/>
                  </a:lnTo>
                  <a:lnTo>
                    <a:pt x="2265" y="5641"/>
                  </a:lnTo>
                  <a:lnTo>
                    <a:pt x="2244" y="5648"/>
                  </a:lnTo>
                  <a:lnTo>
                    <a:pt x="2223" y="5659"/>
                  </a:lnTo>
                  <a:lnTo>
                    <a:pt x="2184" y="5681"/>
                  </a:lnTo>
                  <a:lnTo>
                    <a:pt x="2145" y="5706"/>
                  </a:lnTo>
                  <a:lnTo>
                    <a:pt x="2111" y="5730"/>
                  </a:lnTo>
                  <a:lnTo>
                    <a:pt x="2081" y="5748"/>
                  </a:lnTo>
                  <a:lnTo>
                    <a:pt x="2057" y="5764"/>
                  </a:lnTo>
                  <a:lnTo>
                    <a:pt x="2023" y="5788"/>
                  </a:lnTo>
                  <a:lnTo>
                    <a:pt x="1983" y="5816"/>
                  </a:lnTo>
                  <a:lnTo>
                    <a:pt x="1938" y="5842"/>
                  </a:lnTo>
                  <a:lnTo>
                    <a:pt x="1916" y="5854"/>
                  </a:lnTo>
                  <a:lnTo>
                    <a:pt x="1895" y="5863"/>
                  </a:lnTo>
                  <a:lnTo>
                    <a:pt x="1884" y="5867"/>
                  </a:lnTo>
                  <a:lnTo>
                    <a:pt x="1875" y="5870"/>
                  </a:lnTo>
                  <a:lnTo>
                    <a:pt x="1866" y="5872"/>
                  </a:lnTo>
                  <a:lnTo>
                    <a:pt x="1857" y="5873"/>
                  </a:lnTo>
                  <a:lnTo>
                    <a:pt x="1849" y="5873"/>
                  </a:lnTo>
                  <a:lnTo>
                    <a:pt x="1841" y="5872"/>
                  </a:lnTo>
                  <a:lnTo>
                    <a:pt x="1833" y="5871"/>
                  </a:lnTo>
                  <a:lnTo>
                    <a:pt x="1828" y="5868"/>
                  </a:lnTo>
                  <a:lnTo>
                    <a:pt x="1823" y="5863"/>
                  </a:lnTo>
                  <a:lnTo>
                    <a:pt x="1818" y="5858"/>
                  </a:lnTo>
                  <a:lnTo>
                    <a:pt x="1814" y="5851"/>
                  </a:lnTo>
                  <a:lnTo>
                    <a:pt x="1811" y="5843"/>
                  </a:lnTo>
                  <a:lnTo>
                    <a:pt x="1810" y="5833"/>
                  </a:lnTo>
                  <a:lnTo>
                    <a:pt x="1810" y="5822"/>
                  </a:lnTo>
                  <a:lnTo>
                    <a:pt x="1811" y="5809"/>
                  </a:lnTo>
                  <a:lnTo>
                    <a:pt x="1811" y="5795"/>
                  </a:lnTo>
                  <a:lnTo>
                    <a:pt x="1814" y="5765"/>
                  </a:lnTo>
                  <a:lnTo>
                    <a:pt x="1816" y="5736"/>
                  </a:lnTo>
                  <a:lnTo>
                    <a:pt x="1816" y="5723"/>
                  </a:lnTo>
                  <a:lnTo>
                    <a:pt x="1816" y="5713"/>
                  </a:lnTo>
                  <a:lnTo>
                    <a:pt x="1814" y="5705"/>
                  </a:lnTo>
                  <a:lnTo>
                    <a:pt x="1811" y="5698"/>
                  </a:lnTo>
                  <a:lnTo>
                    <a:pt x="1810" y="5697"/>
                  </a:lnTo>
                  <a:lnTo>
                    <a:pt x="1807" y="5696"/>
                  </a:lnTo>
                  <a:lnTo>
                    <a:pt x="1803" y="5697"/>
                  </a:lnTo>
                  <a:lnTo>
                    <a:pt x="1801" y="5698"/>
                  </a:lnTo>
                  <a:lnTo>
                    <a:pt x="1793" y="5703"/>
                  </a:lnTo>
                  <a:lnTo>
                    <a:pt x="1782" y="5714"/>
                  </a:lnTo>
                  <a:lnTo>
                    <a:pt x="1775" y="5720"/>
                  </a:lnTo>
                  <a:lnTo>
                    <a:pt x="1768" y="5727"/>
                  </a:lnTo>
                  <a:lnTo>
                    <a:pt x="1760" y="5733"/>
                  </a:lnTo>
                  <a:lnTo>
                    <a:pt x="1754" y="5737"/>
                  </a:lnTo>
                  <a:lnTo>
                    <a:pt x="1738" y="5745"/>
                  </a:lnTo>
                  <a:lnTo>
                    <a:pt x="1724" y="5750"/>
                  </a:lnTo>
                  <a:lnTo>
                    <a:pt x="1695" y="5756"/>
                  </a:lnTo>
                  <a:lnTo>
                    <a:pt x="1667" y="5761"/>
                  </a:lnTo>
                  <a:lnTo>
                    <a:pt x="1654" y="5765"/>
                  </a:lnTo>
                  <a:lnTo>
                    <a:pt x="1644" y="5770"/>
                  </a:lnTo>
                  <a:lnTo>
                    <a:pt x="1639" y="5774"/>
                  </a:lnTo>
                  <a:lnTo>
                    <a:pt x="1633" y="5779"/>
                  </a:lnTo>
                  <a:lnTo>
                    <a:pt x="1629" y="5785"/>
                  </a:lnTo>
                  <a:lnTo>
                    <a:pt x="1624" y="5790"/>
                  </a:lnTo>
                  <a:lnTo>
                    <a:pt x="1622" y="5798"/>
                  </a:lnTo>
                  <a:lnTo>
                    <a:pt x="1618" y="5805"/>
                  </a:lnTo>
                  <a:lnTo>
                    <a:pt x="1615" y="5815"/>
                  </a:lnTo>
                  <a:lnTo>
                    <a:pt x="1612" y="5825"/>
                  </a:lnTo>
                  <a:lnTo>
                    <a:pt x="1611" y="5837"/>
                  </a:lnTo>
                  <a:lnTo>
                    <a:pt x="1610" y="5850"/>
                  </a:lnTo>
                  <a:lnTo>
                    <a:pt x="1608" y="5864"/>
                  </a:lnTo>
                  <a:lnTo>
                    <a:pt x="1608" y="5881"/>
                  </a:lnTo>
                  <a:lnTo>
                    <a:pt x="1607" y="5892"/>
                  </a:lnTo>
                  <a:lnTo>
                    <a:pt x="1606" y="5902"/>
                  </a:lnTo>
                  <a:lnTo>
                    <a:pt x="1603" y="5913"/>
                  </a:lnTo>
                  <a:lnTo>
                    <a:pt x="1599" y="5922"/>
                  </a:lnTo>
                  <a:lnTo>
                    <a:pt x="1594" y="5931"/>
                  </a:lnTo>
                  <a:lnTo>
                    <a:pt x="1589" y="5940"/>
                  </a:lnTo>
                  <a:lnTo>
                    <a:pt x="1584" y="5947"/>
                  </a:lnTo>
                  <a:lnTo>
                    <a:pt x="1576" y="5955"/>
                  </a:lnTo>
                  <a:lnTo>
                    <a:pt x="1568" y="5961"/>
                  </a:lnTo>
                  <a:lnTo>
                    <a:pt x="1560" y="5966"/>
                  </a:lnTo>
                  <a:lnTo>
                    <a:pt x="1552" y="5970"/>
                  </a:lnTo>
                  <a:lnTo>
                    <a:pt x="1543" y="5973"/>
                  </a:lnTo>
                  <a:lnTo>
                    <a:pt x="1534" y="5974"/>
                  </a:lnTo>
                  <a:lnTo>
                    <a:pt x="1523" y="5975"/>
                  </a:lnTo>
                  <a:lnTo>
                    <a:pt x="1514" y="5974"/>
                  </a:lnTo>
                  <a:lnTo>
                    <a:pt x="1504" y="5972"/>
                  </a:lnTo>
                  <a:lnTo>
                    <a:pt x="1453" y="5956"/>
                  </a:lnTo>
                  <a:lnTo>
                    <a:pt x="1453" y="5940"/>
                  </a:lnTo>
                  <a:lnTo>
                    <a:pt x="1453" y="5930"/>
                  </a:lnTo>
                  <a:lnTo>
                    <a:pt x="1453" y="5919"/>
                  </a:lnTo>
                  <a:lnTo>
                    <a:pt x="1453" y="5907"/>
                  </a:lnTo>
                  <a:lnTo>
                    <a:pt x="1454" y="5897"/>
                  </a:lnTo>
                  <a:lnTo>
                    <a:pt x="1455" y="5884"/>
                  </a:lnTo>
                  <a:lnTo>
                    <a:pt x="1455" y="5871"/>
                  </a:lnTo>
                  <a:lnTo>
                    <a:pt x="1457" y="5858"/>
                  </a:lnTo>
                  <a:lnTo>
                    <a:pt x="1457" y="5845"/>
                  </a:lnTo>
                  <a:lnTo>
                    <a:pt x="1459" y="5828"/>
                  </a:lnTo>
                  <a:lnTo>
                    <a:pt x="1466" y="5804"/>
                  </a:lnTo>
                  <a:lnTo>
                    <a:pt x="1474" y="5781"/>
                  </a:lnTo>
                  <a:lnTo>
                    <a:pt x="1482" y="5766"/>
                  </a:lnTo>
                  <a:lnTo>
                    <a:pt x="1483" y="5764"/>
                  </a:lnTo>
                  <a:lnTo>
                    <a:pt x="1483" y="5760"/>
                  </a:lnTo>
                  <a:lnTo>
                    <a:pt x="1483" y="5756"/>
                  </a:lnTo>
                  <a:lnTo>
                    <a:pt x="1482" y="5752"/>
                  </a:lnTo>
                  <a:lnTo>
                    <a:pt x="1479" y="5748"/>
                  </a:lnTo>
                  <a:lnTo>
                    <a:pt x="1476" y="5745"/>
                  </a:lnTo>
                  <a:lnTo>
                    <a:pt x="1474" y="5741"/>
                  </a:lnTo>
                  <a:lnTo>
                    <a:pt x="1470" y="5740"/>
                  </a:lnTo>
                  <a:lnTo>
                    <a:pt x="1470" y="5739"/>
                  </a:lnTo>
                  <a:lnTo>
                    <a:pt x="1470" y="5739"/>
                  </a:lnTo>
                  <a:lnTo>
                    <a:pt x="1461" y="5739"/>
                  </a:lnTo>
                  <a:lnTo>
                    <a:pt x="1455" y="5740"/>
                  </a:lnTo>
                  <a:lnTo>
                    <a:pt x="1450" y="5743"/>
                  </a:lnTo>
                  <a:lnTo>
                    <a:pt x="1446" y="5745"/>
                  </a:lnTo>
                  <a:lnTo>
                    <a:pt x="1441" y="5747"/>
                  </a:lnTo>
                  <a:lnTo>
                    <a:pt x="1436" y="5748"/>
                  </a:lnTo>
                  <a:lnTo>
                    <a:pt x="1429" y="5748"/>
                  </a:lnTo>
                  <a:lnTo>
                    <a:pt x="1420" y="5745"/>
                  </a:lnTo>
                  <a:lnTo>
                    <a:pt x="1416" y="5739"/>
                  </a:lnTo>
                  <a:lnTo>
                    <a:pt x="1411" y="5724"/>
                  </a:lnTo>
                  <a:lnTo>
                    <a:pt x="1407" y="5711"/>
                  </a:lnTo>
                  <a:lnTo>
                    <a:pt x="1404" y="5705"/>
                  </a:lnTo>
                  <a:lnTo>
                    <a:pt x="1402" y="5693"/>
                  </a:lnTo>
                  <a:lnTo>
                    <a:pt x="1399" y="5684"/>
                  </a:lnTo>
                  <a:lnTo>
                    <a:pt x="1398" y="5677"/>
                  </a:lnTo>
                  <a:lnTo>
                    <a:pt x="1397" y="5672"/>
                  </a:lnTo>
                  <a:lnTo>
                    <a:pt x="1395" y="5671"/>
                  </a:lnTo>
                  <a:lnTo>
                    <a:pt x="1394" y="5669"/>
                  </a:lnTo>
                  <a:lnTo>
                    <a:pt x="1393" y="5667"/>
                  </a:lnTo>
                  <a:lnTo>
                    <a:pt x="1391" y="5665"/>
                  </a:lnTo>
                  <a:lnTo>
                    <a:pt x="1391" y="5663"/>
                  </a:lnTo>
                  <a:lnTo>
                    <a:pt x="1390" y="5662"/>
                  </a:lnTo>
                  <a:lnTo>
                    <a:pt x="1382" y="5660"/>
                  </a:lnTo>
                  <a:lnTo>
                    <a:pt x="1370" y="5662"/>
                  </a:lnTo>
                  <a:lnTo>
                    <a:pt x="1359" y="5664"/>
                  </a:lnTo>
                  <a:lnTo>
                    <a:pt x="1353" y="5664"/>
                  </a:lnTo>
                  <a:lnTo>
                    <a:pt x="1351" y="5664"/>
                  </a:lnTo>
                  <a:lnTo>
                    <a:pt x="1350" y="5663"/>
                  </a:lnTo>
                  <a:lnTo>
                    <a:pt x="1348" y="5662"/>
                  </a:lnTo>
                  <a:lnTo>
                    <a:pt x="1347" y="5662"/>
                  </a:lnTo>
                  <a:lnTo>
                    <a:pt x="1344" y="5660"/>
                  </a:lnTo>
                  <a:lnTo>
                    <a:pt x="1343" y="5658"/>
                  </a:lnTo>
                  <a:lnTo>
                    <a:pt x="1343" y="5655"/>
                  </a:lnTo>
                  <a:lnTo>
                    <a:pt x="1344" y="5643"/>
                  </a:lnTo>
                  <a:lnTo>
                    <a:pt x="1346" y="5634"/>
                  </a:lnTo>
                  <a:lnTo>
                    <a:pt x="1348" y="5628"/>
                  </a:lnTo>
                  <a:lnTo>
                    <a:pt x="1351" y="5621"/>
                  </a:lnTo>
                  <a:lnTo>
                    <a:pt x="1352" y="5617"/>
                  </a:lnTo>
                  <a:lnTo>
                    <a:pt x="1353" y="5613"/>
                  </a:lnTo>
                  <a:lnTo>
                    <a:pt x="1357" y="5600"/>
                  </a:lnTo>
                  <a:lnTo>
                    <a:pt x="1364" y="5586"/>
                  </a:lnTo>
                  <a:lnTo>
                    <a:pt x="1367" y="5582"/>
                  </a:lnTo>
                  <a:lnTo>
                    <a:pt x="1369" y="5578"/>
                  </a:lnTo>
                  <a:lnTo>
                    <a:pt x="1374" y="5563"/>
                  </a:lnTo>
                  <a:lnTo>
                    <a:pt x="1380" y="5550"/>
                  </a:lnTo>
                  <a:lnTo>
                    <a:pt x="1385" y="5539"/>
                  </a:lnTo>
                  <a:lnTo>
                    <a:pt x="1390" y="5527"/>
                  </a:lnTo>
                  <a:lnTo>
                    <a:pt x="1393" y="5523"/>
                  </a:lnTo>
                  <a:lnTo>
                    <a:pt x="1394" y="5519"/>
                  </a:lnTo>
                  <a:lnTo>
                    <a:pt x="1395" y="5511"/>
                  </a:lnTo>
                  <a:lnTo>
                    <a:pt x="1398" y="5503"/>
                  </a:lnTo>
                  <a:lnTo>
                    <a:pt x="1401" y="5493"/>
                  </a:lnTo>
                  <a:lnTo>
                    <a:pt x="1402" y="5484"/>
                  </a:lnTo>
                  <a:lnTo>
                    <a:pt x="1401" y="5440"/>
                  </a:lnTo>
                  <a:lnTo>
                    <a:pt x="1399" y="5440"/>
                  </a:lnTo>
                  <a:lnTo>
                    <a:pt x="1398" y="5439"/>
                  </a:lnTo>
                  <a:lnTo>
                    <a:pt x="1398" y="5438"/>
                  </a:lnTo>
                  <a:lnTo>
                    <a:pt x="1398" y="5437"/>
                  </a:lnTo>
                  <a:lnTo>
                    <a:pt x="1397" y="5437"/>
                  </a:lnTo>
                  <a:lnTo>
                    <a:pt x="1395" y="5435"/>
                  </a:lnTo>
                  <a:lnTo>
                    <a:pt x="1394" y="5434"/>
                  </a:lnTo>
                  <a:lnTo>
                    <a:pt x="1391" y="5431"/>
                  </a:lnTo>
                  <a:lnTo>
                    <a:pt x="1390" y="5430"/>
                  </a:lnTo>
                  <a:lnTo>
                    <a:pt x="1389" y="5429"/>
                  </a:lnTo>
                  <a:lnTo>
                    <a:pt x="1387" y="5427"/>
                  </a:lnTo>
                  <a:lnTo>
                    <a:pt x="1386" y="5427"/>
                  </a:lnTo>
                  <a:lnTo>
                    <a:pt x="1385" y="5426"/>
                  </a:lnTo>
                  <a:lnTo>
                    <a:pt x="1385" y="5425"/>
                  </a:lnTo>
                  <a:lnTo>
                    <a:pt x="1384" y="5423"/>
                  </a:lnTo>
                  <a:lnTo>
                    <a:pt x="1382" y="5422"/>
                  </a:lnTo>
                  <a:lnTo>
                    <a:pt x="1380" y="5420"/>
                  </a:lnTo>
                  <a:lnTo>
                    <a:pt x="1378" y="5417"/>
                  </a:lnTo>
                  <a:lnTo>
                    <a:pt x="1373" y="5408"/>
                  </a:lnTo>
                  <a:lnTo>
                    <a:pt x="1368" y="5400"/>
                  </a:lnTo>
                  <a:lnTo>
                    <a:pt x="1367" y="5395"/>
                  </a:lnTo>
                  <a:lnTo>
                    <a:pt x="1364" y="5389"/>
                  </a:lnTo>
                  <a:lnTo>
                    <a:pt x="1363" y="5388"/>
                  </a:lnTo>
                  <a:lnTo>
                    <a:pt x="1361" y="5387"/>
                  </a:lnTo>
                  <a:lnTo>
                    <a:pt x="1360" y="5386"/>
                  </a:lnTo>
                  <a:lnTo>
                    <a:pt x="1359" y="5384"/>
                  </a:lnTo>
                  <a:lnTo>
                    <a:pt x="1359" y="5382"/>
                  </a:lnTo>
                  <a:lnTo>
                    <a:pt x="1359" y="5382"/>
                  </a:lnTo>
                  <a:lnTo>
                    <a:pt x="1357" y="5382"/>
                  </a:lnTo>
                  <a:lnTo>
                    <a:pt x="1356" y="5380"/>
                  </a:lnTo>
                  <a:lnTo>
                    <a:pt x="1355" y="5379"/>
                  </a:lnTo>
                  <a:lnTo>
                    <a:pt x="1355" y="5378"/>
                  </a:lnTo>
                  <a:lnTo>
                    <a:pt x="1353" y="5376"/>
                  </a:lnTo>
                  <a:lnTo>
                    <a:pt x="1351" y="5371"/>
                  </a:lnTo>
                  <a:lnTo>
                    <a:pt x="1348" y="5365"/>
                  </a:lnTo>
                  <a:lnTo>
                    <a:pt x="1347" y="5363"/>
                  </a:lnTo>
                  <a:lnTo>
                    <a:pt x="1347" y="5362"/>
                  </a:lnTo>
                  <a:lnTo>
                    <a:pt x="1346" y="5359"/>
                  </a:lnTo>
                  <a:lnTo>
                    <a:pt x="1344" y="5358"/>
                  </a:lnTo>
                  <a:lnTo>
                    <a:pt x="1343" y="5355"/>
                  </a:lnTo>
                  <a:lnTo>
                    <a:pt x="1343" y="5354"/>
                  </a:lnTo>
                  <a:lnTo>
                    <a:pt x="1340" y="5352"/>
                  </a:lnTo>
                  <a:lnTo>
                    <a:pt x="1339" y="5350"/>
                  </a:lnTo>
                  <a:lnTo>
                    <a:pt x="1339" y="5348"/>
                  </a:lnTo>
                  <a:lnTo>
                    <a:pt x="1339" y="5344"/>
                  </a:lnTo>
                  <a:lnTo>
                    <a:pt x="1338" y="5337"/>
                  </a:lnTo>
                  <a:lnTo>
                    <a:pt x="1339" y="5332"/>
                  </a:lnTo>
                  <a:lnTo>
                    <a:pt x="1340" y="5325"/>
                  </a:lnTo>
                  <a:lnTo>
                    <a:pt x="1342" y="5320"/>
                  </a:lnTo>
                  <a:lnTo>
                    <a:pt x="1342" y="5319"/>
                  </a:lnTo>
                  <a:lnTo>
                    <a:pt x="1343" y="5318"/>
                  </a:lnTo>
                  <a:lnTo>
                    <a:pt x="1343" y="5318"/>
                  </a:lnTo>
                  <a:lnTo>
                    <a:pt x="1344" y="5316"/>
                  </a:lnTo>
                  <a:lnTo>
                    <a:pt x="1344" y="5315"/>
                  </a:lnTo>
                  <a:lnTo>
                    <a:pt x="1344" y="5314"/>
                  </a:lnTo>
                  <a:lnTo>
                    <a:pt x="1346" y="5311"/>
                  </a:lnTo>
                  <a:lnTo>
                    <a:pt x="1347" y="5310"/>
                  </a:lnTo>
                  <a:lnTo>
                    <a:pt x="1351" y="5308"/>
                  </a:lnTo>
                  <a:lnTo>
                    <a:pt x="1355" y="5307"/>
                  </a:lnTo>
                  <a:lnTo>
                    <a:pt x="1364" y="5306"/>
                  </a:lnTo>
                  <a:lnTo>
                    <a:pt x="1374" y="5306"/>
                  </a:lnTo>
                  <a:lnTo>
                    <a:pt x="1397" y="5308"/>
                  </a:lnTo>
                  <a:lnTo>
                    <a:pt x="1412" y="5312"/>
                  </a:lnTo>
                  <a:lnTo>
                    <a:pt x="1416" y="5312"/>
                  </a:lnTo>
                  <a:lnTo>
                    <a:pt x="1421" y="5312"/>
                  </a:lnTo>
                  <a:lnTo>
                    <a:pt x="1427" y="5311"/>
                  </a:lnTo>
                  <a:lnTo>
                    <a:pt x="1432" y="5310"/>
                  </a:lnTo>
                  <a:lnTo>
                    <a:pt x="1442" y="5306"/>
                  </a:lnTo>
                  <a:lnTo>
                    <a:pt x="1449" y="5303"/>
                  </a:lnTo>
                  <a:lnTo>
                    <a:pt x="1452" y="5302"/>
                  </a:lnTo>
                  <a:lnTo>
                    <a:pt x="1453" y="5301"/>
                  </a:lnTo>
                  <a:lnTo>
                    <a:pt x="1453" y="5298"/>
                  </a:lnTo>
                  <a:lnTo>
                    <a:pt x="1454" y="5297"/>
                  </a:lnTo>
                  <a:lnTo>
                    <a:pt x="1457" y="5297"/>
                  </a:lnTo>
                  <a:lnTo>
                    <a:pt x="1458" y="5295"/>
                  </a:lnTo>
                  <a:lnTo>
                    <a:pt x="1458" y="5294"/>
                  </a:lnTo>
                  <a:lnTo>
                    <a:pt x="1459" y="5291"/>
                  </a:lnTo>
                  <a:lnTo>
                    <a:pt x="1461" y="5289"/>
                  </a:lnTo>
                  <a:lnTo>
                    <a:pt x="1462" y="5286"/>
                  </a:lnTo>
                  <a:lnTo>
                    <a:pt x="1465" y="5285"/>
                  </a:lnTo>
                  <a:lnTo>
                    <a:pt x="1466" y="5282"/>
                  </a:lnTo>
                  <a:lnTo>
                    <a:pt x="1467" y="5280"/>
                  </a:lnTo>
                  <a:lnTo>
                    <a:pt x="1469" y="5273"/>
                  </a:lnTo>
                  <a:lnTo>
                    <a:pt x="1471" y="5265"/>
                  </a:lnTo>
                  <a:lnTo>
                    <a:pt x="1472" y="5252"/>
                  </a:lnTo>
                  <a:lnTo>
                    <a:pt x="1475" y="5243"/>
                  </a:lnTo>
                  <a:lnTo>
                    <a:pt x="1476" y="5239"/>
                  </a:lnTo>
                  <a:lnTo>
                    <a:pt x="1480" y="5235"/>
                  </a:lnTo>
                  <a:lnTo>
                    <a:pt x="1484" y="5232"/>
                  </a:lnTo>
                  <a:lnTo>
                    <a:pt x="1489" y="5230"/>
                  </a:lnTo>
                  <a:lnTo>
                    <a:pt x="1492" y="5227"/>
                  </a:lnTo>
                  <a:lnTo>
                    <a:pt x="1492" y="5223"/>
                  </a:lnTo>
                  <a:lnTo>
                    <a:pt x="1491" y="5219"/>
                  </a:lnTo>
                  <a:lnTo>
                    <a:pt x="1489" y="5215"/>
                  </a:lnTo>
                  <a:lnTo>
                    <a:pt x="1484" y="5205"/>
                  </a:lnTo>
                  <a:lnTo>
                    <a:pt x="1482" y="5196"/>
                  </a:lnTo>
                  <a:lnTo>
                    <a:pt x="1483" y="5174"/>
                  </a:lnTo>
                  <a:lnTo>
                    <a:pt x="1484" y="5153"/>
                  </a:lnTo>
                  <a:lnTo>
                    <a:pt x="1484" y="5142"/>
                  </a:lnTo>
                  <a:lnTo>
                    <a:pt x="1483" y="5132"/>
                  </a:lnTo>
                  <a:lnTo>
                    <a:pt x="1479" y="5123"/>
                  </a:lnTo>
                  <a:lnTo>
                    <a:pt x="1474" y="5113"/>
                  </a:lnTo>
                  <a:lnTo>
                    <a:pt x="1470" y="5107"/>
                  </a:lnTo>
                  <a:lnTo>
                    <a:pt x="1467" y="5099"/>
                  </a:lnTo>
                  <a:lnTo>
                    <a:pt x="1467" y="5090"/>
                  </a:lnTo>
                  <a:lnTo>
                    <a:pt x="1467" y="5079"/>
                  </a:lnTo>
                  <a:lnTo>
                    <a:pt x="1469" y="5070"/>
                  </a:lnTo>
                  <a:lnTo>
                    <a:pt x="1471" y="5059"/>
                  </a:lnTo>
                  <a:lnTo>
                    <a:pt x="1475" y="5048"/>
                  </a:lnTo>
                  <a:lnTo>
                    <a:pt x="1479" y="5038"/>
                  </a:lnTo>
                  <a:lnTo>
                    <a:pt x="1489" y="5017"/>
                  </a:lnTo>
                  <a:lnTo>
                    <a:pt x="1500" y="4997"/>
                  </a:lnTo>
                  <a:lnTo>
                    <a:pt x="1505" y="4989"/>
                  </a:lnTo>
                  <a:lnTo>
                    <a:pt x="1512" y="4983"/>
                  </a:lnTo>
                  <a:lnTo>
                    <a:pt x="1517" y="4977"/>
                  </a:lnTo>
                  <a:lnTo>
                    <a:pt x="1521" y="4973"/>
                  </a:lnTo>
                  <a:lnTo>
                    <a:pt x="1526" y="4971"/>
                  </a:lnTo>
                  <a:lnTo>
                    <a:pt x="1530" y="4966"/>
                  </a:lnTo>
                  <a:lnTo>
                    <a:pt x="1534" y="4962"/>
                  </a:lnTo>
                  <a:lnTo>
                    <a:pt x="1538" y="4956"/>
                  </a:lnTo>
                  <a:lnTo>
                    <a:pt x="1543" y="4943"/>
                  </a:lnTo>
                  <a:lnTo>
                    <a:pt x="1548" y="4930"/>
                  </a:lnTo>
                  <a:lnTo>
                    <a:pt x="1551" y="4916"/>
                  </a:lnTo>
                  <a:lnTo>
                    <a:pt x="1554" y="4902"/>
                  </a:lnTo>
                  <a:lnTo>
                    <a:pt x="1555" y="4888"/>
                  </a:lnTo>
                  <a:lnTo>
                    <a:pt x="1555" y="4875"/>
                  </a:lnTo>
                  <a:lnTo>
                    <a:pt x="1555" y="4835"/>
                  </a:lnTo>
                  <a:lnTo>
                    <a:pt x="1555" y="4794"/>
                  </a:lnTo>
                  <a:lnTo>
                    <a:pt x="1552" y="4775"/>
                  </a:lnTo>
                  <a:lnTo>
                    <a:pt x="1550" y="4756"/>
                  </a:lnTo>
                  <a:lnTo>
                    <a:pt x="1544" y="4738"/>
                  </a:lnTo>
                  <a:lnTo>
                    <a:pt x="1538" y="4721"/>
                  </a:lnTo>
                  <a:lnTo>
                    <a:pt x="1505" y="4658"/>
                  </a:lnTo>
                  <a:lnTo>
                    <a:pt x="1554" y="4636"/>
                  </a:lnTo>
                  <a:lnTo>
                    <a:pt x="1567" y="4629"/>
                  </a:lnTo>
                  <a:lnTo>
                    <a:pt x="1580" y="4622"/>
                  </a:lnTo>
                  <a:lnTo>
                    <a:pt x="1591" y="4612"/>
                  </a:lnTo>
                  <a:lnTo>
                    <a:pt x="1603" y="4602"/>
                  </a:lnTo>
                  <a:lnTo>
                    <a:pt x="1612" y="4592"/>
                  </a:lnTo>
                  <a:lnTo>
                    <a:pt x="1622" y="4580"/>
                  </a:lnTo>
                  <a:lnTo>
                    <a:pt x="1628" y="4567"/>
                  </a:lnTo>
                  <a:lnTo>
                    <a:pt x="1633" y="4552"/>
                  </a:lnTo>
                  <a:lnTo>
                    <a:pt x="1639" y="4538"/>
                  </a:lnTo>
                  <a:lnTo>
                    <a:pt x="1643" y="4525"/>
                  </a:lnTo>
                  <a:lnTo>
                    <a:pt x="1649" y="4514"/>
                  </a:lnTo>
                  <a:lnTo>
                    <a:pt x="1654" y="4507"/>
                  </a:lnTo>
                  <a:lnTo>
                    <a:pt x="1660" y="4500"/>
                  </a:lnTo>
                  <a:lnTo>
                    <a:pt x="1666" y="4495"/>
                  </a:lnTo>
                  <a:lnTo>
                    <a:pt x="1673" y="4492"/>
                  </a:lnTo>
                  <a:lnTo>
                    <a:pt x="1679" y="4491"/>
                  </a:lnTo>
                  <a:lnTo>
                    <a:pt x="1687" y="4490"/>
                  </a:lnTo>
                  <a:lnTo>
                    <a:pt x="1694" y="4490"/>
                  </a:lnTo>
                  <a:lnTo>
                    <a:pt x="1701" y="4491"/>
                  </a:lnTo>
                  <a:lnTo>
                    <a:pt x="1709" y="4493"/>
                  </a:lnTo>
                  <a:lnTo>
                    <a:pt x="1726" y="4497"/>
                  </a:lnTo>
                  <a:lnTo>
                    <a:pt x="1743" y="4503"/>
                  </a:lnTo>
                  <a:lnTo>
                    <a:pt x="1756" y="4504"/>
                  </a:lnTo>
                  <a:lnTo>
                    <a:pt x="1767" y="4504"/>
                  </a:lnTo>
                  <a:lnTo>
                    <a:pt x="1776" y="4503"/>
                  </a:lnTo>
                  <a:lnTo>
                    <a:pt x="1782" y="4499"/>
                  </a:lnTo>
                  <a:lnTo>
                    <a:pt x="1789" y="4493"/>
                  </a:lnTo>
                  <a:lnTo>
                    <a:pt x="1793" y="4488"/>
                  </a:lnTo>
                  <a:lnTo>
                    <a:pt x="1797" y="4482"/>
                  </a:lnTo>
                  <a:lnTo>
                    <a:pt x="1799" y="4474"/>
                  </a:lnTo>
                  <a:lnTo>
                    <a:pt x="1805" y="4458"/>
                  </a:lnTo>
                  <a:lnTo>
                    <a:pt x="1811" y="4442"/>
                  </a:lnTo>
                  <a:lnTo>
                    <a:pt x="1815" y="4436"/>
                  </a:lnTo>
                  <a:lnTo>
                    <a:pt x="1820" y="4431"/>
                  </a:lnTo>
                  <a:lnTo>
                    <a:pt x="1828" y="4425"/>
                  </a:lnTo>
                  <a:lnTo>
                    <a:pt x="1836" y="4421"/>
                  </a:lnTo>
                  <a:lnTo>
                    <a:pt x="1841" y="4420"/>
                  </a:lnTo>
                  <a:lnTo>
                    <a:pt x="1844" y="4418"/>
                  </a:lnTo>
                  <a:lnTo>
                    <a:pt x="1847" y="4415"/>
                  </a:lnTo>
                  <a:lnTo>
                    <a:pt x="1848" y="4411"/>
                  </a:lnTo>
                  <a:lnTo>
                    <a:pt x="1849" y="4402"/>
                  </a:lnTo>
                  <a:lnTo>
                    <a:pt x="1848" y="4393"/>
                  </a:lnTo>
                  <a:lnTo>
                    <a:pt x="1840" y="4370"/>
                  </a:lnTo>
                  <a:lnTo>
                    <a:pt x="1832" y="4351"/>
                  </a:lnTo>
                  <a:lnTo>
                    <a:pt x="1830" y="4343"/>
                  </a:lnTo>
                  <a:lnTo>
                    <a:pt x="1828" y="4335"/>
                  </a:lnTo>
                  <a:lnTo>
                    <a:pt x="1827" y="4329"/>
                  </a:lnTo>
                  <a:lnTo>
                    <a:pt x="1827" y="4322"/>
                  </a:lnTo>
                  <a:lnTo>
                    <a:pt x="1828" y="4309"/>
                  </a:lnTo>
                  <a:lnTo>
                    <a:pt x="1831" y="4297"/>
                  </a:lnTo>
                  <a:lnTo>
                    <a:pt x="1832" y="4285"/>
                  </a:lnTo>
                  <a:lnTo>
                    <a:pt x="1831" y="4272"/>
                  </a:lnTo>
                  <a:lnTo>
                    <a:pt x="1828" y="4267"/>
                  </a:lnTo>
                  <a:lnTo>
                    <a:pt x="1824" y="4261"/>
                  </a:lnTo>
                  <a:lnTo>
                    <a:pt x="1820" y="4254"/>
                  </a:lnTo>
                  <a:lnTo>
                    <a:pt x="1814" y="4246"/>
                  </a:lnTo>
                  <a:lnTo>
                    <a:pt x="1807" y="4238"/>
                  </a:lnTo>
                  <a:lnTo>
                    <a:pt x="1802" y="4232"/>
                  </a:lnTo>
                  <a:lnTo>
                    <a:pt x="1799" y="4224"/>
                  </a:lnTo>
                  <a:lnTo>
                    <a:pt x="1798" y="4216"/>
                  </a:lnTo>
                  <a:lnTo>
                    <a:pt x="1798" y="4208"/>
                  </a:lnTo>
                  <a:lnTo>
                    <a:pt x="1799" y="4200"/>
                  </a:lnTo>
                  <a:lnTo>
                    <a:pt x="1802" y="4194"/>
                  </a:lnTo>
                  <a:lnTo>
                    <a:pt x="1806" y="4187"/>
                  </a:lnTo>
                  <a:lnTo>
                    <a:pt x="1811" y="4181"/>
                  </a:lnTo>
                  <a:lnTo>
                    <a:pt x="1816" y="4174"/>
                  </a:lnTo>
                  <a:lnTo>
                    <a:pt x="1823" y="4170"/>
                  </a:lnTo>
                  <a:lnTo>
                    <a:pt x="1830" y="4165"/>
                  </a:lnTo>
                  <a:lnTo>
                    <a:pt x="1837" y="4161"/>
                  </a:lnTo>
                  <a:lnTo>
                    <a:pt x="1847" y="4159"/>
                  </a:lnTo>
                  <a:lnTo>
                    <a:pt x="1854" y="4157"/>
                  </a:lnTo>
                  <a:lnTo>
                    <a:pt x="1864" y="4157"/>
                  </a:lnTo>
                  <a:lnTo>
                    <a:pt x="1869" y="4156"/>
                  </a:lnTo>
                  <a:lnTo>
                    <a:pt x="1874" y="4155"/>
                  </a:lnTo>
                  <a:lnTo>
                    <a:pt x="1877" y="4152"/>
                  </a:lnTo>
                  <a:lnTo>
                    <a:pt x="1879" y="4148"/>
                  </a:lnTo>
                  <a:lnTo>
                    <a:pt x="1882" y="4144"/>
                  </a:lnTo>
                  <a:lnTo>
                    <a:pt x="1882" y="4139"/>
                  </a:lnTo>
                  <a:lnTo>
                    <a:pt x="1883" y="4134"/>
                  </a:lnTo>
                  <a:lnTo>
                    <a:pt x="1882" y="4127"/>
                  </a:lnTo>
                  <a:lnTo>
                    <a:pt x="1881" y="4115"/>
                  </a:lnTo>
                  <a:lnTo>
                    <a:pt x="1878" y="4105"/>
                  </a:lnTo>
                  <a:lnTo>
                    <a:pt x="1874" y="4096"/>
                  </a:lnTo>
                  <a:lnTo>
                    <a:pt x="1870" y="4089"/>
                  </a:lnTo>
                  <a:lnTo>
                    <a:pt x="1858" y="4074"/>
                  </a:lnTo>
                  <a:lnTo>
                    <a:pt x="1853" y="4063"/>
                  </a:lnTo>
                  <a:lnTo>
                    <a:pt x="1852" y="4059"/>
                  </a:lnTo>
                  <a:lnTo>
                    <a:pt x="1852" y="4057"/>
                  </a:lnTo>
                  <a:lnTo>
                    <a:pt x="1853" y="4055"/>
                  </a:lnTo>
                  <a:lnTo>
                    <a:pt x="1856" y="4054"/>
                  </a:lnTo>
                  <a:lnTo>
                    <a:pt x="1874" y="4054"/>
                  </a:lnTo>
                  <a:lnTo>
                    <a:pt x="1901" y="4057"/>
                  </a:lnTo>
                  <a:lnTo>
                    <a:pt x="1913" y="4055"/>
                  </a:lnTo>
                  <a:lnTo>
                    <a:pt x="1928" y="4051"/>
                  </a:lnTo>
                  <a:lnTo>
                    <a:pt x="1934" y="4050"/>
                  </a:lnTo>
                  <a:lnTo>
                    <a:pt x="1939" y="4050"/>
                  </a:lnTo>
                  <a:lnTo>
                    <a:pt x="1945" y="4050"/>
                  </a:lnTo>
                  <a:lnTo>
                    <a:pt x="1949" y="4051"/>
                  </a:lnTo>
                  <a:lnTo>
                    <a:pt x="1955" y="4059"/>
                  </a:lnTo>
                  <a:lnTo>
                    <a:pt x="1962" y="4074"/>
                  </a:lnTo>
                  <a:lnTo>
                    <a:pt x="1970" y="4092"/>
                  </a:lnTo>
                  <a:lnTo>
                    <a:pt x="1977" y="4110"/>
                  </a:lnTo>
                  <a:lnTo>
                    <a:pt x="1981" y="4119"/>
                  </a:lnTo>
                  <a:lnTo>
                    <a:pt x="1985" y="4127"/>
                  </a:lnTo>
                  <a:lnTo>
                    <a:pt x="1990" y="4134"/>
                  </a:lnTo>
                  <a:lnTo>
                    <a:pt x="1994" y="4139"/>
                  </a:lnTo>
                  <a:lnTo>
                    <a:pt x="1998" y="4140"/>
                  </a:lnTo>
                  <a:lnTo>
                    <a:pt x="2002" y="4142"/>
                  </a:lnTo>
                  <a:lnTo>
                    <a:pt x="2006" y="4139"/>
                  </a:lnTo>
                  <a:lnTo>
                    <a:pt x="2010" y="4132"/>
                  </a:lnTo>
                  <a:lnTo>
                    <a:pt x="2017" y="4118"/>
                  </a:lnTo>
                  <a:lnTo>
                    <a:pt x="2022" y="4102"/>
                  </a:lnTo>
                  <a:lnTo>
                    <a:pt x="2027" y="4085"/>
                  </a:lnTo>
                  <a:lnTo>
                    <a:pt x="2032" y="4068"/>
                  </a:lnTo>
                  <a:lnTo>
                    <a:pt x="2036" y="4051"/>
                  </a:lnTo>
                  <a:lnTo>
                    <a:pt x="2041" y="4036"/>
                  </a:lnTo>
                  <a:lnTo>
                    <a:pt x="2047" y="4021"/>
                  </a:lnTo>
                  <a:lnTo>
                    <a:pt x="2053" y="4008"/>
                  </a:lnTo>
                  <a:lnTo>
                    <a:pt x="2056" y="4003"/>
                  </a:lnTo>
                  <a:lnTo>
                    <a:pt x="2057" y="3998"/>
                  </a:lnTo>
                  <a:lnTo>
                    <a:pt x="2058" y="3991"/>
                  </a:lnTo>
                  <a:lnTo>
                    <a:pt x="2058" y="3985"/>
                  </a:lnTo>
                  <a:lnTo>
                    <a:pt x="2060" y="3972"/>
                  </a:lnTo>
                  <a:lnTo>
                    <a:pt x="2058" y="3957"/>
                  </a:lnTo>
                  <a:lnTo>
                    <a:pt x="2058" y="3943"/>
                  </a:lnTo>
                  <a:lnTo>
                    <a:pt x="2060" y="3928"/>
                  </a:lnTo>
                  <a:lnTo>
                    <a:pt x="2060" y="3923"/>
                  </a:lnTo>
                  <a:lnTo>
                    <a:pt x="2062" y="3917"/>
                  </a:lnTo>
                  <a:lnTo>
                    <a:pt x="2064" y="3911"/>
                  </a:lnTo>
                  <a:lnTo>
                    <a:pt x="2066" y="3907"/>
                  </a:lnTo>
                  <a:lnTo>
                    <a:pt x="2073" y="3898"/>
                  </a:lnTo>
                  <a:lnTo>
                    <a:pt x="2078" y="3888"/>
                  </a:lnTo>
                  <a:lnTo>
                    <a:pt x="2081" y="3876"/>
                  </a:lnTo>
                  <a:lnTo>
                    <a:pt x="2082" y="3866"/>
                  </a:lnTo>
                  <a:lnTo>
                    <a:pt x="2081" y="3855"/>
                  </a:lnTo>
                  <a:lnTo>
                    <a:pt x="2078" y="3846"/>
                  </a:lnTo>
                  <a:lnTo>
                    <a:pt x="2075" y="3842"/>
                  </a:lnTo>
                  <a:lnTo>
                    <a:pt x="2073" y="3839"/>
                  </a:lnTo>
                  <a:lnTo>
                    <a:pt x="2069" y="3835"/>
                  </a:lnTo>
                  <a:lnTo>
                    <a:pt x="2064" y="3834"/>
                  </a:lnTo>
                  <a:lnTo>
                    <a:pt x="2049" y="3829"/>
                  </a:lnTo>
                  <a:lnTo>
                    <a:pt x="2036" y="3825"/>
                  </a:lnTo>
                  <a:lnTo>
                    <a:pt x="2030" y="3822"/>
                  </a:lnTo>
                  <a:lnTo>
                    <a:pt x="2026" y="3818"/>
                  </a:lnTo>
                  <a:lnTo>
                    <a:pt x="2022" y="3813"/>
                  </a:lnTo>
                  <a:lnTo>
                    <a:pt x="2019" y="3805"/>
                  </a:lnTo>
                  <a:lnTo>
                    <a:pt x="2018" y="3801"/>
                  </a:lnTo>
                  <a:lnTo>
                    <a:pt x="2015" y="3799"/>
                  </a:lnTo>
                  <a:lnTo>
                    <a:pt x="2011" y="3798"/>
                  </a:lnTo>
                  <a:lnTo>
                    <a:pt x="2007" y="3796"/>
                  </a:lnTo>
                  <a:lnTo>
                    <a:pt x="1996" y="3796"/>
                  </a:lnTo>
                  <a:lnTo>
                    <a:pt x="1983" y="3796"/>
                  </a:lnTo>
                  <a:lnTo>
                    <a:pt x="1970" y="3796"/>
                  </a:lnTo>
                  <a:lnTo>
                    <a:pt x="1960" y="3795"/>
                  </a:lnTo>
                  <a:lnTo>
                    <a:pt x="1956" y="3792"/>
                  </a:lnTo>
                  <a:lnTo>
                    <a:pt x="1954" y="3790"/>
                  </a:lnTo>
                  <a:lnTo>
                    <a:pt x="1952" y="3786"/>
                  </a:lnTo>
                  <a:lnTo>
                    <a:pt x="1952" y="3779"/>
                  </a:lnTo>
                  <a:lnTo>
                    <a:pt x="1963" y="3749"/>
                  </a:lnTo>
                  <a:lnTo>
                    <a:pt x="1970" y="3727"/>
                  </a:lnTo>
                  <a:lnTo>
                    <a:pt x="1970" y="3722"/>
                  </a:lnTo>
                  <a:lnTo>
                    <a:pt x="1967" y="3718"/>
                  </a:lnTo>
                  <a:lnTo>
                    <a:pt x="1964" y="3714"/>
                  </a:lnTo>
                  <a:lnTo>
                    <a:pt x="1960" y="3711"/>
                  </a:lnTo>
                  <a:lnTo>
                    <a:pt x="1955" y="3710"/>
                  </a:lnTo>
                  <a:lnTo>
                    <a:pt x="1947" y="3707"/>
                  </a:lnTo>
                  <a:lnTo>
                    <a:pt x="1938" y="3707"/>
                  </a:lnTo>
                  <a:lnTo>
                    <a:pt x="1926" y="3706"/>
                  </a:lnTo>
                  <a:lnTo>
                    <a:pt x="1912" y="3705"/>
                  </a:lnTo>
                  <a:lnTo>
                    <a:pt x="1892" y="3702"/>
                  </a:lnTo>
                  <a:lnTo>
                    <a:pt x="1869" y="3698"/>
                  </a:lnTo>
                  <a:lnTo>
                    <a:pt x="1844" y="3693"/>
                  </a:lnTo>
                  <a:lnTo>
                    <a:pt x="1820" y="3688"/>
                  </a:lnTo>
                  <a:lnTo>
                    <a:pt x="1799" y="3681"/>
                  </a:lnTo>
                  <a:lnTo>
                    <a:pt x="1784" y="3676"/>
                  </a:lnTo>
                  <a:lnTo>
                    <a:pt x="1775" y="3671"/>
                  </a:lnTo>
                  <a:lnTo>
                    <a:pt x="1767" y="3661"/>
                  </a:lnTo>
                  <a:lnTo>
                    <a:pt x="1760" y="3651"/>
                  </a:lnTo>
                  <a:lnTo>
                    <a:pt x="1756" y="3641"/>
                  </a:lnTo>
                  <a:lnTo>
                    <a:pt x="1754" y="3629"/>
                  </a:lnTo>
                  <a:lnTo>
                    <a:pt x="1752" y="3617"/>
                  </a:lnTo>
                  <a:lnTo>
                    <a:pt x="1754" y="3605"/>
                  </a:lnTo>
                  <a:lnTo>
                    <a:pt x="1755" y="3592"/>
                  </a:lnTo>
                  <a:lnTo>
                    <a:pt x="1756" y="3579"/>
                  </a:lnTo>
                  <a:lnTo>
                    <a:pt x="1763" y="3553"/>
                  </a:lnTo>
                  <a:lnTo>
                    <a:pt x="1769" y="3525"/>
                  </a:lnTo>
                  <a:lnTo>
                    <a:pt x="1772" y="3511"/>
                  </a:lnTo>
                  <a:lnTo>
                    <a:pt x="1775" y="3497"/>
                  </a:lnTo>
                  <a:lnTo>
                    <a:pt x="1776" y="3484"/>
                  </a:lnTo>
                  <a:lnTo>
                    <a:pt x="1777" y="3469"/>
                  </a:lnTo>
                  <a:lnTo>
                    <a:pt x="1777" y="3460"/>
                  </a:lnTo>
                  <a:lnTo>
                    <a:pt x="1775" y="3452"/>
                  </a:lnTo>
                  <a:lnTo>
                    <a:pt x="1772" y="3444"/>
                  </a:lnTo>
                  <a:lnTo>
                    <a:pt x="1768" y="3436"/>
                  </a:lnTo>
                  <a:lnTo>
                    <a:pt x="1759" y="3422"/>
                  </a:lnTo>
                  <a:lnTo>
                    <a:pt x="1752" y="3406"/>
                  </a:lnTo>
                  <a:lnTo>
                    <a:pt x="1751" y="3404"/>
                  </a:lnTo>
                  <a:lnTo>
                    <a:pt x="1748" y="3400"/>
                  </a:lnTo>
                  <a:lnTo>
                    <a:pt x="1747" y="3400"/>
                  </a:lnTo>
                  <a:lnTo>
                    <a:pt x="1747" y="3399"/>
                  </a:lnTo>
                  <a:lnTo>
                    <a:pt x="1745" y="3393"/>
                  </a:lnTo>
                  <a:lnTo>
                    <a:pt x="1741" y="3384"/>
                  </a:lnTo>
                  <a:lnTo>
                    <a:pt x="1737" y="3372"/>
                  </a:lnTo>
                  <a:lnTo>
                    <a:pt x="1735" y="3363"/>
                  </a:lnTo>
                  <a:lnTo>
                    <a:pt x="1735" y="3361"/>
                  </a:lnTo>
                  <a:lnTo>
                    <a:pt x="1735" y="3359"/>
                  </a:lnTo>
                  <a:lnTo>
                    <a:pt x="1735" y="3358"/>
                  </a:lnTo>
                  <a:lnTo>
                    <a:pt x="1737" y="3358"/>
                  </a:lnTo>
                  <a:lnTo>
                    <a:pt x="1738" y="3358"/>
                  </a:lnTo>
                  <a:lnTo>
                    <a:pt x="1738" y="3357"/>
                  </a:lnTo>
                  <a:lnTo>
                    <a:pt x="1738" y="3355"/>
                  </a:lnTo>
                  <a:lnTo>
                    <a:pt x="1739" y="3354"/>
                  </a:lnTo>
                  <a:lnTo>
                    <a:pt x="1741" y="3353"/>
                  </a:lnTo>
                  <a:lnTo>
                    <a:pt x="1741" y="3351"/>
                  </a:lnTo>
                  <a:lnTo>
                    <a:pt x="1742" y="3351"/>
                  </a:lnTo>
                  <a:lnTo>
                    <a:pt x="1743" y="3350"/>
                  </a:lnTo>
                  <a:lnTo>
                    <a:pt x="1743" y="3350"/>
                  </a:lnTo>
                  <a:lnTo>
                    <a:pt x="1745" y="3349"/>
                  </a:lnTo>
                  <a:lnTo>
                    <a:pt x="1746" y="3348"/>
                  </a:lnTo>
                  <a:lnTo>
                    <a:pt x="1747" y="3346"/>
                  </a:lnTo>
                  <a:lnTo>
                    <a:pt x="1747" y="3346"/>
                  </a:lnTo>
                  <a:lnTo>
                    <a:pt x="1751" y="3342"/>
                  </a:lnTo>
                  <a:lnTo>
                    <a:pt x="1754" y="3338"/>
                  </a:lnTo>
                  <a:lnTo>
                    <a:pt x="1756" y="3332"/>
                  </a:lnTo>
                  <a:lnTo>
                    <a:pt x="1760" y="3325"/>
                  </a:lnTo>
                  <a:lnTo>
                    <a:pt x="1760" y="3325"/>
                  </a:lnTo>
                  <a:lnTo>
                    <a:pt x="1762" y="3325"/>
                  </a:lnTo>
                  <a:lnTo>
                    <a:pt x="1763" y="3324"/>
                  </a:lnTo>
                  <a:lnTo>
                    <a:pt x="1763" y="3323"/>
                  </a:lnTo>
                  <a:lnTo>
                    <a:pt x="1763" y="3320"/>
                  </a:lnTo>
                  <a:lnTo>
                    <a:pt x="1764" y="3317"/>
                  </a:lnTo>
                  <a:lnTo>
                    <a:pt x="1767" y="3316"/>
                  </a:lnTo>
                  <a:lnTo>
                    <a:pt x="1771" y="3311"/>
                  </a:lnTo>
                  <a:lnTo>
                    <a:pt x="1773" y="3306"/>
                  </a:lnTo>
                  <a:lnTo>
                    <a:pt x="1776" y="3302"/>
                  </a:lnTo>
                  <a:lnTo>
                    <a:pt x="1776" y="3298"/>
                  </a:lnTo>
                  <a:lnTo>
                    <a:pt x="1777" y="3294"/>
                  </a:lnTo>
                  <a:lnTo>
                    <a:pt x="1779" y="3290"/>
                  </a:lnTo>
                  <a:lnTo>
                    <a:pt x="1779" y="3277"/>
                  </a:lnTo>
                  <a:lnTo>
                    <a:pt x="1779" y="3256"/>
                  </a:lnTo>
                  <a:lnTo>
                    <a:pt x="1779" y="3247"/>
                  </a:lnTo>
                  <a:lnTo>
                    <a:pt x="1780" y="3238"/>
                  </a:lnTo>
                  <a:lnTo>
                    <a:pt x="1781" y="3231"/>
                  </a:lnTo>
                  <a:lnTo>
                    <a:pt x="1782" y="3229"/>
                  </a:lnTo>
                  <a:lnTo>
                    <a:pt x="1784" y="3225"/>
                  </a:lnTo>
                  <a:lnTo>
                    <a:pt x="1784" y="3222"/>
                  </a:lnTo>
                  <a:lnTo>
                    <a:pt x="1785" y="3218"/>
                  </a:lnTo>
                  <a:lnTo>
                    <a:pt x="1788" y="3214"/>
                  </a:lnTo>
                  <a:lnTo>
                    <a:pt x="1790" y="3210"/>
                  </a:lnTo>
                  <a:lnTo>
                    <a:pt x="1793" y="3208"/>
                  </a:lnTo>
                  <a:lnTo>
                    <a:pt x="1794" y="3205"/>
                  </a:lnTo>
                  <a:lnTo>
                    <a:pt x="1796" y="3202"/>
                  </a:lnTo>
                  <a:lnTo>
                    <a:pt x="1796" y="3200"/>
                  </a:lnTo>
                  <a:lnTo>
                    <a:pt x="1797" y="3197"/>
                  </a:lnTo>
                  <a:lnTo>
                    <a:pt x="1799" y="3187"/>
                  </a:lnTo>
                  <a:lnTo>
                    <a:pt x="1803" y="3175"/>
                  </a:lnTo>
                  <a:lnTo>
                    <a:pt x="1809" y="3163"/>
                  </a:lnTo>
                  <a:lnTo>
                    <a:pt x="1811" y="3154"/>
                  </a:lnTo>
                  <a:lnTo>
                    <a:pt x="1813" y="3151"/>
                  </a:lnTo>
                  <a:lnTo>
                    <a:pt x="1814" y="3150"/>
                  </a:lnTo>
                  <a:lnTo>
                    <a:pt x="1815" y="3149"/>
                  </a:lnTo>
                  <a:lnTo>
                    <a:pt x="1816" y="3147"/>
                  </a:lnTo>
                  <a:lnTo>
                    <a:pt x="1816" y="3145"/>
                  </a:lnTo>
                  <a:lnTo>
                    <a:pt x="1816" y="3143"/>
                  </a:lnTo>
                  <a:lnTo>
                    <a:pt x="1819" y="3142"/>
                  </a:lnTo>
                  <a:lnTo>
                    <a:pt x="1820" y="3142"/>
                  </a:lnTo>
                  <a:lnTo>
                    <a:pt x="1820" y="3141"/>
                  </a:lnTo>
                  <a:lnTo>
                    <a:pt x="1822" y="3140"/>
                  </a:lnTo>
                  <a:lnTo>
                    <a:pt x="1823" y="3137"/>
                  </a:lnTo>
                  <a:lnTo>
                    <a:pt x="1827" y="3136"/>
                  </a:lnTo>
                  <a:lnTo>
                    <a:pt x="1831" y="3133"/>
                  </a:lnTo>
                  <a:lnTo>
                    <a:pt x="1832" y="3130"/>
                  </a:lnTo>
                  <a:lnTo>
                    <a:pt x="1835" y="3128"/>
                  </a:lnTo>
                  <a:lnTo>
                    <a:pt x="1840" y="3121"/>
                  </a:lnTo>
                  <a:lnTo>
                    <a:pt x="1844" y="3113"/>
                  </a:lnTo>
                  <a:lnTo>
                    <a:pt x="1845" y="3111"/>
                  </a:lnTo>
                  <a:lnTo>
                    <a:pt x="1845" y="3109"/>
                  </a:lnTo>
                  <a:lnTo>
                    <a:pt x="1849" y="3102"/>
                  </a:lnTo>
                  <a:lnTo>
                    <a:pt x="1853" y="3089"/>
                  </a:lnTo>
                  <a:lnTo>
                    <a:pt x="1854" y="3074"/>
                  </a:lnTo>
                  <a:lnTo>
                    <a:pt x="1856" y="3064"/>
                  </a:lnTo>
                  <a:lnTo>
                    <a:pt x="1857" y="3062"/>
                  </a:lnTo>
                  <a:lnTo>
                    <a:pt x="1858" y="3062"/>
                  </a:lnTo>
                  <a:lnTo>
                    <a:pt x="1860" y="3061"/>
                  </a:lnTo>
                  <a:lnTo>
                    <a:pt x="1860" y="3061"/>
                  </a:lnTo>
                  <a:lnTo>
                    <a:pt x="1862" y="3058"/>
                  </a:lnTo>
                  <a:lnTo>
                    <a:pt x="1866" y="3057"/>
                  </a:lnTo>
                  <a:lnTo>
                    <a:pt x="1867" y="3056"/>
                  </a:lnTo>
                  <a:lnTo>
                    <a:pt x="1869" y="3055"/>
                  </a:lnTo>
                  <a:lnTo>
                    <a:pt x="1870" y="3053"/>
                  </a:lnTo>
                  <a:lnTo>
                    <a:pt x="1871" y="3052"/>
                  </a:lnTo>
                  <a:lnTo>
                    <a:pt x="1873" y="3051"/>
                  </a:lnTo>
                  <a:lnTo>
                    <a:pt x="1873" y="3049"/>
                  </a:lnTo>
                  <a:lnTo>
                    <a:pt x="1877" y="3047"/>
                  </a:lnTo>
                  <a:lnTo>
                    <a:pt x="1879" y="3043"/>
                  </a:lnTo>
                  <a:lnTo>
                    <a:pt x="1883" y="3036"/>
                  </a:lnTo>
                  <a:lnTo>
                    <a:pt x="1886" y="3028"/>
                  </a:lnTo>
                  <a:lnTo>
                    <a:pt x="1887" y="3021"/>
                  </a:lnTo>
                  <a:lnTo>
                    <a:pt x="1888" y="3013"/>
                  </a:lnTo>
                  <a:lnTo>
                    <a:pt x="1888" y="3007"/>
                  </a:lnTo>
                  <a:lnTo>
                    <a:pt x="1886" y="3004"/>
                  </a:lnTo>
                  <a:lnTo>
                    <a:pt x="1881" y="2997"/>
                  </a:lnTo>
                  <a:lnTo>
                    <a:pt x="1878" y="2988"/>
                  </a:lnTo>
                  <a:lnTo>
                    <a:pt x="1877" y="2988"/>
                  </a:lnTo>
                  <a:lnTo>
                    <a:pt x="1875" y="2988"/>
                  </a:lnTo>
                  <a:lnTo>
                    <a:pt x="1875" y="2985"/>
                  </a:lnTo>
                  <a:lnTo>
                    <a:pt x="1875" y="2985"/>
                  </a:lnTo>
                  <a:lnTo>
                    <a:pt x="1874" y="2984"/>
                  </a:lnTo>
                  <a:lnTo>
                    <a:pt x="1871" y="2981"/>
                  </a:lnTo>
                  <a:lnTo>
                    <a:pt x="1869" y="2980"/>
                  </a:lnTo>
                  <a:lnTo>
                    <a:pt x="1867" y="2980"/>
                  </a:lnTo>
                  <a:lnTo>
                    <a:pt x="1866" y="2980"/>
                  </a:lnTo>
                  <a:lnTo>
                    <a:pt x="1866" y="2979"/>
                  </a:lnTo>
                  <a:lnTo>
                    <a:pt x="1864" y="2976"/>
                  </a:lnTo>
                  <a:lnTo>
                    <a:pt x="1861" y="2975"/>
                  </a:lnTo>
                  <a:lnTo>
                    <a:pt x="1858" y="2972"/>
                  </a:lnTo>
                  <a:lnTo>
                    <a:pt x="1854" y="2971"/>
                  </a:lnTo>
                  <a:lnTo>
                    <a:pt x="1853" y="2971"/>
                  </a:lnTo>
                  <a:lnTo>
                    <a:pt x="1853" y="2970"/>
                  </a:lnTo>
                  <a:lnTo>
                    <a:pt x="1852" y="2968"/>
                  </a:lnTo>
                  <a:lnTo>
                    <a:pt x="1850" y="2968"/>
                  </a:lnTo>
                  <a:lnTo>
                    <a:pt x="1849" y="2967"/>
                  </a:lnTo>
                  <a:lnTo>
                    <a:pt x="1847" y="2967"/>
                  </a:lnTo>
                  <a:lnTo>
                    <a:pt x="1845" y="2966"/>
                  </a:lnTo>
                  <a:lnTo>
                    <a:pt x="1844" y="2964"/>
                  </a:lnTo>
                  <a:lnTo>
                    <a:pt x="1843" y="2964"/>
                  </a:lnTo>
                  <a:lnTo>
                    <a:pt x="1840" y="2962"/>
                  </a:lnTo>
                  <a:lnTo>
                    <a:pt x="1837" y="2960"/>
                  </a:lnTo>
                  <a:lnTo>
                    <a:pt x="1836" y="2959"/>
                  </a:lnTo>
                  <a:lnTo>
                    <a:pt x="1835" y="2959"/>
                  </a:lnTo>
                  <a:lnTo>
                    <a:pt x="1832" y="2956"/>
                  </a:lnTo>
                  <a:lnTo>
                    <a:pt x="1827" y="2953"/>
                  </a:lnTo>
                  <a:lnTo>
                    <a:pt x="1818" y="2946"/>
                  </a:lnTo>
                  <a:lnTo>
                    <a:pt x="1806" y="2937"/>
                  </a:lnTo>
                  <a:lnTo>
                    <a:pt x="1796" y="2926"/>
                  </a:lnTo>
                  <a:lnTo>
                    <a:pt x="1785" y="2916"/>
                  </a:lnTo>
                  <a:lnTo>
                    <a:pt x="1782" y="2911"/>
                  </a:lnTo>
                  <a:lnTo>
                    <a:pt x="1780" y="2907"/>
                  </a:lnTo>
                  <a:lnTo>
                    <a:pt x="1779" y="2901"/>
                  </a:lnTo>
                  <a:lnTo>
                    <a:pt x="1779" y="2896"/>
                  </a:lnTo>
                  <a:lnTo>
                    <a:pt x="1781" y="2892"/>
                  </a:lnTo>
                  <a:lnTo>
                    <a:pt x="1785" y="2890"/>
                  </a:lnTo>
                  <a:lnTo>
                    <a:pt x="1793" y="2887"/>
                  </a:lnTo>
                  <a:lnTo>
                    <a:pt x="1802" y="2884"/>
                  </a:lnTo>
                  <a:lnTo>
                    <a:pt x="1810" y="2882"/>
                  </a:lnTo>
                  <a:lnTo>
                    <a:pt x="1816" y="2879"/>
                  </a:lnTo>
                  <a:lnTo>
                    <a:pt x="1820" y="2875"/>
                  </a:lnTo>
                  <a:lnTo>
                    <a:pt x="1823" y="2871"/>
                  </a:lnTo>
                  <a:lnTo>
                    <a:pt x="1827" y="2862"/>
                  </a:lnTo>
                  <a:lnTo>
                    <a:pt x="1828" y="2853"/>
                  </a:lnTo>
                  <a:lnTo>
                    <a:pt x="1830" y="2849"/>
                  </a:lnTo>
                  <a:lnTo>
                    <a:pt x="1831" y="2847"/>
                  </a:lnTo>
                  <a:lnTo>
                    <a:pt x="1832" y="2844"/>
                  </a:lnTo>
                  <a:lnTo>
                    <a:pt x="1835" y="2843"/>
                  </a:lnTo>
                  <a:lnTo>
                    <a:pt x="1839" y="2843"/>
                  </a:lnTo>
                  <a:lnTo>
                    <a:pt x="1845" y="2844"/>
                  </a:lnTo>
                  <a:lnTo>
                    <a:pt x="1853" y="2847"/>
                  </a:lnTo>
                  <a:lnTo>
                    <a:pt x="1862" y="2850"/>
                  </a:lnTo>
                  <a:lnTo>
                    <a:pt x="1873" y="2857"/>
                  </a:lnTo>
                  <a:lnTo>
                    <a:pt x="1879" y="2862"/>
                  </a:lnTo>
                  <a:lnTo>
                    <a:pt x="1881" y="2865"/>
                  </a:lnTo>
                  <a:lnTo>
                    <a:pt x="1881" y="2867"/>
                  </a:lnTo>
                  <a:lnTo>
                    <a:pt x="1879" y="2870"/>
                  </a:lnTo>
                  <a:lnTo>
                    <a:pt x="1878" y="2873"/>
                  </a:lnTo>
                  <a:lnTo>
                    <a:pt x="1874" y="2877"/>
                  </a:lnTo>
                  <a:lnTo>
                    <a:pt x="1870" y="2882"/>
                  </a:lnTo>
                  <a:lnTo>
                    <a:pt x="1867" y="2887"/>
                  </a:lnTo>
                  <a:lnTo>
                    <a:pt x="1866" y="2892"/>
                  </a:lnTo>
                  <a:lnTo>
                    <a:pt x="1866" y="2896"/>
                  </a:lnTo>
                  <a:lnTo>
                    <a:pt x="1869" y="2899"/>
                  </a:lnTo>
                  <a:lnTo>
                    <a:pt x="1871" y="2901"/>
                  </a:lnTo>
                  <a:lnTo>
                    <a:pt x="1875" y="2903"/>
                  </a:lnTo>
                  <a:lnTo>
                    <a:pt x="1886" y="2904"/>
                  </a:lnTo>
                  <a:lnTo>
                    <a:pt x="1898" y="2905"/>
                  </a:lnTo>
                  <a:lnTo>
                    <a:pt x="1921" y="2904"/>
                  </a:lnTo>
                  <a:lnTo>
                    <a:pt x="1938" y="2900"/>
                  </a:lnTo>
                  <a:lnTo>
                    <a:pt x="1949" y="2896"/>
                  </a:lnTo>
                  <a:lnTo>
                    <a:pt x="1958" y="2891"/>
                  </a:lnTo>
                  <a:lnTo>
                    <a:pt x="1966" y="2884"/>
                  </a:lnTo>
                  <a:lnTo>
                    <a:pt x="1972" y="2878"/>
                  </a:lnTo>
                  <a:lnTo>
                    <a:pt x="1979" y="2870"/>
                  </a:lnTo>
                  <a:lnTo>
                    <a:pt x="1984" y="2862"/>
                  </a:lnTo>
                  <a:lnTo>
                    <a:pt x="1988" y="2853"/>
                  </a:lnTo>
                  <a:lnTo>
                    <a:pt x="1990" y="2844"/>
                  </a:lnTo>
                  <a:lnTo>
                    <a:pt x="1993" y="2835"/>
                  </a:lnTo>
                  <a:lnTo>
                    <a:pt x="1994" y="2824"/>
                  </a:lnTo>
                  <a:lnTo>
                    <a:pt x="1994" y="2815"/>
                  </a:lnTo>
                  <a:lnTo>
                    <a:pt x="1994" y="2805"/>
                  </a:lnTo>
                  <a:lnTo>
                    <a:pt x="1993" y="2784"/>
                  </a:lnTo>
                  <a:lnTo>
                    <a:pt x="1989" y="2763"/>
                  </a:lnTo>
                  <a:lnTo>
                    <a:pt x="1983" y="2742"/>
                  </a:lnTo>
                  <a:lnTo>
                    <a:pt x="1976" y="2724"/>
                  </a:lnTo>
                  <a:lnTo>
                    <a:pt x="1968" y="2707"/>
                  </a:lnTo>
                  <a:lnTo>
                    <a:pt x="1959" y="2692"/>
                  </a:lnTo>
                  <a:lnTo>
                    <a:pt x="1950" y="2680"/>
                  </a:lnTo>
                  <a:lnTo>
                    <a:pt x="1941" y="2674"/>
                  </a:lnTo>
                  <a:lnTo>
                    <a:pt x="1937" y="2671"/>
                  </a:lnTo>
                  <a:lnTo>
                    <a:pt x="1932" y="2670"/>
                  </a:lnTo>
                  <a:lnTo>
                    <a:pt x="1928" y="2670"/>
                  </a:lnTo>
                  <a:lnTo>
                    <a:pt x="1925" y="2671"/>
                  </a:lnTo>
                  <a:lnTo>
                    <a:pt x="1913" y="2678"/>
                  </a:lnTo>
                  <a:lnTo>
                    <a:pt x="1900" y="2683"/>
                  </a:lnTo>
                  <a:lnTo>
                    <a:pt x="1888" y="2686"/>
                  </a:lnTo>
                  <a:lnTo>
                    <a:pt x="1877" y="2687"/>
                  </a:lnTo>
                  <a:lnTo>
                    <a:pt x="1864" y="2688"/>
                  </a:lnTo>
                  <a:lnTo>
                    <a:pt x="1850" y="2687"/>
                  </a:lnTo>
                  <a:lnTo>
                    <a:pt x="1839" y="2686"/>
                  </a:lnTo>
                  <a:lnTo>
                    <a:pt x="1826" y="2683"/>
                  </a:lnTo>
                  <a:lnTo>
                    <a:pt x="1802" y="2675"/>
                  </a:lnTo>
                  <a:lnTo>
                    <a:pt x="1780" y="2666"/>
                  </a:lnTo>
                  <a:lnTo>
                    <a:pt x="1759" y="2657"/>
                  </a:lnTo>
                  <a:lnTo>
                    <a:pt x="1741" y="2648"/>
                  </a:lnTo>
                  <a:lnTo>
                    <a:pt x="1734" y="2645"/>
                  </a:lnTo>
                  <a:lnTo>
                    <a:pt x="1728" y="2644"/>
                  </a:lnTo>
                  <a:lnTo>
                    <a:pt x="1721" y="2645"/>
                  </a:lnTo>
                  <a:lnTo>
                    <a:pt x="1714" y="2648"/>
                  </a:lnTo>
                  <a:lnTo>
                    <a:pt x="1703" y="2656"/>
                  </a:lnTo>
                  <a:lnTo>
                    <a:pt x="1691" y="2665"/>
                  </a:lnTo>
                  <a:lnTo>
                    <a:pt x="1686" y="2670"/>
                  </a:lnTo>
                  <a:lnTo>
                    <a:pt x="1679" y="2674"/>
                  </a:lnTo>
                  <a:lnTo>
                    <a:pt x="1674" y="2677"/>
                  </a:lnTo>
                  <a:lnTo>
                    <a:pt x="1669" y="2679"/>
                  </a:lnTo>
                  <a:lnTo>
                    <a:pt x="1662" y="2679"/>
                  </a:lnTo>
                  <a:lnTo>
                    <a:pt x="1657" y="2679"/>
                  </a:lnTo>
                  <a:lnTo>
                    <a:pt x="1650" y="2677"/>
                  </a:lnTo>
                  <a:lnTo>
                    <a:pt x="1644" y="2671"/>
                  </a:lnTo>
                  <a:lnTo>
                    <a:pt x="1629" y="2656"/>
                  </a:lnTo>
                  <a:lnTo>
                    <a:pt x="1616" y="2645"/>
                  </a:lnTo>
                  <a:lnTo>
                    <a:pt x="1606" y="2637"/>
                  </a:lnTo>
                  <a:lnTo>
                    <a:pt x="1595" y="2632"/>
                  </a:lnTo>
                  <a:lnTo>
                    <a:pt x="1585" y="2629"/>
                  </a:lnTo>
                  <a:lnTo>
                    <a:pt x="1572" y="2628"/>
                  </a:lnTo>
                  <a:lnTo>
                    <a:pt x="1555" y="2627"/>
                  </a:lnTo>
                  <a:lnTo>
                    <a:pt x="1535" y="2627"/>
                  </a:lnTo>
                  <a:lnTo>
                    <a:pt x="1525" y="2627"/>
                  </a:lnTo>
                  <a:lnTo>
                    <a:pt x="1516" y="2624"/>
                  </a:lnTo>
                  <a:lnTo>
                    <a:pt x="1508" y="2622"/>
                  </a:lnTo>
                  <a:lnTo>
                    <a:pt x="1501" y="2618"/>
                  </a:lnTo>
                  <a:lnTo>
                    <a:pt x="1489" y="2610"/>
                  </a:lnTo>
                  <a:lnTo>
                    <a:pt x="1480" y="2602"/>
                  </a:lnTo>
                  <a:lnTo>
                    <a:pt x="1475" y="2598"/>
                  </a:lnTo>
                  <a:lnTo>
                    <a:pt x="1470" y="2595"/>
                  </a:lnTo>
                  <a:lnTo>
                    <a:pt x="1463" y="2594"/>
                  </a:lnTo>
                  <a:lnTo>
                    <a:pt x="1457" y="2594"/>
                  </a:lnTo>
                  <a:lnTo>
                    <a:pt x="1449" y="2597"/>
                  </a:lnTo>
                  <a:lnTo>
                    <a:pt x="1441" y="2601"/>
                  </a:lnTo>
                  <a:lnTo>
                    <a:pt x="1432" y="2606"/>
                  </a:lnTo>
                  <a:lnTo>
                    <a:pt x="1420" y="2615"/>
                  </a:lnTo>
                  <a:lnTo>
                    <a:pt x="1418" y="2614"/>
                  </a:lnTo>
                  <a:lnTo>
                    <a:pt x="1410" y="2611"/>
                  </a:lnTo>
                  <a:lnTo>
                    <a:pt x="1401" y="2606"/>
                  </a:lnTo>
                  <a:lnTo>
                    <a:pt x="1391" y="2598"/>
                  </a:lnTo>
                  <a:lnTo>
                    <a:pt x="1384" y="2590"/>
                  </a:lnTo>
                  <a:lnTo>
                    <a:pt x="1378" y="2582"/>
                  </a:lnTo>
                  <a:lnTo>
                    <a:pt x="1377" y="2577"/>
                  </a:lnTo>
                  <a:lnTo>
                    <a:pt x="1377" y="2573"/>
                  </a:lnTo>
                  <a:lnTo>
                    <a:pt x="1378" y="2569"/>
                  </a:lnTo>
                  <a:lnTo>
                    <a:pt x="1381" y="2565"/>
                  </a:lnTo>
                  <a:lnTo>
                    <a:pt x="1384" y="2560"/>
                  </a:lnTo>
                  <a:lnTo>
                    <a:pt x="1386" y="2551"/>
                  </a:lnTo>
                  <a:lnTo>
                    <a:pt x="1389" y="2539"/>
                  </a:lnTo>
                  <a:lnTo>
                    <a:pt x="1391" y="2526"/>
                  </a:lnTo>
                  <a:lnTo>
                    <a:pt x="1394" y="2500"/>
                  </a:lnTo>
                  <a:lnTo>
                    <a:pt x="1395" y="2482"/>
                  </a:lnTo>
                  <a:lnTo>
                    <a:pt x="1394" y="2470"/>
                  </a:lnTo>
                  <a:lnTo>
                    <a:pt x="1393" y="2458"/>
                  </a:lnTo>
                  <a:lnTo>
                    <a:pt x="1389" y="2448"/>
                  </a:lnTo>
                  <a:lnTo>
                    <a:pt x="1386" y="2436"/>
                  </a:lnTo>
                  <a:lnTo>
                    <a:pt x="1384" y="2425"/>
                  </a:lnTo>
                  <a:lnTo>
                    <a:pt x="1381" y="2415"/>
                  </a:lnTo>
                  <a:lnTo>
                    <a:pt x="1380" y="2403"/>
                  </a:lnTo>
                  <a:lnTo>
                    <a:pt x="1381" y="2391"/>
                  </a:lnTo>
                  <a:lnTo>
                    <a:pt x="1382" y="2383"/>
                  </a:lnTo>
                  <a:lnTo>
                    <a:pt x="1386" y="2376"/>
                  </a:lnTo>
                  <a:lnTo>
                    <a:pt x="1387" y="2374"/>
                  </a:lnTo>
                  <a:lnTo>
                    <a:pt x="1387" y="2372"/>
                  </a:lnTo>
                  <a:lnTo>
                    <a:pt x="1391" y="2365"/>
                  </a:lnTo>
                  <a:lnTo>
                    <a:pt x="1395" y="2357"/>
                  </a:lnTo>
                  <a:lnTo>
                    <a:pt x="1395" y="2356"/>
                  </a:lnTo>
                  <a:lnTo>
                    <a:pt x="1397" y="2356"/>
                  </a:lnTo>
                  <a:lnTo>
                    <a:pt x="1398" y="2355"/>
                  </a:lnTo>
                  <a:lnTo>
                    <a:pt x="1399" y="2353"/>
                  </a:lnTo>
                  <a:lnTo>
                    <a:pt x="1399" y="2352"/>
                  </a:lnTo>
                  <a:lnTo>
                    <a:pt x="1401" y="2351"/>
                  </a:lnTo>
                  <a:lnTo>
                    <a:pt x="1402" y="2348"/>
                  </a:lnTo>
                  <a:lnTo>
                    <a:pt x="1403" y="2348"/>
                  </a:lnTo>
                  <a:lnTo>
                    <a:pt x="1403" y="2348"/>
                  </a:lnTo>
                  <a:lnTo>
                    <a:pt x="1404" y="2340"/>
                  </a:lnTo>
                  <a:lnTo>
                    <a:pt x="1406" y="2327"/>
                  </a:lnTo>
                  <a:lnTo>
                    <a:pt x="1407" y="2313"/>
                  </a:lnTo>
                  <a:lnTo>
                    <a:pt x="1406" y="2305"/>
                  </a:lnTo>
                  <a:lnTo>
                    <a:pt x="1402" y="2293"/>
                  </a:lnTo>
                  <a:lnTo>
                    <a:pt x="1398" y="2280"/>
                  </a:lnTo>
                  <a:lnTo>
                    <a:pt x="1398" y="2267"/>
                  </a:lnTo>
                  <a:lnTo>
                    <a:pt x="1397" y="2255"/>
                  </a:lnTo>
                  <a:lnTo>
                    <a:pt x="1395" y="2251"/>
                  </a:lnTo>
                  <a:lnTo>
                    <a:pt x="1395" y="2246"/>
                  </a:lnTo>
                  <a:lnTo>
                    <a:pt x="1395" y="2245"/>
                  </a:lnTo>
                  <a:lnTo>
                    <a:pt x="1399" y="2238"/>
                  </a:lnTo>
                  <a:lnTo>
                    <a:pt x="1404" y="2233"/>
                  </a:lnTo>
                  <a:lnTo>
                    <a:pt x="1404" y="2232"/>
                  </a:lnTo>
                  <a:lnTo>
                    <a:pt x="1406" y="2230"/>
                  </a:lnTo>
                  <a:lnTo>
                    <a:pt x="1407" y="2230"/>
                  </a:lnTo>
                  <a:lnTo>
                    <a:pt x="1408" y="2229"/>
                  </a:lnTo>
                  <a:lnTo>
                    <a:pt x="1411" y="2228"/>
                  </a:lnTo>
                  <a:lnTo>
                    <a:pt x="1412" y="2227"/>
                  </a:lnTo>
                  <a:lnTo>
                    <a:pt x="1414" y="2225"/>
                  </a:lnTo>
                  <a:lnTo>
                    <a:pt x="1415" y="2225"/>
                  </a:lnTo>
                  <a:lnTo>
                    <a:pt x="1420" y="2221"/>
                  </a:lnTo>
                  <a:lnTo>
                    <a:pt x="1425" y="2217"/>
                  </a:lnTo>
                  <a:lnTo>
                    <a:pt x="1428" y="2217"/>
                  </a:lnTo>
                  <a:lnTo>
                    <a:pt x="1429" y="2217"/>
                  </a:lnTo>
                  <a:lnTo>
                    <a:pt x="1432" y="2215"/>
                  </a:lnTo>
                  <a:lnTo>
                    <a:pt x="1432" y="2215"/>
                  </a:lnTo>
                  <a:lnTo>
                    <a:pt x="1433" y="2213"/>
                  </a:lnTo>
                  <a:lnTo>
                    <a:pt x="1433" y="2213"/>
                  </a:lnTo>
                  <a:lnTo>
                    <a:pt x="1433" y="2212"/>
                  </a:lnTo>
                  <a:lnTo>
                    <a:pt x="1435" y="2211"/>
                  </a:lnTo>
                  <a:lnTo>
                    <a:pt x="1436" y="2211"/>
                  </a:lnTo>
                  <a:lnTo>
                    <a:pt x="1437" y="2208"/>
                  </a:lnTo>
                  <a:lnTo>
                    <a:pt x="1440" y="2206"/>
                  </a:lnTo>
                  <a:lnTo>
                    <a:pt x="1441" y="2204"/>
                  </a:lnTo>
                  <a:lnTo>
                    <a:pt x="1441" y="2204"/>
                  </a:lnTo>
                  <a:lnTo>
                    <a:pt x="1444" y="2202"/>
                  </a:lnTo>
                  <a:lnTo>
                    <a:pt x="1445" y="2200"/>
                  </a:lnTo>
                  <a:lnTo>
                    <a:pt x="1449" y="2191"/>
                  </a:lnTo>
                  <a:lnTo>
                    <a:pt x="1453" y="2183"/>
                  </a:lnTo>
                  <a:lnTo>
                    <a:pt x="1455" y="2181"/>
                  </a:lnTo>
                  <a:lnTo>
                    <a:pt x="1459" y="2178"/>
                  </a:lnTo>
                  <a:lnTo>
                    <a:pt x="1461" y="2177"/>
                  </a:lnTo>
                  <a:lnTo>
                    <a:pt x="1461" y="2176"/>
                  </a:lnTo>
                  <a:lnTo>
                    <a:pt x="1470" y="2165"/>
                  </a:lnTo>
                  <a:lnTo>
                    <a:pt x="1478" y="2155"/>
                  </a:lnTo>
                  <a:lnTo>
                    <a:pt x="1483" y="2144"/>
                  </a:lnTo>
                  <a:lnTo>
                    <a:pt x="1488" y="2134"/>
                  </a:lnTo>
                  <a:lnTo>
                    <a:pt x="1489" y="2127"/>
                  </a:lnTo>
                  <a:lnTo>
                    <a:pt x="1489" y="2119"/>
                  </a:lnTo>
                  <a:lnTo>
                    <a:pt x="1489" y="2114"/>
                  </a:lnTo>
                  <a:lnTo>
                    <a:pt x="1489" y="2110"/>
                  </a:lnTo>
                  <a:lnTo>
                    <a:pt x="1488" y="2107"/>
                  </a:lnTo>
                  <a:lnTo>
                    <a:pt x="1486" y="2105"/>
                  </a:lnTo>
                  <a:lnTo>
                    <a:pt x="1486" y="2102"/>
                  </a:lnTo>
                  <a:lnTo>
                    <a:pt x="1486" y="2101"/>
                  </a:lnTo>
                  <a:lnTo>
                    <a:pt x="1483" y="2098"/>
                  </a:lnTo>
                  <a:lnTo>
                    <a:pt x="1482" y="2096"/>
                  </a:lnTo>
                  <a:lnTo>
                    <a:pt x="1480" y="2093"/>
                  </a:lnTo>
                  <a:lnTo>
                    <a:pt x="1479" y="2089"/>
                  </a:lnTo>
                  <a:lnTo>
                    <a:pt x="1479" y="2087"/>
                  </a:lnTo>
                  <a:lnTo>
                    <a:pt x="1476" y="2081"/>
                  </a:lnTo>
                  <a:lnTo>
                    <a:pt x="1472" y="2076"/>
                  </a:lnTo>
                  <a:lnTo>
                    <a:pt x="1470" y="2072"/>
                  </a:lnTo>
                  <a:lnTo>
                    <a:pt x="1467" y="2067"/>
                  </a:lnTo>
                  <a:lnTo>
                    <a:pt x="1467" y="2064"/>
                  </a:lnTo>
                  <a:lnTo>
                    <a:pt x="1467" y="2063"/>
                  </a:lnTo>
                  <a:lnTo>
                    <a:pt x="1466" y="2062"/>
                  </a:lnTo>
                  <a:lnTo>
                    <a:pt x="1465" y="2062"/>
                  </a:lnTo>
                  <a:lnTo>
                    <a:pt x="1465" y="2060"/>
                  </a:lnTo>
                  <a:lnTo>
                    <a:pt x="1463" y="2058"/>
                  </a:lnTo>
                  <a:lnTo>
                    <a:pt x="1463" y="2054"/>
                  </a:lnTo>
                  <a:lnTo>
                    <a:pt x="1466" y="2051"/>
                  </a:lnTo>
                  <a:lnTo>
                    <a:pt x="1466" y="2043"/>
                  </a:lnTo>
                  <a:lnTo>
                    <a:pt x="1465" y="2033"/>
                  </a:lnTo>
                  <a:lnTo>
                    <a:pt x="1461" y="2022"/>
                  </a:lnTo>
                  <a:lnTo>
                    <a:pt x="1455" y="2017"/>
                  </a:lnTo>
                  <a:lnTo>
                    <a:pt x="1454" y="2015"/>
                  </a:lnTo>
                  <a:lnTo>
                    <a:pt x="1453" y="2012"/>
                  </a:lnTo>
                  <a:lnTo>
                    <a:pt x="1452" y="2009"/>
                  </a:lnTo>
                  <a:lnTo>
                    <a:pt x="1450" y="2007"/>
                  </a:lnTo>
                  <a:lnTo>
                    <a:pt x="1450" y="2005"/>
                  </a:lnTo>
                  <a:lnTo>
                    <a:pt x="1450" y="2005"/>
                  </a:lnTo>
                  <a:lnTo>
                    <a:pt x="1448" y="1999"/>
                  </a:lnTo>
                  <a:lnTo>
                    <a:pt x="1444" y="1995"/>
                  </a:lnTo>
                  <a:lnTo>
                    <a:pt x="1437" y="1992"/>
                  </a:lnTo>
                  <a:lnTo>
                    <a:pt x="1429" y="1991"/>
                  </a:lnTo>
                  <a:lnTo>
                    <a:pt x="1423" y="1991"/>
                  </a:lnTo>
                  <a:lnTo>
                    <a:pt x="1416" y="1991"/>
                  </a:lnTo>
                  <a:lnTo>
                    <a:pt x="1403" y="1992"/>
                  </a:lnTo>
                  <a:lnTo>
                    <a:pt x="1389" y="1996"/>
                  </a:lnTo>
                  <a:lnTo>
                    <a:pt x="1387" y="1998"/>
                  </a:lnTo>
                  <a:lnTo>
                    <a:pt x="1385" y="2000"/>
                  </a:lnTo>
                  <a:lnTo>
                    <a:pt x="1384" y="2002"/>
                  </a:lnTo>
                  <a:lnTo>
                    <a:pt x="1384" y="2003"/>
                  </a:lnTo>
                  <a:lnTo>
                    <a:pt x="1382" y="2004"/>
                  </a:lnTo>
                  <a:lnTo>
                    <a:pt x="1380" y="2005"/>
                  </a:lnTo>
                  <a:lnTo>
                    <a:pt x="1378" y="2007"/>
                  </a:lnTo>
                  <a:lnTo>
                    <a:pt x="1377" y="2008"/>
                  </a:lnTo>
                  <a:lnTo>
                    <a:pt x="1370" y="2011"/>
                  </a:lnTo>
                  <a:lnTo>
                    <a:pt x="1364" y="2015"/>
                  </a:lnTo>
                  <a:lnTo>
                    <a:pt x="1357" y="2019"/>
                  </a:lnTo>
                  <a:lnTo>
                    <a:pt x="1351" y="2024"/>
                  </a:lnTo>
                  <a:lnTo>
                    <a:pt x="1340" y="2033"/>
                  </a:lnTo>
                  <a:lnTo>
                    <a:pt x="1329" y="2039"/>
                  </a:lnTo>
                  <a:lnTo>
                    <a:pt x="1326" y="2041"/>
                  </a:lnTo>
                  <a:lnTo>
                    <a:pt x="1323" y="2045"/>
                  </a:lnTo>
                  <a:lnTo>
                    <a:pt x="1322" y="2046"/>
                  </a:lnTo>
                  <a:lnTo>
                    <a:pt x="1319" y="2047"/>
                  </a:lnTo>
                  <a:lnTo>
                    <a:pt x="1191" y="2110"/>
                  </a:lnTo>
                  <a:lnTo>
                    <a:pt x="1172" y="2117"/>
                  </a:lnTo>
                  <a:lnTo>
                    <a:pt x="1144" y="2123"/>
                  </a:lnTo>
                  <a:lnTo>
                    <a:pt x="1117" y="2130"/>
                  </a:lnTo>
                  <a:lnTo>
                    <a:pt x="1096" y="2136"/>
                  </a:lnTo>
                  <a:lnTo>
                    <a:pt x="1081" y="2142"/>
                  </a:lnTo>
                  <a:lnTo>
                    <a:pt x="1067" y="2145"/>
                  </a:lnTo>
                  <a:lnTo>
                    <a:pt x="1053" y="2148"/>
                  </a:lnTo>
                  <a:lnTo>
                    <a:pt x="1029" y="2152"/>
                  </a:lnTo>
                  <a:lnTo>
                    <a:pt x="1007" y="2156"/>
                  </a:lnTo>
                  <a:lnTo>
                    <a:pt x="995" y="2159"/>
                  </a:lnTo>
                  <a:lnTo>
                    <a:pt x="992" y="2159"/>
                  </a:lnTo>
                  <a:lnTo>
                    <a:pt x="987" y="2160"/>
                  </a:lnTo>
                  <a:lnTo>
                    <a:pt x="983" y="2161"/>
                  </a:lnTo>
                  <a:lnTo>
                    <a:pt x="982" y="2162"/>
                  </a:lnTo>
                  <a:lnTo>
                    <a:pt x="982" y="2162"/>
                  </a:lnTo>
                  <a:lnTo>
                    <a:pt x="979" y="2164"/>
                  </a:lnTo>
                  <a:lnTo>
                    <a:pt x="978" y="2165"/>
                  </a:lnTo>
                  <a:lnTo>
                    <a:pt x="973" y="2165"/>
                  </a:lnTo>
                  <a:lnTo>
                    <a:pt x="969" y="2166"/>
                  </a:lnTo>
                  <a:lnTo>
                    <a:pt x="968" y="2168"/>
                  </a:lnTo>
                  <a:lnTo>
                    <a:pt x="965" y="2169"/>
                  </a:lnTo>
                  <a:lnTo>
                    <a:pt x="962" y="2170"/>
                  </a:lnTo>
                  <a:lnTo>
                    <a:pt x="960" y="2170"/>
                  </a:lnTo>
                  <a:lnTo>
                    <a:pt x="838" y="2168"/>
                  </a:lnTo>
                  <a:lnTo>
                    <a:pt x="778" y="2168"/>
                  </a:lnTo>
                  <a:lnTo>
                    <a:pt x="723" y="2153"/>
                  </a:lnTo>
                  <a:lnTo>
                    <a:pt x="724" y="2149"/>
                  </a:lnTo>
                  <a:lnTo>
                    <a:pt x="727" y="2147"/>
                  </a:lnTo>
                  <a:lnTo>
                    <a:pt x="728" y="2145"/>
                  </a:lnTo>
                  <a:lnTo>
                    <a:pt x="728" y="2144"/>
                  </a:lnTo>
                  <a:lnTo>
                    <a:pt x="739" y="2130"/>
                  </a:lnTo>
                  <a:lnTo>
                    <a:pt x="749" y="2117"/>
                  </a:lnTo>
                  <a:lnTo>
                    <a:pt x="749" y="2115"/>
                  </a:lnTo>
                  <a:lnTo>
                    <a:pt x="750" y="2113"/>
                  </a:lnTo>
                  <a:lnTo>
                    <a:pt x="753" y="2111"/>
                  </a:lnTo>
                  <a:lnTo>
                    <a:pt x="754" y="2111"/>
                  </a:lnTo>
                  <a:lnTo>
                    <a:pt x="756" y="2111"/>
                  </a:lnTo>
                  <a:lnTo>
                    <a:pt x="756" y="2110"/>
                  </a:lnTo>
                  <a:lnTo>
                    <a:pt x="756" y="2104"/>
                  </a:lnTo>
                  <a:lnTo>
                    <a:pt x="754" y="2098"/>
                  </a:lnTo>
                  <a:lnTo>
                    <a:pt x="753" y="2094"/>
                  </a:lnTo>
                  <a:lnTo>
                    <a:pt x="752" y="2092"/>
                  </a:lnTo>
                  <a:lnTo>
                    <a:pt x="752" y="2089"/>
                  </a:lnTo>
                  <a:lnTo>
                    <a:pt x="750" y="2087"/>
                  </a:lnTo>
                  <a:lnTo>
                    <a:pt x="749" y="2084"/>
                  </a:lnTo>
                  <a:lnTo>
                    <a:pt x="748" y="2083"/>
                  </a:lnTo>
                  <a:lnTo>
                    <a:pt x="748" y="2083"/>
                  </a:lnTo>
                  <a:lnTo>
                    <a:pt x="748" y="2081"/>
                  </a:lnTo>
                  <a:lnTo>
                    <a:pt x="747" y="2080"/>
                  </a:lnTo>
                  <a:lnTo>
                    <a:pt x="745" y="2075"/>
                  </a:lnTo>
                  <a:lnTo>
                    <a:pt x="743" y="2070"/>
                  </a:lnTo>
                  <a:lnTo>
                    <a:pt x="736" y="2059"/>
                  </a:lnTo>
                  <a:lnTo>
                    <a:pt x="731" y="2049"/>
                  </a:lnTo>
                  <a:lnTo>
                    <a:pt x="731" y="2047"/>
                  </a:lnTo>
                  <a:lnTo>
                    <a:pt x="726" y="2041"/>
                  </a:lnTo>
                  <a:lnTo>
                    <a:pt x="719" y="2037"/>
                  </a:lnTo>
                  <a:lnTo>
                    <a:pt x="718" y="2037"/>
                  </a:lnTo>
                  <a:lnTo>
                    <a:pt x="710" y="2029"/>
                  </a:lnTo>
                  <a:lnTo>
                    <a:pt x="702" y="2020"/>
                  </a:lnTo>
                  <a:lnTo>
                    <a:pt x="699" y="2020"/>
                  </a:lnTo>
                  <a:lnTo>
                    <a:pt x="697" y="2019"/>
                  </a:lnTo>
                  <a:lnTo>
                    <a:pt x="693" y="2016"/>
                  </a:lnTo>
                  <a:lnTo>
                    <a:pt x="692" y="2015"/>
                  </a:lnTo>
                  <a:lnTo>
                    <a:pt x="689" y="2013"/>
                  </a:lnTo>
                  <a:lnTo>
                    <a:pt x="686" y="2013"/>
                  </a:lnTo>
                  <a:lnTo>
                    <a:pt x="680" y="2013"/>
                  </a:lnTo>
                  <a:lnTo>
                    <a:pt x="669" y="2012"/>
                  </a:lnTo>
                  <a:lnTo>
                    <a:pt x="672" y="1990"/>
                  </a:lnTo>
                  <a:lnTo>
                    <a:pt x="673" y="1982"/>
                  </a:lnTo>
                  <a:lnTo>
                    <a:pt x="676" y="1974"/>
                  </a:lnTo>
                  <a:lnTo>
                    <a:pt x="680" y="1968"/>
                  </a:lnTo>
                  <a:lnTo>
                    <a:pt x="684" y="1961"/>
                  </a:lnTo>
                  <a:lnTo>
                    <a:pt x="692" y="1947"/>
                  </a:lnTo>
                  <a:lnTo>
                    <a:pt x="699" y="1931"/>
                  </a:lnTo>
                  <a:lnTo>
                    <a:pt x="699" y="1918"/>
                  </a:lnTo>
                  <a:lnTo>
                    <a:pt x="699" y="1906"/>
                  </a:lnTo>
                  <a:lnTo>
                    <a:pt x="701" y="1898"/>
                  </a:lnTo>
                  <a:lnTo>
                    <a:pt x="699" y="1889"/>
                  </a:lnTo>
                  <a:lnTo>
                    <a:pt x="698" y="1880"/>
                  </a:lnTo>
                  <a:lnTo>
                    <a:pt x="697" y="1873"/>
                  </a:lnTo>
                  <a:lnTo>
                    <a:pt x="697" y="1862"/>
                  </a:lnTo>
                  <a:lnTo>
                    <a:pt x="698" y="1852"/>
                  </a:lnTo>
                  <a:lnTo>
                    <a:pt x="699" y="1848"/>
                  </a:lnTo>
                  <a:lnTo>
                    <a:pt x="701" y="1843"/>
                  </a:lnTo>
                  <a:lnTo>
                    <a:pt x="705" y="1839"/>
                  </a:lnTo>
                  <a:lnTo>
                    <a:pt x="709" y="1835"/>
                  </a:lnTo>
                  <a:lnTo>
                    <a:pt x="739" y="1804"/>
                  </a:lnTo>
                  <a:lnTo>
                    <a:pt x="743" y="1800"/>
                  </a:lnTo>
                  <a:lnTo>
                    <a:pt x="747" y="1797"/>
                  </a:lnTo>
                  <a:lnTo>
                    <a:pt x="764" y="1791"/>
                  </a:lnTo>
                  <a:lnTo>
                    <a:pt x="782" y="1784"/>
                  </a:lnTo>
                  <a:lnTo>
                    <a:pt x="799" y="1777"/>
                  </a:lnTo>
                  <a:lnTo>
                    <a:pt x="817" y="1767"/>
                  </a:lnTo>
                  <a:lnTo>
                    <a:pt x="851" y="1752"/>
                  </a:lnTo>
                  <a:lnTo>
                    <a:pt x="881" y="1737"/>
                  </a:lnTo>
                  <a:lnTo>
                    <a:pt x="884" y="1735"/>
                  </a:lnTo>
                  <a:lnTo>
                    <a:pt x="886" y="1732"/>
                  </a:lnTo>
                  <a:lnTo>
                    <a:pt x="888" y="1729"/>
                  </a:lnTo>
                  <a:lnTo>
                    <a:pt x="889" y="1726"/>
                  </a:lnTo>
                  <a:lnTo>
                    <a:pt x="892" y="1718"/>
                  </a:lnTo>
                  <a:lnTo>
                    <a:pt x="893" y="1711"/>
                  </a:lnTo>
                  <a:lnTo>
                    <a:pt x="897" y="1705"/>
                  </a:lnTo>
                  <a:lnTo>
                    <a:pt x="901" y="1698"/>
                  </a:lnTo>
                  <a:lnTo>
                    <a:pt x="902" y="1698"/>
                  </a:lnTo>
                  <a:lnTo>
                    <a:pt x="902" y="1697"/>
                  </a:lnTo>
                  <a:lnTo>
                    <a:pt x="903" y="1677"/>
                  </a:lnTo>
                  <a:lnTo>
                    <a:pt x="901" y="1647"/>
                  </a:lnTo>
                  <a:lnTo>
                    <a:pt x="898" y="1631"/>
                  </a:lnTo>
                  <a:lnTo>
                    <a:pt x="894" y="1618"/>
                  </a:lnTo>
                  <a:lnTo>
                    <a:pt x="892" y="1612"/>
                  </a:lnTo>
                  <a:lnTo>
                    <a:pt x="889" y="1606"/>
                  </a:lnTo>
                  <a:lnTo>
                    <a:pt x="885" y="1603"/>
                  </a:lnTo>
                  <a:lnTo>
                    <a:pt x="881" y="1600"/>
                  </a:lnTo>
                  <a:lnTo>
                    <a:pt x="879" y="1597"/>
                  </a:lnTo>
                  <a:lnTo>
                    <a:pt x="877" y="1592"/>
                  </a:lnTo>
                  <a:lnTo>
                    <a:pt x="876" y="1588"/>
                  </a:lnTo>
                  <a:lnTo>
                    <a:pt x="876" y="1582"/>
                  </a:lnTo>
                  <a:lnTo>
                    <a:pt x="876" y="1575"/>
                  </a:lnTo>
                  <a:lnTo>
                    <a:pt x="879" y="1571"/>
                  </a:lnTo>
                  <a:lnTo>
                    <a:pt x="881" y="1569"/>
                  </a:lnTo>
                  <a:lnTo>
                    <a:pt x="884" y="1566"/>
                  </a:lnTo>
                  <a:lnTo>
                    <a:pt x="890" y="1558"/>
                  </a:lnTo>
                  <a:lnTo>
                    <a:pt x="896" y="1552"/>
                  </a:lnTo>
                  <a:lnTo>
                    <a:pt x="896" y="1550"/>
                  </a:lnTo>
                  <a:lnTo>
                    <a:pt x="897" y="1548"/>
                  </a:lnTo>
                  <a:lnTo>
                    <a:pt x="898" y="1548"/>
                  </a:lnTo>
                  <a:lnTo>
                    <a:pt x="900" y="1544"/>
                  </a:lnTo>
                  <a:lnTo>
                    <a:pt x="902" y="1538"/>
                  </a:lnTo>
                  <a:lnTo>
                    <a:pt x="903" y="1532"/>
                  </a:lnTo>
                  <a:lnTo>
                    <a:pt x="905" y="1524"/>
                  </a:lnTo>
                  <a:lnTo>
                    <a:pt x="906" y="1515"/>
                  </a:lnTo>
                  <a:lnTo>
                    <a:pt x="906" y="1508"/>
                  </a:lnTo>
                  <a:lnTo>
                    <a:pt x="905" y="1503"/>
                  </a:lnTo>
                  <a:lnTo>
                    <a:pt x="903" y="1499"/>
                  </a:lnTo>
                  <a:lnTo>
                    <a:pt x="903" y="1497"/>
                  </a:lnTo>
                  <a:lnTo>
                    <a:pt x="902" y="1493"/>
                  </a:lnTo>
                  <a:lnTo>
                    <a:pt x="883" y="1481"/>
                  </a:lnTo>
                  <a:lnTo>
                    <a:pt x="862" y="1464"/>
                  </a:lnTo>
                  <a:lnTo>
                    <a:pt x="850" y="1456"/>
                  </a:lnTo>
                  <a:lnTo>
                    <a:pt x="838" y="1448"/>
                  </a:lnTo>
                  <a:lnTo>
                    <a:pt x="832" y="1446"/>
                  </a:lnTo>
                  <a:lnTo>
                    <a:pt x="825" y="1444"/>
                  </a:lnTo>
                  <a:lnTo>
                    <a:pt x="818" y="1442"/>
                  </a:lnTo>
                  <a:lnTo>
                    <a:pt x="812" y="1442"/>
                  </a:lnTo>
                  <a:lnTo>
                    <a:pt x="811" y="1440"/>
                  </a:lnTo>
                  <a:lnTo>
                    <a:pt x="808" y="1439"/>
                  </a:lnTo>
                  <a:lnTo>
                    <a:pt x="800" y="1435"/>
                  </a:lnTo>
                  <a:lnTo>
                    <a:pt x="792" y="1430"/>
                  </a:lnTo>
                  <a:lnTo>
                    <a:pt x="787" y="1426"/>
                  </a:lnTo>
                  <a:lnTo>
                    <a:pt x="783" y="1423"/>
                  </a:lnTo>
                  <a:lnTo>
                    <a:pt x="777" y="1422"/>
                  </a:lnTo>
                  <a:lnTo>
                    <a:pt x="769" y="1419"/>
                  </a:lnTo>
                  <a:lnTo>
                    <a:pt x="767" y="1418"/>
                  </a:lnTo>
                  <a:lnTo>
                    <a:pt x="766" y="1417"/>
                  </a:lnTo>
                  <a:lnTo>
                    <a:pt x="765" y="1416"/>
                  </a:lnTo>
                  <a:lnTo>
                    <a:pt x="764" y="1414"/>
                  </a:lnTo>
                  <a:lnTo>
                    <a:pt x="762" y="1413"/>
                  </a:lnTo>
                  <a:lnTo>
                    <a:pt x="760" y="1412"/>
                  </a:lnTo>
                  <a:lnTo>
                    <a:pt x="758" y="1410"/>
                  </a:lnTo>
                  <a:lnTo>
                    <a:pt x="758" y="1409"/>
                  </a:lnTo>
                  <a:lnTo>
                    <a:pt x="757" y="1408"/>
                  </a:lnTo>
                  <a:lnTo>
                    <a:pt x="757" y="1406"/>
                  </a:lnTo>
                  <a:lnTo>
                    <a:pt x="754" y="1406"/>
                  </a:lnTo>
                  <a:lnTo>
                    <a:pt x="753" y="1406"/>
                  </a:lnTo>
                  <a:lnTo>
                    <a:pt x="750" y="1405"/>
                  </a:lnTo>
                  <a:lnTo>
                    <a:pt x="749" y="1402"/>
                  </a:lnTo>
                  <a:lnTo>
                    <a:pt x="748" y="1401"/>
                  </a:lnTo>
                  <a:lnTo>
                    <a:pt x="747" y="1401"/>
                  </a:lnTo>
                  <a:lnTo>
                    <a:pt x="745" y="1400"/>
                  </a:lnTo>
                  <a:lnTo>
                    <a:pt x="745" y="1400"/>
                  </a:lnTo>
                  <a:lnTo>
                    <a:pt x="744" y="1400"/>
                  </a:lnTo>
                  <a:lnTo>
                    <a:pt x="744" y="1399"/>
                  </a:lnTo>
                  <a:lnTo>
                    <a:pt x="743" y="1397"/>
                  </a:lnTo>
                  <a:lnTo>
                    <a:pt x="732" y="1399"/>
                  </a:lnTo>
                  <a:lnTo>
                    <a:pt x="722" y="1401"/>
                  </a:lnTo>
                  <a:lnTo>
                    <a:pt x="711" y="1405"/>
                  </a:lnTo>
                  <a:lnTo>
                    <a:pt x="703" y="1406"/>
                  </a:lnTo>
                  <a:lnTo>
                    <a:pt x="702" y="1408"/>
                  </a:lnTo>
                  <a:lnTo>
                    <a:pt x="701" y="1409"/>
                  </a:lnTo>
                  <a:lnTo>
                    <a:pt x="697" y="1412"/>
                  </a:lnTo>
                  <a:lnTo>
                    <a:pt x="693" y="1414"/>
                  </a:lnTo>
                  <a:lnTo>
                    <a:pt x="692" y="1416"/>
                  </a:lnTo>
                  <a:lnTo>
                    <a:pt x="689" y="1417"/>
                  </a:lnTo>
                  <a:lnTo>
                    <a:pt x="688" y="1418"/>
                  </a:lnTo>
                  <a:lnTo>
                    <a:pt x="686" y="1419"/>
                  </a:lnTo>
                  <a:lnTo>
                    <a:pt x="684" y="1419"/>
                  </a:lnTo>
                  <a:lnTo>
                    <a:pt x="681" y="1419"/>
                  </a:lnTo>
                  <a:lnTo>
                    <a:pt x="680" y="1419"/>
                  </a:lnTo>
                  <a:lnTo>
                    <a:pt x="679" y="1419"/>
                  </a:lnTo>
                  <a:lnTo>
                    <a:pt x="677" y="1414"/>
                  </a:lnTo>
                  <a:lnTo>
                    <a:pt x="677" y="1409"/>
                  </a:lnTo>
                  <a:lnTo>
                    <a:pt x="677" y="1408"/>
                  </a:lnTo>
                  <a:lnTo>
                    <a:pt x="676" y="1406"/>
                  </a:lnTo>
                  <a:lnTo>
                    <a:pt x="675" y="1405"/>
                  </a:lnTo>
                  <a:lnTo>
                    <a:pt x="673" y="1402"/>
                  </a:lnTo>
                  <a:lnTo>
                    <a:pt x="673" y="1401"/>
                  </a:lnTo>
                  <a:lnTo>
                    <a:pt x="673" y="1399"/>
                  </a:lnTo>
                  <a:lnTo>
                    <a:pt x="671" y="1396"/>
                  </a:lnTo>
                  <a:lnTo>
                    <a:pt x="669" y="1392"/>
                  </a:lnTo>
                  <a:lnTo>
                    <a:pt x="665" y="1385"/>
                  </a:lnTo>
                  <a:lnTo>
                    <a:pt x="662" y="1379"/>
                  </a:lnTo>
                  <a:lnTo>
                    <a:pt x="660" y="1378"/>
                  </a:lnTo>
                  <a:lnTo>
                    <a:pt x="660" y="1375"/>
                  </a:lnTo>
                  <a:lnTo>
                    <a:pt x="659" y="1374"/>
                  </a:lnTo>
                  <a:lnTo>
                    <a:pt x="658" y="1372"/>
                  </a:lnTo>
                  <a:lnTo>
                    <a:pt x="658" y="1371"/>
                  </a:lnTo>
                  <a:lnTo>
                    <a:pt x="658" y="1371"/>
                  </a:lnTo>
                  <a:lnTo>
                    <a:pt x="658" y="1368"/>
                  </a:lnTo>
                  <a:lnTo>
                    <a:pt x="658" y="1368"/>
                  </a:lnTo>
                  <a:lnTo>
                    <a:pt x="660" y="1367"/>
                  </a:lnTo>
                  <a:lnTo>
                    <a:pt x="664" y="1363"/>
                  </a:lnTo>
                  <a:lnTo>
                    <a:pt x="668" y="1359"/>
                  </a:lnTo>
                  <a:lnTo>
                    <a:pt x="672" y="1357"/>
                  </a:lnTo>
                  <a:lnTo>
                    <a:pt x="675" y="1354"/>
                  </a:lnTo>
                  <a:lnTo>
                    <a:pt x="677" y="1353"/>
                  </a:lnTo>
                  <a:lnTo>
                    <a:pt x="680" y="1351"/>
                  </a:lnTo>
                  <a:lnTo>
                    <a:pt x="681" y="1350"/>
                  </a:lnTo>
                  <a:lnTo>
                    <a:pt x="681" y="1349"/>
                  </a:lnTo>
                  <a:lnTo>
                    <a:pt x="684" y="1349"/>
                  </a:lnTo>
                  <a:lnTo>
                    <a:pt x="684" y="1347"/>
                  </a:lnTo>
                  <a:lnTo>
                    <a:pt x="685" y="1346"/>
                  </a:lnTo>
                  <a:lnTo>
                    <a:pt x="688" y="1345"/>
                  </a:lnTo>
                  <a:lnTo>
                    <a:pt x="689" y="1342"/>
                  </a:lnTo>
                  <a:lnTo>
                    <a:pt x="690" y="1341"/>
                  </a:lnTo>
                  <a:lnTo>
                    <a:pt x="690" y="1338"/>
                  </a:lnTo>
                  <a:lnTo>
                    <a:pt x="693" y="1336"/>
                  </a:lnTo>
                  <a:lnTo>
                    <a:pt x="696" y="1330"/>
                  </a:lnTo>
                  <a:lnTo>
                    <a:pt x="699" y="1327"/>
                  </a:lnTo>
                  <a:lnTo>
                    <a:pt x="701" y="1324"/>
                  </a:lnTo>
                  <a:lnTo>
                    <a:pt x="702" y="1323"/>
                  </a:lnTo>
                  <a:lnTo>
                    <a:pt x="702" y="1323"/>
                  </a:lnTo>
                  <a:lnTo>
                    <a:pt x="703" y="1321"/>
                  </a:lnTo>
                  <a:lnTo>
                    <a:pt x="709" y="1312"/>
                  </a:lnTo>
                  <a:lnTo>
                    <a:pt x="714" y="1303"/>
                  </a:lnTo>
                  <a:lnTo>
                    <a:pt x="715" y="1299"/>
                  </a:lnTo>
                  <a:lnTo>
                    <a:pt x="714" y="1294"/>
                  </a:lnTo>
                  <a:lnTo>
                    <a:pt x="713" y="1289"/>
                  </a:lnTo>
                  <a:lnTo>
                    <a:pt x="711" y="1285"/>
                  </a:lnTo>
                  <a:lnTo>
                    <a:pt x="711" y="1283"/>
                  </a:lnTo>
                  <a:lnTo>
                    <a:pt x="710" y="1283"/>
                  </a:lnTo>
                  <a:lnTo>
                    <a:pt x="709" y="1282"/>
                  </a:lnTo>
                  <a:lnTo>
                    <a:pt x="707" y="1281"/>
                  </a:lnTo>
                  <a:lnTo>
                    <a:pt x="706" y="1281"/>
                  </a:lnTo>
                  <a:lnTo>
                    <a:pt x="705" y="1281"/>
                  </a:lnTo>
                  <a:lnTo>
                    <a:pt x="698" y="1279"/>
                  </a:lnTo>
                  <a:lnTo>
                    <a:pt x="690" y="1281"/>
                  </a:lnTo>
                  <a:lnTo>
                    <a:pt x="689" y="1282"/>
                  </a:lnTo>
                  <a:lnTo>
                    <a:pt x="688" y="1282"/>
                  </a:lnTo>
                  <a:lnTo>
                    <a:pt x="673" y="1286"/>
                  </a:lnTo>
                  <a:lnTo>
                    <a:pt x="656" y="1293"/>
                  </a:lnTo>
                  <a:lnTo>
                    <a:pt x="637" y="1298"/>
                  </a:lnTo>
                  <a:lnTo>
                    <a:pt x="621" y="1302"/>
                  </a:lnTo>
                  <a:lnTo>
                    <a:pt x="603" y="1304"/>
                  </a:lnTo>
                  <a:lnTo>
                    <a:pt x="584" y="1308"/>
                  </a:lnTo>
                  <a:lnTo>
                    <a:pt x="566" y="1316"/>
                  </a:lnTo>
                  <a:lnTo>
                    <a:pt x="546" y="1324"/>
                  </a:lnTo>
                  <a:lnTo>
                    <a:pt x="510" y="1341"/>
                  </a:lnTo>
                  <a:lnTo>
                    <a:pt x="474" y="1357"/>
                  </a:lnTo>
                  <a:lnTo>
                    <a:pt x="454" y="1363"/>
                  </a:lnTo>
                  <a:lnTo>
                    <a:pt x="431" y="1367"/>
                  </a:lnTo>
                  <a:lnTo>
                    <a:pt x="409" y="1371"/>
                  </a:lnTo>
                  <a:lnTo>
                    <a:pt x="386" y="1374"/>
                  </a:lnTo>
                  <a:lnTo>
                    <a:pt x="363" y="1378"/>
                  </a:lnTo>
                  <a:lnTo>
                    <a:pt x="341" y="1382"/>
                  </a:lnTo>
                  <a:lnTo>
                    <a:pt x="319" y="1385"/>
                  </a:lnTo>
                  <a:lnTo>
                    <a:pt x="297" y="1392"/>
                  </a:lnTo>
                  <a:lnTo>
                    <a:pt x="270" y="1402"/>
                  </a:lnTo>
                  <a:lnTo>
                    <a:pt x="234" y="1421"/>
                  </a:lnTo>
                  <a:lnTo>
                    <a:pt x="191" y="1444"/>
                  </a:lnTo>
                  <a:lnTo>
                    <a:pt x="144" y="1468"/>
                  </a:lnTo>
                  <a:lnTo>
                    <a:pt x="100" y="1491"/>
                  </a:lnTo>
                  <a:lnTo>
                    <a:pt x="64" y="1511"/>
                  </a:lnTo>
                  <a:lnTo>
                    <a:pt x="39" y="1523"/>
                  </a:lnTo>
                  <a:lnTo>
                    <a:pt x="30" y="1525"/>
                  </a:lnTo>
                  <a:lnTo>
                    <a:pt x="30" y="1510"/>
                  </a:lnTo>
                  <a:lnTo>
                    <a:pt x="32" y="1495"/>
                  </a:lnTo>
                  <a:lnTo>
                    <a:pt x="35" y="1482"/>
                  </a:lnTo>
                  <a:lnTo>
                    <a:pt x="39" y="1469"/>
                  </a:lnTo>
                  <a:lnTo>
                    <a:pt x="49" y="1447"/>
                  </a:lnTo>
                  <a:lnTo>
                    <a:pt x="62" y="1427"/>
                  </a:lnTo>
                  <a:lnTo>
                    <a:pt x="76" y="1406"/>
                  </a:lnTo>
                  <a:lnTo>
                    <a:pt x="87" y="1387"/>
                  </a:lnTo>
                  <a:lnTo>
                    <a:pt x="91" y="1376"/>
                  </a:lnTo>
                  <a:lnTo>
                    <a:pt x="96" y="1365"/>
                  </a:lnTo>
                  <a:lnTo>
                    <a:pt x="99" y="1353"/>
                  </a:lnTo>
                  <a:lnTo>
                    <a:pt x="102" y="1340"/>
                  </a:lnTo>
                  <a:lnTo>
                    <a:pt x="106" y="1308"/>
                  </a:lnTo>
                  <a:lnTo>
                    <a:pt x="108" y="1285"/>
                  </a:lnTo>
                  <a:lnTo>
                    <a:pt x="108" y="1274"/>
                  </a:lnTo>
                  <a:lnTo>
                    <a:pt x="107" y="1264"/>
                  </a:lnTo>
                  <a:lnTo>
                    <a:pt x="103" y="1251"/>
                  </a:lnTo>
                  <a:lnTo>
                    <a:pt x="96" y="1236"/>
                  </a:lnTo>
                  <a:lnTo>
                    <a:pt x="83" y="1209"/>
                  </a:lnTo>
                  <a:lnTo>
                    <a:pt x="70" y="1181"/>
                  </a:lnTo>
                  <a:lnTo>
                    <a:pt x="56" y="1155"/>
                  </a:lnTo>
                  <a:lnTo>
                    <a:pt x="40" y="1128"/>
                  </a:lnTo>
                  <a:lnTo>
                    <a:pt x="0" y="1061"/>
                  </a:lnTo>
                  <a:lnTo>
                    <a:pt x="48" y="1019"/>
                  </a:lnTo>
                  <a:lnTo>
                    <a:pt x="51" y="1018"/>
                  </a:lnTo>
                  <a:lnTo>
                    <a:pt x="52" y="1018"/>
                  </a:lnTo>
                  <a:lnTo>
                    <a:pt x="53" y="1018"/>
                  </a:lnTo>
                  <a:lnTo>
                    <a:pt x="55" y="1019"/>
                  </a:lnTo>
                  <a:lnTo>
                    <a:pt x="57" y="1022"/>
                  </a:lnTo>
                  <a:lnTo>
                    <a:pt x="59" y="1027"/>
                  </a:lnTo>
                  <a:lnTo>
                    <a:pt x="59" y="1028"/>
                  </a:lnTo>
                  <a:lnTo>
                    <a:pt x="60" y="1030"/>
                  </a:lnTo>
                  <a:lnTo>
                    <a:pt x="60" y="1031"/>
                  </a:lnTo>
                  <a:lnTo>
                    <a:pt x="60" y="1032"/>
                  </a:lnTo>
                  <a:lnTo>
                    <a:pt x="61" y="1036"/>
                  </a:lnTo>
                  <a:lnTo>
                    <a:pt x="62" y="1040"/>
                  </a:lnTo>
                  <a:lnTo>
                    <a:pt x="66" y="1057"/>
                  </a:lnTo>
                  <a:lnTo>
                    <a:pt x="69" y="1075"/>
                  </a:lnTo>
                  <a:lnTo>
                    <a:pt x="73" y="1086"/>
                  </a:lnTo>
                  <a:lnTo>
                    <a:pt x="77" y="1098"/>
                  </a:lnTo>
                  <a:lnTo>
                    <a:pt x="77" y="1103"/>
                  </a:lnTo>
                  <a:lnTo>
                    <a:pt x="78" y="1108"/>
                  </a:lnTo>
                  <a:lnTo>
                    <a:pt x="81" y="1124"/>
                  </a:lnTo>
                  <a:lnTo>
                    <a:pt x="83" y="1142"/>
                  </a:lnTo>
                  <a:lnTo>
                    <a:pt x="83" y="1145"/>
                  </a:lnTo>
                  <a:lnTo>
                    <a:pt x="83" y="1146"/>
                  </a:lnTo>
                  <a:lnTo>
                    <a:pt x="85" y="1147"/>
                  </a:lnTo>
                  <a:lnTo>
                    <a:pt x="85" y="1149"/>
                  </a:lnTo>
                  <a:lnTo>
                    <a:pt x="86" y="1150"/>
                  </a:lnTo>
                  <a:lnTo>
                    <a:pt x="89" y="1150"/>
                  </a:lnTo>
                  <a:lnTo>
                    <a:pt x="91" y="1149"/>
                  </a:lnTo>
                  <a:lnTo>
                    <a:pt x="96" y="1142"/>
                  </a:lnTo>
                  <a:lnTo>
                    <a:pt x="107" y="1136"/>
                  </a:lnTo>
                  <a:lnTo>
                    <a:pt x="119" y="1129"/>
                  </a:lnTo>
                  <a:lnTo>
                    <a:pt x="127" y="1126"/>
                  </a:lnTo>
                  <a:lnTo>
                    <a:pt x="128" y="1126"/>
                  </a:lnTo>
                  <a:lnTo>
                    <a:pt x="130" y="1125"/>
                  </a:lnTo>
                  <a:lnTo>
                    <a:pt x="133" y="1124"/>
                  </a:lnTo>
                  <a:lnTo>
                    <a:pt x="154" y="1121"/>
                  </a:lnTo>
                  <a:lnTo>
                    <a:pt x="172" y="1113"/>
                  </a:lnTo>
                  <a:lnTo>
                    <a:pt x="189" y="1106"/>
                  </a:lnTo>
                  <a:lnTo>
                    <a:pt x="192" y="1104"/>
                  </a:lnTo>
                  <a:lnTo>
                    <a:pt x="193" y="1103"/>
                  </a:lnTo>
                  <a:lnTo>
                    <a:pt x="193" y="1102"/>
                  </a:lnTo>
                  <a:lnTo>
                    <a:pt x="195" y="1100"/>
                  </a:lnTo>
                  <a:lnTo>
                    <a:pt x="195" y="1099"/>
                  </a:lnTo>
                  <a:lnTo>
                    <a:pt x="196" y="1098"/>
                  </a:lnTo>
                  <a:lnTo>
                    <a:pt x="197" y="1098"/>
                  </a:lnTo>
                  <a:lnTo>
                    <a:pt x="200" y="1095"/>
                  </a:lnTo>
                  <a:lnTo>
                    <a:pt x="205" y="1088"/>
                  </a:lnTo>
                  <a:lnTo>
                    <a:pt x="210" y="1082"/>
                  </a:lnTo>
                  <a:lnTo>
                    <a:pt x="210" y="1081"/>
                  </a:lnTo>
                  <a:lnTo>
                    <a:pt x="212" y="1079"/>
                  </a:lnTo>
                  <a:lnTo>
                    <a:pt x="213" y="1078"/>
                  </a:lnTo>
                  <a:lnTo>
                    <a:pt x="215" y="1077"/>
                  </a:lnTo>
                  <a:lnTo>
                    <a:pt x="218" y="1074"/>
                  </a:lnTo>
                  <a:lnTo>
                    <a:pt x="221" y="1073"/>
                  </a:lnTo>
                  <a:lnTo>
                    <a:pt x="223" y="1071"/>
                  </a:lnTo>
                  <a:lnTo>
                    <a:pt x="225" y="1069"/>
                  </a:lnTo>
                  <a:lnTo>
                    <a:pt x="226" y="1069"/>
                  </a:lnTo>
                  <a:lnTo>
                    <a:pt x="227" y="1068"/>
                  </a:lnTo>
                  <a:lnTo>
                    <a:pt x="230" y="1065"/>
                  </a:lnTo>
                  <a:lnTo>
                    <a:pt x="234" y="1064"/>
                  </a:lnTo>
                  <a:lnTo>
                    <a:pt x="236" y="1062"/>
                  </a:lnTo>
                  <a:lnTo>
                    <a:pt x="238" y="1061"/>
                  </a:lnTo>
                  <a:lnTo>
                    <a:pt x="242" y="1058"/>
                  </a:lnTo>
                  <a:lnTo>
                    <a:pt x="247" y="1056"/>
                  </a:lnTo>
                  <a:lnTo>
                    <a:pt x="253" y="1051"/>
                  </a:lnTo>
                  <a:lnTo>
                    <a:pt x="261" y="1048"/>
                  </a:lnTo>
                  <a:lnTo>
                    <a:pt x="272" y="1043"/>
                  </a:lnTo>
                  <a:lnTo>
                    <a:pt x="285" y="1034"/>
                  </a:lnTo>
                  <a:lnTo>
                    <a:pt x="297" y="1024"/>
                  </a:lnTo>
                  <a:lnTo>
                    <a:pt x="303" y="1017"/>
                  </a:lnTo>
                  <a:lnTo>
                    <a:pt x="303" y="1015"/>
                  </a:lnTo>
                  <a:lnTo>
                    <a:pt x="304" y="1015"/>
                  </a:lnTo>
                  <a:lnTo>
                    <a:pt x="308" y="998"/>
                  </a:lnTo>
                  <a:lnTo>
                    <a:pt x="310" y="981"/>
                  </a:lnTo>
                  <a:lnTo>
                    <a:pt x="311" y="980"/>
                  </a:lnTo>
                  <a:lnTo>
                    <a:pt x="311" y="979"/>
                  </a:lnTo>
                  <a:lnTo>
                    <a:pt x="314" y="976"/>
                  </a:lnTo>
                  <a:lnTo>
                    <a:pt x="315" y="972"/>
                  </a:lnTo>
                  <a:lnTo>
                    <a:pt x="319" y="968"/>
                  </a:lnTo>
                  <a:lnTo>
                    <a:pt x="321" y="963"/>
                  </a:lnTo>
                  <a:lnTo>
                    <a:pt x="325" y="960"/>
                  </a:lnTo>
                  <a:lnTo>
                    <a:pt x="327" y="958"/>
                  </a:lnTo>
                  <a:lnTo>
                    <a:pt x="329" y="956"/>
                  </a:lnTo>
                  <a:lnTo>
                    <a:pt x="332" y="954"/>
                  </a:lnTo>
                  <a:lnTo>
                    <a:pt x="332" y="952"/>
                  </a:lnTo>
                  <a:lnTo>
                    <a:pt x="333" y="952"/>
                  </a:lnTo>
                  <a:lnTo>
                    <a:pt x="333" y="951"/>
                  </a:lnTo>
                  <a:lnTo>
                    <a:pt x="335" y="951"/>
                  </a:lnTo>
                  <a:lnTo>
                    <a:pt x="336" y="950"/>
                  </a:lnTo>
                  <a:lnTo>
                    <a:pt x="336" y="949"/>
                  </a:lnTo>
                  <a:lnTo>
                    <a:pt x="340" y="947"/>
                  </a:lnTo>
                  <a:lnTo>
                    <a:pt x="342" y="943"/>
                  </a:lnTo>
                  <a:lnTo>
                    <a:pt x="345" y="941"/>
                  </a:lnTo>
                  <a:lnTo>
                    <a:pt x="349" y="937"/>
                  </a:lnTo>
                  <a:lnTo>
                    <a:pt x="350" y="935"/>
                  </a:lnTo>
                  <a:lnTo>
                    <a:pt x="353" y="935"/>
                  </a:lnTo>
                  <a:lnTo>
                    <a:pt x="354" y="934"/>
                  </a:lnTo>
                  <a:lnTo>
                    <a:pt x="355" y="933"/>
                  </a:lnTo>
                  <a:lnTo>
                    <a:pt x="358" y="929"/>
                  </a:lnTo>
                  <a:lnTo>
                    <a:pt x="362" y="925"/>
                  </a:lnTo>
                  <a:lnTo>
                    <a:pt x="365" y="924"/>
                  </a:lnTo>
                  <a:lnTo>
                    <a:pt x="369" y="922"/>
                  </a:lnTo>
                  <a:lnTo>
                    <a:pt x="371" y="922"/>
                  </a:lnTo>
                  <a:lnTo>
                    <a:pt x="374" y="925"/>
                  </a:lnTo>
                  <a:lnTo>
                    <a:pt x="375" y="925"/>
                  </a:lnTo>
                  <a:lnTo>
                    <a:pt x="376" y="925"/>
                  </a:lnTo>
                  <a:lnTo>
                    <a:pt x="378" y="930"/>
                  </a:lnTo>
                  <a:lnTo>
                    <a:pt x="379" y="934"/>
                  </a:lnTo>
                  <a:lnTo>
                    <a:pt x="379" y="935"/>
                  </a:lnTo>
                  <a:lnTo>
                    <a:pt x="379" y="937"/>
                  </a:lnTo>
                  <a:lnTo>
                    <a:pt x="380" y="938"/>
                  </a:lnTo>
                  <a:lnTo>
                    <a:pt x="380" y="939"/>
                  </a:lnTo>
                  <a:lnTo>
                    <a:pt x="380" y="941"/>
                  </a:lnTo>
                  <a:lnTo>
                    <a:pt x="382" y="942"/>
                  </a:lnTo>
                  <a:lnTo>
                    <a:pt x="383" y="942"/>
                  </a:lnTo>
                  <a:lnTo>
                    <a:pt x="383" y="943"/>
                  </a:lnTo>
                  <a:lnTo>
                    <a:pt x="384" y="945"/>
                  </a:lnTo>
                  <a:lnTo>
                    <a:pt x="384" y="946"/>
                  </a:lnTo>
                  <a:lnTo>
                    <a:pt x="386" y="947"/>
                  </a:lnTo>
                  <a:lnTo>
                    <a:pt x="386" y="947"/>
                  </a:lnTo>
                  <a:lnTo>
                    <a:pt x="388" y="947"/>
                  </a:lnTo>
                  <a:lnTo>
                    <a:pt x="389" y="947"/>
                  </a:lnTo>
                  <a:lnTo>
                    <a:pt x="391" y="949"/>
                  </a:lnTo>
                  <a:lnTo>
                    <a:pt x="393" y="949"/>
                  </a:lnTo>
                  <a:lnTo>
                    <a:pt x="395" y="950"/>
                  </a:lnTo>
                  <a:lnTo>
                    <a:pt x="399" y="951"/>
                  </a:lnTo>
                  <a:lnTo>
                    <a:pt x="405" y="951"/>
                  </a:lnTo>
                  <a:lnTo>
                    <a:pt x="412" y="952"/>
                  </a:lnTo>
                  <a:lnTo>
                    <a:pt x="418" y="952"/>
                  </a:lnTo>
                  <a:lnTo>
                    <a:pt x="421" y="954"/>
                  </a:lnTo>
                  <a:lnTo>
                    <a:pt x="423" y="954"/>
                  </a:lnTo>
                  <a:lnTo>
                    <a:pt x="426" y="956"/>
                  </a:lnTo>
                  <a:lnTo>
                    <a:pt x="430" y="958"/>
                  </a:lnTo>
                  <a:lnTo>
                    <a:pt x="431" y="958"/>
                  </a:lnTo>
                  <a:lnTo>
                    <a:pt x="433" y="958"/>
                  </a:lnTo>
                  <a:lnTo>
                    <a:pt x="435" y="960"/>
                  </a:lnTo>
                  <a:lnTo>
                    <a:pt x="438" y="963"/>
                  </a:lnTo>
                  <a:lnTo>
                    <a:pt x="439" y="964"/>
                  </a:lnTo>
                  <a:lnTo>
                    <a:pt x="440" y="966"/>
                  </a:lnTo>
                  <a:lnTo>
                    <a:pt x="440" y="967"/>
                  </a:lnTo>
                  <a:lnTo>
                    <a:pt x="442" y="969"/>
                  </a:lnTo>
                  <a:lnTo>
                    <a:pt x="444" y="972"/>
                  </a:lnTo>
                  <a:lnTo>
                    <a:pt x="446" y="976"/>
                  </a:lnTo>
                  <a:lnTo>
                    <a:pt x="447" y="980"/>
                  </a:lnTo>
                  <a:lnTo>
                    <a:pt x="451" y="986"/>
                  </a:lnTo>
                  <a:lnTo>
                    <a:pt x="454" y="993"/>
                  </a:lnTo>
                  <a:lnTo>
                    <a:pt x="457" y="997"/>
                  </a:lnTo>
                  <a:lnTo>
                    <a:pt x="461" y="1001"/>
                  </a:lnTo>
                  <a:lnTo>
                    <a:pt x="465" y="1001"/>
                  </a:lnTo>
                  <a:lnTo>
                    <a:pt x="468" y="1003"/>
                  </a:lnTo>
                  <a:lnTo>
                    <a:pt x="468" y="1003"/>
                  </a:lnTo>
                  <a:lnTo>
                    <a:pt x="468" y="1005"/>
                  </a:lnTo>
                  <a:lnTo>
                    <a:pt x="477" y="1006"/>
                  </a:lnTo>
                  <a:lnTo>
                    <a:pt x="488" y="1005"/>
                  </a:lnTo>
                  <a:lnTo>
                    <a:pt x="489" y="1005"/>
                  </a:lnTo>
                  <a:lnTo>
                    <a:pt x="489" y="1005"/>
                  </a:lnTo>
                  <a:lnTo>
                    <a:pt x="490" y="1003"/>
                  </a:lnTo>
                  <a:lnTo>
                    <a:pt x="495" y="1000"/>
                  </a:lnTo>
                  <a:lnTo>
                    <a:pt x="501" y="998"/>
                  </a:lnTo>
                  <a:lnTo>
                    <a:pt x="502" y="997"/>
                  </a:lnTo>
                  <a:lnTo>
                    <a:pt x="507" y="993"/>
                  </a:lnTo>
                  <a:lnTo>
                    <a:pt x="510" y="986"/>
                  </a:lnTo>
                  <a:lnTo>
                    <a:pt x="511" y="986"/>
                  </a:lnTo>
                  <a:lnTo>
                    <a:pt x="512" y="985"/>
                  </a:lnTo>
                  <a:lnTo>
                    <a:pt x="514" y="984"/>
                  </a:lnTo>
                  <a:lnTo>
                    <a:pt x="514" y="981"/>
                  </a:lnTo>
                  <a:lnTo>
                    <a:pt x="515" y="976"/>
                  </a:lnTo>
                  <a:lnTo>
                    <a:pt x="518" y="969"/>
                  </a:lnTo>
                  <a:lnTo>
                    <a:pt x="519" y="967"/>
                  </a:lnTo>
                  <a:lnTo>
                    <a:pt x="520" y="963"/>
                  </a:lnTo>
                  <a:lnTo>
                    <a:pt x="523" y="962"/>
                  </a:lnTo>
                  <a:lnTo>
                    <a:pt x="525" y="958"/>
                  </a:lnTo>
                  <a:lnTo>
                    <a:pt x="529" y="949"/>
                  </a:lnTo>
                  <a:lnTo>
                    <a:pt x="535" y="938"/>
                  </a:lnTo>
                  <a:lnTo>
                    <a:pt x="540" y="928"/>
                  </a:lnTo>
                  <a:lnTo>
                    <a:pt x="542" y="917"/>
                  </a:lnTo>
                  <a:lnTo>
                    <a:pt x="542" y="916"/>
                  </a:lnTo>
                  <a:lnTo>
                    <a:pt x="544" y="915"/>
                  </a:lnTo>
                  <a:lnTo>
                    <a:pt x="544" y="915"/>
                  </a:lnTo>
                  <a:lnTo>
                    <a:pt x="544" y="912"/>
                  </a:lnTo>
                  <a:lnTo>
                    <a:pt x="545" y="908"/>
                  </a:lnTo>
                  <a:lnTo>
                    <a:pt x="546" y="903"/>
                  </a:lnTo>
                  <a:lnTo>
                    <a:pt x="548" y="903"/>
                  </a:lnTo>
                  <a:lnTo>
                    <a:pt x="548" y="901"/>
                  </a:lnTo>
                  <a:lnTo>
                    <a:pt x="549" y="900"/>
                  </a:lnTo>
                  <a:lnTo>
                    <a:pt x="549" y="900"/>
                  </a:lnTo>
                  <a:lnTo>
                    <a:pt x="550" y="899"/>
                  </a:lnTo>
                  <a:lnTo>
                    <a:pt x="550" y="899"/>
                  </a:lnTo>
                  <a:lnTo>
                    <a:pt x="553" y="899"/>
                  </a:lnTo>
                  <a:lnTo>
                    <a:pt x="563" y="896"/>
                  </a:lnTo>
                  <a:lnTo>
                    <a:pt x="575" y="895"/>
                  </a:lnTo>
                  <a:lnTo>
                    <a:pt x="618" y="888"/>
                  </a:lnTo>
                  <a:lnTo>
                    <a:pt x="646" y="884"/>
                  </a:lnTo>
                  <a:lnTo>
                    <a:pt x="651" y="883"/>
                  </a:lnTo>
                  <a:lnTo>
                    <a:pt x="656" y="879"/>
                  </a:lnTo>
                  <a:lnTo>
                    <a:pt x="662" y="875"/>
                  </a:lnTo>
                  <a:lnTo>
                    <a:pt x="665" y="870"/>
                  </a:lnTo>
                  <a:lnTo>
                    <a:pt x="671" y="864"/>
                  </a:lnTo>
                  <a:lnTo>
                    <a:pt x="676" y="854"/>
                  </a:lnTo>
                  <a:lnTo>
                    <a:pt x="681" y="844"/>
                  </a:lnTo>
                  <a:lnTo>
                    <a:pt x="686" y="831"/>
                  </a:lnTo>
                  <a:lnTo>
                    <a:pt x="740" y="703"/>
                  </a:lnTo>
                  <a:lnTo>
                    <a:pt x="743" y="699"/>
                  </a:lnTo>
                  <a:lnTo>
                    <a:pt x="748" y="695"/>
                  </a:lnTo>
                  <a:lnTo>
                    <a:pt x="753" y="692"/>
                  </a:lnTo>
                  <a:lnTo>
                    <a:pt x="760" y="690"/>
                  </a:lnTo>
                  <a:lnTo>
                    <a:pt x="774" y="684"/>
                  </a:lnTo>
                  <a:lnTo>
                    <a:pt x="786" y="679"/>
                  </a:lnTo>
                  <a:lnTo>
                    <a:pt x="791" y="676"/>
                  </a:lnTo>
                  <a:lnTo>
                    <a:pt x="794" y="671"/>
                  </a:lnTo>
                  <a:lnTo>
                    <a:pt x="796" y="667"/>
                  </a:lnTo>
                  <a:lnTo>
                    <a:pt x="798" y="662"/>
                  </a:lnTo>
                  <a:lnTo>
                    <a:pt x="798" y="650"/>
                  </a:lnTo>
                  <a:lnTo>
                    <a:pt x="798" y="637"/>
                  </a:lnTo>
                  <a:lnTo>
                    <a:pt x="798" y="624"/>
                  </a:lnTo>
                  <a:lnTo>
                    <a:pt x="800" y="612"/>
                  </a:lnTo>
                  <a:lnTo>
                    <a:pt x="803" y="607"/>
                  </a:lnTo>
                  <a:lnTo>
                    <a:pt x="807" y="602"/>
                  </a:lnTo>
                  <a:lnTo>
                    <a:pt x="811" y="597"/>
                  </a:lnTo>
                  <a:lnTo>
                    <a:pt x="817" y="593"/>
                  </a:lnTo>
                  <a:lnTo>
                    <a:pt x="839" y="581"/>
                  </a:lnTo>
                  <a:lnTo>
                    <a:pt x="858" y="573"/>
                  </a:lnTo>
                  <a:lnTo>
                    <a:pt x="862" y="573"/>
                  </a:lnTo>
                  <a:lnTo>
                    <a:pt x="867" y="572"/>
                  </a:lnTo>
                  <a:lnTo>
                    <a:pt x="871" y="573"/>
                  </a:lnTo>
                  <a:lnTo>
                    <a:pt x="875" y="574"/>
                  </a:lnTo>
                  <a:lnTo>
                    <a:pt x="879" y="577"/>
                  </a:lnTo>
                  <a:lnTo>
                    <a:pt x="883" y="580"/>
                  </a:lnTo>
                  <a:lnTo>
                    <a:pt x="885" y="585"/>
                  </a:lnTo>
                  <a:lnTo>
                    <a:pt x="889" y="590"/>
                  </a:lnTo>
                  <a:lnTo>
                    <a:pt x="897" y="603"/>
                  </a:lnTo>
                  <a:lnTo>
                    <a:pt x="911" y="623"/>
                  </a:lnTo>
                  <a:lnTo>
                    <a:pt x="919" y="632"/>
                  </a:lnTo>
                  <a:lnTo>
                    <a:pt x="927" y="637"/>
                  </a:lnTo>
                  <a:lnTo>
                    <a:pt x="931" y="639"/>
                  </a:lnTo>
                  <a:lnTo>
                    <a:pt x="935" y="639"/>
                  </a:lnTo>
                  <a:lnTo>
                    <a:pt x="939" y="639"/>
                  </a:lnTo>
                  <a:lnTo>
                    <a:pt x="943" y="636"/>
                  </a:lnTo>
                  <a:lnTo>
                    <a:pt x="966" y="606"/>
                  </a:lnTo>
                  <a:lnTo>
                    <a:pt x="987" y="578"/>
                  </a:lnTo>
                  <a:lnTo>
                    <a:pt x="994" y="574"/>
                  </a:lnTo>
                  <a:lnTo>
                    <a:pt x="1000" y="570"/>
                  </a:lnTo>
                  <a:lnTo>
                    <a:pt x="1007" y="568"/>
                  </a:lnTo>
                  <a:lnTo>
                    <a:pt x="1015" y="567"/>
                  </a:lnTo>
                  <a:lnTo>
                    <a:pt x="1023" y="568"/>
                  </a:lnTo>
                  <a:lnTo>
                    <a:pt x="1032" y="569"/>
                  </a:lnTo>
                  <a:lnTo>
                    <a:pt x="1042" y="574"/>
                  </a:lnTo>
                  <a:lnTo>
                    <a:pt x="1054" y="581"/>
                  </a:lnTo>
                  <a:lnTo>
                    <a:pt x="1064" y="585"/>
                  </a:lnTo>
                  <a:lnTo>
                    <a:pt x="1076" y="589"/>
                  </a:lnTo>
                  <a:lnTo>
                    <a:pt x="1089" y="591"/>
                  </a:lnTo>
                  <a:lnTo>
                    <a:pt x="1105" y="593"/>
                  </a:lnTo>
                  <a:lnTo>
                    <a:pt x="1119" y="593"/>
                  </a:lnTo>
                  <a:lnTo>
                    <a:pt x="1134" y="591"/>
                  </a:lnTo>
                  <a:lnTo>
                    <a:pt x="1147" y="589"/>
                  </a:lnTo>
                  <a:lnTo>
                    <a:pt x="1157" y="585"/>
                  </a:lnTo>
                  <a:lnTo>
                    <a:pt x="1166" y="580"/>
                  </a:lnTo>
                  <a:lnTo>
                    <a:pt x="1174" y="572"/>
                  </a:lnTo>
                  <a:lnTo>
                    <a:pt x="1179" y="563"/>
                  </a:lnTo>
                  <a:lnTo>
                    <a:pt x="1183" y="555"/>
                  </a:lnTo>
                  <a:lnTo>
                    <a:pt x="1185" y="550"/>
                  </a:lnTo>
                  <a:lnTo>
                    <a:pt x="1185" y="546"/>
                  </a:lnTo>
                  <a:lnTo>
                    <a:pt x="1183" y="542"/>
                  </a:lnTo>
                  <a:lnTo>
                    <a:pt x="1182" y="538"/>
                  </a:lnTo>
                  <a:lnTo>
                    <a:pt x="1178" y="534"/>
                  </a:lnTo>
                  <a:lnTo>
                    <a:pt x="1176" y="531"/>
                  </a:lnTo>
                  <a:lnTo>
                    <a:pt x="1170" y="529"/>
                  </a:lnTo>
                  <a:lnTo>
                    <a:pt x="1165" y="526"/>
                  </a:lnTo>
                  <a:lnTo>
                    <a:pt x="1159" y="523"/>
                  </a:lnTo>
                  <a:lnTo>
                    <a:pt x="1155" y="521"/>
                  </a:lnTo>
                  <a:lnTo>
                    <a:pt x="1151" y="516"/>
                  </a:lnTo>
                  <a:lnTo>
                    <a:pt x="1148" y="510"/>
                  </a:lnTo>
                  <a:lnTo>
                    <a:pt x="1145" y="504"/>
                  </a:lnTo>
                  <a:lnTo>
                    <a:pt x="1145" y="497"/>
                  </a:lnTo>
                  <a:lnTo>
                    <a:pt x="1144" y="491"/>
                  </a:lnTo>
                  <a:lnTo>
                    <a:pt x="1144" y="483"/>
                  </a:lnTo>
                  <a:lnTo>
                    <a:pt x="1145" y="468"/>
                  </a:lnTo>
                  <a:lnTo>
                    <a:pt x="1149" y="455"/>
                  </a:lnTo>
                  <a:lnTo>
                    <a:pt x="1152" y="450"/>
                  </a:lnTo>
                  <a:lnTo>
                    <a:pt x="1155" y="445"/>
                  </a:lnTo>
                  <a:lnTo>
                    <a:pt x="1159" y="441"/>
                  </a:lnTo>
                  <a:lnTo>
                    <a:pt x="1161" y="438"/>
                  </a:lnTo>
                  <a:lnTo>
                    <a:pt x="1189" y="431"/>
                  </a:lnTo>
                  <a:lnTo>
                    <a:pt x="1221" y="423"/>
                  </a:lnTo>
                  <a:lnTo>
                    <a:pt x="1228" y="420"/>
                  </a:lnTo>
                  <a:lnTo>
                    <a:pt x="1234" y="417"/>
                  </a:lnTo>
                  <a:lnTo>
                    <a:pt x="1240" y="412"/>
                  </a:lnTo>
                  <a:lnTo>
                    <a:pt x="1244" y="407"/>
                  </a:lnTo>
                  <a:lnTo>
                    <a:pt x="1246" y="400"/>
                  </a:lnTo>
                  <a:lnTo>
                    <a:pt x="1247" y="393"/>
                  </a:lnTo>
                  <a:lnTo>
                    <a:pt x="1246" y="383"/>
                  </a:lnTo>
                  <a:lnTo>
                    <a:pt x="1242" y="373"/>
                  </a:lnTo>
                  <a:lnTo>
                    <a:pt x="1230" y="346"/>
                  </a:lnTo>
                  <a:lnTo>
                    <a:pt x="1219" y="319"/>
                  </a:lnTo>
                  <a:lnTo>
                    <a:pt x="1217" y="313"/>
                  </a:lnTo>
                  <a:lnTo>
                    <a:pt x="1217" y="308"/>
                  </a:lnTo>
                  <a:lnTo>
                    <a:pt x="1219" y="304"/>
                  </a:lnTo>
                  <a:lnTo>
                    <a:pt x="1221" y="300"/>
                  </a:lnTo>
                  <a:lnTo>
                    <a:pt x="1227" y="296"/>
                  </a:lnTo>
                  <a:lnTo>
                    <a:pt x="1233" y="294"/>
                  </a:lnTo>
                  <a:lnTo>
                    <a:pt x="1242" y="294"/>
                  </a:lnTo>
                  <a:lnTo>
                    <a:pt x="1254" y="294"/>
                  </a:lnTo>
                  <a:lnTo>
                    <a:pt x="1268" y="296"/>
                  </a:lnTo>
                  <a:lnTo>
                    <a:pt x="1283" y="294"/>
                  </a:lnTo>
                  <a:lnTo>
                    <a:pt x="1296" y="293"/>
                  </a:lnTo>
                  <a:lnTo>
                    <a:pt x="1309" y="291"/>
                  </a:lnTo>
                  <a:lnTo>
                    <a:pt x="1322" y="288"/>
                  </a:lnTo>
                  <a:lnTo>
                    <a:pt x="1336" y="287"/>
                  </a:lnTo>
                  <a:lnTo>
                    <a:pt x="1350" y="284"/>
                  </a:lnTo>
                  <a:lnTo>
                    <a:pt x="1364" y="284"/>
                  </a:lnTo>
                  <a:lnTo>
                    <a:pt x="1372" y="284"/>
                  </a:lnTo>
                  <a:lnTo>
                    <a:pt x="1377" y="285"/>
                  </a:lnTo>
                  <a:lnTo>
                    <a:pt x="1381" y="288"/>
                  </a:lnTo>
                  <a:lnTo>
                    <a:pt x="1385" y="291"/>
                  </a:lnTo>
                  <a:lnTo>
                    <a:pt x="1389" y="297"/>
                  </a:lnTo>
                  <a:lnTo>
                    <a:pt x="1393" y="304"/>
                  </a:lnTo>
                  <a:lnTo>
                    <a:pt x="1395" y="311"/>
                  </a:lnTo>
                  <a:lnTo>
                    <a:pt x="1399" y="318"/>
                  </a:lnTo>
                  <a:lnTo>
                    <a:pt x="1403" y="319"/>
                  </a:lnTo>
                  <a:lnTo>
                    <a:pt x="1407" y="322"/>
                  </a:lnTo>
                  <a:lnTo>
                    <a:pt x="1414" y="323"/>
                  </a:lnTo>
                  <a:lnTo>
                    <a:pt x="1420" y="323"/>
                  </a:lnTo>
                  <a:lnTo>
                    <a:pt x="1438" y="326"/>
                  </a:lnTo>
                  <a:lnTo>
                    <a:pt x="1458" y="330"/>
                  </a:lnTo>
                  <a:lnTo>
                    <a:pt x="1479" y="335"/>
                  </a:lnTo>
                  <a:lnTo>
                    <a:pt x="1499" y="342"/>
                  </a:lnTo>
                  <a:lnTo>
                    <a:pt x="1518" y="348"/>
                  </a:lnTo>
                  <a:lnTo>
                    <a:pt x="1537" y="352"/>
                  </a:lnTo>
                  <a:lnTo>
                    <a:pt x="1544" y="353"/>
                  </a:lnTo>
                  <a:lnTo>
                    <a:pt x="1552" y="353"/>
                  </a:lnTo>
                  <a:lnTo>
                    <a:pt x="1559" y="353"/>
                  </a:lnTo>
                  <a:lnTo>
                    <a:pt x="1565" y="352"/>
                  </a:lnTo>
                  <a:lnTo>
                    <a:pt x="1577" y="348"/>
                  </a:lnTo>
                  <a:lnTo>
                    <a:pt x="1591" y="346"/>
                  </a:lnTo>
                  <a:lnTo>
                    <a:pt x="1606" y="344"/>
                  </a:lnTo>
                  <a:lnTo>
                    <a:pt x="1622" y="344"/>
                  </a:lnTo>
                  <a:lnTo>
                    <a:pt x="1656" y="347"/>
                  </a:lnTo>
                  <a:lnTo>
                    <a:pt x="1690" y="349"/>
                  </a:lnTo>
                  <a:lnTo>
                    <a:pt x="1708" y="351"/>
                  </a:lnTo>
                  <a:lnTo>
                    <a:pt x="1725" y="352"/>
                  </a:lnTo>
                  <a:lnTo>
                    <a:pt x="1741" y="352"/>
                  </a:lnTo>
                  <a:lnTo>
                    <a:pt x="1756" y="351"/>
                  </a:lnTo>
                  <a:lnTo>
                    <a:pt x="1771" y="348"/>
                  </a:lnTo>
                  <a:lnTo>
                    <a:pt x="1785" y="344"/>
                  </a:lnTo>
                  <a:lnTo>
                    <a:pt x="1797" y="339"/>
                  </a:lnTo>
                  <a:lnTo>
                    <a:pt x="1809" y="332"/>
                  </a:lnTo>
                  <a:lnTo>
                    <a:pt x="1922" y="237"/>
                  </a:lnTo>
                  <a:lnTo>
                    <a:pt x="1929" y="233"/>
                  </a:lnTo>
                  <a:lnTo>
                    <a:pt x="1935" y="232"/>
                  </a:lnTo>
                  <a:lnTo>
                    <a:pt x="1942" y="232"/>
                  </a:lnTo>
                  <a:lnTo>
                    <a:pt x="1949" y="232"/>
                  </a:lnTo>
                  <a:lnTo>
                    <a:pt x="1956" y="233"/>
                  </a:lnTo>
                  <a:lnTo>
                    <a:pt x="1964" y="233"/>
                  </a:lnTo>
                  <a:lnTo>
                    <a:pt x="1972" y="232"/>
                  </a:lnTo>
                  <a:lnTo>
                    <a:pt x="1980" y="230"/>
                  </a:lnTo>
                  <a:lnTo>
                    <a:pt x="1994" y="224"/>
                  </a:lnTo>
                  <a:lnTo>
                    <a:pt x="2013" y="213"/>
                  </a:lnTo>
                  <a:lnTo>
                    <a:pt x="2031" y="204"/>
                  </a:lnTo>
                  <a:lnTo>
                    <a:pt x="2043" y="196"/>
                  </a:lnTo>
                  <a:lnTo>
                    <a:pt x="2052" y="192"/>
                  </a:lnTo>
                  <a:lnTo>
                    <a:pt x="2061" y="189"/>
                  </a:lnTo>
                  <a:lnTo>
                    <a:pt x="2073" y="186"/>
                  </a:lnTo>
                  <a:lnTo>
                    <a:pt x="2085" y="185"/>
                  </a:lnTo>
                  <a:lnTo>
                    <a:pt x="2098" y="183"/>
                  </a:lnTo>
                  <a:lnTo>
                    <a:pt x="2111" y="182"/>
                  </a:lnTo>
                  <a:lnTo>
                    <a:pt x="2125" y="182"/>
                  </a:lnTo>
                  <a:lnTo>
                    <a:pt x="2138" y="183"/>
                  </a:lnTo>
                  <a:lnTo>
                    <a:pt x="2166" y="186"/>
                  </a:lnTo>
                  <a:lnTo>
                    <a:pt x="2191" y="191"/>
                  </a:lnTo>
                  <a:lnTo>
                    <a:pt x="2201" y="194"/>
                  </a:lnTo>
                  <a:lnTo>
                    <a:pt x="2210" y="198"/>
                  </a:lnTo>
                  <a:lnTo>
                    <a:pt x="2218" y="202"/>
                  </a:lnTo>
                  <a:lnTo>
                    <a:pt x="2225" y="207"/>
                  </a:lnTo>
                  <a:lnTo>
                    <a:pt x="2232" y="212"/>
                  </a:lnTo>
                  <a:lnTo>
                    <a:pt x="2240" y="217"/>
                  </a:lnTo>
                  <a:lnTo>
                    <a:pt x="2248" y="220"/>
                  </a:lnTo>
                  <a:lnTo>
                    <a:pt x="2256" y="223"/>
                  </a:lnTo>
                  <a:lnTo>
                    <a:pt x="2264" y="223"/>
                  </a:lnTo>
                  <a:lnTo>
                    <a:pt x="2272" y="223"/>
                  </a:lnTo>
                  <a:lnTo>
                    <a:pt x="2279" y="223"/>
                  </a:lnTo>
                  <a:lnTo>
                    <a:pt x="2287" y="221"/>
                  </a:lnTo>
                  <a:lnTo>
                    <a:pt x="2304" y="219"/>
                  </a:lnTo>
                  <a:lnTo>
                    <a:pt x="2320" y="215"/>
                  </a:lnTo>
                  <a:lnTo>
                    <a:pt x="2329" y="215"/>
                  </a:lnTo>
                  <a:lnTo>
                    <a:pt x="2338" y="215"/>
                  </a:lnTo>
                  <a:lnTo>
                    <a:pt x="2348" y="215"/>
                  </a:lnTo>
                  <a:lnTo>
                    <a:pt x="2357" y="216"/>
                  </a:lnTo>
                  <a:lnTo>
                    <a:pt x="2379" y="217"/>
                  </a:lnTo>
                  <a:lnTo>
                    <a:pt x="2413" y="217"/>
                  </a:lnTo>
                  <a:lnTo>
                    <a:pt x="2429" y="216"/>
                  </a:lnTo>
                  <a:lnTo>
                    <a:pt x="2443" y="216"/>
                  </a:lnTo>
                  <a:lnTo>
                    <a:pt x="2453" y="216"/>
                  </a:lnTo>
                  <a:lnTo>
                    <a:pt x="2459" y="219"/>
                  </a:lnTo>
                  <a:lnTo>
                    <a:pt x="2469" y="225"/>
                  </a:lnTo>
                  <a:lnTo>
                    <a:pt x="2478" y="232"/>
                  </a:lnTo>
                  <a:lnTo>
                    <a:pt x="2487" y="237"/>
                  </a:lnTo>
                  <a:lnTo>
                    <a:pt x="2497" y="241"/>
                  </a:lnTo>
                  <a:lnTo>
                    <a:pt x="2506" y="243"/>
                  </a:lnTo>
                  <a:lnTo>
                    <a:pt x="2515" y="245"/>
                  </a:lnTo>
                  <a:lnTo>
                    <a:pt x="2523" y="246"/>
                  </a:lnTo>
                  <a:lnTo>
                    <a:pt x="2532" y="247"/>
                  </a:lnTo>
                  <a:lnTo>
                    <a:pt x="2549" y="246"/>
                  </a:lnTo>
                  <a:lnTo>
                    <a:pt x="2566" y="242"/>
                  </a:lnTo>
                  <a:lnTo>
                    <a:pt x="2583" y="236"/>
                  </a:lnTo>
                  <a:lnTo>
                    <a:pt x="2600" y="228"/>
                  </a:lnTo>
                  <a:lnTo>
                    <a:pt x="2634" y="209"/>
                  </a:lnTo>
                  <a:lnTo>
                    <a:pt x="2669" y="190"/>
                  </a:lnTo>
                  <a:lnTo>
                    <a:pt x="2688" y="179"/>
                  </a:lnTo>
                  <a:lnTo>
                    <a:pt x="2707" y="172"/>
                  </a:lnTo>
                  <a:lnTo>
                    <a:pt x="2727" y="164"/>
                  </a:lnTo>
                  <a:lnTo>
                    <a:pt x="2746" y="158"/>
                  </a:lnTo>
                  <a:lnTo>
                    <a:pt x="2756" y="157"/>
                  </a:lnTo>
                  <a:lnTo>
                    <a:pt x="2796" y="141"/>
                  </a:lnTo>
                  <a:close/>
                  <a:moveTo>
                    <a:pt x="3331" y="1052"/>
                  </a:moveTo>
                  <a:lnTo>
                    <a:pt x="3322" y="1056"/>
                  </a:lnTo>
                  <a:lnTo>
                    <a:pt x="3315" y="1061"/>
                  </a:lnTo>
                  <a:lnTo>
                    <a:pt x="3308" y="1064"/>
                  </a:lnTo>
                  <a:lnTo>
                    <a:pt x="3300" y="1065"/>
                  </a:lnTo>
                  <a:lnTo>
                    <a:pt x="3295" y="1066"/>
                  </a:lnTo>
                  <a:lnTo>
                    <a:pt x="3292" y="1068"/>
                  </a:lnTo>
                  <a:lnTo>
                    <a:pt x="3289" y="1070"/>
                  </a:lnTo>
                  <a:lnTo>
                    <a:pt x="3288" y="1073"/>
                  </a:lnTo>
                  <a:lnTo>
                    <a:pt x="3287" y="1081"/>
                  </a:lnTo>
                  <a:lnTo>
                    <a:pt x="3283" y="1087"/>
                  </a:lnTo>
                  <a:lnTo>
                    <a:pt x="3278" y="1095"/>
                  </a:lnTo>
                  <a:lnTo>
                    <a:pt x="3275" y="1102"/>
                  </a:lnTo>
                  <a:lnTo>
                    <a:pt x="3272" y="1107"/>
                  </a:lnTo>
                  <a:lnTo>
                    <a:pt x="3271" y="1115"/>
                  </a:lnTo>
                  <a:lnTo>
                    <a:pt x="3270" y="1119"/>
                  </a:lnTo>
                  <a:lnTo>
                    <a:pt x="3270" y="1121"/>
                  </a:lnTo>
                  <a:lnTo>
                    <a:pt x="3271" y="1121"/>
                  </a:lnTo>
                  <a:lnTo>
                    <a:pt x="3274" y="1121"/>
                  </a:lnTo>
                  <a:lnTo>
                    <a:pt x="3278" y="1120"/>
                  </a:lnTo>
                  <a:lnTo>
                    <a:pt x="3283" y="1120"/>
                  </a:lnTo>
                  <a:lnTo>
                    <a:pt x="3289" y="1120"/>
                  </a:lnTo>
                  <a:lnTo>
                    <a:pt x="3297" y="1121"/>
                  </a:lnTo>
                  <a:lnTo>
                    <a:pt x="3310" y="1126"/>
                  </a:lnTo>
                  <a:lnTo>
                    <a:pt x="3318" y="1130"/>
                  </a:lnTo>
                  <a:lnTo>
                    <a:pt x="3325" y="1134"/>
                  </a:lnTo>
                  <a:lnTo>
                    <a:pt x="3329" y="1136"/>
                  </a:lnTo>
                  <a:lnTo>
                    <a:pt x="3332" y="1136"/>
                  </a:lnTo>
                  <a:lnTo>
                    <a:pt x="3334" y="1134"/>
                  </a:lnTo>
                  <a:lnTo>
                    <a:pt x="3338" y="1126"/>
                  </a:lnTo>
                  <a:lnTo>
                    <a:pt x="3342" y="1117"/>
                  </a:lnTo>
                  <a:lnTo>
                    <a:pt x="3351" y="1107"/>
                  </a:lnTo>
                  <a:lnTo>
                    <a:pt x="3361" y="1098"/>
                  </a:lnTo>
                  <a:lnTo>
                    <a:pt x="3368" y="1088"/>
                  </a:lnTo>
                  <a:lnTo>
                    <a:pt x="3372" y="1081"/>
                  </a:lnTo>
                  <a:lnTo>
                    <a:pt x="3365" y="1079"/>
                  </a:lnTo>
                  <a:lnTo>
                    <a:pt x="3357" y="1079"/>
                  </a:lnTo>
                  <a:lnTo>
                    <a:pt x="3353" y="1077"/>
                  </a:lnTo>
                  <a:lnTo>
                    <a:pt x="3351" y="1073"/>
                  </a:lnTo>
                  <a:lnTo>
                    <a:pt x="3348" y="1069"/>
                  </a:lnTo>
                  <a:lnTo>
                    <a:pt x="3346" y="1064"/>
                  </a:lnTo>
                  <a:lnTo>
                    <a:pt x="3342" y="1058"/>
                  </a:lnTo>
                  <a:lnTo>
                    <a:pt x="3339" y="1054"/>
                  </a:lnTo>
                  <a:lnTo>
                    <a:pt x="3335" y="1052"/>
                  </a:lnTo>
                  <a:lnTo>
                    <a:pt x="3331" y="1052"/>
                  </a:lnTo>
                  <a:close/>
                  <a:moveTo>
                    <a:pt x="903" y="2648"/>
                  </a:moveTo>
                  <a:lnTo>
                    <a:pt x="939" y="2603"/>
                  </a:lnTo>
                  <a:lnTo>
                    <a:pt x="944" y="2603"/>
                  </a:lnTo>
                  <a:lnTo>
                    <a:pt x="948" y="2605"/>
                  </a:lnTo>
                  <a:lnTo>
                    <a:pt x="952" y="2606"/>
                  </a:lnTo>
                  <a:lnTo>
                    <a:pt x="954" y="2606"/>
                  </a:lnTo>
                  <a:lnTo>
                    <a:pt x="957" y="2606"/>
                  </a:lnTo>
                  <a:lnTo>
                    <a:pt x="960" y="2607"/>
                  </a:lnTo>
                  <a:lnTo>
                    <a:pt x="962" y="2607"/>
                  </a:lnTo>
                  <a:lnTo>
                    <a:pt x="965" y="2608"/>
                  </a:lnTo>
                  <a:lnTo>
                    <a:pt x="969" y="2615"/>
                  </a:lnTo>
                  <a:lnTo>
                    <a:pt x="971" y="2620"/>
                  </a:lnTo>
                  <a:lnTo>
                    <a:pt x="971" y="2624"/>
                  </a:lnTo>
                  <a:lnTo>
                    <a:pt x="970" y="2628"/>
                  </a:lnTo>
                  <a:lnTo>
                    <a:pt x="970" y="2631"/>
                  </a:lnTo>
                  <a:lnTo>
                    <a:pt x="969" y="2632"/>
                  </a:lnTo>
                  <a:lnTo>
                    <a:pt x="966" y="2633"/>
                  </a:lnTo>
                  <a:lnTo>
                    <a:pt x="962" y="2636"/>
                  </a:lnTo>
                  <a:lnTo>
                    <a:pt x="960" y="2639"/>
                  </a:lnTo>
                  <a:lnTo>
                    <a:pt x="958" y="2641"/>
                  </a:lnTo>
                  <a:lnTo>
                    <a:pt x="958" y="2642"/>
                  </a:lnTo>
                  <a:lnTo>
                    <a:pt x="952" y="2649"/>
                  </a:lnTo>
                  <a:lnTo>
                    <a:pt x="945" y="2653"/>
                  </a:lnTo>
                  <a:lnTo>
                    <a:pt x="943" y="2653"/>
                  </a:lnTo>
                  <a:lnTo>
                    <a:pt x="940" y="2656"/>
                  </a:lnTo>
                  <a:lnTo>
                    <a:pt x="937" y="2660"/>
                  </a:lnTo>
                  <a:lnTo>
                    <a:pt x="930" y="2667"/>
                  </a:lnTo>
                  <a:lnTo>
                    <a:pt x="923" y="2674"/>
                  </a:lnTo>
                  <a:lnTo>
                    <a:pt x="918" y="2674"/>
                  </a:lnTo>
                  <a:lnTo>
                    <a:pt x="913" y="2673"/>
                  </a:lnTo>
                  <a:lnTo>
                    <a:pt x="910" y="2673"/>
                  </a:lnTo>
                  <a:lnTo>
                    <a:pt x="907" y="2673"/>
                  </a:lnTo>
                  <a:lnTo>
                    <a:pt x="905" y="2671"/>
                  </a:lnTo>
                  <a:lnTo>
                    <a:pt x="905" y="2666"/>
                  </a:lnTo>
                  <a:lnTo>
                    <a:pt x="903" y="2648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44" name="Freeform 48"/>
            <p:cNvSpPr>
              <a:spLocks/>
            </p:cNvSpPr>
            <p:nvPr/>
          </p:nvSpPr>
          <p:spPr bwMode="auto">
            <a:xfrm>
              <a:off x="5954713" y="2505075"/>
              <a:ext cx="446087" cy="357188"/>
            </a:xfrm>
            <a:custGeom>
              <a:avLst/>
              <a:gdLst/>
              <a:ahLst/>
              <a:cxnLst>
                <a:cxn ang="0">
                  <a:pos x="220" y="684"/>
                </a:cxn>
                <a:cxn ang="0">
                  <a:pos x="213" y="681"/>
                </a:cxn>
                <a:cxn ang="0">
                  <a:pos x="201" y="686"/>
                </a:cxn>
                <a:cxn ang="0">
                  <a:pos x="179" y="700"/>
                </a:cxn>
                <a:cxn ang="0">
                  <a:pos x="167" y="708"/>
                </a:cxn>
                <a:cxn ang="0">
                  <a:pos x="124" y="726"/>
                </a:cxn>
                <a:cxn ang="0">
                  <a:pos x="80" y="725"/>
                </a:cxn>
                <a:cxn ang="0">
                  <a:pos x="63" y="715"/>
                </a:cxn>
                <a:cxn ang="0">
                  <a:pos x="52" y="703"/>
                </a:cxn>
                <a:cxn ang="0">
                  <a:pos x="44" y="687"/>
                </a:cxn>
                <a:cxn ang="0">
                  <a:pos x="77" y="504"/>
                </a:cxn>
                <a:cxn ang="0">
                  <a:pos x="73" y="459"/>
                </a:cxn>
                <a:cxn ang="0">
                  <a:pos x="30" y="403"/>
                </a:cxn>
                <a:cxn ang="0">
                  <a:pos x="12" y="381"/>
                </a:cxn>
                <a:cxn ang="0">
                  <a:pos x="18" y="330"/>
                </a:cxn>
                <a:cxn ang="0">
                  <a:pos x="22" y="217"/>
                </a:cxn>
                <a:cxn ang="0">
                  <a:pos x="1" y="129"/>
                </a:cxn>
                <a:cxn ang="0">
                  <a:pos x="16" y="72"/>
                </a:cxn>
                <a:cxn ang="0">
                  <a:pos x="77" y="47"/>
                </a:cxn>
                <a:cxn ang="0">
                  <a:pos x="85" y="117"/>
                </a:cxn>
                <a:cxn ang="0">
                  <a:pos x="106" y="138"/>
                </a:cxn>
                <a:cxn ang="0">
                  <a:pos x="163" y="138"/>
                </a:cxn>
                <a:cxn ang="0">
                  <a:pos x="238" y="176"/>
                </a:cxn>
                <a:cxn ang="0">
                  <a:pos x="315" y="229"/>
                </a:cxn>
                <a:cxn ang="0">
                  <a:pos x="392" y="214"/>
                </a:cxn>
                <a:cxn ang="0">
                  <a:pos x="522" y="153"/>
                </a:cxn>
                <a:cxn ang="0">
                  <a:pos x="587" y="140"/>
                </a:cxn>
                <a:cxn ang="0">
                  <a:pos x="719" y="168"/>
                </a:cxn>
                <a:cxn ang="0">
                  <a:pos x="757" y="206"/>
                </a:cxn>
                <a:cxn ang="0">
                  <a:pos x="796" y="262"/>
                </a:cxn>
                <a:cxn ang="0">
                  <a:pos x="829" y="249"/>
                </a:cxn>
                <a:cxn ang="0">
                  <a:pos x="855" y="255"/>
                </a:cxn>
                <a:cxn ang="0">
                  <a:pos x="879" y="292"/>
                </a:cxn>
                <a:cxn ang="0">
                  <a:pos x="900" y="378"/>
                </a:cxn>
                <a:cxn ang="0">
                  <a:pos x="913" y="450"/>
                </a:cxn>
                <a:cxn ang="0">
                  <a:pos x="955" y="459"/>
                </a:cxn>
                <a:cxn ang="0">
                  <a:pos x="1044" y="457"/>
                </a:cxn>
                <a:cxn ang="0">
                  <a:pos x="1055" y="495"/>
                </a:cxn>
                <a:cxn ang="0">
                  <a:pos x="1096" y="507"/>
                </a:cxn>
                <a:cxn ang="0">
                  <a:pos x="1210" y="554"/>
                </a:cxn>
                <a:cxn ang="0">
                  <a:pos x="1168" y="602"/>
                </a:cxn>
                <a:cxn ang="0">
                  <a:pos x="1156" y="630"/>
                </a:cxn>
                <a:cxn ang="0">
                  <a:pos x="1164" y="656"/>
                </a:cxn>
                <a:cxn ang="0">
                  <a:pos x="1127" y="721"/>
                </a:cxn>
                <a:cxn ang="0">
                  <a:pos x="990" y="882"/>
                </a:cxn>
                <a:cxn ang="0">
                  <a:pos x="946" y="904"/>
                </a:cxn>
                <a:cxn ang="0">
                  <a:pos x="914" y="894"/>
                </a:cxn>
                <a:cxn ang="0">
                  <a:pos x="870" y="892"/>
                </a:cxn>
                <a:cxn ang="0">
                  <a:pos x="756" y="942"/>
                </a:cxn>
                <a:cxn ang="0">
                  <a:pos x="681" y="976"/>
                </a:cxn>
                <a:cxn ang="0">
                  <a:pos x="675" y="955"/>
                </a:cxn>
                <a:cxn ang="0">
                  <a:pos x="672" y="912"/>
                </a:cxn>
                <a:cxn ang="0">
                  <a:pos x="643" y="899"/>
                </a:cxn>
                <a:cxn ang="0">
                  <a:pos x="571" y="903"/>
                </a:cxn>
              </a:cxnLst>
              <a:rect l="0" t="0" r="r" b="b"/>
              <a:pathLst>
                <a:path w="1211" h="976">
                  <a:moveTo>
                    <a:pt x="382" y="865"/>
                  </a:moveTo>
                  <a:lnTo>
                    <a:pt x="384" y="787"/>
                  </a:lnTo>
                  <a:lnTo>
                    <a:pt x="331" y="717"/>
                  </a:lnTo>
                  <a:lnTo>
                    <a:pt x="238" y="787"/>
                  </a:lnTo>
                  <a:lnTo>
                    <a:pt x="220" y="684"/>
                  </a:lnTo>
                  <a:lnTo>
                    <a:pt x="220" y="681"/>
                  </a:lnTo>
                  <a:lnTo>
                    <a:pt x="218" y="678"/>
                  </a:lnTo>
                  <a:lnTo>
                    <a:pt x="217" y="677"/>
                  </a:lnTo>
                  <a:lnTo>
                    <a:pt x="216" y="678"/>
                  </a:lnTo>
                  <a:lnTo>
                    <a:pt x="213" y="681"/>
                  </a:lnTo>
                  <a:lnTo>
                    <a:pt x="208" y="682"/>
                  </a:lnTo>
                  <a:lnTo>
                    <a:pt x="207" y="683"/>
                  </a:lnTo>
                  <a:lnTo>
                    <a:pt x="204" y="684"/>
                  </a:lnTo>
                  <a:lnTo>
                    <a:pt x="203" y="686"/>
                  </a:lnTo>
                  <a:lnTo>
                    <a:pt x="201" y="686"/>
                  </a:lnTo>
                  <a:lnTo>
                    <a:pt x="193" y="691"/>
                  </a:lnTo>
                  <a:lnTo>
                    <a:pt x="184" y="696"/>
                  </a:lnTo>
                  <a:lnTo>
                    <a:pt x="183" y="698"/>
                  </a:lnTo>
                  <a:lnTo>
                    <a:pt x="180" y="699"/>
                  </a:lnTo>
                  <a:lnTo>
                    <a:pt x="179" y="700"/>
                  </a:lnTo>
                  <a:lnTo>
                    <a:pt x="178" y="700"/>
                  </a:lnTo>
                  <a:lnTo>
                    <a:pt x="175" y="703"/>
                  </a:lnTo>
                  <a:lnTo>
                    <a:pt x="173" y="705"/>
                  </a:lnTo>
                  <a:lnTo>
                    <a:pt x="170" y="707"/>
                  </a:lnTo>
                  <a:lnTo>
                    <a:pt x="167" y="708"/>
                  </a:lnTo>
                  <a:lnTo>
                    <a:pt x="158" y="712"/>
                  </a:lnTo>
                  <a:lnTo>
                    <a:pt x="148" y="717"/>
                  </a:lnTo>
                  <a:lnTo>
                    <a:pt x="144" y="721"/>
                  </a:lnTo>
                  <a:lnTo>
                    <a:pt x="135" y="724"/>
                  </a:lnTo>
                  <a:lnTo>
                    <a:pt x="124" y="726"/>
                  </a:lnTo>
                  <a:lnTo>
                    <a:pt x="112" y="728"/>
                  </a:lnTo>
                  <a:lnTo>
                    <a:pt x="99" y="728"/>
                  </a:lnTo>
                  <a:lnTo>
                    <a:pt x="88" y="728"/>
                  </a:lnTo>
                  <a:lnTo>
                    <a:pt x="84" y="726"/>
                  </a:lnTo>
                  <a:lnTo>
                    <a:pt x="80" y="725"/>
                  </a:lnTo>
                  <a:lnTo>
                    <a:pt x="76" y="724"/>
                  </a:lnTo>
                  <a:lnTo>
                    <a:pt x="74" y="722"/>
                  </a:lnTo>
                  <a:lnTo>
                    <a:pt x="69" y="718"/>
                  </a:lnTo>
                  <a:lnTo>
                    <a:pt x="64" y="716"/>
                  </a:lnTo>
                  <a:lnTo>
                    <a:pt x="63" y="715"/>
                  </a:lnTo>
                  <a:lnTo>
                    <a:pt x="61" y="715"/>
                  </a:lnTo>
                  <a:lnTo>
                    <a:pt x="61" y="713"/>
                  </a:lnTo>
                  <a:lnTo>
                    <a:pt x="60" y="712"/>
                  </a:lnTo>
                  <a:lnTo>
                    <a:pt x="56" y="708"/>
                  </a:lnTo>
                  <a:lnTo>
                    <a:pt x="52" y="703"/>
                  </a:lnTo>
                  <a:lnTo>
                    <a:pt x="50" y="698"/>
                  </a:lnTo>
                  <a:lnTo>
                    <a:pt x="47" y="692"/>
                  </a:lnTo>
                  <a:lnTo>
                    <a:pt x="47" y="690"/>
                  </a:lnTo>
                  <a:lnTo>
                    <a:pt x="46" y="688"/>
                  </a:lnTo>
                  <a:lnTo>
                    <a:pt x="44" y="687"/>
                  </a:lnTo>
                  <a:lnTo>
                    <a:pt x="29" y="644"/>
                  </a:lnTo>
                  <a:lnTo>
                    <a:pt x="61" y="555"/>
                  </a:lnTo>
                  <a:lnTo>
                    <a:pt x="68" y="537"/>
                  </a:lnTo>
                  <a:lnTo>
                    <a:pt x="73" y="520"/>
                  </a:lnTo>
                  <a:lnTo>
                    <a:pt x="77" y="504"/>
                  </a:lnTo>
                  <a:lnTo>
                    <a:pt x="78" y="488"/>
                  </a:lnTo>
                  <a:lnTo>
                    <a:pt x="78" y="482"/>
                  </a:lnTo>
                  <a:lnTo>
                    <a:pt x="77" y="474"/>
                  </a:lnTo>
                  <a:lnTo>
                    <a:pt x="76" y="467"/>
                  </a:lnTo>
                  <a:lnTo>
                    <a:pt x="73" y="459"/>
                  </a:lnTo>
                  <a:lnTo>
                    <a:pt x="65" y="442"/>
                  </a:lnTo>
                  <a:lnTo>
                    <a:pt x="54" y="425"/>
                  </a:lnTo>
                  <a:lnTo>
                    <a:pt x="47" y="416"/>
                  </a:lnTo>
                  <a:lnTo>
                    <a:pt x="38" y="410"/>
                  </a:lnTo>
                  <a:lnTo>
                    <a:pt x="30" y="403"/>
                  </a:lnTo>
                  <a:lnTo>
                    <a:pt x="22" y="398"/>
                  </a:lnTo>
                  <a:lnTo>
                    <a:pt x="18" y="394"/>
                  </a:lnTo>
                  <a:lnTo>
                    <a:pt x="16" y="390"/>
                  </a:lnTo>
                  <a:lnTo>
                    <a:pt x="13" y="386"/>
                  </a:lnTo>
                  <a:lnTo>
                    <a:pt x="12" y="381"/>
                  </a:lnTo>
                  <a:lnTo>
                    <a:pt x="10" y="376"/>
                  </a:lnTo>
                  <a:lnTo>
                    <a:pt x="10" y="369"/>
                  </a:lnTo>
                  <a:lnTo>
                    <a:pt x="12" y="360"/>
                  </a:lnTo>
                  <a:lnTo>
                    <a:pt x="14" y="351"/>
                  </a:lnTo>
                  <a:lnTo>
                    <a:pt x="18" y="330"/>
                  </a:lnTo>
                  <a:lnTo>
                    <a:pt x="22" y="308"/>
                  </a:lnTo>
                  <a:lnTo>
                    <a:pt x="23" y="284"/>
                  </a:lnTo>
                  <a:lnTo>
                    <a:pt x="25" y="262"/>
                  </a:lnTo>
                  <a:lnTo>
                    <a:pt x="23" y="240"/>
                  </a:lnTo>
                  <a:lnTo>
                    <a:pt x="22" y="217"/>
                  </a:lnTo>
                  <a:lnTo>
                    <a:pt x="18" y="195"/>
                  </a:lnTo>
                  <a:lnTo>
                    <a:pt x="13" y="174"/>
                  </a:lnTo>
                  <a:lnTo>
                    <a:pt x="8" y="159"/>
                  </a:lnTo>
                  <a:lnTo>
                    <a:pt x="2" y="139"/>
                  </a:lnTo>
                  <a:lnTo>
                    <a:pt x="1" y="129"/>
                  </a:lnTo>
                  <a:lnTo>
                    <a:pt x="0" y="119"/>
                  </a:lnTo>
                  <a:lnTo>
                    <a:pt x="0" y="110"/>
                  </a:lnTo>
                  <a:lnTo>
                    <a:pt x="1" y="102"/>
                  </a:lnTo>
                  <a:lnTo>
                    <a:pt x="8" y="85"/>
                  </a:lnTo>
                  <a:lnTo>
                    <a:pt x="16" y="72"/>
                  </a:lnTo>
                  <a:lnTo>
                    <a:pt x="25" y="58"/>
                  </a:lnTo>
                  <a:lnTo>
                    <a:pt x="35" y="40"/>
                  </a:lnTo>
                  <a:lnTo>
                    <a:pt x="56" y="0"/>
                  </a:lnTo>
                  <a:lnTo>
                    <a:pt x="74" y="37"/>
                  </a:lnTo>
                  <a:lnTo>
                    <a:pt x="77" y="47"/>
                  </a:lnTo>
                  <a:lnTo>
                    <a:pt x="80" y="63"/>
                  </a:lnTo>
                  <a:lnTo>
                    <a:pt x="81" y="81"/>
                  </a:lnTo>
                  <a:lnTo>
                    <a:pt x="82" y="100"/>
                  </a:lnTo>
                  <a:lnTo>
                    <a:pt x="84" y="109"/>
                  </a:lnTo>
                  <a:lnTo>
                    <a:pt x="85" y="117"/>
                  </a:lnTo>
                  <a:lnTo>
                    <a:pt x="88" y="123"/>
                  </a:lnTo>
                  <a:lnTo>
                    <a:pt x="90" y="130"/>
                  </a:lnTo>
                  <a:lnTo>
                    <a:pt x="94" y="134"/>
                  </a:lnTo>
                  <a:lnTo>
                    <a:pt x="99" y="136"/>
                  </a:lnTo>
                  <a:lnTo>
                    <a:pt x="106" y="138"/>
                  </a:lnTo>
                  <a:lnTo>
                    <a:pt x="112" y="135"/>
                  </a:lnTo>
                  <a:lnTo>
                    <a:pt x="122" y="134"/>
                  </a:lnTo>
                  <a:lnTo>
                    <a:pt x="135" y="134"/>
                  </a:lnTo>
                  <a:lnTo>
                    <a:pt x="148" y="135"/>
                  </a:lnTo>
                  <a:lnTo>
                    <a:pt x="163" y="138"/>
                  </a:lnTo>
                  <a:lnTo>
                    <a:pt x="178" y="140"/>
                  </a:lnTo>
                  <a:lnTo>
                    <a:pt x="191" y="144"/>
                  </a:lnTo>
                  <a:lnTo>
                    <a:pt x="203" y="149"/>
                  </a:lnTo>
                  <a:lnTo>
                    <a:pt x="210" y="153"/>
                  </a:lnTo>
                  <a:lnTo>
                    <a:pt x="238" y="176"/>
                  </a:lnTo>
                  <a:lnTo>
                    <a:pt x="267" y="202"/>
                  </a:lnTo>
                  <a:lnTo>
                    <a:pt x="282" y="214"/>
                  </a:lnTo>
                  <a:lnTo>
                    <a:pt x="298" y="223"/>
                  </a:lnTo>
                  <a:lnTo>
                    <a:pt x="306" y="227"/>
                  </a:lnTo>
                  <a:lnTo>
                    <a:pt x="315" y="229"/>
                  </a:lnTo>
                  <a:lnTo>
                    <a:pt x="323" y="231"/>
                  </a:lnTo>
                  <a:lnTo>
                    <a:pt x="332" y="231"/>
                  </a:lnTo>
                  <a:lnTo>
                    <a:pt x="345" y="228"/>
                  </a:lnTo>
                  <a:lnTo>
                    <a:pt x="366" y="221"/>
                  </a:lnTo>
                  <a:lnTo>
                    <a:pt x="392" y="214"/>
                  </a:lnTo>
                  <a:lnTo>
                    <a:pt x="420" y="203"/>
                  </a:lnTo>
                  <a:lnTo>
                    <a:pt x="472" y="183"/>
                  </a:lnTo>
                  <a:lnTo>
                    <a:pt x="497" y="173"/>
                  </a:lnTo>
                  <a:lnTo>
                    <a:pt x="509" y="163"/>
                  </a:lnTo>
                  <a:lnTo>
                    <a:pt x="522" y="153"/>
                  </a:lnTo>
                  <a:lnTo>
                    <a:pt x="535" y="148"/>
                  </a:lnTo>
                  <a:lnTo>
                    <a:pt x="548" y="143"/>
                  </a:lnTo>
                  <a:lnTo>
                    <a:pt x="561" y="140"/>
                  </a:lnTo>
                  <a:lnTo>
                    <a:pt x="574" y="140"/>
                  </a:lnTo>
                  <a:lnTo>
                    <a:pt x="587" y="140"/>
                  </a:lnTo>
                  <a:lnTo>
                    <a:pt x="600" y="142"/>
                  </a:lnTo>
                  <a:lnTo>
                    <a:pt x="629" y="147"/>
                  </a:lnTo>
                  <a:lnTo>
                    <a:pt x="658" y="153"/>
                  </a:lnTo>
                  <a:lnTo>
                    <a:pt x="688" y="161"/>
                  </a:lnTo>
                  <a:lnTo>
                    <a:pt x="719" y="168"/>
                  </a:lnTo>
                  <a:lnTo>
                    <a:pt x="727" y="170"/>
                  </a:lnTo>
                  <a:lnTo>
                    <a:pt x="734" y="174"/>
                  </a:lnTo>
                  <a:lnTo>
                    <a:pt x="740" y="181"/>
                  </a:lnTo>
                  <a:lnTo>
                    <a:pt x="747" y="189"/>
                  </a:lnTo>
                  <a:lnTo>
                    <a:pt x="757" y="206"/>
                  </a:lnTo>
                  <a:lnTo>
                    <a:pt x="766" y="225"/>
                  </a:lnTo>
                  <a:lnTo>
                    <a:pt x="776" y="242"/>
                  </a:lnTo>
                  <a:lnTo>
                    <a:pt x="786" y="255"/>
                  </a:lnTo>
                  <a:lnTo>
                    <a:pt x="791" y="261"/>
                  </a:lnTo>
                  <a:lnTo>
                    <a:pt x="796" y="262"/>
                  </a:lnTo>
                  <a:lnTo>
                    <a:pt x="802" y="262"/>
                  </a:lnTo>
                  <a:lnTo>
                    <a:pt x="808" y="258"/>
                  </a:lnTo>
                  <a:lnTo>
                    <a:pt x="815" y="254"/>
                  </a:lnTo>
                  <a:lnTo>
                    <a:pt x="823" y="250"/>
                  </a:lnTo>
                  <a:lnTo>
                    <a:pt x="829" y="249"/>
                  </a:lnTo>
                  <a:lnTo>
                    <a:pt x="834" y="248"/>
                  </a:lnTo>
                  <a:lnTo>
                    <a:pt x="841" y="249"/>
                  </a:lnTo>
                  <a:lnTo>
                    <a:pt x="846" y="250"/>
                  </a:lnTo>
                  <a:lnTo>
                    <a:pt x="851" y="253"/>
                  </a:lnTo>
                  <a:lnTo>
                    <a:pt x="855" y="255"/>
                  </a:lnTo>
                  <a:lnTo>
                    <a:pt x="861" y="261"/>
                  </a:lnTo>
                  <a:lnTo>
                    <a:pt x="864" y="265"/>
                  </a:lnTo>
                  <a:lnTo>
                    <a:pt x="868" y="271"/>
                  </a:lnTo>
                  <a:lnTo>
                    <a:pt x="872" y="278"/>
                  </a:lnTo>
                  <a:lnTo>
                    <a:pt x="879" y="292"/>
                  </a:lnTo>
                  <a:lnTo>
                    <a:pt x="885" y="308"/>
                  </a:lnTo>
                  <a:lnTo>
                    <a:pt x="891" y="325"/>
                  </a:lnTo>
                  <a:lnTo>
                    <a:pt x="895" y="343"/>
                  </a:lnTo>
                  <a:lnTo>
                    <a:pt x="897" y="361"/>
                  </a:lnTo>
                  <a:lnTo>
                    <a:pt x="900" y="378"/>
                  </a:lnTo>
                  <a:lnTo>
                    <a:pt x="904" y="408"/>
                  </a:lnTo>
                  <a:lnTo>
                    <a:pt x="904" y="431"/>
                  </a:lnTo>
                  <a:lnTo>
                    <a:pt x="905" y="439"/>
                  </a:lnTo>
                  <a:lnTo>
                    <a:pt x="908" y="445"/>
                  </a:lnTo>
                  <a:lnTo>
                    <a:pt x="913" y="450"/>
                  </a:lnTo>
                  <a:lnTo>
                    <a:pt x="919" y="454"/>
                  </a:lnTo>
                  <a:lnTo>
                    <a:pt x="927" y="457"/>
                  </a:lnTo>
                  <a:lnTo>
                    <a:pt x="935" y="458"/>
                  </a:lnTo>
                  <a:lnTo>
                    <a:pt x="944" y="459"/>
                  </a:lnTo>
                  <a:lnTo>
                    <a:pt x="955" y="459"/>
                  </a:lnTo>
                  <a:lnTo>
                    <a:pt x="995" y="456"/>
                  </a:lnTo>
                  <a:lnTo>
                    <a:pt x="1027" y="450"/>
                  </a:lnTo>
                  <a:lnTo>
                    <a:pt x="1033" y="450"/>
                  </a:lnTo>
                  <a:lnTo>
                    <a:pt x="1040" y="453"/>
                  </a:lnTo>
                  <a:lnTo>
                    <a:pt x="1044" y="457"/>
                  </a:lnTo>
                  <a:lnTo>
                    <a:pt x="1046" y="461"/>
                  </a:lnTo>
                  <a:lnTo>
                    <a:pt x="1050" y="473"/>
                  </a:lnTo>
                  <a:lnTo>
                    <a:pt x="1053" y="484"/>
                  </a:lnTo>
                  <a:lnTo>
                    <a:pt x="1053" y="490"/>
                  </a:lnTo>
                  <a:lnTo>
                    <a:pt x="1055" y="495"/>
                  </a:lnTo>
                  <a:lnTo>
                    <a:pt x="1058" y="499"/>
                  </a:lnTo>
                  <a:lnTo>
                    <a:pt x="1061" y="501"/>
                  </a:lnTo>
                  <a:lnTo>
                    <a:pt x="1069" y="505"/>
                  </a:lnTo>
                  <a:lnTo>
                    <a:pt x="1078" y="507"/>
                  </a:lnTo>
                  <a:lnTo>
                    <a:pt x="1096" y="507"/>
                  </a:lnTo>
                  <a:lnTo>
                    <a:pt x="1112" y="504"/>
                  </a:lnTo>
                  <a:lnTo>
                    <a:pt x="1194" y="499"/>
                  </a:lnTo>
                  <a:lnTo>
                    <a:pt x="1211" y="543"/>
                  </a:lnTo>
                  <a:lnTo>
                    <a:pt x="1211" y="548"/>
                  </a:lnTo>
                  <a:lnTo>
                    <a:pt x="1210" y="554"/>
                  </a:lnTo>
                  <a:lnTo>
                    <a:pt x="1207" y="559"/>
                  </a:lnTo>
                  <a:lnTo>
                    <a:pt x="1203" y="565"/>
                  </a:lnTo>
                  <a:lnTo>
                    <a:pt x="1193" y="577"/>
                  </a:lnTo>
                  <a:lnTo>
                    <a:pt x="1180" y="590"/>
                  </a:lnTo>
                  <a:lnTo>
                    <a:pt x="1168" y="602"/>
                  </a:lnTo>
                  <a:lnTo>
                    <a:pt x="1159" y="614"/>
                  </a:lnTo>
                  <a:lnTo>
                    <a:pt x="1156" y="619"/>
                  </a:lnTo>
                  <a:lnTo>
                    <a:pt x="1154" y="623"/>
                  </a:lnTo>
                  <a:lnTo>
                    <a:pt x="1155" y="627"/>
                  </a:lnTo>
                  <a:lnTo>
                    <a:pt x="1156" y="630"/>
                  </a:lnTo>
                  <a:lnTo>
                    <a:pt x="1160" y="633"/>
                  </a:lnTo>
                  <a:lnTo>
                    <a:pt x="1163" y="637"/>
                  </a:lnTo>
                  <a:lnTo>
                    <a:pt x="1164" y="641"/>
                  </a:lnTo>
                  <a:lnTo>
                    <a:pt x="1165" y="647"/>
                  </a:lnTo>
                  <a:lnTo>
                    <a:pt x="1164" y="656"/>
                  </a:lnTo>
                  <a:lnTo>
                    <a:pt x="1160" y="667"/>
                  </a:lnTo>
                  <a:lnTo>
                    <a:pt x="1155" y="681"/>
                  </a:lnTo>
                  <a:lnTo>
                    <a:pt x="1147" y="694"/>
                  </a:lnTo>
                  <a:lnTo>
                    <a:pt x="1138" y="707"/>
                  </a:lnTo>
                  <a:lnTo>
                    <a:pt x="1127" y="721"/>
                  </a:lnTo>
                  <a:lnTo>
                    <a:pt x="1083" y="772"/>
                  </a:lnTo>
                  <a:lnTo>
                    <a:pt x="1050" y="805"/>
                  </a:lnTo>
                  <a:lnTo>
                    <a:pt x="1028" y="835"/>
                  </a:lnTo>
                  <a:lnTo>
                    <a:pt x="1004" y="868"/>
                  </a:lnTo>
                  <a:lnTo>
                    <a:pt x="990" y="882"/>
                  </a:lnTo>
                  <a:lnTo>
                    <a:pt x="977" y="894"/>
                  </a:lnTo>
                  <a:lnTo>
                    <a:pt x="969" y="898"/>
                  </a:lnTo>
                  <a:lnTo>
                    <a:pt x="961" y="902"/>
                  </a:lnTo>
                  <a:lnTo>
                    <a:pt x="953" y="903"/>
                  </a:lnTo>
                  <a:lnTo>
                    <a:pt x="946" y="904"/>
                  </a:lnTo>
                  <a:lnTo>
                    <a:pt x="939" y="903"/>
                  </a:lnTo>
                  <a:lnTo>
                    <a:pt x="932" y="902"/>
                  </a:lnTo>
                  <a:lnTo>
                    <a:pt x="927" y="899"/>
                  </a:lnTo>
                  <a:lnTo>
                    <a:pt x="921" y="896"/>
                  </a:lnTo>
                  <a:lnTo>
                    <a:pt x="914" y="894"/>
                  </a:lnTo>
                  <a:lnTo>
                    <a:pt x="908" y="892"/>
                  </a:lnTo>
                  <a:lnTo>
                    <a:pt x="900" y="890"/>
                  </a:lnTo>
                  <a:lnTo>
                    <a:pt x="891" y="890"/>
                  </a:lnTo>
                  <a:lnTo>
                    <a:pt x="880" y="890"/>
                  </a:lnTo>
                  <a:lnTo>
                    <a:pt x="870" y="892"/>
                  </a:lnTo>
                  <a:lnTo>
                    <a:pt x="859" y="895"/>
                  </a:lnTo>
                  <a:lnTo>
                    <a:pt x="849" y="898"/>
                  </a:lnTo>
                  <a:lnTo>
                    <a:pt x="825" y="907"/>
                  </a:lnTo>
                  <a:lnTo>
                    <a:pt x="802" y="917"/>
                  </a:lnTo>
                  <a:lnTo>
                    <a:pt x="756" y="942"/>
                  </a:lnTo>
                  <a:lnTo>
                    <a:pt x="715" y="963"/>
                  </a:lnTo>
                  <a:lnTo>
                    <a:pt x="704" y="968"/>
                  </a:lnTo>
                  <a:lnTo>
                    <a:pt x="694" y="972"/>
                  </a:lnTo>
                  <a:lnTo>
                    <a:pt x="687" y="975"/>
                  </a:lnTo>
                  <a:lnTo>
                    <a:pt x="681" y="976"/>
                  </a:lnTo>
                  <a:lnTo>
                    <a:pt x="677" y="975"/>
                  </a:lnTo>
                  <a:lnTo>
                    <a:pt x="675" y="974"/>
                  </a:lnTo>
                  <a:lnTo>
                    <a:pt x="673" y="970"/>
                  </a:lnTo>
                  <a:lnTo>
                    <a:pt x="673" y="966"/>
                  </a:lnTo>
                  <a:lnTo>
                    <a:pt x="675" y="955"/>
                  </a:lnTo>
                  <a:lnTo>
                    <a:pt x="676" y="942"/>
                  </a:lnTo>
                  <a:lnTo>
                    <a:pt x="676" y="936"/>
                  </a:lnTo>
                  <a:lnTo>
                    <a:pt x="676" y="928"/>
                  </a:lnTo>
                  <a:lnTo>
                    <a:pt x="675" y="920"/>
                  </a:lnTo>
                  <a:lnTo>
                    <a:pt x="672" y="912"/>
                  </a:lnTo>
                  <a:lnTo>
                    <a:pt x="671" y="909"/>
                  </a:lnTo>
                  <a:lnTo>
                    <a:pt x="667" y="907"/>
                  </a:lnTo>
                  <a:lnTo>
                    <a:pt x="663" y="904"/>
                  </a:lnTo>
                  <a:lnTo>
                    <a:pt x="656" y="902"/>
                  </a:lnTo>
                  <a:lnTo>
                    <a:pt x="643" y="899"/>
                  </a:lnTo>
                  <a:lnTo>
                    <a:pt x="628" y="898"/>
                  </a:lnTo>
                  <a:lnTo>
                    <a:pt x="611" y="898"/>
                  </a:lnTo>
                  <a:lnTo>
                    <a:pt x="595" y="898"/>
                  </a:lnTo>
                  <a:lnTo>
                    <a:pt x="581" y="900"/>
                  </a:lnTo>
                  <a:lnTo>
                    <a:pt x="571" y="903"/>
                  </a:lnTo>
                  <a:lnTo>
                    <a:pt x="505" y="926"/>
                  </a:lnTo>
                  <a:lnTo>
                    <a:pt x="382" y="865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645" name="Freeform 50"/>
            <p:cNvSpPr>
              <a:spLocks/>
            </p:cNvSpPr>
            <p:nvPr/>
          </p:nvSpPr>
          <p:spPr bwMode="auto">
            <a:xfrm>
              <a:off x="5942013" y="2559050"/>
              <a:ext cx="904875" cy="725488"/>
            </a:xfrm>
            <a:custGeom>
              <a:avLst/>
              <a:gdLst/>
              <a:ahLst/>
              <a:cxnLst>
                <a:cxn ang="0">
                  <a:pos x="694" y="753"/>
                </a:cxn>
                <a:cxn ang="0">
                  <a:pos x="711" y="821"/>
                </a:cxn>
                <a:cxn ang="0">
                  <a:pos x="887" y="749"/>
                </a:cxn>
                <a:cxn ang="0">
                  <a:pos x="977" y="754"/>
                </a:cxn>
                <a:cxn ang="0">
                  <a:pos x="1165" y="572"/>
                </a:cxn>
                <a:cxn ang="0">
                  <a:pos x="1193" y="478"/>
                </a:cxn>
                <a:cxn ang="0">
                  <a:pos x="1249" y="394"/>
                </a:cxn>
                <a:cxn ang="0">
                  <a:pos x="1233" y="167"/>
                </a:cxn>
                <a:cxn ang="0">
                  <a:pos x="1534" y="19"/>
                </a:cxn>
                <a:cxn ang="0">
                  <a:pos x="1771" y="80"/>
                </a:cxn>
                <a:cxn ang="0">
                  <a:pos x="1983" y="44"/>
                </a:cxn>
                <a:cxn ang="0">
                  <a:pos x="2353" y="40"/>
                </a:cxn>
                <a:cxn ang="0">
                  <a:pos x="2303" y="126"/>
                </a:cxn>
                <a:cxn ang="0">
                  <a:pos x="2298" y="227"/>
                </a:cxn>
                <a:cxn ang="0">
                  <a:pos x="2371" y="232"/>
                </a:cxn>
                <a:cxn ang="0">
                  <a:pos x="2339" y="492"/>
                </a:cxn>
                <a:cxn ang="0">
                  <a:pos x="2318" y="594"/>
                </a:cxn>
                <a:cxn ang="0">
                  <a:pos x="2339" y="613"/>
                </a:cxn>
                <a:cxn ang="0">
                  <a:pos x="2323" y="698"/>
                </a:cxn>
                <a:cxn ang="0">
                  <a:pos x="2307" y="709"/>
                </a:cxn>
                <a:cxn ang="0">
                  <a:pos x="2288" y="738"/>
                </a:cxn>
                <a:cxn ang="0">
                  <a:pos x="2277" y="762"/>
                </a:cxn>
                <a:cxn ang="0">
                  <a:pos x="2310" y="781"/>
                </a:cxn>
                <a:cxn ang="0">
                  <a:pos x="2363" y="804"/>
                </a:cxn>
                <a:cxn ang="0">
                  <a:pos x="2324" y="825"/>
                </a:cxn>
                <a:cxn ang="0">
                  <a:pos x="2310" y="869"/>
                </a:cxn>
                <a:cxn ang="0">
                  <a:pos x="2288" y="903"/>
                </a:cxn>
                <a:cxn ang="0">
                  <a:pos x="2247" y="1014"/>
                </a:cxn>
                <a:cxn ang="0">
                  <a:pos x="2187" y="1053"/>
                </a:cxn>
                <a:cxn ang="0">
                  <a:pos x="2064" y="1097"/>
                </a:cxn>
                <a:cxn ang="0">
                  <a:pos x="2038" y="1180"/>
                </a:cxn>
                <a:cxn ang="0">
                  <a:pos x="2116" y="1260"/>
                </a:cxn>
                <a:cxn ang="0">
                  <a:pos x="2203" y="1371"/>
                </a:cxn>
                <a:cxn ang="0">
                  <a:pos x="2213" y="1467"/>
                </a:cxn>
                <a:cxn ang="0">
                  <a:pos x="2327" y="1549"/>
                </a:cxn>
                <a:cxn ang="0">
                  <a:pos x="2288" y="1671"/>
                </a:cxn>
                <a:cxn ang="0">
                  <a:pos x="2316" y="1713"/>
                </a:cxn>
                <a:cxn ang="0">
                  <a:pos x="2139" y="1812"/>
                </a:cxn>
                <a:cxn ang="0">
                  <a:pos x="1894" y="1957"/>
                </a:cxn>
                <a:cxn ang="0">
                  <a:pos x="1847" y="1943"/>
                </a:cxn>
                <a:cxn ang="0">
                  <a:pos x="1839" y="1823"/>
                </a:cxn>
                <a:cxn ang="0">
                  <a:pos x="1780" y="1815"/>
                </a:cxn>
                <a:cxn ang="0">
                  <a:pos x="1692" y="1647"/>
                </a:cxn>
                <a:cxn ang="0">
                  <a:pos x="1596" y="1717"/>
                </a:cxn>
                <a:cxn ang="0">
                  <a:pos x="1508" y="1659"/>
                </a:cxn>
                <a:cxn ang="0">
                  <a:pos x="1392" y="1722"/>
                </a:cxn>
                <a:cxn ang="0">
                  <a:pos x="1274" y="1770"/>
                </a:cxn>
                <a:cxn ang="0">
                  <a:pos x="1237" y="1633"/>
                </a:cxn>
                <a:cxn ang="0">
                  <a:pos x="1110" y="1619"/>
                </a:cxn>
                <a:cxn ang="0">
                  <a:pos x="918" y="1612"/>
                </a:cxn>
                <a:cxn ang="0">
                  <a:pos x="866" y="1411"/>
                </a:cxn>
                <a:cxn ang="0">
                  <a:pos x="855" y="1378"/>
                </a:cxn>
                <a:cxn ang="0">
                  <a:pos x="834" y="1362"/>
                </a:cxn>
                <a:cxn ang="0">
                  <a:pos x="798" y="1352"/>
                </a:cxn>
                <a:cxn ang="0">
                  <a:pos x="668" y="1383"/>
                </a:cxn>
                <a:cxn ang="0">
                  <a:pos x="436" y="1311"/>
                </a:cxn>
                <a:cxn ang="0">
                  <a:pos x="509" y="1201"/>
                </a:cxn>
                <a:cxn ang="0">
                  <a:pos x="451" y="1153"/>
                </a:cxn>
                <a:cxn ang="0">
                  <a:pos x="235" y="951"/>
                </a:cxn>
                <a:cxn ang="0">
                  <a:pos x="48" y="954"/>
                </a:cxn>
                <a:cxn ang="0">
                  <a:pos x="3" y="886"/>
                </a:cxn>
                <a:cxn ang="0">
                  <a:pos x="78" y="826"/>
                </a:cxn>
                <a:cxn ang="0">
                  <a:pos x="109" y="732"/>
                </a:cxn>
              </a:cxnLst>
              <a:rect l="0" t="0" r="r" b="b"/>
              <a:pathLst>
                <a:path w="2464" h="1974">
                  <a:moveTo>
                    <a:pt x="276" y="638"/>
                  </a:moveTo>
                  <a:lnTo>
                    <a:pt x="349" y="641"/>
                  </a:lnTo>
                  <a:lnTo>
                    <a:pt x="420" y="716"/>
                  </a:lnTo>
                  <a:lnTo>
                    <a:pt x="543" y="777"/>
                  </a:lnTo>
                  <a:lnTo>
                    <a:pt x="609" y="754"/>
                  </a:lnTo>
                  <a:lnTo>
                    <a:pt x="619" y="751"/>
                  </a:lnTo>
                  <a:lnTo>
                    <a:pt x="633" y="749"/>
                  </a:lnTo>
                  <a:lnTo>
                    <a:pt x="649" y="749"/>
                  </a:lnTo>
                  <a:lnTo>
                    <a:pt x="666" y="749"/>
                  </a:lnTo>
                  <a:lnTo>
                    <a:pt x="681" y="750"/>
                  </a:lnTo>
                  <a:lnTo>
                    <a:pt x="694" y="753"/>
                  </a:lnTo>
                  <a:lnTo>
                    <a:pt x="701" y="755"/>
                  </a:lnTo>
                  <a:lnTo>
                    <a:pt x="705" y="758"/>
                  </a:lnTo>
                  <a:lnTo>
                    <a:pt x="709" y="760"/>
                  </a:lnTo>
                  <a:lnTo>
                    <a:pt x="710" y="763"/>
                  </a:lnTo>
                  <a:lnTo>
                    <a:pt x="713" y="771"/>
                  </a:lnTo>
                  <a:lnTo>
                    <a:pt x="714" y="779"/>
                  </a:lnTo>
                  <a:lnTo>
                    <a:pt x="714" y="787"/>
                  </a:lnTo>
                  <a:lnTo>
                    <a:pt x="714" y="793"/>
                  </a:lnTo>
                  <a:lnTo>
                    <a:pt x="713" y="806"/>
                  </a:lnTo>
                  <a:lnTo>
                    <a:pt x="711" y="817"/>
                  </a:lnTo>
                  <a:lnTo>
                    <a:pt x="711" y="821"/>
                  </a:lnTo>
                  <a:lnTo>
                    <a:pt x="713" y="825"/>
                  </a:lnTo>
                  <a:lnTo>
                    <a:pt x="715" y="826"/>
                  </a:lnTo>
                  <a:lnTo>
                    <a:pt x="719" y="827"/>
                  </a:lnTo>
                  <a:lnTo>
                    <a:pt x="725" y="826"/>
                  </a:lnTo>
                  <a:lnTo>
                    <a:pt x="732" y="823"/>
                  </a:lnTo>
                  <a:lnTo>
                    <a:pt x="742" y="819"/>
                  </a:lnTo>
                  <a:lnTo>
                    <a:pt x="753" y="814"/>
                  </a:lnTo>
                  <a:lnTo>
                    <a:pt x="794" y="793"/>
                  </a:lnTo>
                  <a:lnTo>
                    <a:pt x="840" y="768"/>
                  </a:lnTo>
                  <a:lnTo>
                    <a:pt x="863" y="758"/>
                  </a:lnTo>
                  <a:lnTo>
                    <a:pt x="887" y="749"/>
                  </a:lnTo>
                  <a:lnTo>
                    <a:pt x="897" y="746"/>
                  </a:lnTo>
                  <a:lnTo>
                    <a:pt x="908" y="743"/>
                  </a:lnTo>
                  <a:lnTo>
                    <a:pt x="918" y="741"/>
                  </a:lnTo>
                  <a:lnTo>
                    <a:pt x="929" y="741"/>
                  </a:lnTo>
                  <a:lnTo>
                    <a:pt x="938" y="741"/>
                  </a:lnTo>
                  <a:lnTo>
                    <a:pt x="946" y="743"/>
                  </a:lnTo>
                  <a:lnTo>
                    <a:pt x="952" y="745"/>
                  </a:lnTo>
                  <a:lnTo>
                    <a:pt x="959" y="747"/>
                  </a:lnTo>
                  <a:lnTo>
                    <a:pt x="965" y="750"/>
                  </a:lnTo>
                  <a:lnTo>
                    <a:pt x="970" y="753"/>
                  </a:lnTo>
                  <a:lnTo>
                    <a:pt x="977" y="754"/>
                  </a:lnTo>
                  <a:lnTo>
                    <a:pt x="984" y="755"/>
                  </a:lnTo>
                  <a:lnTo>
                    <a:pt x="991" y="754"/>
                  </a:lnTo>
                  <a:lnTo>
                    <a:pt x="999" y="753"/>
                  </a:lnTo>
                  <a:lnTo>
                    <a:pt x="1007" y="749"/>
                  </a:lnTo>
                  <a:lnTo>
                    <a:pt x="1015" y="745"/>
                  </a:lnTo>
                  <a:lnTo>
                    <a:pt x="1028" y="733"/>
                  </a:lnTo>
                  <a:lnTo>
                    <a:pt x="1042" y="719"/>
                  </a:lnTo>
                  <a:lnTo>
                    <a:pt x="1066" y="686"/>
                  </a:lnTo>
                  <a:lnTo>
                    <a:pt x="1088" y="656"/>
                  </a:lnTo>
                  <a:lnTo>
                    <a:pt x="1121" y="623"/>
                  </a:lnTo>
                  <a:lnTo>
                    <a:pt x="1165" y="572"/>
                  </a:lnTo>
                  <a:lnTo>
                    <a:pt x="1176" y="558"/>
                  </a:lnTo>
                  <a:lnTo>
                    <a:pt x="1185" y="545"/>
                  </a:lnTo>
                  <a:lnTo>
                    <a:pt x="1193" y="532"/>
                  </a:lnTo>
                  <a:lnTo>
                    <a:pt x="1198" y="518"/>
                  </a:lnTo>
                  <a:lnTo>
                    <a:pt x="1202" y="507"/>
                  </a:lnTo>
                  <a:lnTo>
                    <a:pt x="1203" y="498"/>
                  </a:lnTo>
                  <a:lnTo>
                    <a:pt x="1202" y="492"/>
                  </a:lnTo>
                  <a:lnTo>
                    <a:pt x="1201" y="488"/>
                  </a:lnTo>
                  <a:lnTo>
                    <a:pt x="1198" y="484"/>
                  </a:lnTo>
                  <a:lnTo>
                    <a:pt x="1194" y="481"/>
                  </a:lnTo>
                  <a:lnTo>
                    <a:pt x="1193" y="478"/>
                  </a:lnTo>
                  <a:lnTo>
                    <a:pt x="1192" y="474"/>
                  </a:lnTo>
                  <a:lnTo>
                    <a:pt x="1194" y="470"/>
                  </a:lnTo>
                  <a:lnTo>
                    <a:pt x="1197" y="465"/>
                  </a:lnTo>
                  <a:lnTo>
                    <a:pt x="1206" y="453"/>
                  </a:lnTo>
                  <a:lnTo>
                    <a:pt x="1218" y="441"/>
                  </a:lnTo>
                  <a:lnTo>
                    <a:pt x="1231" y="428"/>
                  </a:lnTo>
                  <a:lnTo>
                    <a:pt x="1241" y="416"/>
                  </a:lnTo>
                  <a:lnTo>
                    <a:pt x="1245" y="410"/>
                  </a:lnTo>
                  <a:lnTo>
                    <a:pt x="1248" y="405"/>
                  </a:lnTo>
                  <a:lnTo>
                    <a:pt x="1249" y="399"/>
                  </a:lnTo>
                  <a:lnTo>
                    <a:pt x="1249" y="394"/>
                  </a:lnTo>
                  <a:lnTo>
                    <a:pt x="1232" y="350"/>
                  </a:lnTo>
                  <a:lnTo>
                    <a:pt x="1202" y="297"/>
                  </a:lnTo>
                  <a:lnTo>
                    <a:pt x="1194" y="282"/>
                  </a:lnTo>
                  <a:lnTo>
                    <a:pt x="1189" y="267"/>
                  </a:lnTo>
                  <a:lnTo>
                    <a:pt x="1188" y="252"/>
                  </a:lnTo>
                  <a:lnTo>
                    <a:pt x="1190" y="237"/>
                  </a:lnTo>
                  <a:lnTo>
                    <a:pt x="1194" y="223"/>
                  </a:lnTo>
                  <a:lnTo>
                    <a:pt x="1201" y="208"/>
                  </a:lnTo>
                  <a:lnTo>
                    <a:pt x="1210" y="194"/>
                  </a:lnTo>
                  <a:lnTo>
                    <a:pt x="1220" y="180"/>
                  </a:lnTo>
                  <a:lnTo>
                    <a:pt x="1233" y="167"/>
                  </a:lnTo>
                  <a:lnTo>
                    <a:pt x="1248" y="154"/>
                  </a:lnTo>
                  <a:lnTo>
                    <a:pt x="1265" y="140"/>
                  </a:lnTo>
                  <a:lnTo>
                    <a:pt x="1282" y="129"/>
                  </a:lnTo>
                  <a:lnTo>
                    <a:pt x="1301" y="117"/>
                  </a:lnTo>
                  <a:lnTo>
                    <a:pt x="1321" y="105"/>
                  </a:lnTo>
                  <a:lnTo>
                    <a:pt x="1342" y="93"/>
                  </a:lnTo>
                  <a:lnTo>
                    <a:pt x="1363" y="83"/>
                  </a:lnTo>
                  <a:lnTo>
                    <a:pt x="1406" y="63"/>
                  </a:lnTo>
                  <a:lnTo>
                    <a:pt x="1451" y="46"/>
                  </a:lnTo>
                  <a:lnTo>
                    <a:pt x="1494" y="32"/>
                  </a:lnTo>
                  <a:lnTo>
                    <a:pt x="1534" y="19"/>
                  </a:lnTo>
                  <a:lnTo>
                    <a:pt x="1570" y="10"/>
                  </a:lnTo>
                  <a:lnTo>
                    <a:pt x="1601" y="3"/>
                  </a:lnTo>
                  <a:lnTo>
                    <a:pt x="1624" y="0"/>
                  </a:lnTo>
                  <a:lnTo>
                    <a:pt x="1640" y="0"/>
                  </a:lnTo>
                  <a:lnTo>
                    <a:pt x="1687" y="7"/>
                  </a:lnTo>
                  <a:lnTo>
                    <a:pt x="1729" y="50"/>
                  </a:lnTo>
                  <a:lnTo>
                    <a:pt x="1738" y="58"/>
                  </a:lnTo>
                  <a:lnTo>
                    <a:pt x="1746" y="65"/>
                  </a:lnTo>
                  <a:lnTo>
                    <a:pt x="1754" y="71"/>
                  </a:lnTo>
                  <a:lnTo>
                    <a:pt x="1763" y="76"/>
                  </a:lnTo>
                  <a:lnTo>
                    <a:pt x="1771" y="80"/>
                  </a:lnTo>
                  <a:lnTo>
                    <a:pt x="1780" y="84"/>
                  </a:lnTo>
                  <a:lnTo>
                    <a:pt x="1788" y="85"/>
                  </a:lnTo>
                  <a:lnTo>
                    <a:pt x="1797" y="88"/>
                  </a:lnTo>
                  <a:lnTo>
                    <a:pt x="1814" y="89"/>
                  </a:lnTo>
                  <a:lnTo>
                    <a:pt x="1831" y="88"/>
                  </a:lnTo>
                  <a:lnTo>
                    <a:pt x="1848" y="85"/>
                  </a:lnTo>
                  <a:lnTo>
                    <a:pt x="1866" y="82"/>
                  </a:lnTo>
                  <a:lnTo>
                    <a:pt x="1903" y="70"/>
                  </a:lnTo>
                  <a:lnTo>
                    <a:pt x="1941" y="55"/>
                  </a:lnTo>
                  <a:lnTo>
                    <a:pt x="1962" y="50"/>
                  </a:lnTo>
                  <a:lnTo>
                    <a:pt x="1983" y="44"/>
                  </a:lnTo>
                  <a:lnTo>
                    <a:pt x="2004" y="40"/>
                  </a:lnTo>
                  <a:lnTo>
                    <a:pt x="2027" y="38"/>
                  </a:lnTo>
                  <a:lnTo>
                    <a:pt x="2255" y="24"/>
                  </a:lnTo>
                  <a:lnTo>
                    <a:pt x="2284" y="23"/>
                  </a:lnTo>
                  <a:lnTo>
                    <a:pt x="2320" y="21"/>
                  </a:lnTo>
                  <a:lnTo>
                    <a:pt x="2329" y="23"/>
                  </a:lnTo>
                  <a:lnTo>
                    <a:pt x="2337" y="25"/>
                  </a:lnTo>
                  <a:lnTo>
                    <a:pt x="2344" y="27"/>
                  </a:lnTo>
                  <a:lnTo>
                    <a:pt x="2348" y="31"/>
                  </a:lnTo>
                  <a:lnTo>
                    <a:pt x="2352" y="34"/>
                  </a:lnTo>
                  <a:lnTo>
                    <a:pt x="2353" y="40"/>
                  </a:lnTo>
                  <a:lnTo>
                    <a:pt x="2352" y="46"/>
                  </a:lnTo>
                  <a:lnTo>
                    <a:pt x="2349" y="55"/>
                  </a:lnTo>
                  <a:lnTo>
                    <a:pt x="2341" y="74"/>
                  </a:lnTo>
                  <a:lnTo>
                    <a:pt x="2333" y="99"/>
                  </a:lnTo>
                  <a:lnTo>
                    <a:pt x="2331" y="109"/>
                  </a:lnTo>
                  <a:lnTo>
                    <a:pt x="2327" y="120"/>
                  </a:lnTo>
                  <a:lnTo>
                    <a:pt x="2324" y="122"/>
                  </a:lnTo>
                  <a:lnTo>
                    <a:pt x="2323" y="125"/>
                  </a:lnTo>
                  <a:lnTo>
                    <a:pt x="2322" y="127"/>
                  </a:lnTo>
                  <a:lnTo>
                    <a:pt x="2319" y="127"/>
                  </a:lnTo>
                  <a:lnTo>
                    <a:pt x="2303" y="126"/>
                  </a:lnTo>
                  <a:lnTo>
                    <a:pt x="2293" y="126"/>
                  </a:lnTo>
                  <a:lnTo>
                    <a:pt x="2289" y="126"/>
                  </a:lnTo>
                  <a:lnTo>
                    <a:pt x="2288" y="127"/>
                  </a:lnTo>
                  <a:lnTo>
                    <a:pt x="2286" y="129"/>
                  </a:lnTo>
                  <a:lnTo>
                    <a:pt x="2285" y="131"/>
                  </a:lnTo>
                  <a:lnTo>
                    <a:pt x="2288" y="144"/>
                  </a:lnTo>
                  <a:lnTo>
                    <a:pt x="2290" y="172"/>
                  </a:lnTo>
                  <a:lnTo>
                    <a:pt x="2290" y="189"/>
                  </a:lnTo>
                  <a:lnTo>
                    <a:pt x="2292" y="203"/>
                  </a:lnTo>
                  <a:lnTo>
                    <a:pt x="2294" y="216"/>
                  </a:lnTo>
                  <a:lnTo>
                    <a:pt x="2298" y="227"/>
                  </a:lnTo>
                  <a:lnTo>
                    <a:pt x="2301" y="231"/>
                  </a:lnTo>
                  <a:lnTo>
                    <a:pt x="2305" y="235"/>
                  </a:lnTo>
                  <a:lnTo>
                    <a:pt x="2309" y="237"/>
                  </a:lnTo>
                  <a:lnTo>
                    <a:pt x="2312" y="239"/>
                  </a:lnTo>
                  <a:lnTo>
                    <a:pt x="2319" y="239"/>
                  </a:lnTo>
                  <a:lnTo>
                    <a:pt x="2324" y="239"/>
                  </a:lnTo>
                  <a:lnTo>
                    <a:pt x="2332" y="237"/>
                  </a:lnTo>
                  <a:lnTo>
                    <a:pt x="2340" y="235"/>
                  </a:lnTo>
                  <a:lnTo>
                    <a:pt x="2349" y="232"/>
                  </a:lnTo>
                  <a:lnTo>
                    <a:pt x="2360" y="232"/>
                  </a:lnTo>
                  <a:lnTo>
                    <a:pt x="2371" y="232"/>
                  </a:lnTo>
                  <a:lnTo>
                    <a:pt x="2383" y="233"/>
                  </a:lnTo>
                  <a:lnTo>
                    <a:pt x="2396" y="236"/>
                  </a:lnTo>
                  <a:lnTo>
                    <a:pt x="2408" y="240"/>
                  </a:lnTo>
                  <a:lnTo>
                    <a:pt x="2420" y="244"/>
                  </a:lnTo>
                  <a:lnTo>
                    <a:pt x="2429" y="250"/>
                  </a:lnTo>
                  <a:lnTo>
                    <a:pt x="2464" y="271"/>
                  </a:lnTo>
                  <a:lnTo>
                    <a:pt x="2349" y="481"/>
                  </a:lnTo>
                  <a:lnTo>
                    <a:pt x="2345" y="486"/>
                  </a:lnTo>
                  <a:lnTo>
                    <a:pt x="2341" y="491"/>
                  </a:lnTo>
                  <a:lnTo>
                    <a:pt x="2340" y="492"/>
                  </a:lnTo>
                  <a:lnTo>
                    <a:pt x="2339" y="492"/>
                  </a:lnTo>
                  <a:lnTo>
                    <a:pt x="2339" y="494"/>
                  </a:lnTo>
                  <a:lnTo>
                    <a:pt x="2335" y="498"/>
                  </a:lnTo>
                  <a:lnTo>
                    <a:pt x="2332" y="503"/>
                  </a:lnTo>
                  <a:lnTo>
                    <a:pt x="2329" y="508"/>
                  </a:lnTo>
                  <a:lnTo>
                    <a:pt x="2327" y="513"/>
                  </a:lnTo>
                  <a:lnTo>
                    <a:pt x="2323" y="526"/>
                  </a:lnTo>
                  <a:lnTo>
                    <a:pt x="2322" y="539"/>
                  </a:lnTo>
                  <a:lnTo>
                    <a:pt x="2320" y="566"/>
                  </a:lnTo>
                  <a:lnTo>
                    <a:pt x="2320" y="592"/>
                  </a:lnTo>
                  <a:lnTo>
                    <a:pt x="2319" y="593"/>
                  </a:lnTo>
                  <a:lnTo>
                    <a:pt x="2318" y="594"/>
                  </a:lnTo>
                  <a:lnTo>
                    <a:pt x="2323" y="600"/>
                  </a:lnTo>
                  <a:lnTo>
                    <a:pt x="2328" y="602"/>
                  </a:lnTo>
                  <a:lnTo>
                    <a:pt x="2329" y="602"/>
                  </a:lnTo>
                  <a:lnTo>
                    <a:pt x="2331" y="602"/>
                  </a:lnTo>
                  <a:lnTo>
                    <a:pt x="2332" y="602"/>
                  </a:lnTo>
                  <a:lnTo>
                    <a:pt x="2333" y="603"/>
                  </a:lnTo>
                  <a:lnTo>
                    <a:pt x="2335" y="603"/>
                  </a:lnTo>
                  <a:lnTo>
                    <a:pt x="2336" y="606"/>
                  </a:lnTo>
                  <a:lnTo>
                    <a:pt x="2339" y="609"/>
                  </a:lnTo>
                  <a:lnTo>
                    <a:pt x="2339" y="610"/>
                  </a:lnTo>
                  <a:lnTo>
                    <a:pt x="2339" y="613"/>
                  </a:lnTo>
                  <a:lnTo>
                    <a:pt x="2339" y="628"/>
                  </a:lnTo>
                  <a:lnTo>
                    <a:pt x="2336" y="645"/>
                  </a:lnTo>
                  <a:lnTo>
                    <a:pt x="2335" y="678"/>
                  </a:lnTo>
                  <a:lnTo>
                    <a:pt x="2335" y="681"/>
                  </a:lnTo>
                  <a:lnTo>
                    <a:pt x="2333" y="685"/>
                  </a:lnTo>
                  <a:lnTo>
                    <a:pt x="2333" y="685"/>
                  </a:lnTo>
                  <a:lnTo>
                    <a:pt x="2332" y="686"/>
                  </a:lnTo>
                  <a:lnTo>
                    <a:pt x="2329" y="691"/>
                  </a:lnTo>
                  <a:lnTo>
                    <a:pt x="2326" y="695"/>
                  </a:lnTo>
                  <a:lnTo>
                    <a:pt x="2324" y="696"/>
                  </a:lnTo>
                  <a:lnTo>
                    <a:pt x="2323" y="698"/>
                  </a:lnTo>
                  <a:lnTo>
                    <a:pt x="2320" y="700"/>
                  </a:lnTo>
                  <a:lnTo>
                    <a:pt x="2318" y="702"/>
                  </a:lnTo>
                  <a:lnTo>
                    <a:pt x="2318" y="703"/>
                  </a:lnTo>
                  <a:lnTo>
                    <a:pt x="2316" y="704"/>
                  </a:lnTo>
                  <a:lnTo>
                    <a:pt x="2315" y="706"/>
                  </a:lnTo>
                  <a:lnTo>
                    <a:pt x="2314" y="706"/>
                  </a:lnTo>
                  <a:lnTo>
                    <a:pt x="2311" y="707"/>
                  </a:lnTo>
                  <a:lnTo>
                    <a:pt x="2310" y="708"/>
                  </a:lnTo>
                  <a:lnTo>
                    <a:pt x="2310" y="708"/>
                  </a:lnTo>
                  <a:lnTo>
                    <a:pt x="2309" y="709"/>
                  </a:lnTo>
                  <a:lnTo>
                    <a:pt x="2307" y="709"/>
                  </a:lnTo>
                  <a:lnTo>
                    <a:pt x="2306" y="711"/>
                  </a:lnTo>
                  <a:lnTo>
                    <a:pt x="2305" y="712"/>
                  </a:lnTo>
                  <a:lnTo>
                    <a:pt x="2303" y="713"/>
                  </a:lnTo>
                  <a:lnTo>
                    <a:pt x="2301" y="715"/>
                  </a:lnTo>
                  <a:lnTo>
                    <a:pt x="2299" y="717"/>
                  </a:lnTo>
                  <a:lnTo>
                    <a:pt x="2295" y="721"/>
                  </a:lnTo>
                  <a:lnTo>
                    <a:pt x="2294" y="728"/>
                  </a:lnTo>
                  <a:lnTo>
                    <a:pt x="2293" y="730"/>
                  </a:lnTo>
                  <a:lnTo>
                    <a:pt x="2292" y="734"/>
                  </a:lnTo>
                  <a:lnTo>
                    <a:pt x="2290" y="736"/>
                  </a:lnTo>
                  <a:lnTo>
                    <a:pt x="2288" y="738"/>
                  </a:lnTo>
                  <a:lnTo>
                    <a:pt x="2286" y="741"/>
                  </a:lnTo>
                  <a:lnTo>
                    <a:pt x="2285" y="743"/>
                  </a:lnTo>
                  <a:lnTo>
                    <a:pt x="2285" y="746"/>
                  </a:lnTo>
                  <a:lnTo>
                    <a:pt x="2285" y="747"/>
                  </a:lnTo>
                  <a:lnTo>
                    <a:pt x="2284" y="749"/>
                  </a:lnTo>
                  <a:lnTo>
                    <a:pt x="2282" y="751"/>
                  </a:lnTo>
                  <a:lnTo>
                    <a:pt x="2281" y="754"/>
                  </a:lnTo>
                  <a:lnTo>
                    <a:pt x="2280" y="755"/>
                  </a:lnTo>
                  <a:lnTo>
                    <a:pt x="2280" y="755"/>
                  </a:lnTo>
                  <a:lnTo>
                    <a:pt x="2278" y="758"/>
                  </a:lnTo>
                  <a:lnTo>
                    <a:pt x="2277" y="762"/>
                  </a:lnTo>
                  <a:lnTo>
                    <a:pt x="2277" y="763"/>
                  </a:lnTo>
                  <a:lnTo>
                    <a:pt x="2277" y="764"/>
                  </a:lnTo>
                  <a:lnTo>
                    <a:pt x="2278" y="766"/>
                  </a:lnTo>
                  <a:lnTo>
                    <a:pt x="2280" y="766"/>
                  </a:lnTo>
                  <a:lnTo>
                    <a:pt x="2288" y="770"/>
                  </a:lnTo>
                  <a:lnTo>
                    <a:pt x="2297" y="775"/>
                  </a:lnTo>
                  <a:lnTo>
                    <a:pt x="2301" y="776"/>
                  </a:lnTo>
                  <a:lnTo>
                    <a:pt x="2306" y="779"/>
                  </a:lnTo>
                  <a:lnTo>
                    <a:pt x="2307" y="779"/>
                  </a:lnTo>
                  <a:lnTo>
                    <a:pt x="2309" y="780"/>
                  </a:lnTo>
                  <a:lnTo>
                    <a:pt x="2310" y="781"/>
                  </a:lnTo>
                  <a:lnTo>
                    <a:pt x="2311" y="783"/>
                  </a:lnTo>
                  <a:lnTo>
                    <a:pt x="2319" y="787"/>
                  </a:lnTo>
                  <a:lnTo>
                    <a:pt x="2328" y="791"/>
                  </a:lnTo>
                  <a:lnTo>
                    <a:pt x="2335" y="792"/>
                  </a:lnTo>
                  <a:lnTo>
                    <a:pt x="2341" y="794"/>
                  </a:lnTo>
                  <a:lnTo>
                    <a:pt x="2345" y="794"/>
                  </a:lnTo>
                  <a:lnTo>
                    <a:pt x="2353" y="796"/>
                  </a:lnTo>
                  <a:lnTo>
                    <a:pt x="2357" y="797"/>
                  </a:lnTo>
                  <a:lnTo>
                    <a:pt x="2361" y="798"/>
                  </a:lnTo>
                  <a:lnTo>
                    <a:pt x="2362" y="800"/>
                  </a:lnTo>
                  <a:lnTo>
                    <a:pt x="2363" y="804"/>
                  </a:lnTo>
                  <a:lnTo>
                    <a:pt x="2362" y="805"/>
                  </a:lnTo>
                  <a:lnTo>
                    <a:pt x="2361" y="805"/>
                  </a:lnTo>
                  <a:lnTo>
                    <a:pt x="2358" y="805"/>
                  </a:lnTo>
                  <a:lnTo>
                    <a:pt x="2357" y="805"/>
                  </a:lnTo>
                  <a:lnTo>
                    <a:pt x="2356" y="806"/>
                  </a:lnTo>
                  <a:lnTo>
                    <a:pt x="2352" y="808"/>
                  </a:lnTo>
                  <a:lnTo>
                    <a:pt x="2346" y="809"/>
                  </a:lnTo>
                  <a:lnTo>
                    <a:pt x="2329" y="818"/>
                  </a:lnTo>
                  <a:lnTo>
                    <a:pt x="2328" y="821"/>
                  </a:lnTo>
                  <a:lnTo>
                    <a:pt x="2326" y="823"/>
                  </a:lnTo>
                  <a:lnTo>
                    <a:pt x="2324" y="825"/>
                  </a:lnTo>
                  <a:lnTo>
                    <a:pt x="2323" y="826"/>
                  </a:lnTo>
                  <a:lnTo>
                    <a:pt x="2322" y="827"/>
                  </a:lnTo>
                  <a:lnTo>
                    <a:pt x="2320" y="830"/>
                  </a:lnTo>
                  <a:lnTo>
                    <a:pt x="2320" y="831"/>
                  </a:lnTo>
                  <a:lnTo>
                    <a:pt x="2319" y="834"/>
                  </a:lnTo>
                  <a:lnTo>
                    <a:pt x="2318" y="835"/>
                  </a:lnTo>
                  <a:lnTo>
                    <a:pt x="2318" y="836"/>
                  </a:lnTo>
                  <a:lnTo>
                    <a:pt x="2316" y="839"/>
                  </a:lnTo>
                  <a:lnTo>
                    <a:pt x="2315" y="842"/>
                  </a:lnTo>
                  <a:lnTo>
                    <a:pt x="2314" y="853"/>
                  </a:lnTo>
                  <a:lnTo>
                    <a:pt x="2310" y="869"/>
                  </a:lnTo>
                  <a:lnTo>
                    <a:pt x="2309" y="876"/>
                  </a:lnTo>
                  <a:lnTo>
                    <a:pt x="2306" y="883"/>
                  </a:lnTo>
                  <a:lnTo>
                    <a:pt x="2302" y="889"/>
                  </a:lnTo>
                  <a:lnTo>
                    <a:pt x="2299" y="891"/>
                  </a:lnTo>
                  <a:lnTo>
                    <a:pt x="2294" y="894"/>
                  </a:lnTo>
                  <a:lnTo>
                    <a:pt x="2290" y="899"/>
                  </a:lnTo>
                  <a:lnTo>
                    <a:pt x="2289" y="899"/>
                  </a:lnTo>
                  <a:lnTo>
                    <a:pt x="2289" y="900"/>
                  </a:lnTo>
                  <a:lnTo>
                    <a:pt x="2288" y="900"/>
                  </a:lnTo>
                  <a:lnTo>
                    <a:pt x="2288" y="903"/>
                  </a:lnTo>
                  <a:lnTo>
                    <a:pt x="2288" y="903"/>
                  </a:lnTo>
                  <a:lnTo>
                    <a:pt x="2286" y="904"/>
                  </a:lnTo>
                  <a:lnTo>
                    <a:pt x="2285" y="906"/>
                  </a:lnTo>
                  <a:lnTo>
                    <a:pt x="2281" y="912"/>
                  </a:lnTo>
                  <a:lnTo>
                    <a:pt x="2278" y="919"/>
                  </a:lnTo>
                  <a:lnTo>
                    <a:pt x="2278" y="921"/>
                  </a:lnTo>
                  <a:lnTo>
                    <a:pt x="2275" y="936"/>
                  </a:lnTo>
                  <a:lnTo>
                    <a:pt x="2267" y="958"/>
                  </a:lnTo>
                  <a:lnTo>
                    <a:pt x="2259" y="982"/>
                  </a:lnTo>
                  <a:lnTo>
                    <a:pt x="2255" y="996"/>
                  </a:lnTo>
                  <a:lnTo>
                    <a:pt x="2252" y="1005"/>
                  </a:lnTo>
                  <a:lnTo>
                    <a:pt x="2247" y="1014"/>
                  </a:lnTo>
                  <a:lnTo>
                    <a:pt x="2246" y="1016"/>
                  </a:lnTo>
                  <a:lnTo>
                    <a:pt x="2244" y="1017"/>
                  </a:lnTo>
                  <a:lnTo>
                    <a:pt x="2242" y="1018"/>
                  </a:lnTo>
                  <a:lnTo>
                    <a:pt x="2239" y="1019"/>
                  </a:lnTo>
                  <a:lnTo>
                    <a:pt x="2234" y="1019"/>
                  </a:lnTo>
                  <a:lnTo>
                    <a:pt x="2229" y="1022"/>
                  </a:lnTo>
                  <a:lnTo>
                    <a:pt x="2225" y="1025"/>
                  </a:lnTo>
                  <a:lnTo>
                    <a:pt x="2220" y="1027"/>
                  </a:lnTo>
                  <a:lnTo>
                    <a:pt x="2209" y="1035"/>
                  </a:lnTo>
                  <a:lnTo>
                    <a:pt x="2197" y="1044"/>
                  </a:lnTo>
                  <a:lnTo>
                    <a:pt x="2187" y="1053"/>
                  </a:lnTo>
                  <a:lnTo>
                    <a:pt x="2174" y="1063"/>
                  </a:lnTo>
                  <a:lnTo>
                    <a:pt x="2169" y="1065"/>
                  </a:lnTo>
                  <a:lnTo>
                    <a:pt x="2162" y="1068"/>
                  </a:lnTo>
                  <a:lnTo>
                    <a:pt x="2154" y="1070"/>
                  </a:lnTo>
                  <a:lnTo>
                    <a:pt x="2148" y="1072"/>
                  </a:lnTo>
                  <a:lnTo>
                    <a:pt x="2136" y="1073"/>
                  </a:lnTo>
                  <a:lnTo>
                    <a:pt x="2111" y="1076"/>
                  </a:lnTo>
                  <a:lnTo>
                    <a:pt x="2088" y="1080"/>
                  </a:lnTo>
                  <a:lnTo>
                    <a:pt x="2073" y="1084"/>
                  </a:lnTo>
                  <a:lnTo>
                    <a:pt x="2068" y="1089"/>
                  </a:lnTo>
                  <a:lnTo>
                    <a:pt x="2064" y="1097"/>
                  </a:lnTo>
                  <a:lnTo>
                    <a:pt x="2060" y="1107"/>
                  </a:lnTo>
                  <a:lnTo>
                    <a:pt x="2056" y="1119"/>
                  </a:lnTo>
                  <a:lnTo>
                    <a:pt x="2054" y="1131"/>
                  </a:lnTo>
                  <a:lnTo>
                    <a:pt x="2050" y="1142"/>
                  </a:lnTo>
                  <a:lnTo>
                    <a:pt x="2044" y="1153"/>
                  </a:lnTo>
                  <a:lnTo>
                    <a:pt x="2039" y="1161"/>
                  </a:lnTo>
                  <a:lnTo>
                    <a:pt x="2035" y="1166"/>
                  </a:lnTo>
                  <a:lnTo>
                    <a:pt x="2034" y="1171"/>
                  </a:lnTo>
                  <a:lnTo>
                    <a:pt x="2034" y="1175"/>
                  </a:lnTo>
                  <a:lnTo>
                    <a:pt x="2035" y="1178"/>
                  </a:lnTo>
                  <a:lnTo>
                    <a:pt x="2038" y="1180"/>
                  </a:lnTo>
                  <a:lnTo>
                    <a:pt x="2042" y="1182"/>
                  </a:lnTo>
                  <a:lnTo>
                    <a:pt x="2046" y="1183"/>
                  </a:lnTo>
                  <a:lnTo>
                    <a:pt x="2051" y="1184"/>
                  </a:lnTo>
                  <a:lnTo>
                    <a:pt x="2063" y="1186"/>
                  </a:lnTo>
                  <a:lnTo>
                    <a:pt x="2073" y="1188"/>
                  </a:lnTo>
                  <a:lnTo>
                    <a:pt x="2078" y="1190"/>
                  </a:lnTo>
                  <a:lnTo>
                    <a:pt x="2082" y="1192"/>
                  </a:lnTo>
                  <a:lnTo>
                    <a:pt x="2086" y="1193"/>
                  </a:lnTo>
                  <a:lnTo>
                    <a:pt x="2089" y="1197"/>
                  </a:lnTo>
                  <a:lnTo>
                    <a:pt x="2103" y="1233"/>
                  </a:lnTo>
                  <a:lnTo>
                    <a:pt x="2116" y="1260"/>
                  </a:lnTo>
                  <a:lnTo>
                    <a:pt x="2124" y="1272"/>
                  </a:lnTo>
                  <a:lnTo>
                    <a:pt x="2133" y="1284"/>
                  </a:lnTo>
                  <a:lnTo>
                    <a:pt x="2145" y="1295"/>
                  </a:lnTo>
                  <a:lnTo>
                    <a:pt x="2159" y="1310"/>
                  </a:lnTo>
                  <a:lnTo>
                    <a:pt x="2165" y="1315"/>
                  </a:lnTo>
                  <a:lnTo>
                    <a:pt x="2170" y="1320"/>
                  </a:lnTo>
                  <a:lnTo>
                    <a:pt x="2173" y="1326"/>
                  </a:lnTo>
                  <a:lnTo>
                    <a:pt x="2175" y="1332"/>
                  </a:lnTo>
                  <a:lnTo>
                    <a:pt x="2180" y="1344"/>
                  </a:lnTo>
                  <a:lnTo>
                    <a:pt x="2186" y="1357"/>
                  </a:lnTo>
                  <a:lnTo>
                    <a:pt x="2203" y="1371"/>
                  </a:lnTo>
                  <a:lnTo>
                    <a:pt x="2216" y="1380"/>
                  </a:lnTo>
                  <a:lnTo>
                    <a:pt x="2208" y="1388"/>
                  </a:lnTo>
                  <a:lnTo>
                    <a:pt x="2203" y="1397"/>
                  </a:lnTo>
                  <a:lnTo>
                    <a:pt x="2199" y="1407"/>
                  </a:lnTo>
                  <a:lnTo>
                    <a:pt x="2197" y="1416"/>
                  </a:lnTo>
                  <a:lnTo>
                    <a:pt x="2197" y="1424"/>
                  </a:lnTo>
                  <a:lnTo>
                    <a:pt x="2197" y="1433"/>
                  </a:lnTo>
                  <a:lnTo>
                    <a:pt x="2200" y="1442"/>
                  </a:lnTo>
                  <a:lnTo>
                    <a:pt x="2204" y="1451"/>
                  </a:lnTo>
                  <a:lnTo>
                    <a:pt x="2208" y="1459"/>
                  </a:lnTo>
                  <a:lnTo>
                    <a:pt x="2213" y="1467"/>
                  </a:lnTo>
                  <a:lnTo>
                    <a:pt x="2220" y="1475"/>
                  </a:lnTo>
                  <a:lnTo>
                    <a:pt x="2227" y="1481"/>
                  </a:lnTo>
                  <a:lnTo>
                    <a:pt x="2235" y="1488"/>
                  </a:lnTo>
                  <a:lnTo>
                    <a:pt x="2243" y="1494"/>
                  </a:lnTo>
                  <a:lnTo>
                    <a:pt x="2251" y="1500"/>
                  </a:lnTo>
                  <a:lnTo>
                    <a:pt x="2260" y="1503"/>
                  </a:lnTo>
                  <a:lnTo>
                    <a:pt x="2275" y="1510"/>
                  </a:lnTo>
                  <a:lnTo>
                    <a:pt x="2297" y="1522"/>
                  </a:lnTo>
                  <a:lnTo>
                    <a:pt x="2318" y="1532"/>
                  </a:lnTo>
                  <a:lnTo>
                    <a:pt x="2327" y="1539"/>
                  </a:lnTo>
                  <a:lnTo>
                    <a:pt x="2327" y="1549"/>
                  </a:lnTo>
                  <a:lnTo>
                    <a:pt x="2323" y="1560"/>
                  </a:lnTo>
                  <a:lnTo>
                    <a:pt x="2318" y="1573"/>
                  </a:lnTo>
                  <a:lnTo>
                    <a:pt x="2311" y="1587"/>
                  </a:lnTo>
                  <a:lnTo>
                    <a:pt x="2299" y="1615"/>
                  </a:lnTo>
                  <a:lnTo>
                    <a:pt x="2289" y="1636"/>
                  </a:lnTo>
                  <a:lnTo>
                    <a:pt x="2286" y="1643"/>
                  </a:lnTo>
                  <a:lnTo>
                    <a:pt x="2282" y="1654"/>
                  </a:lnTo>
                  <a:lnTo>
                    <a:pt x="2282" y="1659"/>
                  </a:lnTo>
                  <a:lnTo>
                    <a:pt x="2282" y="1664"/>
                  </a:lnTo>
                  <a:lnTo>
                    <a:pt x="2284" y="1668"/>
                  </a:lnTo>
                  <a:lnTo>
                    <a:pt x="2288" y="1671"/>
                  </a:lnTo>
                  <a:lnTo>
                    <a:pt x="2289" y="1672"/>
                  </a:lnTo>
                  <a:lnTo>
                    <a:pt x="2290" y="1674"/>
                  </a:lnTo>
                  <a:lnTo>
                    <a:pt x="2293" y="1677"/>
                  </a:lnTo>
                  <a:lnTo>
                    <a:pt x="2297" y="1681"/>
                  </a:lnTo>
                  <a:lnTo>
                    <a:pt x="2299" y="1684"/>
                  </a:lnTo>
                  <a:lnTo>
                    <a:pt x="2302" y="1687"/>
                  </a:lnTo>
                  <a:lnTo>
                    <a:pt x="2306" y="1693"/>
                  </a:lnTo>
                  <a:lnTo>
                    <a:pt x="2311" y="1700"/>
                  </a:lnTo>
                  <a:lnTo>
                    <a:pt x="2314" y="1704"/>
                  </a:lnTo>
                  <a:lnTo>
                    <a:pt x="2316" y="1708"/>
                  </a:lnTo>
                  <a:lnTo>
                    <a:pt x="2316" y="1713"/>
                  </a:lnTo>
                  <a:lnTo>
                    <a:pt x="2315" y="1718"/>
                  </a:lnTo>
                  <a:lnTo>
                    <a:pt x="2312" y="1723"/>
                  </a:lnTo>
                  <a:lnTo>
                    <a:pt x="2309" y="1728"/>
                  </a:lnTo>
                  <a:lnTo>
                    <a:pt x="2303" y="1731"/>
                  </a:lnTo>
                  <a:lnTo>
                    <a:pt x="2298" y="1734"/>
                  </a:lnTo>
                  <a:lnTo>
                    <a:pt x="2289" y="1738"/>
                  </a:lnTo>
                  <a:lnTo>
                    <a:pt x="2275" y="1743"/>
                  </a:lnTo>
                  <a:lnTo>
                    <a:pt x="2259" y="1749"/>
                  </a:lnTo>
                  <a:lnTo>
                    <a:pt x="2247" y="1755"/>
                  </a:lnTo>
                  <a:lnTo>
                    <a:pt x="2195" y="1782"/>
                  </a:lnTo>
                  <a:lnTo>
                    <a:pt x="2139" y="1812"/>
                  </a:lnTo>
                  <a:lnTo>
                    <a:pt x="2110" y="1827"/>
                  </a:lnTo>
                  <a:lnTo>
                    <a:pt x="2080" y="1841"/>
                  </a:lnTo>
                  <a:lnTo>
                    <a:pt x="2048" y="1854"/>
                  </a:lnTo>
                  <a:lnTo>
                    <a:pt x="2018" y="1868"/>
                  </a:lnTo>
                  <a:lnTo>
                    <a:pt x="1989" y="1884"/>
                  </a:lnTo>
                  <a:lnTo>
                    <a:pt x="1962" y="1901"/>
                  </a:lnTo>
                  <a:lnTo>
                    <a:pt x="1949" y="1910"/>
                  </a:lnTo>
                  <a:lnTo>
                    <a:pt x="1936" y="1919"/>
                  </a:lnTo>
                  <a:lnTo>
                    <a:pt x="1923" y="1930"/>
                  </a:lnTo>
                  <a:lnTo>
                    <a:pt x="1912" y="1940"/>
                  </a:lnTo>
                  <a:lnTo>
                    <a:pt x="1894" y="1957"/>
                  </a:lnTo>
                  <a:lnTo>
                    <a:pt x="1880" y="1968"/>
                  </a:lnTo>
                  <a:lnTo>
                    <a:pt x="1874" y="1972"/>
                  </a:lnTo>
                  <a:lnTo>
                    <a:pt x="1869" y="1973"/>
                  </a:lnTo>
                  <a:lnTo>
                    <a:pt x="1864" y="1974"/>
                  </a:lnTo>
                  <a:lnTo>
                    <a:pt x="1860" y="1974"/>
                  </a:lnTo>
                  <a:lnTo>
                    <a:pt x="1856" y="1973"/>
                  </a:lnTo>
                  <a:lnTo>
                    <a:pt x="1853" y="1972"/>
                  </a:lnTo>
                  <a:lnTo>
                    <a:pt x="1852" y="1969"/>
                  </a:lnTo>
                  <a:lnTo>
                    <a:pt x="1849" y="1965"/>
                  </a:lnTo>
                  <a:lnTo>
                    <a:pt x="1848" y="1956"/>
                  </a:lnTo>
                  <a:lnTo>
                    <a:pt x="1847" y="1943"/>
                  </a:lnTo>
                  <a:lnTo>
                    <a:pt x="1848" y="1913"/>
                  </a:lnTo>
                  <a:lnTo>
                    <a:pt x="1852" y="1880"/>
                  </a:lnTo>
                  <a:lnTo>
                    <a:pt x="1853" y="1863"/>
                  </a:lnTo>
                  <a:lnTo>
                    <a:pt x="1855" y="1846"/>
                  </a:lnTo>
                  <a:lnTo>
                    <a:pt x="1855" y="1830"/>
                  </a:lnTo>
                  <a:lnTo>
                    <a:pt x="1855" y="1817"/>
                  </a:lnTo>
                  <a:lnTo>
                    <a:pt x="1853" y="1815"/>
                  </a:lnTo>
                  <a:lnTo>
                    <a:pt x="1852" y="1813"/>
                  </a:lnTo>
                  <a:lnTo>
                    <a:pt x="1849" y="1813"/>
                  </a:lnTo>
                  <a:lnTo>
                    <a:pt x="1847" y="1816"/>
                  </a:lnTo>
                  <a:lnTo>
                    <a:pt x="1839" y="1823"/>
                  </a:lnTo>
                  <a:lnTo>
                    <a:pt x="1830" y="1832"/>
                  </a:lnTo>
                  <a:lnTo>
                    <a:pt x="1821" y="1841"/>
                  </a:lnTo>
                  <a:lnTo>
                    <a:pt x="1812" y="1849"/>
                  </a:lnTo>
                  <a:lnTo>
                    <a:pt x="1808" y="1850"/>
                  </a:lnTo>
                  <a:lnTo>
                    <a:pt x="1804" y="1851"/>
                  </a:lnTo>
                  <a:lnTo>
                    <a:pt x="1800" y="1850"/>
                  </a:lnTo>
                  <a:lnTo>
                    <a:pt x="1796" y="1847"/>
                  </a:lnTo>
                  <a:lnTo>
                    <a:pt x="1792" y="1841"/>
                  </a:lnTo>
                  <a:lnTo>
                    <a:pt x="1788" y="1833"/>
                  </a:lnTo>
                  <a:lnTo>
                    <a:pt x="1784" y="1824"/>
                  </a:lnTo>
                  <a:lnTo>
                    <a:pt x="1780" y="1815"/>
                  </a:lnTo>
                  <a:lnTo>
                    <a:pt x="1775" y="1794"/>
                  </a:lnTo>
                  <a:lnTo>
                    <a:pt x="1770" y="1772"/>
                  </a:lnTo>
                  <a:lnTo>
                    <a:pt x="1764" y="1728"/>
                  </a:lnTo>
                  <a:lnTo>
                    <a:pt x="1759" y="1691"/>
                  </a:lnTo>
                  <a:lnTo>
                    <a:pt x="1757" y="1687"/>
                  </a:lnTo>
                  <a:lnTo>
                    <a:pt x="1749" y="1681"/>
                  </a:lnTo>
                  <a:lnTo>
                    <a:pt x="1738" y="1674"/>
                  </a:lnTo>
                  <a:lnTo>
                    <a:pt x="1725" y="1666"/>
                  </a:lnTo>
                  <a:lnTo>
                    <a:pt x="1713" y="1658"/>
                  </a:lnTo>
                  <a:lnTo>
                    <a:pt x="1702" y="1651"/>
                  </a:lnTo>
                  <a:lnTo>
                    <a:pt x="1692" y="1647"/>
                  </a:lnTo>
                  <a:lnTo>
                    <a:pt x="1689" y="1646"/>
                  </a:lnTo>
                  <a:lnTo>
                    <a:pt x="1679" y="1653"/>
                  </a:lnTo>
                  <a:lnTo>
                    <a:pt x="1669" y="1663"/>
                  </a:lnTo>
                  <a:lnTo>
                    <a:pt x="1658" y="1676"/>
                  </a:lnTo>
                  <a:lnTo>
                    <a:pt x="1647" y="1691"/>
                  </a:lnTo>
                  <a:lnTo>
                    <a:pt x="1635" y="1704"/>
                  </a:lnTo>
                  <a:lnTo>
                    <a:pt x="1622" y="1713"/>
                  </a:lnTo>
                  <a:lnTo>
                    <a:pt x="1615" y="1717"/>
                  </a:lnTo>
                  <a:lnTo>
                    <a:pt x="1609" y="1718"/>
                  </a:lnTo>
                  <a:lnTo>
                    <a:pt x="1602" y="1718"/>
                  </a:lnTo>
                  <a:lnTo>
                    <a:pt x="1596" y="1717"/>
                  </a:lnTo>
                  <a:lnTo>
                    <a:pt x="1592" y="1714"/>
                  </a:lnTo>
                  <a:lnTo>
                    <a:pt x="1587" y="1711"/>
                  </a:lnTo>
                  <a:lnTo>
                    <a:pt x="1581" y="1708"/>
                  </a:lnTo>
                  <a:lnTo>
                    <a:pt x="1576" y="1702"/>
                  </a:lnTo>
                  <a:lnTo>
                    <a:pt x="1567" y="1691"/>
                  </a:lnTo>
                  <a:lnTo>
                    <a:pt x="1559" y="1679"/>
                  </a:lnTo>
                  <a:lnTo>
                    <a:pt x="1545" y="1658"/>
                  </a:lnTo>
                  <a:lnTo>
                    <a:pt x="1537" y="1647"/>
                  </a:lnTo>
                  <a:lnTo>
                    <a:pt x="1526" y="1650"/>
                  </a:lnTo>
                  <a:lnTo>
                    <a:pt x="1517" y="1654"/>
                  </a:lnTo>
                  <a:lnTo>
                    <a:pt x="1508" y="1659"/>
                  </a:lnTo>
                  <a:lnTo>
                    <a:pt x="1499" y="1666"/>
                  </a:lnTo>
                  <a:lnTo>
                    <a:pt x="1490" y="1674"/>
                  </a:lnTo>
                  <a:lnTo>
                    <a:pt x="1481" y="1680"/>
                  </a:lnTo>
                  <a:lnTo>
                    <a:pt x="1471" y="1684"/>
                  </a:lnTo>
                  <a:lnTo>
                    <a:pt x="1461" y="1688"/>
                  </a:lnTo>
                  <a:lnTo>
                    <a:pt x="1452" y="1689"/>
                  </a:lnTo>
                  <a:lnTo>
                    <a:pt x="1441" y="1693"/>
                  </a:lnTo>
                  <a:lnTo>
                    <a:pt x="1432" y="1696"/>
                  </a:lnTo>
                  <a:lnTo>
                    <a:pt x="1424" y="1701"/>
                  </a:lnTo>
                  <a:lnTo>
                    <a:pt x="1407" y="1710"/>
                  </a:lnTo>
                  <a:lnTo>
                    <a:pt x="1392" y="1722"/>
                  </a:lnTo>
                  <a:lnTo>
                    <a:pt x="1363" y="1748"/>
                  </a:lnTo>
                  <a:lnTo>
                    <a:pt x="1335" y="1773"/>
                  </a:lnTo>
                  <a:lnTo>
                    <a:pt x="1329" y="1779"/>
                  </a:lnTo>
                  <a:lnTo>
                    <a:pt x="1322" y="1783"/>
                  </a:lnTo>
                  <a:lnTo>
                    <a:pt x="1316" y="1787"/>
                  </a:lnTo>
                  <a:lnTo>
                    <a:pt x="1311" y="1789"/>
                  </a:lnTo>
                  <a:lnTo>
                    <a:pt x="1305" y="1789"/>
                  </a:lnTo>
                  <a:lnTo>
                    <a:pt x="1300" y="1789"/>
                  </a:lnTo>
                  <a:lnTo>
                    <a:pt x="1296" y="1787"/>
                  </a:lnTo>
                  <a:lnTo>
                    <a:pt x="1291" y="1785"/>
                  </a:lnTo>
                  <a:lnTo>
                    <a:pt x="1274" y="1770"/>
                  </a:lnTo>
                  <a:lnTo>
                    <a:pt x="1256" y="1753"/>
                  </a:lnTo>
                  <a:lnTo>
                    <a:pt x="1250" y="1747"/>
                  </a:lnTo>
                  <a:lnTo>
                    <a:pt x="1246" y="1739"/>
                  </a:lnTo>
                  <a:lnTo>
                    <a:pt x="1245" y="1730"/>
                  </a:lnTo>
                  <a:lnTo>
                    <a:pt x="1244" y="1719"/>
                  </a:lnTo>
                  <a:lnTo>
                    <a:pt x="1245" y="1697"/>
                  </a:lnTo>
                  <a:lnTo>
                    <a:pt x="1245" y="1674"/>
                  </a:lnTo>
                  <a:lnTo>
                    <a:pt x="1245" y="1662"/>
                  </a:lnTo>
                  <a:lnTo>
                    <a:pt x="1244" y="1651"/>
                  </a:lnTo>
                  <a:lnTo>
                    <a:pt x="1243" y="1641"/>
                  </a:lnTo>
                  <a:lnTo>
                    <a:pt x="1237" y="1633"/>
                  </a:lnTo>
                  <a:lnTo>
                    <a:pt x="1235" y="1629"/>
                  </a:lnTo>
                  <a:lnTo>
                    <a:pt x="1232" y="1625"/>
                  </a:lnTo>
                  <a:lnTo>
                    <a:pt x="1228" y="1622"/>
                  </a:lnTo>
                  <a:lnTo>
                    <a:pt x="1223" y="1620"/>
                  </a:lnTo>
                  <a:lnTo>
                    <a:pt x="1218" y="1617"/>
                  </a:lnTo>
                  <a:lnTo>
                    <a:pt x="1212" y="1616"/>
                  </a:lnTo>
                  <a:lnTo>
                    <a:pt x="1206" y="1615"/>
                  </a:lnTo>
                  <a:lnTo>
                    <a:pt x="1198" y="1615"/>
                  </a:lnTo>
                  <a:lnTo>
                    <a:pt x="1161" y="1616"/>
                  </a:lnTo>
                  <a:lnTo>
                    <a:pt x="1127" y="1619"/>
                  </a:lnTo>
                  <a:lnTo>
                    <a:pt x="1110" y="1619"/>
                  </a:lnTo>
                  <a:lnTo>
                    <a:pt x="1093" y="1617"/>
                  </a:lnTo>
                  <a:lnTo>
                    <a:pt x="1076" y="1615"/>
                  </a:lnTo>
                  <a:lnTo>
                    <a:pt x="1058" y="1609"/>
                  </a:lnTo>
                  <a:lnTo>
                    <a:pt x="1048" y="1605"/>
                  </a:lnTo>
                  <a:lnTo>
                    <a:pt x="1036" y="1604"/>
                  </a:lnTo>
                  <a:lnTo>
                    <a:pt x="1021" y="1604"/>
                  </a:lnTo>
                  <a:lnTo>
                    <a:pt x="1007" y="1605"/>
                  </a:lnTo>
                  <a:lnTo>
                    <a:pt x="977" y="1608"/>
                  </a:lnTo>
                  <a:lnTo>
                    <a:pt x="947" y="1611"/>
                  </a:lnTo>
                  <a:lnTo>
                    <a:pt x="933" y="1612"/>
                  </a:lnTo>
                  <a:lnTo>
                    <a:pt x="918" y="1612"/>
                  </a:lnTo>
                  <a:lnTo>
                    <a:pt x="906" y="1612"/>
                  </a:lnTo>
                  <a:lnTo>
                    <a:pt x="895" y="1609"/>
                  </a:lnTo>
                  <a:lnTo>
                    <a:pt x="885" y="1605"/>
                  </a:lnTo>
                  <a:lnTo>
                    <a:pt x="879" y="1600"/>
                  </a:lnTo>
                  <a:lnTo>
                    <a:pt x="876" y="1598"/>
                  </a:lnTo>
                  <a:lnTo>
                    <a:pt x="874" y="1594"/>
                  </a:lnTo>
                  <a:lnTo>
                    <a:pt x="872" y="1588"/>
                  </a:lnTo>
                  <a:lnTo>
                    <a:pt x="872" y="1583"/>
                  </a:lnTo>
                  <a:lnTo>
                    <a:pt x="867" y="1428"/>
                  </a:lnTo>
                  <a:lnTo>
                    <a:pt x="867" y="1418"/>
                  </a:lnTo>
                  <a:lnTo>
                    <a:pt x="866" y="1411"/>
                  </a:lnTo>
                  <a:lnTo>
                    <a:pt x="865" y="1403"/>
                  </a:lnTo>
                  <a:lnTo>
                    <a:pt x="865" y="1395"/>
                  </a:lnTo>
                  <a:lnTo>
                    <a:pt x="863" y="1394"/>
                  </a:lnTo>
                  <a:lnTo>
                    <a:pt x="863" y="1392"/>
                  </a:lnTo>
                  <a:lnTo>
                    <a:pt x="862" y="1391"/>
                  </a:lnTo>
                  <a:lnTo>
                    <a:pt x="862" y="1390"/>
                  </a:lnTo>
                  <a:lnTo>
                    <a:pt x="862" y="1388"/>
                  </a:lnTo>
                  <a:lnTo>
                    <a:pt x="861" y="1386"/>
                  </a:lnTo>
                  <a:lnTo>
                    <a:pt x="861" y="1384"/>
                  </a:lnTo>
                  <a:lnTo>
                    <a:pt x="859" y="1383"/>
                  </a:lnTo>
                  <a:lnTo>
                    <a:pt x="855" y="1378"/>
                  </a:lnTo>
                  <a:lnTo>
                    <a:pt x="853" y="1373"/>
                  </a:lnTo>
                  <a:lnTo>
                    <a:pt x="853" y="1371"/>
                  </a:lnTo>
                  <a:lnTo>
                    <a:pt x="851" y="1371"/>
                  </a:lnTo>
                  <a:lnTo>
                    <a:pt x="850" y="1370"/>
                  </a:lnTo>
                  <a:lnTo>
                    <a:pt x="849" y="1367"/>
                  </a:lnTo>
                  <a:lnTo>
                    <a:pt x="848" y="1367"/>
                  </a:lnTo>
                  <a:lnTo>
                    <a:pt x="848" y="1367"/>
                  </a:lnTo>
                  <a:lnTo>
                    <a:pt x="845" y="1366"/>
                  </a:lnTo>
                  <a:lnTo>
                    <a:pt x="844" y="1365"/>
                  </a:lnTo>
                  <a:lnTo>
                    <a:pt x="842" y="1365"/>
                  </a:lnTo>
                  <a:lnTo>
                    <a:pt x="834" y="1362"/>
                  </a:lnTo>
                  <a:lnTo>
                    <a:pt x="827" y="1358"/>
                  </a:lnTo>
                  <a:lnTo>
                    <a:pt x="824" y="1357"/>
                  </a:lnTo>
                  <a:lnTo>
                    <a:pt x="820" y="1357"/>
                  </a:lnTo>
                  <a:lnTo>
                    <a:pt x="817" y="1356"/>
                  </a:lnTo>
                  <a:lnTo>
                    <a:pt x="816" y="1356"/>
                  </a:lnTo>
                  <a:lnTo>
                    <a:pt x="815" y="1353"/>
                  </a:lnTo>
                  <a:lnTo>
                    <a:pt x="812" y="1352"/>
                  </a:lnTo>
                  <a:lnTo>
                    <a:pt x="810" y="1350"/>
                  </a:lnTo>
                  <a:lnTo>
                    <a:pt x="808" y="1350"/>
                  </a:lnTo>
                  <a:lnTo>
                    <a:pt x="803" y="1350"/>
                  </a:lnTo>
                  <a:lnTo>
                    <a:pt x="798" y="1352"/>
                  </a:lnTo>
                  <a:lnTo>
                    <a:pt x="742" y="1361"/>
                  </a:lnTo>
                  <a:lnTo>
                    <a:pt x="708" y="1369"/>
                  </a:lnTo>
                  <a:lnTo>
                    <a:pt x="708" y="1367"/>
                  </a:lnTo>
                  <a:lnTo>
                    <a:pt x="708" y="1365"/>
                  </a:lnTo>
                  <a:lnTo>
                    <a:pt x="706" y="1363"/>
                  </a:lnTo>
                  <a:lnTo>
                    <a:pt x="705" y="1362"/>
                  </a:lnTo>
                  <a:lnTo>
                    <a:pt x="704" y="1362"/>
                  </a:lnTo>
                  <a:lnTo>
                    <a:pt x="698" y="1363"/>
                  </a:lnTo>
                  <a:lnTo>
                    <a:pt x="692" y="1367"/>
                  </a:lnTo>
                  <a:lnTo>
                    <a:pt x="679" y="1375"/>
                  </a:lnTo>
                  <a:lnTo>
                    <a:pt x="668" y="1383"/>
                  </a:lnTo>
                  <a:lnTo>
                    <a:pt x="658" y="1394"/>
                  </a:lnTo>
                  <a:lnTo>
                    <a:pt x="647" y="1405"/>
                  </a:lnTo>
                  <a:lnTo>
                    <a:pt x="643" y="1409"/>
                  </a:lnTo>
                  <a:lnTo>
                    <a:pt x="638" y="1415"/>
                  </a:lnTo>
                  <a:lnTo>
                    <a:pt x="632" y="1417"/>
                  </a:lnTo>
                  <a:lnTo>
                    <a:pt x="625" y="1420"/>
                  </a:lnTo>
                  <a:lnTo>
                    <a:pt x="450" y="1447"/>
                  </a:lnTo>
                  <a:lnTo>
                    <a:pt x="309" y="1397"/>
                  </a:lnTo>
                  <a:lnTo>
                    <a:pt x="314" y="1357"/>
                  </a:lnTo>
                  <a:lnTo>
                    <a:pt x="422" y="1316"/>
                  </a:lnTo>
                  <a:lnTo>
                    <a:pt x="436" y="1311"/>
                  </a:lnTo>
                  <a:lnTo>
                    <a:pt x="449" y="1305"/>
                  </a:lnTo>
                  <a:lnTo>
                    <a:pt x="459" y="1299"/>
                  </a:lnTo>
                  <a:lnTo>
                    <a:pt x="470" y="1292"/>
                  </a:lnTo>
                  <a:lnTo>
                    <a:pt x="479" y="1282"/>
                  </a:lnTo>
                  <a:lnTo>
                    <a:pt x="487" y="1272"/>
                  </a:lnTo>
                  <a:lnTo>
                    <a:pt x="493" y="1260"/>
                  </a:lnTo>
                  <a:lnTo>
                    <a:pt x="500" y="1246"/>
                  </a:lnTo>
                  <a:lnTo>
                    <a:pt x="502" y="1235"/>
                  </a:lnTo>
                  <a:lnTo>
                    <a:pt x="506" y="1225"/>
                  </a:lnTo>
                  <a:lnTo>
                    <a:pt x="507" y="1213"/>
                  </a:lnTo>
                  <a:lnTo>
                    <a:pt x="509" y="1201"/>
                  </a:lnTo>
                  <a:lnTo>
                    <a:pt x="509" y="1196"/>
                  </a:lnTo>
                  <a:lnTo>
                    <a:pt x="507" y="1191"/>
                  </a:lnTo>
                  <a:lnTo>
                    <a:pt x="506" y="1186"/>
                  </a:lnTo>
                  <a:lnTo>
                    <a:pt x="505" y="1180"/>
                  </a:lnTo>
                  <a:lnTo>
                    <a:pt x="501" y="1176"/>
                  </a:lnTo>
                  <a:lnTo>
                    <a:pt x="498" y="1173"/>
                  </a:lnTo>
                  <a:lnTo>
                    <a:pt x="493" y="1170"/>
                  </a:lnTo>
                  <a:lnTo>
                    <a:pt x="488" y="1167"/>
                  </a:lnTo>
                  <a:lnTo>
                    <a:pt x="475" y="1163"/>
                  </a:lnTo>
                  <a:lnTo>
                    <a:pt x="463" y="1158"/>
                  </a:lnTo>
                  <a:lnTo>
                    <a:pt x="451" y="1153"/>
                  </a:lnTo>
                  <a:lnTo>
                    <a:pt x="442" y="1148"/>
                  </a:lnTo>
                  <a:lnTo>
                    <a:pt x="424" y="1135"/>
                  </a:lnTo>
                  <a:lnTo>
                    <a:pt x="408" y="1121"/>
                  </a:lnTo>
                  <a:lnTo>
                    <a:pt x="381" y="1090"/>
                  </a:lnTo>
                  <a:lnTo>
                    <a:pt x="349" y="1053"/>
                  </a:lnTo>
                  <a:lnTo>
                    <a:pt x="331" y="1034"/>
                  </a:lnTo>
                  <a:lnTo>
                    <a:pt x="313" y="1016"/>
                  </a:lnTo>
                  <a:lnTo>
                    <a:pt x="294" y="997"/>
                  </a:lnTo>
                  <a:lnTo>
                    <a:pt x="275" y="980"/>
                  </a:lnTo>
                  <a:lnTo>
                    <a:pt x="256" y="966"/>
                  </a:lnTo>
                  <a:lnTo>
                    <a:pt x="235" y="951"/>
                  </a:lnTo>
                  <a:lnTo>
                    <a:pt x="214" y="940"/>
                  </a:lnTo>
                  <a:lnTo>
                    <a:pt x="191" y="929"/>
                  </a:lnTo>
                  <a:lnTo>
                    <a:pt x="182" y="928"/>
                  </a:lnTo>
                  <a:lnTo>
                    <a:pt x="173" y="927"/>
                  </a:lnTo>
                  <a:lnTo>
                    <a:pt x="162" y="927"/>
                  </a:lnTo>
                  <a:lnTo>
                    <a:pt x="152" y="928"/>
                  </a:lnTo>
                  <a:lnTo>
                    <a:pt x="129" y="934"/>
                  </a:lnTo>
                  <a:lnTo>
                    <a:pt x="107" y="941"/>
                  </a:lnTo>
                  <a:lnTo>
                    <a:pt x="84" y="948"/>
                  </a:lnTo>
                  <a:lnTo>
                    <a:pt x="59" y="953"/>
                  </a:lnTo>
                  <a:lnTo>
                    <a:pt x="48" y="954"/>
                  </a:lnTo>
                  <a:lnTo>
                    <a:pt x="37" y="954"/>
                  </a:lnTo>
                  <a:lnTo>
                    <a:pt x="25" y="953"/>
                  </a:lnTo>
                  <a:lnTo>
                    <a:pt x="14" y="949"/>
                  </a:lnTo>
                  <a:lnTo>
                    <a:pt x="12" y="948"/>
                  </a:lnTo>
                  <a:lnTo>
                    <a:pt x="9" y="944"/>
                  </a:lnTo>
                  <a:lnTo>
                    <a:pt x="6" y="940"/>
                  </a:lnTo>
                  <a:lnTo>
                    <a:pt x="4" y="936"/>
                  </a:lnTo>
                  <a:lnTo>
                    <a:pt x="1" y="924"/>
                  </a:lnTo>
                  <a:lnTo>
                    <a:pt x="0" y="911"/>
                  </a:lnTo>
                  <a:lnTo>
                    <a:pt x="0" y="898"/>
                  </a:lnTo>
                  <a:lnTo>
                    <a:pt x="3" y="886"/>
                  </a:lnTo>
                  <a:lnTo>
                    <a:pt x="5" y="881"/>
                  </a:lnTo>
                  <a:lnTo>
                    <a:pt x="8" y="877"/>
                  </a:lnTo>
                  <a:lnTo>
                    <a:pt x="10" y="873"/>
                  </a:lnTo>
                  <a:lnTo>
                    <a:pt x="14" y="870"/>
                  </a:lnTo>
                  <a:lnTo>
                    <a:pt x="33" y="862"/>
                  </a:lnTo>
                  <a:lnTo>
                    <a:pt x="48" y="853"/>
                  </a:lnTo>
                  <a:lnTo>
                    <a:pt x="56" y="848"/>
                  </a:lnTo>
                  <a:lnTo>
                    <a:pt x="63" y="843"/>
                  </a:lnTo>
                  <a:lnTo>
                    <a:pt x="68" y="838"/>
                  </a:lnTo>
                  <a:lnTo>
                    <a:pt x="74" y="832"/>
                  </a:lnTo>
                  <a:lnTo>
                    <a:pt x="78" y="826"/>
                  </a:lnTo>
                  <a:lnTo>
                    <a:pt x="84" y="818"/>
                  </a:lnTo>
                  <a:lnTo>
                    <a:pt x="86" y="811"/>
                  </a:lnTo>
                  <a:lnTo>
                    <a:pt x="89" y="802"/>
                  </a:lnTo>
                  <a:lnTo>
                    <a:pt x="92" y="794"/>
                  </a:lnTo>
                  <a:lnTo>
                    <a:pt x="93" y="784"/>
                  </a:lnTo>
                  <a:lnTo>
                    <a:pt x="93" y="774"/>
                  </a:lnTo>
                  <a:lnTo>
                    <a:pt x="92" y="762"/>
                  </a:lnTo>
                  <a:lnTo>
                    <a:pt x="93" y="755"/>
                  </a:lnTo>
                  <a:lnTo>
                    <a:pt x="95" y="747"/>
                  </a:lnTo>
                  <a:lnTo>
                    <a:pt x="101" y="740"/>
                  </a:lnTo>
                  <a:lnTo>
                    <a:pt x="109" y="732"/>
                  </a:lnTo>
                  <a:lnTo>
                    <a:pt x="126" y="716"/>
                  </a:lnTo>
                  <a:lnTo>
                    <a:pt x="148" y="699"/>
                  </a:lnTo>
                  <a:lnTo>
                    <a:pt x="171" y="683"/>
                  </a:lnTo>
                  <a:lnTo>
                    <a:pt x="194" y="670"/>
                  </a:lnTo>
                  <a:lnTo>
                    <a:pt x="213" y="660"/>
                  </a:lnTo>
                  <a:lnTo>
                    <a:pt x="226" y="653"/>
                  </a:lnTo>
                  <a:lnTo>
                    <a:pt x="276" y="638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Calibri" pitchFamily="34" charset="0"/>
                <a:ea typeface="ＭＳ Ｐゴシック"/>
                <a:cs typeface="ＭＳ Ｐゴシック"/>
              </a:endParaRPr>
            </a:p>
          </p:txBody>
        </p:sp>
      </p:grpSp>
      <p:grpSp>
        <p:nvGrpSpPr>
          <p:cNvPr id="3" name="Group 17"/>
          <p:cNvGrpSpPr>
            <a:grpSpLocks/>
          </p:cNvGrpSpPr>
          <p:nvPr/>
        </p:nvGrpSpPr>
        <p:grpSpPr bwMode="auto">
          <a:xfrm>
            <a:off x="5873207" y="2508464"/>
            <a:ext cx="644109" cy="919207"/>
            <a:chOff x="4109864" y="2500313"/>
            <a:chExt cx="1078086" cy="1537898"/>
          </a:xfrm>
          <a:effectLst>
            <a:outerShdw blurRad="63500" sx="102000" sy="102000" algn="ctr" rotWithShape="0">
              <a:prstClr val="black">
                <a:alpha val="0"/>
              </a:prstClr>
            </a:outerShdw>
          </a:effectLst>
        </p:grpSpPr>
        <p:grpSp>
          <p:nvGrpSpPr>
            <p:cNvPr id="4" name="Group 4"/>
            <p:cNvGrpSpPr>
              <a:grpSpLocks/>
            </p:cNvGrpSpPr>
            <p:nvPr/>
          </p:nvGrpSpPr>
          <p:grpSpPr bwMode="auto">
            <a:xfrm>
              <a:off x="4109864" y="3335127"/>
              <a:ext cx="703376" cy="703084"/>
              <a:chOff x="5524674" y="1413200"/>
              <a:chExt cx="703376" cy="703084"/>
            </a:xfrm>
          </p:grpSpPr>
          <p:sp>
            <p:nvSpPr>
              <p:cNvPr id="652" name="Oval 651"/>
              <p:cNvSpPr/>
              <p:nvPr/>
            </p:nvSpPr>
            <p:spPr>
              <a:xfrm>
                <a:off x="5524674" y="1413200"/>
                <a:ext cx="703376" cy="703084"/>
              </a:xfrm>
              <a:prstGeom prst="ellipse">
                <a:avLst/>
              </a:prstGeom>
              <a:gradFill>
                <a:gsLst>
                  <a:gs pos="0">
                    <a:srgbClr val="C00000"/>
                  </a:gs>
                  <a:gs pos="100000">
                    <a:srgbClr val="FF0000"/>
                  </a:gs>
                </a:gsLst>
                <a:lin ang="5400000" scaled="0"/>
              </a:gradFill>
              <a:ln w="3175" cap="flat" cmpd="sng" algn="ctr">
                <a:solidFill>
                  <a:srgbClr val="FF0000"/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34000"/>
                  </a:prstClr>
                </a:outerShdw>
              </a:effectLst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kern="0">
                  <a:solidFill>
                    <a:srgbClr val="FFFFFF"/>
                  </a:solidFill>
                  <a:latin typeface="Calibri"/>
                  <a:ea typeface="+mn-ea"/>
                  <a:cs typeface="Arial" charset="0"/>
                </a:endParaRPr>
              </a:p>
            </p:txBody>
          </p:sp>
          <p:sp>
            <p:nvSpPr>
              <p:cNvPr id="653" name="Oval 652"/>
              <p:cNvSpPr/>
              <p:nvPr/>
            </p:nvSpPr>
            <p:spPr>
              <a:xfrm>
                <a:off x="5627879" y="1516361"/>
                <a:ext cx="496967" cy="496762"/>
              </a:xfrm>
              <a:prstGeom prst="ellipse">
                <a:avLst/>
              </a:prstGeom>
              <a:gradFill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5400000" scaled="0"/>
              </a:gradFill>
              <a:ln w="3175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kern="0">
                  <a:solidFill>
                    <a:srgbClr val="FFFFFF"/>
                  </a:solidFill>
                  <a:latin typeface="Calibri"/>
                  <a:ea typeface="+mn-ea"/>
                  <a:cs typeface="Arial" charset="0"/>
                </a:endParaRPr>
              </a:p>
            </p:txBody>
          </p:sp>
          <p:sp>
            <p:nvSpPr>
              <p:cNvPr id="654" name="Oval 653"/>
              <p:cNvSpPr/>
              <p:nvPr/>
            </p:nvSpPr>
            <p:spPr>
              <a:xfrm>
                <a:off x="5766013" y="1651265"/>
                <a:ext cx="228637" cy="226955"/>
              </a:xfrm>
              <a:prstGeom prst="ellipse">
                <a:avLst/>
              </a:prstGeom>
              <a:gradFill>
                <a:gsLst>
                  <a:gs pos="0">
                    <a:srgbClr val="C00000"/>
                  </a:gs>
                  <a:gs pos="100000">
                    <a:srgbClr val="FF0000"/>
                  </a:gs>
                </a:gsLst>
                <a:lin ang="5400000" scaled="0"/>
              </a:gradFill>
              <a:ln w="3175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kern="0">
                  <a:solidFill>
                    <a:srgbClr val="FFFFFF"/>
                  </a:solidFill>
                  <a:latin typeface="Calibri"/>
                  <a:ea typeface="+mn-ea"/>
                  <a:cs typeface="Arial" charset="0"/>
                </a:endParaRPr>
              </a:p>
            </p:txBody>
          </p:sp>
        </p:grpSp>
        <p:sp>
          <p:nvSpPr>
            <p:cNvPr id="648" name="Freeform 57"/>
            <p:cNvSpPr>
              <a:spLocks/>
            </p:cNvSpPr>
            <p:nvPr/>
          </p:nvSpPr>
          <p:spPr bwMode="auto">
            <a:xfrm rot="15813706" flipH="1" flipV="1">
              <a:off x="4658487" y="3156412"/>
              <a:ext cx="255522" cy="803404"/>
            </a:xfrm>
            <a:custGeom>
              <a:avLst/>
              <a:gdLst/>
              <a:ahLst/>
              <a:cxnLst>
                <a:cxn ang="0">
                  <a:pos x="1431" y="75"/>
                </a:cxn>
                <a:cxn ang="0">
                  <a:pos x="1720" y="15"/>
                </a:cxn>
                <a:cxn ang="0">
                  <a:pos x="2010" y="0"/>
                </a:cxn>
                <a:cxn ang="0">
                  <a:pos x="2296" y="27"/>
                </a:cxn>
                <a:cxn ang="0">
                  <a:pos x="2573" y="93"/>
                </a:cxn>
                <a:cxn ang="0">
                  <a:pos x="2838" y="199"/>
                </a:cxn>
                <a:cxn ang="0">
                  <a:pos x="3086" y="341"/>
                </a:cxn>
                <a:cxn ang="0">
                  <a:pos x="3310" y="517"/>
                </a:cxn>
                <a:cxn ang="0">
                  <a:pos x="3509" y="727"/>
                </a:cxn>
                <a:cxn ang="0">
                  <a:pos x="3677" y="968"/>
                </a:cxn>
                <a:cxn ang="0">
                  <a:pos x="3811" y="1239"/>
                </a:cxn>
                <a:cxn ang="0">
                  <a:pos x="3856" y="1364"/>
                </a:cxn>
                <a:cxn ang="0">
                  <a:pos x="3893" y="1490"/>
                </a:cxn>
                <a:cxn ang="0">
                  <a:pos x="3920" y="1617"/>
                </a:cxn>
                <a:cxn ang="0">
                  <a:pos x="3940" y="1744"/>
                </a:cxn>
                <a:cxn ang="0">
                  <a:pos x="3950" y="1871"/>
                </a:cxn>
                <a:cxn ang="0">
                  <a:pos x="3953" y="1998"/>
                </a:cxn>
                <a:cxn ang="0">
                  <a:pos x="3947" y="2123"/>
                </a:cxn>
                <a:cxn ang="0">
                  <a:pos x="3933" y="2249"/>
                </a:cxn>
                <a:cxn ang="0">
                  <a:pos x="3912" y="2372"/>
                </a:cxn>
                <a:cxn ang="0">
                  <a:pos x="3882" y="2494"/>
                </a:cxn>
                <a:cxn ang="0">
                  <a:pos x="3809" y="2742"/>
                </a:cxn>
                <a:cxn ang="0">
                  <a:pos x="3693" y="3249"/>
                </a:cxn>
                <a:cxn ang="0">
                  <a:pos x="3626" y="3756"/>
                </a:cxn>
                <a:cxn ang="0">
                  <a:pos x="3605" y="4264"/>
                </a:cxn>
                <a:cxn ang="0">
                  <a:pos x="3623" y="4770"/>
                </a:cxn>
                <a:cxn ang="0">
                  <a:pos x="3675" y="5276"/>
                </a:cxn>
                <a:cxn ang="0">
                  <a:pos x="3758" y="5780"/>
                </a:cxn>
                <a:cxn ang="0">
                  <a:pos x="3864" y="6282"/>
                </a:cxn>
                <a:cxn ang="0">
                  <a:pos x="3991" y="6781"/>
                </a:cxn>
                <a:cxn ang="0">
                  <a:pos x="4130" y="7278"/>
                </a:cxn>
                <a:cxn ang="0">
                  <a:pos x="4279" y="7771"/>
                </a:cxn>
                <a:cxn ang="0">
                  <a:pos x="4318" y="7913"/>
                </a:cxn>
                <a:cxn ang="0">
                  <a:pos x="4192" y="7656"/>
                </a:cxn>
                <a:cxn ang="0">
                  <a:pos x="3944" y="7179"/>
                </a:cxn>
                <a:cxn ang="0">
                  <a:pos x="3689" y="6718"/>
                </a:cxn>
                <a:cxn ang="0">
                  <a:pos x="3382" y="6202"/>
                </a:cxn>
                <a:cxn ang="0">
                  <a:pos x="3034" y="5663"/>
                </a:cxn>
                <a:cxn ang="0">
                  <a:pos x="2648" y="5130"/>
                </a:cxn>
                <a:cxn ang="0">
                  <a:pos x="2235" y="4634"/>
                </a:cxn>
                <a:cxn ang="0">
                  <a:pos x="1800" y="4206"/>
                </a:cxn>
                <a:cxn ang="0">
                  <a:pos x="1352" y="3875"/>
                </a:cxn>
                <a:cxn ang="0">
                  <a:pos x="1117" y="3749"/>
                </a:cxn>
                <a:cxn ang="0">
                  <a:pos x="993" y="3677"/>
                </a:cxn>
                <a:cxn ang="0">
                  <a:pos x="873" y="3600"/>
                </a:cxn>
                <a:cxn ang="0">
                  <a:pos x="758" y="3514"/>
                </a:cxn>
                <a:cxn ang="0">
                  <a:pos x="648" y="3422"/>
                </a:cxn>
                <a:cxn ang="0">
                  <a:pos x="544" y="3323"/>
                </a:cxn>
                <a:cxn ang="0">
                  <a:pos x="447" y="3217"/>
                </a:cxn>
                <a:cxn ang="0">
                  <a:pos x="357" y="3103"/>
                </a:cxn>
                <a:cxn ang="0">
                  <a:pos x="276" y="2980"/>
                </a:cxn>
                <a:cxn ang="0">
                  <a:pos x="204" y="2851"/>
                </a:cxn>
                <a:cxn ang="0">
                  <a:pos x="142" y="2713"/>
                </a:cxn>
                <a:cxn ang="0">
                  <a:pos x="51" y="2425"/>
                </a:cxn>
                <a:cxn ang="0">
                  <a:pos x="6" y="2136"/>
                </a:cxn>
                <a:cxn ang="0">
                  <a:pos x="4" y="1846"/>
                </a:cxn>
                <a:cxn ang="0">
                  <a:pos x="45" y="1562"/>
                </a:cxn>
                <a:cxn ang="0">
                  <a:pos x="124" y="1289"/>
                </a:cxn>
                <a:cxn ang="0">
                  <a:pos x="243" y="1029"/>
                </a:cxn>
                <a:cxn ang="0">
                  <a:pos x="397" y="790"/>
                </a:cxn>
                <a:cxn ang="0">
                  <a:pos x="585" y="572"/>
                </a:cxn>
                <a:cxn ang="0">
                  <a:pos x="805" y="384"/>
                </a:cxn>
                <a:cxn ang="0">
                  <a:pos x="1056" y="227"/>
                </a:cxn>
              </a:cxnLst>
              <a:rect l="0" t="0" r="r" b="b"/>
              <a:pathLst>
                <a:path w="4330" h="7934">
                  <a:moveTo>
                    <a:pt x="1240" y="142"/>
                  </a:moveTo>
                  <a:lnTo>
                    <a:pt x="1335" y="106"/>
                  </a:lnTo>
                  <a:lnTo>
                    <a:pt x="1431" y="75"/>
                  </a:lnTo>
                  <a:lnTo>
                    <a:pt x="1526" y="51"/>
                  </a:lnTo>
                  <a:lnTo>
                    <a:pt x="1623" y="31"/>
                  </a:lnTo>
                  <a:lnTo>
                    <a:pt x="1720" y="15"/>
                  </a:lnTo>
                  <a:lnTo>
                    <a:pt x="1817" y="5"/>
                  </a:lnTo>
                  <a:lnTo>
                    <a:pt x="1914" y="0"/>
                  </a:lnTo>
                  <a:lnTo>
                    <a:pt x="2010" y="0"/>
                  </a:lnTo>
                  <a:lnTo>
                    <a:pt x="2106" y="4"/>
                  </a:lnTo>
                  <a:lnTo>
                    <a:pt x="2202" y="13"/>
                  </a:lnTo>
                  <a:lnTo>
                    <a:pt x="2296" y="27"/>
                  </a:lnTo>
                  <a:lnTo>
                    <a:pt x="2390" y="44"/>
                  </a:lnTo>
                  <a:lnTo>
                    <a:pt x="2483" y="66"/>
                  </a:lnTo>
                  <a:lnTo>
                    <a:pt x="2573" y="93"/>
                  </a:lnTo>
                  <a:lnTo>
                    <a:pt x="2663" y="124"/>
                  </a:lnTo>
                  <a:lnTo>
                    <a:pt x="2752" y="159"/>
                  </a:lnTo>
                  <a:lnTo>
                    <a:pt x="2838" y="199"/>
                  </a:lnTo>
                  <a:lnTo>
                    <a:pt x="2922" y="242"/>
                  </a:lnTo>
                  <a:lnTo>
                    <a:pt x="3005" y="290"/>
                  </a:lnTo>
                  <a:lnTo>
                    <a:pt x="3086" y="341"/>
                  </a:lnTo>
                  <a:lnTo>
                    <a:pt x="3163" y="396"/>
                  </a:lnTo>
                  <a:lnTo>
                    <a:pt x="3238" y="455"/>
                  </a:lnTo>
                  <a:lnTo>
                    <a:pt x="3310" y="517"/>
                  </a:lnTo>
                  <a:lnTo>
                    <a:pt x="3379" y="585"/>
                  </a:lnTo>
                  <a:lnTo>
                    <a:pt x="3446" y="654"/>
                  </a:lnTo>
                  <a:lnTo>
                    <a:pt x="3509" y="727"/>
                  </a:lnTo>
                  <a:lnTo>
                    <a:pt x="3569" y="805"/>
                  </a:lnTo>
                  <a:lnTo>
                    <a:pt x="3625" y="885"/>
                  </a:lnTo>
                  <a:lnTo>
                    <a:pt x="3677" y="968"/>
                  </a:lnTo>
                  <a:lnTo>
                    <a:pt x="3726" y="1056"/>
                  </a:lnTo>
                  <a:lnTo>
                    <a:pt x="3770" y="1146"/>
                  </a:lnTo>
                  <a:lnTo>
                    <a:pt x="3811" y="1239"/>
                  </a:lnTo>
                  <a:lnTo>
                    <a:pt x="3826" y="1280"/>
                  </a:lnTo>
                  <a:lnTo>
                    <a:pt x="3842" y="1322"/>
                  </a:lnTo>
                  <a:lnTo>
                    <a:pt x="3856" y="1364"/>
                  </a:lnTo>
                  <a:lnTo>
                    <a:pt x="3869" y="1406"/>
                  </a:lnTo>
                  <a:lnTo>
                    <a:pt x="3881" y="1448"/>
                  </a:lnTo>
                  <a:lnTo>
                    <a:pt x="3893" y="1490"/>
                  </a:lnTo>
                  <a:lnTo>
                    <a:pt x="3903" y="1533"/>
                  </a:lnTo>
                  <a:lnTo>
                    <a:pt x="3912" y="1574"/>
                  </a:lnTo>
                  <a:lnTo>
                    <a:pt x="3920" y="1617"/>
                  </a:lnTo>
                  <a:lnTo>
                    <a:pt x="3927" y="1659"/>
                  </a:lnTo>
                  <a:lnTo>
                    <a:pt x="3935" y="1702"/>
                  </a:lnTo>
                  <a:lnTo>
                    <a:pt x="3940" y="1744"/>
                  </a:lnTo>
                  <a:lnTo>
                    <a:pt x="3944" y="1787"/>
                  </a:lnTo>
                  <a:lnTo>
                    <a:pt x="3948" y="1828"/>
                  </a:lnTo>
                  <a:lnTo>
                    <a:pt x="3950" y="1871"/>
                  </a:lnTo>
                  <a:lnTo>
                    <a:pt x="3952" y="1913"/>
                  </a:lnTo>
                  <a:lnTo>
                    <a:pt x="3953" y="1956"/>
                  </a:lnTo>
                  <a:lnTo>
                    <a:pt x="3953" y="1998"/>
                  </a:lnTo>
                  <a:lnTo>
                    <a:pt x="3952" y="2040"/>
                  </a:lnTo>
                  <a:lnTo>
                    <a:pt x="3950" y="2081"/>
                  </a:lnTo>
                  <a:lnTo>
                    <a:pt x="3947" y="2123"/>
                  </a:lnTo>
                  <a:lnTo>
                    <a:pt x="3944" y="2165"/>
                  </a:lnTo>
                  <a:lnTo>
                    <a:pt x="3939" y="2207"/>
                  </a:lnTo>
                  <a:lnTo>
                    <a:pt x="3933" y="2249"/>
                  </a:lnTo>
                  <a:lnTo>
                    <a:pt x="3927" y="2290"/>
                  </a:lnTo>
                  <a:lnTo>
                    <a:pt x="3920" y="2331"/>
                  </a:lnTo>
                  <a:lnTo>
                    <a:pt x="3912" y="2372"/>
                  </a:lnTo>
                  <a:lnTo>
                    <a:pt x="3903" y="2413"/>
                  </a:lnTo>
                  <a:lnTo>
                    <a:pt x="3894" y="2453"/>
                  </a:lnTo>
                  <a:lnTo>
                    <a:pt x="3882" y="2494"/>
                  </a:lnTo>
                  <a:lnTo>
                    <a:pt x="3871" y="2533"/>
                  </a:lnTo>
                  <a:lnTo>
                    <a:pt x="3859" y="2573"/>
                  </a:lnTo>
                  <a:lnTo>
                    <a:pt x="3809" y="2742"/>
                  </a:lnTo>
                  <a:lnTo>
                    <a:pt x="3764" y="2911"/>
                  </a:lnTo>
                  <a:lnTo>
                    <a:pt x="3725" y="3080"/>
                  </a:lnTo>
                  <a:lnTo>
                    <a:pt x="3693" y="3249"/>
                  </a:lnTo>
                  <a:lnTo>
                    <a:pt x="3665" y="3418"/>
                  </a:lnTo>
                  <a:lnTo>
                    <a:pt x="3644" y="3587"/>
                  </a:lnTo>
                  <a:lnTo>
                    <a:pt x="3626" y="3756"/>
                  </a:lnTo>
                  <a:lnTo>
                    <a:pt x="3614" y="3925"/>
                  </a:lnTo>
                  <a:lnTo>
                    <a:pt x="3607" y="4095"/>
                  </a:lnTo>
                  <a:lnTo>
                    <a:pt x="3605" y="4264"/>
                  </a:lnTo>
                  <a:lnTo>
                    <a:pt x="3607" y="4432"/>
                  </a:lnTo>
                  <a:lnTo>
                    <a:pt x="3613" y="4602"/>
                  </a:lnTo>
                  <a:lnTo>
                    <a:pt x="3623" y="4770"/>
                  </a:lnTo>
                  <a:lnTo>
                    <a:pt x="3637" y="4939"/>
                  </a:lnTo>
                  <a:lnTo>
                    <a:pt x="3655" y="5108"/>
                  </a:lnTo>
                  <a:lnTo>
                    <a:pt x="3675" y="5276"/>
                  </a:lnTo>
                  <a:lnTo>
                    <a:pt x="3700" y="5444"/>
                  </a:lnTo>
                  <a:lnTo>
                    <a:pt x="3727" y="5613"/>
                  </a:lnTo>
                  <a:lnTo>
                    <a:pt x="3758" y="5780"/>
                  </a:lnTo>
                  <a:lnTo>
                    <a:pt x="3791" y="5947"/>
                  </a:lnTo>
                  <a:lnTo>
                    <a:pt x="3826" y="6115"/>
                  </a:lnTo>
                  <a:lnTo>
                    <a:pt x="3864" y="6282"/>
                  </a:lnTo>
                  <a:lnTo>
                    <a:pt x="3905" y="6448"/>
                  </a:lnTo>
                  <a:lnTo>
                    <a:pt x="3947" y="6616"/>
                  </a:lnTo>
                  <a:lnTo>
                    <a:pt x="3991" y="6781"/>
                  </a:lnTo>
                  <a:lnTo>
                    <a:pt x="4036" y="6947"/>
                  </a:lnTo>
                  <a:lnTo>
                    <a:pt x="4082" y="7113"/>
                  </a:lnTo>
                  <a:lnTo>
                    <a:pt x="4130" y="7278"/>
                  </a:lnTo>
                  <a:lnTo>
                    <a:pt x="4179" y="7442"/>
                  </a:lnTo>
                  <a:lnTo>
                    <a:pt x="4229" y="7606"/>
                  </a:lnTo>
                  <a:lnTo>
                    <a:pt x="4279" y="7771"/>
                  </a:lnTo>
                  <a:lnTo>
                    <a:pt x="4330" y="7934"/>
                  </a:lnTo>
                  <a:lnTo>
                    <a:pt x="4329" y="7933"/>
                  </a:lnTo>
                  <a:lnTo>
                    <a:pt x="4318" y="7913"/>
                  </a:lnTo>
                  <a:lnTo>
                    <a:pt x="4299" y="7873"/>
                  </a:lnTo>
                  <a:lnTo>
                    <a:pt x="4271" y="7817"/>
                  </a:lnTo>
                  <a:lnTo>
                    <a:pt x="4192" y="7656"/>
                  </a:lnTo>
                  <a:lnTo>
                    <a:pt x="4081" y="7441"/>
                  </a:lnTo>
                  <a:lnTo>
                    <a:pt x="4016" y="7316"/>
                  </a:lnTo>
                  <a:lnTo>
                    <a:pt x="3944" y="7179"/>
                  </a:lnTo>
                  <a:lnTo>
                    <a:pt x="3864" y="7033"/>
                  </a:lnTo>
                  <a:lnTo>
                    <a:pt x="3779" y="6879"/>
                  </a:lnTo>
                  <a:lnTo>
                    <a:pt x="3689" y="6718"/>
                  </a:lnTo>
                  <a:lnTo>
                    <a:pt x="3592" y="6550"/>
                  </a:lnTo>
                  <a:lnTo>
                    <a:pt x="3490" y="6378"/>
                  </a:lnTo>
                  <a:lnTo>
                    <a:pt x="3382" y="6202"/>
                  </a:lnTo>
                  <a:lnTo>
                    <a:pt x="3270" y="6024"/>
                  </a:lnTo>
                  <a:lnTo>
                    <a:pt x="3154" y="5843"/>
                  </a:lnTo>
                  <a:lnTo>
                    <a:pt x="3034" y="5663"/>
                  </a:lnTo>
                  <a:lnTo>
                    <a:pt x="2908" y="5483"/>
                  </a:lnTo>
                  <a:lnTo>
                    <a:pt x="2780" y="5305"/>
                  </a:lnTo>
                  <a:lnTo>
                    <a:pt x="2648" y="5130"/>
                  </a:lnTo>
                  <a:lnTo>
                    <a:pt x="2513" y="4960"/>
                  </a:lnTo>
                  <a:lnTo>
                    <a:pt x="2375" y="4793"/>
                  </a:lnTo>
                  <a:lnTo>
                    <a:pt x="2235" y="4634"/>
                  </a:lnTo>
                  <a:lnTo>
                    <a:pt x="2092" y="4482"/>
                  </a:lnTo>
                  <a:lnTo>
                    <a:pt x="1947" y="4339"/>
                  </a:lnTo>
                  <a:lnTo>
                    <a:pt x="1800" y="4206"/>
                  </a:lnTo>
                  <a:lnTo>
                    <a:pt x="1652" y="4083"/>
                  </a:lnTo>
                  <a:lnTo>
                    <a:pt x="1503" y="3973"/>
                  </a:lnTo>
                  <a:lnTo>
                    <a:pt x="1352" y="3875"/>
                  </a:lnTo>
                  <a:lnTo>
                    <a:pt x="1201" y="3792"/>
                  </a:lnTo>
                  <a:lnTo>
                    <a:pt x="1159" y="3771"/>
                  </a:lnTo>
                  <a:lnTo>
                    <a:pt x="1117" y="3749"/>
                  </a:lnTo>
                  <a:lnTo>
                    <a:pt x="1075" y="3725"/>
                  </a:lnTo>
                  <a:lnTo>
                    <a:pt x="1034" y="3702"/>
                  </a:lnTo>
                  <a:lnTo>
                    <a:pt x="993" y="3677"/>
                  </a:lnTo>
                  <a:lnTo>
                    <a:pt x="953" y="3652"/>
                  </a:lnTo>
                  <a:lnTo>
                    <a:pt x="912" y="3626"/>
                  </a:lnTo>
                  <a:lnTo>
                    <a:pt x="873" y="3600"/>
                  </a:lnTo>
                  <a:lnTo>
                    <a:pt x="834" y="3572"/>
                  </a:lnTo>
                  <a:lnTo>
                    <a:pt x="796" y="3544"/>
                  </a:lnTo>
                  <a:lnTo>
                    <a:pt x="758" y="3514"/>
                  </a:lnTo>
                  <a:lnTo>
                    <a:pt x="720" y="3484"/>
                  </a:lnTo>
                  <a:lnTo>
                    <a:pt x="684" y="3454"/>
                  </a:lnTo>
                  <a:lnTo>
                    <a:pt x="648" y="3422"/>
                  </a:lnTo>
                  <a:lnTo>
                    <a:pt x="612" y="3390"/>
                  </a:lnTo>
                  <a:lnTo>
                    <a:pt x="577" y="3357"/>
                  </a:lnTo>
                  <a:lnTo>
                    <a:pt x="544" y="3323"/>
                  </a:lnTo>
                  <a:lnTo>
                    <a:pt x="511" y="3288"/>
                  </a:lnTo>
                  <a:lnTo>
                    <a:pt x="479" y="3253"/>
                  </a:lnTo>
                  <a:lnTo>
                    <a:pt x="447" y="3217"/>
                  </a:lnTo>
                  <a:lnTo>
                    <a:pt x="416" y="3179"/>
                  </a:lnTo>
                  <a:lnTo>
                    <a:pt x="387" y="3142"/>
                  </a:lnTo>
                  <a:lnTo>
                    <a:pt x="357" y="3103"/>
                  </a:lnTo>
                  <a:lnTo>
                    <a:pt x="330" y="3063"/>
                  </a:lnTo>
                  <a:lnTo>
                    <a:pt x="302" y="3022"/>
                  </a:lnTo>
                  <a:lnTo>
                    <a:pt x="276" y="2980"/>
                  </a:lnTo>
                  <a:lnTo>
                    <a:pt x="251" y="2938"/>
                  </a:lnTo>
                  <a:lnTo>
                    <a:pt x="227" y="2895"/>
                  </a:lnTo>
                  <a:lnTo>
                    <a:pt x="204" y="2851"/>
                  </a:lnTo>
                  <a:lnTo>
                    <a:pt x="183" y="2806"/>
                  </a:lnTo>
                  <a:lnTo>
                    <a:pt x="162" y="2760"/>
                  </a:lnTo>
                  <a:lnTo>
                    <a:pt x="142" y="2713"/>
                  </a:lnTo>
                  <a:lnTo>
                    <a:pt x="107" y="2618"/>
                  </a:lnTo>
                  <a:lnTo>
                    <a:pt x="76" y="2522"/>
                  </a:lnTo>
                  <a:lnTo>
                    <a:pt x="51" y="2425"/>
                  </a:lnTo>
                  <a:lnTo>
                    <a:pt x="32" y="2329"/>
                  </a:lnTo>
                  <a:lnTo>
                    <a:pt x="16" y="2232"/>
                  </a:lnTo>
                  <a:lnTo>
                    <a:pt x="6" y="2136"/>
                  </a:lnTo>
                  <a:lnTo>
                    <a:pt x="1" y="2039"/>
                  </a:lnTo>
                  <a:lnTo>
                    <a:pt x="0" y="1942"/>
                  </a:lnTo>
                  <a:lnTo>
                    <a:pt x="4" y="1846"/>
                  </a:lnTo>
                  <a:lnTo>
                    <a:pt x="13" y="1751"/>
                  </a:lnTo>
                  <a:lnTo>
                    <a:pt x="26" y="1656"/>
                  </a:lnTo>
                  <a:lnTo>
                    <a:pt x="45" y="1562"/>
                  </a:lnTo>
                  <a:lnTo>
                    <a:pt x="67" y="1470"/>
                  </a:lnTo>
                  <a:lnTo>
                    <a:pt x="94" y="1378"/>
                  </a:lnTo>
                  <a:lnTo>
                    <a:pt x="124" y="1289"/>
                  </a:lnTo>
                  <a:lnTo>
                    <a:pt x="160" y="1201"/>
                  </a:lnTo>
                  <a:lnTo>
                    <a:pt x="199" y="1114"/>
                  </a:lnTo>
                  <a:lnTo>
                    <a:pt x="243" y="1029"/>
                  </a:lnTo>
                  <a:lnTo>
                    <a:pt x="290" y="947"/>
                  </a:lnTo>
                  <a:lnTo>
                    <a:pt x="341" y="867"/>
                  </a:lnTo>
                  <a:lnTo>
                    <a:pt x="397" y="790"/>
                  </a:lnTo>
                  <a:lnTo>
                    <a:pt x="455" y="714"/>
                  </a:lnTo>
                  <a:lnTo>
                    <a:pt x="518" y="642"/>
                  </a:lnTo>
                  <a:lnTo>
                    <a:pt x="585" y="572"/>
                  </a:lnTo>
                  <a:lnTo>
                    <a:pt x="655" y="506"/>
                  </a:lnTo>
                  <a:lnTo>
                    <a:pt x="728" y="443"/>
                  </a:lnTo>
                  <a:lnTo>
                    <a:pt x="805" y="384"/>
                  </a:lnTo>
                  <a:lnTo>
                    <a:pt x="886" y="328"/>
                  </a:lnTo>
                  <a:lnTo>
                    <a:pt x="969" y="274"/>
                  </a:lnTo>
                  <a:lnTo>
                    <a:pt x="1056" y="227"/>
                  </a:lnTo>
                  <a:lnTo>
                    <a:pt x="1146" y="182"/>
                  </a:lnTo>
                  <a:lnTo>
                    <a:pt x="1240" y="142"/>
                  </a:lnTo>
                  <a:close/>
                </a:path>
              </a:pathLst>
            </a:custGeom>
            <a:solidFill>
              <a:sysClr val="windowText" lastClr="000000">
                <a:lumMod val="95000"/>
                <a:lumOff val="5000"/>
                <a:alpha val="25000"/>
              </a:sys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kern="0">
                <a:solidFill>
                  <a:sysClr val="windowText" lastClr="000000"/>
                </a:solidFill>
                <a:latin typeface="Calibri" pitchFamily="-109" charset="0"/>
                <a:ea typeface="+mn-ea"/>
                <a:cs typeface="Arial" charset="0"/>
              </a:endParaRPr>
            </a:p>
          </p:txBody>
        </p:sp>
        <p:grpSp>
          <p:nvGrpSpPr>
            <p:cNvPr id="5" name="Group 133"/>
            <p:cNvGrpSpPr>
              <a:grpSpLocks/>
            </p:cNvGrpSpPr>
            <p:nvPr/>
          </p:nvGrpSpPr>
          <p:grpSpPr bwMode="auto">
            <a:xfrm flipH="1">
              <a:off x="4435355" y="2500313"/>
              <a:ext cx="650979" cy="1241111"/>
              <a:chOff x="7001096" y="2143116"/>
              <a:chExt cx="1000276" cy="1833550"/>
            </a:xfrm>
          </p:grpSpPr>
          <p:sp>
            <p:nvSpPr>
              <p:cNvPr id="650" name="Freeform 57"/>
              <p:cNvSpPr>
                <a:spLocks/>
              </p:cNvSpPr>
              <p:nvPr/>
            </p:nvSpPr>
            <p:spPr bwMode="auto">
              <a:xfrm>
                <a:off x="7001096" y="2143116"/>
                <a:ext cx="1000276" cy="1833550"/>
              </a:xfrm>
              <a:custGeom>
                <a:avLst/>
                <a:gdLst/>
                <a:ahLst/>
                <a:cxnLst>
                  <a:cxn ang="0">
                    <a:pos x="1431" y="75"/>
                  </a:cxn>
                  <a:cxn ang="0">
                    <a:pos x="1720" y="15"/>
                  </a:cxn>
                  <a:cxn ang="0">
                    <a:pos x="2010" y="0"/>
                  </a:cxn>
                  <a:cxn ang="0">
                    <a:pos x="2296" y="27"/>
                  </a:cxn>
                  <a:cxn ang="0">
                    <a:pos x="2573" y="93"/>
                  </a:cxn>
                  <a:cxn ang="0">
                    <a:pos x="2838" y="199"/>
                  </a:cxn>
                  <a:cxn ang="0">
                    <a:pos x="3086" y="341"/>
                  </a:cxn>
                  <a:cxn ang="0">
                    <a:pos x="3310" y="517"/>
                  </a:cxn>
                  <a:cxn ang="0">
                    <a:pos x="3509" y="727"/>
                  </a:cxn>
                  <a:cxn ang="0">
                    <a:pos x="3677" y="968"/>
                  </a:cxn>
                  <a:cxn ang="0">
                    <a:pos x="3811" y="1239"/>
                  </a:cxn>
                  <a:cxn ang="0">
                    <a:pos x="3856" y="1364"/>
                  </a:cxn>
                  <a:cxn ang="0">
                    <a:pos x="3893" y="1490"/>
                  </a:cxn>
                  <a:cxn ang="0">
                    <a:pos x="3920" y="1617"/>
                  </a:cxn>
                  <a:cxn ang="0">
                    <a:pos x="3940" y="1744"/>
                  </a:cxn>
                  <a:cxn ang="0">
                    <a:pos x="3950" y="1871"/>
                  </a:cxn>
                  <a:cxn ang="0">
                    <a:pos x="3953" y="1998"/>
                  </a:cxn>
                  <a:cxn ang="0">
                    <a:pos x="3947" y="2123"/>
                  </a:cxn>
                  <a:cxn ang="0">
                    <a:pos x="3933" y="2249"/>
                  </a:cxn>
                  <a:cxn ang="0">
                    <a:pos x="3912" y="2372"/>
                  </a:cxn>
                  <a:cxn ang="0">
                    <a:pos x="3882" y="2494"/>
                  </a:cxn>
                  <a:cxn ang="0">
                    <a:pos x="3809" y="2742"/>
                  </a:cxn>
                  <a:cxn ang="0">
                    <a:pos x="3693" y="3249"/>
                  </a:cxn>
                  <a:cxn ang="0">
                    <a:pos x="3626" y="3756"/>
                  </a:cxn>
                  <a:cxn ang="0">
                    <a:pos x="3605" y="4264"/>
                  </a:cxn>
                  <a:cxn ang="0">
                    <a:pos x="3623" y="4770"/>
                  </a:cxn>
                  <a:cxn ang="0">
                    <a:pos x="3675" y="5276"/>
                  </a:cxn>
                  <a:cxn ang="0">
                    <a:pos x="3758" y="5780"/>
                  </a:cxn>
                  <a:cxn ang="0">
                    <a:pos x="3864" y="6282"/>
                  </a:cxn>
                  <a:cxn ang="0">
                    <a:pos x="3991" y="6781"/>
                  </a:cxn>
                  <a:cxn ang="0">
                    <a:pos x="4130" y="7278"/>
                  </a:cxn>
                  <a:cxn ang="0">
                    <a:pos x="4279" y="7771"/>
                  </a:cxn>
                  <a:cxn ang="0">
                    <a:pos x="4318" y="7913"/>
                  </a:cxn>
                  <a:cxn ang="0">
                    <a:pos x="4192" y="7656"/>
                  </a:cxn>
                  <a:cxn ang="0">
                    <a:pos x="3944" y="7179"/>
                  </a:cxn>
                  <a:cxn ang="0">
                    <a:pos x="3689" y="6718"/>
                  </a:cxn>
                  <a:cxn ang="0">
                    <a:pos x="3382" y="6202"/>
                  </a:cxn>
                  <a:cxn ang="0">
                    <a:pos x="3034" y="5663"/>
                  </a:cxn>
                  <a:cxn ang="0">
                    <a:pos x="2648" y="5130"/>
                  </a:cxn>
                  <a:cxn ang="0">
                    <a:pos x="2235" y="4634"/>
                  </a:cxn>
                  <a:cxn ang="0">
                    <a:pos x="1800" y="4206"/>
                  </a:cxn>
                  <a:cxn ang="0">
                    <a:pos x="1352" y="3875"/>
                  </a:cxn>
                  <a:cxn ang="0">
                    <a:pos x="1117" y="3749"/>
                  </a:cxn>
                  <a:cxn ang="0">
                    <a:pos x="993" y="3677"/>
                  </a:cxn>
                  <a:cxn ang="0">
                    <a:pos x="873" y="3600"/>
                  </a:cxn>
                  <a:cxn ang="0">
                    <a:pos x="758" y="3514"/>
                  </a:cxn>
                  <a:cxn ang="0">
                    <a:pos x="648" y="3422"/>
                  </a:cxn>
                  <a:cxn ang="0">
                    <a:pos x="544" y="3323"/>
                  </a:cxn>
                  <a:cxn ang="0">
                    <a:pos x="447" y="3217"/>
                  </a:cxn>
                  <a:cxn ang="0">
                    <a:pos x="357" y="3103"/>
                  </a:cxn>
                  <a:cxn ang="0">
                    <a:pos x="276" y="2980"/>
                  </a:cxn>
                  <a:cxn ang="0">
                    <a:pos x="204" y="2851"/>
                  </a:cxn>
                  <a:cxn ang="0">
                    <a:pos x="142" y="2713"/>
                  </a:cxn>
                  <a:cxn ang="0">
                    <a:pos x="51" y="2425"/>
                  </a:cxn>
                  <a:cxn ang="0">
                    <a:pos x="6" y="2136"/>
                  </a:cxn>
                  <a:cxn ang="0">
                    <a:pos x="4" y="1846"/>
                  </a:cxn>
                  <a:cxn ang="0">
                    <a:pos x="45" y="1562"/>
                  </a:cxn>
                  <a:cxn ang="0">
                    <a:pos x="124" y="1289"/>
                  </a:cxn>
                  <a:cxn ang="0">
                    <a:pos x="243" y="1029"/>
                  </a:cxn>
                  <a:cxn ang="0">
                    <a:pos x="397" y="790"/>
                  </a:cxn>
                  <a:cxn ang="0">
                    <a:pos x="585" y="572"/>
                  </a:cxn>
                  <a:cxn ang="0">
                    <a:pos x="805" y="384"/>
                  </a:cxn>
                  <a:cxn ang="0">
                    <a:pos x="1056" y="227"/>
                  </a:cxn>
                </a:cxnLst>
                <a:rect l="0" t="0" r="r" b="b"/>
                <a:pathLst>
                  <a:path w="4330" h="7934">
                    <a:moveTo>
                      <a:pt x="1240" y="142"/>
                    </a:moveTo>
                    <a:lnTo>
                      <a:pt x="1335" y="106"/>
                    </a:lnTo>
                    <a:lnTo>
                      <a:pt x="1431" y="75"/>
                    </a:lnTo>
                    <a:lnTo>
                      <a:pt x="1526" y="51"/>
                    </a:lnTo>
                    <a:lnTo>
                      <a:pt x="1623" y="31"/>
                    </a:lnTo>
                    <a:lnTo>
                      <a:pt x="1720" y="15"/>
                    </a:lnTo>
                    <a:lnTo>
                      <a:pt x="1817" y="5"/>
                    </a:lnTo>
                    <a:lnTo>
                      <a:pt x="1914" y="0"/>
                    </a:lnTo>
                    <a:lnTo>
                      <a:pt x="2010" y="0"/>
                    </a:lnTo>
                    <a:lnTo>
                      <a:pt x="2106" y="4"/>
                    </a:lnTo>
                    <a:lnTo>
                      <a:pt x="2202" y="13"/>
                    </a:lnTo>
                    <a:lnTo>
                      <a:pt x="2296" y="27"/>
                    </a:lnTo>
                    <a:lnTo>
                      <a:pt x="2390" y="44"/>
                    </a:lnTo>
                    <a:lnTo>
                      <a:pt x="2483" y="66"/>
                    </a:lnTo>
                    <a:lnTo>
                      <a:pt x="2573" y="93"/>
                    </a:lnTo>
                    <a:lnTo>
                      <a:pt x="2663" y="124"/>
                    </a:lnTo>
                    <a:lnTo>
                      <a:pt x="2752" y="159"/>
                    </a:lnTo>
                    <a:lnTo>
                      <a:pt x="2838" y="199"/>
                    </a:lnTo>
                    <a:lnTo>
                      <a:pt x="2922" y="242"/>
                    </a:lnTo>
                    <a:lnTo>
                      <a:pt x="3005" y="290"/>
                    </a:lnTo>
                    <a:lnTo>
                      <a:pt x="3086" y="341"/>
                    </a:lnTo>
                    <a:lnTo>
                      <a:pt x="3163" y="396"/>
                    </a:lnTo>
                    <a:lnTo>
                      <a:pt x="3238" y="455"/>
                    </a:lnTo>
                    <a:lnTo>
                      <a:pt x="3310" y="517"/>
                    </a:lnTo>
                    <a:lnTo>
                      <a:pt x="3379" y="585"/>
                    </a:lnTo>
                    <a:lnTo>
                      <a:pt x="3446" y="654"/>
                    </a:lnTo>
                    <a:lnTo>
                      <a:pt x="3509" y="727"/>
                    </a:lnTo>
                    <a:lnTo>
                      <a:pt x="3569" y="805"/>
                    </a:lnTo>
                    <a:lnTo>
                      <a:pt x="3625" y="885"/>
                    </a:lnTo>
                    <a:lnTo>
                      <a:pt x="3677" y="968"/>
                    </a:lnTo>
                    <a:lnTo>
                      <a:pt x="3726" y="1056"/>
                    </a:lnTo>
                    <a:lnTo>
                      <a:pt x="3770" y="1146"/>
                    </a:lnTo>
                    <a:lnTo>
                      <a:pt x="3811" y="1239"/>
                    </a:lnTo>
                    <a:lnTo>
                      <a:pt x="3826" y="1280"/>
                    </a:lnTo>
                    <a:lnTo>
                      <a:pt x="3842" y="1322"/>
                    </a:lnTo>
                    <a:lnTo>
                      <a:pt x="3856" y="1364"/>
                    </a:lnTo>
                    <a:lnTo>
                      <a:pt x="3869" y="1406"/>
                    </a:lnTo>
                    <a:lnTo>
                      <a:pt x="3881" y="1448"/>
                    </a:lnTo>
                    <a:lnTo>
                      <a:pt x="3893" y="1490"/>
                    </a:lnTo>
                    <a:lnTo>
                      <a:pt x="3903" y="1533"/>
                    </a:lnTo>
                    <a:lnTo>
                      <a:pt x="3912" y="1574"/>
                    </a:lnTo>
                    <a:lnTo>
                      <a:pt x="3920" y="1617"/>
                    </a:lnTo>
                    <a:lnTo>
                      <a:pt x="3927" y="1659"/>
                    </a:lnTo>
                    <a:lnTo>
                      <a:pt x="3935" y="1702"/>
                    </a:lnTo>
                    <a:lnTo>
                      <a:pt x="3940" y="1744"/>
                    </a:lnTo>
                    <a:lnTo>
                      <a:pt x="3944" y="1787"/>
                    </a:lnTo>
                    <a:lnTo>
                      <a:pt x="3948" y="1828"/>
                    </a:lnTo>
                    <a:lnTo>
                      <a:pt x="3950" y="1871"/>
                    </a:lnTo>
                    <a:lnTo>
                      <a:pt x="3952" y="1913"/>
                    </a:lnTo>
                    <a:lnTo>
                      <a:pt x="3953" y="1956"/>
                    </a:lnTo>
                    <a:lnTo>
                      <a:pt x="3953" y="1998"/>
                    </a:lnTo>
                    <a:lnTo>
                      <a:pt x="3952" y="2040"/>
                    </a:lnTo>
                    <a:lnTo>
                      <a:pt x="3950" y="2081"/>
                    </a:lnTo>
                    <a:lnTo>
                      <a:pt x="3947" y="2123"/>
                    </a:lnTo>
                    <a:lnTo>
                      <a:pt x="3944" y="2165"/>
                    </a:lnTo>
                    <a:lnTo>
                      <a:pt x="3939" y="2207"/>
                    </a:lnTo>
                    <a:lnTo>
                      <a:pt x="3933" y="2249"/>
                    </a:lnTo>
                    <a:lnTo>
                      <a:pt x="3927" y="2290"/>
                    </a:lnTo>
                    <a:lnTo>
                      <a:pt x="3920" y="2331"/>
                    </a:lnTo>
                    <a:lnTo>
                      <a:pt x="3912" y="2372"/>
                    </a:lnTo>
                    <a:lnTo>
                      <a:pt x="3903" y="2413"/>
                    </a:lnTo>
                    <a:lnTo>
                      <a:pt x="3894" y="2453"/>
                    </a:lnTo>
                    <a:lnTo>
                      <a:pt x="3882" y="2494"/>
                    </a:lnTo>
                    <a:lnTo>
                      <a:pt x="3871" y="2533"/>
                    </a:lnTo>
                    <a:lnTo>
                      <a:pt x="3859" y="2573"/>
                    </a:lnTo>
                    <a:lnTo>
                      <a:pt x="3809" y="2742"/>
                    </a:lnTo>
                    <a:lnTo>
                      <a:pt x="3764" y="2911"/>
                    </a:lnTo>
                    <a:lnTo>
                      <a:pt x="3725" y="3080"/>
                    </a:lnTo>
                    <a:lnTo>
                      <a:pt x="3693" y="3249"/>
                    </a:lnTo>
                    <a:lnTo>
                      <a:pt x="3665" y="3418"/>
                    </a:lnTo>
                    <a:lnTo>
                      <a:pt x="3644" y="3587"/>
                    </a:lnTo>
                    <a:lnTo>
                      <a:pt x="3626" y="3756"/>
                    </a:lnTo>
                    <a:lnTo>
                      <a:pt x="3614" y="3925"/>
                    </a:lnTo>
                    <a:lnTo>
                      <a:pt x="3607" y="4095"/>
                    </a:lnTo>
                    <a:lnTo>
                      <a:pt x="3605" y="4264"/>
                    </a:lnTo>
                    <a:lnTo>
                      <a:pt x="3607" y="4432"/>
                    </a:lnTo>
                    <a:lnTo>
                      <a:pt x="3613" y="4602"/>
                    </a:lnTo>
                    <a:lnTo>
                      <a:pt x="3623" y="4770"/>
                    </a:lnTo>
                    <a:lnTo>
                      <a:pt x="3637" y="4939"/>
                    </a:lnTo>
                    <a:lnTo>
                      <a:pt x="3655" y="5108"/>
                    </a:lnTo>
                    <a:lnTo>
                      <a:pt x="3675" y="5276"/>
                    </a:lnTo>
                    <a:lnTo>
                      <a:pt x="3700" y="5444"/>
                    </a:lnTo>
                    <a:lnTo>
                      <a:pt x="3727" y="5613"/>
                    </a:lnTo>
                    <a:lnTo>
                      <a:pt x="3758" y="5780"/>
                    </a:lnTo>
                    <a:lnTo>
                      <a:pt x="3791" y="5947"/>
                    </a:lnTo>
                    <a:lnTo>
                      <a:pt x="3826" y="6115"/>
                    </a:lnTo>
                    <a:lnTo>
                      <a:pt x="3864" y="6282"/>
                    </a:lnTo>
                    <a:lnTo>
                      <a:pt x="3905" y="6448"/>
                    </a:lnTo>
                    <a:lnTo>
                      <a:pt x="3947" y="6616"/>
                    </a:lnTo>
                    <a:lnTo>
                      <a:pt x="3991" y="6781"/>
                    </a:lnTo>
                    <a:lnTo>
                      <a:pt x="4036" y="6947"/>
                    </a:lnTo>
                    <a:lnTo>
                      <a:pt x="4082" y="7113"/>
                    </a:lnTo>
                    <a:lnTo>
                      <a:pt x="4130" y="7278"/>
                    </a:lnTo>
                    <a:lnTo>
                      <a:pt x="4179" y="7442"/>
                    </a:lnTo>
                    <a:lnTo>
                      <a:pt x="4229" y="7606"/>
                    </a:lnTo>
                    <a:lnTo>
                      <a:pt x="4279" y="7771"/>
                    </a:lnTo>
                    <a:lnTo>
                      <a:pt x="4330" y="7934"/>
                    </a:lnTo>
                    <a:lnTo>
                      <a:pt x="4329" y="7933"/>
                    </a:lnTo>
                    <a:lnTo>
                      <a:pt x="4318" y="7913"/>
                    </a:lnTo>
                    <a:lnTo>
                      <a:pt x="4299" y="7873"/>
                    </a:lnTo>
                    <a:lnTo>
                      <a:pt x="4271" y="7817"/>
                    </a:lnTo>
                    <a:lnTo>
                      <a:pt x="4192" y="7656"/>
                    </a:lnTo>
                    <a:lnTo>
                      <a:pt x="4081" y="7441"/>
                    </a:lnTo>
                    <a:lnTo>
                      <a:pt x="4016" y="7316"/>
                    </a:lnTo>
                    <a:lnTo>
                      <a:pt x="3944" y="7179"/>
                    </a:lnTo>
                    <a:lnTo>
                      <a:pt x="3864" y="7033"/>
                    </a:lnTo>
                    <a:lnTo>
                      <a:pt x="3779" y="6879"/>
                    </a:lnTo>
                    <a:lnTo>
                      <a:pt x="3689" y="6718"/>
                    </a:lnTo>
                    <a:lnTo>
                      <a:pt x="3592" y="6550"/>
                    </a:lnTo>
                    <a:lnTo>
                      <a:pt x="3490" y="6378"/>
                    </a:lnTo>
                    <a:lnTo>
                      <a:pt x="3382" y="6202"/>
                    </a:lnTo>
                    <a:lnTo>
                      <a:pt x="3270" y="6024"/>
                    </a:lnTo>
                    <a:lnTo>
                      <a:pt x="3154" y="5843"/>
                    </a:lnTo>
                    <a:lnTo>
                      <a:pt x="3034" y="5663"/>
                    </a:lnTo>
                    <a:lnTo>
                      <a:pt x="2908" y="5483"/>
                    </a:lnTo>
                    <a:lnTo>
                      <a:pt x="2780" y="5305"/>
                    </a:lnTo>
                    <a:lnTo>
                      <a:pt x="2648" y="5130"/>
                    </a:lnTo>
                    <a:lnTo>
                      <a:pt x="2513" y="4960"/>
                    </a:lnTo>
                    <a:lnTo>
                      <a:pt x="2375" y="4793"/>
                    </a:lnTo>
                    <a:lnTo>
                      <a:pt x="2235" y="4634"/>
                    </a:lnTo>
                    <a:lnTo>
                      <a:pt x="2092" y="4482"/>
                    </a:lnTo>
                    <a:lnTo>
                      <a:pt x="1947" y="4339"/>
                    </a:lnTo>
                    <a:lnTo>
                      <a:pt x="1800" y="4206"/>
                    </a:lnTo>
                    <a:lnTo>
                      <a:pt x="1652" y="4083"/>
                    </a:lnTo>
                    <a:lnTo>
                      <a:pt x="1503" y="3973"/>
                    </a:lnTo>
                    <a:lnTo>
                      <a:pt x="1352" y="3875"/>
                    </a:lnTo>
                    <a:lnTo>
                      <a:pt x="1201" y="3792"/>
                    </a:lnTo>
                    <a:lnTo>
                      <a:pt x="1159" y="3771"/>
                    </a:lnTo>
                    <a:lnTo>
                      <a:pt x="1117" y="3749"/>
                    </a:lnTo>
                    <a:lnTo>
                      <a:pt x="1075" y="3725"/>
                    </a:lnTo>
                    <a:lnTo>
                      <a:pt x="1034" y="3702"/>
                    </a:lnTo>
                    <a:lnTo>
                      <a:pt x="993" y="3677"/>
                    </a:lnTo>
                    <a:lnTo>
                      <a:pt x="953" y="3652"/>
                    </a:lnTo>
                    <a:lnTo>
                      <a:pt x="912" y="3626"/>
                    </a:lnTo>
                    <a:lnTo>
                      <a:pt x="873" y="3600"/>
                    </a:lnTo>
                    <a:lnTo>
                      <a:pt x="834" y="3572"/>
                    </a:lnTo>
                    <a:lnTo>
                      <a:pt x="796" y="3544"/>
                    </a:lnTo>
                    <a:lnTo>
                      <a:pt x="758" y="3514"/>
                    </a:lnTo>
                    <a:lnTo>
                      <a:pt x="720" y="3484"/>
                    </a:lnTo>
                    <a:lnTo>
                      <a:pt x="684" y="3454"/>
                    </a:lnTo>
                    <a:lnTo>
                      <a:pt x="648" y="3422"/>
                    </a:lnTo>
                    <a:lnTo>
                      <a:pt x="612" y="3390"/>
                    </a:lnTo>
                    <a:lnTo>
                      <a:pt x="577" y="3357"/>
                    </a:lnTo>
                    <a:lnTo>
                      <a:pt x="544" y="3323"/>
                    </a:lnTo>
                    <a:lnTo>
                      <a:pt x="511" y="3288"/>
                    </a:lnTo>
                    <a:lnTo>
                      <a:pt x="479" y="3253"/>
                    </a:lnTo>
                    <a:lnTo>
                      <a:pt x="447" y="3217"/>
                    </a:lnTo>
                    <a:lnTo>
                      <a:pt x="416" y="3179"/>
                    </a:lnTo>
                    <a:lnTo>
                      <a:pt x="387" y="3142"/>
                    </a:lnTo>
                    <a:lnTo>
                      <a:pt x="357" y="3103"/>
                    </a:lnTo>
                    <a:lnTo>
                      <a:pt x="330" y="3063"/>
                    </a:lnTo>
                    <a:lnTo>
                      <a:pt x="302" y="3022"/>
                    </a:lnTo>
                    <a:lnTo>
                      <a:pt x="276" y="2980"/>
                    </a:lnTo>
                    <a:lnTo>
                      <a:pt x="251" y="2938"/>
                    </a:lnTo>
                    <a:lnTo>
                      <a:pt x="227" y="2895"/>
                    </a:lnTo>
                    <a:lnTo>
                      <a:pt x="204" y="2851"/>
                    </a:lnTo>
                    <a:lnTo>
                      <a:pt x="183" y="2806"/>
                    </a:lnTo>
                    <a:lnTo>
                      <a:pt x="162" y="2760"/>
                    </a:lnTo>
                    <a:lnTo>
                      <a:pt x="142" y="2713"/>
                    </a:lnTo>
                    <a:lnTo>
                      <a:pt x="107" y="2618"/>
                    </a:lnTo>
                    <a:lnTo>
                      <a:pt x="76" y="2522"/>
                    </a:lnTo>
                    <a:lnTo>
                      <a:pt x="51" y="2425"/>
                    </a:lnTo>
                    <a:lnTo>
                      <a:pt x="32" y="2329"/>
                    </a:lnTo>
                    <a:lnTo>
                      <a:pt x="16" y="2232"/>
                    </a:lnTo>
                    <a:lnTo>
                      <a:pt x="6" y="2136"/>
                    </a:lnTo>
                    <a:lnTo>
                      <a:pt x="1" y="2039"/>
                    </a:lnTo>
                    <a:lnTo>
                      <a:pt x="0" y="1942"/>
                    </a:lnTo>
                    <a:lnTo>
                      <a:pt x="4" y="1846"/>
                    </a:lnTo>
                    <a:lnTo>
                      <a:pt x="13" y="1751"/>
                    </a:lnTo>
                    <a:lnTo>
                      <a:pt x="26" y="1656"/>
                    </a:lnTo>
                    <a:lnTo>
                      <a:pt x="45" y="1562"/>
                    </a:lnTo>
                    <a:lnTo>
                      <a:pt x="67" y="1470"/>
                    </a:lnTo>
                    <a:lnTo>
                      <a:pt x="94" y="1378"/>
                    </a:lnTo>
                    <a:lnTo>
                      <a:pt x="124" y="1289"/>
                    </a:lnTo>
                    <a:lnTo>
                      <a:pt x="160" y="1201"/>
                    </a:lnTo>
                    <a:lnTo>
                      <a:pt x="199" y="1114"/>
                    </a:lnTo>
                    <a:lnTo>
                      <a:pt x="243" y="1029"/>
                    </a:lnTo>
                    <a:lnTo>
                      <a:pt x="290" y="947"/>
                    </a:lnTo>
                    <a:lnTo>
                      <a:pt x="341" y="867"/>
                    </a:lnTo>
                    <a:lnTo>
                      <a:pt x="397" y="790"/>
                    </a:lnTo>
                    <a:lnTo>
                      <a:pt x="455" y="714"/>
                    </a:lnTo>
                    <a:lnTo>
                      <a:pt x="518" y="642"/>
                    </a:lnTo>
                    <a:lnTo>
                      <a:pt x="585" y="572"/>
                    </a:lnTo>
                    <a:lnTo>
                      <a:pt x="655" y="506"/>
                    </a:lnTo>
                    <a:lnTo>
                      <a:pt x="728" y="443"/>
                    </a:lnTo>
                    <a:lnTo>
                      <a:pt x="805" y="384"/>
                    </a:lnTo>
                    <a:lnTo>
                      <a:pt x="886" y="328"/>
                    </a:lnTo>
                    <a:lnTo>
                      <a:pt x="969" y="274"/>
                    </a:lnTo>
                    <a:lnTo>
                      <a:pt x="1056" y="227"/>
                    </a:lnTo>
                    <a:lnTo>
                      <a:pt x="1146" y="182"/>
                    </a:lnTo>
                    <a:lnTo>
                      <a:pt x="1240" y="142"/>
                    </a:lnTo>
                    <a:close/>
                  </a:path>
                </a:pathLst>
              </a:custGeom>
              <a:gradFill>
                <a:gsLst>
                  <a:gs pos="0">
                    <a:srgbClr val="1F497D">
                      <a:lumMod val="50000"/>
                    </a:srgbClr>
                  </a:gs>
                  <a:gs pos="67000">
                    <a:srgbClr val="002060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id-ID" kern="0">
                  <a:solidFill>
                    <a:sysClr val="windowText" lastClr="000000"/>
                  </a:solidFill>
                  <a:latin typeface="Calibri" pitchFamily="-109" charset="0"/>
                  <a:ea typeface="+mn-ea"/>
                  <a:cs typeface="Arial" charset="0"/>
                </a:endParaRPr>
              </a:p>
            </p:txBody>
          </p:sp>
          <p:sp>
            <p:nvSpPr>
              <p:cNvPr id="651" name="Oval 650"/>
              <p:cNvSpPr/>
              <p:nvPr/>
            </p:nvSpPr>
            <p:spPr>
              <a:xfrm flipV="1">
                <a:off x="7128300" y="2206820"/>
                <a:ext cx="687491" cy="623788"/>
              </a:xfrm>
              <a:prstGeom prst="ellipse">
                <a:avLst/>
              </a:prstGeom>
              <a:gradFill>
                <a:gsLst>
                  <a:gs pos="15000">
                    <a:srgbClr val="4F81BD">
                      <a:tint val="66000"/>
                      <a:satMod val="160000"/>
                      <a:alpha val="13000"/>
                    </a:srgbClr>
                  </a:gs>
                  <a:gs pos="100000">
                    <a:srgbClr val="4F81BD">
                      <a:tint val="44500"/>
                      <a:satMod val="160000"/>
                      <a:alpha val="59000"/>
                    </a:srgbClr>
                  </a:gs>
                  <a:gs pos="100000">
                    <a:srgbClr val="4F81BD">
                      <a:tint val="23500"/>
                      <a:satMod val="160000"/>
                      <a:alpha val="41000"/>
                    </a:srgbClr>
                  </a:gs>
                  <a:gs pos="100000">
                    <a:srgbClr val="4F81BD">
                      <a:tint val="23500"/>
                      <a:satMod val="160000"/>
                      <a:alpha val="0"/>
                    </a:srgbClr>
                  </a:gs>
                </a:gsLst>
                <a:lin ang="5400000" scaled="1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1pPr>
                <a:lvl2pPr marL="37931725" indent="-37474525"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2pPr>
                <a:lvl3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3pPr>
                <a:lvl4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4pPr>
                <a:lvl5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5pPr>
                <a:lvl6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6pPr>
                <a:lvl7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7pPr>
                <a:lvl8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8pPr>
                <a:lvl9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sz="1800" kern="0" smtClean="0">
                  <a:solidFill>
                    <a:srgbClr val="FFFFFF"/>
                  </a:solidFill>
                  <a:ea typeface="+mn-ea"/>
                </a:endParaRPr>
              </a:p>
            </p:txBody>
          </p:sp>
        </p:grpSp>
      </p:grpSp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8250493" y="3459379"/>
            <a:ext cx="670168" cy="956396"/>
            <a:chOff x="4109864" y="2500313"/>
            <a:chExt cx="1078086" cy="1537898"/>
          </a:xfrm>
          <a:effectLst>
            <a:outerShdw blurRad="63500" sx="102000" sy="102000" algn="ctr" rotWithShape="0">
              <a:prstClr val="black">
                <a:alpha val="0"/>
              </a:prstClr>
            </a:outerShdw>
          </a:effectLst>
        </p:grpSpPr>
        <p:grpSp>
          <p:nvGrpSpPr>
            <p:cNvPr id="7" name="Group 4"/>
            <p:cNvGrpSpPr>
              <a:grpSpLocks/>
            </p:cNvGrpSpPr>
            <p:nvPr/>
          </p:nvGrpSpPr>
          <p:grpSpPr bwMode="auto">
            <a:xfrm>
              <a:off x="4109864" y="3335127"/>
              <a:ext cx="703376" cy="703084"/>
              <a:chOff x="5524674" y="1413200"/>
              <a:chExt cx="703376" cy="703084"/>
            </a:xfrm>
          </p:grpSpPr>
          <p:sp>
            <p:nvSpPr>
              <p:cNvPr id="661" name="Oval 660"/>
              <p:cNvSpPr/>
              <p:nvPr/>
            </p:nvSpPr>
            <p:spPr>
              <a:xfrm>
                <a:off x="5524674" y="1413200"/>
                <a:ext cx="703376" cy="703084"/>
              </a:xfrm>
              <a:prstGeom prst="ellipse">
                <a:avLst/>
              </a:prstGeom>
              <a:gradFill>
                <a:gsLst>
                  <a:gs pos="0">
                    <a:srgbClr val="C00000"/>
                  </a:gs>
                  <a:gs pos="100000">
                    <a:srgbClr val="FF0000"/>
                  </a:gs>
                </a:gsLst>
                <a:lin ang="5400000" scaled="0"/>
              </a:gradFill>
              <a:ln w="3175" cap="flat" cmpd="sng" algn="ctr">
                <a:solidFill>
                  <a:srgbClr val="FF0000"/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34000"/>
                  </a:prstClr>
                </a:outerShdw>
              </a:effectLst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kern="0">
                  <a:solidFill>
                    <a:srgbClr val="FFFFFF"/>
                  </a:solidFill>
                  <a:latin typeface="Calibri"/>
                  <a:ea typeface="+mn-ea"/>
                  <a:cs typeface="Arial" charset="0"/>
                </a:endParaRPr>
              </a:p>
            </p:txBody>
          </p:sp>
          <p:sp>
            <p:nvSpPr>
              <p:cNvPr id="662" name="Oval 661"/>
              <p:cNvSpPr/>
              <p:nvPr/>
            </p:nvSpPr>
            <p:spPr>
              <a:xfrm>
                <a:off x="5627879" y="1516361"/>
                <a:ext cx="496967" cy="496762"/>
              </a:xfrm>
              <a:prstGeom prst="ellipse">
                <a:avLst/>
              </a:prstGeom>
              <a:gradFill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5400000" scaled="0"/>
              </a:gradFill>
              <a:ln w="3175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kern="0">
                  <a:solidFill>
                    <a:srgbClr val="FFFFFF"/>
                  </a:solidFill>
                  <a:latin typeface="Calibri"/>
                  <a:ea typeface="+mn-ea"/>
                  <a:cs typeface="Arial" charset="0"/>
                </a:endParaRPr>
              </a:p>
            </p:txBody>
          </p:sp>
          <p:sp>
            <p:nvSpPr>
              <p:cNvPr id="663" name="Oval 662"/>
              <p:cNvSpPr/>
              <p:nvPr/>
            </p:nvSpPr>
            <p:spPr>
              <a:xfrm>
                <a:off x="5766013" y="1651265"/>
                <a:ext cx="228637" cy="226955"/>
              </a:xfrm>
              <a:prstGeom prst="ellipse">
                <a:avLst/>
              </a:prstGeom>
              <a:gradFill>
                <a:gsLst>
                  <a:gs pos="0">
                    <a:srgbClr val="C00000"/>
                  </a:gs>
                  <a:gs pos="100000">
                    <a:srgbClr val="FF0000"/>
                  </a:gs>
                </a:gsLst>
                <a:lin ang="5400000" scaled="0"/>
              </a:gradFill>
              <a:ln w="3175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kern="0">
                  <a:solidFill>
                    <a:srgbClr val="FFFFFF"/>
                  </a:solidFill>
                  <a:latin typeface="Calibri"/>
                  <a:ea typeface="+mn-ea"/>
                  <a:cs typeface="Arial" charset="0"/>
                </a:endParaRPr>
              </a:p>
            </p:txBody>
          </p:sp>
        </p:grpSp>
        <p:sp>
          <p:nvSpPr>
            <p:cNvPr id="657" name="Freeform 57"/>
            <p:cNvSpPr>
              <a:spLocks/>
            </p:cNvSpPr>
            <p:nvPr/>
          </p:nvSpPr>
          <p:spPr bwMode="auto">
            <a:xfrm rot="15813706" flipH="1" flipV="1">
              <a:off x="4658487" y="3156412"/>
              <a:ext cx="255522" cy="803404"/>
            </a:xfrm>
            <a:custGeom>
              <a:avLst/>
              <a:gdLst/>
              <a:ahLst/>
              <a:cxnLst>
                <a:cxn ang="0">
                  <a:pos x="1431" y="75"/>
                </a:cxn>
                <a:cxn ang="0">
                  <a:pos x="1720" y="15"/>
                </a:cxn>
                <a:cxn ang="0">
                  <a:pos x="2010" y="0"/>
                </a:cxn>
                <a:cxn ang="0">
                  <a:pos x="2296" y="27"/>
                </a:cxn>
                <a:cxn ang="0">
                  <a:pos x="2573" y="93"/>
                </a:cxn>
                <a:cxn ang="0">
                  <a:pos x="2838" y="199"/>
                </a:cxn>
                <a:cxn ang="0">
                  <a:pos x="3086" y="341"/>
                </a:cxn>
                <a:cxn ang="0">
                  <a:pos x="3310" y="517"/>
                </a:cxn>
                <a:cxn ang="0">
                  <a:pos x="3509" y="727"/>
                </a:cxn>
                <a:cxn ang="0">
                  <a:pos x="3677" y="968"/>
                </a:cxn>
                <a:cxn ang="0">
                  <a:pos x="3811" y="1239"/>
                </a:cxn>
                <a:cxn ang="0">
                  <a:pos x="3856" y="1364"/>
                </a:cxn>
                <a:cxn ang="0">
                  <a:pos x="3893" y="1490"/>
                </a:cxn>
                <a:cxn ang="0">
                  <a:pos x="3920" y="1617"/>
                </a:cxn>
                <a:cxn ang="0">
                  <a:pos x="3940" y="1744"/>
                </a:cxn>
                <a:cxn ang="0">
                  <a:pos x="3950" y="1871"/>
                </a:cxn>
                <a:cxn ang="0">
                  <a:pos x="3953" y="1998"/>
                </a:cxn>
                <a:cxn ang="0">
                  <a:pos x="3947" y="2123"/>
                </a:cxn>
                <a:cxn ang="0">
                  <a:pos x="3933" y="2249"/>
                </a:cxn>
                <a:cxn ang="0">
                  <a:pos x="3912" y="2372"/>
                </a:cxn>
                <a:cxn ang="0">
                  <a:pos x="3882" y="2494"/>
                </a:cxn>
                <a:cxn ang="0">
                  <a:pos x="3809" y="2742"/>
                </a:cxn>
                <a:cxn ang="0">
                  <a:pos x="3693" y="3249"/>
                </a:cxn>
                <a:cxn ang="0">
                  <a:pos x="3626" y="3756"/>
                </a:cxn>
                <a:cxn ang="0">
                  <a:pos x="3605" y="4264"/>
                </a:cxn>
                <a:cxn ang="0">
                  <a:pos x="3623" y="4770"/>
                </a:cxn>
                <a:cxn ang="0">
                  <a:pos x="3675" y="5276"/>
                </a:cxn>
                <a:cxn ang="0">
                  <a:pos x="3758" y="5780"/>
                </a:cxn>
                <a:cxn ang="0">
                  <a:pos x="3864" y="6282"/>
                </a:cxn>
                <a:cxn ang="0">
                  <a:pos x="3991" y="6781"/>
                </a:cxn>
                <a:cxn ang="0">
                  <a:pos x="4130" y="7278"/>
                </a:cxn>
                <a:cxn ang="0">
                  <a:pos x="4279" y="7771"/>
                </a:cxn>
                <a:cxn ang="0">
                  <a:pos x="4318" y="7913"/>
                </a:cxn>
                <a:cxn ang="0">
                  <a:pos x="4192" y="7656"/>
                </a:cxn>
                <a:cxn ang="0">
                  <a:pos x="3944" y="7179"/>
                </a:cxn>
                <a:cxn ang="0">
                  <a:pos x="3689" y="6718"/>
                </a:cxn>
                <a:cxn ang="0">
                  <a:pos x="3382" y="6202"/>
                </a:cxn>
                <a:cxn ang="0">
                  <a:pos x="3034" y="5663"/>
                </a:cxn>
                <a:cxn ang="0">
                  <a:pos x="2648" y="5130"/>
                </a:cxn>
                <a:cxn ang="0">
                  <a:pos x="2235" y="4634"/>
                </a:cxn>
                <a:cxn ang="0">
                  <a:pos x="1800" y="4206"/>
                </a:cxn>
                <a:cxn ang="0">
                  <a:pos x="1352" y="3875"/>
                </a:cxn>
                <a:cxn ang="0">
                  <a:pos x="1117" y="3749"/>
                </a:cxn>
                <a:cxn ang="0">
                  <a:pos x="993" y="3677"/>
                </a:cxn>
                <a:cxn ang="0">
                  <a:pos x="873" y="3600"/>
                </a:cxn>
                <a:cxn ang="0">
                  <a:pos x="758" y="3514"/>
                </a:cxn>
                <a:cxn ang="0">
                  <a:pos x="648" y="3422"/>
                </a:cxn>
                <a:cxn ang="0">
                  <a:pos x="544" y="3323"/>
                </a:cxn>
                <a:cxn ang="0">
                  <a:pos x="447" y="3217"/>
                </a:cxn>
                <a:cxn ang="0">
                  <a:pos x="357" y="3103"/>
                </a:cxn>
                <a:cxn ang="0">
                  <a:pos x="276" y="2980"/>
                </a:cxn>
                <a:cxn ang="0">
                  <a:pos x="204" y="2851"/>
                </a:cxn>
                <a:cxn ang="0">
                  <a:pos x="142" y="2713"/>
                </a:cxn>
                <a:cxn ang="0">
                  <a:pos x="51" y="2425"/>
                </a:cxn>
                <a:cxn ang="0">
                  <a:pos x="6" y="2136"/>
                </a:cxn>
                <a:cxn ang="0">
                  <a:pos x="4" y="1846"/>
                </a:cxn>
                <a:cxn ang="0">
                  <a:pos x="45" y="1562"/>
                </a:cxn>
                <a:cxn ang="0">
                  <a:pos x="124" y="1289"/>
                </a:cxn>
                <a:cxn ang="0">
                  <a:pos x="243" y="1029"/>
                </a:cxn>
                <a:cxn ang="0">
                  <a:pos x="397" y="790"/>
                </a:cxn>
                <a:cxn ang="0">
                  <a:pos x="585" y="572"/>
                </a:cxn>
                <a:cxn ang="0">
                  <a:pos x="805" y="384"/>
                </a:cxn>
                <a:cxn ang="0">
                  <a:pos x="1056" y="227"/>
                </a:cxn>
              </a:cxnLst>
              <a:rect l="0" t="0" r="r" b="b"/>
              <a:pathLst>
                <a:path w="4330" h="7934">
                  <a:moveTo>
                    <a:pt x="1240" y="142"/>
                  </a:moveTo>
                  <a:lnTo>
                    <a:pt x="1335" y="106"/>
                  </a:lnTo>
                  <a:lnTo>
                    <a:pt x="1431" y="75"/>
                  </a:lnTo>
                  <a:lnTo>
                    <a:pt x="1526" y="51"/>
                  </a:lnTo>
                  <a:lnTo>
                    <a:pt x="1623" y="31"/>
                  </a:lnTo>
                  <a:lnTo>
                    <a:pt x="1720" y="15"/>
                  </a:lnTo>
                  <a:lnTo>
                    <a:pt x="1817" y="5"/>
                  </a:lnTo>
                  <a:lnTo>
                    <a:pt x="1914" y="0"/>
                  </a:lnTo>
                  <a:lnTo>
                    <a:pt x="2010" y="0"/>
                  </a:lnTo>
                  <a:lnTo>
                    <a:pt x="2106" y="4"/>
                  </a:lnTo>
                  <a:lnTo>
                    <a:pt x="2202" y="13"/>
                  </a:lnTo>
                  <a:lnTo>
                    <a:pt x="2296" y="27"/>
                  </a:lnTo>
                  <a:lnTo>
                    <a:pt x="2390" y="44"/>
                  </a:lnTo>
                  <a:lnTo>
                    <a:pt x="2483" y="66"/>
                  </a:lnTo>
                  <a:lnTo>
                    <a:pt x="2573" y="93"/>
                  </a:lnTo>
                  <a:lnTo>
                    <a:pt x="2663" y="124"/>
                  </a:lnTo>
                  <a:lnTo>
                    <a:pt x="2752" y="159"/>
                  </a:lnTo>
                  <a:lnTo>
                    <a:pt x="2838" y="199"/>
                  </a:lnTo>
                  <a:lnTo>
                    <a:pt x="2922" y="242"/>
                  </a:lnTo>
                  <a:lnTo>
                    <a:pt x="3005" y="290"/>
                  </a:lnTo>
                  <a:lnTo>
                    <a:pt x="3086" y="341"/>
                  </a:lnTo>
                  <a:lnTo>
                    <a:pt x="3163" y="396"/>
                  </a:lnTo>
                  <a:lnTo>
                    <a:pt x="3238" y="455"/>
                  </a:lnTo>
                  <a:lnTo>
                    <a:pt x="3310" y="517"/>
                  </a:lnTo>
                  <a:lnTo>
                    <a:pt x="3379" y="585"/>
                  </a:lnTo>
                  <a:lnTo>
                    <a:pt x="3446" y="654"/>
                  </a:lnTo>
                  <a:lnTo>
                    <a:pt x="3509" y="727"/>
                  </a:lnTo>
                  <a:lnTo>
                    <a:pt x="3569" y="805"/>
                  </a:lnTo>
                  <a:lnTo>
                    <a:pt x="3625" y="885"/>
                  </a:lnTo>
                  <a:lnTo>
                    <a:pt x="3677" y="968"/>
                  </a:lnTo>
                  <a:lnTo>
                    <a:pt x="3726" y="1056"/>
                  </a:lnTo>
                  <a:lnTo>
                    <a:pt x="3770" y="1146"/>
                  </a:lnTo>
                  <a:lnTo>
                    <a:pt x="3811" y="1239"/>
                  </a:lnTo>
                  <a:lnTo>
                    <a:pt x="3826" y="1280"/>
                  </a:lnTo>
                  <a:lnTo>
                    <a:pt x="3842" y="1322"/>
                  </a:lnTo>
                  <a:lnTo>
                    <a:pt x="3856" y="1364"/>
                  </a:lnTo>
                  <a:lnTo>
                    <a:pt x="3869" y="1406"/>
                  </a:lnTo>
                  <a:lnTo>
                    <a:pt x="3881" y="1448"/>
                  </a:lnTo>
                  <a:lnTo>
                    <a:pt x="3893" y="1490"/>
                  </a:lnTo>
                  <a:lnTo>
                    <a:pt x="3903" y="1533"/>
                  </a:lnTo>
                  <a:lnTo>
                    <a:pt x="3912" y="1574"/>
                  </a:lnTo>
                  <a:lnTo>
                    <a:pt x="3920" y="1617"/>
                  </a:lnTo>
                  <a:lnTo>
                    <a:pt x="3927" y="1659"/>
                  </a:lnTo>
                  <a:lnTo>
                    <a:pt x="3935" y="1702"/>
                  </a:lnTo>
                  <a:lnTo>
                    <a:pt x="3940" y="1744"/>
                  </a:lnTo>
                  <a:lnTo>
                    <a:pt x="3944" y="1787"/>
                  </a:lnTo>
                  <a:lnTo>
                    <a:pt x="3948" y="1828"/>
                  </a:lnTo>
                  <a:lnTo>
                    <a:pt x="3950" y="1871"/>
                  </a:lnTo>
                  <a:lnTo>
                    <a:pt x="3952" y="1913"/>
                  </a:lnTo>
                  <a:lnTo>
                    <a:pt x="3953" y="1956"/>
                  </a:lnTo>
                  <a:lnTo>
                    <a:pt x="3953" y="1998"/>
                  </a:lnTo>
                  <a:lnTo>
                    <a:pt x="3952" y="2040"/>
                  </a:lnTo>
                  <a:lnTo>
                    <a:pt x="3950" y="2081"/>
                  </a:lnTo>
                  <a:lnTo>
                    <a:pt x="3947" y="2123"/>
                  </a:lnTo>
                  <a:lnTo>
                    <a:pt x="3944" y="2165"/>
                  </a:lnTo>
                  <a:lnTo>
                    <a:pt x="3939" y="2207"/>
                  </a:lnTo>
                  <a:lnTo>
                    <a:pt x="3933" y="2249"/>
                  </a:lnTo>
                  <a:lnTo>
                    <a:pt x="3927" y="2290"/>
                  </a:lnTo>
                  <a:lnTo>
                    <a:pt x="3920" y="2331"/>
                  </a:lnTo>
                  <a:lnTo>
                    <a:pt x="3912" y="2372"/>
                  </a:lnTo>
                  <a:lnTo>
                    <a:pt x="3903" y="2413"/>
                  </a:lnTo>
                  <a:lnTo>
                    <a:pt x="3894" y="2453"/>
                  </a:lnTo>
                  <a:lnTo>
                    <a:pt x="3882" y="2494"/>
                  </a:lnTo>
                  <a:lnTo>
                    <a:pt x="3871" y="2533"/>
                  </a:lnTo>
                  <a:lnTo>
                    <a:pt x="3859" y="2573"/>
                  </a:lnTo>
                  <a:lnTo>
                    <a:pt x="3809" y="2742"/>
                  </a:lnTo>
                  <a:lnTo>
                    <a:pt x="3764" y="2911"/>
                  </a:lnTo>
                  <a:lnTo>
                    <a:pt x="3725" y="3080"/>
                  </a:lnTo>
                  <a:lnTo>
                    <a:pt x="3693" y="3249"/>
                  </a:lnTo>
                  <a:lnTo>
                    <a:pt x="3665" y="3418"/>
                  </a:lnTo>
                  <a:lnTo>
                    <a:pt x="3644" y="3587"/>
                  </a:lnTo>
                  <a:lnTo>
                    <a:pt x="3626" y="3756"/>
                  </a:lnTo>
                  <a:lnTo>
                    <a:pt x="3614" y="3925"/>
                  </a:lnTo>
                  <a:lnTo>
                    <a:pt x="3607" y="4095"/>
                  </a:lnTo>
                  <a:lnTo>
                    <a:pt x="3605" y="4264"/>
                  </a:lnTo>
                  <a:lnTo>
                    <a:pt x="3607" y="4432"/>
                  </a:lnTo>
                  <a:lnTo>
                    <a:pt x="3613" y="4602"/>
                  </a:lnTo>
                  <a:lnTo>
                    <a:pt x="3623" y="4770"/>
                  </a:lnTo>
                  <a:lnTo>
                    <a:pt x="3637" y="4939"/>
                  </a:lnTo>
                  <a:lnTo>
                    <a:pt x="3655" y="5108"/>
                  </a:lnTo>
                  <a:lnTo>
                    <a:pt x="3675" y="5276"/>
                  </a:lnTo>
                  <a:lnTo>
                    <a:pt x="3700" y="5444"/>
                  </a:lnTo>
                  <a:lnTo>
                    <a:pt x="3727" y="5613"/>
                  </a:lnTo>
                  <a:lnTo>
                    <a:pt x="3758" y="5780"/>
                  </a:lnTo>
                  <a:lnTo>
                    <a:pt x="3791" y="5947"/>
                  </a:lnTo>
                  <a:lnTo>
                    <a:pt x="3826" y="6115"/>
                  </a:lnTo>
                  <a:lnTo>
                    <a:pt x="3864" y="6282"/>
                  </a:lnTo>
                  <a:lnTo>
                    <a:pt x="3905" y="6448"/>
                  </a:lnTo>
                  <a:lnTo>
                    <a:pt x="3947" y="6616"/>
                  </a:lnTo>
                  <a:lnTo>
                    <a:pt x="3991" y="6781"/>
                  </a:lnTo>
                  <a:lnTo>
                    <a:pt x="4036" y="6947"/>
                  </a:lnTo>
                  <a:lnTo>
                    <a:pt x="4082" y="7113"/>
                  </a:lnTo>
                  <a:lnTo>
                    <a:pt x="4130" y="7278"/>
                  </a:lnTo>
                  <a:lnTo>
                    <a:pt x="4179" y="7442"/>
                  </a:lnTo>
                  <a:lnTo>
                    <a:pt x="4229" y="7606"/>
                  </a:lnTo>
                  <a:lnTo>
                    <a:pt x="4279" y="7771"/>
                  </a:lnTo>
                  <a:lnTo>
                    <a:pt x="4330" y="7934"/>
                  </a:lnTo>
                  <a:lnTo>
                    <a:pt x="4329" y="7933"/>
                  </a:lnTo>
                  <a:lnTo>
                    <a:pt x="4318" y="7913"/>
                  </a:lnTo>
                  <a:lnTo>
                    <a:pt x="4299" y="7873"/>
                  </a:lnTo>
                  <a:lnTo>
                    <a:pt x="4271" y="7817"/>
                  </a:lnTo>
                  <a:lnTo>
                    <a:pt x="4192" y="7656"/>
                  </a:lnTo>
                  <a:lnTo>
                    <a:pt x="4081" y="7441"/>
                  </a:lnTo>
                  <a:lnTo>
                    <a:pt x="4016" y="7316"/>
                  </a:lnTo>
                  <a:lnTo>
                    <a:pt x="3944" y="7179"/>
                  </a:lnTo>
                  <a:lnTo>
                    <a:pt x="3864" y="7033"/>
                  </a:lnTo>
                  <a:lnTo>
                    <a:pt x="3779" y="6879"/>
                  </a:lnTo>
                  <a:lnTo>
                    <a:pt x="3689" y="6718"/>
                  </a:lnTo>
                  <a:lnTo>
                    <a:pt x="3592" y="6550"/>
                  </a:lnTo>
                  <a:lnTo>
                    <a:pt x="3490" y="6378"/>
                  </a:lnTo>
                  <a:lnTo>
                    <a:pt x="3382" y="6202"/>
                  </a:lnTo>
                  <a:lnTo>
                    <a:pt x="3270" y="6024"/>
                  </a:lnTo>
                  <a:lnTo>
                    <a:pt x="3154" y="5843"/>
                  </a:lnTo>
                  <a:lnTo>
                    <a:pt x="3034" y="5663"/>
                  </a:lnTo>
                  <a:lnTo>
                    <a:pt x="2908" y="5483"/>
                  </a:lnTo>
                  <a:lnTo>
                    <a:pt x="2780" y="5305"/>
                  </a:lnTo>
                  <a:lnTo>
                    <a:pt x="2648" y="5130"/>
                  </a:lnTo>
                  <a:lnTo>
                    <a:pt x="2513" y="4960"/>
                  </a:lnTo>
                  <a:lnTo>
                    <a:pt x="2375" y="4793"/>
                  </a:lnTo>
                  <a:lnTo>
                    <a:pt x="2235" y="4634"/>
                  </a:lnTo>
                  <a:lnTo>
                    <a:pt x="2092" y="4482"/>
                  </a:lnTo>
                  <a:lnTo>
                    <a:pt x="1947" y="4339"/>
                  </a:lnTo>
                  <a:lnTo>
                    <a:pt x="1800" y="4206"/>
                  </a:lnTo>
                  <a:lnTo>
                    <a:pt x="1652" y="4083"/>
                  </a:lnTo>
                  <a:lnTo>
                    <a:pt x="1503" y="3973"/>
                  </a:lnTo>
                  <a:lnTo>
                    <a:pt x="1352" y="3875"/>
                  </a:lnTo>
                  <a:lnTo>
                    <a:pt x="1201" y="3792"/>
                  </a:lnTo>
                  <a:lnTo>
                    <a:pt x="1159" y="3771"/>
                  </a:lnTo>
                  <a:lnTo>
                    <a:pt x="1117" y="3749"/>
                  </a:lnTo>
                  <a:lnTo>
                    <a:pt x="1075" y="3725"/>
                  </a:lnTo>
                  <a:lnTo>
                    <a:pt x="1034" y="3702"/>
                  </a:lnTo>
                  <a:lnTo>
                    <a:pt x="993" y="3677"/>
                  </a:lnTo>
                  <a:lnTo>
                    <a:pt x="953" y="3652"/>
                  </a:lnTo>
                  <a:lnTo>
                    <a:pt x="912" y="3626"/>
                  </a:lnTo>
                  <a:lnTo>
                    <a:pt x="873" y="3600"/>
                  </a:lnTo>
                  <a:lnTo>
                    <a:pt x="834" y="3572"/>
                  </a:lnTo>
                  <a:lnTo>
                    <a:pt x="796" y="3544"/>
                  </a:lnTo>
                  <a:lnTo>
                    <a:pt x="758" y="3514"/>
                  </a:lnTo>
                  <a:lnTo>
                    <a:pt x="720" y="3484"/>
                  </a:lnTo>
                  <a:lnTo>
                    <a:pt x="684" y="3454"/>
                  </a:lnTo>
                  <a:lnTo>
                    <a:pt x="648" y="3422"/>
                  </a:lnTo>
                  <a:lnTo>
                    <a:pt x="612" y="3390"/>
                  </a:lnTo>
                  <a:lnTo>
                    <a:pt x="577" y="3357"/>
                  </a:lnTo>
                  <a:lnTo>
                    <a:pt x="544" y="3323"/>
                  </a:lnTo>
                  <a:lnTo>
                    <a:pt x="511" y="3288"/>
                  </a:lnTo>
                  <a:lnTo>
                    <a:pt x="479" y="3253"/>
                  </a:lnTo>
                  <a:lnTo>
                    <a:pt x="447" y="3217"/>
                  </a:lnTo>
                  <a:lnTo>
                    <a:pt x="416" y="3179"/>
                  </a:lnTo>
                  <a:lnTo>
                    <a:pt x="387" y="3142"/>
                  </a:lnTo>
                  <a:lnTo>
                    <a:pt x="357" y="3103"/>
                  </a:lnTo>
                  <a:lnTo>
                    <a:pt x="330" y="3063"/>
                  </a:lnTo>
                  <a:lnTo>
                    <a:pt x="302" y="3022"/>
                  </a:lnTo>
                  <a:lnTo>
                    <a:pt x="276" y="2980"/>
                  </a:lnTo>
                  <a:lnTo>
                    <a:pt x="251" y="2938"/>
                  </a:lnTo>
                  <a:lnTo>
                    <a:pt x="227" y="2895"/>
                  </a:lnTo>
                  <a:lnTo>
                    <a:pt x="204" y="2851"/>
                  </a:lnTo>
                  <a:lnTo>
                    <a:pt x="183" y="2806"/>
                  </a:lnTo>
                  <a:lnTo>
                    <a:pt x="162" y="2760"/>
                  </a:lnTo>
                  <a:lnTo>
                    <a:pt x="142" y="2713"/>
                  </a:lnTo>
                  <a:lnTo>
                    <a:pt x="107" y="2618"/>
                  </a:lnTo>
                  <a:lnTo>
                    <a:pt x="76" y="2522"/>
                  </a:lnTo>
                  <a:lnTo>
                    <a:pt x="51" y="2425"/>
                  </a:lnTo>
                  <a:lnTo>
                    <a:pt x="32" y="2329"/>
                  </a:lnTo>
                  <a:lnTo>
                    <a:pt x="16" y="2232"/>
                  </a:lnTo>
                  <a:lnTo>
                    <a:pt x="6" y="2136"/>
                  </a:lnTo>
                  <a:lnTo>
                    <a:pt x="1" y="2039"/>
                  </a:lnTo>
                  <a:lnTo>
                    <a:pt x="0" y="1942"/>
                  </a:lnTo>
                  <a:lnTo>
                    <a:pt x="4" y="1846"/>
                  </a:lnTo>
                  <a:lnTo>
                    <a:pt x="13" y="1751"/>
                  </a:lnTo>
                  <a:lnTo>
                    <a:pt x="26" y="1656"/>
                  </a:lnTo>
                  <a:lnTo>
                    <a:pt x="45" y="1562"/>
                  </a:lnTo>
                  <a:lnTo>
                    <a:pt x="67" y="1470"/>
                  </a:lnTo>
                  <a:lnTo>
                    <a:pt x="94" y="1378"/>
                  </a:lnTo>
                  <a:lnTo>
                    <a:pt x="124" y="1289"/>
                  </a:lnTo>
                  <a:lnTo>
                    <a:pt x="160" y="1201"/>
                  </a:lnTo>
                  <a:lnTo>
                    <a:pt x="199" y="1114"/>
                  </a:lnTo>
                  <a:lnTo>
                    <a:pt x="243" y="1029"/>
                  </a:lnTo>
                  <a:lnTo>
                    <a:pt x="290" y="947"/>
                  </a:lnTo>
                  <a:lnTo>
                    <a:pt x="341" y="867"/>
                  </a:lnTo>
                  <a:lnTo>
                    <a:pt x="397" y="790"/>
                  </a:lnTo>
                  <a:lnTo>
                    <a:pt x="455" y="714"/>
                  </a:lnTo>
                  <a:lnTo>
                    <a:pt x="518" y="642"/>
                  </a:lnTo>
                  <a:lnTo>
                    <a:pt x="585" y="572"/>
                  </a:lnTo>
                  <a:lnTo>
                    <a:pt x="655" y="506"/>
                  </a:lnTo>
                  <a:lnTo>
                    <a:pt x="728" y="443"/>
                  </a:lnTo>
                  <a:lnTo>
                    <a:pt x="805" y="384"/>
                  </a:lnTo>
                  <a:lnTo>
                    <a:pt x="886" y="328"/>
                  </a:lnTo>
                  <a:lnTo>
                    <a:pt x="969" y="274"/>
                  </a:lnTo>
                  <a:lnTo>
                    <a:pt x="1056" y="227"/>
                  </a:lnTo>
                  <a:lnTo>
                    <a:pt x="1146" y="182"/>
                  </a:lnTo>
                  <a:lnTo>
                    <a:pt x="1240" y="142"/>
                  </a:lnTo>
                  <a:close/>
                </a:path>
              </a:pathLst>
            </a:custGeom>
            <a:solidFill>
              <a:sysClr val="windowText" lastClr="000000">
                <a:lumMod val="95000"/>
                <a:lumOff val="5000"/>
                <a:alpha val="25000"/>
              </a:sys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kern="0">
                <a:solidFill>
                  <a:sysClr val="windowText" lastClr="000000"/>
                </a:solidFill>
                <a:latin typeface="Calibri" pitchFamily="-109" charset="0"/>
                <a:ea typeface="+mn-ea"/>
                <a:cs typeface="Arial" charset="0"/>
              </a:endParaRPr>
            </a:p>
          </p:txBody>
        </p:sp>
        <p:grpSp>
          <p:nvGrpSpPr>
            <p:cNvPr id="8" name="Group 133"/>
            <p:cNvGrpSpPr>
              <a:grpSpLocks/>
            </p:cNvGrpSpPr>
            <p:nvPr/>
          </p:nvGrpSpPr>
          <p:grpSpPr bwMode="auto">
            <a:xfrm flipH="1">
              <a:off x="4435355" y="2500313"/>
              <a:ext cx="650979" cy="1241111"/>
              <a:chOff x="7001096" y="2143116"/>
              <a:chExt cx="1000276" cy="1833550"/>
            </a:xfrm>
          </p:grpSpPr>
          <p:sp>
            <p:nvSpPr>
              <p:cNvPr id="659" name="Freeform 57"/>
              <p:cNvSpPr>
                <a:spLocks/>
              </p:cNvSpPr>
              <p:nvPr/>
            </p:nvSpPr>
            <p:spPr bwMode="auto">
              <a:xfrm>
                <a:off x="7001096" y="2143116"/>
                <a:ext cx="1000276" cy="1833550"/>
              </a:xfrm>
              <a:custGeom>
                <a:avLst/>
                <a:gdLst/>
                <a:ahLst/>
                <a:cxnLst>
                  <a:cxn ang="0">
                    <a:pos x="1431" y="75"/>
                  </a:cxn>
                  <a:cxn ang="0">
                    <a:pos x="1720" y="15"/>
                  </a:cxn>
                  <a:cxn ang="0">
                    <a:pos x="2010" y="0"/>
                  </a:cxn>
                  <a:cxn ang="0">
                    <a:pos x="2296" y="27"/>
                  </a:cxn>
                  <a:cxn ang="0">
                    <a:pos x="2573" y="93"/>
                  </a:cxn>
                  <a:cxn ang="0">
                    <a:pos x="2838" y="199"/>
                  </a:cxn>
                  <a:cxn ang="0">
                    <a:pos x="3086" y="341"/>
                  </a:cxn>
                  <a:cxn ang="0">
                    <a:pos x="3310" y="517"/>
                  </a:cxn>
                  <a:cxn ang="0">
                    <a:pos x="3509" y="727"/>
                  </a:cxn>
                  <a:cxn ang="0">
                    <a:pos x="3677" y="968"/>
                  </a:cxn>
                  <a:cxn ang="0">
                    <a:pos x="3811" y="1239"/>
                  </a:cxn>
                  <a:cxn ang="0">
                    <a:pos x="3856" y="1364"/>
                  </a:cxn>
                  <a:cxn ang="0">
                    <a:pos x="3893" y="1490"/>
                  </a:cxn>
                  <a:cxn ang="0">
                    <a:pos x="3920" y="1617"/>
                  </a:cxn>
                  <a:cxn ang="0">
                    <a:pos x="3940" y="1744"/>
                  </a:cxn>
                  <a:cxn ang="0">
                    <a:pos x="3950" y="1871"/>
                  </a:cxn>
                  <a:cxn ang="0">
                    <a:pos x="3953" y="1998"/>
                  </a:cxn>
                  <a:cxn ang="0">
                    <a:pos x="3947" y="2123"/>
                  </a:cxn>
                  <a:cxn ang="0">
                    <a:pos x="3933" y="2249"/>
                  </a:cxn>
                  <a:cxn ang="0">
                    <a:pos x="3912" y="2372"/>
                  </a:cxn>
                  <a:cxn ang="0">
                    <a:pos x="3882" y="2494"/>
                  </a:cxn>
                  <a:cxn ang="0">
                    <a:pos x="3809" y="2742"/>
                  </a:cxn>
                  <a:cxn ang="0">
                    <a:pos x="3693" y="3249"/>
                  </a:cxn>
                  <a:cxn ang="0">
                    <a:pos x="3626" y="3756"/>
                  </a:cxn>
                  <a:cxn ang="0">
                    <a:pos x="3605" y="4264"/>
                  </a:cxn>
                  <a:cxn ang="0">
                    <a:pos x="3623" y="4770"/>
                  </a:cxn>
                  <a:cxn ang="0">
                    <a:pos x="3675" y="5276"/>
                  </a:cxn>
                  <a:cxn ang="0">
                    <a:pos x="3758" y="5780"/>
                  </a:cxn>
                  <a:cxn ang="0">
                    <a:pos x="3864" y="6282"/>
                  </a:cxn>
                  <a:cxn ang="0">
                    <a:pos x="3991" y="6781"/>
                  </a:cxn>
                  <a:cxn ang="0">
                    <a:pos x="4130" y="7278"/>
                  </a:cxn>
                  <a:cxn ang="0">
                    <a:pos x="4279" y="7771"/>
                  </a:cxn>
                  <a:cxn ang="0">
                    <a:pos x="4318" y="7913"/>
                  </a:cxn>
                  <a:cxn ang="0">
                    <a:pos x="4192" y="7656"/>
                  </a:cxn>
                  <a:cxn ang="0">
                    <a:pos x="3944" y="7179"/>
                  </a:cxn>
                  <a:cxn ang="0">
                    <a:pos x="3689" y="6718"/>
                  </a:cxn>
                  <a:cxn ang="0">
                    <a:pos x="3382" y="6202"/>
                  </a:cxn>
                  <a:cxn ang="0">
                    <a:pos x="3034" y="5663"/>
                  </a:cxn>
                  <a:cxn ang="0">
                    <a:pos x="2648" y="5130"/>
                  </a:cxn>
                  <a:cxn ang="0">
                    <a:pos x="2235" y="4634"/>
                  </a:cxn>
                  <a:cxn ang="0">
                    <a:pos x="1800" y="4206"/>
                  </a:cxn>
                  <a:cxn ang="0">
                    <a:pos x="1352" y="3875"/>
                  </a:cxn>
                  <a:cxn ang="0">
                    <a:pos x="1117" y="3749"/>
                  </a:cxn>
                  <a:cxn ang="0">
                    <a:pos x="993" y="3677"/>
                  </a:cxn>
                  <a:cxn ang="0">
                    <a:pos x="873" y="3600"/>
                  </a:cxn>
                  <a:cxn ang="0">
                    <a:pos x="758" y="3514"/>
                  </a:cxn>
                  <a:cxn ang="0">
                    <a:pos x="648" y="3422"/>
                  </a:cxn>
                  <a:cxn ang="0">
                    <a:pos x="544" y="3323"/>
                  </a:cxn>
                  <a:cxn ang="0">
                    <a:pos x="447" y="3217"/>
                  </a:cxn>
                  <a:cxn ang="0">
                    <a:pos x="357" y="3103"/>
                  </a:cxn>
                  <a:cxn ang="0">
                    <a:pos x="276" y="2980"/>
                  </a:cxn>
                  <a:cxn ang="0">
                    <a:pos x="204" y="2851"/>
                  </a:cxn>
                  <a:cxn ang="0">
                    <a:pos x="142" y="2713"/>
                  </a:cxn>
                  <a:cxn ang="0">
                    <a:pos x="51" y="2425"/>
                  </a:cxn>
                  <a:cxn ang="0">
                    <a:pos x="6" y="2136"/>
                  </a:cxn>
                  <a:cxn ang="0">
                    <a:pos x="4" y="1846"/>
                  </a:cxn>
                  <a:cxn ang="0">
                    <a:pos x="45" y="1562"/>
                  </a:cxn>
                  <a:cxn ang="0">
                    <a:pos x="124" y="1289"/>
                  </a:cxn>
                  <a:cxn ang="0">
                    <a:pos x="243" y="1029"/>
                  </a:cxn>
                  <a:cxn ang="0">
                    <a:pos x="397" y="790"/>
                  </a:cxn>
                  <a:cxn ang="0">
                    <a:pos x="585" y="572"/>
                  </a:cxn>
                  <a:cxn ang="0">
                    <a:pos x="805" y="384"/>
                  </a:cxn>
                  <a:cxn ang="0">
                    <a:pos x="1056" y="227"/>
                  </a:cxn>
                </a:cxnLst>
                <a:rect l="0" t="0" r="r" b="b"/>
                <a:pathLst>
                  <a:path w="4330" h="7934">
                    <a:moveTo>
                      <a:pt x="1240" y="142"/>
                    </a:moveTo>
                    <a:lnTo>
                      <a:pt x="1335" y="106"/>
                    </a:lnTo>
                    <a:lnTo>
                      <a:pt x="1431" y="75"/>
                    </a:lnTo>
                    <a:lnTo>
                      <a:pt x="1526" y="51"/>
                    </a:lnTo>
                    <a:lnTo>
                      <a:pt x="1623" y="31"/>
                    </a:lnTo>
                    <a:lnTo>
                      <a:pt x="1720" y="15"/>
                    </a:lnTo>
                    <a:lnTo>
                      <a:pt x="1817" y="5"/>
                    </a:lnTo>
                    <a:lnTo>
                      <a:pt x="1914" y="0"/>
                    </a:lnTo>
                    <a:lnTo>
                      <a:pt x="2010" y="0"/>
                    </a:lnTo>
                    <a:lnTo>
                      <a:pt x="2106" y="4"/>
                    </a:lnTo>
                    <a:lnTo>
                      <a:pt x="2202" y="13"/>
                    </a:lnTo>
                    <a:lnTo>
                      <a:pt x="2296" y="27"/>
                    </a:lnTo>
                    <a:lnTo>
                      <a:pt x="2390" y="44"/>
                    </a:lnTo>
                    <a:lnTo>
                      <a:pt x="2483" y="66"/>
                    </a:lnTo>
                    <a:lnTo>
                      <a:pt x="2573" y="93"/>
                    </a:lnTo>
                    <a:lnTo>
                      <a:pt x="2663" y="124"/>
                    </a:lnTo>
                    <a:lnTo>
                      <a:pt x="2752" y="159"/>
                    </a:lnTo>
                    <a:lnTo>
                      <a:pt x="2838" y="199"/>
                    </a:lnTo>
                    <a:lnTo>
                      <a:pt x="2922" y="242"/>
                    </a:lnTo>
                    <a:lnTo>
                      <a:pt x="3005" y="290"/>
                    </a:lnTo>
                    <a:lnTo>
                      <a:pt x="3086" y="341"/>
                    </a:lnTo>
                    <a:lnTo>
                      <a:pt x="3163" y="396"/>
                    </a:lnTo>
                    <a:lnTo>
                      <a:pt x="3238" y="455"/>
                    </a:lnTo>
                    <a:lnTo>
                      <a:pt x="3310" y="517"/>
                    </a:lnTo>
                    <a:lnTo>
                      <a:pt x="3379" y="585"/>
                    </a:lnTo>
                    <a:lnTo>
                      <a:pt x="3446" y="654"/>
                    </a:lnTo>
                    <a:lnTo>
                      <a:pt x="3509" y="727"/>
                    </a:lnTo>
                    <a:lnTo>
                      <a:pt x="3569" y="805"/>
                    </a:lnTo>
                    <a:lnTo>
                      <a:pt x="3625" y="885"/>
                    </a:lnTo>
                    <a:lnTo>
                      <a:pt x="3677" y="968"/>
                    </a:lnTo>
                    <a:lnTo>
                      <a:pt x="3726" y="1056"/>
                    </a:lnTo>
                    <a:lnTo>
                      <a:pt x="3770" y="1146"/>
                    </a:lnTo>
                    <a:lnTo>
                      <a:pt x="3811" y="1239"/>
                    </a:lnTo>
                    <a:lnTo>
                      <a:pt x="3826" y="1280"/>
                    </a:lnTo>
                    <a:lnTo>
                      <a:pt x="3842" y="1322"/>
                    </a:lnTo>
                    <a:lnTo>
                      <a:pt x="3856" y="1364"/>
                    </a:lnTo>
                    <a:lnTo>
                      <a:pt x="3869" y="1406"/>
                    </a:lnTo>
                    <a:lnTo>
                      <a:pt x="3881" y="1448"/>
                    </a:lnTo>
                    <a:lnTo>
                      <a:pt x="3893" y="1490"/>
                    </a:lnTo>
                    <a:lnTo>
                      <a:pt x="3903" y="1533"/>
                    </a:lnTo>
                    <a:lnTo>
                      <a:pt x="3912" y="1574"/>
                    </a:lnTo>
                    <a:lnTo>
                      <a:pt x="3920" y="1617"/>
                    </a:lnTo>
                    <a:lnTo>
                      <a:pt x="3927" y="1659"/>
                    </a:lnTo>
                    <a:lnTo>
                      <a:pt x="3935" y="1702"/>
                    </a:lnTo>
                    <a:lnTo>
                      <a:pt x="3940" y="1744"/>
                    </a:lnTo>
                    <a:lnTo>
                      <a:pt x="3944" y="1787"/>
                    </a:lnTo>
                    <a:lnTo>
                      <a:pt x="3948" y="1828"/>
                    </a:lnTo>
                    <a:lnTo>
                      <a:pt x="3950" y="1871"/>
                    </a:lnTo>
                    <a:lnTo>
                      <a:pt x="3952" y="1913"/>
                    </a:lnTo>
                    <a:lnTo>
                      <a:pt x="3953" y="1956"/>
                    </a:lnTo>
                    <a:lnTo>
                      <a:pt x="3953" y="1998"/>
                    </a:lnTo>
                    <a:lnTo>
                      <a:pt x="3952" y="2040"/>
                    </a:lnTo>
                    <a:lnTo>
                      <a:pt x="3950" y="2081"/>
                    </a:lnTo>
                    <a:lnTo>
                      <a:pt x="3947" y="2123"/>
                    </a:lnTo>
                    <a:lnTo>
                      <a:pt x="3944" y="2165"/>
                    </a:lnTo>
                    <a:lnTo>
                      <a:pt x="3939" y="2207"/>
                    </a:lnTo>
                    <a:lnTo>
                      <a:pt x="3933" y="2249"/>
                    </a:lnTo>
                    <a:lnTo>
                      <a:pt x="3927" y="2290"/>
                    </a:lnTo>
                    <a:lnTo>
                      <a:pt x="3920" y="2331"/>
                    </a:lnTo>
                    <a:lnTo>
                      <a:pt x="3912" y="2372"/>
                    </a:lnTo>
                    <a:lnTo>
                      <a:pt x="3903" y="2413"/>
                    </a:lnTo>
                    <a:lnTo>
                      <a:pt x="3894" y="2453"/>
                    </a:lnTo>
                    <a:lnTo>
                      <a:pt x="3882" y="2494"/>
                    </a:lnTo>
                    <a:lnTo>
                      <a:pt x="3871" y="2533"/>
                    </a:lnTo>
                    <a:lnTo>
                      <a:pt x="3859" y="2573"/>
                    </a:lnTo>
                    <a:lnTo>
                      <a:pt x="3809" y="2742"/>
                    </a:lnTo>
                    <a:lnTo>
                      <a:pt x="3764" y="2911"/>
                    </a:lnTo>
                    <a:lnTo>
                      <a:pt x="3725" y="3080"/>
                    </a:lnTo>
                    <a:lnTo>
                      <a:pt x="3693" y="3249"/>
                    </a:lnTo>
                    <a:lnTo>
                      <a:pt x="3665" y="3418"/>
                    </a:lnTo>
                    <a:lnTo>
                      <a:pt x="3644" y="3587"/>
                    </a:lnTo>
                    <a:lnTo>
                      <a:pt x="3626" y="3756"/>
                    </a:lnTo>
                    <a:lnTo>
                      <a:pt x="3614" y="3925"/>
                    </a:lnTo>
                    <a:lnTo>
                      <a:pt x="3607" y="4095"/>
                    </a:lnTo>
                    <a:lnTo>
                      <a:pt x="3605" y="4264"/>
                    </a:lnTo>
                    <a:lnTo>
                      <a:pt x="3607" y="4432"/>
                    </a:lnTo>
                    <a:lnTo>
                      <a:pt x="3613" y="4602"/>
                    </a:lnTo>
                    <a:lnTo>
                      <a:pt x="3623" y="4770"/>
                    </a:lnTo>
                    <a:lnTo>
                      <a:pt x="3637" y="4939"/>
                    </a:lnTo>
                    <a:lnTo>
                      <a:pt x="3655" y="5108"/>
                    </a:lnTo>
                    <a:lnTo>
                      <a:pt x="3675" y="5276"/>
                    </a:lnTo>
                    <a:lnTo>
                      <a:pt x="3700" y="5444"/>
                    </a:lnTo>
                    <a:lnTo>
                      <a:pt x="3727" y="5613"/>
                    </a:lnTo>
                    <a:lnTo>
                      <a:pt x="3758" y="5780"/>
                    </a:lnTo>
                    <a:lnTo>
                      <a:pt x="3791" y="5947"/>
                    </a:lnTo>
                    <a:lnTo>
                      <a:pt x="3826" y="6115"/>
                    </a:lnTo>
                    <a:lnTo>
                      <a:pt x="3864" y="6282"/>
                    </a:lnTo>
                    <a:lnTo>
                      <a:pt x="3905" y="6448"/>
                    </a:lnTo>
                    <a:lnTo>
                      <a:pt x="3947" y="6616"/>
                    </a:lnTo>
                    <a:lnTo>
                      <a:pt x="3991" y="6781"/>
                    </a:lnTo>
                    <a:lnTo>
                      <a:pt x="4036" y="6947"/>
                    </a:lnTo>
                    <a:lnTo>
                      <a:pt x="4082" y="7113"/>
                    </a:lnTo>
                    <a:lnTo>
                      <a:pt x="4130" y="7278"/>
                    </a:lnTo>
                    <a:lnTo>
                      <a:pt x="4179" y="7442"/>
                    </a:lnTo>
                    <a:lnTo>
                      <a:pt x="4229" y="7606"/>
                    </a:lnTo>
                    <a:lnTo>
                      <a:pt x="4279" y="7771"/>
                    </a:lnTo>
                    <a:lnTo>
                      <a:pt x="4330" y="7934"/>
                    </a:lnTo>
                    <a:lnTo>
                      <a:pt x="4329" y="7933"/>
                    </a:lnTo>
                    <a:lnTo>
                      <a:pt x="4318" y="7913"/>
                    </a:lnTo>
                    <a:lnTo>
                      <a:pt x="4299" y="7873"/>
                    </a:lnTo>
                    <a:lnTo>
                      <a:pt x="4271" y="7817"/>
                    </a:lnTo>
                    <a:lnTo>
                      <a:pt x="4192" y="7656"/>
                    </a:lnTo>
                    <a:lnTo>
                      <a:pt x="4081" y="7441"/>
                    </a:lnTo>
                    <a:lnTo>
                      <a:pt x="4016" y="7316"/>
                    </a:lnTo>
                    <a:lnTo>
                      <a:pt x="3944" y="7179"/>
                    </a:lnTo>
                    <a:lnTo>
                      <a:pt x="3864" y="7033"/>
                    </a:lnTo>
                    <a:lnTo>
                      <a:pt x="3779" y="6879"/>
                    </a:lnTo>
                    <a:lnTo>
                      <a:pt x="3689" y="6718"/>
                    </a:lnTo>
                    <a:lnTo>
                      <a:pt x="3592" y="6550"/>
                    </a:lnTo>
                    <a:lnTo>
                      <a:pt x="3490" y="6378"/>
                    </a:lnTo>
                    <a:lnTo>
                      <a:pt x="3382" y="6202"/>
                    </a:lnTo>
                    <a:lnTo>
                      <a:pt x="3270" y="6024"/>
                    </a:lnTo>
                    <a:lnTo>
                      <a:pt x="3154" y="5843"/>
                    </a:lnTo>
                    <a:lnTo>
                      <a:pt x="3034" y="5663"/>
                    </a:lnTo>
                    <a:lnTo>
                      <a:pt x="2908" y="5483"/>
                    </a:lnTo>
                    <a:lnTo>
                      <a:pt x="2780" y="5305"/>
                    </a:lnTo>
                    <a:lnTo>
                      <a:pt x="2648" y="5130"/>
                    </a:lnTo>
                    <a:lnTo>
                      <a:pt x="2513" y="4960"/>
                    </a:lnTo>
                    <a:lnTo>
                      <a:pt x="2375" y="4793"/>
                    </a:lnTo>
                    <a:lnTo>
                      <a:pt x="2235" y="4634"/>
                    </a:lnTo>
                    <a:lnTo>
                      <a:pt x="2092" y="4482"/>
                    </a:lnTo>
                    <a:lnTo>
                      <a:pt x="1947" y="4339"/>
                    </a:lnTo>
                    <a:lnTo>
                      <a:pt x="1800" y="4206"/>
                    </a:lnTo>
                    <a:lnTo>
                      <a:pt x="1652" y="4083"/>
                    </a:lnTo>
                    <a:lnTo>
                      <a:pt x="1503" y="3973"/>
                    </a:lnTo>
                    <a:lnTo>
                      <a:pt x="1352" y="3875"/>
                    </a:lnTo>
                    <a:lnTo>
                      <a:pt x="1201" y="3792"/>
                    </a:lnTo>
                    <a:lnTo>
                      <a:pt x="1159" y="3771"/>
                    </a:lnTo>
                    <a:lnTo>
                      <a:pt x="1117" y="3749"/>
                    </a:lnTo>
                    <a:lnTo>
                      <a:pt x="1075" y="3725"/>
                    </a:lnTo>
                    <a:lnTo>
                      <a:pt x="1034" y="3702"/>
                    </a:lnTo>
                    <a:lnTo>
                      <a:pt x="993" y="3677"/>
                    </a:lnTo>
                    <a:lnTo>
                      <a:pt x="953" y="3652"/>
                    </a:lnTo>
                    <a:lnTo>
                      <a:pt x="912" y="3626"/>
                    </a:lnTo>
                    <a:lnTo>
                      <a:pt x="873" y="3600"/>
                    </a:lnTo>
                    <a:lnTo>
                      <a:pt x="834" y="3572"/>
                    </a:lnTo>
                    <a:lnTo>
                      <a:pt x="796" y="3544"/>
                    </a:lnTo>
                    <a:lnTo>
                      <a:pt x="758" y="3514"/>
                    </a:lnTo>
                    <a:lnTo>
                      <a:pt x="720" y="3484"/>
                    </a:lnTo>
                    <a:lnTo>
                      <a:pt x="684" y="3454"/>
                    </a:lnTo>
                    <a:lnTo>
                      <a:pt x="648" y="3422"/>
                    </a:lnTo>
                    <a:lnTo>
                      <a:pt x="612" y="3390"/>
                    </a:lnTo>
                    <a:lnTo>
                      <a:pt x="577" y="3357"/>
                    </a:lnTo>
                    <a:lnTo>
                      <a:pt x="544" y="3323"/>
                    </a:lnTo>
                    <a:lnTo>
                      <a:pt x="511" y="3288"/>
                    </a:lnTo>
                    <a:lnTo>
                      <a:pt x="479" y="3253"/>
                    </a:lnTo>
                    <a:lnTo>
                      <a:pt x="447" y="3217"/>
                    </a:lnTo>
                    <a:lnTo>
                      <a:pt x="416" y="3179"/>
                    </a:lnTo>
                    <a:lnTo>
                      <a:pt x="387" y="3142"/>
                    </a:lnTo>
                    <a:lnTo>
                      <a:pt x="357" y="3103"/>
                    </a:lnTo>
                    <a:lnTo>
                      <a:pt x="330" y="3063"/>
                    </a:lnTo>
                    <a:lnTo>
                      <a:pt x="302" y="3022"/>
                    </a:lnTo>
                    <a:lnTo>
                      <a:pt x="276" y="2980"/>
                    </a:lnTo>
                    <a:lnTo>
                      <a:pt x="251" y="2938"/>
                    </a:lnTo>
                    <a:lnTo>
                      <a:pt x="227" y="2895"/>
                    </a:lnTo>
                    <a:lnTo>
                      <a:pt x="204" y="2851"/>
                    </a:lnTo>
                    <a:lnTo>
                      <a:pt x="183" y="2806"/>
                    </a:lnTo>
                    <a:lnTo>
                      <a:pt x="162" y="2760"/>
                    </a:lnTo>
                    <a:lnTo>
                      <a:pt x="142" y="2713"/>
                    </a:lnTo>
                    <a:lnTo>
                      <a:pt x="107" y="2618"/>
                    </a:lnTo>
                    <a:lnTo>
                      <a:pt x="76" y="2522"/>
                    </a:lnTo>
                    <a:lnTo>
                      <a:pt x="51" y="2425"/>
                    </a:lnTo>
                    <a:lnTo>
                      <a:pt x="32" y="2329"/>
                    </a:lnTo>
                    <a:lnTo>
                      <a:pt x="16" y="2232"/>
                    </a:lnTo>
                    <a:lnTo>
                      <a:pt x="6" y="2136"/>
                    </a:lnTo>
                    <a:lnTo>
                      <a:pt x="1" y="2039"/>
                    </a:lnTo>
                    <a:lnTo>
                      <a:pt x="0" y="1942"/>
                    </a:lnTo>
                    <a:lnTo>
                      <a:pt x="4" y="1846"/>
                    </a:lnTo>
                    <a:lnTo>
                      <a:pt x="13" y="1751"/>
                    </a:lnTo>
                    <a:lnTo>
                      <a:pt x="26" y="1656"/>
                    </a:lnTo>
                    <a:lnTo>
                      <a:pt x="45" y="1562"/>
                    </a:lnTo>
                    <a:lnTo>
                      <a:pt x="67" y="1470"/>
                    </a:lnTo>
                    <a:lnTo>
                      <a:pt x="94" y="1378"/>
                    </a:lnTo>
                    <a:lnTo>
                      <a:pt x="124" y="1289"/>
                    </a:lnTo>
                    <a:lnTo>
                      <a:pt x="160" y="1201"/>
                    </a:lnTo>
                    <a:lnTo>
                      <a:pt x="199" y="1114"/>
                    </a:lnTo>
                    <a:lnTo>
                      <a:pt x="243" y="1029"/>
                    </a:lnTo>
                    <a:lnTo>
                      <a:pt x="290" y="947"/>
                    </a:lnTo>
                    <a:lnTo>
                      <a:pt x="341" y="867"/>
                    </a:lnTo>
                    <a:lnTo>
                      <a:pt x="397" y="790"/>
                    </a:lnTo>
                    <a:lnTo>
                      <a:pt x="455" y="714"/>
                    </a:lnTo>
                    <a:lnTo>
                      <a:pt x="518" y="642"/>
                    </a:lnTo>
                    <a:lnTo>
                      <a:pt x="585" y="572"/>
                    </a:lnTo>
                    <a:lnTo>
                      <a:pt x="655" y="506"/>
                    </a:lnTo>
                    <a:lnTo>
                      <a:pt x="728" y="443"/>
                    </a:lnTo>
                    <a:lnTo>
                      <a:pt x="805" y="384"/>
                    </a:lnTo>
                    <a:lnTo>
                      <a:pt x="886" y="328"/>
                    </a:lnTo>
                    <a:lnTo>
                      <a:pt x="969" y="274"/>
                    </a:lnTo>
                    <a:lnTo>
                      <a:pt x="1056" y="227"/>
                    </a:lnTo>
                    <a:lnTo>
                      <a:pt x="1146" y="182"/>
                    </a:lnTo>
                    <a:lnTo>
                      <a:pt x="1240" y="142"/>
                    </a:lnTo>
                    <a:close/>
                  </a:path>
                </a:pathLst>
              </a:custGeom>
              <a:gradFill>
                <a:gsLst>
                  <a:gs pos="0">
                    <a:srgbClr val="1F497D">
                      <a:lumMod val="50000"/>
                    </a:srgbClr>
                  </a:gs>
                  <a:gs pos="67000">
                    <a:srgbClr val="002060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id-ID" kern="0">
                  <a:solidFill>
                    <a:sysClr val="windowText" lastClr="000000"/>
                  </a:solidFill>
                  <a:latin typeface="Calibri" pitchFamily="-109" charset="0"/>
                  <a:ea typeface="+mn-ea"/>
                  <a:cs typeface="Arial" charset="0"/>
                </a:endParaRPr>
              </a:p>
            </p:txBody>
          </p:sp>
          <p:sp>
            <p:nvSpPr>
              <p:cNvPr id="660" name="Oval 659"/>
              <p:cNvSpPr/>
              <p:nvPr/>
            </p:nvSpPr>
            <p:spPr>
              <a:xfrm flipV="1">
                <a:off x="7128300" y="2206820"/>
                <a:ext cx="687491" cy="623788"/>
              </a:xfrm>
              <a:prstGeom prst="ellipse">
                <a:avLst/>
              </a:prstGeom>
              <a:gradFill>
                <a:gsLst>
                  <a:gs pos="15000">
                    <a:srgbClr val="4F81BD">
                      <a:tint val="66000"/>
                      <a:satMod val="160000"/>
                      <a:alpha val="13000"/>
                    </a:srgbClr>
                  </a:gs>
                  <a:gs pos="100000">
                    <a:srgbClr val="4F81BD">
                      <a:tint val="44500"/>
                      <a:satMod val="160000"/>
                      <a:alpha val="59000"/>
                    </a:srgbClr>
                  </a:gs>
                  <a:gs pos="100000">
                    <a:srgbClr val="4F81BD">
                      <a:tint val="23500"/>
                      <a:satMod val="160000"/>
                      <a:alpha val="41000"/>
                    </a:srgbClr>
                  </a:gs>
                  <a:gs pos="100000">
                    <a:srgbClr val="4F81BD">
                      <a:tint val="23500"/>
                      <a:satMod val="160000"/>
                      <a:alpha val="0"/>
                    </a:srgbClr>
                  </a:gs>
                </a:gsLst>
                <a:lin ang="5400000" scaled="1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1pPr>
                <a:lvl2pPr marL="37931725" indent="-37474525"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2pPr>
                <a:lvl3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3pPr>
                <a:lvl4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4pPr>
                <a:lvl5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5pPr>
                <a:lvl6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6pPr>
                <a:lvl7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7pPr>
                <a:lvl8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8pPr>
                <a:lvl9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sz="1800" kern="0" smtClean="0">
                  <a:solidFill>
                    <a:srgbClr val="FFFFFF"/>
                  </a:solidFill>
                  <a:ea typeface="+mn-ea"/>
                </a:endParaRPr>
              </a:p>
            </p:txBody>
          </p:sp>
        </p:grpSp>
      </p:grpSp>
      <p:grpSp>
        <p:nvGrpSpPr>
          <p:cNvPr id="9" name="Group 17"/>
          <p:cNvGrpSpPr>
            <a:grpSpLocks/>
          </p:cNvGrpSpPr>
          <p:nvPr/>
        </p:nvGrpSpPr>
        <p:grpSpPr bwMode="auto">
          <a:xfrm>
            <a:off x="7027889" y="2033007"/>
            <a:ext cx="644109" cy="919207"/>
            <a:chOff x="4109864" y="2500313"/>
            <a:chExt cx="1078086" cy="1537898"/>
          </a:xfrm>
          <a:effectLst>
            <a:outerShdw blurRad="63500" sx="102000" sy="102000" algn="ctr" rotWithShape="0">
              <a:prstClr val="black">
                <a:alpha val="0"/>
              </a:prstClr>
            </a:outerShdw>
          </a:effectLst>
        </p:grpSpPr>
        <p:grpSp>
          <p:nvGrpSpPr>
            <p:cNvPr id="10" name="Group 4"/>
            <p:cNvGrpSpPr>
              <a:grpSpLocks/>
            </p:cNvGrpSpPr>
            <p:nvPr/>
          </p:nvGrpSpPr>
          <p:grpSpPr bwMode="auto">
            <a:xfrm>
              <a:off x="4109864" y="3335127"/>
              <a:ext cx="703376" cy="703084"/>
              <a:chOff x="5524674" y="1413200"/>
              <a:chExt cx="703376" cy="703084"/>
            </a:xfrm>
          </p:grpSpPr>
          <p:sp>
            <p:nvSpPr>
              <p:cNvPr id="670" name="Oval 669"/>
              <p:cNvSpPr/>
              <p:nvPr/>
            </p:nvSpPr>
            <p:spPr>
              <a:xfrm>
                <a:off x="5524674" y="1413200"/>
                <a:ext cx="703376" cy="703084"/>
              </a:xfrm>
              <a:prstGeom prst="ellipse">
                <a:avLst/>
              </a:prstGeom>
              <a:gradFill>
                <a:gsLst>
                  <a:gs pos="0">
                    <a:srgbClr val="C00000"/>
                  </a:gs>
                  <a:gs pos="100000">
                    <a:srgbClr val="FF0000"/>
                  </a:gs>
                </a:gsLst>
                <a:lin ang="5400000" scaled="0"/>
              </a:gradFill>
              <a:ln w="3175" cap="flat" cmpd="sng" algn="ctr">
                <a:solidFill>
                  <a:srgbClr val="FF0000"/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34000"/>
                  </a:prstClr>
                </a:outerShdw>
              </a:effectLst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kern="0">
                  <a:solidFill>
                    <a:srgbClr val="FFFFFF"/>
                  </a:solidFill>
                  <a:latin typeface="Calibri"/>
                  <a:ea typeface="+mn-ea"/>
                  <a:cs typeface="Arial" charset="0"/>
                </a:endParaRPr>
              </a:p>
            </p:txBody>
          </p:sp>
          <p:sp>
            <p:nvSpPr>
              <p:cNvPr id="671" name="Oval 670"/>
              <p:cNvSpPr/>
              <p:nvPr/>
            </p:nvSpPr>
            <p:spPr>
              <a:xfrm>
                <a:off x="5627879" y="1516361"/>
                <a:ext cx="496967" cy="496762"/>
              </a:xfrm>
              <a:prstGeom prst="ellipse">
                <a:avLst/>
              </a:prstGeom>
              <a:gradFill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5400000" scaled="0"/>
              </a:gradFill>
              <a:ln w="3175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kern="0">
                  <a:solidFill>
                    <a:srgbClr val="FFFFFF"/>
                  </a:solidFill>
                  <a:latin typeface="Calibri"/>
                  <a:ea typeface="+mn-ea"/>
                  <a:cs typeface="Arial" charset="0"/>
                </a:endParaRPr>
              </a:p>
            </p:txBody>
          </p:sp>
          <p:sp>
            <p:nvSpPr>
              <p:cNvPr id="672" name="Oval 671"/>
              <p:cNvSpPr/>
              <p:nvPr/>
            </p:nvSpPr>
            <p:spPr>
              <a:xfrm>
                <a:off x="5766013" y="1651265"/>
                <a:ext cx="228637" cy="226955"/>
              </a:xfrm>
              <a:prstGeom prst="ellipse">
                <a:avLst/>
              </a:prstGeom>
              <a:gradFill>
                <a:gsLst>
                  <a:gs pos="0">
                    <a:srgbClr val="C00000"/>
                  </a:gs>
                  <a:gs pos="100000">
                    <a:srgbClr val="FF0000"/>
                  </a:gs>
                </a:gsLst>
                <a:lin ang="5400000" scaled="0"/>
              </a:gradFill>
              <a:ln w="3175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kern="0">
                  <a:solidFill>
                    <a:srgbClr val="FFFFFF"/>
                  </a:solidFill>
                  <a:latin typeface="Calibri"/>
                  <a:ea typeface="+mn-ea"/>
                  <a:cs typeface="Arial" charset="0"/>
                </a:endParaRPr>
              </a:p>
            </p:txBody>
          </p:sp>
        </p:grpSp>
        <p:sp>
          <p:nvSpPr>
            <p:cNvPr id="666" name="Freeform 57"/>
            <p:cNvSpPr>
              <a:spLocks/>
            </p:cNvSpPr>
            <p:nvPr/>
          </p:nvSpPr>
          <p:spPr bwMode="auto">
            <a:xfrm rot="15813706" flipH="1" flipV="1">
              <a:off x="4658487" y="3156412"/>
              <a:ext cx="255522" cy="803404"/>
            </a:xfrm>
            <a:custGeom>
              <a:avLst/>
              <a:gdLst/>
              <a:ahLst/>
              <a:cxnLst>
                <a:cxn ang="0">
                  <a:pos x="1431" y="75"/>
                </a:cxn>
                <a:cxn ang="0">
                  <a:pos x="1720" y="15"/>
                </a:cxn>
                <a:cxn ang="0">
                  <a:pos x="2010" y="0"/>
                </a:cxn>
                <a:cxn ang="0">
                  <a:pos x="2296" y="27"/>
                </a:cxn>
                <a:cxn ang="0">
                  <a:pos x="2573" y="93"/>
                </a:cxn>
                <a:cxn ang="0">
                  <a:pos x="2838" y="199"/>
                </a:cxn>
                <a:cxn ang="0">
                  <a:pos x="3086" y="341"/>
                </a:cxn>
                <a:cxn ang="0">
                  <a:pos x="3310" y="517"/>
                </a:cxn>
                <a:cxn ang="0">
                  <a:pos x="3509" y="727"/>
                </a:cxn>
                <a:cxn ang="0">
                  <a:pos x="3677" y="968"/>
                </a:cxn>
                <a:cxn ang="0">
                  <a:pos x="3811" y="1239"/>
                </a:cxn>
                <a:cxn ang="0">
                  <a:pos x="3856" y="1364"/>
                </a:cxn>
                <a:cxn ang="0">
                  <a:pos x="3893" y="1490"/>
                </a:cxn>
                <a:cxn ang="0">
                  <a:pos x="3920" y="1617"/>
                </a:cxn>
                <a:cxn ang="0">
                  <a:pos x="3940" y="1744"/>
                </a:cxn>
                <a:cxn ang="0">
                  <a:pos x="3950" y="1871"/>
                </a:cxn>
                <a:cxn ang="0">
                  <a:pos x="3953" y="1998"/>
                </a:cxn>
                <a:cxn ang="0">
                  <a:pos x="3947" y="2123"/>
                </a:cxn>
                <a:cxn ang="0">
                  <a:pos x="3933" y="2249"/>
                </a:cxn>
                <a:cxn ang="0">
                  <a:pos x="3912" y="2372"/>
                </a:cxn>
                <a:cxn ang="0">
                  <a:pos x="3882" y="2494"/>
                </a:cxn>
                <a:cxn ang="0">
                  <a:pos x="3809" y="2742"/>
                </a:cxn>
                <a:cxn ang="0">
                  <a:pos x="3693" y="3249"/>
                </a:cxn>
                <a:cxn ang="0">
                  <a:pos x="3626" y="3756"/>
                </a:cxn>
                <a:cxn ang="0">
                  <a:pos x="3605" y="4264"/>
                </a:cxn>
                <a:cxn ang="0">
                  <a:pos x="3623" y="4770"/>
                </a:cxn>
                <a:cxn ang="0">
                  <a:pos x="3675" y="5276"/>
                </a:cxn>
                <a:cxn ang="0">
                  <a:pos x="3758" y="5780"/>
                </a:cxn>
                <a:cxn ang="0">
                  <a:pos x="3864" y="6282"/>
                </a:cxn>
                <a:cxn ang="0">
                  <a:pos x="3991" y="6781"/>
                </a:cxn>
                <a:cxn ang="0">
                  <a:pos x="4130" y="7278"/>
                </a:cxn>
                <a:cxn ang="0">
                  <a:pos x="4279" y="7771"/>
                </a:cxn>
                <a:cxn ang="0">
                  <a:pos x="4318" y="7913"/>
                </a:cxn>
                <a:cxn ang="0">
                  <a:pos x="4192" y="7656"/>
                </a:cxn>
                <a:cxn ang="0">
                  <a:pos x="3944" y="7179"/>
                </a:cxn>
                <a:cxn ang="0">
                  <a:pos x="3689" y="6718"/>
                </a:cxn>
                <a:cxn ang="0">
                  <a:pos x="3382" y="6202"/>
                </a:cxn>
                <a:cxn ang="0">
                  <a:pos x="3034" y="5663"/>
                </a:cxn>
                <a:cxn ang="0">
                  <a:pos x="2648" y="5130"/>
                </a:cxn>
                <a:cxn ang="0">
                  <a:pos x="2235" y="4634"/>
                </a:cxn>
                <a:cxn ang="0">
                  <a:pos x="1800" y="4206"/>
                </a:cxn>
                <a:cxn ang="0">
                  <a:pos x="1352" y="3875"/>
                </a:cxn>
                <a:cxn ang="0">
                  <a:pos x="1117" y="3749"/>
                </a:cxn>
                <a:cxn ang="0">
                  <a:pos x="993" y="3677"/>
                </a:cxn>
                <a:cxn ang="0">
                  <a:pos x="873" y="3600"/>
                </a:cxn>
                <a:cxn ang="0">
                  <a:pos x="758" y="3514"/>
                </a:cxn>
                <a:cxn ang="0">
                  <a:pos x="648" y="3422"/>
                </a:cxn>
                <a:cxn ang="0">
                  <a:pos x="544" y="3323"/>
                </a:cxn>
                <a:cxn ang="0">
                  <a:pos x="447" y="3217"/>
                </a:cxn>
                <a:cxn ang="0">
                  <a:pos x="357" y="3103"/>
                </a:cxn>
                <a:cxn ang="0">
                  <a:pos x="276" y="2980"/>
                </a:cxn>
                <a:cxn ang="0">
                  <a:pos x="204" y="2851"/>
                </a:cxn>
                <a:cxn ang="0">
                  <a:pos x="142" y="2713"/>
                </a:cxn>
                <a:cxn ang="0">
                  <a:pos x="51" y="2425"/>
                </a:cxn>
                <a:cxn ang="0">
                  <a:pos x="6" y="2136"/>
                </a:cxn>
                <a:cxn ang="0">
                  <a:pos x="4" y="1846"/>
                </a:cxn>
                <a:cxn ang="0">
                  <a:pos x="45" y="1562"/>
                </a:cxn>
                <a:cxn ang="0">
                  <a:pos x="124" y="1289"/>
                </a:cxn>
                <a:cxn ang="0">
                  <a:pos x="243" y="1029"/>
                </a:cxn>
                <a:cxn ang="0">
                  <a:pos x="397" y="790"/>
                </a:cxn>
                <a:cxn ang="0">
                  <a:pos x="585" y="572"/>
                </a:cxn>
                <a:cxn ang="0">
                  <a:pos x="805" y="384"/>
                </a:cxn>
                <a:cxn ang="0">
                  <a:pos x="1056" y="227"/>
                </a:cxn>
              </a:cxnLst>
              <a:rect l="0" t="0" r="r" b="b"/>
              <a:pathLst>
                <a:path w="4330" h="7934">
                  <a:moveTo>
                    <a:pt x="1240" y="142"/>
                  </a:moveTo>
                  <a:lnTo>
                    <a:pt x="1335" y="106"/>
                  </a:lnTo>
                  <a:lnTo>
                    <a:pt x="1431" y="75"/>
                  </a:lnTo>
                  <a:lnTo>
                    <a:pt x="1526" y="51"/>
                  </a:lnTo>
                  <a:lnTo>
                    <a:pt x="1623" y="31"/>
                  </a:lnTo>
                  <a:lnTo>
                    <a:pt x="1720" y="15"/>
                  </a:lnTo>
                  <a:lnTo>
                    <a:pt x="1817" y="5"/>
                  </a:lnTo>
                  <a:lnTo>
                    <a:pt x="1914" y="0"/>
                  </a:lnTo>
                  <a:lnTo>
                    <a:pt x="2010" y="0"/>
                  </a:lnTo>
                  <a:lnTo>
                    <a:pt x="2106" y="4"/>
                  </a:lnTo>
                  <a:lnTo>
                    <a:pt x="2202" y="13"/>
                  </a:lnTo>
                  <a:lnTo>
                    <a:pt x="2296" y="27"/>
                  </a:lnTo>
                  <a:lnTo>
                    <a:pt x="2390" y="44"/>
                  </a:lnTo>
                  <a:lnTo>
                    <a:pt x="2483" y="66"/>
                  </a:lnTo>
                  <a:lnTo>
                    <a:pt x="2573" y="93"/>
                  </a:lnTo>
                  <a:lnTo>
                    <a:pt x="2663" y="124"/>
                  </a:lnTo>
                  <a:lnTo>
                    <a:pt x="2752" y="159"/>
                  </a:lnTo>
                  <a:lnTo>
                    <a:pt x="2838" y="199"/>
                  </a:lnTo>
                  <a:lnTo>
                    <a:pt x="2922" y="242"/>
                  </a:lnTo>
                  <a:lnTo>
                    <a:pt x="3005" y="290"/>
                  </a:lnTo>
                  <a:lnTo>
                    <a:pt x="3086" y="341"/>
                  </a:lnTo>
                  <a:lnTo>
                    <a:pt x="3163" y="396"/>
                  </a:lnTo>
                  <a:lnTo>
                    <a:pt x="3238" y="455"/>
                  </a:lnTo>
                  <a:lnTo>
                    <a:pt x="3310" y="517"/>
                  </a:lnTo>
                  <a:lnTo>
                    <a:pt x="3379" y="585"/>
                  </a:lnTo>
                  <a:lnTo>
                    <a:pt x="3446" y="654"/>
                  </a:lnTo>
                  <a:lnTo>
                    <a:pt x="3509" y="727"/>
                  </a:lnTo>
                  <a:lnTo>
                    <a:pt x="3569" y="805"/>
                  </a:lnTo>
                  <a:lnTo>
                    <a:pt x="3625" y="885"/>
                  </a:lnTo>
                  <a:lnTo>
                    <a:pt x="3677" y="968"/>
                  </a:lnTo>
                  <a:lnTo>
                    <a:pt x="3726" y="1056"/>
                  </a:lnTo>
                  <a:lnTo>
                    <a:pt x="3770" y="1146"/>
                  </a:lnTo>
                  <a:lnTo>
                    <a:pt x="3811" y="1239"/>
                  </a:lnTo>
                  <a:lnTo>
                    <a:pt x="3826" y="1280"/>
                  </a:lnTo>
                  <a:lnTo>
                    <a:pt x="3842" y="1322"/>
                  </a:lnTo>
                  <a:lnTo>
                    <a:pt x="3856" y="1364"/>
                  </a:lnTo>
                  <a:lnTo>
                    <a:pt x="3869" y="1406"/>
                  </a:lnTo>
                  <a:lnTo>
                    <a:pt x="3881" y="1448"/>
                  </a:lnTo>
                  <a:lnTo>
                    <a:pt x="3893" y="1490"/>
                  </a:lnTo>
                  <a:lnTo>
                    <a:pt x="3903" y="1533"/>
                  </a:lnTo>
                  <a:lnTo>
                    <a:pt x="3912" y="1574"/>
                  </a:lnTo>
                  <a:lnTo>
                    <a:pt x="3920" y="1617"/>
                  </a:lnTo>
                  <a:lnTo>
                    <a:pt x="3927" y="1659"/>
                  </a:lnTo>
                  <a:lnTo>
                    <a:pt x="3935" y="1702"/>
                  </a:lnTo>
                  <a:lnTo>
                    <a:pt x="3940" y="1744"/>
                  </a:lnTo>
                  <a:lnTo>
                    <a:pt x="3944" y="1787"/>
                  </a:lnTo>
                  <a:lnTo>
                    <a:pt x="3948" y="1828"/>
                  </a:lnTo>
                  <a:lnTo>
                    <a:pt x="3950" y="1871"/>
                  </a:lnTo>
                  <a:lnTo>
                    <a:pt x="3952" y="1913"/>
                  </a:lnTo>
                  <a:lnTo>
                    <a:pt x="3953" y="1956"/>
                  </a:lnTo>
                  <a:lnTo>
                    <a:pt x="3953" y="1998"/>
                  </a:lnTo>
                  <a:lnTo>
                    <a:pt x="3952" y="2040"/>
                  </a:lnTo>
                  <a:lnTo>
                    <a:pt x="3950" y="2081"/>
                  </a:lnTo>
                  <a:lnTo>
                    <a:pt x="3947" y="2123"/>
                  </a:lnTo>
                  <a:lnTo>
                    <a:pt x="3944" y="2165"/>
                  </a:lnTo>
                  <a:lnTo>
                    <a:pt x="3939" y="2207"/>
                  </a:lnTo>
                  <a:lnTo>
                    <a:pt x="3933" y="2249"/>
                  </a:lnTo>
                  <a:lnTo>
                    <a:pt x="3927" y="2290"/>
                  </a:lnTo>
                  <a:lnTo>
                    <a:pt x="3920" y="2331"/>
                  </a:lnTo>
                  <a:lnTo>
                    <a:pt x="3912" y="2372"/>
                  </a:lnTo>
                  <a:lnTo>
                    <a:pt x="3903" y="2413"/>
                  </a:lnTo>
                  <a:lnTo>
                    <a:pt x="3894" y="2453"/>
                  </a:lnTo>
                  <a:lnTo>
                    <a:pt x="3882" y="2494"/>
                  </a:lnTo>
                  <a:lnTo>
                    <a:pt x="3871" y="2533"/>
                  </a:lnTo>
                  <a:lnTo>
                    <a:pt x="3859" y="2573"/>
                  </a:lnTo>
                  <a:lnTo>
                    <a:pt x="3809" y="2742"/>
                  </a:lnTo>
                  <a:lnTo>
                    <a:pt x="3764" y="2911"/>
                  </a:lnTo>
                  <a:lnTo>
                    <a:pt x="3725" y="3080"/>
                  </a:lnTo>
                  <a:lnTo>
                    <a:pt x="3693" y="3249"/>
                  </a:lnTo>
                  <a:lnTo>
                    <a:pt x="3665" y="3418"/>
                  </a:lnTo>
                  <a:lnTo>
                    <a:pt x="3644" y="3587"/>
                  </a:lnTo>
                  <a:lnTo>
                    <a:pt x="3626" y="3756"/>
                  </a:lnTo>
                  <a:lnTo>
                    <a:pt x="3614" y="3925"/>
                  </a:lnTo>
                  <a:lnTo>
                    <a:pt x="3607" y="4095"/>
                  </a:lnTo>
                  <a:lnTo>
                    <a:pt x="3605" y="4264"/>
                  </a:lnTo>
                  <a:lnTo>
                    <a:pt x="3607" y="4432"/>
                  </a:lnTo>
                  <a:lnTo>
                    <a:pt x="3613" y="4602"/>
                  </a:lnTo>
                  <a:lnTo>
                    <a:pt x="3623" y="4770"/>
                  </a:lnTo>
                  <a:lnTo>
                    <a:pt x="3637" y="4939"/>
                  </a:lnTo>
                  <a:lnTo>
                    <a:pt x="3655" y="5108"/>
                  </a:lnTo>
                  <a:lnTo>
                    <a:pt x="3675" y="5276"/>
                  </a:lnTo>
                  <a:lnTo>
                    <a:pt x="3700" y="5444"/>
                  </a:lnTo>
                  <a:lnTo>
                    <a:pt x="3727" y="5613"/>
                  </a:lnTo>
                  <a:lnTo>
                    <a:pt x="3758" y="5780"/>
                  </a:lnTo>
                  <a:lnTo>
                    <a:pt x="3791" y="5947"/>
                  </a:lnTo>
                  <a:lnTo>
                    <a:pt x="3826" y="6115"/>
                  </a:lnTo>
                  <a:lnTo>
                    <a:pt x="3864" y="6282"/>
                  </a:lnTo>
                  <a:lnTo>
                    <a:pt x="3905" y="6448"/>
                  </a:lnTo>
                  <a:lnTo>
                    <a:pt x="3947" y="6616"/>
                  </a:lnTo>
                  <a:lnTo>
                    <a:pt x="3991" y="6781"/>
                  </a:lnTo>
                  <a:lnTo>
                    <a:pt x="4036" y="6947"/>
                  </a:lnTo>
                  <a:lnTo>
                    <a:pt x="4082" y="7113"/>
                  </a:lnTo>
                  <a:lnTo>
                    <a:pt x="4130" y="7278"/>
                  </a:lnTo>
                  <a:lnTo>
                    <a:pt x="4179" y="7442"/>
                  </a:lnTo>
                  <a:lnTo>
                    <a:pt x="4229" y="7606"/>
                  </a:lnTo>
                  <a:lnTo>
                    <a:pt x="4279" y="7771"/>
                  </a:lnTo>
                  <a:lnTo>
                    <a:pt x="4330" y="7934"/>
                  </a:lnTo>
                  <a:lnTo>
                    <a:pt x="4329" y="7933"/>
                  </a:lnTo>
                  <a:lnTo>
                    <a:pt x="4318" y="7913"/>
                  </a:lnTo>
                  <a:lnTo>
                    <a:pt x="4299" y="7873"/>
                  </a:lnTo>
                  <a:lnTo>
                    <a:pt x="4271" y="7817"/>
                  </a:lnTo>
                  <a:lnTo>
                    <a:pt x="4192" y="7656"/>
                  </a:lnTo>
                  <a:lnTo>
                    <a:pt x="4081" y="7441"/>
                  </a:lnTo>
                  <a:lnTo>
                    <a:pt x="4016" y="7316"/>
                  </a:lnTo>
                  <a:lnTo>
                    <a:pt x="3944" y="7179"/>
                  </a:lnTo>
                  <a:lnTo>
                    <a:pt x="3864" y="7033"/>
                  </a:lnTo>
                  <a:lnTo>
                    <a:pt x="3779" y="6879"/>
                  </a:lnTo>
                  <a:lnTo>
                    <a:pt x="3689" y="6718"/>
                  </a:lnTo>
                  <a:lnTo>
                    <a:pt x="3592" y="6550"/>
                  </a:lnTo>
                  <a:lnTo>
                    <a:pt x="3490" y="6378"/>
                  </a:lnTo>
                  <a:lnTo>
                    <a:pt x="3382" y="6202"/>
                  </a:lnTo>
                  <a:lnTo>
                    <a:pt x="3270" y="6024"/>
                  </a:lnTo>
                  <a:lnTo>
                    <a:pt x="3154" y="5843"/>
                  </a:lnTo>
                  <a:lnTo>
                    <a:pt x="3034" y="5663"/>
                  </a:lnTo>
                  <a:lnTo>
                    <a:pt x="2908" y="5483"/>
                  </a:lnTo>
                  <a:lnTo>
                    <a:pt x="2780" y="5305"/>
                  </a:lnTo>
                  <a:lnTo>
                    <a:pt x="2648" y="5130"/>
                  </a:lnTo>
                  <a:lnTo>
                    <a:pt x="2513" y="4960"/>
                  </a:lnTo>
                  <a:lnTo>
                    <a:pt x="2375" y="4793"/>
                  </a:lnTo>
                  <a:lnTo>
                    <a:pt x="2235" y="4634"/>
                  </a:lnTo>
                  <a:lnTo>
                    <a:pt x="2092" y="4482"/>
                  </a:lnTo>
                  <a:lnTo>
                    <a:pt x="1947" y="4339"/>
                  </a:lnTo>
                  <a:lnTo>
                    <a:pt x="1800" y="4206"/>
                  </a:lnTo>
                  <a:lnTo>
                    <a:pt x="1652" y="4083"/>
                  </a:lnTo>
                  <a:lnTo>
                    <a:pt x="1503" y="3973"/>
                  </a:lnTo>
                  <a:lnTo>
                    <a:pt x="1352" y="3875"/>
                  </a:lnTo>
                  <a:lnTo>
                    <a:pt x="1201" y="3792"/>
                  </a:lnTo>
                  <a:lnTo>
                    <a:pt x="1159" y="3771"/>
                  </a:lnTo>
                  <a:lnTo>
                    <a:pt x="1117" y="3749"/>
                  </a:lnTo>
                  <a:lnTo>
                    <a:pt x="1075" y="3725"/>
                  </a:lnTo>
                  <a:lnTo>
                    <a:pt x="1034" y="3702"/>
                  </a:lnTo>
                  <a:lnTo>
                    <a:pt x="993" y="3677"/>
                  </a:lnTo>
                  <a:lnTo>
                    <a:pt x="953" y="3652"/>
                  </a:lnTo>
                  <a:lnTo>
                    <a:pt x="912" y="3626"/>
                  </a:lnTo>
                  <a:lnTo>
                    <a:pt x="873" y="3600"/>
                  </a:lnTo>
                  <a:lnTo>
                    <a:pt x="834" y="3572"/>
                  </a:lnTo>
                  <a:lnTo>
                    <a:pt x="796" y="3544"/>
                  </a:lnTo>
                  <a:lnTo>
                    <a:pt x="758" y="3514"/>
                  </a:lnTo>
                  <a:lnTo>
                    <a:pt x="720" y="3484"/>
                  </a:lnTo>
                  <a:lnTo>
                    <a:pt x="684" y="3454"/>
                  </a:lnTo>
                  <a:lnTo>
                    <a:pt x="648" y="3422"/>
                  </a:lnTo>
                  <a:lnTo>
                    <a:pt x="612" y="3390"/>
                  </a:lnTo>
                  <a:lnTo>
                    <a:pt x="577" y="3357"/>
                  </a:lnTo>
                  <a:lnTo>
                    <a:pt x="544" y="3323"/>
                  </a:lnTo>
                  <a:lnTo>
                    <a:pt x="511" y="3288"/>
                  </a:lnTo>
                  <a:lnTo>
                    <a:pt x="479" y="3253"/>
                  </a:lnTo>
                  <a:lnTo>
                    <a:pt x="447" y="3217"/>
                  </a:lnTo>
                  <a:lnTo>
                    <a:pt x="416" y="3179"/>
                  </a:lnTo>
                  <a:lnTo>
                    <a:pt x="387" y="3142"/>
                  </a:lnTo>
                  <a:lnTo>
                    <a:pt x="357" y="3103"/>
                  </a:lnTo>
                  <a:lnTo>
                    <a:pt x="330" y="3063"/>
                  </a:lnTo>
                  <a:lnTo>
                    <a:pt x="302" y="3022"/>
                  </a:lnTo>
                  <a:lnTo>
                    <a:pt x="276" y="2980"/>
                  </a:lnTo>
                  <a:lnTo>
                    <a:pt x="251" y="2938"/>
                  </a:lnTo>
                  <a:lnTo>
                    <a:pt x="227" y="2895"/>
                  </a:lnTo>
                  <a:lnTo>
                    <a:pt x="204" y="2851"/>
                  </a:lnTo>
                  <a:lnTo>
                    <a:pt x="183" y="2806"/>
                  </a:lnTo>
                  <a:lnTo>
                    <a:pt x="162" y="2760"/>
                  </a:lnTo>
                  <a:lnTo>
                    <a:pt x="142" y="2713"/>
                  </a:lnTo>
                  <a:lnTo>
                    <a:pt x="107" y="2618"/>
                  </a:lnTo>
                  <a:lnTo>
                    <a:pt x="76" y="2522"/>
                  </a:lnTo>
                  <a:lnTo>
                    <a:pt x="51" y="2425"/>
                  </a:lnTo>
                  <a:lnTo>
                    <a:pt x="32" y="2329"/>
                  </a:lnTo>
                  <a:lnTo>
                    <a:pt x="16" y="2232"/>
                  </a:lnTo>
                  <a:lnTo>
                    <a:pt x="6" y="2136"/>
                  </a:lnTo>
                  <a:lnTo>
                    <a:pt x="1" y="2039"/>
                  </a:lnTo>
                  <a:lnTo>
                    <a:pt x="0" y="1942"/>
                  </a:lnTo>
                  <a:lnTo>
                    <a:pt x="4" y="1846"/>
                  </a:lnTo>
                  <a:lnTo>
                    <a:pt x="13" y="1751"/>
                  </a:lnTo>
                  <a:lnTo>
                    <a:pt x="26" y="1656"/>
                  </a:lnTo>
                  <a:lnTo>
                    <a:pt x="45" y="1562"/>
                  </a:lnTo>
                  <a:lnTo>
                    <a:pt x="67" y="1470"/>
                  </a:lnTo>
                  <a:lnTo>
                    <a:pt x="94" y="1378"/>
                  </a:lnTo>
                  <a:lnTo>
                    <a:pt x="124" y="1289"/>
                  </a:lnTo>
                  <a:lnTo>
                    <a:pt x="160" y="1201"/>
                  </a:lnTo>
                  <a:lnTo>
                    <a:pt x="199" y="1114"/>
                  </a:lnTo>
                  <a:lnTo>
                    <a:pt x="243" y="1029"/>
                  </a:lnTo>
                  <a:lnTo>
                    <a:pt x="290" y="947"/>
                  </a:lnTo>
                  <a:lnTo>
                    <a:pt x="341" y="867"/>
                  </a:lnTo>
                  <a:lnTo>
                    <a:pt x="397" y="790"/>
                  </a:lnTo>
                  <a:lnTo>
                    <a:pt x="455" y="714"/>
                  </a:lnTo>
                  <a:lnTo>
                    <a:pt x="518" y="642"/>
                  </a:lnTo>
                  <a:lnTo>
                    <a:pt x="585" y="572"/>
                  </a:lnTo>
                  <a:lnTo>
                    <a:pt x="655" y="506"/>
                  </a:lnTo>
                  <a:lnTo>
                    <a:pt x="728" y="443"/>
                  </a:lnTo>
                  <a:lnTo>
                    <a:pt x="805" y="384"/>
                  </a:lnTo>
                  <a:lnTo>
                    <a:pt x="886" y="328"/>
                  </a:lnTo>
                  <a:lnTo>
                    <a:pt x="969" y="274"/>
                  </a:lnTo>
                  <a:lnTo>
                    <a:pt x="1056" y="227"/>
                  </a:lnTo>
                  <a:lnTo>
                    <a:pt x="1146" y="182"/>
                  </a:lnTo>
                  <a:lnTo>
                    <a:pt x="1240" y="142"/>
                  </a:lnTo>
                  <a:close/>
                </a:path>
              </a:pathLst>
            </a:custGeom>
            <a:solidFill>
              <a:sysClr val="windowText" lastClr="000000">
                <a:lumMod val="95000"/>
                <a:lumOff val="5000"/>
                <a:alpha val="25000"/>
              </a:sys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kern="0">
                <a:solidFill>
                  <a:sysClr val="windowText" lastClr="000000"/>
                </a:solidFill>
                <a:latin typeface="Calibri" pitchFamily="-109" charset="0"/>
                <a:ea typeface="+mn-ea"/>
                <a:cs typeface="Arial" charset="0"/>
              </a:endParaRPr>
            </a:p>
          </p:txBody>
        </p:sp>
        <p:grpSp>
          <p:nvGrpSpPr>
            <p:cNvPr id="11" name="Group 133"/>
            <p:cNvGrpSpPr>
              <a:grpSpLocks/>
            </p:cNvGrpSpPr>
            <p:nvPr/>
          </p:nvGrpSpPr>
          <p:grpSpPr bwMode="auto">
            <a:xfrm flipH="1">
              <a:off x="4435355" y="2500313"/>
              <a:ext cx="650979" cy="1241111"/>
              <a:chOff x="7001096" y="2143116"/>
              <a:chExt cx="1000276" cy="1833550"/>
            </a:xfrm>
          </p:grpSpPr>
          <p:sp>
            <p:nvSpPr>
              <p:cNvPr id="668" name="Freeform 57"/>
              <p:cNvSpPr>
                <a:spLocks/>
              </p:cNvSpPr>
              <p:nvPr/>
            </p:nvSpPr>
            <p:spPr bwMode="auto">
              <a:xfrm>
                <a:off x="7001096" y="2143116"/>
                <a:ext cx="1000276" cy="1833550"/>
              </a:xfrm>
              <a:custGeom>
                <a:avLst/>
                <a:gdLst/>
                <a:ahLst/>
                <a:cxnLst>
                  <a:cxn ang="0">
                    <a:pos x="1431" y="75"/>
                  </a:cxn>
                  <a:cxn ang="0">
                    <a:pos x="1720" y="15"/>
                  </a:cxn>
                  <a:cxn ang="0">
                    <a:pos x="2010" y="0"/>
                  </a:cxn>
                  <a:cxn ang="0">
                    <a:pos x="2296" y="27"/>
                  </a:cxn>
                  <a:cxn ang="0">
                    <a:pos x="2573" y="93"/>
                  </a:cxn>
                  <a:cxn ang="0">
                    <a:pos x="2838" y="199"/>
                  </a:cxn>
                  <a:cxn ang="0">
                    <a:pos x="3086" y="341"/>
                  </a:cxn>
                  <a:cxn ang="0">
                    <a:pos x="3310" y="517"/>
                  </a:cxn>
                  <a:cxn ang="0">
                    <a:pos x="3509" y="727"/>
                  </a:cxn>
                  <a:cxn ang="0">
                    <a:pos x="3677" y="968"/>
                  </a:cxn>
                  <a:cxn ang="0">
                    <a:pos x="3811" y="1239"/>
                  </a:cxn>
                  <a:cxn ang="0">
                    <a:pos x="3856" y="1364"/>
                  </a:cxn>
                  <a:cxn ang="0">
                    <a:pos x="3893" y="1490"/>
                  </a:cxn>
                  <a:cxn ang="0">
                    <a:pos x="3920" y="1617"/>
                  </a:cxn>
                  <a:cxn ang="0">
                    <a:pos x="3940" y="1744"/>
                  </a:cxn>
                  <a:cxn ang="0">
                    <a:pos x="3950" y="1871"/>
                  </a:cxn>
                  <a:cxn ang="0">
                    <a:pos x="3953" y="1998"/>
                  </a:cxn>
                  <a:cxn ang="0">
                    <a:pos x="3947" y="2123"/>
                  </a:cxn>
                  <a:cxn ang="0">
                    <a:pos x="3933" y="2249"/>
                  </a:cxn>
                  <a:cxn ang="0">
                    <a:pos x="3912" y="2372"/>
                  </a:cxn>
                  <a:cxn ang="0">
                    <a:pos x="3882" y="2494"/>
                  </a:cxn>
                  <a:cxn ang="0">
                    <a:pos x="3809" y="2742"/>
                  </a:cxn>
                  <a:cxn ang="0">
                    <a:pos x="3693" y="3249"/>
                  </a:cxn>
                  <a:cxn ang="0">
                    <a:pos x="3626" y="3756"/>
                  </a:cxn>
                  <a:cxn ang="0">
                    <a:pos x="3605" y="4264"/>
                  </a:cxn>
                  <a:cxn ang="0">
                    <a:pos x="3623" y="4770"/>
                  </a:cxn>
                  <a:cxn ang="0">
                    <a:pos x="3675" y="5276"/>
                  </a:cxn>
                  <a:cxn ang="0">
                    <a:pos x="3758" y="5780"/>
                  </a:cxn>
                  <a:cxn ang="0">
                    <a:pos x="3864" y="6282"/>
                  </a:cxn>
                  <a:cxn ang="0">
                    <a:pos x="3991" y="6781"/>
                  </a:cxn>
                  <a:cxn ang="0">
                    <a:pos x="4130" y="7278"/>
                  </a:cxn>
                  <a:cxn ang="0">
                    <a:pos x="4279" y="7771"/>
                  </a:cxn>
                  <a:cxn ang="0">
                    <a:pos x="4318" y="7913"/>
                  </a:cxn>
                  <a:cxn ang="0">
                    <a:pos x="4192" y="7656"/>
                  </a:cxn>
                  <a:cxn ang="0">
                    <a:pos x="3944" y="7179"/>
                  </a:cxn>
                  <a:cxn ang="0">
                    <a:pos x="3689" y="6718"/>
                  </a:cxn>
                  <a:cxn ang="0">
                    <a:pos x="3382" y="6202"/>
                  </a:cxn>
                  <a:cxn ang="0">
                    <a:pos x="3034" y="5663"/>
                  </a:cxn>
                  <a:cxn ang="0">
                    <a:pos x="2648" y="5130"/>
                  </a:cxn>
                  <a:cxn ang="0">
                    <a:pos x="2235" y="4634"/>
                  </a:cxn>
                  <a:cxn ang="0">
                    <a:pos x="1800" y="4206"/>
                  </a:cxn>
                  <a:cxn ang="0">
                    <a:pos x="1352" y="3875"/>
                  </a:cxn>
                  <a:cxn ang="0">
                    <a:pos x="1117" y="3749"/>
                  </a:cxn>
                  <a:cxn ang="0">
                    <a:pos x="993" y="3677"/>
                  </a:cxn>
                  <a:cxn ang="0">
                    <a:pos x="873" y="3600"/>
                  </a:cxn>
                  <a:cxn ang="0">
                    <a:pos x="758" y="3514"/>
                  </a:cxn>
                  <a:cxn ang="0">
                    <a:pos x="648" y="3422"/>
                  </a:cxn>
                  <a:cxn ang="0">
                    <a:pos x="544" y="3323"/>
                  </a:cxn>
                  <a:cxn ang="0">
                    <a:pos x="447" y="3217"/>
                  </a:cxn>
                  <a:cxn ang="0">
                    <a:pos x="357" y="3103"/>
                  </a:cxn>
                  <a:cxn ang="0">
                    <a:pos x="276" y="2980"/>
                  </a:cxn>
                  <a:cxn ang="0">
                    <a:pos x="204" y="2851"/>
                  </a:cxn>
                  <a:cxn ang="0">
                    <a:pos x="142" y="2713"/>
                  </a:cxn>
                  <a:cxn ang="0">
                    <a:pos x="51" y="2425"/>
                  </a:cxn>
                  <a:cxn ang="0">
                    <a:pos x="6" y="2136"/>
                  </a:cxn>
                  <a:cxn ang="0">
                    <a:pos x="4" y="1846"/>
                  </a:cxn>
                  <a:cxn ang="0">
                    <a:pos x="45" y="1562"/>
                  </a:cxn>
                  <a:cxn ang="0">
                    <a:pos x="124" y="1289"/>
                  </a:cxn>
                  <a:cxn ang="0">
                    <a:pos x="243" y="1029"/>
                  </a:cxn>
                  <a:cxn ang="0">
                    <a:pos x="397" y="790"/>
                  </a:cxn>
                  <a:cxn ang="0">
                    <a:pos x="585" y="572"/>
                  </a:cxn>
                  <a:cxn ang="0">
                    <a:pos x="805" y="384"/>
                  </a:cxn>
                  <a:cxn ang="0">
                    <a:pos x="1056" y="227"/>
                  </a:cxn>
                </a:cxnLst>
                <a:rect l="0" t="0" r="r" b="b"/>
                <a:pathLst>
                  <a:path w="4330" h="7934">
                    <a:moveTo>
                      <a:pt x="1240" y="142"/>
                    </a:moveTo>
                    <a:lnTo>
                      <a:pt x="1335" y="106"/>
                    </a:lnTo>
                    <a:lnTo>
                      <a:pt x="1431" y="75"/>
                    </a:lnTo>
                    <a:lnTo>
                      <a:pt x="1526" y="51"/>
                    </a:lnTo>
                    <a:lnTo>
                      <a:pt x="1623" y="31"/>
                    </a:lnTo>
                    <a:lnTo>
                      <a:pt x="1720" y="15"/>
                    </a:lnTo>
                    <a:lnTo>
                      <a:pt x="1817" y="5"/>
                    </a:lnTo>
                    <a:lnTo>
                      <a:pt x="1914" y="0"/>
                    </a:lnTo>
                    <a:lnTo>
                      <a:pt x="2010" y="0"/>
                    </a:lnTo>
                    <a:lnTo>
                      <a:pt x="2106" y="4"/>
                    </a:lnTo>
                    <a:lnTo>
                      <a:pt x="2202" y="13"/>
                    </a:lnTo>
                    <a:lnTo>
                      <a:pt x="2296" y="27"/>
                    </a:lnTo>
                    <a:lnTo>
                      <a:pt x="2390" y="44"/>
                    </a:lnTo>
                    <a:lnTo>
                      <a:pt x="2483" y="66"/>
                    </a:lnTo>
                    <a:lnTo>
                      <a:pt x="2573" y="93"/>
                    </a:lnTo>
                    <a:lnTo>
                      <a:pt x="2663" y="124"/>
                    </a:lnTo>
                    <a:lnTo>
                      <a:pt x="2752" y="159"/>
                    </a:lnTo>
                    <a:lnTo>
                      <a:pt x="2838" y="199"/>
                    </a:lnTo>
                    <a:lnTo>
                      <a:pt x="2922" y="242"/>
                    </a:lnTo>
                    <a:lnTo>
                      <a:pt x="3005" y="290"/>
                    </a:lnTo>
                    <a:lnTo>
                      <a:pt x="3086" y="341"/>
                    </a:lnTo>
                    <a:lnTo>
                      <a:pt x="3163" y="396"/>
                    </a:lnTo>
                    <a:lnTo>
                      <a:pt x="3238" y="455"/>
                    </a:lnTo>
                    <a:lnTo>
                      <a:pt x="3310" y="517"/>
                    </a:lnTo>
                    <a:lnTo>
                      <a:pt x="3379" y="585"/>
                    </a:lnTo>
                    <a:lnTo>
                      <a:pt x="3446" y="654"/>
                    </a:lnTo>
                    <a:lnTo>
                      <a:pt x="3509" y="727"/>
                    </a:lnTo>
                    <a:lnTo>
                      <a:pt x="3569" y="805"/>
                    </a:lnTo>
                    <a:lnTo>
                      <a:pt x="3625" y="885"/>
                    </a:lnTo>
                    <a:lnTo>
                      <a:pt x="3677" y="968"/>
                    </a:lnTo>
                    <a:lnTo>
                      <a:pt x="3726" y="1056"/>
                    </a:lnTo>
                    <a:lnTo>
                      <a:pt x="3770" y="1146"/>
                    </a:lnTo>
                    <a:lnTo>
                      <a:pt x="3811" y="1239"/>
                    </a:lnTo>
                    <a:lnTo>
                      <a:pt x="3826" y="1280"/>
                    </a:lnTo>
                    <a:lnTo>
                      <a:pt x="3842" y="1322"/>
                    </a:lnTo>
                    <a:lnTo>
                      <a:pt x="3856" y="1364"/>
                    </a:lnTo>
                    <a:lnTo>
                      <a:pt x="3869" y="1406"/>
                    </a:lnTo>
                    <a:lnTo>
                      <a:pt x="3881" y="1448"/>
                    </a:lnTo>
                    <a:lnTo>
                      <a:pt x="3893" y="1490"/>
                    </a:lnTo>
                    <a:lnTo>
                      <a:pt x="3903" y="1533"/>
                    </a:lnTo>
                    <a:lnTo>
                      <a:pt x="3912" y="1574"/>
                    </a:lnTo>
                    <a:lnTo>
                      <a:pt x="3920" y="1617"/>
                    </a:lnTo>
                    <a:lnTo>
                      <a:pt x="3927" y="1659"/>
                    </a:lnTo>
                    <a:lnTo>
                      <a:pt x="3935" y="1702"/>
                    </a:lnTo>
                    <a:lnTo>
                      <a:pt x="3940" y="1744"/>
                    </a:lnTo>
                    <a:lnTo>
                      <a:pt x="3944" y="1787"/>
                    </a:lnTo>
                    <a:lnTo>
                      <a:pt x="3948" y="1828"/>
                    </a:lnTo>
                    <a:lnTo>
                      <a:pt x="3950" y="1871"/>
                    </a:lnTo>
                    <a:lnTo>
                      <a:pt x="3952" y="1913"/>
                    </a:lnTo>
                    <a:lnTo>
                      <a:pt x="3953" y="1956"/>
                    </a:lnTo>
                    <a:lnTo>
                      <a:pt x="3953" y="1998"/>
                    </a:lnTo>
                    <a:lnTo>
                      <a:pt x="3952" y="2040"/>
                    </a:lnTo>
                    <a:lnTo>
                      <a:pt x="3950" y="2081"/>
                    </a:lnTo>
                    <a:lnTo>
                      <a:pt x="3947" y="2123"/>
                    </a:lnTo>
                    <a:lnTo>
                      <a:pt x="3944" y="2165"/>
                    </a:lnTo>
                    <a:lnTo>
                      <a:pt x="3939" y="2207"/>
                    </a:lnTo>
                    <a:lnTo>
                      <a:pt x="3933" y="2249"/>
                    </a:lnTo>
                    <a:lnTo>
                      <a:pt x="3927" y="2290"/>
                    </a:lnTo>
                    <a:lnTo>
                      <a:pt x="3920" y="2331"/>
                    </a:lnTo>
                    <a:lnTo>
                      <a:pt x="3912" y="2372"/>
                    </a:lnTo>
                    <a:lnTo>
                      <a:pt x="3903" y="2413"/>
                    </a:lnTo>
                    <a:lnTo>
                      <a:pt x="3894" y="2453"/>
                    </a:lnTo>
                    <a:lnTo>
                      <a:pt x="3882" y="2494"/>
                    </a:lnTo>
                    <a:lnTo>
                      <a:pt x="3871" y="2533"/>
                    </a:lnTo>
                    <a:lnTo>
                      <a:pt x="3859" y="2573"/>
                    </a:lnTo>
                    <a:lnTo>
                      <a:pt x="3809" y="2742"/>
                    </a:lnTo>
                    <a:lnTo>
                      <a:pt x="3764" y="2911"/>
                    </a:lnTo>
                    <a:lnTo>
                      <a:pt x="3725" y="3080"/>
                    </a:lnTo>
                    <a:lnTo>
                      <a:pt x="3693" y="3249"/>
                    </a:lnTo>
                    <a:lnTo>
                      <a:pt x="3665" y="3418"/>
                    </a:lnTo>
                    <a:lnTo>
                      <a:pt x="3644" y="3587"/>
                    </a:lnTo>
                    <a:lnTo>
                      <a:pt x="3626" y="3756"/>
                    </a:lnTo>
                    <a:lnTo>
                      <a:pt x="3614" y="3925"/>
                    </a:lnTo>
                    <a:lnTo>
                      <a:pt x="3607" y="4095"/>
                    </a:lnTo>
                    <a:lnTo>
                      <a:pt x="3605" y="4264"/>
                    </a:lnTo>
                    <a:lnTo>
                      <a:pt x="3607" y="4432"/>
                    </a:lnTo>
                    <a:lnTo>
                      <a:pt x="3613" y="4602"/>
                    </a:lnTo>
                    <a:lnTo>
                      <a:pt x="3623" y="4770"/>
                    </a:lnTo>
                    <a:lnTo>
                      <a:pt x="3637" y="4939"/>
                    </a:lnTo>
                    <a:lnTo>
                      <a:pt x="3655" y="5108"/>
                    </a:lnTo>
                    <a:lnTo>
                      <a:pt x="3675" y="5276"/>
                    </a:lnTo>
                    <a:lnTo>
                      <a:pt x="3700" y="5444"/>
                    </a:lnTo>
                    <a:lnTo>
                      <a:pt x="3727" y="5613"/>
                    </a:lnTo>
                    <a:lnTo>
                      <a:pt x="3758" y="5780"/>
                    </a:lnTo>
                    <a:lnTo>
                      <a:pt x="3791" y="5947"/>
                    </a:lnTo>
                    <a:lnTo>
                      <a:pt x="3826" y="6115"/>
                    </a:lnTo>
                    <a:lnTo>
                      <a:pt x="3864" y="6282"/>
                    </a:lnTo>
                    <a:lnTo>
                      <a:pt x="3905" y="6448"/>
                    </a:lnTo>
                    <a:lnTo>
                      <a:pt x="3947" y="6616"/>
                    </a:lnTo>
                    <a:lnTo>
                      <a:pt x="3991" y="6781"/>
                    </a:lnTo>
                    <a:lnTo>
                      <a:pt x="4036" y="6947"/>
                    </a:lnTo>
                    <a:lnTo>
                      <a:pt x="4082" y="7113"/>
                    </a:lnTo>
                    <a:lnTo>
                      <a:pt x="4130" y="7278"/>
                    </a:lnTo>
                    <a:lnTo>
                      <a:pt x="4179" y="7442"/>
                    </a:lnTo>
                    <a:lnTo>
                      <a:pt x="4229" y="7606"/>
                    </a:lnTo>
                    <a:lnTo>
                      <a:pt x="4279" y="7771"/>
                    </a:lnTo>
                    <a:lnTo>
                      <a:pt x="4330" y="7934"/>
                    </a:lnTo>
                    <a:lnTo>
                      <a:pt x="4329" y="7933"/>
                    </a:lnTo>
                    <a:lnTo>
                      <a:pt x="4318" y="7913"/>
                    </a:lnTo>
                    <a:lnTo>
                      <a:pt x="4299" y="7873"/>
                    </a:lnTo>
                    <a:lnTo>
                      <a:pt x="4271" y="7817"/>
                    </a:lnTo>
                    <a:lnTo>
                      <a:pt x="4192" y="7656"/>
                    </a:lnTo>
                    <a:lnTo>
                      <a:pt x="4081" y="7441"/>
                    </a:lnTo>
                    <a:lnTo>
                      <a:pt x="4016" y="7316"/>
                    </a:lnTo>
                    <a:lnTo>
                      <a:pt x="3944" y="7179"/>
                    </a:lnTo>
                    <a:lnTo>
                      <a:pt x="3864" y="7033"/>
                    </a:lnTo>
                    <a:lnTo>
                      <a:pt x="3779" y="6879"/>
                    </a:lnTo>
                    <a:lnTo>
                      <a:pt x="3689" y="6718"/>
                    </a:lnTo>
                    <a:lnTo>
                      <a:pt x="3592" y="6550"/>
                    </a:lnTo>
                    <a:lnTo>
                      <a:pt x="3490" y="6378"/>
                    </a:lnTo>
                    <a:lnTo>
                      <a:pt x="3382" y="6202"/>
                    </a:lnTo>
                    <a:lnTo>
                      <a:pt x="3270" y="6024"/>
                    </a:lnTo>
                    <a:lnTo>
                      <a:pt x="3154" y="5843"/>
                    </a:lnTo>
                    <a:lnTo>
                      <a:pt x="3034" y="5663"/>
                    </a:lnTo>
                    <a:lnTo>
                      <a:pt x="2908" y="5483"/>
                    </a:lnTo>
                    <a:lnTo>
                      <a:pt x="2780" y="5305"/>
                    </a:lnTo>
                    <a:lnTo>
                      <a:pt x="2648" y="5130"/>
                    </a:lnTo>
                    <a:lnTo>
                      <a:pt x="2513" y="4960"/>
                    </a:lnTo>
                    <a:lnTo>
                      <a:pt x="2375" y="4793"/>
                    </a:lnTo>
                    <a:lnTo>
                      <a:pt x="2235" y="4634"/>
                    </a:lnTo>
                    <a:lnTo>
                      <a:pt x="2092" y="4482"/>
                    </a:lnTo>
                    <a:lnTo>
                      <a:pt x="1947" y="4339"/>
                    </a:lnTo>
                    <a:lnTo>
                      <a:pt x="1800" y="4206"/>
                    </a:lnTo>
                    <a:lnTo>
                      <a:pt x="1652" y="4083"/>
                    </a:lnTo>
                    <a:lnTo>
                      <a:pt x="1503" y="3973"/>
                    </a:lnTo>
                    <a:lnTo>
                      <a:pt x="1352" y="3875"/>
                    </a:lnTo>
                    <a:lnTo>
                      <a:pt x="1201" y="3792"/>
                    </a:lnTo>
                    <a:lnTo>
                      <a:pt x="1159" y="3771"/>
                    </a:lnTo>
                    <a:lnTo>
                      <a:pt x="1117" y="3749"/>
                    </a:lnTo>
                    <a:lnTo>
                      <a:pt x="1075" y="3725"/>
                    </a:lnTo>
                    <a:lnTo>
                      <a:pt x="1034" y="3702"/>
                    </a:lnTo>
                    <a:lnTo>
                      <a:pt x="993" y="3677"/>
                    </a:lnTo>
                    <a:lnTo>
                      <a:pt x="953" y="3652"/>
                    </a:lnTo>
                    <a:lnTo>
                      <a:pt x="912" y="3626"/>
                    </a:lnTo>
                    <a:lnTo>
                      <a:pt x="873" y="3600"/>
                    </a:lnTo>
                    <a:lnTo>
                      <a:pt x="834" y="3572"/>
                    </a:lnTo>
                    <a:lnTo>
                      <a:pt x="796" y="3544"/>
                    </a:lnTo>
                    <a:lnTo>
                      <a:pt x="758" y="3514"/>
                    </a:lnTo>
                    <a:lnTo>
                      <a:pt x="720" y="3484"/>
                    </a:lnTo>
                    <a:lnTo>
                      <a:pt x="684" y="3454"/>
                    </a:lnTo>
                    <a:lnTo>
                      <a:pt x="648" y="3422"/>
                    </a:lnTo>
                    <a:lnTo>
                      <a:pt x="612" y="3390"/>
                    </a:lnTo>
                    <a:lnTo>
                      <a:pt x="577" y="3357"/>
                    </a:lnTo>
                    <a:lnTo>
                      <a:pt x="544" y="3323"/>
                    </a:lnTo>
                    <a:lnTo>
                      <a:pt x="511" y="3288"/>
                    </a:lnTo>
                    <a:lnTo>
                      <a:pt x="479" y="3253"/>
                    </a:lnTo>
                    <a:lnTo>
                      <a:pt x="447" y="3217"/>
                    </a:lnTo>
                    <a:lnTo>
                      <a:pt x="416" y="3179"/>
                    </a:lnTo>
                    <a:lnTo>
                      <a:pt x="387" y="3142"/>
                    </a:lnTo>
                    <a:lnTo>
                      <a:pt x="357" y="3103"/>
                    </a:lnTo>
                    <a:lnTo>
                      <a:pt x="330" y="3063"/>
                    </a:lnTo>
                    <a:lnTo>
                      <a:pt x="302" y="3022"/>
                    </a:lnTo>
                    <a:lnTo>
                      <a:pt x="276" y="2980"/>
                    </a:lnTo>
                    <a:lnTo>
                      <a:pt x="251" y="2938"/>
                    </a:lnTo>
                    <a:lnTo>
                      <a:pt x="227" y="2895"/>
                    </a:lnTo>
                    <a:lnTo>
                      <a:pt x="204" y="2851"/>
                    </a:lnTo>
                    <a:lnTo>
                      <a:pt x="183" y="2806"/>
                    </a:lnTo>
                    <a:lnTo>
                      <a:pt x="162" y="2760"/>
                    </a:lnTo>
                    <a:lnTo>
                      <a:pt x="142" y="2713"/>
                    </a:lnTo>
                    <a:lnTo>
                      <a:pt x="107" y="2618"/>
                    </a:lnTo>
                    <a:lnTo>
                      <a:pt x="76" y="2522"/>
                    </a:lnTo>
                    <a:lnTo>
                      <a:pt x="51" y="2425"/>
                    </a:lnTo>
                    <a:lnTo>
                      <a:pt x="32" y="2329"/>
                    </a:lnTo>
                    <a:lnTo>
                      <a:pt x="16" y="2232"/>
                    </a:lnTo>
                    <a:lnTo>
                      <a:pt x="6" y="2136"/>
                    </a:lnTo>
                    <a:lnTo>
                      <a:pt x="1" y="2039"/>
                    </a:lnTo>
                    <a:lnTo>
                      <a:pt x="0" y="1942"/>
                    </a:lnTo>
                    <a:lnTo>
                      <a:pt x="4" y="1846"/>
                    </a:lnTo>
                    <a:lnTo>
                      <a:pt x="13" y="1751"/>
                    </a:lnTo>
                    <a:lnTo>
                      <a:pt x="26" y="1656"/>
                    </a:lnTo>
                    <a:lnTo>
                      <a:pt x="45" y="1562"/>
                    </a:lnTo>
                    <a:lnTo>
                      <a:pt x="67" y="1470"/>
                    </a:lnTo>
                    <a:lnTo>
                      <a:pt x="94" y="1378"/>
                    </a:lnTo>
                    <a:lnTo>
                      <a:pt x="124" y="1289"/>
                    </a:lnTo>
                    <a:lnTo>
                      <a:pt x="160" y="1201"/>
                    </a:lnTo>
                    <a:lnTo>
                      <a:pt x="199" y="1114"/>
                    </a:lnTo>
                    <a:lnTo>
                      <a:pt x="243" y="1029"/>
                    </a:lnTo>
                    <a:lnTo>
                      <a:pt x="290" y="947"/>
                    </a:lnTo>
                    <a:lnTo>
                      <a:pt x="341" y="867"/>
                    </a:lnTo>
                    <a:lnTo>
                      <a:pt x="397" y="790"/>
                    </a:lnTo>
                    <a:lnTo>
                      <a:pt x="455" y="714"/>
                    </a:lnTo>
                    <a:lnTo>
                      <a:pt x="518" y="642"/>
                    </a:lnTo>
                    <a:lnTo>
                      <a:pt x="585" y="572"/>
                    </a:lnTo>
                    <a:lnTo>
                      <a:pt x="655" y="506"/>
                    </a:lnTo>
                    <a:lnTo>
                      <a:pt x="728" y="443"/>
                    </a:lnTo>
                    <a:lnTo>
                      <a:pt x="805" y="384"/>
                    </a:lnTo>
                    <a:lnTo>
                      <a:pt x="886" y="328"/>
                    </a:lnTo>
                    <a:lnTo>
                      <a:pt x="969" y="274"/>
                    </a:lnTo>
                    <a:lnTo>
                      <a:pt x="1056" y="227"/>
                    </a:lnTo>
                    <a:lnTo>
                      <a:pt x="1146" y="182"/>
                    </a:lnTo>
                    <a:lnTo>
                      <a:pt x="1240" y="142"/>
                    </a:lnTo>
                    <a:close/>
                  </a:path>
                </a:pathLst>
              </a:custGeom>
              <a:gradFill>
                <a:gsLst>
                  <a:gs pos="0">
                    <a:srgbClr val="1F497D">
                      <a:lumMod val="50000"/>
                    </a:srgbClr>
                  </a:gs>
                  <a:gs pos="67000">
                    <a:srgbClr val="002060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id-ID" kern="0">
                  <a:solidFill>
                    <a:sysClr val="windowText" lastClr="000000"/>
                  </a:solidFill>
                  <a:latin typeface="Calibri" pitchFamily="-109" charset="0"/>
                  <a:ea typeface="+mn-ea"/>
                  <a:cs typeface="Arial" charset="0"/>
                </a:endParaRPr>
              </a:p>
            </p:txBody>
          </p:sp>
          <p:sp>
            <p:nvSpPr>
              <p:cNvPr id="669" name="Oval 668"/>
              <p:cNvSpPr/>
              <p:nvPr/>
            </p:nvSpPr>
            <p:spPr>
              <a:xfrm flipV="1">
                <a:off x="7128300" y="2206820"/>
                <a:ext cx="687491" cy="623788"/>
              </a:xfrm>
              <a:prstGeom prst="ellipse">
                <a:avLst/>
              </a:prstGeom>
              <a:gradFill>
                <a:gsLst>
                  <a:gs pos="15000">
                    <a:srgbClr val="4F81BD">
                      <a:tint val="66000"/>
                      <a:satMod val="160000"/>
                      <a:alpha val="13000"/>
                    </a:srgbClr>
                  </a:gs>
                  <a:gs pos="100000">
                    <a:srgbClr val="4F81BD">
                      <a:tint val="44500"/>
                      <a:satMod val="160000"/>
                      <a:alpha val="59000"/>
                    </a:srgbClr>
                  </a:gs>
                  <a:gs pos="100000">
                    <a:srgbClr val="4F81BD">
                      <a:tint val="23500"/>
                      <a:satMod val="160000"/>
                      <a:alpha val="41000"/>
                    </a:srgbClr>
                  </a:gs>
                  <a:gs pos="100000">
                    <a:srgbClr val="4F81BD">
                      <a:tint val="23500"/>
                      <a:satMod val="160000"/>
                      <a:alpha val="0"/>
                    </a:srgbClr>
                  </a:gs>
                </a:gsLst>
                <a:lin ang="5400000" scaled="1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1pPr>
                <a:lvl2pPr marL="37931725" indent="-37474525"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2pPr>
                <a:lvl3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3pPr>
                <a:lvl4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4pPr>
                <a:lvl5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5pPr>
                <a:lvl6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6pPr>
                <a:lvl7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7pPr>
                <a:lvl8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8pPr>
                <a:lvl9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sz="1800" kern="0" smtClean="0">
                  <a:solidFill>
                    <a:srgbClr val="FFFFFF"/>
                  </a:solidFill>
                  <a:ea typeface="+mn-ea"/>
                </a:endParaRPr>
              </a:p>
            </p:txBody>
          </p:sp>
        </p:grpSp>
      </p:grpSp>
      <p:grpSp>
        <p:nvGrpSpPr>
          <p:cNvPr id="12" name="Group 17"/>
          <p:cNvGrpSpPr>
            <a:grpSpLocks/>
          </p:cNvGrpSpPr>
          <p:nvPr/>
        </p:nvGrpSpPr>
        <p:grpSpPr bwMode="auto">
          <a:xfrm>
            <a:off x="5601517" y="1285860"/>
            <a:ext cx="644109" cy="919207"/>
            <a:chOff x="4109864" y="2500313"/>
            <a:chExt cx="1078086" cy="1537898"/>
          </a:xfrm>
          <a:effectLst>
            <a:outerShdw blurRad="63500" sx="102000" sy="102000" algn="ctr" rotWithShape="0">
              <a:prstClr val="black">
                <a:alpha val="0"/>
              </a:prstClr>
            </a:outerShdw>
          </a:effectLst>
        </p:grpSpPr>
        <p:grpSp>
          <p:nvGrpSpPr>
            <p:cNvPr id="13" name="Group 4"/>
            <p:cNvGrpSpPr>
              <a:grpSpLocks/>
            </p:cNvGrpSpPr>
            <p:nvPr/>
          </p:nvGrpSpPr>
          <p:grpSpPr bwMode="auto">
            <a:xfrm>
              <a:off x="4109864" y="3335127"/>
              <a:ext cx="703376" cy="703084"/>
              <a:chOff x="5524674" y="1413200"/>
              <a:chExt cx="703376" cy="703084"/>
            </a:xfrm>
          </p:grpSpPr>
          <p:sp>
            <p:nvSpPr>
              <p:cNvPr id="679" name="Oval 678"/>
              <p:cNvSpPr/>
              <p:nvPr/>
            </p:nvSpPr>
            <p:spPr>
              <a:xfrm>
                <a:off x="5524674" y="1413200"/>
                <a:ext cx="703376" cy="703084"/>
              </a:xfrm>
              <a:prstGeom prst="ellipse">
                <a:avLst/>
              </a:prstGeom>
              <a:gradFill>
                <a:gsLst>
                  <a:gs pos="0">
                    <a:srgbClr val="C00000"/>
                  </a:gs>
                  <a:gs pos="100000">
                    <a:srgbClr val="FF0000"/>
                  </a:gs>
                </a:gsLst>
                <a:lin ang="5400000" scaled="0"/>
              </a:gradFill>
              <a:ln w="3175" cap="flat" cmpd="sng" algn="ctr">
                <a:solidFill>
                  <a:srgbClr val="FF0000"/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34000"/>
                  </a:prstClr>
                </a:outerShdw>
              </a:effectLst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kern="0">
                  <a:solidFill>
                    <a:srgbClr val="FFFFFF"/>
                  </a:solidFill>
                  <a:latin typeface="Calibri"/>
                  <a:ea typeface="+mn-ea"/>
                  <a:cs typeface="Arial" charset="0"/>
                </a:endParaRPr>
              </a:p>
            </p:txBody>
          </p:sp>
          <p:sp>
            <p:nvSpPr>
              <p:cNvPr id="680" name="Oval 679"/>
              <p:cNvSpPr/>
              <p:nvPr/>
            </p:nvSpPr>
            <p:spPr>
              <a:xfrm>
                <a:off x="5627879" y="1516361"/>
                <a:ext cx="496967" cy="496762"/>
              </a:xfrm>
              <a:prstGeom prst="ellipse">
                <a:avLst/>
              </a:prstGeom>
              <a:gradFill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5400000" scaled="0"/>
              </a:gradFill>
              <a:ln w="3175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kern="0">
                  <a:solidFill>
                    <a:srgbClr val="FFFFFF"/>
                  </a:solidFill>
                  <a:latin typeface="Calibri"/>
                  <a:ea typeface="+mn-ea"/>
                  <a:cs typeface="Arial" charset="0"/>
                </a:endParaRPr>
              </a:p>
            </p:txBody>
          </p:sp>
          <p:sp>
            <p:nvSpPr>
              <p:cNvPr id="681" name="Oval 680"/>
              <p:cNvSpPr/>
              <p:nvPr/>
            </p:nvSpPr>
            <p:spPr>
              <a:xfrm>
                <a:off x="5766013" y="1651265"/>
                <a:ext cx="228637" cy="226955"/>
              </a:xfrm>
              <a:prstGeom prst="ellipse">
                <a:avLst/>
              </a:prstGeom>
              <a:gradFill>
                <a:gsLst>
                  <a:gs pos="0">
                    <a:srgbClr val="C00000"/>
                  </a:gs>
                  <a:gs pos="100000">
                    <a:srgbClr val="FF0000"/>
                  </a:gs>
                </a:gsLst>
                <a:lin ang="5400000" scaled="0"/>
              </a:gradFill>
              <a:ln w="3175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kern="0">
                  <a:solidFill>
                    <a:srgbClr val="FFFFFF"/>
                  </a:solidFill>
                  <a:latin typeface="Calibri"/>
                  <a:ea typeface="+mn-ea"/>
                  <a:cs typeface="Arial" charset="0"/>
                </a:endParaRPr>
              </a:p>
            </p:txBody>
          </p:sp>
        </p:grpSp>
        <p:sp>
          <p:nvSpPr>
            <p:cNvPr id="675" name="Freeform 57"/>
            <p:cNvSpPr>
              <a:spLocks/>
            </p:cNvSpPr>
            <p:nvPr/>
          </p:nvSpPr>
          <p:spPr bwMode="auto">
            <a:xfrm rot="15813706" flipH="1" flipV="1">
              <a:off x="4658487" y="3156412"/>
              <a:ext cx="255522" cy="803404"/>
            </a:xfrm>
            <a:custGeom>
              <a:avLst/>
              <a:gdLst/>
              <a:ahLst/>
              <a:cxnLst>
                <a:cxn ang="0">
                  <a:pos x="1431" y="75"/>
                </a:cxn>
                <a:cxn ang="0">
                  <a:pos x="1720" y="15"/>
                </a:cxn>
                <a:cxn ang="0">
                  <a:pos x="2010" y="0"/>
                </a:cxn>
                <a:cxn ang="0">
                  <a:pos x="2296" y="27"/>
                </a:cxn>
                <a:cxn ang="0">
                  <a:pos x="2573" y="93"/>
                </a:cxn>
                <a:cxn ang="0">
                  <a:pos x="2838" y="199"/>
                </a:cxn>
                <a:cxn ang="0">
                  <a:pos x="3086" y="341"/>
                </a:cxn>
                <a:cxn ang="0">
                  <a:pos x="3310" y="517"/>
                </a:cxn>
                <a:cxn ang="0">
                  <a:pos x="3509" y="727"/>
                </a:cxn>
                <a:cxn ang="0">
                  <a:pos x="3677" y="968"/>
                </a:cxn>
                <a:cxn ang="0">
                  <a:pos x="3811" y="1239"/>
                </a:cxn>
                <a:cxn ang="0">
                  <a:pos x="3856" y="1364"/>
                </a:cxn>
                <a:cxn ang="0">
                  <a:pos x="3893" y="1490"/>
                </a:cxn>
                <a:cxn ang="0">
                  <a:pos x="3920" y="1617"/>
                </a:cxn>
                <a:cxn ang="0">
                  <a:pos x="3940" y="1744"/>
                </a:cxn>
                <a:cxn ang="0">
                  <a:pos x="3950" y="1871"/>
                </a:cxn>
                <a:cxn ang="0">
                  <a:pos x="3953" y="1998"/>
                </a:cxn>
                <a:cxn ang="0">
                  <a:pos x="3947" y="2123"/>
                </a:cxn>
                <a:cxn ang="0">
                  <a:pos x="3933" y="2249"/>
                </a:cxn>
                <a:cxn ang="0">
                  <a:pos x="3912" y="2372"/>
                </a:cxn>
                <a:cxn ang="0">
                  <a:pos x="3882" y="2494"/>
                </a:cxn>
                <a:cxn ang="0">
                  <a:pos x="3809" y="2742"/>
                </a:cxn>
                <a:cxn ang="0">
                  <a:pos x="3693" y="3249"/>
                </a:cxn>
                <a:cxn ang="0">
                  <a:pos x="3626" y="3756"/>
                </a:cxn>
                <a:cxn ang="0">
                  <a:pos x="3605" y="4264"/>
                </a:cxn>
                <a:cxn ang="0">
                  <a:pos x="3623" y="4770"/>
                </a:cxn>
                <a:cxn ang="0">
                  <a:pos x="3675" y="5276"/>
                </a:cxn>
                <a:cxn ang="0">
                  <a:pos x="3758" y="5780"/>
                </a:cxn>
                <a:cxn ang="0">
                  <a:pos x="3864" y="6282"/>
                </a:cxn>
                <a:cxn ang="0">
                  <a:pos x="3991" y="6781"/>
                </a:cxn>
                <a:cxn ang="0">
                  <a:pos x="4130" y="7278"/>
                </a:cxn>
                <a:cxn ang="0">
                  <a:pos x="4279" y="7771"/>
                </a:cxn>
                <a:cxn ang="0">
                  <a:pos x="4318" y="7913"/>
                </a:cxn>
                <a:cxn ang="0">
                  <a:pos x="4192" y="7656"/>
                </a:cxn>
                <a:cxn ang="0">
                  <a:pos x="3944" y="7179"/>
                </a:cxn>
                <a:cxn ang="0">
                  <a:pos x="3689" y="6718"/>
                </a:cxn>
                <a:cxn ang="0">
                  <a:pos x="3382" y="6202"/>
                </a:cxn>
                <a:cxn ang="0">
                  <a:pos x="3034" y="5663"/>
                </a:cxn>
                <a:cxn ang="0">
                  <a:pos x="2648" y="5130"/>
                </a:cxn>
                <a:cxn ang="0">
                  <a:pos x="2235" y="4634"/>
                </a:cxn>
                <a:cxn ang="0">
                  <a:pos x="1800" y="4206"/>
                </a:cxn>
                <a:cxn ang="0">
                  <a:pos x="1352" y="3875"/>
                </a:cxn>
                <a:cxn ang="0">
                  <a:pos x="1117" y="3749"/>
                </a:cxn>
                <a:cxn ang="0">
                  <a:pos x="993" y="3677"/>
                </a:cxn>
                <a:cxn ang="0">
                  <a:pos x="873" y="3600"/>
                </a:cxn>
                <a:cxn ang="0">
                  <a:pos x="758" y="3514"/>
                </a:cxn>
                <a:cxn ang="0">
                  <a:pos x="648" y="3422"/>
                </a:cxn>
                <a:cxn ang="0">
                  <a:pos x="544" y="3323"/>
                </a:cxn>
                <a:cxn ang="0">
                  <a:pos x="447" y="3217"/>
                </a:cxn>
                <a:cxn ang="0">
                  <a:pos x="357" y="3103"/>
                </a:cxn>
                <a:cxn ang="0">
                  <a:pos x="276" y="2980"/>
                </a:cxn>
                <a:cxn ang="0">
                  <a:pos x="204" y="2851"/>
                </a:cxn>
                <a:cxn ang="0">
                  <a:pos x="142" y="2713"/>
                </a:cxn>
                <a:cxn ang="0">
                  <a:pos x="51" y="2425"/>
                </a:cxn>
                <a:cxn ang="0">
                  <a:pos x="6" y="2136"/>
                </a:cxn>
                <a:cxn ang="0">
                  <a:pos x="4" y="1846"/>
                </a:cxn>
                <a:cxn ang="0">
                  <a:pos x="45" y="1562"/>
                </a:cxn>
                <a:cxn ang="0">
                  <a:pos x="124" y="1289"/>
                </a:cxn>
                <a:cxn ang="0">
                  <a:pos x="243" y="1029"/>
                </a:cxn>
                <a:cxn ang="0">
                  <a:pos x="397" y="790"/>
                </a:cxn>
                <a:cxn ang="0">
                  <a:pos x="585" y="572"/>
                </a:cxn>
                <a:cxn ang="0">
                  <a:pos x="805" y="384"/>
                </a:cxn>
                <a:cxn ang="0">
                  <a:pos x="1056" y="227"/>
                </a:cxn>
              </a:cxnLst>
              <a:rect l="0" t="0" r="r" b="b"/>
              <a:pathLst>
                <a:path w="4330" h="7934">
                  <a:moveTo>
                    <a:pt x="1240" y="142"/>
                  </a:moveTo>
                  <a:lnTo>
                    <a:pt x="1335" y="106"/>
                  </a:lnTo>
                  <a:lnTo>
                    <a:pt x="1431" y="75"/>
                  </a:lnTo>
                  <a:lnTo>
                    <a:pt x="1526" y="51"/>
                  </a:lnTo>
                  <a:lnTo>
                    <a:pt x="1623" y="31"/>
                  </a:lnTo>
                  <a:lnTo>
                    <a:pt x="1720" y="15"/>
                  </a:lnTo>
                  <a:lnTo>
                    <a:pt x="1817" y="5"/>
                  </a:lnTo>
                  <a:lnTo>
                    <a:pt x="1914" y="0"/>
                  </a:lnTo>
                  <a:lnTo>
                    <a:pt x="2010" y="0"/>
                  </a:lnTo>
                  <a:lnTo>
                    <a:pt x="2106" y="4"/>
                  </a:lnTo>
                  <a:lnTo>
                    <a:pt x="2202" y="13"/>
                  </a:lnTo>
                  <a:lnTo>
                    <a:pt x="2296" y="27"/>
                  </a:lnTo>
                  <a:lnTo>
                    <a:pt x="2390" y="44"/>
                  </a:lnTo>
                  <a:lnTo>
                    <a:pt x="2483" y="66"/>
                  </a:lnTo>
                  <a:lnTo>
                    <a:pt x="2573" y="93"/>
                  </a:lnTo>
                  <a:lnTo>
                    <a:pt x="2663" y="124"/>
                  </a:lnTo>
                  <a:lnTo>
                    <a:pt x="2752" y="159"/>
                  </a:lnTo>
                  <a:lnTo>
                    <a:pt x="2838" y="199"/>
                  </a:lnTo>
                  <a:lnTo>
                    <a:pt x="2922" y="242"/>
                  </a:lnTo>
                  <a:lnTo>
                    <a:pt x="3005" y="290"/>
                  </a:lnTo>
                  <a:lnTo>
                    <a:pt x="3086" y="341"/>
                  </a:lnTo>
                  <a:lnTo>
                    <a:pt x="3163" y="396"/>
                  </a:lnTo>
                  <a:lnTo>
                    <a:pt x="3238" y="455"/>
                  </a:lnTo>
                  <a:lnTo>
                    <a:pt x="3310" y="517"/>
                  </a:lnTo>
                  <a:lnTo>
                    <a:pt x="3379" y="585"/>
                  </a:lnTo>
                  <a:lnTo>
                    <a:pt x="3446" y="654"/>
                  </a:lnTo>
                  <a:lnTo>
                    <a:pt x="3509" y="727"/>
                  </a:lnTo>
                  <a:lnTo>
                    <a:pt x="3569" y="805"/>
                  </a:lnTo>
                  <a:lnTo>
                    <a:pt x="3625" y="885"/>
                  </a:lnTo>
                  <a:lnTo>
                    <a:pt x="3677" y="968"/>
                  </a:lnTo>
                  <a:lnTo>
                    <a:pt x="3726" y="1056"/>
                  </a:lnTo>
                  <a:lnTo>
                    <a:pt x="3770" y="1146"/>
                  </a:lnTo>
                  <a:lnTo>
                    <a:pt x="3811" y="1239"/>
                  </a:lnTo>
                  <a:lnTo>
                    <a:pt x="3826" y="1280"/>
                  </a:lnTo>
                  <a:lnTo>
                    <a:pt x="3842" y="1322"/>
                  </a:lnTo>
                  <a:lnTo>
                    <a:pt x="3856" y="1364"/>
                  </a:lnTo>
                  <a:lnTo>
                    <a:pt x="3869" y="1406"/>
                  </a:lnTo>
                  <a:lnTo>
                    <a:pt x="3881" y="1448"/>
                  </a:lnTo>
                  <a:lnTo>
                    <a:pt x="3893" y="1490"/>
                  </a:lnTo>
                  <a:lnTo>
                    <a:pt x="3903" y="1533"/>
                  </a:lnTo>
                  <a:lnTo>
                    <a:pt x="3912" y="1574"/>
                  </a:lnTo>
                  <a:lnTo>
                    <a:pt x="3920" y="1617"/>
                  </a:lnTo>
                  <a:lnTo>
                    <a:pt x="3927" y="1659"/>
                  </a:lnTo>
                  <a:lnTo>
                    <a:pt x="3935" y="1702"/>
                  </a:lnTo>
                  <a:lnTo>
                    <a:pt x="3940" y="1744"/>
                  </a:lnTo>
                  <a:lnTo>
                    <a:pt x="3944" y="1787"/>
                  </a:lnTo>
                  <a:lnTo>
                    <a:pt x="3948" y="1828"/>
                  </a:lnTo>
                  <a:lnTo>
                    <a:pt x="3950" y="1871"/>
                  </a:lnTo>
                  <a:lnTo>
                    <a:pt x="3952" y="1913"/>
                  </a:lnTo>
                  <a:lnTo>
                    <a:pt x="3953" y="1956"/>
                  </a:lnTo>
                  <a:lnTo>
                    <a:pt x="3953" y="1998"/>
                  </a:lnTo>
                  <a:lnTo>
                    <a:pt x="3952" y="2040"/>
                  </a:lnTo>
                  <a:lnTo>
                    <a:pt x="3950" y="2081"/>
                  </a:lnTo>
                  <a:lnTo>
                    <a:pt x="3947" y="2123"/>
                  </a:lnTo>
                  <a:lnTo>
                    <a:pt x="3944" y="2165"/>
                  </a:lnTo>
                  <a:lnTo>
                    <a:pt x="3939" y="2207"/>
                  </a:lnTo>
                  <a:lnTo>
                    <a:pt x="3933" y="2249"/>
                  </a:lnTo>
                  <a:lnTo>
                    <a:pt x="3927" y="2290"/>
                  </a:lnTo>
                  <a:lnTo>
                    <a:pt x="3920" y="2331"/>
                  </a:lnTo>
                  <a:lnTo>
                    <a:pt x="3912" y="2372"/>
                  </a:lnTo>
                  <a:lnTo>
                    <a:pt x="3903" y="2413"/>
                  </a:lnTo>
                  <a:lnTo>
                    <a:pt x="3894" y="2453"/>
                  </a:lnTo>
                  <a:lnTo>
                    <a:pt x="3882" y="2494"/>
                  </a:lnTo>
                  <a:lnTo>
                    <a:pt x="3871" y="2533"/>
                  </a:lnTo>
                  <a:lnTo>
                    <a:pt x="3859" y="2573"/>
                  </a:lnTo>
                  <a:lnTo>
                    <a:pt x="3809" y="2742"/>
                  </a:lnTo>
                  <a:lnTo>
                    <a:pt x="3764" y="2911"/>
                  </a:lnTo>
                  <a:lnTo>
                    <a:pt x="3725" y="3080"/>
                  </a:lnTo>
                  <a:lnTo>
                    <a:pt x="3693" y="3249"/>
                  </a:lnTo>
                  <a:lnTo>
                    <a:pt x="3665" y="3418"/>
                  </a:lnTo>
                  <a:lnTo>
                    <a:pt x="3644" y="3587"/>
                  </a:lnTo>
                  <a:lnTo>
                    <a:pt x="3626" y="3756"/>
                  </a:lnTo>
                  <a:lnTo>
                    <a:pt x="3614" y="3925"/>
                  </a:lnTo>
                  <a:lnTo>
                    <a:pt x="3607" y="4095"/>
                  </a:lnTo>
                  <a:lnTo>
                    <a:pt x="3605" y="4264"/>
                  </a:lnTo>
                  <a:lnTo>
                    <a:pt x="3607" y="4432"/>
                  </a:lnTo>
                  <a:lnTo>
                    <a:pt x="3613" y="4602"/>
                  </a:lnTo>
                  <a:lnTo>
                    <a:pt x="3623" y="4770"/>
                  </a:lnTo>
                  <a:lnTo>
                    <a:pt x="3637" y="4939"/>
                  </a:lnTo>
                  <a:lnTo>
                    <a:pt x="3655" y="5108"/>
                  </a:lnTo>
                  <a:lnTo>
                    <a:pt x="3675" y="5276"/>
                  </a:lnTo>
                  <a:lnTo>
                    <a:pt x="3700" y="5444"/>
                  </a:lnTo>
                  <a:lnTo>
                    <a:pt x="3727" y="5613"/>
                  </a:lnTo>
                  <a:lnTo>
                    <a:pt x="3758" y="5780"/>
                  </a:lnTo>
                  <a:lnTo>
                    <a:pt x="3791" y="5947"/>
                  </a:lnTo>
                  <a:lnTo>
                    <a:pt x="3826" y="6115"/>
                  </a:lnTo>
                  <a:lnTo>
                    <a:pt x="3864" y="6282"/>
                  </a:lnTo>
                  <a:lnTo>
                    <a:pt x="3905" y="6448"/>
                  </a:lnTo>
                  <a:lnTo>
                    <a:pt x="3947" y="6616"/>
                  </a:lnTo>
                  <a:lnTo>
                    <a:pt x="3991" y="6781"/>
                  </a:lnTo>
                  <a:lnTo>
                    <a:pt x="4036" y="6947"/>
                  </a:lnTo>
                  <a:lnTo>
                    <a:pt x="4082" y="7113"/>
                  </a:lnTo>
                  <a:lnTo>
                    <a:pt x="4130" y="7278"/>
                  </a:lnTo>
                  <a:lnTo>
                    <a:pt x="4179" y="7442"/>
                  </a:lnTo>
                  <a:lnTo>
                    <a:pt x="4229" y="7606"/>
                  </a:lnTo>
                  <a:lnTo>
                    <a:pt x="4279" y="7771"/>
                  </a:lnTo>
                  <a:lnTo>
                    <a:pt x="4330" y="7934"/>
                  </a:lnTo>
                  <a:lnTo>
                    <a:pt x="4329" y="7933"/>
                  </a:lnTo>
                  <a:lnTo>
                    <a:pt x="4318" y="7913"/>
                  </a:lnTo>
                  <a:lnTo>
                    <a:pt x="4299" y="7873"/>
                  </a:lnTo>
                  <a:lnTo>
                    <a:pt x="4271" y="7817"/>
                  </a:lnTo>
                  <a:lnTo>
                    <a:pt x="4192" y="7656"/>
                  </a:lnTo>
                  <a:lnTo>
                    <a:pt x="4081" y="7441"/>
                  </a:lnTo>
                  <a:lnTo>
                    <a:pt x="4016" y="7316"/>
                  </a:lnTo>
                  <a:lnTo>
                    <a:pt x="3944" y="7179"/>
                  </a:lnTo>
                  <a:lnTo>
                    <a:pt x="3864" y="7033"/>
                  </a:lnTo>
                  <a:lnTo>
                    <a:pt x="3779" y="6879"/>
                  </a:lnTo>
                  <a:lnTo>
                    <a:pt x="3689" y="6718"/>
                  </a:lnTo>
                  <a:lnTo>
                    <a:pt x="3592" y="6550"/>
                  </a:lnTo>
                  <a:lnTo>
                    <a:pt x="3490" y="6378"/>
                  </a:lnTo>
                  <a:lnTo>
                    <a:pt x="3382" y="6202"/>
                  </a:lnTo>
                  <a:lnTo>
                    <a:pt x="3270" y="6024"/>
                  </a:lnTo>
                  <a:lnTo>
                    <a:pt x="3154" y="5843"/>
                  </a:lnTo>
                  <a:lnTo>
                    <a:pt x="3034" y="5663"/>
                  </a:lnTo>
                  <a:lnTo>
                    <a:pt x="2908" y="5483"/>
                  </a:lnTo>
                  <a:lnTo>
                    <a:pt x="2780" y="5305"/>
                  </a:lnTo>
                  <a:lnTo>
                    <a:pt x="2648" y="5130"/>
                  </a:lnTo>
                  <a:lnTo>
                    <a:pt x="2513" y="4960"/>
                  </a:lnTo>
                  <a:lnTo>
                    <a:pt x="2375" y="4793"/>
                  </a:lnTo>
                  <a:lnTo>
                    <a:pt x="2235" y="4634"/>
                  </a:lnTo>
                  <a:lnTo>
                    <a:pt x="2092" y="4482"/>
                  </a:lnTo>
                  <a:lnTo>
                    <a:pt x="1947" y="4339"/>
                  </a:lnTo>
                  <a:lnTo>
                    <a:pt x="1800" y="4206"/>
                  </a:lnTo>
                  <a:lnTo>
                    <a:pt x="1652" y="4083"/>
                  </a:lnTo>
                  <a:lnTo>
                    <a:pt x="1503" y="3973"/>
                  </a:lnTo>
                  <a:lnTo>
                    <a:pt x="1352" y="3875"/>
                  </a:lnTo>
                  <a:lnTo>
                    <a:pt x="1201" y="3792"/>
                  </a:lnTo>
                  <a:lnTo>
                    <a:pt x="1159" y="3771"/>
                  </a:lnTo>
                  <a:lnTo>
                    <a:pt x="1117" y="3749"/>
                  </a:lnTo>
                  <a:lnTo>
                    <a:pt x="1075" y="3725"/>
                  </a:lnTo>
                  <a:lnTo>
                    <a:pt x="1034" y="3702"/>
                  </a:lnTo>
                  <a:lnTo>
                    <a:pt x="993" y="3677"/>
                  </a:lnTo>
                  <a:lnTo>
                    <a:pt x="953" y="3652"/>
                  </a:lnTo>
                  <a:lnTo>
                    <a:pt x="912" y="3626"/>
                  </a:lnTo>
                  <a:lnTo>
                    <a:pt x="873" y="3600"/>
                  </a:lnTo>
                  <a:lnTo>
                    <a:pt x="834" y="3572"/>
                  </a:lnTo>
                  <a:lnTo>
                    <a:pt x="796" y="3544"/>
                  </a:lnTo>
                  <a:lnTo>
                    <a:pt x="758" y="3514"/>
                  </a:lnTo>
                  <a:lnTo>
                    <a:pt x="720" y="3484"/>
                  </a:lnTo>
                  <a:lnTo>
                    <a:pt x="684" y="3454"/>
                  </a:lnTo>
                  <a:lnTo>
                    <a:pt x="648" y="3422"/>
                  </a:lnTo>
                  <a:lnTo>
                    <a:pt x="612" y="3390"/>
                  </a:lnTo>
                  <a:lnTo>
                    <a:pt x="577" y="3357"/>
                  </a:lnTo>
                  <a:lnTo>
                    <a:pt x="544" y="3323"/>
                  </a:lnTo>
                  <a:lnTo>
                    <a:pt x="511" y="3288"/>
                  </a:lnTo>
                  <a:lnTo>
                    <a:pt x="479" y="3253"/>
                  </a:lnTo>
                  <a:lnTo>
                    <a:pt x="447" y="3217"/>
                  </a:lnTo>
                  <a:lnTo>
                    <a:pt x="416" y="3179"/>
                  </a:lnTo>
                  <a:lnTo>
                    <a:pt x="387" y="3142"/>
                  </a:lnTo>
                  <a:lnTo>
                    <a:pt x="357" y="3103"/>
                  </a:lnTo>
                  <a:lnTo>
                    <a:pt x="330" y="3063"/>
                  </a:lnTo>
                  <a:lnTo>
                    <a:pt x="302" y="3022"/>
                  </a:lnTo>
                  <a:lnTo>
                    <a:pt x="276" y="2980"/>
                  </a:lnTo>
                  <a:lnTo>
                    <a:pt x="251" y="2938"/>
                  </a:lnTo>
                  <a:lnTo>
                    <a:pt x="227" y="2895"/>
                  </a:lnTo>
                  <a:lnTo>
                    <a:pt x="204" y="2851"/>
                  </a:lnTo>
                  <a:lnTo>
                    <a:pt x="183" y="2806"/>
                  </a:lnTo>
                  <a:lnTo>
                    <a:pt x="162" y="2760"/>
                  </a:lnTo>
                  <a:lnTo>
                    <a:pt x="142" y="2713"/>
                  </a:lnTo>
                  <a:lnTo>
                    <a:pt x="107" y="2618"/>
                  </a:lnTo>
                  <a:lnTo>
                    <a:pt x="76" y="2522"/>
                  </a:lnTo>
                  <a:lnTo>
                    <a:pt x="51" y="2425"/>
                  </a:lnTo>
                  <a:lnTo>
                    <a:pt x="32" y="2329"/>
                  </a:lnTo>
                  <a:lnTo>
                    <a:pt x="16" y="2232"/>
                  </a:lnTo>
                  <a:lnTo>
                    <a:pt x="6" y="2136"/>
                  </a:lnTo>
                  <a:lnTo>
                    <a:pt x="1" y="2039"/>
                  </a:lnTo>
                  <a:lnTo>
                    <a:pt x="0" y="1942"/>
                  </a:lnTo>
                  <a:lnTo>
                    <a:pt x="4" y="1846"/>
                  </a:lnTo>
                  <a:lnTo>
                    <a:pt x="13" y="1751"/>
                  </a:lnTo>
                  <a:lnTo>
                    <a:pt x="26" y="1656"/>
                  </a:lnTo>
                  <a:lnTo>
                    <a:pt x="45" y="1562"/>
                  </a:lnTo>
                  <a:lnTo>
                    <a:pt x="67" y="1470"/>
                  </a:lnTo>
                  <a:lnTo>
                    <a:pt x="94" y="1378"/>
                  </a:lnTo>
                  <a:lnTo>
                    <a:pt x="124" y="1289"/>
                  </a:lnTo>
                  <a:lnTo>
                    <a:pt x="160" y="1201"/>
                  </a:lnTo>
                  <a:lnTo>
                    <a:pt x="199" y="1114"/>
                  </a:lnTo>
                  <a:lnTo>
                    <a:pt x="243" y="1029"/>
                  </a:lnTo>
                  <a:lnTo>
                    <a:pt x="290" y="947"/>
                  </a:lnTo>
                  <a:lnTo>
                    <a:pt x="341" y="867"/>
                  </a:lnTo>
                  <a:lnTo>
                    <a:pt x="397" y="790"/>
                  </a:lnTo>
                  <a:lnTo>
                    <a:pt x="455" y="714"/>
                  </a:lnTo>
                  <a:lnTo>
                    <a:pt x="518" y="642"/>
                  </a:lnTo>
                  <a:lnTo>
                    <a:pt x="585" y="572"/>
                  </a:lnTo>
                  <a:lnTo>
                    <a:pt x="655" y="506"/>
                  </a:lnTo>
                  <a:lnTo>
                    <a:pt x="728" y="443"/>
                  </a:lnTo>
                  <a:lnTo>
                    <a:pt x="805" y="384"/>
                  </a:lnTo>
                  <a:lnTo>
                    <a:pt x="886" y="328"/>
                  </a:lnTo>
                  <a:lnTo>
                    <a:pt x="969" y="274"/>
                  </a:lnTo>
                  <a:lnTo>
                    <a:pt x="1056" y="227"/>
                  </a:lnTo>
                  <a:lnTo>
                    <a:pt x="1146" y="182"/>
                  </a:lnTo>
                  <a:lnTo>
                    <a:pt x="1240" y="142"/>
                  </a:lnTo>
                  <a:close/>
                </a:path>
              </a:pathLst>
            </a:custGeom>
            <a:solidFill>
              <a:sysClr val="windowText" lastClr="000000">
                <a:lumMod val="95000"/>
                <a:lumOff val="5000"/>
                <a:alpha val="25000"/>
              </a:sys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kern="0">
                <a:solidFill>
                  <a:sysClr val="windowText" lastClr="000000"/>
                </a:solidFill>
                <a:latin typeface="Calibri" pitchFamily="-109" charset="0"/>
                <a:ea typeface="+mn-ea"/>
                <a:cs typeface="Arial" charset="0"/>
              </a:endParaRPr>
            </a:p>
          </p:txBody>
        </p:sp>
        <p:grpSp>
          <p:nvGrpSpPr>
            <p:cNvPr id="14" name="Group 133"/>
            <p:cNvGrpSpPr>
              <a:grpSpLocks/>
            </p:cNvGrpSpPr>
            <p:nvPr/>
          </p:nvGrpSpPr>
          <p:grpSpPr bwMode="auto">
            <a:xfrm flipH="1">
              <a:off x="4435355" y="2500313"/>
              <a:ext cx="650979" cy="1241111"/>
              <a:chOff x="7001096" y="2143116"/>
              <a:chExt cx="1000276" cy="1833550"/>
            </a:xfrm>
          </p:grpSpPr>
          <p:sp>
            <p:nvSpPr>
              <p:cNvPr id="677" name="Freeform 57"/>
              <p:cNvSpPr>
                <a:spLocks/>
              </p:cNvSpPr>
              <p:nvPr/>
            </p:nvSpPr>
            <p:spPr bwMode="auto">
              <a:xfrm>
                <a:off x="7001096" y="2143116"/>
                <a:ext cx="1000276" cy="1833550"/>
              </a:xfrm>
              <a:custGeom>
                <a:avLst/>
                <a:gdLst/>
                <a:ahLst/>
                <a:cxnLst>
                  <a:cxn ang="0">
                    <a:pos x="1431" y="75"/>
                  </a:cxn>
                  <a:cxn ang="0">
                    <a:pos x="1720" y="15"/>
                  </a:cxn>
                  <a:cxn ang="0">
                    <a:pos x="2010" y="0"/>
                  </a:cxn>
                  <a:cxn ang="0">
                    <a:pos x="2296" y="27"/>
                  </a:cxn>
                  <a:cxn ang="0">
                    <a:pos x="2573" y="93"/>
                  </a:cxn>
                  <a:cxn ang="0">
                    <a:pos x="2838" y="199"/>
                  </a:cxn>
                  <a:cxn ang="0">
                    <a:pos x="3086" y="341"/>
                  </a:cxn>
                  <a:cxn ang="0">
                    <a:pos x="3310" y="517"/>
                  </a:cxn>
                  <a:cxn ang="0">
                    <a:pos x="3509" y="727"/>
                  </a:cxn>
                  <a:cxn ang="0">
                    <a:pos x="3677" y="968"/>
                  </a:cxn>
                  <a:cxn ang="0">
                    <a:pos x="3811" y="1239"/>
                  </a:cxn>
                  <a:cxn ang="0">
                    <a:pos x="3856" y="1364"/>
                  </a:cxn>
                  <a:cxn ang="0">
                    <a:pos x="3893" y="1490"/>
                  </a:cxn>
                  <a:cxn ang="0">
                    <a:pos x="3920" y="1617"/>
                  </a:cxn>
                  <a:cxn ang="0">
                    <a:pos x="3940" y="1744"/>
                  </a:cxn>
                  <a:cxn ang="0">
                    <a:pos x="3950" y="1871"/>
                  </a:cxn>
                  <a:cxn ang="0">
                    <a:pos x="3953" y="1998"/>
                  </a:cxn>
                  <a:cxn ang="0">
                    <a:pos x="3947" y="2123"/>
                  </a:cxn>
                  <a:cxn ang="0">
                    <a:pos x="3933" y="2249"/>
                  </a:cxn>
                  <a:cxn ang="0">
                    <a:pos x="3912" y="2372"/>
                  </a:cxn>
                  <a:cxn ang="0">
                    <a:pos x="3882" y="2494"/>
                  </a:cxn>
                  <a:cxn ang="0">
                    <a:pos x="3809" y="2742"/>
                  </a:cxn>
                  <a:cxn ang="0">
                    <a:pos x="3693" y="3249"/>
                  </a:cxn>
                  <a:cxn ang="0">
                    <a:pos x="3626" y="3756"/>
                  </a:cxn>
                  <a:cxn ang="0">
                    <a:pos x="3605" y="4264"/>
                  </a:cxn>
                  <a:cxn ang="0">
                    <a:pos x="3623" y="4770"/>
                  </a:cxn>
                  <a:cxn ang="0">
                    <a:pos x="3675" y="5276"/>
                  </a:cxn>
                  <a:cxn ang="0">
                    <a:pos x="3758" y="5780"/>
                  </a:cxn>
                  <a:cxn ang="0">
                    <a:pos x="3864" y="6282"/>
                  </a:cxn>
                  <a:cxn ang="0">
                    <a:pos x="3991" y="6781"/>
                  </a:cxn>
                  <a:cxn ang="0">
                    <a:pos x="4130" y="7278"/>
                  </a:cxn>
                  <a:cxn ang="0">
                    <a:pos x="4279" y="7771"/>
                  </a:cxn>
                  <a:cxn ang="0">
                    <a:pos x="4318" y="7913"/>
                  </a:cxn>
                  <a:cxn ang="0">
                    <a:pos x="4192" y="7656"/>
                  </a:cxn>
                  <a:cxn ang="0">
                    <a:pos x="3944" y="7179"/>
                  </a:cxn>
                  <a:cxn ang="0">
                    <a:pos x="3689" y="6718"/>
                  </a:cxn>
                  <a:cxn ang="0">
                    <a:pos x="3382" y="6202"/>
                  </a:cxn>
                  <a:cxn ang="0">
                    <a:pos x="3034" y="5663"/>
                  </a:cxn>
                  <a:cxn ang="0">
                    <a:pos x="2648" y="5130"/>
                  </a:cxn>
                  <a:cxn ang="0">
                    <a:pos x="2235" y="4634"/>
                  </a:cxn>
                  <a:cxn ang="0">
                    <a:pos x="1800" y="4206"/>
                  </a:cxn>
                  <a:cxn ang="0">
                    <a:pos x="1352" y="3875"/>
                  </a:cxn>
                  <a:cxn ang="0">
                    <a:pos x="1117" y="3749"/>
                  </a:cxn>
                  <a:cxn ang="0">
                    <a:pos x="993" y="3677"/>
                  </a:cxn>
                  <a:cxn ang="0">
                    <a:pos x="873" y="3600"/>
                  </a:cxn>
                  <a:cxn ang="0">
                    <a:pos x="758" y="3514"/>
                  </a:cxn>
                  <a:cxn ang="0">
                    <a:pos x="648" y="3422"/>
                  </a:cxn>
                  <a:cxn ang="0">
                    <a:pos x="544" y="3323"/>
                  </a:cxn>
                  <a:cxn ang="0">
                    <a:pos x="447" y="3217"/>
                  </a:cxn>
                  <a:cxn ang="0">
                    <a:pos x="357" y="3103"/>
                  </a:cxn>
                  <a:cxn ang="0">
                    <a:pos x="276" y="2980"/>
                  </a:cxn>
                  <a:cxn ang="0">
                    <a:pos x="204" y="2851"/>
                  </a:cxn>
                  <a:cxn ang="0">
                    <a:pos x="142" y="2713"/>
                  </a:cxn>
                  <a:cxn ang="0">
                    <a:pos x="51" y="2425"/>
                  </a:cxn>
                  <a:cxn ang="0">
                    <a:pos x="6" y="2136"/>
                  </a:cxn>
                  <a:cxn ang="0">
                    <a:pos x="4" y="1846"/>
                  </a:cxn>
                  <a:cxn ang="0">
                    <a:pos x="45" y="1562"/>
                  </a:cxn>
                  <a:cxn ang="0">
                    <a:pos x="124" y="1289"/>
                  </a:cxn>
                  <a:cxn ang="0">
                    <a:pos x="243" y="1029"/>
                  </a:cxn>
                  <a:cxn ang="0">
                    <a:pos x="397" y="790"/>
                  </a:cxn>
                  <a:cxn ang="0">
                    <a:pos x="585" y="572"/>
                  </a:cxn>
                  <a:cxn ang="0">
                    <a:pos x="805" y="384"/>
                  </a:cxn>
                  <a:cxn ang="0">
                    <a:pos x="1056" y="227"/>
                  </a:cxn>
                </a:cxnLst>
                <a:rect l="0" t="0" r="r" b="b"/>
                <a:pathLst>
                  <a:path w="4330" h="7934">
                    <a:moveTo>
                      <a:pt x="1240" y="142"/>
                    </a:moveTo>
                    <a:lnTo>
                      <a:pt x="1335" y="106"/>
                    </a:lnTo>
                    <a:lnTo>
                      <a:pt x="1431" y="75"/>
                    </a:lnTo>
                    <a:lnTo>
                      <a:pt x="1526" y="51"/>
                    </a:lnTo>
                    <a:lnTo>
                      <a:pt x="1623" y="31"/>
                    </a:lnTo>
                    <a:lnTo>
                      <a:pt x="1720" y="15"/>
                    </a:lnTo>
                    <a:lnTo>
                      <a:pt x="1817" y="5"/>
                    </a:lnTo>
                    <a:lnTo>
                      <a:pt x="1914" y="0"/>
                    </a:lnTo>
                    <a:lnTo>
                      <a:pt x="2010" y="0"/>
                    </a:lnTo>
                    <a:lnTo>
                      <a:pt x="2106" y="4"/>
                    </a:lnTo>
                    <a:lnTo>
                      <a:pt x="2202" y="13"/>
                    </a:lnTo>
                    <a:lnTo>
                      <a:pt x="2296" y="27"/>
                    </a:lnTo>
                    <a:lnTo>
                      <a:pt x="2390" y="44"/>
                    </a:lnTo>
                    <a:lnTo>
                      <a:pt x="2483" y="66"/>
                    </a:lnTo>
                    <a:lnTo>
                      <a:pt x="2573" y="93"/>
                    </a:lnTo>
                    <a:lnTo>
                      <a:pt x="2663" y="124"/>
                    </a:lnTo>
                    <a:lnTo>
                      <a:pt x="2752" y="159"/>
                    </a:lnTo>
                    <a:lnTo>
                      <a:pt x="2838" y="199"/>
                    </a:lnTo>
                    <a:lnTo>
                      <a:pt x="2922" y="242"/>
                    </a:lnTo>
                    <a:lnTo>
                      <a:pt x="3005" y="290"/>
                    </a:lnTo>
                    <a:lnTo>
                      <a:pt x="3086" y="341"/>
                    </a:lnTo>
                    <a:lnTo>
                      <a:pt x="3163" y="396"/>
                    </a:lnTo>
                    <a:lnTo>
                      <a:pt x="3238" y="455"/>
                    </a:lnTo>
                    <a:lnTo>
                      <a:pt x="3310" y="517"/>
                    </a:lnTo>
                    <a:lnTo>
                      <a:pt x="3379" y="585"/>
                    </a:lnTo>
                    <a:lnTo>
                      <a:pt x="3446" y="654"/>
                    </a:lnTo>
                    <a:lnTo>
                      <a:pt x="3509" y="727"/>
                    </a:lnTo>
                    <a:lnTo>
                      <a:pt x="3569" y="805"/>
                    </a:lnTo>
                    <a:lnTo>
                      <a:pt x="3625" y="885"/>
                    </a:lnTo>
                    <a:lnTo>
                      <a:pt x="3677" y="968"/>
                    </a:lnTo>
                    <a:lnTo>
                      <a:pt x="3726" y="1056"/>
                    </a:lnTo>
                    <a:lnTo>
                      <a:pt x="3770" y="1146"/>
                    </a:lnTo>
                    <a:lnTo>
                      <a:pt x="3811" y="1239"/>
                    </a:lnTo>
                    <a:lnTo>
                      <a:pt x="3826" y="1280"/>
                    </a:lnTo>
                    <a:lnTo>
                      <a:pt x="3842" y="1322"/>
                    </a:lnTo>
                    <a:lnTo>
                      <a:pt x="3856" y="1364"/>
                    </a:lnTo>
                    <a:lnTo>
                      <a:pt x="3869" y="1406"/>
                    </a:lnTo>
                    <a:lnTo>
                      <a:pt x="3881" y="1448"/>
                    </a:lnTo>
                    <a:lnTo>
                      <a:pt x="3893" y="1490"/>
                    </a:lnTo>
                    <a:lnTo>
                      <a:pt x="3903" y="1533"/>
                    </a:lnTo>
                    <a:lnTo>
                      <a:pt x="3912" y="1574"/>
                    </a:lnTo>
                    <a:lnTo>
                      <a:pt x="3920" y="1617"/>
                    </a:lnTo>
                    <a:lnTo>
                      <a:pt x="3927" y="1659"/>
                    </a:lnTo>
                    <a:lnTo>
                      <a:pt x="3935" y="1702"/>
                    </a:lnTo>
                    <a:lnTo>
                      <a:pt x="3940" y="1744"/>
                    </a:lnTo>
                    <a:lnTo>
                      <a:pt x="3944" y="1787"/>
                    </a:lnTo>
                    <a:lnTo>
                      <a:pt x="3948" y="1828"/>
                    </a:lnTo>
                    <a:lnTo>
                      <a:pt x="3950" y="1871"/>
                    </a:lnTo>
                    <a:lnTo>
                      <a:pt x="3952" y="1913"/>
                    </a:lnTo>
                    <a:lnTo>
                      <a:pt x="3953" y="1956"/>
                    </a:lnTo>
                    <a:lnTo>
                      <a:pt x="3953" y="1998"/>
                    </a:lnTo>
                    <a:lnTo>
                      <a:pt x="3952" y="2040"/>
                    </a:lnTo>
                    <a:lnTo>
                      <a:pt x="3950" y="2081"/>
                    </a:lnTo>
                    <a:lnTo>
                      <a:pt x="3947" y="2123"/>
                    </a:lnTo>
                    <a:lnTo>
                      <a:pt x="3944" y="2165"/>
                    </a:lnTo>
                    <a:lnTo>
                      <a:pt x="3939" y="2207"/>
                    </a:lnTo>
                    <a:lnTo>
                      <a:pt x="3933" y="2249"/>
                    </a:lnTo>
                    <a:lnTo>
                      <a:pt x="3927" y="2290"/>
                    </a:lnTo>
                    <a:lnTo>
                      <a:pt x="3920" y="2331"/>
                    </a:lnTo>
                    <a:lnTo>
                      <a:pt x="3912" y="2372"/>
                    </a:lnTo>
                    <a:lnTo>
                      <a:pt x="3903" y="2413"/>
                    </a:lnTo>
                    <a:lnTo>
                      <a:pt x="3894" y="2453"/>
                    </a:lnTo>
                    <a:lnTo>
                      <a:pt x="3882" y="2494"/>
                    </a:lnTo>
                    <a:lnTo>
                      <a:pt x="3871" y="2533"/>
                    </a:lnTo>
                    <a:lnTo>
                      <a:pt x="3859" y="2573"/>
                    </a:lnTo>
                    <a:lnTo>
                      <a:pt x="3809" y="2742"/>
                    </a:lnTo>
                    <a:lnTo>
                      <a:pt x="3764" y="2911"/>
                    </a:lnTo>
                    <a:lnTo>
                      <a:pt x="3725" y="3080"/>
                    </a:lnTo>
                    <a:lnTo>
                      <a:pt x="3693" y="3249"/>
                    </a:lnTo>
                    <a:lnTo>
                      <a:pt x="3665" y="3418"/>
                    </a:lnTo>
                    <a:lnTo>
                      <a:pt x="3644" y="3587"/>
                    </a:lnTo>
                    <a:lnTo>
                      <a:pt x="3626" y="3756"/>
                    </a:lnTo>
                    <a:lnTo>
                      <a:pt x="3614" y="3925"/>
                    </a:lnTo>
                    <a:lnTo>
                      <a:pt x="3607" y="4095"/>
                    </a:lnTo>
                    <a:lnTo>
                      <a:pt x="3605" y="4264"/>
                    </a:lnTo>
                    <a:lnTo>
                      <a:pt x="3607" y="4432"/>
                    </a:lnTo>
                    <a:lnTo>
                      <a:pt x="3613" y="4602"/>
                    </a:lnTo>
                    <a:lnTo>
                      <a:pt x="3623" y="4770"/>
                    </a:lnTo>
                    <a:lnTo>
                      <a:pt x="3637" y="4939"/>
                    </a:lnTo>
                    <a:lnTo>
                      <a:pt x="3655" y="5108"/>
                    </a:lnTo>
                    <a:lnTo>
                      <a:pt x="3675" y="5276"/>
                    </a:lnTo>
                    <a:lnTo>
                      <a:pt x="3700" y="5444"/>
                    </a:lnTo>
                    <a:lnTo>
                      <a:pt x="3727" y="5613"/>
                    </a:lnTo>
                    <a:lnTo>
                      <a:pt x="3758" y="5780"/>
                    </a:lnTo>
                    <a:lnTo>
                      <a:pt x="3791" y="5947"/>
                    </a:lnTo>
                    <a:lnTo>
                      <a:pt x="3826" y="6115"/>
                    </a:lnTo>
                    <a:lnTo>
                      <a:pt x="3864" y="6282"/>
                    </a:lnTo>
                    <a:lnTo>
                      <a:pt x="3905" y="6448"/>
                    </a:lnTo>
                    <a:lnTo>
                      <a:pt x="3947" y="6616"/>
                    </a:lnTo>
                    <a:lnTo>
                      <a:pt x="3991" y="6781"/>
                    </a:lnTo>
                    <a:lnTo>
                      <a:pt x="4036" y="6947"/>
                    </a:lnTo>
                    <a:lnTo>
                      <a:pt x="4082" y="7113"/>
                    </a:lnTo>
                    <a:lnTo>
                      <a:pt x="4130" y="7278"/>
                    </a:lnTo>
                    <a:lnTo>
                      <a:pt x="4179" y="7442"/>
                    </a:lnTo>
                    <a:lnTo>
                      <a:pt x="4229" y="7606"/>
                    </a:lnTo>
                    <a:lnTo>
                      <a:pt x="4279" y="7771"/>
                    </a:lnTo>
                    <a:lnTo>
                      <a:pt x="4330" y="7934"/>
                    </a:lnTo>
                    <a:lnTo>
                      <a:pt x="4329" y="7933"/>
                    </a:lnTo>
                    <a:lnTo>
                      <a:pt x="4318" y="7913"/>
                    </a:lnTo>
                    <a:lnTo>
                      <a:pt x="4299" y="7873"/>
                    </a:lnTo>
                    <a:lnTo>
                      <a:pt x="4271" y="7817"/>
                    </a:lnTo>
                    <a:lnTo>
                      <a:pt x="4192" y="7656"/>
                    </a:lnTo>
                    <a:lnTo>
                      <a:pt x="4081" y="7441"/>
                    </a:lnTo>
                    <a:lnTo>
                      <a:pt x="4016" y="7316"/>
                    </a:lnTo>
                    <a:lnTo>
                      <a:pt x="3944" y="7179"/>
                    </a:lnTo>
                    <a:lnTo>
                      <a:pt x="3864" y="7033"/>
                    </a:lnTo>
                    <a:lnTo>
                      <a:pt x="3779" y="6879"/>
                    </a:lnTo>
                    <a:lnTo>
                      <a:pt x="3689" y="6718"/>
                    </a:lnTo>
                    <a:lnTo>
                      <a:pt x="3592" y="6550"/>
                    </a:lnTo>
                    <a:lnTo>
                      <a:pt x="3490" y="6378"/>
                    </a:lnTo>
                    <a:lnTo>
                      <a:pt x="3382" y="6202"/>
                    </a:lnTo>
                    <a:lnTo>
                      <a:pt x="3270" y="6024"/>
                    </a:lnTo>
                    <a:lnTo>
                      <a:pt x="3154" y="5843"/>
                    </a:lnTo>
                    <a:lnTo>
                      <a:pt x="3034" y="5663"/>
                    </a:lnTo>
                    <a:lnTo>
                      <a:pt x="2908" y="5483"/>
                    </a:lnTo>
                    <a:lnTo>
                      <a:pt x="2780" y="5305"/>
                    </a:lnTo>
                    <a:lnTo>
                      <a:pt x="2648" y="5130"/>
                    </a:lnTo>
                    <a:lnTo>
                      <a:pt x="2513" y="4960"/>
                    </a:lnTo>
                    <a:lnTo>
                      <a:pt x="2375" y="4793"/>
                    </a:lnTo>
                    <a:lnTo>
                      <a:pt x="2235" y="4634"/>
                    </a:lnTo>
                    <a:lnTo>
                      <a:pt x="2092" y="4482"/>
                    </a:lnTo>
                    <a:lnTo>
                      <a:pt x="1947" y="4339"/>
                    </a:lnTo>
                    <a:lnTo>
                      <a:pt x="1800" y="4206"/>
                    </a:lnTo>
                    <a:lnTo>
                      <a:pt x="1652" y="4083"/>
                    </a:lnTo>
                    <a:lnTo>
                      <a:pt x="1503" y="3973"/>
                    </a:lnTo>
                    <a:lnTo>
                      <a:pt x="1352" y="3875"/>
                    </a:lnTo>
                    <a:lnTo>
                      <a:pt x="1201" y="3792"/>
                    </a:lnTo>
                    <a:lnTo>
                      <a:pt x="1159" y="3771"/>
                    </a:lnTo>
                    <a:lnTo>
                      <a:pt x="1117" y="3749"/>
                    </a:lnTo>
                    <a:lnTo>
                      <a:pt x="1075" y="3725"/>
                    </a:lnTo>
                    <a:lnTo>
                      <a:pt x="1034" y="3702"/>
                    </a:lnTo>
                    <a:lnTo>
                      <a:pt x="993" y="3677"/>
                    </a:lnTo>
                    <a:lnTo>
                      <a:pt x="953" y="3652"/>
                    </a:lnTo>
                    <a:lnTo>
                      <a:pt x="912" y="3626"/>
                    </a:lnTo>
                    <a:lnTo>
                      <a:pt x="873" y="3600"/>
                    </a:lnTo>
                    <a:lnTo>
                      <a:pt x="834" y="3572"/>
                    </a:lnTo>
                    <a:lnTo>
                      <a:pt x="796" y="3544"/>
                    </a:lnTo>
                    <a:lnTo>
                      <a:pt x="758" y="3514"/>
                    </a:lnTo>
                    <a:lnTo>
                      <a:pt x="720" y="3484"/>
                    </a:lnTo>
                    <a:lnTo>
                      <a:pt x="684" y="3454"/>
                    </a:lnTo>
                    <a:lnTo>
                      <a:pt x="648" y="3422"/>
                    </a:lnTo>
                    <a:lnTo>
                      <a:pt x="612" y="3390"/>
                    </a:lnTo>
                    <a:lnTo>
                      <a:pt x="577" y="3357"/>
                    </a:lnTo>
                    <a:lnTo>
                      <a:pt x="544" y="3323"/>
                    </a:lnTo>
                    <a:lnTo>
                      <a:pt x="511" y="3288"/>
                    </a:lnTo>
                    <a:lnTo>
                      <a:pt x="479" y="3253"/>
                    </a:lnTo>
                    <a:lnTo>
                      <a:pt x="447" y="3217"/>
                    </a:lnTo>
                    <a:lnTo>
                      <a:pt x="416" y="3179"/>
                    </a:lnTo>
                    <a:lnTo>
                      <a:pt x="387" y="3142"/>
                    </a:lnTo>
                    <a:lnTo>
                      <a:pt x="357" y="3103"/>
                    </a:lnTo>
                    <a:lnTo>
                      <a:pt x="330" y="3063"/>
                    </a:lnTo>
                    <a:lnTo>
                      <a:pt x="302" y="3022"/>
                    </a:lnTo>
                    <a:lnTo>
                      <a:pt x="276" y="2980"/>
                    </a:lnTo>
                    <a:lnTo>
                      <a:pt x="251" y="2938"/>
                    </a:lnTo>
                    <a:lnTo>
                      <a:pt x="227" y="2895"/>
                    </a:lnTo>
                    <a:lnTo>
                      <a:pt x="204" y="2851"/>
                    </a:lnTo>
                    <a:lnTo>
                      <a:pt x="183" y="2806"/>
                    </a:lnTo>
                    <a:lnTo>
                      <a:pt x="162" y="2760"/>
                    </a:lnTo>
                    <a:lnTo>
                      <a:pt x="142" y="2713"/>
                    </a:lnTo>
                    <a:lnTo>
                      <a:pt x="107" y="2618"/>
                    </a:lnTo>
                    <a:lnTo>
                      <a:pt x="76" y="2522"/>
                    </a:lnTo>
                    <a:lnTo>
                      <a:pt x="51" y="2425"/>
                    </a:lnTo>
                    <a:lnTo>
                      <a:pt x="32" y="2329"/>
                    </a:lnTo>
                    <a:lnTo>
                      <a:pt x="16" y="2232"/>
                    </a:lnTo>
                    <a:lnTo>
                      <a:pt x="6" y="2136"/>
                    </a:lnTo>
                    <a:lnTo>
                      <a:pt x="1" y="2039"/>
                    </a:lnTo>
                    <a:lnTo>
                      <a:pt x="0" y="1942"/>
                    </a:lnTo>
                    <a:lnTo>
                      <a:pt x="4" y="1846"/>
                    </a:lnTo>
                    <a:lnTo>
                      <a:pt x="13" y="1751"/>
                    </a:lnTo>
                    <a:lnTo>
                      <a:pt x="26" y="1656"/>
                    </a:lnTo>
                    <a:lnTo>
                      <a:pt x="45" y="1562"/>
                    </a:lnTo>
                    <a:lnTo>
                      <a:pt x="67" y="1470"/>
                    </a:lnTo>
                    <a:lnTo>
                      <a:pt x="94" y="1378"/>
                    </a:lnTo>
                    <a:lnTo>
                      <a:pt x="124" y="1289"/>
                    </a:lnTo>
                    <a:lnTo>
                      <a:pt x="160" y="1201"/>
                    </a:lnTo>
                    <a:lnTo>
                      <a:pt x="199" y="1114"/>
                    </a:lnTo>
                    <a:lnTo>
                      <a:pt x="243" y="1029"/>
                    </a:lnTo>
                    <a:lnTo>
                      <a:pt x="290" y="947"/>
                    </a:lnTo>
                    <a:lnTo>
                      <a:pt x="341" y="867"/>
                    </a:lnTo>
                    <a:lnTo>
                      <a:pt x="397" y="790"/>
                    </a:lnTo>
                    <a:lnTo>
                      <a:pt x="455" y="714"/>
                    </a:lnTo>
                    <a:lnTo>
                      <a:pt x="518" y="642"/>
                    </a:lnTo>
                    <a:lnTo>
                      <a:pt x="585" y="572"/>
                    </a:lnTo>
                    <a:lnTo>
                      <a:pt x="655" y="506"/>
                    </a:lnTo>
                    <a:lnTo>
                      <a:pt x="728" y="443"/>
                    </a:lnTo>
                    <a:lnTo>
                      <a:pt x="805" y="384"/>
                    </a:lnTo>
                    <a:lnTo>
                      <a:pt x="886" y="328"/>
                    </a:lnTo>
                    <a:lnTo>
                      <a:pt x="969" y="274"/>
                    </a:lnTo>
                    <a:lnTo>
                      <a:pt x="1056" y="227"/>
                    </a:lnTo>
                    <a:lnTo>
                      <a:pt x="1146" y="182"/>
                    </a:lnTo>
                    <a:lnTo>
                      <a:pt x="1240" y="142"/>
                    </a:lnTo>
                    <a:close/>
                  </a:path>
                </a:pathLst>
              </a:custGeom>
              <a:gradFill>
                <a:gsLst>
                  <a:gs pos="0">
                    <a:srgbClr val="1F497D">
                      <a:lumMod val="50000"/>
                    </a:srgbClr>
                  </a:gs>
                  <a:gs pos="67000">
                    <a:srgbClr val="002060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id-ID" kern="0">
                  <a:solidFill>
                    <a:sysClr val="windowText" lastClr="000000"/>
                  </a:solidFill>
                  <a:latin typeface="Calibri" pitchFamily="-109" charset="0"/>
                  <a:ea typeface="+mn-ea"/>
                  <a:cs typeface="Arial" charset="0"/>
                </a:endParaRPr>
              </a:p>
            </p:txBody>
          </p:sp>
          <p:sp>
            <p:nvSpPr>
              <p:cNvPr id="678" name="Oval 677"/>
              <p:cNvSpPr/>
              <p:nvPr/>
            </p:nvSpPr>
            <p:spPr>
              <a:xfrm flipV="1">
                <a:off x="7128300" y="2206820"/>
                <a:ext cx="687491" cy="623788"/>
              </a:xfrm>
              <a:prstGeom prst="ellipse">
                <a:avLst/>
              </a:prstGeom>
              <a:gradFill>
                <a:gsLst>
                  <a:gs pos="15000">
                    <a:srgbClr val="4F81BD">
                      <a:tint val="66000"/>
                      <a:satMod val="160000"/>
                      <a:alpha val="13000"/>
                    </a:srgbClr>
                  </a:gs>
                  <a:gs pos="100000">
                    <a:srgbClr val="4F81BD">
                      <a:tint val="44500"/>
                      <a:satMod val="160000"/>
                      <a:alpha val="59000"/>
                    </a:srgbClr>
                  </a:gs>
                  <a:gs pos="100000">
                    <a:srgbClr val="4F81BD">
                      <a:tint val="23500"/>
                      <a:satMod val="160000"/>
                      <a:alpha val="41000"/>
                    </a:srgbClr>
                  </a:gs>
                  <a:gs pos="100000">
                    <a:srgbClr val="4F81BD">
                      <a:tint val="23500"/>
                      <a:satMod val="160000"/>
                      <a:alpha val="0"/>
                    </a:srgbClr>
                  </a:gs>
                </a:gsLst>
                <a:lin ang="5400000" scaled="1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1pPr>
                <a:lvl2pPr marL="37931725" indent="-37474525"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2pPr>
                <a:lvl3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3pPr>
                <a:lvl4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4pPr>
                <a:lvl5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5pPr>
                <a:lvl6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6pPr>
                <a:lvl7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7pPr>
                <a:lvl8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8pPr>
                <a:lvl9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sz="1800" kern="0" smtClean="0">
                  <a:solidFill>
                    <a:srgbClr val="FFFFFF"/>
                  </a:solidFill>
                  <a:ea typeface="+mn-ea"/>
                </a:endParaRPr>
              </a:p>
            </p:txBody>
          </p:sp>
        </p:grpSp>
      </p:grpSp>
      <p:grpSp>
        <p:nvGrpSpPr>
          <p:cNvPr id="15" name="Group 17"/>
          <p:cNvGrpSpPr>
            <a:grpSpLocks/>
          </p:cNvGrpSpPr>
          <p:nvPr/>
        </p:nvGrpSpPr>
        <p:grpSpPr bwMode="auto">
          <a:xfrm>
            <a:off x="4310990" y="2644309"/>
            <a:ext cx="644109" cy="919207"/>
            <a:chOff x="4109864" y="2500313"/>
            <a:chExt cx="1078086" cy="1537898"/>
          </a:xfrm>
          <a:effectLst>
            <a:outerShdw blurRad="63500" sx="102000" sy="102000" algn="ctr" rotWithShape="0">
              <a:prstClr val="black">
                <a:alpha val="0"/>
              </a:prstClr>
            </a:outerShdw>
          </a:effectLst>
        </p:grpSpPr>
        <p:grpSp>
          <p:nvGrpSpPr>
            <p:cNvPr id="16" name="Group 4"/>
            <p:cNvGrpSpPr>
              <a:grpSpLocks/>
            </p:cNvGrpSpPr>
            <p:nvPr/>
          </p:nvGrpSpPr>
          <p:grpSpPr bwMode="auto">
            <a:xfrm>
              <a:off x="4109864" y="3335127"/>
              <a:ext cx="703376" cy="703084"/>
              <a:chOff x="5524674" y="1413200"/>
              <a:chExt cx="703376" cy="703084"/>
            </a:xfrm>
          </p:grpSpPr>
          <p:sp>
            <p:nvSpPr>
              <p:cNvPr id="688" name="Oval 687"/>
              <p:cNvSpPr/>
              <p:nvPr/>
            </p:nvSpPr>
            <p:spPr>
              <a:xfrm>
                <a:off x="5524674" y="1413200"/>
                <a:ext cx="703376" cy="703084"/>
              </a:xfrm>
              <a:prstGeom prst="ellipse">
                <a:avLst/>
              </a:prstGeom>
              <a:gradFill>
                <a:gsLst>
                  <a:gs pos="0">
                    <a:srgbClr val="C00000"/>
                  </a:gs>
                  <a:gs pos="100000">
                    <a:srgbClr val="FF0000"/>
                  </a:gs>
                </a:gsLst>
                <a:lin ang="5400000" scaled="0"/>
              </a:gradFill>
              <a:ln w="3175" cap="flat" cmpd="sng" algn="ctr">
                <a:solidFill>
                  <a:srgbClr val="FF0000"/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34000"/>
                  </a:prstClr>
                </a:outerShdw>
              </a:effectLst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kern="0">
                  <a:solidFill>
                    <a:srgbClr val="FFFFFF"/>
                  </a:solidFill>
                  <a:latin typeface="Calibri"/>
                  <a:ea typeface="+mn-ea"/>
                  <a:cs typeface="Arial" charset="0"/>
                </a:endParaRPr>
              </a:p>
            </p:txBody>
          </p:sp>
          <p:sp>
            <p:nvSpPr>
              <p:cNvPr id="689" name="Oval 688"/>
              <p:cNvSpPr/>
              <p:nvPr/>
            </p:nvSpPr>
            <p:spPr>
              <a:xfrm>
                <a:off x="5627879" y="1516361"/>
                <a:ext cx="496967" cy="496762"/>
              </a:xfrm>
              <a:prstGeom prst="ellipse">
                <a:avLst/>
              </a:prstGeom>
              <a:gradFill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5400000" scaled="0"/>
              </a:gradFill>
              <a:ln w="3175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kern="0">
                  <a:solidFill>
                    <a:srgbClr val="FFFFFF"/>
                  </a:solidFill>
                  <a:latin typeface="Calibri"/>
                  <a:ea typeface="+mn-ea"/>
                  <a:cs typeface="Arial" charset="0"/>
                </a:endParaRPr>
              </a:p>
            </p:txBody>
          </p:sp>
          <p:sp>
            <p:nvSpPr>
              <p:cNvPr id="690" name="Oval 689"/>
              <p:cNvSpPr/>
              <p:nvPr/>
            </p:nvSpPr>
            <p:spPr>
              <a:xfrm>
                <a:off x="5766013" y="1651265"/>
                <a:ext cx="228637" cy="226955"/>
              </a:xfrm>
              <a:prstGeom prst="ellipse">
                <a:avLst/>
              </a:prstGeom>
              <a:gradFill>
                <a:gsLst>
                  <a:gs pos="0">
                    <a:srgbClr val="C00000"/>
                  </a:gs>
                  <a:gs pos="100000">
                    <a:srgbClr val="FF0000"/>
                  </a:gs>
                </a:gsLst>
                <a:lin ang="5400000" scaled="0"/>
              </a:gradFill>
              <a:ln w="3175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kern="0">
                  <a:solidFill>
                    <a:srgbClr val="FFFFFF"/>
                  </a:solidFill>
                  <a:latin typeface="Calibri"/>
                  <a:ea typeface="+mn-ea"/>
                  <a:cs typeface="Arial" charset="0"/>
                </a:endParaRPr>
              </a:p>
            </p:txBody>
          </p:sp>
        </p:grpSp>
        <p:sp>
          <p:nvSpPr>
            <p:cNvPr id="684" name="Freeform 57"/>
            <p:cNvSpPr>
              <a:spLocks/>
            </p:cNvSpPr>
            <p:nvPr/>
          </p:nvSpPr>
          <p:spPr bwMode="auto">
            <a:xfrm rot="15813706" flipH="1" flipV="1">
              <a:off x="4658487" y="3156412"/>
              <a:ext cx="255522" cy="803404"/>
            </a:xfrm>
            <a:custGeom>
              <a:avLst/>
              <a:gdLst/>
              <a:ahLst/>
              <a:cxnLst>
                <a:cxn ang="0">
                  <a:pos x="1431" y="75"/>
                </a:cxn>
                <a:cxn ang="0">
                  <a:pos x="1720" y="15"/>
                </a:cxn>
                <a:cxn ang="0">
                  <a:pos x="2010" y="0"/>
                </a:cxn>
                <a:cxn ang="0">
                  <a:pos x="2296" y="27"/>
                </a:cxn>
                <a:cxn ang="0">
                  <a:pos x="2573" y="93"/>
                </a:cxn>
                <a:cxn ang="0">
                  <a:pos x="2838" y="199"/>
                </a:cxn>
                <a:cxn ang="0">
                  <a:pos x="3086" y="341"/>
                </a:cxn>
                <a:cxn ang="0">
                  <a:pos x="3310" y="517"/>
                </a:cxn>
                <a:cxn ang="0">
                  <a:pos x="3509" y="727"/>
                </a:cxn>
                <a:cxn ang="0">
                  <a:pos x="3677" y="968"/>
                </a:cxn>
                <a:cxn ang="0">
                  <a:pos x="3811" y="1239"/>
                </a:cxn>
                <a:cxn ang="0">
                  <a:pos x="3856" y="1364"/>
                </a:cxn>
                <a:cxn ang="0">
                  <a:pos x="3893" y="1490"/>
                </a:cxn>
                <a:cxn ang="0">
                  <a:pos x="3920" y="1617"/>
                </a:cxn>
                <a:cxn ang="0">
                  <a:pos x="3940" y="1744"/>
                </a:cxn>
                <a:cxn ang="0">
                  <a:pos x="3950" y="1871"/>
                </a:cxn>
                <a:cxn ang="0">
                  <a:pos x="3953" y="1998"/>
                </a:cxn>
                <a:cxn ang="0">
                  <a:pos x="3947" y="2123"/>
                </a:cxn>
                <a:cxn ang="0">
                  <a:pos x="3933" y="2249"/>
                </a:cxn>
                <a:cxn ang="0">
                  <a:pos x="3912" y="2372"/>
                </a:cxn>
                <a:cxn ang="0">
                  <a:pos x="3882" y="2494"/>
                </a:cxn>
                <a:cxn ang="0">
                  <a:pos x="3809" y="2742"/>
                </a:cxn>
                <a:cxn ang="0">
                  <a:pos x="3693" y="3249"/>
                </a:cxn>
                <a:cxn ang="0">
                  <a:pos x="3626" y="3756"/>
                </a:cxn>
                <a:cxn ang="0">
                  <a:pos x="3605" y="4264"/>
                </a:cxn>
                <a:cxn ang="0">
                  <a:pos x="3623" y="4770"/>
                </a:cxn>
                <a:cxn ang="0">
                  <a:pos x="3675" y="5276"/>
                </a:cxn>
                <a:cxn ang="0">
                  <a:pos x="3758" y="5780"/>
                </a:cxn>
                <a:cxn ang="0">
                  <a:pos x="3864" y="6282"/>
                </a:cxn>
                <a:cxn ang="0">
                  <a:pos x="3991" y="6781"/>
                </a:cxn>
                <a:cxn ang="0">
                  <a:pos x="4130" y="7278"/>
                </a:cxn>
                <a:cxn ang="0">
                  <a:pos x="4279" y="7771"/>
                </a:cxn>
                <a:cxn ang="0">
                  <a:pos x="4318" y="7913"/>
                </a:cxn>
                <a:cxn ang="0">
                  <a:pos x="4192" y="7656"/>
                </a:cxn>
                <a:cxn ang="0">
                  <a:pos x="3944" y="7179"/>
                </a:cxn>
                <a:cxn ang="0">
                  <a:pos x="3689" y="6718"/>
                </a:cxn>
                <a:cxn ang="0">
                  <a:pos x="3382" y="6202"/>
                </a:cxn>
                <a:cxn ang="0">
                  <a:pos x="3034" y="5663"/>
                </a:cxn>
                <a:cxn ang="0">
                  <a:pos x="2648" y="5130"/>
                </a:cxn>
                <a:cxn ang="0">
                  <a:pos x="2235" y="4634"/>
                </a:cxn>
                <a:cxn ang="0">
                  <a:pos x="1800" y="4206"/>
                </a:cxn>
                <a:cxn ang="0">
                  <a:pos x="1352" y="3875"/>
                </a:cxn>
                <a:cxn ang="0">
                  <a:pos x="1117" y="3749"/>
                </a:cxn>
                <a:cxn ang="0">
                  <a:pos x="993" y="3677"/>
                </a:cxn>
                <a:cxn ang="0">
                  <a:pos x="873" y="3600"/>
                </a:cxn>
                <a:cxn ang="0">
                  <a:pos x="758" y="3514"/>
                </a:cxn>
                <a:cxn ang="0">
                  <a:pos x="648" y="3422"/>
                </a:cxn>
                <a:cxn ang="0">
                  <a:pos x="544" y="3323"/>
                </a:cxn>
                <a:cxn ang="0">
                  <a:pos x="447" y="3217"/>
                </a:cxn>
                <a:cxn ang="0">
                  <a:pos x="357" y="3103"/>
                </a:cxn>
                <a:cxn ang="0">
                  <a:pos x="276" y="2980"/>
                </a:cxn>
                <a:cxn ang="0">
                  <a:pos x="204" y="2851"/>
                </a:cxn>
                <a:cxn ang="0">
                  <a:pos x="142" y="2713"/>
                </a:cxn>
                <a:cxn ang="0">
                  <a:pos x="51" y="2425"/>
                </a:cxn>
                <a:cxn ang="0">
                  <a:pos x="6" y="2136"/>
                </a:cxn>
                <a:cxn ang="0">
                  <a:pos x="4" y="1846"/>
                </a:cxn>
                <a:cxn ang="0">
                  <a:pos x="45" y="1562"/>
                </a:cxn>
                <a:cxn ang="0">
                  <a:pos x="124" y="1289"/>
                </a:cxn>
                <a:cxn ang="0">
                  <a:pos x="243" y="1029"/>
                </a:cxn>
                <a:cxn ang="0">
                  <a:pos x="397" y="790"/>
                </a:cxn>
                <a:cxn ang="0">
                  <a:pos x="585" y="572"/>
                </a:cxn>
                <a:cxn ang="0">
                  <a:pos x="805" y="384"/>
                </a:cxn>
                <a:cxn ang="0">
                  <a:pos x="1056" y="227"/>
                </a:cxn>
              </a:cxnLst>
              <a:rect l="0" t="0" r="r" b="b"/>
              <a:pathLst>
                <a:path w="4330" h="7934">
                  <a:moveTo>
                    <a:pt x="1240" y="142"/>
                  </a:moveTo>
                  <a:lnTo>
                    <a:pt x="1335" y="106"/>
                  </a:lnTo>
                  <a:lnTo>
                    <a:pt x="1431" y="75"/>
                  </a:lnTo>
                  <a:lnTo>
                    <a:pt x="1526" y="51"/>
                  </a:lnTo>
                  <a:lnTo>
                    <a:pt x="1623" y="31"/>
                  </a:lnTo>
                  <a:lnTo>
                    <a:pt x="1720" y="15"/>
                  </a:lnTo>
                  <a:lnTo>
                    <a:pt x="1817" y="5"/>
                  </a:lnTo>
                  <a:lnTo>
                    <a:pt x="1914" y="0"/>
                  </a:lnTo>
                  <a:lnTo>
                    <a:pt x="2010" y="0"/>
                  </a:lnTo>
                  <a:lnTo>
                    <a:pt x="2106" y="4"/>
                  </a:lnTo>
                  <a:lnTo>
                    <a:pt x="2202" y="13"/>
                  </a:lnTo>
                  <a:lnTo>
                    <a:pt x="2296" y="27"/>
                  </a:lnTo>
                  <a:lnTo>
                    <a:pt x="2390" y="44"/>
                  </a:lnTo>
                  <a:lnTo>
                    <a:pt x="2483" y="66"/>
                  </a:lnTo>
                  <a:lnTo>
                    <a:pt x="2573" y="93"/>
                  </a:lnTo>
                  <a:lnTo>
                    <a:pt x="2663" y="124"/>
                  </a:lnTo>
                  <a:lnTo>
                    <a:pt x="2752" y="159"/>
                  </a:lnTo>
                  <a:lnTo>
                    <a:pt x="2838" y="199"/>
                  </a:lnTo>
                  <a:lnTo>
                    <a:pt x="2922" y="242"/>
                  </a:lnTo>
                  <a:lnTo>
                    <a:pt x="3005" y="290"/>
                  </a:lnTo>
                  <a:lnTo>
                    <a:pt x="3086" y="341"/>
                  </a:lnTo>
                  <a:lnTo>
                    <a:pt x="3163" y="396"/>
                  </a:lnTo>
                  <a:lnTo>
                    <a:pt x="3238" y="455"/>
                  </a:lnTo>
                  <a:lnTo>
                    <a:pt x="3310" y="517"/>
                  </a:lnTo>
                  <a:lnTo>
                    <a:pt x="3379" y="585"/>
                  </a:lnTo>
                  <a:lnTo>
                    <a:pt x="3446" y="654"/>
                  </a:lnTo>
                  <a:lnTo>
                    <a:pt x="3509" y="727"/>
                  </a:lnTo>
                  <a:lnTo>
                    <a:pt x="3569" y="805"/>
                  </a:lnTo>
                  <a:lnTo>
                    <a:pt x="3625" y="885"/>
                  </a:lnTo>
                  <a:lnTo>
                    <a:pt x="3677" y="968"/>
                  </a:lnTo>
                  <a:lnTo>
                    <a:pt x="3726" y="1056"/>
                  </a:lnTo>
                  <a:lnTo>
                    <a:pt x="3770" y="1146"/>
                  </a:lnTo>
                  <a:lnTo>
                    <a:pt x="3811" y="1239"/>
                  </a:lnTo>
                  <a:lnTo>
                    <a:pt x="3826" y="1280"/>
                  </a:lnTo>
                  <a:lnTo>
                    <a:pt x="3842" y="1322"/>
                  </a:lnTo>
                  <a:lnTo>
                    <a:pt x="3856" y="1364"/>
                  </a:lnTo>
                  <a:lnTo>
                    <a:pt x="3869" y="1406"/>
                  </a:lnTo>
                  <a:lnTo>
                    <a:pt x="3881" y="1448"/>
                  </a:lnTo>
                  <a:lnTo>
                    <a:pt x="3893" y="1490"/>
                  </a:lnTo>
                  <a:lnTo>
                    <a:pt x="3903" y="1533"/>
                  </a:lnTo>
                  <a:lnTo>
                    <a:pt x="3912" y="1574"/>
                  </a:lnTo>
                  <a:lnTo>
                    <a:pt x="3920" y="1617"/>
                  </a:lnTo>
                  <a:lnTo>
                    <a:pt x="3927" y="1659"/>
                  </a:lnTo>
                  <a:lnTo>
                    <a:pt x="3935" y="1702"/>
                  </a:lnTo>
                  <a:lnTo>
                    <a:pt x="3940" y="1744"/>
                  </a:lnTo>
                  <a:lnTo>
                    <a:pt x="3944" y="1787"/>
                  </a:lnTo>
                  <a:lnTo>
                    <a:pt x="3948" y="1828"/>
                  </a:lnTo>
                  <a:lnTo>
                    <a:pt x="3950" y="1871"/>
                  </a:lnTo>
                  <a:lnTo>
                    <a:pt x="3952" y="1913"/>
                  </a:lnTo>
                  <a:lnTo>
                    <a:pt x="3953" y="1956"/>
                  </a:lnTo>
                  <a:lnTo>
                    <a:pt x="3953" y="1998"/>
                  </a:lnTo>
                  <a:lnTo>
                    <a:pt x="3952" y="2040"/>
                  </a:lnTo>
                  <a:lnTo>
                    <a:pt x="3950" y="2081"/>
                  </a:lnTo>
                  <a:lnTo>
                    <a:pt x="3947" y="2123"/>
                  </a:lnTo>
                  <a:lnTo>
                    <a:pt x="3944" y="2165"/>
                  </a:lnTo>
                  <a:lnTo>
                    <a:pt x="3939" y="2207"/>
                  </a:lnTo>
                  <a:lnTo>
                    <a:pt x="3933" y="2249"/>
                  </a:lnTo>
                  <a:lnTo>
                    <a:pt x="3927" y="2290"/>
                  </a:lnTo>
                  <a:lnTo>
                    <a:pt x="3920" y="2331"/>
                  </a:lnTo>
                  <a:lnTo>
                    <a:pt x="3912" y="2372"/>
                  </a:lnTo>
                  <a:lnTo>
                    <a:pt x="3903" y="2413"/>
                  </a:lnTo>
                  <a:lnTo>
                    <a:pt x="3894" y="2453"/>
                  </a:lnTo>
                  <a:lnTo>
                    <a:pt x="3882" y="2494"/>
                  </a:lnTo>
                  <a:lnTo>
                    <a:pt x="3871" y="2533"/>
                  </a:lnTo>
                  <a:lnTo>
                    <a:pt x="3859" y="2573"/>
                  </a:lnTo>
                  <a:lnTo>
                    <a:pt x="3809" y="2742"/>
                  </a:lnTo>
                  <a:lnTo>
                    <a:pt x="3764" y="2911"/>
                  </a:lnTo>
                  <a:lnTo>
                    <a:pt x="3725" y="3080"/>
                  </a:lnTo>
                  <a:lnTo>
                    <a:pt x="3693" y="3249"/>
                  </a:lnTo>
                  <a:lnTo>
                    <a:pt x="3665" y="3418"/>
                  </a:lnTo>
                  <a:lnTo>
                    <a:pt x="3644" y="3587"/>
                  </a:lnTo>
                  <a:lnTo>
                    <a:pt x="3626" y="3756"/>
                  </a:lnTo>
                  <a:lnTo>
                    <a:pt x="3614" y="3925"/>
                  </a:lnTo>
                  <a:lnTo>
                    <a:pt x="3607" y="4095"/>
                  </a:lnTo>
                  <a:lnTo>
                    <a:pt x="3605" y="4264"/>
                  </a:lnTo>
                  <a:lnTo>
                    <a:pt x="3607" y="4432"/>
                  </a:lnTo>
                  <a:lnTo>
                    <a:pt x="3613" y="4602"/>
                  </a:lnTo>
                  <a:lnTo>
                    <a:pt x="3623" y="4770"/>
                  </a:lnTo>
                  <a:lnTo>
                    <a:pt x="3637" y="4939"/>
                  </a:lnTo>
                  <a:lnTo>
                    <a:pt x="3655" y="5108"/>
                  </a:lnTo>
                  <a:lnTo>
                    <a:pt x="3675" y="5276"/>
                  </a:lnTo>
                  <a:lnTo>
                    <a:pt x="3700" y="5444"/>
                  </a:lnTo>
                  <a:lnTo>
                    <a:pt x="3727" y="5613"/>
                  </a:lnTo>
                  <a:lnTo>
                    <a:pt x="3758" y="5780"/>
                  </a:lnTo>
                  <a:lnTo>
                    <a:pt x="3791" y="5947"/>
                  </a:lnTo>
                  <a:lnTo>
                    <a:pt x="3826" y="6115"/>
                  </a:lnTo>
                  <a:lnTo>
                    <a:pt x="3864" y="6282"/>
                  </a:lnTo>
                  <a:lnTo>
                    <a:pt x="3905" y="6448"/>
                  </a:lnTo>
                  <a:lnTo>
                    <a:pt x="3947" y="6616"/>
                  </a:lnTo>
                  <a:lnTo>
                    <a:pt x="3991" y="6781"/>
                  </a:lnTo>
                  <a:lnTo>
                    <a:pt x="4036" y="6947"/>
                  </a:lnTo>
                  <a:lnTo>
                    <a:pt x="4082" y="7113"/>
                  </a:lnTo>
                  <a:lnTo>
                    <a:pt x="4130" y="7278"/>
                  </a:lnTo>
                  <a:lnTo>
                    <a:pt x="4179" y="7442"/>
                  </a:lnTo>
                  <a:lnTo>
                    <a:pt x="4229" y="7606"/>
                  </a:lnTo>
                  <a:lnTo>
                    <a:pt x="4279" y="7771"/>
                  </a:lnTo>
                  <a:lnTo>
                    <a:pt x="4330" y="7934"/>
                  </a:lnTo>
                  <a:lnTo>
                    <a:pt x="4329" y="7933"/>
                  </a:lnTo>
                  <a:lnTo>
                    <a:pt x="4318" y="7913"/>
                  </a:lnTo>
                  <a:lnTo>
                    <a:pt x="4299" y="7873"/>
                  </a:lnTo>
                  <a:lnTo>
                    <a:pt x="4271" y="7817"/>
                  </a:lnTo>
                  <a:lnTo>
                    <a:pt x="4192" y="7656"/>
                  </a:lnTo>
                  <a:lnTo>
                    <a:pt x="4081" y="7441"/>
                  </a:lnTo>
                  <a:lnTo>
                    <a:pt x="4016" y="7316"/>
                  </a:lnTo>
                  <a:lnTo>
                    <a:pt x="3944" y="7179"/>
                  </a:lnTo>
                  <a:lnTo>
                    <a:pt x="3864" y="7033"/>
                  </a:lnTo>
                  <a:lnTo>
                    <a:pt x="3779" y="6879"/>
                  </a:lnTo>
                  <a:lnTo>
                    <a:pt x="3689" y="6718"/>
                  </a:lnTo>
                  <a:lnTo>
                    <a:pt x="3592" y="6550"/>
                  </a:lnTo>
                  <a:lnTo>
                    <a:pt x="3490" y="6378"/>
                  </a:lnTo>
                  <a:lnTo>
                    <a:pt x="3382" y="6202"/>
                  </a:lnTo>
                  <a:lnTo>
                    <a:pt x="3270" y="6024"/>
                  </a:lnTo>
                  <a:lnTo>
                    <a:pt x="3154" y="5843"/>
                  </a:lnTo>
                  <a:lnTo>
                    <a:pt x="3034" y="5663"/>
                  </a:lnTo>
                  <a:lnTo>
                    <a:pt x="2908" y="5483"/>
                  </a:lnTo>
                  <a:lnTo>
                    <a:pt x="2780" y="5305"/>
                  </a:lnTo>
                  <a:lnTo>
                    <a:pt x="2648" y="5130"/>
                  </a:lnTo>
                  <a:lnTo>
                    <a:pt x="2513" y="4960"/>
                  </a:lnTo>
                  <a:lnTo>
                    <a:pt x="2375" y="4793"/>
                  </a:lnTo>
                  <a:lnTo>
                    <a:pt x="2235" y="4634"/>
                  </a:lnTo>
                  <a:lnTo>
                    <a:pt x="2092" y="4482"/>
                  </a:lnTo>
                  <a:lnTo>
                    <a:pt x="1947" y="4339"/>
                  </a:lnTo>
                  <a:lnTo>
                    <a:pt x="1800" y="4206"/>
                  </a:lnTo>
                  <a:lnTo>
                    <a:pt x="1652" y="4083"/>
                  </a:lnTo>
                  <a:lnTo>
                    <a:pt x="1503" y="3973"/>
                  </a:lnTo>
                  <a:lnTo>
                    <a:pt x="1352" y="3875"/>
                  </a:lnTo>
                  <a:lnTo>
                    <a:pt x="1201" y="3792"/>
                  </a:lnTo>
                  <a:lnTo>
                    <a:pt x="1159" y="3771"/>
                  </a:lnTo>
                  <a:lnTo>
                    <a:pt x="1117" y="3749"/>
                  </a:lnTo>
                  <a:lnTo>
                    <a:pt x="1075" y="3725"/>
                  </a:lnTo>
                  <a:lnTo>
                    <a:pt x="1034" y="3702"/>
                  </a:lnTo>
                  <a:lnTo>
                    <a:pt x="993" y="3677"/>
                  </a:lnTo>
                  <a:lnTo>
                    <a:pt x="953" y="3652"/>
                  </a:lnTo>
                  <a:lnTo>
                    <a:pt x="912" y="3626"/>
                  </a:lnTo>
                  <a:lnTo>
                    <a:pt x="873" y="3600"/>
                  </a:lnTo>
                  <a:lnTo>
                    <a:pt x="834" y="3572"/>
                  </a:lnTo>
                  <a:lnTo>
                    <a:pt x="796" y="3544"/>
                  </a:lnTo>
                  <a:lnTo>
                    <a:pt x="758" y="3514"/>
                  </a:lnTo>
                  <a:lnTo>
                    <a:pt x="720" y="3484"/>
                  </a:lnTo>
                  <a:lnTo>
                    <a:pt x="684" y="3454"/>
                  </a:lnTo>
                  <a:lnTo>
                    <a:pt x="648" y="3422"/>
                  </a:lnTo>
                  <a:lnTo>
                    <a:pt x="612" y="3390"/>
                  </a:lnTo>
                  <a:lnTo>
                    <a:pt x="577" y="3357"/>
                  </a:lnTo>
                  <a:lnTo>
                    <a:pt x="544" y="3323"/>
                  </a:lnTo>
                  <a:lnTo>
                    <a:pt x="511" y="3288"/>
                  </a:lnTo>
                  <a:lnTo>
                    <a:pt x="479" y="3253"/>
                  </a:lnTo>
                  <a:lnTo>
                    <a:pt x="447" y="3217"/>
                  </a:lnTo>
                  <a:lnTo>
                    <a:pt x="416" y="3179"/>
                  </a:lnTo>
                  <a:lnTo>
                    <a:pt x="387" y="3142"/>
                  </a:lnTo>
                  <a:lnTo>
                    <a:pt x="357" y="3103"/>
                  </a:lnTo>
                  <a:lnTo>
                    <a:pt x="330" y="3063"/>
                  </a:lnTo>
                  <a:lnTo>
                    <a:pt x="302" y="3022"/>
                  </a:lnTo>
                  <a:lnTo>
                    <a:pt x="276" y="2980"/>
                  </a:lnTo>
                  <a:lnTo>
                    <a:pt x="251" y="2938"/>
                  </a:lnTo>
                  <a:lnTo>
                    <a:pt x="227" y="2895"/>
                  </a:lnTo>
                  <a:lnTo>
                    <a:pt x="204" y="2851"/>
                  </a:lnTo>
                  <a:lnTo>
                    <a:pt x="183" y="2806"/>
                  </a:lnTo>
                  <a:lnTo>
                    <a:pt x="162" y="2760"/>
                  </a:lnTo>
                  <a:lnTo>
                    <a:pt x="142" y="2713"/>
                  </a:lnTo>
                  <a:lnTo>
                    <a:pt x="107" y="2618"/>
                  </a:lnTo>
                  <a:lnTo>
                    <a:pt x="76" y="2522"/>
                  </a:lnTo>
                  <a:lnTo>
                    <a:pt x="51" y="2425"/>
                  </a:lnTo>
                  <a:lnTo>
                    <a:pt x="32" y="2329"/>
                  </a:lnTo>
                  <a:lnTo>
                    <a:pt x="16" y="2232"/>
                  </a:lnTo>
                  <a:lnTo>
                    <a:pt x="6" y="2136"/>
                  </a:lnTo>
                  <a:lnTo>
                    <a:pt x="1" y="2039"/>
                  </a:lnTo>
                  <a:lnTo>
                    <a:pt x="0" y="1942"/>
                  </a:lnTo>
                  <a:lnTo>
                    <a:pt x="4" y="1846"/>
                  </a:lnTo>
                  <a:lnTo>
                    <a:pt x="13" y="1751"/>
                  </a:lnTo>
                  <a:lnTo>
                    <a:pt x="26" y="1656"/>
                  </a:lnTo>
                  <a:lnTo>
                    <a:pt x="45" y="1562"/>
                  </a:lnTo>
                  <a:lnTo>
                    <a:pt x="67" y="1470"/>
                  </a:lnTo>
                  <a:lnTo>
                    <a:pt x="94" y="1378"/>
                  </a:lnTo>
                  <a:lnTo>
                    <a:pt x="124" y="1289"/>
                  </a:lnTo>
                  <a:lnTo>
                    <a:pt x="160" y="1201"/>
                  </a:lnTo>
                  <a:lnTo>
                    <a:pt x="199" y="1114"/>
                  </a:lnTo>
                  <a:lnTo>
                    <a:pt x="243" y="1029"/>
                  </a:lnTo>
                  <a:lnTo>
                    <a:pt x="290" y="947"/>
                  </a:lnTo>
                  <a:lnTo>
                    <a:pt x="341" y="867"/>
                  </a:lnTo>
                  <a:lnTo>
                    <a:pt x="397" y="790"/>
                  </a:lnTo>
                  <a:lnTo>
                    <a:pt x="455" y="714"/>
                  </a:lnTo>
                  <a:lnTo>
                    <a:pt x="518" y="642"/>
                  </a:lnTo>
                  <a:lnTo>
                    <a:pt x="585" y="572"/>
                  </a:lnTo>
                  <a:lnTo>
                    <a:pt x="655" y="506"/>
                  </a:lnTo>
                  <a:lnTo>
                    <a:pt x="728" y="443"/>
                  </a:lnTo>
                  <a:lnTo>
                    <a:pt x="805" y="384"/>
                  </a:lnTo>
                  <a:lnTo>
                    <a:pt x="886" y="328"/>
                  </a:lnTo>
                  <a:lnTo>
                    <a:pt x="969" y="274"/>
                  </a:lnTo>
                  <a:lnTo>
                    <a:pt x="1056" y="227"/>
                  </a:lnTo>
                  <a:lnTo>
                    <a:pt x="1146" y="182"/>
                  </a:lnTo>
                  <a:lnTo>
                    <a:pt x="1240" y="142"/>
                  </a:lnTo>
                  <a:close/>
                </a:path>
              </a:pathLst>
            </a:custGeom>
            <a:solidFill>
              <a:sysClr val="windowText" lastClr="000000">
                <a:lumMod val="95000"/>
                <a:lumOff val="5000"/>
                <a:alpha val="25000"/>
              </a:sys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kern="0">
                <a:solidFill>
                  <a:sysClr val="windowText" lastClr="000000"/>
                </a:solidFill>
                <a:latin typeface="Calibri" pitchFamily="-109" charset="0"/>
                <a:ea typeface="+mn-ea"/>
                <a:cs typeface="Arial" charset="0"/>
              </a:endParaRPr>
            </a:p>
          </p:txBody>
        </p:sp>
        <p:grpSp>
          <p:nvGrpSpPr>
            <p:cNvPr id="17" name="Group 133"/>
            <p:cNvGrpSpPr>
              <a:grpSpLocks/>
            </p:cNvGrpSpPr>
            <p:nvPr/>
          </p:nvGrpSpPr>
          <p:grpSpPr bwMode="auto">
            <a:xfrm flipH="1">
              <a:off x="4435355" y="2500313"/>
              <a:ext cx="650979" cy="1241111"/>
              <a:chOff x="7001096" y="2143116"/>
              <a:chExt cx="1000276" cy="1833550"/>
            </a:xfrm>
          </p:grpSpPr>
          <p:sp>
            <p:nvSpPr>
              <p:cNvPr id="686" name="Freeform 57"/>
              <p:cNvSpPr>
                <a:spLocks/>
              </p:cNvSpPr>
              <p:nvPr/>
            </p:nvSpPr>
            <p:spPr bwMode="auto">
              <a:xfrm>
                <a:off x="7001096" y="2143116"/>
                <a:ext cx="1000276" cy="1833550"/>
              </a:xfrm>
              <a:custGeom>
                <a:avLst/>
                <a:gdLst/>
                <a:ahLst/>
                <a:cxnLst>
                  <a:cxn ang="0">
                    <a:pos x="1431" y="75"/>
                  </a:cxn>
                  <a:cxn ang="0">
                    <a:pos x="1720" y="15"/>
                  </a:cxn>
                  <a:cxn ang="0">
                    <a:pos x="2010" y="0"/>
                  </a:cxn>
                  <a:cxn ang="0">
                    <a:pos x="2296" y="27"/>
                  </a:cxn>
                  <a:cxn ang="0">
                    <a:pos x="2573" y="93"/>
                  </a:cxn>
                  <a:cxn ang="0">
                    <a:pos x="2838" y="199"/>
                  </a:cxn>
                  <a:cxn ang="0">
                    <a:pos x="3086" y="341"/>
                  </a:cxn>
                  <a:cxn ang="0">
                    <a:pos x="3310" y="517"/>
                  </a:cxn>
                  <a:cxn ang="0">
                    <a:pos x="3509" y="727"/>
                  </a:cxn>
                  <a:cxn ang="0">
                    <a:pos x="3677" y="968"/>
                  </a:cxn>
                  <a:cxn ang="0">
                    <a:pos x="3811" y="1239"/>
                  </a:cxn>
                  <a:cxn ang="0">
                    <a:pos x="3856" y="1364"/>
                  </a:cxn>
                  <a:cxn ang="0">
                    <a:pos x="3893" y="1490"/>
                  </a:cxn>
                  <a:cxn ang="0">
                    <a:pos x="3920" y="1617"/>
                  </a:cxn>
                  <a:cxn ang="0">
                    <a:pos x="3940" y="1744"/>
                  </a:cxn>
                  <a:cxn ang="0">
                    <a:pos x="3950" y="1871"/>
                  </a:cxn>
                  <a:cxn ang="0">
                    <a:pos x="3953" y="1998"/>
                  </a:cxn>
                  <a:cxn ang="0">
                    <a:pos x="3947" y="2123"/>
                  </a:cxn>
                  <a:cxn ang="0">
                    <a:pos x="3933" y="2249"/>
                  </a:cxn>
                  <a:cxn ang="0">
                    <a:pos x="3912" y="2372"/>
                  </a:cxn>
                  <a:cxn ang="0">
                    <a:pos x="3882" y="2494"/>
                  </a:cxn>
                  <a:cxn ang="0">
                    <a:pos x="3809" y="2742"/>
                  </a:cxn>
                  <a:cxn ang="0">
                    <a:pos x="3693" y="3249"/>
                  </a:cxn>
                  <a:cxn ang="0">
                    <a:pos x="3626" y="3756"/>
                  </a:cxn>
                  <a:cxn ang="0">
                    <a:pos x="3605" y="4264"/>
                  </a:cxn>
                  <a:cxn ang="0">
                    <a:pos x="3623" y="4770"/>
                  </a:cxn>
                  <a:cxn ang="0">
                    <a:pos x="3675" y="5276"/>
                  </a:cxn>
                  <a:cxn ang="0">
                    <a:pos x="3758" y="5780"/>
                  </a:cxn>
                  <a:cxn ang="0">
                    <a:pos x="3864" y="6282"/>
                  </a:cxn>
                  <a:cxn ang="0">
                    <a:pos x="3991" y="6781"/>
                  </a:cxn>
                  <a:cxn ang="0">
                    <a:pos x="4130" y="7278"/>
                  </a:cxn>
                  <a:cxn ang="0">
                    <a:pos x="4279" y="7771"/>
                  </a:cxn>
                  <a:cxn ang="0">
                    <a:pos x="4318" y="7913"/>
                  </a:cxn>
                  <a:cxn ang="0">
                    <a:pos x="4192" y="7656"/>
                  </a:cxn>
                  <a:cxn ang="0">
                    <a:pos x="3944" y="7179"/>
                  </a:cxn>
                  <a:cxn ang="0">
                    <a:pos x="3689" y="6718"/>
                  </a:cxn>
                  <a:cxn ang="0">
                    <a:pos x="3382" y="6202"/>
                  </a:cxn>
                  <a:cxn ang="0">
                    <a:pos x="3034" y="5663"/>
                  </a:cxn>
                  <a:cxn ang="0">
                    <a:pos x="2648" y="5130"/>
                  </a:cxn>
                  <a:cxn ang="0">
                    <a:pos x="2235" y="4634"/>
                  </a:cxn>
                  <a:cxn ang="0">
                    <a:pos x="1800" y="4206"/>
                  </a:cxn>
                  <a:cxn ang="0">
                    <a:pos x="1352" y="3875"/>
                  </a:cxn>
                  <a:cxn ang="0">
                    <a:pos x="1117" y="3749"/>
                  </a:cxn>
                  <a:cxn ang="0">
                    <a:pos x="993" y="3677"/>
                  </a:cxn>
                  <a:cxn ang="0">
                    <a:pos x="873" y="3600"/>
                  </a:cxn>
                  <a:cxn ang="0">
                    <a:pos x="758" y="3514"/>
                  </a:cxn>
                  <a:cxn ang="0">
                    <a:pos x="648" y="3422"/>
                  </a:cxn>
                  <a:cxn ang="0">
                    <a:pos x="544" y="3323"/>
                  </a:cxn>
                  <a:cxn ang="0">
                    <a:pos x="447" y="3217"/>
                  </a:cxn>
                  <a:cxn ang="0">
                    <a:pos x="357" y="3103"/>
                  </a:cxn>
                  <a:cxn ang="0">
                    <a:pos x="276" y="2980"/>
                  </a:cxn>
                  <a:cxn ang="0">
                    <a:pos x="204" y="2851"/>
                  </a:cxn>
                  <a:cxn ang="0">
                    <a:pos x="142" y="2713"/>
                  </a:cxn>
                  <a:cxn ang="0">
                    <a:pos x="51" y="2425"/>
                  </a:cxn>
                  <a:cxn ang="0">
                    <a:pos x="6" y="2136"/>
                  </a:cxn>
                  <a:cxn ang="0">
                    <a:pos x="4" y="1846"/>
                  </a:cxn>
                  <a:cxn ang="0">
                    <a:pos x="45" y="1562"/>
                  </a:cxn>
                  <a:cxn ang="0">
                    <a:pos x="124" y="1289"/>
                  </a:cxn>
                  <a:cxn ang="0">
                    <a:pos x="243" y="1029"/>
                  </a:cxn>
                  <a:cxn ang="0">
                    <a:pos x="397" y="790"/>
                  </a:cxn>
                  <a:cxn ang="0">
                    <a:pos x="585" y="572"/>
                  </a:cxn>
                  <a:cxn ang="0">
                    <a:pos x="805" y="384"/>
                  </a:cxn>
                  <a:cxn ang="0">
                    <a:pos x="1056" y="227"/>
                  </a:cxn>
                </a:cxnLst>
                <a:rect l="0" t="0" r="r" b="b"/>
                <a:pathLst>
                  <a:path w="4330" h="7934">
                    <a:moveTo>
                      <a:pt x="1240" y="142"/>
                    </a:moveTo>
                    <a:lnTo>
                      <a:pt x="1335" y="106"/>
                    </a:lnTo>
                    <a:lnTo>
                      <a:pt x="1431" y="75"/>
                    </a:lnTo>
                    <a:lnTo>
                      <a:pt x="1526" y="51"/>
                    </a:lnTo>
                    <a:lnTo>
                      <a:pt x="1623" y="31"/>
                    </a:lnTo>
                    <a:lnTo>
                      <a:pt x="1720" y="15"/>
                    </a:lnTo>
                    <a:lnTo>
                      <a:pt x="1817" y="5"/>
                    </a:lnTo>
                    <a:lnTo>
                      <a:pt x="1914" y="0"/>
                    </a:lnTo>
                    <a:lnTo>
                      <a:pt x="2010" y="0"/>
                    </a:lnTo>
                    <a:lnTo>
                      <a:pt x="2106" y="4"/>
                    </a:lnTo>
                    <a:lnTo>
                      <a:pt x="2202" y="13"/>
                    </a:lnTo>
                    <a:lnTo>
                      <a:pt x="2296" y="27"/>
                    </a:lnTo>
                    <a:lnTo>
                      <a:pt x="2390" y="44"/>
                    </a:lnTo>
                    <a:lnTo>
                      <a:pt x="2483" y="66"/>
                    </a:lnTo>
                    <a:lnTo>
                      <a:pt x="2573" y="93"/>
                    </a:lnTo>
                    <a:lnTo>
                      <a:pt x="2663" y="124"/>
                    </a:lnTo>
                    <a:lnTo>
                      <a:pt x="2752" y="159"/>
                    </a:lnTo>
                    <a:lnTo>
                      <a:pt x="2838" y="199"/>
                    </a:lnTo>
                    <a:lnTo>
                      <a:pt x="2922" y="242"/>
                    </a:lnTo>
                    <a:lnTo>
                      <a:pt x="3005" y="290"/>
                    </a:lnTo>
                    <a:lnTo>
                      <a:pt x="3086" y="341"/>
                    </a:lnTo>
                    <a:lnTo>
                      <a:pt x="3163" y="396"/>
                    </a:lnTo>
                    <a:lnTo>
                      <a:pt x="3238" y="455"/>
                    </a:lnTo>
                    <a:lnTo>
                      <a:pt x="3310" y="517"/>
                    </a:lnTo>
                    <a:lnTo>
                      <a:pt x="3379" y="585"/>
                    </a:lnTo>
                    <a:lnTo>
                      <a:pt x="3446" y="654"/>
                    </a:lnTo>
                    <a:lnTo>
                      <a:pt x="3509" y="727"/>
                    </a:lnTo>
                    <a:lnTo>
                      <a:pt x="3569" y="805"/>
                    </a:lnTo>
                    <a:lnTo>
                      <a:pt x="3625" y="885"/>
                    </a:lnTo>
                    <a:lnTo>
                      <a:pt x="3677" y="968"/>
                    </a:lnTo>
                    <a:lnTo>
                      <a:pt x="3726" y="1056"/>
                    </a:lnTo>
                    <a:lnTo>
                      <a:pt x="3770" y="1146"/>
                    </a:lnTo>
                    <a:lnTo>
                      <a:pt x="3811" y="1239"/>
                    </a:lnTo>
                    <a:lnTo>
                      <a:pt x="3826" y="1280"/>
                    </a:lnTo>
                    <a:lnTo>
                      <a:pt x="3842" y="1322"/>
                    </a:lnTo>
                    <a:lnTo>
                      <a:pt x="3856" y="1364"/>
                    </a:lnTo>
                    <a:lnTo>
                      <a:pt x="3869" y="1406"/>
                    </a:lnTo>
                    <a:lnTo>
                      <a:pt x="3881" y="1448"/>
                    </a:lnTo>
                    <a:lnTo>
                      <a:pt x="3893" y="1490"/>
                    </a:lnTo>
                    <a:lnTo>
                      <a:pt x="3903" y="1533"/>
                    </a:lnTo>
                    <a:lnTo>
                      <a:pt x="3912" y="1574"/>
                    </a:lnTo>
                    <a:lnTo>
                      <a:pt x="3920" y="1617"/>
                    </a:lnTo>
                    <a:lnTo>
                      <a:pt x="3927" y="1659"/>
                    </a:lnTo>
                    <a:lnTo>
                      <a:pt x="3935" y="1702"/>
                    </a:lnTo>
                    <a:lnTo>
                      <a:pt x="3940" y="1744"/>
                    </a:lnTo>
                    <a:lnTo>
                      <a:pt x="3944" y="1787"/>
                    </a:lnTo>
                    <a:lnTo>
                      <a:pt x="3948" y="1828"/>
                    </a:lnTo>
                    <a:lnTo>
                      <a:pt x="3950" y="1871"/>
                    </a:lnTo>
                    <a:lnTo>
                      <a:pt x="3952" y="1913"/>
                    </a:lnTo>
                    <a:lnTo>
                      <a:pt x="3953" y="1956"/>
                    </a:lnTo>
                    <a:lnTo>
                      <a:pt x="3953" y="1998"/>
                    </a:lnTo>
                    <a:lnTo>
                      <a:pt x="3952" y="2040"/>
                    </a:lnTo>
                    <a:lnTo>
                      <a:pt x="3950" y="2081"/>
                    </a:lnTo>
                    <a:lnTo>
                      <a:pt x="3947" y="2123"/>
                    </a:lnTo>
                    <a:lnTo>
                      <a:pt x="3944" y="2165"/>
                    </a:lnTo>
                    <a:lnTo>
                      <a:pt x="3939" y="2207"/>
                    </a:lnTo>
                    <a:lnTo>
                      <a:pt x="3933" y="2249"/>
                    </a:lnTo>
                    <a:lnTo>
                      <a:pt x="3927" y="2290"/>
                    </a:lnTo>
                    <a:lnTo>
                      <a:pt x="3920" y="2331"/>
                    </a:lnTo>
                    <a:lnTo>
                      <a:pt x="3912" y="2372"/>
                    </a:lnTo>
                    <a:lnTo>
                      <a:pt x="3903" y="2413"/>
                    </a:lnTo>
                    <a:lnTo>
                      <a:pt x="3894" y="2453"/>
                    </a:lnTo>
                    <a:lnTo>
                      <a:pt x="3882" y="2494"/>
                    </a:lnTo>
                    <a:lnTo>
                      <a:pt x="3871" y="2533"/>
                    </a:lnTo>
                    <a:lnTo>
                      <a:pt x="3859" y="2573"/>
                    </a:lnTo>
                    <a:lnTo>
                      <a:pt x="3809" y="2742"/>
                    </a:lnTo>
                    <a:lnTo>
                      <a:pt x="3764" y="2911"/>
                    </a:lnTo>
                    <a:lnTo>
                      <a:pt x="3725" y="3080"/>
                    </a:lnTo>
                    <a:lnTo>
                      <a:pt x="3693" y="3249"/>
                    </a:lnTo>
                    <a:lnTo>
                      <a:pt x="3665" y="3418"/>
                    </a:lnTo>
                    <a:lnTo>
                      <a:pt x="3644" y="3587"/>
                    </a:lnTo>
                    <a:lnTo>
                      <a:pt x="3626" y="3756"/>
                    </a:lnTo>
                    <a:lnTo>
                      <a:pt x="3614" y="3925"/>
                    </a:lnTo>
                    <a:lnTo>
                      <a:pt x="3607" y="4095"/>
                    </a:lnTo>
                    <a:lnTo>
                      <a:pt x="3605" y="4264"/>
                    </a:lnTo>
                    <a:lnTo>
                      <a:pt x="3607" y="4432"/>
                    </a:lnTo>
                    <a:lnTo>
                      <a:pt x="3613" y="4602"/>
                    </a:lnTo>
                    <a:lnTo>
                      <a:pt x="3623" y="4770"/>
                    </a:lnTo>
                    <a:lnTo>
                      <a:pt x="3637" y="4939"/>
                    </a:lnTo>
                    <a:lnTo>
                      <a:pt x="3655" y="5108"/>
                    </a:lnTo>
                    <a:lnTo>
                      <a:pt x="3675" y="5276"/>
                    </a:lnTo>
                    <a:lnTo>
                      <a:pt x="3700" y="5444"/>
                    </a:lnTo>
                    <a:lnTo>
                      <a:pt x="3727" y="5613"/>
                    </a:lnTo>
                    <a:lnTo>
                      <a:pt x="3758" y="5780"/>
                    </a:lnTo>
                    <a:lnTo>
                      <a:pt x="3791" y="5947"/>
                    </a:lnTo>
                    <a:lnTo>
                      <a:pt x="3826" y="6115"/>
                    </a:lnTo>
                    <a:lnTo>
                      <a:pt x="3864" y="6282"/>
                    </a:lnTo>
                    <a:lnTo>
                      <a:pt x="3905" y="6448"/>
                    </a:lnTo>
                    <a:lnTo>
                      <a:pt x="3947" y="6616"/>
                    </a:lnTo>
                    <a:lnTo>
                      <a:pt x="3991" y="6781"/>
                    </a:lnTo>
                    <a:lnTo>
                      <a:pt x="4036" y="6947"/>
                    </a:lnTo>
                    <a:lnTo>
                      <a:pt x="4082" y="7113"/>
                    </a:lnTo>
                    <a:lnTo>
                      <a:pt x="4130" y="7278"/>
                    </a:lnTo>
                    <a:lnTo>
                      <a:pt x="4179" y="7442"/>
                    </a:lnTo>
                    <a:lnTo>
                      <a:pt x="4229" y="7606"/>
                    </a:lnTo>
                    <a:lnTo>
                      <a:pt x="4279" y="7771"/>
                    </a:lnTo>
                    <a:lnTo>
                      <a:pt x="4330" y="7934"/>
                    </a:lnTo>
                    <a:lnTo>
                      <a:pt x="4329" y="7933"/>
                    </a:lnTo>
                    <a:lnTo>
                      <a:pt x="4318" y="7913"/>
                    </a:lnTo>
                    <a:lnTo>
                      <a:pt x="4299" y="7873"/>
                    </a:lnTo>
                    <a:lnTo>
                      <a:pt x="4271" y="7817"/>
                    </a:lnTo>
                    <a:lnTo>
                      <a:pt x="4192" y="7656"/>
                    </a:lnTo>
                    <a:lnTo>
                      <a:pt x="4081" y="7441"/>
                    </a:lnTo>
                    <a:lnTo>
                      <a:pt x="4016" y="7316"/>
                    </a:lnTo>
                    <a:lnTo>
                      <a:pt x="3944" y="7179"/>
                    </a:lnTo>
                    <a:lnTo>
                      <a:pt x="3864" y="7033"/>
                    </a:lnTo>
                    <a:lnTo>
                      <a:pt x="3779" y="6879"/>
                    </a:lnTo>
                    <a:lnTo>
                      <a:pt x="3689" y="6718"/>
                    </a:lnTo>
                    <a:lnTo>
                      <a:pt x="3592" y="6550"/>
                    </a:lnTo>
                    <a:lnTo>
                      <a:pt x="3490" y="6378"/>
                    </a:lnTo>
                    <a:lnTo>
                      <a:pt x="3382" y="6202"/>
                    </a:lnTo>
                    <a:lnTo>
                      <a:pt x="3270" y="6024"/>
                    </a:lnTo>
                    <a:lnTo>
                      <a:pt x="3154" y="5843"/>
                    </a:lnTo>
                    <a:lnTo>
                      <a:pt x="3034" y="5663"/>
                    </a:lnTo>
                    <a:lnTo>
                      <a:pt x="2908" y="5483"/>
                    </a:lnTo>
                    <a:lnTo>
                      <a:pt x="2780" y="5305"/>
                    </a:lnTo>
                    <a:lnTo>
                      <a:pt x="2648" y="5130"/>
                    </a:lnTo>
                    <a:lnTo>
                      <a:pt x="2513" y="4960"/>
                    </a:lnTo>
                    <a:lnTo>
                      <a:pt x="2375" y="4793"/>
                    </a:lnTo>
                    <a:lnTo>
                      <a:pt x="2235" y="4634"/>
                    </a:lnTo>
                    <a:lnTo>
                      <a:pt x="2092" y="4482"/>
                    </a:lnTo>
                    <a:lnTo>
                      <a:pt x="1947" y="4339"/>
                    </a:lnTo>
                    <a:lnTo>
                      <a:pt x="1800" y="4206"/>
                    </a:lnTo>
                    <a:lnTo>
                      <a:pt x="1652" y="4083"/>
                    </a:lnTo>
                    <a:lnTo>
                      <a:pt x="1503" y="3973"/>
                    </a:lnTo>
                    <a:lnTo>
                      <a:pt x="1352" y="3875"/>
                    </a:lnTo>
                    <a:lnTo>
                      <a:pt x="1201" y="3792"/>
                    </a:lnTo>
                    <a:lnTo>
                      <a:pt x="1159" y="3771"/>
                    </a:lnTo>
                    <a:lnTo>
                      <a:pt x="1117" y="3749"/>
                    </a:lnTo>
                    <a:lnTo>
                      <a:pt x="1075" y="3725"/>
                    </a:lnTo>
                    <a:lnTo>
                      <a:pt x="1034" y="3702"/>
                    </a:lnTo>
                    <a:lnTo>
                      <a:pt x="993" y="3677"/>
                    </a:lnTo>
                    <a:lnTo>
                      <a:pt x="953" y="3652"/>
                    </a:lnTo>
                    <a:lnTo>
                      <a:pt x="912" y="3626"/>
                    </a:lnTo>
                    <a:lnTo>
                      <a:pt x="873" y="3600"/>
                    </a:lnTo>
                    <a:lnTo>
                      <a:pt x="834" y="3572"/>
                    </a:lnTo>
                    <a:lnTo>
                      <a:pt x="796" y="3544"/>
                    </a:lnTo>
                    <a:lnTo>
                      <a:pt x="758" y="3514"/>
                    </a:lnTo>
                    <a:lnTo>
                      <a:pt x="720" y="3484"/>
                    </a:lnTo>
                    <a:lnTo>
                      <a:pt x="684" y="3454"/>
                    </a:lnTo>
                    <a:lnTo>
                      <a:pt x="648" y="3422"/>
                    </a:lnTo>
                    <a:lnTo>
                      <a:pt x="612" y="3390"/>
                    </a:lnTo>
                    <a:lnTo>
                      <a:pt x="577" y="3357"/>
                    </a:lnTo>
                    <a:lnTo>
                      <a:pt x="544" y="3323"/>
                    </a:lnTo>
                    <a:lnTo>
                      <a:pt x="511" y="3288"/>
                    </a:lnTo>
                    <a:lnTo>
                      <a:pt x="479" y="3253"/>
                    </a:lnTo>
                    <a:lnTo>
                      <a:pt x="447" y="3217"/>
                    </a:lnTo>
                    <a:lnTo>
                      <a:pt x="416" y="3179"/>
                    </a:lnTo>
                    <a:lnTo>
                      <a:pt x="387" y="3142"/>
                    </a:lnTo>
                    <a:lnTo>
                      <a:pt x="357" y="3103"/>
                    </a:lnTo>
                    <a:lnTo>
                      <a:pt x="330" y="3063"/>
                    </a:lnTo>
                    <a:lnTo>
                      <a:pt x="302" y="3022"/>
                    </a:lnTo>
                    <a:lnTo>
                      <a:pt x="276" y="2980"/>
                    </a:lnTo>
                    <a:lnTo>
                      <a:pt x="251" y="2938"/>
                    </a:lnTo>
                    <a:lnTo>
                      <a:pt x="227" y="2895"/>
                    </a:lnTo>
                    <a:lnTo>
                      <a:pt x="204" y="2851"/>
                    </a:lnTo>
                    <a:lnTo>
                      <a:pt x="183" y="2806"/>
                    </a:lnTo>
                    <a:lnTo>
                      <a:pt x="162" y="2760"/>
                    </a:lnTo>
                    <a:lnTo>
                      <a:pt x="142" y="2713"/>
                    </a:lnTo>
                    <a:lnTo>
                      <a:pt x="107" y="2618"/>
                    </a:lnTo>
                    <a:lnTo>
                      <a:pt x="76" y="2522"/>
                    </a:lnTo>
                    <a:lnTo>
                      <a:pt x="51" y="2425"/>
                    </a:lnTo>
                    <a:lnTo>
                      <a:pt x="32" y="2329"/>
                    </a:lnTo>
                    <a:lnTo>
                      <a:pt x="16" y="2232"/>
                    </a:lnTo>
                    <a:lnTo>
                      <a:pt x="6" y="2136"/>
                    </a:lnTo>
                    <a:lnTo>
                      <a:pt x="1" y="2039"/>
                    </a:lnTo>
                    <a:lnTo>
                      <a:pt x="0" y="1942"/>
                    </a:lnTo>
                    <a:lnTo>
                      <a:pt x="4" y="1846"/>
                    </a:lnTo>
                    <a:lnTo>
                      <a:pt x="13" y="1751"/>
                    </a:lnTo>
                    <a:lnTo>
                      <a:pt x="26" y="1656"/>
                    </a:lnTo>
                    <a:lnTo>
                      <a:pt x="45" y="1562"/>
                    </a:lnTo>
                    <a:lnTo>
                      <a:pt x="67" y="1470"/>
                    </a:lnTo>
                    <a:lnTo>
                      <a:pt x="94" y="1378"/>
                    </a:lnTo>
                    <a:lnTo>
                      <a:pt x="124" y="1289"/>
                    </a:lnTo>
                    <a:lnTo>
                      <a:pt x="160" y="1201"/>
                    </a:lnTo>
                    <a:lnTo>
                      <a:pt x="199" y="1114"/>
                    </a:lnTo>
                    <a:lnTo>
                      <a:pt x="243" y="1029"/>
                    </a:lnTo>
                    <a:lnTo>
                      <a:pt x="290" y="947"/>
                    </a:lnTo>
                    <a:lnTo>
                      <a:pt x="341" y="867"/>
                    </a:lnTo>
                    <a:lnTo>
                      <a:pt x="397" y="790"/>
                    </a:lnTo>
                    <a:lnTo>
                      <a:pt x="455" y="714"/>
                    </a:lnTo>
                    <a:lnTo>
                      <a:pt x="518" y="642"/>
                    </a:lnTo>
                    <a:lnTo>
                      <a:pt x="585" y="572"/>
                    </a:lnTo>
                    <a:lnTo>
                      <a:pt x="655" y="506"/>
                    </a:lnTo>
                    <a:lnTo>
                      <a:pt x="728" y="443"/>
                    </a:lnTo>
                    <a:lnTo>
                      <a:pt x="805" y="384"/>
                    </a:lnTo>
                    <a:lnTo>
                      <a:pt x="886" y="328"/>
                    </a:lnTo>
                    <a:lnTo>
                      <a:pt x="969" y="274"/>
                    </a:lnTo>
                    <a:lnTo>
                      <a:pt x="1056" y="227"/>
                    </a:lnTo>
                    <a:lnTo>
                      <a:pt x="1146" y="182"/>
                    </a:lnTo>
                    <a:lnTo>
                      <a:pt x="1240" y="142"/>
                    </a:lnTo>
                    <a:close/>
                  </a:path>
                </a:pathLst>
              </a:custGeom>
              <a:gradFill>
                <a:gsLst>
                  <a:gs pos="0">
                    <a:srgbClr val="1F497D">
                      <a:lumMod val="50000"/>
                    </a:srgbClr>
                  </a:gs>
                  <a:gs pos="67000">
                    <a:srgbClr val="002060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id-ID" kern="0">
                  <a:solidFill>
                    <a:sysClr val="windowText" lastClr="000000"/>
                  </a:solidFill>
                  <a:latin typeface="Calibri" pitchFamily="-109" charset="0"/>
                  <a:ea typeface="+mn-ea"/>
                  <a:cs typeface="Arial" charset="0"/>
                </a:endParaRPr>
              </a:p>
            </p:txBody>
          </p:sp>
          <p:sp>
            <p:nvSpPr>
              <p:cNvPr id="687" name="Oval 686"/>
              <p:cNvSpPr/>
              <p:nvPr/>
            </p:nvSpPr>
            <p:spPr>
              <a:xfrm flipV="1">
                <a:off x="7128300" y="2206820"/>
                <a:ext cx="687491" cy="623788"/>
              </a:xfrm>
              <a:prstGeom prst="ellipse">
                <a:avLst/>
              </a:prstGeom>
              <a:gradFill>
                <a:gsLst>
                  <a:gs pos="15000">
                    <a:srgbClr val="4F81BD">
                      <a:tint val="66000"/>
                      <a:satMod val="160000"/>
                      <a:alpha val="13000"/>
                    </a:srgbClr>
                  </a:gs>
                  <a:gs pos="100000">
                    <a:srgbClr val="4F81BD">
                      <a:tint val="44500"/>
                      <a:satMod val="160000"/>
                      <a:alpha val="59000"/>
                    </a:srgbClr>
                  </a:gs>
                  <a:gs pos="100000">
                    <a:srgbClr val="4F81BD">
                      <a:tint val="23500"/>
                      <a:satMod val="160000"/>
                      <a:alpha val="41000"/>
                    </a:srgbClr>
                  </a:gs>
                  <a:gs pos="100000">
                    <a:srgbClr val="4F81BD">
                      <a:tint val="23500"/>
                      <a:satMod val="160000"/>
                      <a:alpha val="0"/>
                    </a:srgbClr>
                  </a:gs>
                </a:gsLst>
                <a:lin ang="5400000" scaled="1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1pPr>
                <a:lvl2pPr marL="37931725" indent="-37474525"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2pPr>
                <a:lvl3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3pPr>
                <a:lvl4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4pPr>
                <a:lvl5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5pPr>
                <a:lvl6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6pPr>
                <a:lvl7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7pPr>
                <a:lvl8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8pPr>
                <a:lvl9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sz="1800" kern="0" smtClean="0">
                  <a:solidFill>
                    <a:srgbClr val="FFFFFF"/>
                  </a:solidFill>
                  <a:ea typeface="+mn-ea"/>
                </a:endParaRPr>
              </a:p>
            </p:txBody>
          </p:sp>
        </p:grpSp>
      </p:grpSp>
      <p:grpSp>
        <p:nvGrpSpPr>
          <p:cNvPr id="18" name="Group 17"/>
          <p:cNvGrpSpPr>
            <a:grpSpLocks/>
          </p:cNvGrpSpPr>
          <p:nvPr/>
        </p:nvGrpSpPr>
        <p:grpSpPr bwMode="auto">
          <a:xfrm>
            <a:off x="5126060" y="3663146"/>
            <a:ext cx="644109" cy="919207"/>
            <a:chOff x="4109864" y="2500313"/>
            <a:chExt cx="1078086" cy="1537898"/>
          </a:xfrm>
          <a:effectLst>
            <a:outerShdw blurRad="63500" sx="102000" sy="102000" algn="ctr" rotWithShape="0">
              <a:prstClr val="black">
                <a:alpha val="0"/>
              </a:prstClr>
            </a:outerShdw>
          </a:effectLst>
        </p:grpSpPr>
        <p:grpSp>
          <p:nvGrpSpPr>
            <p:cNvPr id="19" name="Group 4"/>
            <p:cNvGrpSpPr>
              <a:grpSpLocks/>
            </p:cNvGrpSpPr>
            <p:nvPr/>
          </p:nvGrpSpPr>
          <p:grpSpPr bwMode="auto">
            <a:xfrm>
              <a:off x="4109864" y="3335127"/>
              <a:ext cx="703376" cy="703084"/>
              <a:chOff x="5524674" y="1413200"/>
              <a:chExt cx="703376" cy="703084"/>
            </a:xfrm>
          </p:grpSpPr>
          <p:sp>
            <p:nvSpPr>
              <p:cNvPr id="697" name="Oval 696"/>
              <p:cNvSpPr/>
              <p:nvPr/>
            </p:nvSpPr>
            <p:spPr>
              <a:xfrm>
                <a:off x="5524674" y="1413200"/>
                <a:ext cx="703376" cy="703084"/>
              </a:xfrm>
              <a:prstGeom prst="ellipse">
                <a:avLst/>
              </a:prstGeom>
              <a:gradFill>
                <a:gsLst>
                  <a:gs pos="0">
                    <a:srgbClr val="C00000"/>
                  </a:gs>
                  <a:gs pos="100000">
                    <a:srgbClr val="FF0000"/>
                  </a:gs>
                </a:gsLst>
                <a:lin ang="5400000" scaled="0"/>
              </a:gradFill>
              <a:ln w="3175" cap="flat" cmpd="sng" algn="ctr">
                <a:solidFill>
                  <a:srgbClr val="FF0000"/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34000"/>
                  </a:prstClr>
                </a:outerShdw>
              </a:effectLst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kern="0">
                  <a:solidFill>
                    <a:srgbClr val="FFFFFF"/>
                  </a:solidFill>
                  <a:latin typeface="Calibri"/>
                  <a:ea typeface="+mn-ea"/>
                  <a:cs typeface="Arial" charset="0"/>
                </a:endParaRPr>
              </a:p>
            </p:txBody>
          </p:sp>
          <p:sp>
            <p:nvSpPr>
              <p:cNvPr id="698" name="Oval 697"/>
              <p:cNvSpPr/>
              <p:nvPr/>
            </p:nvSpPr>
            <p:spPr>
              <a:xfrm>
                <a:off x="5627879" y="1516361"/>
                <a:ext cx="496967" cy="496762"/>
              </a:xfrm>
              <a:prstGeom prst="ellipse">
                <a:avLst/>
              </a:prstGeom>
              <a:gradFill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5400000" scaled="0"/>
              </a:gradFill>
              <a:ln w="3175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kern="0">
                  <a:solidFill>
                    <a:srgbClr val="FFFFFF"/>
                  </a:solidFill>
                  <a:latin typeface="Calibri"/>
                  <a:ea typeface="+mn-ea"/>
                  <a:cs typeface="Arial" charset="0"/>
                </a:endParaRPr>
              </a:p>
            </p:txBody>
          </p:sp>
          <p:sp>
            <p:nvSpPr>
              <p:cNvPr id="699" name="Oval 698"/>
              <p:cNvSpPr/>
              <p:nvPr/>
            </p:nvSpPr>
            <p:spPr>
              <a:xfrm>
                <a:off x="5766013" y="1651265"/>
                <a:ext cx="228637" cy="226955"/>
              </a:xfrm>
              <a:prstGeom prst="ellipse">
                <a:avLst/>
              </a:prstGeom>
              <a:gradFill>
                <a:gsLst>
                  <a:gs pos="0">
                    <a:srgbClr val="C00000"/>
                  </a:gs>
                  <a:gs pos="100000">
                    <a:srgbClr val="FF0000"/>
                  </a:gs>
                </a:gsLst>
                <a:lin ang="5400000" scaled="0"/>
              </a:gradFill>
              <a:ln w="3175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kern="0">
                  <a:solidFill>
                    <a:srgbClr val="FFFFFF"/>
                  </a:solidFill>
                  <a:latin typeface="Calibri"/>
                  <a:ea typeface="+mn-ea"/>
                  <a:cs typeface="Arial" charset="0"/>
                </a:endParaRPr>
              </a:p>
            </p:txBody>
          </p:sp>
        </p:grpSp>
        <p:sp>
          <p:nvSpPr>
            <p:cNvPr id="693" name="Freeform 57"/>
            <p:cNvSpPr>
              <a:spLocks/>
            </p:cNvSpPr>
            <p:nvPr/>
          </p:nvSpPr>
          <p:spPr bwMode="auto">
            <a:xfrm rot="15813706" flipH="1" flipV="1">
              <a:off x="4658487" y="3156412"/>
              <a:ext cx="255522" cy="803404"/>
            </a:xfrm>
            <a:custGeom>
              <a:avLst/>
              <a:gdLst/>
              <a:ahLst/>
              <a:cxnLst>
                <a:cxn ang="0">
                  <a:pos x="1431" y="75"/>
                </a:cxn>
                <a:cxn ang="0">
                  <a:pos x="1720" y="15"/>
                </a:cxn>
                <a:cxn ang="0">
                  <a:pos x="2010" y="0"/>
                </a:cxn>
                <a:cxn ang="0">
                  <a:pos x="2296" y="27"/>
                </a:cxn>
                <a:cxn ang="0">
                  <a:pos x="2573" y="93"/>
                </a:cxn>
                <a:cxn ang="0">
                  <a:pos x="2838" y="199"/>
                </a:cxn>
                <a:cxn ang="0">
                  <a:pos x="3086" y="341"/>
                </a:cxn>
                <a:cxn ang="0">
                  <a:pos x="3310" y="517"/>
                </a:cxn>
                <a:cxn ang="0">
                  <a:pos x="3509" y="727"/>
                </a:cxn>
                <a:cxn ang="0">
                  <a:pos x="3677" y="968"/>
                </a:cxn>
                <a:cxn ang="0">
                  <a:pos x="3811" y="1239"/>
                </a:cxn>
                <a:cxn ang="0">
                  <a:pos x="3856" y="1364"/>
                </a:cxn>
                <a:cxn ang="0">
                  <a:pos x="3893" y="1490"/>
                </a:cxn>
                <a:cxn ang="0">
                  <a:pos x="3920" y="1617"/>
                </a:cxn>
                <a:cxn ang="0">
                  <a:pos x="3940" y="1744"/>
                </a:cxn>
                <a:cxn ang="0">
                  <a:pos x="3950" y="1871"/>
                </a:cxn>
                <a:cxn ang="0">
                  <a:pos x="3953" y="1998"/>
                </a:cxn>
                <a:cxn ang="0">
                  <a:pos x="3947" y="2123"/>
                </a:cxn>
                <a:cxn ang="0">
                  <a:pos x="3933" y="2249"/>
                </a:cxn>
                <a:cxn ang="0">
                  <a:pos x="3912" y="2372"/>
                </a:cxn>
                <a:cxn ang="0">
                  <a:pos x="3882" y="2494"/>
                </a:cxn>
                <a:cxn ang="0">
                  <a:pos x="3809" y="2742"/>
                </a:cxn>
                <a:cxn ang="0">
                  <a:pos x="3693" y="3249"/>
                </a:cxn>
                <a:cxn ang="0">
                  <a:pos x="3626" y="3756"/>
                </a:cxn>
                <a:cxn ang="0">
                  <a:pos x="3605" y="4264"/>
                </a:cxn>
                <a:cxn ang="0">
                  <a:pos x="3623" y="4770"/>
                </a:cxn>
                <a:cxn ang="0">
                  <a:pos x="3675" y="5276"/>
                </a:cxn>
                <a:cxn ang="0">
                  <a:pos x="3758" y="5780"/>
                </a:cxn>
                <a:cxn ang="0">
                  <a:pos x="3864" y="6282"/>
                </a:cxn>
                <a:cxn ang="0">
                  <a:pos x="3991" y="6781"/>
                </a:cxn>
                <a:cxn ang="0">
                  <a:pos x="4130" y="7278"/>
                </a:cxn>
                <a:cxn ang="0">
                  <a:pos x="4279" y="7771"/>
                </a:cxn>
                <a:cxn ang="0">
                  <a:pos x="4318" y="7913"/>
                </a:cxn>
                <a:cxn ang="0">
                  <a:pos x="4192" y="7656"/>
                </a:cxn>
                <a:cxn ang="0">
                  <a:pos x="3944" y="7179"/>
                </a:cxn>
                <a:cxn ang="0">
                  <a:pos x="3689" y="6718"/>
                </a:cxn>
                <a:cxn ang="0">
                  <a:pos x="3382" y="6202"/>
                </a:cxn>
                <a:cxn ang="0">
                  <a:pos x="3034" y="5663"/>
                </a:cxn>
                <a:cxn ang="0">
                  <a:pos x="2648" y="5130"/>
                </a:cxn>
                <a:cxn ang="0">
                  <a:pos x="2235" y="4634"/>
                </a:cxn>
                <a:cxn ang="0">
                  <a:pos x="1800" y="4206"/>
                </a:cxn>
                <a:cxn ang="0">
                  <a:pos x="1352" y="3875"/>
                </a:cxn>
                <a:cxn ang="0">
                  <a:pos x="1117" y="3749"/>
                </a:cxn>
                <a:cxn ang="0">
                  <a:pos x="993" y="3677"/>
                </a:cxn>
                <a:cxn ang="0">
                  <a:pos x="873" y="3600"/>
                </a:cxn>
                <a:cxn ang="0">
                  <a:pos x="758" y="3514"/>
                </a:cxn>
                <a:cxn ang="0">
                  <a:pos x="648" y="3422"/>
                </a:cxn>
                <a:cxn ang="0">
                  <a:pos x="544" y="3323"/>
                </a:cxn>
                <a:cxn ang="0">
                  <a:pos x="447" y="3217"/>
                </a:cxn>
                <a:cxn ang="0">
                  <a:pos x="357" y="3103"/>
                </a:cxn>
                <a:cxn ang="0">
                  <a:pos x="276" y="2980"/>
                </a:cxn>
                <a:cxn ang="0">
                  <a:pos x="204" y="2851"/>
                </a:cxn>
                <a:cxn ang="0">
                  <a:pos x="142" y="2713"/>
                </a:cxn>
                <a:cxn ang="0">
                  <a:pos x="51" y="2425"/>
                </a:cxn>
                <a:cxn ang="0">
                  <a:pos x="6" y="2136"/>
                </a:cxn>
                <a:cxn ang="0">
                  <a:pos x="4" y="1846"/>
                </a:cxn>
                <a:cxn ang="0">
                  <a:pos x="45" y="1562"/>
                </a:cxn>
                <a:cxn ang="0">
                  <a:pos x="124" y="1289"/>
                </a:cxn>
                <a:cxn ang="0">
                  <a:pos x="243" y="1029"/>
                </a:cxn>
                <a:cxn ang="0">
                  <a:pos x="397" y="790"/>
                </a:cxn>
                <a:cxn ang="0">
                  <a:pos x="585" y="572"/>
                </a:cxn>
                <a:cxn ang="0">
                  <a:pos x="805" y="384"/>
                </a:cxn>
                <a:cxn ang="0">
                  <a:pos x="1056" y="227"/>
                </a:cxn>
              </a:cxnLst>
              <a:rect l="0" t="0" r="r" b="b"/>
              <a:pathLst>
                <a:path w="4330" h="7934">
                  <a:moveTo>
                    <a:pt x="1240" y="142"/>
                  </a:moveTo>
                  <a:lnTo>
                    <a:pt x="1335" y="106"/>
                  </a:lnTo>
                  <a:lnTo>
                    <a:pt x="1431" y="75"/>
                  </a:lnTo>
                  <a:lnTo>
                    <a:pt x="1526" y="51"/>
                  </a:lnTo>
                  <a:lnTo>
                    <a:pt x="1623" y="31"/>
                  </a:lnTo>
                  <a:lnTo>
                    <a:pt x="1720" y="15"/>
                  </a:lnTo>
                  <a:lnTo>
                    <a:pt x="1817" y="5"/>
                  </a:lnTo>
                  <a:lnTo>
                    <a:pt x="1914" y="0"/>
                  </a:lnTo>
                  <a:lnTo>
                    <a:pt x="2010" y="0"/>
                  </a:lnTo>
                  <a:lnTo>
                    <a:pt x="2106" y="4"/>
                  </a:lnTo>
                  <a:lnTo>
                    <a:pt x="2202" y="13"/>
                  </a:lnTo>
                  <a:lnTo>
                    <a:pt x="2296" y="27"/>
                  </a:lnTo>
                  <a:lnTo>
                    <a:pt x="2390" y="44"/>
                  </a:lnTo>
                  <a:lnTo>
                    <a:pt x="2483" y="66"/>
                  </a:lnTo>
                  <a:lnTo>
                    <a:pt x="2573" y="93"/>
                  </a:lnTo>
                  <a:lnTo>
                    <a:pt x="2663" y="124"/>
                  </a:lnTo>
                  <a:lnTo>
                    <a:pt x="2752" y="159"/>
                  </a:lnTo>
                  <a:lnTo>
                    <a:pt x="2838" y="199"/>
                  </a:lnTo>
                  <a:lnTo>
                    <a:pt x="2922" y="242"/>
                  </a:lnTo>
                  <a:lnTo>
                    <a:pt x="3005" y="290"/>
                  </a:lnTo>
                  <a:lnTo>
                    <a:pt x="3086" y="341"/>
                  </a:lnTo>
                  <a:lnTo>
                    <a:pt x="3163" y="396"/>
                  </a:lnTo>
                  <a:lnTo>
                    <a:pt x="3238" y="455"/>
                  </a:lnTo>
                  <a:lnTo>
                    <a:pt x="3310" y="517"/>
                  </a:lnTo>
                  <a:lnTo>
                    <a:pt x="3379" y="585"/>
                  </a:lnTo>
                  <a:lnTo>
                    <a:pt x="3446" y="654"/>
                  </a:lnTo>
                  <a:lnTo>
                    <a:pt x="3509" y="727"/>
                  </a:lnTo>
                  <a:lnTo>
                    <a:pt x="3569" y="805"/>
                  </a:lnTo>
                  <a:lnTo>
                    <a:pt x="3625" y="885"/>
                  </a:lnTo>
                  <a:lnTo>
                    <a:pt x="3677" y="968"/>
                  </a:lnTo>
                  <a:lnTo>
                    <a:pt x="3726" y="1056"/>
                  </a:lnTo>
                  <a:lnTo>
                    <a:pt x="3770" y="1146"/>
                  </a:lnTo>
                  <a:lnTo>
                    <a:pt x="3811" y="1239"/>
                  </a:lnTo>
                  <a:lnTo>
                    <a:pt x="3826" y="1280"/>
                  </a:lnTo>
                  <a:lnTo>
                    <a:pt x="3842" y="1322"/>
                  </a:lnTo>
                  <a:lnTo>
                    <a:pt x="3856" y="1364"/>
                  </a:lnTo>
                  <a:lnTo>
                    <a:pt x="3869" y="1406"/>
                  </a:lnTo>
                  <a:lnTo>
                    <a:pt x="3881" y="1448"/>
                  </a:lnTo>
                  <a:lnTo>
                    <a:pt x="3893" y="1490"/>
                  </a:lnTo>
                  <a:lnTo>
                    <a:pt x="3903" y="1533"/>
                  </a:lnTo>
                  <a:lnTo>
                    <a:pt x="3912" y="1574"/>
                  </a:lnTo>
                  <a:lnTo>
                    <a:pt x="3920" y="1617"/>
                  </a:lnTo>
                  <a:lnTo>
                    <a:pt x="3927" y="1659"/>
                  </a:lnTo>
                  <a:lnTo>
                    <a:pt x="3935" y="1702"/>
                  </a:lnTo>
                  <a:lnTo>
                    <a:pt x="3940" y="1744"/>
                  </a:lnTo>
                  <a:lnTo>
                    <a:pt x="3944" y="1787"/>
                  </a:lnTo>
                  <a:lnTo>
                    <a:pt x="3948" y="1828"/>
                  </a:lnTo>
                  <a:lnTo>
                    <a:pt x="3950" y="1871"/>
                  </a:lnTo>
                  <a:lnTo>
                    <a:pt x="3952" y="1913"/>
                  </a:lnTo>
                  <a:lnTo>
                    <a:pt x="3953" y="1956"/>
                  </a:lnTo>
                  <a:lnTo>
                    <a:pt x="3953" y="1998"/>
                  </a:lnTo>
                  <a:lnTo>
                    <a:pt x="3952" y="2040"/>
                  </a:lnTo>
                  <a:lnTo>
                    <a:pt x="3950" y="2081"/>
                  </a:lnTo>
                  <a:lnTo>
                    <a:pt x="3947" y="2123"/>
                  </a:lnTo>
                  <a:lnTo>
                    <a:pt x="3944" y="2165"/>
                  </a:lnTo>
                  <a:lnTo>
                    <a:pt x="3939" y="2207"/>
                  </a:lnTo>
                  <a:lnTo>
                    <a:pt x="3933" y="2249"/>
                  </a:lnTo>
                  <a:lnTo>
                    <a:pt x="3927" y="2290"/>
                  </a:lnTo>
                  <a:lnTo>
                    <a:pt x="3920" y="2331"/>
                  </a:lnTo>
                  <a:lnTo>
                    <a:pt x="3912" y="2372"/>
                  </a:lnTo>
                  <a:lnTo>
                    <a:pt x="3903" y="2413"/>
                  </a:lnTo>
                  <a:lnTo>
                    <a:pt x="3894" y="2453"/>
                  </a:lnTo>
                  <a:lnTo>
                    <a:pt x="3882" y="2494"/>
                  </a:lnTo>
                  <a:lnTo>
                    <a:pt x="3871" y="2533"/>
                  </a:lnTo>
                  <a:lnTo>
                    <a:pt x="3859" y="2573"/>
                  </a:lnTo>
                  <a:lnTo>
                    <a:pt x="3809" y="2742"/>
                  </a:lnTo>
                  <a:lnTo>
                    <a:pt x="3764" y="2911"/>
                  </a:lnTo>
                  <a:lnTo>
                    <a:pt x="3725" y="3080"/>
                  </a:lnTo>
                  <a:lnTo>
                    <a:pt x="3693" y="3249"/>
                  </a:lnTo>
                  <a:lnTo>
                    <a:pt x="3665" y="3418"/>
                  </a:lnTo>
                  <a:lnTo>
                    <a:pt x="3644" y="3587"/>
                  </a:lnTo>
                  <a:lnTo>
                    <a:pt x="3626" y="3756"/>
                  </a:lnTo>
                  <a:lnTo>
                    <a:pt x="3614" y="3925"/>
                  </a:lnTo>
                  <a:lnTo>
                    <a:pt x="3607" y="4095"/>
                  </a:lnTo>
                  <a:lnTo>
                    <a:pt x="3605" y="4264"/>
                  </a:lnTo>
                  <a:lnTo>
                    <a:pt x="3607" y="4432"/>
                  </a:lnTo>
                  <a:lnTo>
                    <a:pt x="3613" y="4602"/>
                  </a:lnTo>
                  <a:lnTo>
                    <a:pt x="3623" y="4770"/>
                  </a:lnTo>
                  <a:lnTo>
                    <a:pt x="3637" y="4939"/>
                  </a:lnTo>
                  <a:lnTo>
                    <a:pt x="3655" y="5108"/>
                  </a:lnTo>
                  <a:lnTo>
                    <a:pt x="3675" y="5276"/>
                  </a:lnTo>
                  <a:lnTo>
                    <a:pt x="3700" y="5444"/>
                  </a:lnTo>
                  <a:lnTo>
                    <a:pt x="3727" y="5613"/>
                  </a:lnTo>
                  <a:lnTo>
                    <a:pt x="3758" y="5780"/>
                  </a:lnTo>
                  <a:lnTo>
                    <a:pt x="3791" y="5947"/>
                  </a:lnTo>
                  <a:lnTo>
                    <a:pt x="3826" y="6115"/>
                  </a:lnTo>
                  <a:lnTo>
                    <a:pt x="3864" y="6282"/>
                  </a:lnTo>
                  <a:lnTo>
                    <a:pt x="3905" y="6448"/>
                  </a:lnTo>
                  <a:lnTo>
                    <a:pt x="3947" y="6616"/>
                  </a:lnTo>
                  <a:lnTo>
                    <a:pt x="3991" y="6781"/>
                  </a:lnTo>
                  <a:lnTo>
                    <a:pt x="4036" y="6947"/>
                  </a:lnTo>
                  <a:lnTo>
                    <a:pt x="4082" y="7113"/>
                  </a:lnTo>
                  <a:lnTo>
                    <a:pt x="4130" y="7278"/>
                  </a:lnTo>
                  <a:lnTo>
                    <a:pt x="4179" y="7442"/>
                  </a:lnTo>
                  <a:lnTo>
                    <a:pt x="4229" y="7606"/>
                  </a:lnTo>
                  <a:lnTo>
                    <a:pt x="4279" y="7771"/>
                  </a:lnTo>
                  <a:lnTo>
                    <a:pt x="4330" y="7934"/>
                  </a:lnTo>
                  <a:lnTo>
                    <a:pt x="4329" y="7933"/>
                  </a:lnTo>
                  <a:lnTo>
                    <a:pt x="4318" y="7913"/>
                  </a:lnTo>
                  <a:lnTo>
                    <a:pt x="4299" y="7873"/>
                  </a:lnTo>
                  <a:lnTo>
                    <a:pt x="4271" y="7817"/>
                  </a:lnTo>
                  <a:lnTo>
                    <a:pt x="4192" y="7656"/>
                  </a:lnTo>
                  <a:lnTo>
                    <a:pt x="4081" y="7441"/>
                  </a:lnTo>
                  <a:lnTo>
                    <a:pt x="4016" y="7316"/>
                  </a:lnTo>
                  <a:lnTo>
                    <a:pt x="3944" y="7179"/>
                  </a:lnTo>
                  <a:lnTo>
                    <a:pt x="3864" y="7033"/>
                  </a:lnTo>
                  <a:lnTo>
                    <a:pt x="3779" y="6879"/>
                  </a:lnTo>
                  <a:lnTo>
                    <a:pt x="3689" y="6718"/>
                  </a:lnTo>
                  <a:lnTo>
                    <a:pt x="3592" y="6550"/>
                  </a:lnTo>
                  <a:lnTo>
                    <a:pt x="3490" y="6378"/>
                  </a:lnTo>
                  <a:lnTo>
                    <a:pt x="3382" y="6202"/>
                  </a:lnTo>
                  <a:lnTo>
                    <a:pt x="3270" y="6024"/>
                  </a:lnTo>
                  <a:lnTo>
                    <a:pt x="3154" y="5843"/>
                  </a:lnTo>
                  <a:lnTo>
                    <a:pt x="3034" y="5663"/>
                  </a:lnTo>
                  <a:lnTo>
                    <a:pt x="2908" y="5483"/>
                  </a:lnTo>
                  <a:lnTo>
                    <a:pt x="2780" y="5305"/>
                  </a:lnTo>
                  <a:lnTo>
                    <a:pt x="2648" y="5130"/>
                  </a:lnTo>
                  <a:lnTo>
                    <a:pt x="2513" y="4960"/>
                  </a:lnTo>
                  <a:lnTo>
                    <a:pt x="2375" y="4793"/>
                  </a:lnTo>
                  <a:lnTo>
                    <a:pt x="2235" y="4634"/>
                  </a:lnTo>
                  <a:lnTo>
                    <a:pt x="2092" y="4482"/>
                  </a:lnTo>
                  <a:lnTo>
                    <a:pt x="1947" y="4339"/>
                  </a:lnTo>
                  <a:lnTo>
                    <a:pt x="1800" y="4206"/>
                  </a:lnTo>
                  <a:lnTo>
                    <a:pt x="1652" y="4083"/>
                  </a:lnTo>
                  <a:lnTo>
                    <a:pt x="1503" y="3973"/>
                  </a:lnTo>
                  <a:lnTo>
                    <a:pt x="1352" y="3875"/>
                  </a:lnTo>
                  <a:lnTo>
                    <a:pt x="1201" y="3792"/>
                  </a:lnTo>
                  <a:lnTo>
                    <a:pt x="1159" y="3771"/>
                  </a:lnTo>
                  <a:lnTo>
                    <a:pt x="1117" y="3749"/>
                  </a:lnTo>
                  <a:lnTo>
                    <a:pt x="1075" y="3725"/>
                  </a:lnTo>
                  <a:lnTo>
                    <a:pt x="1034" y="3702"/>
                  </a:lnTo>
                  <a:lnTo>
                    <a:pt x="993" y="3677"/>
                  </a:lnTo>
                  <a:lnTo>
                    <a:pt x="953" y="3652"/>
                  </a:lnTo>
                  <a:lnTo>
                    <a:pt x="912" y="3626"/>
                  </a:lnTo>
                  <a:lnTo>
                    <a:pt x="873" y="3600"/>
                  </a:lnTo>
                  <a:lnTo>
                    <a:pt x="834" y="3572"/>
                  </a:lnTo>
                  <a:lnTo>
                    <a:pt x="796" y="3544"/>
                  </a:lnTo>
                  <a:lnTo>
                    <a:pt x="758" y="3514"/>
                  </a:lnTo>
                  <a:lnTo>
                    <a:pt x="720" y="3484"/>
                  </a:lnTo>
                  <a:lnTo>
                    <a:pt x="684" y="3454"/>
                  </a:lnTo>
                  <a:lnTo>
                    <a:pt x="648" y="3422"/>
                  </a:lnTo>
                  <a:lnTo>
                    <a:pt x="612" y="3390"/>
                  </a:lnTo>
                  <a:lnTo>
                    <a:pt x="577" y="3357"/>
                  </a:lnTo>
                  <a:lnTo>
                    <a:pt x="544" y="3323"/>
                  </a:lnTo>
                  <a:lnTo>
                    <a:pt x="511" y="3288"/>
                  </a:lnTo>
                  <a:lnTo>
                    <a:pt x="479" y="3253"/>
                  </a:lnTo>
                  <a:lnTo>
                    <a:pt x="447" y="3217"/>
                  </a:lnTo>
                  <a:lnTo>
                    <a:pt x="416" y="3179"/>
                  </a:lnTo>
                  <a:lnTo>
                    <a:pt x="387" y="3142"/>
                  </a:lnTo>
                  <a:lnTo>
                    <a:pt x="357" y="3103"/>
                  </a:lnTo>
                  <a:lnTo>
                    <a:pt x="330" y="3063"/>
                  </a:lnTo>
                  <a:lnTo>
                    <a:pt x="302" y="3022"/>
                  </a:lnTo>
                  <a:lnTo>
                    <a:pt x="276" y="2980"/>
                  </a:lnTo>
                  <a:lnTo>
                    <a:pt x="251" y="2938"/>
                  </a:lnTo>
                  <a:lnTo>
                    <a:pt x="227" y="2895"/>
                  </a:lnTo>
                  <a:lnTo>
                    <a:pt x="204" y="2851"/>
                  </a:lnTo>
                  <a:lnTo>
                    <a:pt x="183" y="2806"/>
                  </a:lnTo>
                  <a:lnTo>
                    <a:pt x="162" y="2760"/>
                  </a:lnTo>
                  <a:lnTo>
                    <a:pt x="142" y="2713"/>
                  </a:lnTo>
                  <a:lnTo>
                    <a:pt x="107" y="2618"/>
                  </a:lnTo>
                  <a:lnTo>
                    <a:pt x="76" y="2522"/>
                  </a:lnTo>
                  <a:lnTo>
                    <a:pt x="51" y="2425"/>
                  </a:lnTo>
                  <a:lnTo>
                    <a:pt x="32" y="2329"/>
                  </a:lnTo>
                  <a:lnTo>
                    <a:pt x="16" y="2232"/>
                  </a:lnTo>
                  <a:lnTo>
                    <a:pt x="6" y="2136"/>
                  </a:lnTo>
                  <a:lnTo>
                    <a:pt x="1" y="2039"/>
                  </a:lnTo>
                  <a:lnTo>
                    <a:pt x="0" y="1942"/>
                  </a:lnTo>
                  <a:lnTo>
                    <a:pt x="4" y="1846"/>
                  </a:lnTo>
                  <a:lnTo>
                    <a:pt x="13" y="1751"/>
                  </a:lnTo>
                  <a:lnTo>
                    <a:pt x="26" y="1656"/>
                  </a:lnTo>
                  <a:lnTo>
                    <a:pt x="45" y="1562"/>
                  </a:lnTo>
                  <a:lnTo>
                    <a:pt x="67" y="1470"/>
                  </a:lnTo>
                  <a:lnTo>
                    <a:pt x="94" y="1378"/>
                  </a:lnTo>
                  <a:lnTo>
                    <a:pt x="124" y="1289"/>
                  </a:lnTo>
                  <a:lnTo>
                    <a:pt x="160" y="1201"/>
                  </a:lnTo>
                  <a:lnTo>
                    <a:pt x="199" y="1114"/>
                  </a:lnTo>
                  <a:lnTo>
                    <a:pt x="243" y="1029"/>
                  </a:lnTo>
                  <a:lnTo>
                    <a:pt x="290" y="947"/>
                  </a:lnTo>
                  <a:lnTo>
                    <a:pt x="341" y="867"/>
                  </a:lnTo>
                  <a:lnTo>
                    <a:pt x="397" y="790"/>
                  </a:lnTo>
                  <a:lnTo>
                    <a:pt x="455" y="714"/>
                  </a:lnTo>
                  <a:lnTo>
                    <a:pt x="518" y="642"/>
                  </a:lnTo>
                  <a:lnTo>
                    <a:pt x="585" y="572"/>
                  </a:lnTo>
                  <a:lnTo>
                    <a:pt x="655" y="506"/>
                  </a:lnTo>
                  <a:lnTo>
                    <a:pt x="728" y="443"/>
                  </a:lnTo>
                  <a:lnTo>
                    <a:pt x="805" y="384"/>
                  </a:lnTo>
                  <a:lnTo>
                    <a:pt x="886" y="328"/>
                  </a:lnTo>
                  <a:lnTo>
                    <a:pt x="969" y="274"/>
                  </a:lnTo>
                  <a:lnTo>
                    <a:pt x="1056" y="227"/>
                  </a:lnTo>
                  <a:lnTo>
                    <a:pt x="1146" y="182"/>
                  </a:lnTo>
                  <a:lnTo>
                    <a:pt x="1240" y="142"/>
                  </a:lnTo>
                  <a:close/>
                </a:path>
              </a:pathLst>
            </a:custGeom>
            <a:solidFill>
              <a:sysClr val="windowText" lastClr="000000">
                <a:lumMod val="95000"/>
                <a:lumOff val="5000"/>
                <a:alpha val="25000"/>
              </a:sys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kern="0">
                <a:solidFill>
                  <a:sysClr val="windowText" lastClr="000000"/>
                </a:solidFill>
                <a:latin typeface="Calibri" pitchFamily="-109" charset="0"/>
                <a:ea typeface="+mn-ea"/>
                <a:cs typeface="Arial" charset="0"/>
              </a:endParaRPr>
            </a:p>
          </p:txBody>
        </p:sp>
        <p:grpSp>
          <p:nvGrpSpPr>
            <p:cNvPr id="20" name="Group 133"/>
            <p:cNvGrpSpPr>
              <a:grpSpLocks/>
            </p:cNvGrpSpPr>
            <p:nvPr/>
          </p:nvGrpSpPr>
          <p:grpSpPr bwMode="auto">
            <a:xfrm flipH="1">
              <a:off x="4435355" y="2500313"/>
              <a:ext cx="650979" cy="1241111"/>
              <a:chOff x="7001096" y="2143116"/>
              <a:chExt cx="1000276" cy="1833550"/>
            </a:xfrm>
          </p:grpSpPr>
          <p:sp>
            <p:nvSpPr>
              <p:cNvPr id="695" name="Freeform 57"/>
              <p:cNvSpPr>
                <a:spLocks/>
              </p:cNvSpPr>
              <p:nvPr/>
            </p:nvSpPr>
            <p:spPr bwMode="auto">
              <a:xfrm>
                <a:off x="7001096" y="2143116"/>
                <a:ext cx="1000276" cy="1833550"/>
              </a:xfrm>
              <a:custGeom>
                <a:avLst/>
                <a:gdLst/>
                <a:ahLst/>
                <a:cxnLst>
                  <a:cxn ang="0">
                    <a:pos x="1431" y="75"/>
                  </a:cxn>
                  <a:cxn ang="0">
                    <a:pos x="1720" y="15"/>
                  </a:cxn>
                  <a:cxn ang="0">
                    <a:pos x="2010" y="0"/>
                  </a:cxn>
                  <a:cxn ang="0">
                    <a:pos x="2296" y="27"/>
                  </a:cxn>
                  <a:cxn ang="0">
                    <a:pos x="2573" y="93"/>
                  </a:cxn>
                  <a:cxn ang="0">
                    <a:pos x="2838" y="199"/>
                  </a:cxn>
                  <a:cxn ang="0">
                    <a:pos x="3086" y="341"/>
                  </a:cxn>
                  <a:cxn ang="0">
                    <a:pos x="3310" y="517"/>
                  </a:cxn>
                  <a:cxn ang="0">
                    <a:pos x="3509" y="727"/>
                  </a:cxn>
                  <a:cxn ang="0">
                    <a:pos x="3677" y="968"/>
                  </a:cxn>
                  <a:cxn ang="0">
                    <a:pos x="3811" y="1239"/>
                  </a:cxn>
                  <a:cxn ang="0">
                    <a:pos x="3856" y="1364"/>
                  </a:cxn>
                  <a:cxn ang="0">
                    <a:pos x="3893" y="1490"/>
                  </a:cxn>
                  <a:cxn ang="0">
                    <a:pos x="3920" y="1617"/>
                  </a:cxn>
                  <a:cxn ang="0">
                    <a:pos x="3940" y="1744"/>
                  </a:cxn>
                  <a:cxn ang="0">
                    <a:pos x="3950" y="1871"/>
                  </a:cxn>
                  <a:cxn ang="0">
                    <a:pos x="3953" y="1998"/>
                  </a:cxn>
                  <a:cxn ang="0">
                    <a:pos x="3947" y="2123"/>
                  </a:cxn>
                  <a:cxn ang="0">
                    <a:pos x="3933" y="2249"/>
                  </a:cxn>
                  <a:cxn ang="0">
                    <a:pos x="3912" y="2372"/>
                  </a:cxn>
                  <a:cxn ang="0">
                    <a:pos x="3882" y="2494"/>
                  </a:cxn>
                  <a:cxn ang="0">
                    <a:pos x="3809" y="2742"/>
                  </a:cxn>
                  <a:cxn ang="0">
                    <a:pos x="3693" y="3249"/>
                  </a:cxn>
                  <a:cxn ang="0">
                    <a:pos x="3626" y="3756"/>
                  </a:cxn>
                  <a:cxn ang="0">
                    <a:pos x="3605" y="4264"/>
                  </a:cxn>
                  <a:cxn ang="0">
                    <a:pos x="3623" y="4770"/>
                  </a:cxn>
                  <a:cxn ang="0">
                    <a:pos x="3675" y="5276"/>
                  </a:cxn>
                  <a:cxn ang="0">
                    <a:pos x="3758" y="5780"/>
                  </a:cxn>
                  <a:cxn ang="0">
                    <a:pos x="3864" y="6282"/>
                  </a:cxn>
                  <a:cxn ang="0">
                    <a:pos x="3991" y="6781"/>
                  </a:cxn>
                  <a:cxn ang="0">
                    <a:pos x="4130" y="7278"/>
                  </a:cxn>
                  <a:cxn ang="0">
                    <a:pos x="4279" y="7771"/>
                  </a:cxn>
                  <a:cxn ang="0">
                    <a:pos x="4318" y="7913"/>
                  </a:cxn>
                  <a:cxn ang="0">
                    <a:pos x="4192" y="7656"/>
                  </a:cxn>
                  <a:cxn ang="0">
                    <a:pos x="3944" y="7179"/>
                  </a:cxn>
                  <a:cxn ang="0">
                    <a:pos x="3689" y="6718"/>
                  </a:cxn>
                  <a:cxn ang="0">
                    <a:pos x="3382" y="6202"/>
                  </a:cxn>
                  <a:cxn ang="0">
                    <a:pos x="3034" y="5663"/>
                  </a:cxn>
                  <a:cxn ang="0">
                    <a:pos x="2648" y="5130"/>
                  </a:cxn>
                  <a:cxn ang="0">
                    <a:pos x="2235" y="4634"/>
                  </a:cxn>
                  <a:cxn ang="0">
                    <a:pos x="1800" y="4206"/>
                  </a:cxn>
                  <a:cxn ang="0">
                    <a:pos x="1352" y="3875"/>
                  </a:cxn>
                  <a:cxn ang="0">
                    <a:pos x="1117" y="3749"/>
                  </a:cxn>
                  <a:cxn ang="0">
                    <a:pos x="993" y="3677"/>
                  </a:cxn>
                  <a:cxn ang="0">
                    <a:pos x="873" y="3600"/>
                  </a:cxn>
                  <a:cxn ang="0">
                    <a:pos x="758" y="3514"/>
                  </a:cxn>
                  <a:cxn ang="0">
                    <a:pos x="648" y="3422"/>
                  </a:cxn>
                  <a:cxn ang="0">
                    <a:pos x="544" y="3323"/>
                  </a:cxn>
                  <a:cxn ang="0">
                    <a:pos x="447" y="3217"/>
                  </a:cxn>
                  <a:cxn ang="0">
                    <a:pos x="357" y="3103"/>
                  </a:cxn>
                  <a:cxn ang="0">
                    <a:pos x="276" y="2980"/>
                  </a:cxn>
                  <a:cxn ang="0">
                    <a:pos x="204" y="2851"/>
                  </a:cxn>
                  <a:cxn ang="0">
                    <a:pos x="142" y="2713"/>
                  </a:cxn>
                  <a:cxn ang="0">
                    <a:pos x="51" y="2425"/>
                  </a:cxn>
                  <a:cxn ang="0">
                    <a:pos x="6" y="2136"/>
                  </a:cxn>
                  <a:cxn ang="0">
                    <a:pos x="4" y="1846"/>
                  </a:cxn>
                  <a:cxn ang="0">
                    <a:pos x="45" y="1562"/>
                  </a:cxn>
                  <a:cxn ang="0">
                    <a:pos x="124" y="1289"/>
                  </a:cxn>
                  <a:cxn ang="0">
                    <a:pos x="243" y="1029"/>
                  </a:cxn>
                  <a:cxn ang="0">
                    <a:pos x="397" y="790"/>
                  </a:cxn>
                  <a:cxn ang="0">
                    <a:pos x="585" y="572"/>
                  </a:cxn>
                  <a:cxn ang="0">
                    <a:pos x="805" y="384"/>
                  </a:cxn>
                  <a:cxn ang="0">
                    <a:pos x="1056" y="227"/>
                  </a:cxn>
                </a:cxnLst>
                <a:rect l="0" t="0" r="r" b="b"/>
                <a:pathLst>
                  <a:path w="4330" h="7934">
                    <a:moveTo>
                      <a:pt x="1240" y="142"/>
                    </a:moveTo>
                    <a:lnTo>
                      <a:pt x="1335" y="106"/>
                    </a:lnTo>
                    <a:lnTo>
                      <a:pt x="1431" y="75"/>
                    </a:lnTo>
                    <a:lnTo>
                      <a:pt x="1526" y="51"/>
                    </a:lnTo>
                    <a:lnTo>
                      <a:pt x="1623" y="31"/>
                    </a:lnTo>
                    <a:lnTo>
                      <a:pt x="1720" y="15"/>
                    </a:lnTo>
                    <a:lnTo>
                      <a:pt x="1817" y="5"/>
                    </a:lnTo>
                    <a:lnTo>
                      <a:pt x="1914" y="0"/>
                    </a:lnTo>
                    <a:lnTo>
                      <a:pt x="2010" y="0"/>
                    </a:lnTo>
                    <a:lnTo>
                      <a:pt x="2106" y="4"/>
                    </a:lnTo>
                    <a:lnTo>
                      <a:pt x="2202" y="13"/>
                    </a:lnTo>
                    <a:lnTo>
                      <a:pt x="2296" y="27"/>
                    </a:lnTo>
                    <a:lnTo>
                      <a:pt x="2390" y="44"/>
                    </a:lnTo>
                    <a:lnTo>
                      <a:pt x="2483" y="66"/>
                    </a:lnTo>
                    <a:lnTo>
                      <a:pt x="2573" y="93"/>
                    </a:lnTo>
                    <a:lnTo>
                      <a:pt x="2663" y="124"/>
                    </a:lnTo>
                    <a:lnTo>
                      <a:pt x="2752" y="159"/>
                    </a:lnTo>
                    <a:lnTo>
                      <a:pt x="2838" y="199"/>
                    </a:lnTo>
                    <a:lnTo>
                      <a:pt x="2922" y="242"/>
                    </a:lnTo>
                    <a:lnTo>
                      <a:pt x="3005" y="290"/>
                    </a:lnTo>
                    <a:lnTo>
                      <a:pt x="3086" y="341"/>
                    </a:lnTo>
                    <a:lnTo>
                      <a:pt x="3163" y="396"/>
                    </a:lnTo>
                    <a:lnTo>
                      <a:pt x="3238" y="455"/>
                    </a:lnTo>
                    <a:lnTo>
                      <a:pt x="3310" y="517"/>
                    </a:lnTo>
                    <a:lnTo>
                      <a:pt x="3379" y="585"/>
                    </a:lnTo>
                    <a:lnTo>
                      <a:pt x="3446" y="654"/>
                    </a:lnTo>
                    <a:lnTo>
                      <a:pt x="3509" y="727"/>
                    </a:lnTo>
                    <a:lnTo>
                      <a:pt x="3569" y="805"/>
                    </a:lnTo>
                    <a:lnTo>
                      <a:pt x="3625" y="885"/>
                    </a:lnTo>
                    <a:lnTo>
                      <a:pt x="3677" y="968"/>
                    </a:lnTo>
                    <a:lnTo>
                      <a:pt x="3726" y="1056"/>
                    </a:lnTo>
                    <a:lnTo>
                      <a:pt x="3770" y="1146"/>
                    </a:lnTo>
                    <a:lnTo>
                      <a:pt x="3811" y="1239"/>
                    </a:lnTo>
                    <a:lnTo>
                      <a:pt x="3826" y="1280"/>
                    </a:lnTo>
                    <a:lnTo>
                      <a:pt x="3842" y="1322"/>
                    </a:lnTo>
                    <a:lnTo>
                      <a:pt x="3856" y="1364"/>
                    </a:lnTo>
                    <a:lnTo>
                      <a:pt x="3869" y="1406"/>
                    </a:lnTo>
                    <a:lnTo>
                      <a:pt x="3881" y="1448"/>
                    </a:lnTo>
                    <a:lnTo>
                      <a:pt x="3893" y="1490"/>
                    </a:lnTo>
                    <a:lnTo>
                      <a:pt x="3903" y="1533"/>
                    </a:lnTo>
                    <a:lnTo>
                      <a:pt x="3912" y="1574"/>
                    </a:lnTo>
                    <a:lnTo>
                      <a:pt x="3920" y="1617"/>
                    </a:lnTo>
                    <a:lnTo>
                      <a:pt x="3927" y="1659"/>
                    </a:lnTo>
                    <a:lnTo>
                      <a:pt x="3935" y="1702"/>
                    </a:lnTo>
                    <a:lnTo>
                      <a:pt x="3940" y="1744"/>
                    </a:lnTo>
                    <a:lnTo>
                      <a:pt x="3944" y="1787"/>
                    </a:lnTo>
                    <a:lnTo>
                      <a:pt x="3948" y="1828"/>
                    </a:lnTo>
                    <a:lnTo>
                      <a:pt x="3950" y="1871"/>
                    </a:lnTo>
                    <a:lnTo>
                      <a:pt x="3952" y="1913"/>
                    </a:lnTo>
                    <a:lnTo>
                      <a:pt x="3953" y="1956"/>
                    </a:lnTo>
                    <a:lnTo>
                      <a:pt x="3953" y="1998"/>
                    </a:lnTo>
                    <a:lnTo>
                      <a:pt x="3952" y="2040"/>
                    </a:lnTo>
                    <a:lnTo>
                      <a:pt x="3950" y="2081"/>
                    </a:lnTo>
                    <a:lnTo>
                      <a:pt x="3947" y="2123"/>
                    </a:lnTo>
                    <a:lnTo>
                      <a:pt x="3944" y="2165"/>
                    </a:lnTo>
                    <a:lnTo>
                      <a:pt x="3939" y="2207"/>
                    </a:lnTo>
                    <a:lnTo>
                      <a:pt x="3933" y="2249"/>
                    </a:lnTo>
                    <a:lnTo>
                      <a:pt x="3927" y="2290"/>
                    </a:lnTo>
                    <a:lnTo>
                      <a:pt x="3920" y="2331"/>
                    </a:lnTo>
                    <a:lnTo>
                      <a:pt x="3912" y="2372"/>
                    </a:lnTo>
                    <a:lnTo>
                      <a:pt x="3903" y="2413"/>
                    </a:lnTo>
                    <a:lnTo>
                      <a:pt x="3894" y="2453"/>
                    </a:lnTo>
                    <a:lnTo>
                      <a:pt x="3882" y="2494"/>
                    </a:lnTo>
                    <a:lnTo>
                      <a:pt x="3871" y="2533"/>
                    </a:lnTo>
                    <a:lnTo>
                      <a:pt x="3859" y="2573"/>
                    </a:lnTo>
                    <a:lnTo>
                      <a:pt x="3809" y="2742"/>
                    </a:lnTo>
                    <a:lnTo>
                      <a:pt x="3764" y="2911"/>
                    </a:lnTo>
                    <a:lnTo>
                      <a:pt x="3725" y="3080"/>
                    </a:lnTo>
                    <a:lnTo>
                      <a:pt x="3693" y="3249"/>
                    </a:lnTo>
                    <a:lnTo>
                      <a:pt x="3665" y="3418"/>
                    </a:lnTo>
                    <a:lnTo>
                      <a:pt x="3644" y="3587"/>
                    </a:lnTo>
                    <a:lnTo>
                      <a:pt x="3626" y="3756"/>
                    </a:lnTo>
                    <a:lnTo>
                      <a:pt x="3614" y="3925"/>
                    </a:lnTo>
                    <a:lnTo>
                      <a:pt x="3607" y="4095"/>
                    </a:lnTo>
                    <a:lnTo>
                      <a:pt x="3605" y="4264"/>
                    </a:lnTo>
                    <a:lnTo>
                      <a:pt x="3607" y="4432"/>
                    </a:lnTo>
                    <a:lnTo>
                      <a:pt x="3613" y="4602"/>
                    </a:lnTo>
                    <a:lnTo>
                      <a:pt x="3623" y="4770"/>
                    </a:lnTo>
                    <a:lnTo>
                      <a:pt x="3637" y="4939"/>
                    </a:lnTo>
                    <a:lnTo>
                      <a:pt x="3655" y="5108"/>
                    </a:lnTo>
                    <a:lnTo>
                      <a:pt x="3675" y="5276"/>
                    </a:lnTo>
                    <a:lnTo>
                      <a:pt x="3700" y="5444"/>
                    </a:lnTo>
                    <a:lnTo>
                      <a:pt x="3727" y="5613"/>
                    </a:lnTo>
                    <a:lnTo>
                      <a:pt x="3758" y="5780"/>
                    </a:lnTo>
                    <a:lnTo>
                      <a:pt x="3791" y="5947"/>
                    </a:lnTo>
                    <a:lnTo>
                      <a:pt x="3826" y="6115"/>
                    </a:lnTo>
                    <a:lnTo>
                      <a:pt x="3864" y="6282"/>
                    </a:lnTo>
                    <a:lnTo>
                      <a:pt x="3905" y="6448"/>
                    </a:lnTo>
                    <a:lnTo>
                      <a:pt x="3947" y="6616"/>
                    </a:lnTo>
                    <a:lnTo>
                      <a:pt x="3991" y="6781"/>
                    </a:lnTo>
                    <a:lnTo>
                      <a:pt x="4036" y="6947"/>
                    </a:lnTo>
                    <a:lnTo>
                      <a:pt x="4082" y="7113"/>
                    </a:lnTo>
                    <a:lnTo>
                      <a:pt x="4130" y="7278"/>
                    </a:lnTo>
                    <a:lnTo>
                      <a:pt x="4179" y="7442"/>
                    </a:lnTo>
                    <a:lnTo>
                      <a:pt x="4229" y="7606"/>
                    </a:lnTo>
                    <a:lnTo>
                      <a:pt x="4279" y="7771"/>
                    </a:lnTo>
                    <a:lnTo>
                      <a:pt x="4330" y="7934"/>
                    </a:lnTo>
                    <a:lnTo>
                      <a:pt x="4329" y="7933"/>
                    </a:lnTo>
                    <a:lnTo>
                      <a:pt x="4318" y="7913"/>
                    </a:lnTo>
                    <a:lnTo>
                      <a:pt x="4299" y="7873"/>
                    </a:lnTo>
                    <a:lnTo>
                      <a:pt x="4271" y="7817"/>
                    </a:lnTo>
                    <a:lnTo>
                      <a:pt x="4192" y="7656"/>
                    </a:lnTo>
                    <a:lnTo>
                      <a:pt x="4081" y="7441"/>
                    </a:lnTo>
                    <a:lnTo>
                      <a:pt x="4016" y="7316"/>
                    </a:lnTo>
                    <a:lnTo>
                      <a:pt x="3944" y="7179"/>
                    </a:lnTo>
                    <a:lnTo>
                      <a:pt x="3864" y="7033"/>
                    </a:lnTo>
                    <a:lnTo>
                      <a:pt x="3779" y="6879"/>
                    </a:lnTo>
                    <a:lnTo>
                      <a:pt x="3689" y="6718"/>
                    </a:lnTo>
                    <a:lnTo>
                      <a:pt x="3592" y="6550"/>
                    </a:lnTo>
                    <a:lnTo>
                      <a:pt x="3490" y="6378"/>
                    </a:lnTo>
                    <a:lnTo>
                      <a:pt x="3382" y="6202"/>
                    </a:lnTo>
                    <a:lnTo>
                      <a:pt x="3270" y="6024"/>
                    </a:lnTo>
                    <a:lnTo>
                      <a:pt x="3154" y="5843"/>
                    </a:lnTo>
                    <a:lnTo>
                      <a:pt x="3034" y="5663"/>
                    </a:lnTo>
                    <a:lnTo>
                      <a:pt x="2908" y="5483"/>
                    </a:lnTo>
                    <a:lnTo>
                      <a:pt x="2780" y="5305"/>
                    </a:lnTo>
                    <a:lnTo>
                      <a:pt x="2648" y="5130"/>
                    </a:lnTo>
                    <a:lnTo>
                      <a:pt x="2513" y="4960"/>
                    </a:lnTo>
                    <a:lnTo>
                      <a:pt x="2375" y="4793"/>
                    </a:lnTo>
                    <a:lnTo>
                      <a:pt x="2235" y="4634"/>
                    </a:lnTo>
                    <a:lnTo>
                      <a:pt x="2092" y="4482"/>
                    </a:lnTo>
                    <a:lnTo>
                      <a:pt x="1947" y="4339"/>
                    </a:lnTo>
                    <a:lnTo>
                      <a:pt x="1800" y="4206"/>
                    </a:lnTo>
                    <a:lnTo>
                      <a:pt x="1652" y="4083"/>
                    </a:lnTo>
                    <a:lnTo>
                      <a:pt x="1503" y="3973"/>
                    </a:lnTo>
                    <a:lnTo>
                      <a:pt x="1352" y="3875"/>
                    </a:lnTo>
                    <a:lnTo>
                      <a:pt x="1201" y="3792"/>
                    </a:lnTo>
                    <a:lnTo>
                      <a:pt x="1159" y="3771"/>
                    </a:lnTo>
                    <a:lnTo>
                      <a:pt x="1117" y="3749"/>
                    </a:lnTo>
                    <a:lnTo>
                      <a:pt x="1075" y="3725"/>
                    </a:lnTo>
                    <a:lnTo>
                      <a:pt x="1034" y="3702"/>
                    </a:lnTo>
                    <a:lnTo>
                      <a:pt x="993" y="3677"/>
                    </a:lnTo>
                    <a:lnTo>
                      <a:pt x="953" y="3652"/>
                    </a:lnTo>
                    <a:lnTo>
                      <a:pt x="912" y="3626"/>
                    </a:lnTo>
                    <a:lnTo>
                      <a:pt x="873" y="3600"/>
                    </a:lnTo>
                    <a:lnTo>
                      <a:pt x="834" y="3572"/>
                    </a:lnTo>
                    <a:lnTo>
                      <a:pt x="796" y="3544"/>
                    </a:lnTo>
                    <a:lnTo>
                      <a:pt x="758" y="3514"/>
                    </a:lnTo>
                    <a:lnTo>
                      <a:pt x="720" y="3484"/>
                    </a:lnTo>
                    <a:lnTo>
                      <a:pt x="684" y="3454"/>
                    </a:lnTo>
                    <a:lnTo>
                      <a:pt x="648" y="3422"/>
                    </a:lnTo>
                    <a:lnTo>
                      <a:pt x="612" y="3390"/>
                    </a:lnTo>
                    <a:lnTo>
                      <a:pt x="577" y="3357"/>
                    </a:lnTo>
                    <a:lnTo>
                      <a:pt x="544" y="3323"/>
                    </a:lnTo>
                    <a:lnTo>
                      <a:pt x="511" y="3288"/>
                    </a:lnTo>
                    <a:lnTo>
                      <a:pt x="479" y="3253"/>
                    </a:lnTo>
                    <a:lnTo>
                      <a:pt x="447" y="3217"/>
                    </a:lnTo>
                    <a:lnTo>
                      <a:pt x="416" y="3179"/>
                    </a:lnTo>
                    <a:lnTo>
                      <a:pt x="387" y="3142"/>
                    </a:lnTo>
                    <a:lnTo>
                      <a:pt x="357" y="3103"/>
                    </a:lnTo>
                    <a:lnTo>
                      <a:pt x="330" y="3063"/>
                    </a:lnTo>
                    <a:lnTo>
                      <a:pt x="302" y="3022"/>
                    </a:lnTo>
                    <a:lnTo>
                      <a:pt x="276" y="2980"/>
                    </a:lnTo>
                    <a:lnTo>
                      <a:pt x="251" y="2938"/>
                    </a:lnTo>
                    <a:lnTo>
                      <a:pt x="227" y="2895"/>
                    </a:lnTo>
                    <a:lnTo>
                      <a:pt x="204" y="2851"/>
                    </a:lnTo>
                    <a:lnTo>
                      <a:pt x="183" y="2806"/>
                    </a:lnTo>
                    <a:lnTo>
                      <a:pt x="162" y="2760"/>
                    </a:lnTo>
                    <a:lnTo>
                      <a:pt x="142" y="2713"/>
                    </a:lnTo>
                    <a:lnTo>
                      <a:pt x="107" y="2618"/>
                    </a:lnTo>
                    <a:lnTo>
                      <a:pt x="76" y="2522"/>
                    </a:lnTo>
                    <a:lnTo>
                      <a:pt x="51" y="2425"/>
                    </a:lnTo>
                    <a:lnTo>
                      <a:pt x="32" y="2329"/>
                    </a:lnTo>
                    <a:lnTo>
                      <a:pt x="16" y="2232"/>
                    </a:lnTo>
                    <a:lnTo>
                      <a:pt x="6" y="2136"/>
                    </a:lnTo>
                    <a:lnTo>
                      <a:pt x="1" y="2039"/>
                    </a:lnTo>
                    <a:lnTo>
                      <a:pt x="0" y="1942"/>
                    </a:lnTo>
                    <a:lnTo>
                      <a:pt x="4" y="1846"/>
                    </a:lnTo>
                    <a:lnTo>
                      <a:pt x="13" y="1751"/>
                    </a:lnTo>
                    <a:lnTo>
                      <a:pt x="26" y="1656"/>
                    </a:lnTo>
                    <a:lnTo>
                      <a:pt x="45" y="1562"/>
                    </a:lnTo>
                    <a:lnTo>
                      <a:pt x="67" y="1470"/>
                    </a:lnTo>
                    <a:lnTo>
                      <a:pt x="94" y="1378"/>
                    </a:lnTo>
                    <a:lnTo>
                      <a:pt x="124" y="1289"/>
                    </a:lnTo>
                    <a:lnTo>
                      <a:pt x="160" y="1201"/>
                    </a:lnTo>
                    <a:lnTo>
                      <a:pt x="199" y="1114"/>
                    </a:lnTo>
                    <a:lnTo>
                      <a:pt x="243" y="1029"/>
                    </a:lnTo>
                    <a:lnTo>
                      <a:pt x="290" y="947"/>
                    </a:lnTo>
                    <a:lnTo>
                      <a:pt x="341" y="867"/>
                    </a:lnTo>
                    <a:lnTo>
                      <a:pt x="397" y="790"/>
                    </a:lnTo>
                    <a:lnTo>
                      <a:pt x="455" y="714"/>
                    </a:lnTo>
                    <a:lnTo>
                      <a:pt x="518" y="642"/>
                    </a:lnTo>
                    <a:lnTo>
                      <a:pt x="585" y="572"/>
                    </a:lnTo>
                    <a:lnTo>
                      <a:pt x="655" y="506"/>
                    </a:lnTo>
                    <a:lnTo>
                      <a:pt x="728" y="443"/>
                    </a:lnTo>
                    <a:lnTo>
                      <a:pt x="805" y="384"/>
                    </a:lnTo>
                    <a:lnTo>
                      <a:pt x="886" y="328"/>
                    </a:lnTo>
                    <a:lnTo>
                      <a:pt x="969" y="274"/>
                    </a:lnTo>
                    <a:lnTo>
                      <a:pt x="1056" y="227"/>
                    </a:lnTo>
                    <a:lnTo>
                      <a:pt x="1146" y="182"/>
                    </a:lnTo>
                    <a:lnTo>
                      <a:pt x="1240" y="142"/>
                    </a:lnTo>
                    <a:close/>
                  </a:path>
                </a:pathLst>
              </a:custGeom>
              <a:gradFill>
                <a:gsLst>
                  <a:gs pos="0">
                    <a:srgbClr val="1F497D">
                      <a:lumMod val="50000"/>
                    </a:srgbClr>
                  </a:gs>
                  <a:gs pos="67000">
                    <a:srgbClr val="002060"/>
                  </a:gs>
                </a:gsLst>
                <a:lin ang="5400000" scaled="0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id-ID" kern="0">
                  <a:solidFill>
                    <a:sysClr val="windowText" lastClr="000000"/>
                  </a:solidFill>
                  <a:latin typeface="Calibri" pitchFamily="-109" charset="0"/>
                  <a:ea typeface="+mn-ea"/>
                  <a:cs typeface="Arial" charset="0"/>
                </a:endParaRPr>
              </a:p>
            </p:txBody>
          </p:sp>
          <p:sp>
            <p:nvSpPr>
              <p:cNvPr id="696" name="Oval 695"/>
              <p:cNvSpPr/>
              <p:nvPr/>
            </p:nvSpPr>
            <p:spPr>
              <a:xfrm flipV="1">
                <a:off x="7128300" y="2206820"/>
                <a:ext cx="687491" cy="623788"/>
              </a:xfrm>
              <a:prstGeom prst="ellipse">
                <a:avLst/>
              </a:prstGeom>
              <a:gradFill>
                <a:gsLst>
                  <a:gs pos="15000">
                    <a:srgbClr val="4F81BD">
                      <a:tint val="66000"/>
                      <a:satMod val="160000"/>
                      <a:alpha val="13000"/>
                    </a:srgbClr>
                  </a:gs>
                  <a:gs pos="100000">
                    <a:srgbClr val="4F81BD">
                      <a:tint val="44500"/>
                      <a:satMod val="160000"/>
                      <a:alpha val="59000"/>
                    </a:srgbClr>
                  </a:gs>
                  <a:gs pos="100000">
                    <a:srgbClr val="4F81BD">
                      <a:tint val="23500"/>
                      <a:satMod val="160000"/>
                      <a:alpha val="41000"/>
                    </a:srgbClr>
                  </a:gs>
                  <a:gs pos="100000">
                    <a:srgbClr val="4F81BD">
                      <a:tint val="23500"/>
                      <a:satMod val="160000"/>
                      <a:alpha val="0"/>
                    </a:srgbClr>
                  </a:gs>
                </a:gsLst>
                <a:lin ang="5400000" scaled="1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1pPr>
                <a:lvl2pPr marL="37931725" indent="-37474525"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2pPr>
                <a:lvl3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3pPr>
                <a:lvl4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4pPr>
                <a:lvl5pPr eaLnBrk="0" hangingPunct="0"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5pPr>
                <a:lvl6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6pPr>
                <a:lvl7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7pPr>
                <a:lvl8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8pPr>
                <a:lvl9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-109" charset="0"/>
                    <a:cs typeface="Arial" charset="0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sz="1800" kern="0" smtClean="0">
                  <a:solidFill>
                    <a:srgbClr val="FFFFFF"/>
                  </a:solidFill>
                  <a:ea typeface="+mn-ea"/>
                </a:endParaRPr>
              </a:p>
            </p:txBody>
          </p:sp>
        </p:grpSp>
      </p:grpSp>
      <p:sp>
        <p:nvSpPr>
          <p:cNvPr id="700" name="Rounded Rectangle 33"/>
          <p:cNvSpPr>
            <a:spLocks noChangeArrowheads="1"/>
          </p:cNvSpPr>
          <p:nvPr/>
        </p:nvSpPr>
        <p:spPr bwMode="auto">
          <a:xfrm>
            <a:off x="468313" y="1357313"/>
            <a:ext cx="2514600" cy="4144962"/>
          </a:xfrm>
          <a:prstGeom prst="roundRect">
            <a:avLst>
              <a:gd name="adj" fmla="val 4903"/>
            </a:avLst>
          </a:prstGeom>
          <a:solidFill>
            <a:srgbClr val="FFFFFF"/>
          </a:solidFill>
          <a:ln w="6350">
            <a:solidFill>
              <a:srgbClr val="D9D9D9"/>
            </a:solidFill>
            <a:round/>
            <a:headEnd/>
            <a:tailEnd/>
          </a:ln>
          <a:effectLst>
            <a:outerShdw dist="12700" dir="2700000" rotWithShape="0">
              <a:srgbClr val="7F7F7F">
                <a:alpha val="34998"/>
              </a:srgbClr>
            </a:outerShdw>
          </a:effectLst>
        </p:spPr>
        <p:txBody>
          <a:bodyPr anchor="ctr"/>
          <a:lstStyle/>
          <a:p>
            <a:pPr algn="ctr"/>
            <a:endParaRPr lang="nb-NO">
              <a:solidFill>
                <a:srgbClr val="FFFFFF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9709" name="TextBox 120"/>
          <p:cNvSpPr txBox="1">
            <a:spLocks noChangeArrowheads="1"/>
          </p:cNvSpPr>
          <p:nvPr/>
        </p:nvSpPr>
        <p:spPr bwMode="auto">
          <a:xfrm>
            <a:off x="642938" y="1857375"/>
            <a:ext cx="2643187" cy="2954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id-ID" sz="1200">
                <a:latin typeface="Calibri" pitchFamily="34" charset="0"/>
              </a:rPr>
              <a:t> This is an example text.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id-ID" sz="1200">
                <a:latin typeface="Calibri" pitchFamily="34" charset="0"/>
              </a:rPr>
              <a:t> Add your own text here.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id-ID" sz="1200">
                <a:latin typeface="Calibri" pitchFamily="34" charset="0"/>
              </a:rPr>
              <a:t> Replace with your text here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id-ID" sz="1200">
                <a:latin typeface="Calibri" pitchFamily="34" charset="0"/>
              </a:rPr>
              <a:t> This is an example text.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id-ID" sz="1200">
                <a:latin typeface="Calibri" pitchFamily="34" charset="0"/>
              </a:rPr>
              <a:t> Add your own text here.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id-ID" sz="1200">
                <a:latin typeface="Calibri" pitchFamily="34" charset="0"/>
              </a:rPr>
              <a:t> Replace with your text here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id-ID" sz="1200">
                <a:latin typeface="Calibri" pitchFamily="34" charset="0"/>
              </a:rPr>
              <a:t> This is an example text.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id-ID" sz="1200">
                <a:latin typeface="Calibri" pitchFamily="34" charset="0"/>
              </a:rPr>
              <a:t> Add your own text here.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id-ID" sz="1200">
                <a:latin typeface="Calibri" pitchFamily="34" charset="0"/>
              </a:rPr>
              <a:t> Replace with your text here</a:t>
            </a:r>
          </a:p>
          <a:p>
            <a:endParaRPr lang="id-ID" sz="1200">
              <a:latin typeface="Calibri" pitchFamily="34" charset="0"/>
            </a:endParaRPr>
          </a:p>
          <a:p>
            <a:endParaRPr lang="id-ID" sz="1200">
              <a:latin typeface="Calibri" pitchFamily="34" charset="0"/>
            </a:endParaRPr>
          </a:p>
        </p:txBody>
      </p:sp>
      <p:sp>
        <p:nvSpPr>
          <p:cNvPr id="29710" name="Round Same Side Corner Rectangle 66"/>
          <p:cNvSpPr>
            <a:spLocks/>
          </p:cNvSpPr>
          <p:nvPr/>
        </p:nvSpPr>
        <p:spPr bwMode="auto">
          <a:xfrm>
            <a:off x="468313" y="1339850"/>
            <a:ext cx="2514600" cy="304800"/>
          </a:xfrm>
          <a:custGeom>
            <a:avLst/>
            <a:gdLst>
              <a:gd name="T0" fmla="*/ 84667 w 2514600"/>
              <a:gd name="T1" fmla="*/ 0 h 304800"/>
              <a:gd name="T2" fmla="*/ 2429932 w 2514600"/>
              <a:gd name="T3" fmla="*/ 0 h 304800"/>
              <a:gd name="T4" fmla="*/ 2514600 w 2514600"/>
              <a:gd name="T5" fmla="*/ 84667 h 304800"/>
              <a:gd name="T6" fmla="*/ 2514600 w 2514600"/>
              <a:gd name="T7" fmla="*/ 304800 h 304800"/>
              <a:gd name="T8" fmla="*/ 2514600 w 2514600"/>
              <a:gd name="T9" fmla="*/ 304800 h 304800"/>
              <a:gd name="T10" fmla="*/ 0 w 2514600"/>
              <a:gd name="T11" fmla="*/ 304800 h 304800"/>
              <a:gd name="T12" fmla="*/ 0 w 2514600"/>
              <a:gd name="T13" fmla="*/ 304800 h 304800"/>
              <a:gd name="T14" fmla="*/ 0 w 2514600"/>
              <a:gd name="T15" fmla="*/ 84667 h 304800"/>
              <a:gd name="T16" fmla="*/ 84667 w 2514600"/>
              <a:gd name="T17" fmla="*/ 0 h 30480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514600"/>
              <a:gd name="T28" fmla="*/ 0 h 304800"/>
              <a:gd name="T29" fmla="*/ 2514600 w 2514600"/>
              <a:gd name="T30" fmla="*/ 304800 h 30480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514600" h="304800">
                <a:moveTo>
                  <a:pt x="84667" y="0"/>
                </a:moveTo>
                <a:lnTo>
                  <a:pt x="2429933" y="0"/>
                </a:lnTo>
                <a:cubicBezTo>
                  <a:pt x="2476693" y="0"/>
                  <a:pt x="2514600" y="37907"/>
                  <a:pt x="2514600" y="84667"/>
                </a:cubicBezTo>
                <a:lnTo>
                  <a:pt x="2514600" y="304800"/>
                </a:lnTo>
                <a:lnTo>
                  <a:pt x="0" y="304800"/>
                </a:lnTo>
                <a:lnTo>
                  <a:pt x="0" y="84667"/>
                </a:lnTo>
                <a:cubicBezTo>
                  <a:pt x="0" y="37907"/>
                  <a:pt x="37907" y="0"/>
                  <a:pt x="84667" y="0"/>
                </a:cubicBezTo>
                <a:close/>
              </a:path>
            </a:pathLst>
          </a:custGeom>
          <a:solidFill>
            <a:srgbClr val="595959"/>
          </a:solidFill>
          <a:ln w="9525">
            <a:solidFill>
              <a:srgbClr val="595959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id-ID" sz="1400">
                <a:solidFill>
                  <a:srgbClr val="FFFFFF"/>
                </a:solidFill>
                <a:latin typeface="Calibri" pitchFamily="34" charset="0"/>
              </a:rPr>
              <a:t>Your text here</a:t>
            </a:r>
            <a:endParaRPr lang="nb-NO" sz="1400">
              <a:solidFill>
                <a:srgbClr val="FFFFF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9399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50" name="Group 2"/>
          <p:cNvGrpSpPr>
            <a:grpSpLocks/>
          </p:cNvGrpSpPr>
          <p:nvPr/>
        </p:nvGrpSpPr>
        <p:grpSpPr bwMode="auto">
          <a:xfrm>
            <a:off x="0" y="0"/>
            <a:ext cx="9144000" cy="5969000"/>
            <a:chOff x="0" y="0"/>
            <a:chExt cx="5760" cy="3760"/>
          </a:xfrm>
        </p:grpSpPr>
        <p:sp>
          <p:nvSpPr>
            <p:cNvPr id="2073" name="Rectangle 3"/>
            <p:cNvSpPr>
              <a:spLocks noChangeArrowheads="1"/>
            </p:cNvSpPr>
            <p:nvPr/>
          </p:nvSpPr>
          <p:spPr bwMode="gray">
            <a:xfrm>
              <a:off x="0" y="0"/>
              <a:ext cx="5760" cy="1603"/>
            </a:xfrm>
            <a:prstGeom prst="rect">
              <a:avLst/>
            </a:prstGeom>
            <a:gradFill rotWithShape="1">
              <a:gsLst>
                <a:gs pos="0">
                  <a:srgbClr val="E3E3E3"/>
                </a:gs>
                <a:gs pos="100000">
                  <a:srgbClr val="B2B2B2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de-DE"/>
            </a:p>
          </p:txBody>
        </p:sp>
        <p:sp>
          <p:nvSpPr>
            <p:cNvPr id="2074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1918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 noProof="1"/>
            </a:p>
          </p:txBody>
        </p:sp>
        <p:sp>
          <p:nvSpPr>
            <p:cNvPr id="2075" name="Rectangle 25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B2B2B2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 noProof="1"/>
            </a:p>
          </p:txBody>
        </p:sp>
      </p:grpSp>
      <p:cxnSp>
        <p:nvCxnSpPr>
          <p:cNvPr id="26" name="Gerade Verbindung 25"/>
          <p:cNvCxnSpPr/>
          <p:nvPr/>
        </p:nvCxnSpPr>
        <p:spPr>
          <a:xfrm rot="5400000" flipH="1" flipV="1">
            <a:off x="2189956" y="4991894"/>
            <a:ext cx="162083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2" name="Textfeld 35"/>
          <p:cNvSpPr txBox="1">
            <a:spLocks noChangeArrowheads="1"/>
          </p:cNvSpPr>
          <p:nvPr/>
        </p:nvSpPr>
        <p:spPr bwMode="auto">
          <a:xfrm>
            <a:off x="3000375" y="5053013"/>
            <a:ext cx="1665288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200" noProof="1">
                <a:solidFill>
                  <a:srgbClr val="080808"/>
                </a:solidFill>
              </a:rPr>
              <a:t>This is placeholder text. All phrases can be replaced with your own text.</a:t>
            </a:r>
          </a:p>
        </p:txBody>
      </p:sp>
      <p:cxnSp>
        <p:nvCxnSpPr>
          <p:cNvPr id="24" name="Gerade Verbindung 23"/>
          <p:cNvCxnSpPr/>
          <p:nvPr/>
        </p:nvCxnSpPr>
        <p:spPr>
          <a:xfrm rot="5400000" flipH="1" flipV="1">
            <a:off x="969169" y="4793457"/>
            <a:ext cx="1703387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4" name="Textfeld 24"/>
          <p:cNvSpPr txBox="1">
            <a:spLocks noChangeArrowheads="1"/>
          </p:cNvSpPr>
          <p:nvPr/>
        </p:nvSpPr>
        <p:spPr bwMode="auto">
          <a:xfrm>
            <a:off x="301625" y="4814888"/>
            <a:ext cx="1519238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ct val="40000"/>
              </a:spcAft>
            </a:pPr>
            <a:r>
              <a:rPr lang="es-AR" sz="1200" noProof="1">
                <a:solidFill>
                  <a:srgbClr val="080808"/>
                </a:solidFill>
              </a:rPr>
              <a:t>This is placeholder text. All phrases can be replaced with your own text.</a:t>
            </a:r>
          </a:p>
        </p:txBody>
      </p:sp>
      <p:sp>
        <p:nvSpPr>
          <p:cNvPr id="46" name="Abgerundetes Rechteck 45"/>
          <p:cNvSpPr/>
          <p:nvPr/>
        </p:nvSpPr>
        <p:spPr>
          <a:xfrm>
            <a:off x="-185738" y="2544764"/>
            <a:ext cx="543310" cy="1055556"/>
          </a:xfrm>
          <a:prstGeom prst="roundRect">
            <a:avLst>
              <a:gd name="adj" fmla="val 10253"/>
            </a:avLst>
          </a:prstGeom>
          <a:blipFill>
            <a:blip r:embed="rId3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270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5" name="Abgerundetes Rechteck 44"/>
          <p:cNvSpPr/>
          <p:nvPr/>
        </p:nvSpPr>
        <p:spPr>
          <a:xfrm>
            <a:off x="52816" y="2544763"/>
            <a:ext cx="581373" cy="1129506"/>
          </a:xfrm>
          <a:prstGeom prst="roundRect">
            <a:avLst>
              <a:gd name="adj" fmla="val 10253"/>
            </a:avLst>
          </a:prstGeom>
          <a:blipFill>
            <a:blip r:embed="rId4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270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3" name="Abgerundetes Rechteck 42"/>
          <p:cNvSpPr/>
          <p:nvPr/>
        </p:nvSpPr>
        <p:spPr>
          <a:xfrm>
            <a:off x="301758" y="2544763"/>
            <a:ext cx="610380" cy="1185862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270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2" name="Abgerundetes Rechteck 41"/>
          <p:cNvSpPr/>
          <p:nvPr/>
        </p:nvSpPr>
        <p:spPr>
          <a:xfrm>
            <a:off x="557833" y="2544763"/>
            <a:ext cx="644700" cy="1252538"/>
          </a:xfrm>
          <a:prstGeom prst="roundRect">
            <a:avLst>
              <a:gd name="adj" fmla="val 10253"/>
            </a:avLst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270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1" name="Abgerundetes Rechteck 40"/>
          <p:cNvSpPr/>
          <p:nvPr/>
        </p:nvSpPr>
        <p:spPr>
          <a:xfrm>
            <a:off x="823291" y="2544763"/>
            <a:ext cx="683921" cy="1328737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270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0" name="Abgerundetes Rechteck 39"/>
          <p:cNvSpPr/>
          <p:nvPr/>
        </p:nvSpPr>
        <p:spPr>
          <a:xfrm>
            <a:off x="1099909" y="2544764"/>
            <a:ext cx="721508" cy="1401762"/>
          </a:xfrm>
          <a:prstGeom prst="roundRect">
            <a:avLst>
              <a:gd name="adj" fmla="val 10253"/>
            </a:avLst>
          </a:prstGeom>
          <a:blipFill>
            <a:blip r:embed="rId8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270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4" name="Abgerundetes Rechteck 43"/>
          <p:cNvSpPr/>
          <p:nvPr/>
        </p:nvSpPr>
        <p:spPr>
          <a:xfrm>
            <a:off x="1381430" y="2544764"/>
            <a:ext cx="754192" cy="1465262"/>
          </a:xfrm>
          <a:prstGeom prst="roundRect">
            <a:avLst>
              <a:gd name="adj" fmla="val 10253"/>
            </a:avLst>
          </a:prstGeom>
          <a:blipFill>
            <a:blip r:embed="rId9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270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4" name="Abgerundetes Rechteck 33"/>
          <p:cNvSpPr/>
          <p:nvPr/>
        </p:nvSpPr>
        <p:spPr>
          <a:xfrm>
            <a:off x="1663701" y="2544763"/>
            <a:ext cx="786126" cy="1527303"/>
          </a:xfrm>
          <a:prstGeom prst="roundRect">
            <a:avLst>
              <a:gd name="adj" fmla="val 10253"/>
            </a:avLst>
          </a:prstGeom>
          <a:blipFill>
            <a:blip r:embed="rId10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206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3" name="Abgerundetes Rechteck 32"/>
          <p:cNvSpPr/>
          <p:nvPr/>
        </p:nvSpPr>
        <p:spPr>
          <a:xfrm>
            <a:off x="1977972" y="2544763"/>
            <a:ext cx="840713" cy="1633358"/>
          </a:xfrm>
          <a:prstGeom prst="roundRect">
            <a:avLst>
              <a:gd name="adj" fmla="val 10253"/>
            </a:avLst>
          </a:prstGeom>
          <a:blipFill>
            <a:blip r:embed="rId11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333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2" name="Abgerundetes Rechteck 31"/>
          <p:cNvSpPr/>
          <p:nvPr/>
        </p:nvSpPr>
        <p:spPr>
          <a:xfrm>
            <a:off x="2362200" y="2544762"/>
            <a:ext cx="885902" cy="1721151"/>
          </a:xfrm>
          <a:prstGeom prst="roundRect">
            <a:avLst>
              <a:gd name="adj" fmla="val 10253"/>
            </a:avLst>
          </a:prstGeom>
          <a:blipFill>
            <a:blip r:embed="rId12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651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1" name="Abgerundetes Rechteck 30"/>
          <p:cNvSpPr/>
          <p:nvPr/>
        </p:nvSpPr>
        <p:spPr>
          <a:xfrm>
            <a:off x="2808175" y="2544763"/>
            <a:ext cx="940492" cy="1827212"/>
          </a:xfrm>
          <a:prstGeom prst="roundRect">
            <a:avLst>
              <a:gd name="adj" fmla="val 10253"/>
            </a:avLst>
          </a:prstGeom>
          <a:blipFill>
            <a:blip r:embed="rId13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651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0" name="Abgerundetes Rechteck 29"/>
          <p:cNvSpPr/>
          <p:nvPr/>
        </p:nvSpPr>
        <p:spPr>
          <a:xfrm>
            <a:off x="3318546" y="2544763"/>
            <a:ext cx="1004226" cy="1951037"/>
          </a:xfrm>
          <a:prstGeom prst="roundRect">
            <a:avLst>
              <a:gd name="adj" fmla="val 10253"/>
            </a:avLst>
          </a:prstGeom>
          <a:blipFill>
            <a:blip r:embed="rId14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905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9" name="Abgerundetes Rechteck 28"/>
          <p:cNvSpPr/>
          <p:nvPr/>
        </p:nvSpPr>
        <p:spPr>
          <a:xfrm>
            <a:off x="3885297" y="2544763"/>
            <a:ext cx="1085121" cy="2108200"/>
          </a:xfrm>
          <a:prstGeom prst="roundRect">
            <a:avLst>
              <a:gd name="adj" fmla="val 10253"/>
            </a:avLst>
          </a:prstGeom>
          <a:blipFill>
            <a:blip r:embed="rId15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905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8" name="Abgerundetes Rechteck 27"/>
          <p:cNvSpPr/>
          <p:nvPr/>
        </p:nvSpPr>
        <p:spPr>
          <a:xfrm>
            <a:off x="4520687" y="2544764"/>
            <a:ext cx="1170917" cy="2274886"/>
          </a:xfrm>
          <a:prstGeom prst="roundRect">
            <a:avLst>
              <a:gd name="adj" fmla="val 10253"/>
            </a:avLst>
          </a:prstGeom>
          <a:blipFill>
            <a:blip r:embed="rId16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905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7" name="Abgerundetes Rechteck 26"/>
          <p:cNvSpPr/>
          <p:nvPr/>
        </p:nvSpPr>
        <p:spPr>
          <a:xfrm>
            <a:off x="5219746" y="2544763"/>
            <a:ext cx="1280470" cy="2487728"/>
          </a:xfrm>
          <a:prstGeom prst="roundRect">
            <a:avLst>
              <a:gd name="adj" fmla="val 10253"/>
            </a:avLst>
          </a:prstGeom>
          <a:blipFill>
            <a:blip r:embed="rId17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905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9" name="Rechteck 48"/>
          <p:cNvSpPr/>
          <p:nvPr/>
        </p:nvSpPr>
        <p:spPr>
          <a:xfrm>
            <a:off x="4709369" y="3785961"/>
            <a:ext cx="7352211" cy="286105"/>
          </a:xfrm>
          <a:prstGeom prst="rect">
            <a:avLst/>
          </a:prstGeom>
          <a:solidFill>
            <a:srgbClr val="C00000"/>
          </a:solidFill>
          <a:ln w="9525">
            <a:noFill/>
            <a:round/>
            <a:headEnd/>
            <a:tailEnd/>
          </a:ln>
          <a:scene3d>
            <a:camera prst="perspectiveRelaxedModerately" fov="6300000">
              <a:rot lat="20197384" lon="17616315" rev="4715054"/>
            </a:camera>
            <a:lightRig rig="threePt" dir="t"/>
          </a:scene3d>
        </p:spPr>
        <p:txBody>
          <a:bodyPr/>
          <a:lstStyle/>
          <a:p>
            <a:pPr>
              <a:defRPr/>
            </a:pPr>
            <a:endParaRPr lang="de-DE">
              <a:latin typeface="Arial" charset="0"/>
              <a:cs typeface="Arial" charset="0"/>
            </a:endParaRPr>
          </a:p>
        </p:txBody>
      </p:sp>
      <p:sp>
        <p:nvSpPr>
          <p:cNvPr id="38" name="Textfeld 7"/>
          <p:cNvSpPr txBox="1">
            <a:spLocks noChangeArrowheads="1"/>
          </p:cNvSpPr>
          <p:nvPr/>
        </p:nvSpPr>
        <p:spPr bwMode="auto">
          <a:xfrm>
            <a:off x="300038" y="58738"/>
            <a:ext cx="8520112" cy="1000125"/>
          </a:xfrm>
          <a:prstGeom prst="rect">
            <a:avLst/>
          </a:prstGeom>
          <a:noFill/>
          <a:ln/>
        </p:spPr>
        <p:txBody>
          <a:bodyPr/>
          <a:lstStyle/>
          <a:p>
            <a:pPr>
              <a:defRPr/>
            </a:pPr>
            <a:r>
              <a:rPr lang="de-DE" sz="5500" b="1" kern="0" dirty="0">
                <a:solidFill>
                  <a:srgbClr val="6B9B1A"/>
                </a:solidFill>
                <a:latin typeface="+mj-lt"/>
                <a:ea typeface="+mj-ea"/>
                <a:cs typeface="+mj-cs"/>
              </a:rPr>
              <a:t>DOMINO</a:t>
            </a:r>
            <a:r>
              <a:rPr lang="de-DE" sz="5500" kern="0" dirty="0">
                <a:solidFill>
                  <a:srgbClr val="595959"/>
                </a:solidFill>
                <a:latin typeface="+mj-lt"/>
                <a:ea typeface="+mj-ea"/>
                <a:cs typeface="+mj-cs"/>
              </a:rPr>
              <a:t>3D</a:t>
            </a:r>
          </a:p>
        </p:txBody>
      </p:sp>
      <p:sp>
        <p:nvSpPr>
          <p:cNvPr id="35" name="34 Elipse"/>
          <p:cNvSpPr/>
          <p:nvPr/>
        </p:nvSpPr>
        <p:spPr>
          <a:xfrm>
            <a:off x="8255000" y="5230813"/>
            <a:ext cx="260350" cy="26035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ES_tradnl" sz="1400">
                <a:latin typeface="Delicious" pitchFamily="50" charset="0"/>
              </a:rPr>
              <a:t>2</a:t>
            </a:r>
            <a:endParaRPr lang="es-AR" sz="1400">
              <a:latin typeface="Delicious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34671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74" name="Group 23"/>
          <p:cNvGrpSpPr>
            <a:grpSpLocks/>
          </p:cNvGrpSpPr>
          <p:nvPr/>
        </p:nvGrpSpPr>
        <p:grpSpPr bwMode="auto">
          <a:xfrm>
            <a:off x="150813" y="2386013"/>
            <a:ext cx="9144000" cy="2330450"/>
            <a:chOff x="0" y="2086"/>
            <a:chExt cx="5760" cy="1056"/>
          </a:xfrm>
        </p:grpSpPr>
        <p:sp>
          <p:nvSpPr>
            <p:cNvPr id="3115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 noProof="1"/>
            </a:p>
          </p:txBody>
        </p:sp>
        <p:sp>
          <p:nvSpPr>
            <p:cNvPr id="3116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 noProof="1"/>
            </a:p>
          </p:txBody>
        </p:sp>
      </p:grpSp>
      <p:cxnSp>
        <p:nvCxnSpPr>
          <p:cNvPr id="35" name="Gerade Verbindung 34"/>
          <p:cNvCxnSpPr/>
          <p:nvPr/>
        </p:nvCxnSpPr>
        <p:spPr>
          <a:xfrm rot="5400000" flipH="1" flipV="1">
            <a:off x="2263775" y="5037138"/>
            <a:ext cx="153035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6" name="Textfeld 37"/>
          <p:cNvSpPr txBox="1">
            <a:spLocks noChangeArrowheads="1"/>
          </p:cNvSpPr>
          <p:nvPr/>
        </p:nvSpPr>
        <p:spPr bwMode="auto">
          <a:xfrm>
            <a:off x="1206500" y="4786313"/>
            <a:ext cx="182245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ct val="40000"/>
              </a:spcAft>
            </a:pPr>
            <a:r>
              <a:rPr lang="es-AR" sz="1200" noProof="1">
                <a:solidFill>
                  <a:srgbClr val="080808"/>
                </a:solidFill>
              </a:rPr>
              <a:t>The text demonstrates how your own text will look when you replace the placeholder </a:t>
            </a:r>
            <a:br>
              <a:rPr lang="es-AR" sz="1200" noProof="1">
                <a:solidFill>
                  <a:srgbClr val="080808"/>
                </a:solidFill>
              </a:rPr>
            </a:br>
            <a:r>
              <a:rPr lang="es-AR" sz="1200" noProof="1">
                <a:solidFill>
                  <a:srgbClr val="080808"/>
                </a:solidFill>
              </a:rPr>
              <a:t>with your own text.</a:t>
            </a:r>
          </a:p>
        </p:txBody>
      </p:sp>
      <p:pic>
        <p:nvPicPr>
          <p:cNvPr id="3077" name="Picture 33"/>
          <p:cNvPicPr>
            <a:picLocks noChangeAspect="1" noChangeArrowheads="1"/>
          </p:cNvPicPr>
          <p:nvPr/>
        </p:nvPicPr>
        <p:blipFill>
          <a:blip r:embed="rId3">
            <a:lum brigh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986552">
            <a:off x="3409950" y="3695700"/>
            <a:ext cx="4530725" cy="169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8" name="Picture 33"/>
          <p:cNvPicPr>
            <a:picLocks noChangeAspect="1" noChangeArrowheads="1"/>
          </p:cNvPicPr>
          <p:nvPr/>
        </p:nvPicPr>
        <p:blipFill>
          <a:blip r:embed="rId3">
            <a:lum brigh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44308">
            <a:off x="1146175" y="3397250"/>
            <a:ext cx="4530725" cy="133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9" name="Picture 33"/>
          <p:cNvPicPr>
            <a:picLocks noChangeAspect="1" noChangeArrowheads="1"/>
          </p:cNvPicPr>
          <p:nvPr/>
        </p:nvPicPr>
        <p:blipFill>
          <a:blip r:embed="rId3">
            <a:lum brigh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44308">
            <a:off x="-982663" y="2927350"/>
            <a:ext cx="4529138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0" name="Picture 33"/>
          <p:cNvPicPr>
            <a:picLocks noChangeAspect="1" noChangeArrowheads="1"/>
          </p:cNvPicPr>
          <p:nvPr/>
        </p:nvPicPr>
        <p:blipFill>
          <a:blip r:embed="rId3">
            <a:lum brigh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986552">
            <a:off x="5465763" y="3973513"/>
            <a:ext cx="4530725" cy="169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81" name="Rectangle 2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Domino</a:t>
            </a:r>
          </a:p>
        </p:txBody>
      </p:sp>
      <p:sp>
        <p:nvSpPr>
          <p:cNvPr id="3082" name="Rectangle 4"/>
          <p:cNvSpPr>
            <a:spLocks noChangeArrowheads="1"/>
          </p:cNvSpPr>
          <p:nvPr/>
        </p:nvSpPr>
        <p:spPr bwMode="gray">
          <a:xfrm>
            <a:off x="304800" y="1038225"/>
            <a:ext cx="57531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sz="2000"/>
              <a:t>Placeholder for your own sub headline</a:t>
            </a:r>
          </a:p>
        </p:txBody>
      </p:sp>
      <p:sp>
        <p:nvSpPr>
          <p:cNvPr id="15" name="Abgerundetes Rechteck 14"/>
          <p:cNvSpPr/>
          <p:nvPr/>
        </p:nvSpPr>
        <p:spPr>
          <a:xfrm>
            <a:off x="-114300" y="2472383"/>
            <a:ext cx="577529" cy="1122040"/>
          </a:xfrm>
          <a:prstGeom prst="roundRect">
            <a:avLst>
              <a:gd name="adj" fmla="val 10253"/>
            </a:avLst>
          </a:prstGeom>
          <a:blipFill>
            <a:blip r:embed="rId4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245335" lon="17251491" rev="0"/>
            </a:camera>
            <a:lightRig rig="balanced" dir="t">
              <a:rot lat="0" lon="0" rev="12600000"/>
            </a:lightRig>
          </a:scene3d>
          <a:sp3d z="25400" extrusionH="762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58" name="Abgerundetes Rechteck 57"/>
          <p:cNvSpPr/>
          <p:nvPr/>
        </p:nvSpPr>
        <p:spPr>
          <a:xfrm>
            <a:off x="150648" y="2481907"/>
            <a:ext cx="584885" cy="1136330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244400" lon="17552246" rev="0"/>
            </a:camera>
            <a:lightRig rig="balanced" dir="t">
              <a:rot lat="0" lon="0" rev="12600000"/>
            </a:lightRig>
          </a:scene3d>
          <a:sp3d z="25400" extrusionH="825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59" name="Abgerundetes Rechteck 58"/>
          <p:cNvSpPr/>
          <p:nvPr/>
        </p:nvSpPr>
        <p:spPr>
          <a:xfrm>
            <a:off x="420245" y="2508285"/>
            <a:ext cx="605145" cy="1175690"/>
          </a:xfrm>
          <a:prstGeom prst="roundRect">
            <a:avLst>
              <a:gd name="adj" fmla="val 10253"/>
            </a:avLst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243468" lon="17853005" rev="0"/>
            </a:camera>
            <a:lightRig rig="balanced" dir="t">
              <a:rot lat="0" lon="0" rev="12600000"/>
            </a:lightRig>
          </a:scene3d>
          <a:sp3d z="25400" extrusionH="889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60" name="Abgerundetes Rechteck 59"/>
          <p:cNvSpPr/>
          <p:nvPr/>
        </p:nvSpPr>
        <p:spPr>
          <a:xfrm>
            <a:off x="657150" y="2569096"/>
            <a:ext cx="624757" cy="1213791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236706" lon="17825420" rev="0"/>
            </a:camera>
            <a:lightRig rig="balanced" dir="t">
              <a:rot lat="0" lon="0" rev="12600000"/>
            </a:lightRig>
          </a:scene3d>
          <a:sp3d z="25400" extrusionH="889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61" name="Abgerundetes Rechteck 60"/>
          <p:cNvSpPr/>
          <p:nvPr/>
        </p:nvSpPr>
        <p:spPr>
          <a:xfrm>
            <a:off x="899807" y="2648223"/>
            <a:ext cx="639466" cy="1242365"/>
          </a:xfrm>
          <a:prstGeom prst="roundRect">
            <a:avLst>
              <a:gd name="adj" fmla="val 10253"/>
            </a:avLst>
          </a:prstGeom>
          <a:blipFill>
            <a:blip r:embed="rId8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241533" lon="17825354" rev="21563991"/>
            </a:camera>
            <a:lightRig rig="balanced" dir="t">
              <a:rot lat="0" lon="0" rev="12600000"/>
            </a:lightRig>
          </a:scene3d>
          <a:sp3d z="25400" extrusionH="889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62" name="Abgerundetes Rechteck 61"/>
          <p:cNvSpPr/>
          <p:nvPr/>
        </p:nvSpPr>
        <p:spPr>
          <a:xfrm>
            <a:off x="1151700" y="2680097"/>
            <a:ext cx="663872" cy="1289789"/>
          </a:xfrm>
          <a:prstGeom prst="roundRect">
            <a:avLst>
              <a:gd name="adj" fmla="val 10253"/>
            </a:avLst>
          </a:prstGeom>
          <a:blipFill>
            <a:blip r:embed="rId9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245335" lon="17251491" rev="0"/>
            </a:camera>
            <a:lightRig rig="balanced" dir="t">
              <a:rot lat="0" lon="0" rev="12600000"/>
            </a:lightRig>
          </a:scene3d>
          <a:sp3d z="25400" extrusionH="889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63" name="Abgerundetes Rechteck 62"/>
          <p:cNvSpPr/>
          <p:nvPr/>
        </p:nvSpPr>
        <p:spPr>
          <a:xfrm>
            <a:off x="1460945" y="2726213"/>
            <a:ext cx="672326" cy="1306213"/>
          </a:xfrm>
          <a:prstGeom prst="roundRect">
            <a:avLst>
              <a:gd name="adj" fmla="val 10253"/>
            </a:avLst>
          </a:prstGeom>
          <a:blipFill>
            <a:blip r:embed="rId10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167735" lon="18225198" rev="21505824"/>
            </a:camera>
            <a:lightRig rig="balanced" dir="t">
              <a:rot lat="0" lon="0" rev="12600000"/>
            </a:lightRig>
          </a:scene3d>
          <a:sp3d z="25400" extrusionH="889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92" name="Abgerundetes Rechteck 91"/>
          <p:cNvSpPr/>
          <p:nvPr/>
        </p:nvSpPr>
        <p:spPr>
          <a:xfrm>
            <a:off x="1717140" y="2923769"/>
            <a:ext cx="710910" cy="1381171"/>
          </a:xfrm>
          <a:prstGeom prst="roundRect">
            <a:avLst>
              <a:gd name="adj" fmla="val 10253"/>
            </a:avLst>
          </a:prstGeom>
          <a:blipFill>
            <a:blip r:embed="rId11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174226" lon="18255420" rev="21509049"/>
            </a:camera>
            <a:lightRig rig="balanced" dir="t">
              <a:rot lat="0" lon="0" rev="12600000"/>
            </a:lightRig>
          </a:scene3d>
          <a:sp3d z="25400" extrusionH="762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93" name="Abgerundetes Rechteck 92"/>
          <p:cNvSpPr/>
          <p:nvPr/>
        </p:nvSpPr>
        <p:spPr>
          <a:xfrm>
            <a:off x="2032766" y="3147535"/>
            <a:ext cx="719961" cy="1398761"/>
          </a:xfrm>
          <a:prstGeom prst="roundRect">
            <a:avLst>
              <a:gd name="adj" fmla="val 10253"/>
            </a:avLst>
          </a:prstGeom>
          <a:blipFill>
            <a:blip r:embed="rId12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173330" lon="18555825" rev="21508608"/>
            </a:camera>
            <a:lightRig rig="balanced" dir="t">
              <a:rot lat="0" lon="0" rev="12600000"/>
            </a:lightRig>
          </a:scene3d>
          <a:sp3d z="25400" extrusionH="825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94" name="Abgerundetes Rechteck 93"/>
          <p:cNvSpPr/>
          <p:nvPr/>
        </p:nvSpPr>
        <p:spPr>
          <a:xfrm>
            <a:off x="2336155" y="3308818"/>
            <a:ext cx="744904" cy="1447215"/>
          </a:xfrm>
          <a:prstGeom prst="roundRect">
            <a:avLst>
              <a:gd name="adj" fmla="val 10253"/>
            </a:avLst>
          </a:prstGeom>
          <a:blipFill>
            <a:blip r:embed="rId13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543468" lon="17853005" rev="0"/>
            </a:camera>
            <a:lightRig rig="balanced" dir="t">
              <a:rot lat="0" lon="0" rev="12600000"/>
            </a:lightRig>
          </a:scene3d>
          <a:sp3d z="25400" extrusionH="889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95" name="Abgerundetes Rechteck 94"/>
          <p:cNvSpPr/>
          <p:nvPr/>
        </p:nvSpPr>
        <p:spPr>
          <a:xfrm>
            <a:off x="2696538" y="3366922"/>
            <a:ext cx="769041" cy="1494113"/>
          </a:xfrm>
          <a:prstGeom prst="roundRect">
            <a:avLst>
              <a:gd name="adj" fmla="val 10253"/>
            </a:avLst>
          </a:prstGeom>
          <a:blipFill>
            <a:blip r:embed="rId14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751648" lon="16680842" rev="21524154"/>
            </a:camera>
            <a:lightRig rig="balanced" dir="t">
              <a:rot lat="0" lon="0" rev="12600000"/>
            </a:lightRig>
          </a:scene3d>
          <a:sp3d z="25400" extrusionH="889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96" name="Abgerundetes Rechteck 95"/>
          <p:cNvSpPr/>
          <p:nvPr/>
        </p:nvSpPr>
        <p:spPr>
          <a:xfrm>
            <a:off x="3028509" y="3352260"/>
            <a:ext cx="787147" cy="1529289"/>
          </a:xfrm>
          <a:prstGeom prst="roundRect">
            <a:avLst>
              <a:gd name="adj" fmla="val 10253"/>
            </a:avLst>
          </a:prstGeom>
          <a:blipFill>
            <a:blip r:embed="rId15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644915" lon="16188637" rev="77286"/>
            </a:camera>
            <a:lightRig rig="balanced" dir="t">
              <a:rot lat="0" lon="0" rev="12600000"/>
            </a:lightRig>
          </a:scene3d>
          <a:sp3d z="25400" extrusionH="889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97" name="Abgerundetes Rechteck 96"/>
          <p:cNvSpPr/>
          <p:nvPr/>
        </p:nvSpPr>
        <p:spPr>
          <a:xfrm>
            <a:off x="3317556" y="3284553"/>
            <a:ext cx="817191" cy="1587661"/>
          </a:xfrm>
          <a:prstGeom prst="roundRect">
            <a:avLst>
              <a:gd name="adj" fmla="val 10253"/>
            </a:avLst>
          </a:prstGeom>
          <a:blipFill>
            <a:blip r:embed="rId16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535013" lon="4963676" rev="191828"/>
            </a:camera>
            <a:lightRig rig="balanced" dir="t">
              <a:rot lat="0" lon="0" rev="12600000"/>
            </a:lightRig>
          </a:scene3d>
          <a:sp3d z="25400" extrusionH="889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02" name="Abgerundetes Rechteck 101"/>
          <p:cNvSpPr/>
          <p:nvPr/>
        </p:nvSpPr>
        <p:spPr>
          <a:xfrm>
            <a:off x="4050508" y="3159126"/>
            <a:ext cx="835009" cy="1622278"/>
          </a:xfrm>
          <a:prstGeom prst="roundRect">
            <a:avLst>
              <a:gd name="adj" fmla="val 10253"/>
            </a:avLst>
          </a:prstGeom>
          <a:blipFill>
            <a:blip r:embed="rId17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497594" lon="16676578" rev="21408476"/>
            </a:camera>
            <a:lightRig rig="balanced" dir="t">
              <a:rot lat="0" lon="0" rev="12600000"/>
            </a:lightRig>
          </a:scene3d>
          <a:sp3d z="25400" extrusionH="889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03" name="Abgerundetes Rechteck 102"/>
          <p:cNvSpPr/>
          <p:nvPr/>
        </p:nvSpPr>
        <p:spPr>
          <a:xfrm>
            <a:off x="4433575" y="3088819"/>
            <a:ext cx="845642" cy="1642937"/>
          </a:xfrm>
          <a:prstGeom prst="roundRect">
            <a:avLst>
              <a:gd name="adj" fmla="val 10253"/>
            </a:avLst>
          </a:prstGeom>
          <a:blipFill>
            <a:blip r:embed="rId18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225421" lon="17045552" rev="21464092"/>
            </a:camera>
            <a:lightRig rig="balanced" dir="t">
              <a:rot lat="0" lon="0" rev="12600000"/>
            </a:lightRig>
          </a:scene3d>
          <a:sp3d z="25400" extrusionH="1016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04" name="Abgerundetes Rechteck 103"/>
          <p:cNvSpPr/>
          <p:nvPr/>
        </p:nvSpPr>
        <p:spPr>
          <a:xfrm>
            <a:off x="4823370" y="3119335"/>
            <a:ext cx="874937" cy="1699849"/>
          </a:xfrm>
          <a:prstGeom prst="roundRect">
            <a:avLst>
              <a:gd name="adj" fmla="val 10253"/>
            </a:avLst>
          </a:prstGeom>
          <a:blipFill>
            <a:blip r:embed="rId19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543468" lon="17853005" rev="0"/>
            </a:camera>
            <a:lightRig rig="balanced" dir="t">
              <a:rot lat="0" lon="0" rev="12600000"/>
            </a:lightRig>
          </a:scene3d>
          <a:sp3d z="25400" extrusionH="1016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05" name="Abgerundetes Rechteck 104"/>
          <p:cNvSpPr/>
          <p:nvPr/>
        </p:nvSpPr>
        <p:spPr>
          <a:xfrm>
            <a:off x="5165894" y="3207256"/>
            <a:ext cx="903291" cy="1754935"/>
          </a:xfrm>
          <a:prstGeom prst="roundRect">
            <a:avLst>
              <a:gd name="adj" fmla="val 10253"/>
            </a:avLst>
          </a:prstGeom>
          <a:blipFill>
            <a:blip r:embed="rId20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536706" lon="17825418" rev="0"/>
            </a:camera>
            <a:lightRig rig="balanced" dir="t">
              <a:rot lat="0" lon="0" rev="12600000"/>
            </a:lightRig>
          </a:scene3d>
          <a:sp3d z="25400" extrusionH="1016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06" name="Abgerundetes Rechteck 105"/>
          <p:cNvSpPr/>
          <p:nvPr/>
        </p:nvSpPr>
        <p:spPr>
          <a:xfrm>
            <a:off x="5516732" y="3321659"/>
            <a:ext cx="924557" cy="1796249"/>
          </a:xfrm>
          <a:prstGeom prst="roundRect">
            <a:avLst>
              <a:gd name="adj" fmla="val 10253"/>
            </a:avLst>
          </a:prstGeom>
          <a:blipFill>
            <a:blip r:embed="rId21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541513" lon="17819263" rev="21558905"/>
            </a:camera>
            <a:lightRig rig="balanced" dir="t">
              <a:rot lat="0" lon="0" rev="12600000"/>
            </a:lightRig>
          </a:scene3d>
          <a:sp3d z="25400" extrusionH="1016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07" name="Abgerundetes Rechteck 106"/>
          <p:cNvSpPr/>
          <p:nvPr/>
        </p:nvSpPr>
        <p:spPr>
          <a:xfrm>
            <a:off x="5865687" y="3375363"/>
            <a:ext cx="959844" cy="1864812"/>
          </a:xfrm>
          <a:prstGeom prst="roundRect">
            <a:avLst>
              <a:gd name="adj" fmla="val 10253"/>
            </a:avLst>
          </a:prstGeom>
          <a:blipFill>
            <a:blip r:embed="rId22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545335" lon="17251491" rev="0"/>
            </a:camera>
            <a:lightRig rig="balanced" dir="t">
              <a:rot lat="0" lon="0" rev="12600000"/>
            </a:lightRig>
          </a:scene3d>
          <a:sp3d z="25400" extrusionH="1270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08" name="Abgerundetes Rechteck 107"/>
          <p:cNvSpPr/>
          <p:nvPr/>
        </p:nvSpPr>
        <p:spPr>
          <a:xfrm>
            <a:off x="6267083" y="3434419"/>
            <a:ext cx="972069" cy="1888561"/>
          </a:xfrm>
          <a:prstGeom prst="roundRect">
            <a:avLst>
              <a:gd name="adj" fmla="val 10253"/>
            </a:avLst>
          </a:prstGeom>
          <a:blipFill>
            <a:blip r:embed="rId23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838558" lon="17223837" rev="0"/>
            </a:camera>
            <a:lightRig rig="balanced" dir="t">
              <a:rot lat="0" lon="0" rev="12600000"/>
            </a:lightRig>
          </a:scene3d>
          <a:sp3d z="25400" extrusionH="1270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10" name="Abgerundetes Rechteck 109"/>
          <p:cNvSpPr/>
          <p:nvPr/>
        </p:nvSpPr>
        <p:spPr>
          <a:xfrm>
            <a:off x="6713654" y="3446533"/>
            <a:ext cx="1027852" cy="1996938"/>
          </a:xfrm>
          <a:prstGeom prst="roundRect">
            <a:avLst>
              <a:gd name="adj" fmla="val 10253"/>
            </a:avLst>
          </a:prstGeom>
          <a:blipFill>
            <a:blip r:embed="rId24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845335" lon="17251491" rev="0"/>
            </a:camera>
            <a:lightRig rig="balanced" dir="t">
              <a:rot lat="0" lon="0" rev="12600000"/>
            </a:lightRig>
          </a:scene3d>
          <a:sp3d z="25400" extrusionH="1270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11" name="Abgerundetes Rechteck 110"/>
          <p:cNvSpPr/>
          <p:nvPr/>
        </p:nvSpPr>
        <p:spPr>
          <a:xfrm>
            <a:off x="7185189" y="3463485"/>
            <a:ext cx="1040943" cy="2022369"/>
          </a:xfrm>
          <a:prstGeom prst="roundRect">
            <a:avLst>
              <a:gd name="adj" fmla="val 10253"/>
            </a:avLst>
          </a:prstGeom>
          <a:blipFill>
            <a:blip r:embed="rId25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844401" lon="17552246" rev="0"/>
            </a:camera>
            <a:lightRig rig="balanced" dir="t">
              <a:rot lat="0" lon="0" rev="12600000"/>
            </a:lightRig>
          </a:scene3d>
          <a:sp3d z="25400" extrusionH="1270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12" name="Abgerundetes Rechteck 111"/>
          <p:cNvSpPr/>
          <p:nvPr/>
        </p:nvSpPr>
        <p:spPr>
          <a:xfrm>
            <a:off x="7665005" y="3510425"/>
            <a:ext cx="1077002" cy="2092425"/>
          </a:xfrm>
          <a:prstGeom prst="roundRect">
            <a:avLst>
              <a:gd name="adj" fmla="val 10253"/>
            </a:avLst>
          </a:prstGeom>
          <a:blipFill>
            <a:blip r:embed="rId26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843468" lon="17853005" rev="0"/>
            </a:camera>
            <a:lightRig rig="balanced" dir="t">
              <a:rot lat="0" lon="0" rev="12600000"/>
            </a:lightRig>
          </a:scene3d>
          <a:sp3d z="25400" extrusionH="1524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13" name="Abgerundetes Rechteck 112"/>
          <p:cNvSpPr/>
          <p:nvPr/>
        </p:nvSpPr>
        <p:spPr>
          <a:xfrm>
            <a:off x="8086636" y="3618654"/>
            <a:ext cx="1111904" cy="2160231"/>
          </a:xfrm>
          <a:prstGeom prst="roundRect">
            <a:avLst>
              <a:gd name="adj" fmla="val 10253"/>
            </a:avLst>
          </a:prstGeom>
          <a:blipFill>
            <a:blip r:embed="rId27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836706" lon="17825417" rev="0"/>
            </a:camera>
            <a:lightRig rig="balanced" dir="t">
              <a:rot lat="0" lon="0" rev="12600000"/>
            </a:lightRig>
          </a:scene3d>
          <a:sp3d z="25400" extrusionH="1524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14" name="Abgerundetes Rechteck 113"/>
          <p:cNvSpPr/>
          <p:nvPr/>
        </p:nvSpPr>
        <p:spPr>
          <a:xfrm>
            <a:off x="8518503" y="3759480"/>
            <a:ext cx="1138081" cy="2211088"/>
          </a:xfrm>
          <a:prstGeom prst="roundRect">
            <a:avLst>
              <a:gd name="adj" fmla="val 10253"/>
            </a:avLst>
          </a:prstGeom>
          <a:blipFill>
            <a:blip r:embed="rId28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841488" lon="17811085" rev="21551708"/>
            </a:camera>
            <a:lightRig rig="balanced" dir="t">
              <a:rot lat="0" lon="0" rev="12600000"/>
            </a:lightRig>
          </a:scene3d>
          <a:sp3d z="25400" extrusionH="1524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46" name="Abgerundetes Rechteck 45"/>
          <p:cNvSpPr/>
          <p:nvPr/>
        </p:nvSpPr>
        <p:spPr>
          <a:xfrm>
            <a:off x="3694462" y="3192689"/>
            <a:ext cx="817191" cy="1587661"/>
          </a:xfrm>
          <a:prstGeom prst="roundRect">
            <a:avLst>
              <a:gd name="adj" fmla="val 10253"/>
            </a:avLst>
          </a:prstGeom>
          <a:blipFill>
            <a:blip r:embed="rId16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503017" lon="5434512" rev="21570401"/>
            </a:camera>
            <a:lightRig rig="balanced" dir="t">
              <a:rot lat="0" lon="0" rev="12600000"/>
            </a:lightRig>
          </a:scene3d>
          <a:sp3d z="25400" extrusionH="889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cxnSp>
        <p:nvCxnSpPr>
          <p:cNvPr id="34" name="Gerade Verbindung 33"/>
          <p:cNvCxnSpPr/>
          <p:nvPr/>
        </p:nvCxnSpPr>
        <p:spPr>
          <a:xfrm rot="5400000" flipH="1" flipV="1">
            <a:off x="6380957" y="2455069"/>
            <a:ext cx="183991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/>
        </p:nvCxnSpPr>
        <p:spPr>
          <a:xfrm rot="5400000" flipH="1" flipV="1">
            <a:off x="972344" y="2102644"/>
            <a:ext cx="113506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6"/>
          <p:cNvCxnSpPr/>
          <p:nvPr/>
        </p:nvCxnSpPr>
        <p:spPr>
          <a:xfrm rot="5400000" flipH="1" flipV="1">
            <a:off x="4186238" y="2290763"/>
            <a:ext cx="15113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12" name="Textfeld 38"/>
          <p:cNvSpPr txBox="1">
            <a:spLocks noChangeArrowheads="1"/>
          </p:cNvSpPr>
          <p:nvPr/>
        </p:nvSpPr>
        <p:spPr bwMode="auto">
          <a:xfrm>
            <a:off x="1539875" y="1555750"/>
            <a:ext cx="1519238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200" noProof="1">
                <a:solidFill>
                  <a:srgbClr val="080808"/>
                </a:solidFill>
              </a:rPr>
              <a:t>This is placeholder text. All phrases can be replaced with your own text.</a:t>
            </a:r>
          </a:p>
        </p:txBody>
      </p:sp>
      <p:sp>
        <p:nvSpPr>
          <p:cNvPr id="3113" name="Textfeld 39"/>
          <p:cNvSpPr txBox="1">
            <a:spLocks noChangeArrowheads="1"/>
          </p:cNvSpPr>
          <p:nvPr/>
        </p:nvSpPr>
        <p:spPr bwMode="auto">
          <a:xfrm>
            <a:off x="4941888" y="1555750"/>
            <a:ext cx="1520825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200" noProof="1">
                <a:solidFill>
                  <a:srgbClr val="080808"/>
                </a:solidFill>
              </a:rPr>
              <a:t>This is placeholder text. All phrases can be replaced with your own text.</a:t>
            </a:r>
          </a:p>
        </p:txBody>
      </p:sp>
      <p:sp>
        <p:nvSpPr>
          <p:cNvPr id="3114" name="Textfeld 40"/>
          <p:cNvSpPr txBox="1">
            <a:spLocks noChangeArrowheads="1"/>
          </p:cNvSpPr>
          <p:nvPr/>
        </p:nvSpPr>
        <p:spPr bwMode="auto">
          <a:xfrm>
            <a:off x="7300913" y="1555750"/>
            <a:ext cx="1519237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200" noProof="1">
                <a:solidFill>
                  <a:srgbClr val="080808"/>
                </a:solidFill>
              </a:rPr>
              <a:t>This is placeholder text. All phrases can be replaced with your own text.</a:t>
            </a:r>
          </a:p>
        </p:txBody>
      </p:sp>
    </p:spTree>
    <p:extLst>
      <p:ext uri="{BB962C8B-B14F-4D97-AF65-F5344CB8AC3E}">
        <p14:creationId xmlns:p14="http://schemas.microsoft.com/office/powerpoint/2010/main" val="20951013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98" name="Group 10"/>
          <p:cNvGrpSpPr>
            <a:grpSpLocks/>
          </p:cNvGrpSpPr>
          <p:nvPr/>
        </p:nvGrpSpPr>
        <p:grpSpPr bwMode="auto">
          <a:xfrm>
            <a:off x="3175" y="0"/>
            <a:ext cx="9144000" cy="5886450"/>
            <a:chOff x="0" y="0"/>
            <a:chExt cx="5760" cy="3747"/>
          </a:xfrm>
        </p:grpSpPr>
        <p:sp>
          <p:nvSpPr>
            <p:cNvPr id="63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 extrusionH="120650"/>
          </p:spPr>
          <p:txBody>
            <a:bodyPr rot="10800000" wrap="none" lIns="90000" tIns="90000" rIns="72000" bIns="90000" anchor="ctr"/>
            <a:lstStyle/>
            <a:p>
              <a:pPr algn="ctr" eaLnBrk="0" hangingPunct="0">
                <a:defRPr/>
              </a:pPr>
              <a:endParaRPr lang="de-DE" noProof="1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67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DDDDDD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 extrusionH="120650"/>
          </p:spPr>
          <p:txBody>
            <a:bodyPr wrap="none" lIns="90000" tIns="90000" rIns="72000" bIns="90000" anchor="ctr"/>
            <a:lstStyle/>
            <a:p>
              <a:pPr algn="ctr" eaLnBrk="0" hangingPunct="0">
                <a:defRPr/>
              </a:pPr>
              <a:endParaRPr lang="de-DE" noProof="1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69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00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 extrusionH="120650"/>
          </p:spPr>
          <p:txBody>
            <a:bodyPr rot="10800000" wrap="none" lIns="90000" tIns="90000" rIns="72000" bIns="90000" anchor="ctr"/>
            <a:lstStyle/>
            <a:p>
              <a:pPr algn="ctr" eaLnBrk="0" hangingPunct="0">
                <a:defRPr/>
              </a:pPr>
              <a:endParaRPr lang="de-DE" noProof="1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78" name="Rectangle 5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 extrusionH="120650"/>
          </p:spPr>
          <p:txBody>
            <a:bodyPr rot="10800000" wrap="none" lIns="90000" tIns="90000" rIns="72000" bIns="90000" anchor="ctr"/>
            <a:lstStyle/>
            <a:p>
              <a:pPr algn="ctr" eaLnBrk="0" hangingPunct="0">
                <a:defRPr/>
              </a:pPr>
              <a:endParaRPr lang="de-DE" noProof="1">
                <a:solidFill>
                  <a:schemeClr val="bg1"/>
                </a:solidFill>
                <a:cs typeface="+mn-cs"/>
              </a:endParaRPr>
            </a:p>
          </p:txBody>
        </p:sp>
      </p:grpSp>
      <p:sp>
        <p:nvSpPr>
          <p:cNvPr id="4099" name="Titel 7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>
                <a:solidFill>
                  <a:schemeClr val="bg1"/>
                </a:solidFill>
              </a:rPr>
              <a:t>Domino</a:t>
            </a:r>
          </a:p>
        </p:txBody>
      </p:sp>
      <p:pic>
        <p:nvPicPr>
          <p:cNvPr id="65" name="Picture 33"/>
          <p:cNvPicPr>
            <a:picLocks noChangeAspect="1" noChangeArrowheads="1"/>
          </p:cNvPicPr>
          <p:nvPr/>
        </p:nvPicPr>
        <p:blipFill>
          <a:blip r:embed="rId2" cstate="print">
            <a:lum bright="18000"/>
          </a:blip>
          <a:srcRect/>
          <a:stretch>
            <a:fillRect/>
          </a:stretch>
        </p:blipFill>
        <p:spPr bwMode="auto">
          <a:xfrm rot="18520356" flipH="1">
            <a:off x="1125919" y="3113644"/>
            <a:ext cx="3703785" cy="1122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>
              <a:rot lat="0" lon="0" rev="18000000"/>
            </a:lightRig>
          </a:scene3d>
        </p:spPr>
      </p:pic>
      <p:pic>
        <p:nvPicPr>
          <p:cNvPr id="4101" name="Picture 33"/>
          <p:cNvPicPr>
            <a:picLocks noChangeAspect="1" noChangeArrowheads="1"/>
          </p:cNvPicPr>
          <p:nvPr/>
        </p:nvPicPr>
        <p:blipFill>
          <a:blip r:embed="rId3">
            <a:lum brigh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3025" y="4421188"/>
            <a:ext cx="6684963" cy="1122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33"/>
          <p:cNvPicPr>
            <a:picLocks noChangeAspect="1" noChangeArrowheads="1"/>
          </p:cNvPicPr>
          <p:nvPr/>
        </p:nvPicPr>
        <p:blipFill>
          <a:blip r:embed="rId2" cstate="print">
            <a:lum bright="18000"/>
          </a:blip>
          <a:srcRect/>
          <a:stretch>
            <a:fillRect/>
          </a:stretch>
        </p:blipFill>
        <p:spPr bwMode="auto">
          <a:xfrm rot="20036928" flipH="1">
            <a:off x="1954145" y="3554983"/>
            <a:ext cx="4407338" cy="1433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>
              <a:rot lat="0" lon="0" rev="18000000"/>
            </a:lightRig>
          </a:scene3d>
        </p:spPr>
      </p:pic>
      <p:pic>
        <p:nvPicPr>
          <p:cNvPr id="4103" name="Picture 33"/>
          <p:cNvPicPr>
            <a:picLocks noChangeAspect="1" noChangeArrowheads="1"/>
          </p:cNvPicPr>
          <p:nvPr/>
        </p:nvPicPr>
        <p:blipFill>
          <a:blip r:embed="rId2">
            <a:lum brigh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36928" flipH="1">
            <a:off x="-222250" y="4489450"/>
            <a:ext cx="4406900" cy="143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1" name="Abgerundetes Rechteck 90"/>
          <p:cNvSpPr/>
          <p:nvPr/>
        </p:nvSpPr>
        <p:spPr>
          <a:xfrm>
            <a:off x="4781167" y="3014713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4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2" name="Abgerundetes Rechteck 91"/>
          <p:cNvSpPr/>
          <p:nvPr/>
        </p:nvSpPr>
        <p:spPr>
          <a:xfrm>
            <a:off x="4495368" y="3141037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3" name="Abgerundetes Rechteck 92"/>
          <p:cNvSpPr/>
          <p:nvPr/>
        </p:nvSpPr>
        <p:spPr>
          <a:xfrm>
            <a:off x="4209569" y="3267359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6" name="Abgerundetes Rechteck 85"/>
          <p:cNvSpPr/>
          <p:nvPr/>
        </p:nvSpPr>
        <p:spPr>
          <a:xfrm>
            <a:off x="3084691" y="2077471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4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778924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7" name="Abgerundetes Rechteck 86"/>
          <p:cNvSpPr/>
          <p:nvPr/>
        </p:nvSpPr>
        <p:spPr>
          <a:xfrm>
            <a:off x="3015449" y="2247571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778924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8" name="Abgerundetes Rechteck 87"/>
          <p:cNvSpPr/>
          <p:nvPr/>
        </p:nvSpPr>
        <p:spPr>
          <a:xfrm>
            <a:off x="2920797" y="2422665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778924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9" name="Abgerundetes Rechteck 88"/>
          <p:cNvSpPr/>
          <p:nvPr/>
        </p:nvSpPr>
        <p:spPr>
          <a:xfrm>
            <a:off x="2851555" y="2592765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778924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3" name="Abgerundetes Rechteck 82"/>
          <p:cNvSpPr/>
          <p:nvPr/>
        </p:nvSpPr>
        <p:spPr>
          <a:xfrm>
            <a:off x="2773687" y="2758999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4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778924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4" name="Abgerundetes Rechteck 83"/>
          <p:cNvSpPr/>
          <p:nvPr/>
        </p:nvSpPr>
        <p:spPr>
          <a:xfrm>
            <a:off x="2704445" y="2929099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778924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1" name="Abgerundetes Rechteck 80"/>
          <p:cNvSpPr/>
          <p:nvPr/>
        </p:nvSpPr>
        <p:spPr>
          <a:xfrm>
            <a:off x="2609793" y="3104193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778924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9" name="Abgerundetes Rechteck 78"/>
          <p:cNvSpPr/>
          <p:nvPr/>
        </p:nvSpPr>
        <p:spPr>
          <a:xfrm>
            <a:off x="2540551" y="3274293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778924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7" name="Abgerundetes Rechteck 76"/>
          <p:cNvSpPr/>
          <p:nvPr/>
        </p:nvSpPr>
        <p:spPr>
          <a:xfrm>
            <a:off x="2411161" y="3464065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16432" lon="1471294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8" name="Abgerundetes Rechteck 47"/>
          <p:cNvSpPr/>
          <p:nvPr/>
        </p:nvSpPr>
        <p:spPr>
          <a:xfrm>
            <a:off x="3944650" y="3426493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7" name="Abgerundetes Rechteck 46"/>
          <p:cNvSpPr/>
          <p:nvPr/>
        </p:nvSpPr>
        <p:spPr>
          <a:xfrm>
            <a:off x="3658851" y="3552817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50" name="Abgerundetes Rechteck 49"/>
          <p:cNvSpPr/>
          <p:nvPr/>
        </p:nvSpPr>
        <p:spPr>
          <a:xfrm>
            <a:off x="3373052" y="3679141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51" name="Abgerundetes Rechteck 50"/>
          <p:cNvSpPr/>
          <p:nvPr/>
        </p:nvSpPr>
        <p:spPr>
          <a:xfrm>
            <a:off x="3087253" y="3805465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52" name="Abgerundetes Rechteck 51"/>
          <p:cNvSpPr/>
          <p:nvPr/>
        </p:nvSpPr>
        <p:spPr>
          <a:xfrm>
            <a:off x="2801454" y="3931787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4" name="Abgerundetes Rechteck 63"/>
          <p:cNvSpPr/>
          <p:nvPr/>
        </p:nvSpPr>
        <p:spPr>
          <a:xfrm>
            <a:off x="2248922" y="3661853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47471" lon="2167261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6" name="Abgerundetes Rechteck 45"/>
          <p:cNvSpPr/>
          <p:nvPr/>
        </p:nvSpPr>
        <p:spPr>
          <a:xfrm>
            <a:off x="2290163" y="3964526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123" name="Rectangle 4"/>
          <p:cNvSpPr>
            <a:spLocks noChangeArrowheads="1"/>
          </p:cNvSpPr>
          <p:nvPr/>
        </p:nvSpPr>
        <p:spPr bwMode="gray">
          <a:xfrm>
            <a:off x="304800" y="1038225"/>
            <a:ext cx="57531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s-AR" sz="2000" noProof="1">
                <a:solidFill>
                  <a:schemeClr val="bg1"/>
                </a:solidFill>
              </a:rPr>
              <a:t>Placeholder for your own sub headline</a:t>
            </a:r>
            <a:endParaRPr lang="de-DE">
              <a:solidFill>
                <a:schemeClr val="bg1"/>
              </a:solidFill>
            </a:endParaRPr>
          </a:p>
        </p:txBody>
      </p:sp>
      <p:sp>
        <p:nvSpPr>
          <p:cNvPr id="30" name="Abgerundetes Rechteck 29"/>
          <p:cNvSpPr/>
          <p:nvPr/>
        </p:nvSpPr>
        <p:spPr>
          <a:xfrm>
            <a:off x="2238309" y="4208467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1" name="Abgerundetes Rechteck 30"/>
          <p:cNvSpPr/>
          <p:nvPr/>
        </p:nvSpPr>
        <p:spPr>
          <a:xfrm>
            <a:off x="1952510" y="4334791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2" name="Abgerundetes Rechteck 31"/>
          <p:cNvSpPr/>
          <p:nvPr/>
        </p:nvSpPr>
        <p:spPr>
          <a:xfrm>
            <a:off x="1666711" y="4461115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4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4" name="Abgerundetes Rechteck 43"/>
          <p:cNvSpPr/>
          <p:nvPr/>
        </p:nvSpPr>
        <p:spPr>
          <a:xfrm>
            <a:off x="1380912" y="4587439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58" name="Abgerundetes Rechteck 57"/>
          <p:cNvSpPr/>
          <p:nvPr/>
        </p:nvSpPr>
        <p:spPr>
          <a:xfrm>
            <a:off x="1095113" y="4713761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59" name="Abgerundetes Rechteck 58"/>
          <p:cNvSpPr/>
          <p:nvPr/>
        </p:nvSpPr>
        <p:spPr>
          <a:xfrm>
            <a:off x="790846" y="4858638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0" name="Abgerundetes Rechteck 69"/>
          <p:cNvSpPr/>
          <p:nvPr/>
        </p:nvSpPr>
        <p:spPr>
          <a:xfrm>
            <a:off x="4289924" y="4104345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4955073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1" name="Abgerundetes Rechteck 70"/>
          <p:cNvSpPr/>
          <p:nvPr/>
        </p:nvSpPr>
        <p:spPr>
          <a:xfrm>
            <a:off x="4583442" y="4104345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4955073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2" name="Abgerundetes Rechteck 71"/>
          <p:cNvSpPr/>
          <p:nvPr/>
        </p:nvSpPr>
        <p:spPr>
          <a:xfrm>
            <a:off x="4859708" y="4090161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4955073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3" name="Abgerundetes Rechteck 72"/>
          <p:cNvSpPr/>
          <p:nvPr/>
        </p:nvSpPr>
        <p:spPr>
          <a:xfrm>
            <a:off x="5135974" y="4090161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4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4955073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4" name="Abgerundetes Rechteck 73"/>
          <p:cNvSpPr/>
          <p:nvPr/>
        </p:nvSpPr>
        <p:spPr>
          <a:xfrm>
            <a:off x="5421100" y="4078467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4955073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5" name="Abgerundetes Rechteck 74"/>
          <p:cNvSpPr/>
          <p:nvPr/>
        </p:nvSpPr>
        <p:spPr>
          <a:xfrm>
            <a:off x="5697366" y="4064283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4955073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6" name="Abgerundetes Rechteck 75"/>
          <p:cNvSpPr/>
          <p:nvPr/>
        </p:nvSpPr>
        <p:spPr>
          <a:xfrm>
            <a:off x="5973632" y="4064283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4955073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8" name="Abgerundetes Rechteck 67"/>
          <p:cNvSpPr/>
          <p:nvPr/>
        </p:nvSpPr>
        <p:spPr>
          <a:xfrm>
            <a:off x="3968041" y="4104345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4955073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6" name="Abgerundetes Rechteck 65"/>
          <p:cNvSpPr/>
          <p:nvPr/>
        </p:nvSpPr>
        <p:spPr>
          <a:xfrm>
            <a:off x="3605281" y="4138849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16432" lon="4262702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2" name="Abgerundetes Rechteck 61"/>
          <p:cNvSpPr/>
          <p:nvPr/>
        </p:nvSpPr>
        <p:spPr>
          <a:xfrm>
            <a:off x="3248585" y="4223344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47471" lon="3566733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0" name="Abgerundetes Rechteck 59"/>
          <p:cNvSpPr/>
          <p:nvPr/>
        </p:nvSpPr>
        <p:spPr>
          <a:xfrm>
            <a:off x="2773687" y="4231970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141" name="Text Box 13"/>
          <p:cNvSpPr txBox="1">
            <a:spLocks noChangeArrowheads="1"/>
          </p:cNvSpPr>
          <p:nvPr/>
        </p:nvSpPr>
        <p:spPr bwMode="gray">
          <a:xfrm>
            <a:off x="5835650" y="1858963"/>
            <a:ext cx="3003550" cy="97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ct val="40000"/>
              </a:spcAft>
            </a:pPr>
            <a:r>
              <a:rPr lang="es-AR" sz="1600" noProof="1">
                <a:solidFill>
                  <a:schemeClr val="bg1"/>
                </a:solidFill>
              </a:rPr>
              <a:t>The text demonstrates how your own text will look when you replace the placeholder </a:t>
            </a:r>
            <a:br>
              <a:rPr lang="es-AR" sz="1600" noProof="1">
                <a:solidFill>
                  <a:schemeClr val="bg1"/>
                </a:solidFill>
              </a:rPr>
            </a:br>
            <a:r>
              <a:rPr lang="es-AR" sz="1600" noProof="1">
                <a:solidFill>
                  <a:schemeClr val="bg1"/>
                </a:solidFill>
              </a:rPr>
              <a:t>with your own text.</a:t>
            </a:r>
          </a:p>
        </p:txBody>
      </p:sp>
      <p:sp>
        <p:nvSpPr>
          <p:cNvPr id="4142" name="Text Box 14"/>
          <p:cNvSpPr txBox="1">
            <a:spLocks noChangeArrowheads="1"/>
          </p:cNvSpPr>
          <p:nvPr/>
        </p:nvSpPr>
        <p:spPr bwMode="gray">
          <a:xfrm>
            <a:off x="6113463" y="4271963"/>
            <a:ext cx="2725737" cy="122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ct val="40000"/>
              </a:spcAft>
            </a:pPr>
            <a:r>
              <a:rPr lang="es-AR" sz="1600" noProof="1">
                <a:solidFill>
                  <a:srgbClr val="080808"/>
                </a:solidFill>
              </a:rPr>
              <a:t>If you don’t want to use </a:t>
            </a:r>
            <a:br>
              <a:rPr lang="es-AR" sz="1600" noProof="1">
                <a:solidFill>
                  <a:srgbClr val="080808"/>
                </a:solidFill>
              </a:rPr>
            </a:br>
            <a:r>
              <a:rPr lang="es-AR" sz="1600" noProof="1">
                <a:solidFill>
                  <a:srgbClr val="080808"/>
                </a:solidFill>
              </a:rPr>
              <a:t>the size of the fonts as </a:t>
            </a:r>
            <a:br>
              <a:rPr lang="es-AR" sz="1600" noProof="1">
                <a:solidFill>
                  <a:srgbClr val="080808"/>
                </a:solidFill>
              </a:rPr>
            </a:br>
            <a:r>
              <a:rPr lang="es-AR" sz="1600" noProof="1">
                <a:solidFill>
                  <a:srgbClr val="080808"/>
                </a:solidFill>
              </a:rPr>
              <a:t>used in this placeholder it </a:t>
            </a:r>
            <a:br>
              <a:rPr lang="es-AR" sz="1600" noProof="1">
                <a:solidFill>
                  <a:srgbClr val="080808"/>
                </a:solidFill>
              </a:rPr>
            </a:br>
            <a:r>
              <a:rPr lang="es-AR" sz="1600" noProof="1">
                <a:solidFill>
                  <a:srgbClr val="080808"/>
                </a:solidFill>
              </a:rPr>
              <a:t>is possible to replace it by selecting different options.</a:t>
            </a:r>
          </a:p>
        </p:txBody>
      </p:sp>
      <p:sp>
        <p:nvSpPr>
          <p:cNvPr id="4143" name="Text Box 19"/>
          <p:cNvSpPr txBox="1">
            <a:spLocks noChangeArrowheads="1"/>
          </p:cNvSpPr>
          <p:nvPr/>
        </p:nvSpPr>
        <p:spPr bwMode="gray">
          <a:xfrm>
            <a:off x="312738" y="1858963"/>
            <a:ext cx="2705100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600" noProof="1">
                <a:solidFill>
                  <a:schemeClr val="bg1"/>
                </a:solidFill>
              </a:rPr>
              <a:t>This is placeholder text. </a:t>
            </a:r>
            <a:br>
              <a:rPr lang="es-AR" sz="1600" noProof="1">
                <a:solidFill>
                  <a:schemeClr val="bg1"/>
                </a:solidFill>
              </a:rPr>
            </a:br>
            <a:r>
              <a:rPr lang="es-AR" sz="1600" noProof="1">
                <a:solidFill>
                  <a:schemeClr val="bg1"/>
                </a:solidFill>
              </a:rPr>
              <a:t>All phrases can be replaced with your own text.</a:t>
            </a:r>
          </a:p>
        </p:txBody>
      </p:sp>
    </p:spTree>
    <p:extLst>
      <p:ext uri="{BB962C8B-B14F-4D97-AF65-F5344CB8AC3E}">
        <p14:creationId xmlns:p14="http://schemas.microsoft.com/office/powerpoint/2010/main" val="104897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46" name="Group 60"/>
          <p:cNvGrpSpPr>
            <a:grpSpLocks/>
          </p:cNvGrpSpPr>
          <p:nvPr/>
        </p:nvGrpSpPr>
        <p:grpSpPr bwMode="auto">
          <a:xfrm>
            <a:off x="0" y="3276600"/>
            <a:ext cx="9134475" cy="1676400"/>
            <a:chOff x="0" y="2086"/>
            <a:chExt cx="5760" cy="1056"/>
          </a:xfrm>
        </p:grpSpPr>
        <p:sp>
          <p:nvSpPr>
            <p:cNvPr id="6169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latin typeface="Calibri" panose="020F0502020204030204" pitchFamily="34" charset="0"/>
              </a:endParaRPr>
            </a:p>
          </p:txBody>
        </p:sp>
        <p:sp>
          <p:nvSpPr>
            <p:cNvPr id="6170" name="Rectangle 62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latin typeface="Calibri" panose="020F0502020204030204" pitchFamily="34" charset="0"/>
              </a:endParaRPr>
            </a:p>
          </p:txBody>
        </p:sp>
      </p:grpSp>
      <p:pic>
        <p:nvPicPr>
          <p:cNvPr id="6147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16100" y="5572125"/>
            <a:ext cx="522287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8" name="Freeform 27"/>
          <p:cNvSpPr>
            <a:spLocks/>
          </p:cNvSpPr>
          <p:nvPr/>
        </p:nvSpPr>
        <p:spPr bwMode="gray">
          <a:xfrm>
            <a:off x="2457450" y="3638550"/>
            <a:ext cx="2114550" cy="2159000"/>
          </a:xfrm>
          <a:custGeom>
            <a:avLst/>
            <a:gdLst>
              <a:gd name="T0" fmla="*/ 0 w 1424"/>
              <a:gd name="T1" fmla="*/ 0 h 1437"/>
              <a:gd name="T2" fmla="*/ 2147483647 w 1424"/>
              <a:gd name="T3" fmla="*/ 2147483647 h 1437"/>
              <a:gd name="T4" fmla="*/ 2147483647 w 1424"/>
              <a:gd name="T5" fmla="*/ 0 h 1437"/>
              <a:gd name="T6" fmla="*/ 0 w 1424"/>
              <a:gd name="T7" fmla="*/ 0 h 1437"/>
              <a:gd name="T8" fmla="*/ 0 60000 65536"/>
              <a:gd name="T9" fmla="*/ 0 60000 65536"/>
              <a:gd name="T10" fmla="*/ 0 60000 65536"/>
              <a:gd name="T11" fmla="*/ 0 60000 65536"/>
              <a:gd name="T12" fmla="*/ 0 w 1424"/>
              <a:gd name="T13" fmla="*/ 0 h 1437"/>
              <a:gd name="T14" fmla="*/ 1424 w 1424"/>
              <a:gd name="T15" fmla="*/ 1437 h 143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24" h="1437">
                <a:moveTo>
                  <a:pt x="0" y="0"/>
                </a:moveTo>
                <a:cubicBezTo>
                  <a:pt x="0" y="793"/>
                  <a:pt x="637" y="1437"/>
                  <a:pt x="1424" y="1437"/>
                </a:cubicBezTo>
                <a:cubicBezTo>
                  <a:pt x="1424" y="0"/>
                  <a:pt x="1424" y="0"/>
                  <a:pt x="1424" y="0"/>
                </a:cubicBez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BFBFBF"/>
              </a:gs>
              <a:gs pos="50000">
                <a:srgbClr val="ECECEC"/>
              </a:gs>
              <a:gs pos="100000">
                <a:srgbClr val="BFBFBF"/>
              </a:gs>
            </a:gsLst>
            <a:lin ang="5400000" scaled="1"/>
          </a:gradFill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s-AR"/>
          </a:p>
        </p:txBody>
      </p:sp>
      <p:sp>
        <p:nvSpPr>
          <p:cNvPr id="6149" name="Freeform 31"/>
          <p:cNvSpPr>
            <a:spLocks/>
          </p:cNvSpPr>
          <p:nvPr/>
        </p:nvSpPr>
        <p:spPr bwMode="gray">
          <a:xfrm>
            <a:off x="4564063" y="3644900"/>
            <a:ext cx="2087562" cy="2152650"/>
          </a:xfrm>
          <a:custGeom>
            <a:avLst/>
            <a:gdLst>
              <a:gd name="T0" fmla="*/ 0 w 1424"/>
              <a:gd name="T1" fmla="*/ 0 h 1438"/>
              <a:gd name="T2" fmla="*/ 0 w 1424"/>
              <a:gd name="T3" fmla="*/ 2147483647 h 1438"/>
              <a:gd name="T4" fmla="*/ 2147483647 w 1424"/>
              <a:gd name="T5" fmla="*/ 0 h 1438"/>
              <a:gd name="T6" fmla="*/ 0 w 1424"/>
              <a:gd name="T7" fmla="*/ 0 h 1438"/>
              <a:gd name="T8" fmla="*/ 0 60000 65536"/>
              <a:gd name="T9" fmla="*/ 0 60000 65536"/>
              <a:gd name="T10" fmla="*/ 0 60000 65536"/>
              <a:gd name="T11" fmla="*/ 0 60000 65536"/>
              <a:gd name="T12" fmla="*/ 0 w 1424"/>
              <a:gd name="T13" fmla="*/ 0 h 1438"/>
              <a:gd name="T14" fmla="*/ 1424 w 1424"/>
              <a:gd name="T15" fmla="*/ 1438 h 143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24" h="1438">
                <a:moveTo>
                  <a:pt x="0" y="0"/>
                </a:moveTo>
                <a:cubicBezTo>
                  <a:pt x="0" y="1438"/>
                  <a:pt x="0" y="1438"/>
                  <a:pt x="0" y="1438"/>
                </a:cubicBezTo>
                <a:cubicBezTo>
                  <a:pt x="787" y="1438"/>
                  <a:pt x="1424" y="794"/>
                  <a:pt x="1424" y="0"/>
                </a:cubicBez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BFBFBF"/>
              </a:gs>
              <a:gs pos="50000">
                <a:srgbClr val="ECECEC"/>
              </a:gs>
              <a:gs pos="100000">
                <a:srgbClr val="BFBFBF"/>
              </a:gs>
            </a:gsLst>
            <a:lin ang="5400000" scaled="1"/>
          </a:gradFill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s-AR"/>
          </a:p>
        </p:txBody>
      </p:sp>
      <p:sp>
        <p:nvSpPr>
          <p:cNvPr id="6150" name="Freeform 36"/>
          <p:cNvSpPr>
            <a:spLocks/>
          </p:cNvSpPr>
          <p:nvPr/>
        </p:nvSpPr>
        <p:spPr bwMode="gray">
          <a:xfrm>
            <a:off x="4559300" y="1562100"/>
            <a:ext cx="2092325" cy="2078038"/>
          </a:xfrm>
          <a:custGeom>
            <a:avLst/>
            <a:gdLst>
              <a:gd name="T0" fmla="*/ 2147483647 w 1424"/>
              <a:gd name="T1" fmla="*/ 2147483647 h 1438"/>
              <a:gd name="T2" fmla="*/ 0 w 1424"/>
              <a:gd name="T3" fmla="*/ 0 h 1438"/>
              <a:gd name="T4" fmla="*/ 0 w 1424"/>
              <a:gd name="T5" fmla="*/ 2147483647 h 1438"/>
              <a:gd name="T6" fmla="*/ 2147483647 w 1424"/>
              <a:gd name="T7" fmla="*/ 2147483647 h 1438"/>
              <a:gd name="T8" fmla="*/ 0 60000 65536"/>
              <a:gd name="T9" fmla="*/ 0 60000 65536"/>
              <a:gd name="T10" fmla="*/ 0 60000 65536"/>
              <a:gd name="T11" fmla="*/ 0 60000 65536"/>
              <a:gd name="T12" fmla="*/ 0 w 1424"/>
              <a:gd name="T13" fmla="*/ 0 h 1438"/>
              <a:gd name="T14" fmla="*/ 1424 w 1424"/>
              <a:gd name="T15" fmla="*/ 1438 h 143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24" h="1438">
                <a:moveTo>
                  <a:pt x="1424" y="1438"/>
                </a:moveTo>
                <a:cubicBezTo>
                  <a:pt x="1424" y="644"/>
                  <a:pt x="787" y="0"/>
                  <a:pt x="0" y="0"/>
                </a:cubicBezTo>
                <a:cubicBezTo>
                  <a:pt x="0" y="1438"/>
                  <a:pt x="0" y="1438"/>
                  <a:pt x="0" y="1438"/>
                </a:cubicBezTo>
                <a:lnTo>
                  <a:pt x="1424" y="1438"/>
                </a:lnTo>
                <a:close/>
              </a:path>
            </a:pathLst>
          </a:custGeom>
          <a:gradFill rotWithShape="1">
            <a:gsLst>
              <a:gs pos="0">
                <a:srgbClr val="BFBFBF"/>
              </a:gs>
              <a:gs pos="50000">
                <a:srgbClr val="ECECEC"/>
              </a:gs>
              <a:gs pos="100000">
                <a:srgbClr val="BFBFBF"/>
              </a:gs>
            </a:gsLst>
            <a:lin ang="5400000" scaled="1"/>
          </a:gradFill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s-AR"/>
          </a:p>
        </p:txBody>
      </p:sp>
      <p:sp>
        <p:nvSpPr>
          <p:cNvPr id="6151" name="Freeform 45"/>
          <p:cNvSpPr>
            <a:spLocks/>
          </p:cNvSpPr>
          <p:nvPr/>
        </p:nvSpPr>
        <p:spPr bwMode="gray">
          <a:xfrm>
            <a:off x="2455863" y="1558925"/>
            <a:ext cx="2105025" cy="2085975"/>
          </a:xfrm>
          <a:custGeom>
            <a:avLst/>
            <a:gdLst>
              <a:gd name="T0" fmla="*/ 2147483647 w 1424"/>
              <a:gd name="T1" fmla="*/ 0 h 1438"/>
              <a:gd name="T2" fmla="*/ 0 w 1424"/>
              <a:gd name="T3" fmla="*/ 2147483647 h 1438"/>
              <a:gd name="T4" fmla="*/ 2147483647 w 1424"/>
              <a:gd name="T5" fmla="*/ 2147483647 h 1438"/>
              <a:gd name="T6" fmla="*/ 2147483647 w 1424"/>
              <a:gd name="T7" fmla="*/ 0 h 1438"/>
              <a:gd name="T8" fmla="*/ 0 60000 65536"/>
              <a:gd name="T9" fmla="*/ 0 60000 65536"/>
              <a:gd name="T10" fmla="*/ 0 60000 65536"/>
              <a:gd name="T11" fmla="*/ 0 60000 65536"/>
              <a:gd name="T12" fmla="*/ 0 w 1424"/>
              <a:gd name="T13" fmla="*/ 0 h 1438"/>
              <a:gd name="T14" fmla="*/ 1424 w 1424"/>
              <a:gd name="T15" fmla="*/ 1438 h 143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24" h="1438">
                <a:moveTo>
                  <a:pt x="1424" y="0"/>
                </a:moveTo>
                <a:cubicBezTo>
                  <a:pt x="638" y="0"/>
                  <a:pt x="0" y="644"/>
                  <a:pt x="0" y="1438"/>
                </a:cubicBezTo>
                <a:cubicBezTo>
                  <a:pt x="1424" y="1438"/>
                  <a:pt x="1424" y="1438"/>
                  <a:pt x="1424" y="1438"/>
                </a:cubicBezTo>
                <a:lnTo>
                  <a:pt x="1424" y="0"/>
                </a:lnTo>
                <a:close/>
              </a:path>
            </a:pathLst>
          </a:custGeom>
          <a:gradFill rotWithShape="1">
            <a:gsLst>
              <a:gs pos="0">
                <a:srgbClr val="BFBFBF"/>
              </a:gs>
              <a:gs pos="50000">
                <a:srgbClr val="ECECEC"/>
              </a:gs>
              <a:gs pos="100000">
                <a:srgbClr val="BFBFBF"/>
              </a:gs>
            </a:gsLst>
            <a:lin ang="5400000" scaled="1"/>
          </a:gradFill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s-AR"/>
          </a:p>
        </p:txBody>
      </p:sp>
      <p:sp useBgFill="1">
        <p:nvSpPr>
          <p:cNvPr id="6152" name="Oval 13"/>
          <p:cNvSpPr>
            <a:spLocks noChangeArrowheads="1"/>
          </p:cNvSpPr>
          <p:nvPr/>
        </p:nvSpPr>
        <p:spPr bwMode="gray">
          <a:xfrm>
            <a:off x="2927350" y="2054225"/>
            <a:ext cx="3233738" cy="3233738"/>
          </a:xfrm>
          <a:prstGeom prst="ellipse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grpSp>
        <p:nvGrpSpPr>
          <p:cNvPr id="6153" name="Group 11"/>
          <p:cNvGrpSpPr>
            <a:grpSpLocks/>
          </p:cNvGrpSpPr>
          <p:nvPr/>
        </p:nvGrpSpPr>
        <p:grpSpPr bwMode="auto">
          <a:xfrm>
            <a:off x="3076575" y="2189163"/>
            <a:ext cx="2935288" cy="2932112"/>
            <a:chOff x="1938" y="1379"/>
            <a:chExt cx="1849" cy="1847"/>
          </a:xfrm>
        </p:grpSpPr>
        <p:sp>
          <p:nvSpPr>
            <p:cNvPr id="6167" name="Freeform 12"/>
            <p:cNvSpPr>
              <a:spLocks/>
            </p:cNvSpPr>
            <p:nvPr/>
          </p:nvSpPr>
          <p:spPr bwMode="gray">
            <a:xfrm>
              <a:off x="1938" y="1992"/>
              <a:ext cx="1849" cy="1234"/>
            </a:xfrm>
            <a:custGeom>
              <a:avLst/>
              <a:gdLst>
                <a:gd name="T0" fmla="*/ 3088 w 918"/>
                <a:gd name="T1" fmla="*/ 620 h 613"/>
                <a:gd name="T2" fmla="*/ 3088 w 918"/>
                <a:gd name="T3" fmla="*/ 620 h 613"/>
                <a:gd name="T4" fmla="*/ 3076 w 918"/>
                <a:gd name="T5" fmla="*/ 616 h 613"/>
                <a:gd name="T6" fmla="*/ 3076 w 918"/>
                <a:gd name="T7" fmla="*/ 616 h 613"/>
                <a:gd name="T8" fmla="*/ 2969 w 918"/>
                <a:gd name="T9" fmla="*/ 523 h 613"/>
                <a:gd name="T10" fmla="*/ 2969 w 918"/>
                <a:gd name="T11" fmla="*/ 523 h 613"/>
                <a:gd name="T12" fmla="*/ 2965 w 918"/>
                <a:gd name="T13" fmla="*/ 515 h 613"/>
                <a:gd name="T14" fmla="*/ 2965 w 918"/>
                <a:gd name="T15" fmla="*/ 515 h 613"/>
                <a:gd name="T16" fmla="*/ 2965 w 918"/>
                <a:gd name="T17" fmla="*/ 507 h 613"/>
                <a:gd name="T18" fmla="*/ 2961 w 918"/>
                <a:gd name="T19" fmla="*/ 507 h 613"/>
                <a:gd name="T20" fmla="*/ 2961 w 918"/>
                <a:gd name="T21" fmla="*/ 499 h 613"/>
                <a:gd name="T22" fmla="*/ 2961 w 918"/>
                <a:gd name="T23" fmla="*/ 499 h 613"/>
                <a:gd name="T24" fmla="*/ 2957 w 918"/>
                <a:gd name="T25" fmla="*/ 495 h 613"/>
                <a:gd name="T26" fmla="*/ 2957 w 918"/>
                <a:gd name="T27" fmla="*/ 491 h 613"/>
                <a:gd name="T28" fmla="*/ 2985 w 918"/>
                <a:gd name="T29" fmla="*/ 368 h 613"/>
                <a:gd name="T30" fmla="*/ 3015 w 918"/>
                <a:gd name="T31" fmla="*/ 252 h 613"/>
                <a:gd name="T32" fmla="*/ 2763 w 918"/>
                <a:gd name="T33" fmla="*/ 0 h 613"/>
                <a:gd name="T34" fmla="*/ 2508 w 918"/>
                <a:gd name="T35" fmla="*/ 256 h 613"/>
                <a:gd name="T36" fmla="*/ 2540 w 918"/>
                <a:gd name="T37" fmla="*/ 372 h 613"/>
                <a:gd name="T38" fmla="*/ 2568 w 918"/>
                <a:gd name="T39" fmla="*/ 491 h 613"/>
                <a:gd name="T40" fmla="*/ 2443 w 918"/>
                <a:gd name="T41" fmla="*/ 620 h 613"/>
                <a:gd name="T42" fmla="*/ 2439 w 918"/>
                <a:gd name="T43" fmla="*/ 620 h 613"/>
                <a:gd name="T44" fmla="*/ 2117 w 918"/>
                <a:gd name="T45" fmla="*/ 664 h 613"/>
                <a:gd name="T46" fmla="*/ 1793 w 918"/>
                <a:gd name="T47" fmla="*/ 624 h 613"/>
                <a:gd name="T48" fmla="*/ 1789 w 918"/>
                <a:gd name="T49" fmla="*/ 624 h 613"/>
                <a:gd name="T50" fmla="*/ 1468 w 918"/>
                <a:gd name="T51" fmla="*/ 584 h 613"/>
                <a:gd name="T52" fmla="*/ 1148 w 918"/>
                <a:gd name="T53" fmla="*/ 624 h 613"/>
                <a:gd name="T54" fmla="*/ 1144 w 918"/>
                <a:gd name="T55" fmla="*/ 624 h 613"/>
                <a:gd name="T56" fmla="*/ 1019 w 918"/>
                <a:gd name="T57" fmla="*/ 757 h 613"/>
                <a:gd name="T58" fmla="*/ 1047 w 918"/>
                <a:gd name="T59" fmla="*/ 876 h 613"/>
                <a:gd name="T60" fmla="*/ 1076 w 918"/>
                <a:gd name="T61" fmla="*/ 992 h 613"/>
                <a:gd name="T62" fmla="*/ 824 w 918"/>
                <a:gd name="T63" fmla="*/ 1244 h 613"/>
                <a:gd name="T64" fmla="*/ 568 w 918"/>
                <a:gd name="T65" fmla="*/ 992 h 613"/>
                <a:gd name="T66" fmla="*/ 596 w 918"/>
                <a:gd name="T67" fmla="*/ 876 h 613"/>
                <a:gd name="T68" fmla="*/ 624 w 918"/>
                <a:gd name="T69" fmla="*/ 757 h 613"/>
                <a:gd name="T70" fmla="*/ 500 w 918"/>
                <a:gd name="T71" fmla="*/ 628 h 613"/>
                <a:gd name="T72" fmla="*/ 491 w 918"/>
                <a:gd name="T73" fmla="*/ 624 h 613"/>
                <a:gd name="T74" fmla="*/ 175 w 918"/>
                <a:gd name="T75" fmla="*/ 588 h 613"/>
                <a:gd name="T76" fmla="*/ 0 w 918"/>
                <a:gd name="T77" fmla="*/ 600 h 613"/>
                <a:gd name="T78" fmla="*/ 0 w 918"/>
                <a:gd name="T79" fmla="*/ 624 h 613"/>
                <a:gd name="T80" fmla="*/ 1861 w 918"/>
                <a:gd name="T81" fmla="*/ 2484 h 613"/>
                <a:gd name="T82" fmla="*/ 3724 w 918"/>
                <a:gd name="T83" fmla="*/ 624 h 613"/>
                <a:gd name="T84" fmla="*/ 3724 w 918"/>
                <a:gd name="T85" fmla="*/ 620 h 613"/>
                <a:gd name="T86" fmla="*/ 3412 w 918"/>
                <a:gd name="T87" fmla="*/ 660 h 613"/>
                <a:gd name="T88" fmla="*/ 3088 w 918"/>
                <a:gd name="T89" fmla="*/ 620 h 61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918" h="613">
                  <a:moveTo>
                    <a:pt x="761" y="153"/>
                  </a:moveTo>
                  <a:cubicBezTo>
                    <a:pt x="761" y="153"/>
                    <a:pt x="761" y="153"/>
                    <a:pt x="761" y="153"/>
                  </a:cubicBezTo>
                  <a:cubicBezTo>
                    <a:pt x="761" y="153"/>
                    <a:pt x="758" y="152"/>
                    <a:pt x="758" y="152"/>
                  </a:cubicBezTo>
                  <a:cubicBezTo>
                    <a:pt x="758" y="152"/>
                    <a:pt x="758" y="152"/>
                    <a:pt x="758" y="152"/>
                  </a:cubicBezTo>
                  <a:cubicBezTo>
                    <a:pt x="745" y="147"/>
                    <a:pt x="737" y="137"/>
                    <a:pt x="732" y="129"/>
                  </a:cubicBezTo>
                  <a:cubicBezTo>
                    <a:pt x="732" y="129"/>
                    <a:pt x="732" y="129"/>
                    <a:pt x="732" y="129"/>
                  </a:cubicBezTo>
                  <a:cubicBezTo>
                    <a:pt x="732" y="128"/>
                    <a:pt x="732" y="128"/>
                    <a:pt x="731" y="127"/>
                  </a:cubicBezTo>
                  <a:cubicBezTo>
                    <a:pt x="731" y="127"/>
                    <a:pt x="731" y="127"/>
                    <a:pt x="731" y="127"/>
                  </a:cubicBezTo>
                  <a:cubicBezTo>
                    <a:pt x="731" y="126"/>
                    <a:pt x="731" y="126"/>
                    <a:pt x="731" y="125"/>
                  </a:cubicBezTo>
                  <a:cubicBezTo>
                    <a:pt x="731" y="125"/>
                    <a:pt x="730" y="125"/>
                    <a:pt x="730" y="125"/>
                  </a:cubicBezTo>
                  <a:cubicBezTo>
                    <a:pt x="730" y="124"/>
                    <a:pt x="730" y="124"/>
                    <a:pt x="730" y="123"/>
                  </a:cubicBezTo>
                  <a:cubicBezTo>
                    <a:pt x="730" y="123"/>
                    <a:pt x="730" y="123"/>
                    <a:pt x="730" y="123"/>
                  </a:cubicBezTo>
                  <a:cubicBezTo>
                    <a:pt x="730" y="122"/>
                    <a:pt x="730" y="122"/>
                    <a:pt x="729" y="122"/>
                  </a:cubicBezTo>
                  <a:cubicBezTo>
                    <a:pt x="729" y="121"/>
                    <a:pt x="729" y="121"/>
                    <a:pt x="729" y="121"/>
                  </a:cubicBezTo>
                  <a:cubicBezTo>
                    <a:pt x="727" y="109"/>
                    <a:pt x="734" y="96"/>
                    <a:pt x="736" y="91"/>
                  </a:cubicBezTo>
                  <a:cubicBezTo>
                    <a:pt x="741" y="83"/>
                    <a:pt x="743" y="73"/>
                    <a:pt x="743" y="62"/>
                  </a:cubicBezTo>
                  <a:cubicBezTo>
                    <a:pt x="743" y="28"/>
                    <a:pt x="715" y="0"/>
                    <a:pt x="681" y="0"/>
                  </a:cubicBezTo>
                  <a:cubicBezTo>
                    <a:pt x="646" y="0"/>
                    <a:pt x="618" y="28"/>
                    <a:pt x="618" y="63"/>
                  </a:cubicBezTo>
                  <a:cubicBezTo>
                    <a:pt x="618" y="73"/>
                    <a:pt x="621" y="83"/>
                    <a:pt x="626" y="92"/>
                  </a:cubicBezTo>
                  <a:cubicBezTo>
                    <a:pt x="628" y="96"/>
                    <a:pt x="635" y="109"/>
                    <a:pt x="633" y="121"/>
                  </a:cubicBezTo>
                  <a:cubicBezTo>
                    <a:pt x="632" y="127"/>
                    <a:pt x="623" y="146"/>
                    <a:pt x="602" y="153"/>
                  </a:cubicBezTo>
                  <a:cubicBezTo>
                    <a:pt x="602" y="153"/>
                    <a:pt x="602" y="153"/>
                    <a:pt x="601" y="153"/>
                  </a:cubicBezTo>
                  <a:cubicBezTo>
                    <a:pt x="601" y="153"/>
                    <a:pt x="566" y="164"/>
                    <a:pt x="522" y="164"/>
                  </a:cubicBezTo>
                  <a:cubicBezTo>
                    <a:pt x="478" y="164"/>
                    <a:pt x="442" y="154"/>
                    <a:pt x="442" y="154"/>
                  </a:cubicBezTo>
                  <a:cubicBezTo>
                    <a:pt x="442" y="154"/>
                    <a:pt x="442" y="154"/>
                    <a:pt x="441" y="154"/>
                  </a:cubicBezTo>
                  <a:cubicBezTo>
                    <a:pt x="436" y="152"/>
                    <a:pt x="403" y="143"/>
                    <a:pt x="362" y="144"/>
                  </a:cubicBezTo>
                  <a:cubicBezTo>
                    <a:pt x="322" y="144"/>
                    <a:pt x="289" y="152"/>
                    <a:pt x="283" y="154"/>
                  </a:cubicBezTo>
                  <a:cubicBezTo>
                    <a:pt x="283" y="154"/>
                    <a:pt x="282" y="154"/>
                    <a:pt x="282" y="154"/>
                  </a:cubicBezTo>
                  <a:cubicBezTo>
                    <a:pt x="261" y="161"/>
                    <a:pt x="252" y="180"/>
                    <a:pt x="251" y="187"/>
                  </a:cubicBezTo>
                  <a:cubicBezTo>
                    <a:pt x="249" y="198"/>
                    <a:pt x="255" y="211"/>
                    <a:pt x="258" y="216"/>
                  </a:cubicBezTo>
                  <a:cubicBezTo>
                    <a:pt x="262" y="224"/>
                    <a:pt x="265" y="234"/>
                    <a:pt x="265" y="245"/>
                  </a:cubicBezTo>
                  <a:cubicBezTo>
                    <a:pt x="265" y="279"/>
                    <a:pt x="237" y="307"/>
                    <a:pt x="203" y="307"/>
                  </a:cubicBezTo>
                  <a:cubicBezTo>
                    <a:pt x="168" y="307"/>
                    <a:pt x="140" y="279"/>
                    <a:pt x="140" y="245"/>
                  </a:cubicBezTo>
                  <a:cubicBezTo>
                    <a:pt x="140" y="235"/>
                    <a:pt x="143" y="225"/>
                    <a:pt x="147" y="216"/>
                  </a:cubicBezTo>
                  <a:cubicBezTo>
                    <a:pt x="150" y="211"/>
                    <a:pt x="157" y="198"/>
                    <a:pt x="154" y="187"/>
                  </a:cubicBezTo>
                  <a:cubicBezTo>
                    <a:pt x="153" y="180"/>
                    <a:pt x="144" y="161"/>
                    <a:pt x="123" y="155"/>
                  </a:cubicBezTo>
                  <a:cubicBezTo>
                    <a:pt x="123" y="155"/>
                    <a:pt x="122" y="155"/>
                    <a:pt x="121" y="154"/>
                  </a:cubicBezTo>
                  <a:cubicBezTo>
                    <a:pt x="115" y="153"/>
                    <a:pt x="82" y="144"/>
                    <a:pt x="43" y="145"/>
                  </a:cubicBezTo>
                  <a:cubicBezTo>
                    <a:pt x="27" y="145"/>
                    <a:pt x="12" y="146"/>
                    <a:pt x="0" y="148"/>
                  </a:cubicBezTo>
                  <a:cubicBezTo>
                    <a:pt x="0" y="150"/>
                    <a:pt x="0" y="152"/>
                    <a:pt x="0" y="154"/>
                  </a:cubicBezTo>
                  <a:cubicBezTo>
                    <a:pt x="0" y="407"/>
                    <a:pt x="205" y="613"/>
                    <a:pt x="459" y="613"/>
                  </a:cubicBezTo>
                  <a:cubicBezTo>
                    <a:pt x="712" y="613"/>
                    <a:pt x="918" y="407"/>
                    <a:pt x="918" y="154"/>
                  </a:cubicBezTo>
                  <a:cubicBezTo>
                    <a:pt x="918" y="154"/>
                    <a:pt x="918" y="153"/>
                    <a:pt x="918" y="153"/>
                  </a:cubicBezTo>
                  <a:cubicBezTo>
                    <a:pt x="901" y="158"/>
                    <a:pt x="873" y="163"/>
                    <a:pt x="841" y="163"/>
                  </a:cubicBezTo>
                  <a:cubicBezTo>
                    <a:pt x="797" y="163"/>
                    <a:pt x="761" y="153"/>
                    <a:pt x="761" y="153"/>
                  </a:cubicBezTo>
                  <a:close/>
                </a:path>
              </a:pathLst>
            </a:custGeom>
            <a:gradFill rotWithShape="1">
              <a:gsLst>
                <a:gs pos="0">
                  <a:srgbClr val="546D28"/>
                </a:gs>
                <a:gs pos="100000">
                  <a:srgbClr val="90BA45"/>
                </a:gs>
              </a:gsLst>
              <a:lin ang="2700000" scaled="1"/>
            </a:gradFill>
            <a:ln w="12700" cap="flat" cmpd="sng">
              <a:solidFill>
                <a:srgbClr val="F2F2F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6168" name="Freeform 13"/>
            <p:cNvSpPr>
              <a:spLocks/>
            </p:cNvSpPr>
            <p:nvPr/>
          </p:nvSpPr>
          <p:spPr bwMode="gray">
            <a:xfrm>
              <a:off x="1938" y="1379"/>
              <a:ext cx="1849" cy="1231"/>
            </a:xfrm>
            <a:custGeom>
              <a:avLst/>
              <a:gdLst>
                <a:gd name="T0" fmla="*/ 1861 w 918"/>
                <a:gd name="T1" fmla="*/ 0 h 612"/>
                <a:gd name="T2" fmla="*/ 0 w 918"/>
                <a:gd name="T3" fmla="*/ 1832 h 612"/>
                <a:gd name="T4" fmla="*/ 175 w 918"/>
                <a:gd name="T5" fmla="*/ 1820 h 612"/>
                <a:gd name="T6" fmla="*/ 491 w 918"/>
                <a:gd name="T7" fmla="*/ 1857 h 612"/>
                <a:gd name="T8" fmla="*/ 500 w 918"/>
                <a:gd name="T9" fmla="*/ 1861 h 612"/>
                <a:gd name="T10" fmla="*/ 624 w 918"/>
                <a:gd name="T11" fmla="*/ 1991 h 612"/>
                <a:gd name="T12" fmla="*/ 596 w 918"/>
                <a:gd name="T13" fmla="*/ 2108 h 612"/>
                <a:gd name="T14" fmla="*/ 568 w 918"/>
                <a:gd name="T15" fmla="*/ 2225 h 612"/>
                <a:gd name="T16" fmla="*/ 824 w 918"/>
                <a:gd name="T17" fmla="*/ 2476 h 612"/>
                <a:gd name="T18" fmla="*/ 1076 w 918"/>
                <a:gd name="T19" fmla="*/ 2225 h 612"/>
                <a:gd name="T20" fmla="*/ 1047 w 918"/>
                <a:gd name="T21" fmla="*/ 2108 h 612"/>
                <a:gd name="T22" fmla="*/ 1019 w 918"/>
                <a:gd name="T23" fmla="*/ 1991 h 612"/>
                <a:gd name="T24" fmla="*/ 1144 w 918"/>
                <a:gd name="T25" fmla="*/ 1857 h 612"/>
                <a:gd name="T26" fmla="*/ 1148 w 918"/>
                <a:gd name="T27" fmla="*/ 1857 h 612"/>
                <a:gd name="T28" fmla="*/ 1468 w 918"/>
                <a:gd name="T29" fmla="*/ 1816 h 612"/>
                <a:gd name="T30" fmla="*/ 1789 w 918"/>
                <a:gd name="T31" fmla="*/ 1857 h 612"/>
                <a:gd name="T32" fmla="*/ 1793 w 918"/>
                <a:gd name="T33" fmla="*/ 1857 h 612"/>
                <a:gd name="T34" fmla="*/ 2117 w 918"/>
                <a:gd name="T35" fmla="*/ 1897 h 612"/>
                <a:gd name="T36" fmla="*/ 2439 w 918"/>
                <a:gd name="T37" fmla="*/ 1853 h 612"/>
                <a:gd name="T38" fmla="*/ 2443 w 918"/>
                <a:gd name="T39" fmla="*/ 1853 h 612"/>
                <a:gd name="T40" fmla="*/ 2568 w 918"/>
                <a:gd name="T41" fmla="*/ 1724 h 612"/>
                <a:gd name="T42" fmla="*/ 2540 w 918"/>
                <a:gd name="T43" fmla="*/ 1607 h 612"/>
                <a:gd name="T44" fmla="*/ 2508 w 918"/>
                <a:gd name="T45" fmla="*/ 1488 h 612"/>
                <a:gd name="T46" fmla="*/ 2763 w 918"/>
                <a:gd name="T47" fmla="*/ 1233 h 612"/>
                <a:gd name="T48" fmla="*/ 3015 w 918"/>
                <a:gd name="T49" fmla="*/ 1484 h 612"/>
                <a:gd name="T50" fmla="*/ 2985 w 918"/>
                <a:gd name="T51" fmla="*/ 1603 h 612"/>
                <a:gd name="T52" fmla="*/ 2957 w 918"/>
                <a:gd name="T53" fmla="*/ 1724 h 612"/>
                <a:gd name="T54" fmla="*/ 2957 w 918"/>
                <a:gd name="T55" fmla="*/ 1728 h 612"/>
                <a:gd name="T56" fmla="*/ 2961 w 918"/>
                <a:gd name="T57" fmla="*/ 1732 h 612"/>
                <a:gd name="T58" fmla="*/ 2961 w 918"/>
                <a:gd name="T59" fmla="*/ 1732 h 612"/>
                <a:gd name="T60" fmla="*/ 2961 w 918"/>
                <a:gd name="T61" fmla="*/ 1740 h 612"/>
                <a:gd name="T62" fmla="*/ 2965 w 918"/>
                <a:gd name="T63" fmla="*/ 1740 h 612"/>
                <a:gd name="T64" fmla="*/ 2965 w 918"/>
                <a:gd name="T65" fmla="*/ 1748 h 612"/>
                <a:gd name="T66" fmla="*/ 2965 w 918"/>
                <a:gd name="T67" fmla="*/ 1748 h 612"/>
                <a:gd name="T68" fmla="*/ 2969 w 918"/>
                <a:gd name="T69" fmla="*/ 1756 h 612"/>
                <a:gd name="T70" fmla="*/ 2969 w 918"/>
                <a:gd name="T71" fmla="*/ 1756 h 612"/>
                <a:gd name="T72" fmla="*/ 3076 w 918"/>
                <a:gd name="T73" fmla="*/ 1849 h 612"/>
                <a:gd name="T74" fmla="*/ 3076 w 918"/>
                <a:gd name="T75" fmla="*/ 1849 h 612"/>
                <a:gd name="T76" fmla="*/ 3088 w 918"/>
                <a:gd name="T77" fmla="*/ 1853 h 612"/>
                <a:gd name="T78" fmla="*/ 3088 w 918"/>
                <a:gd name="T79" fmla="*/ 1853 h 612"/>
                <a:gd name="T80" fmla="*/ 3412 w 918"/>
                <a:gd name="T81" fmla="*/ 1893 h 612"/>
                <a:gd name="T82" fmla="*/ 3724 w 918"/>
                <a:gd name="T83" fmla="*/ 1853 h 612"/>
                <a:gd name="T84" fmla="*/ 1861 w 918"/>
                <a:gd name="T85" fmla="*/ 0 h 61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918" h="612">
                  <a:moveTo>
                    <a:pt x="459" y="0"/>
                  </a:moveTo>
                  <a:cubicBezTo>
                    <a:pt x="207" y="0"/>
                    <a:pt x="3" y="202"/>
                    <a:pt x="0" y="453"/>
                  </a:cubicBezTo>
                  <a:cubicBezTo>
                    <a:pt x="12" y="451"/>
                    <a:pt x="27" y="450"/>
                    <a:pt x="43" y="450"/>
                  </a:cubicBezTo>
                  <a:cubicBezTo>
                    <a:pt x="82" y="449"/>
                    <a:pt x="115" y="458"/>
                    <a:pt x="121" y="459"/>
                  </a:cubicBezTo>
                  <a:cubicBezTo>
                    <a:pt x="122" y="460"/>
                    <a:pt x="123" y="460"/>
                    <a:pt x="123" y="460"/>
                  </a:cubicBezTo>
                  <a:cubicBezTo>
                    <a:pt x="144" y="466"/>
                    <a:pt x="153" y="485"/>
                    <a:pt x="154" y="492"/>
                  </a:cubicBezTo>
                  <a:cubicBezTo>
                    <a:pt x="157" y="503"/>
                    <a:pt x="150" y="516"/>
                    <a:pt x="147" y="521"/>
                  </a:cubicBezTo>
                  <a:cubicBezTo>
                    <a:pt x="143" y="530"/>
                    <a:pt x="140" y="540"/>
                    <a:pt x="140" y="550"/>
                  </a:cubicBezTo>
                  <a:cubicBezTo>
                    <a:pt x="140" y="584"/>
                    <a:pt x="168" y="612"/>
                    <a:pt x="203" y="612"/>
                  </a:cubicBezTo>
                  <a:cubicBezTo>
                    <a:pt x="237" y="612"/>
                    <a:pt x="265" y="584"/>
                    <a:pt x="265" y="550"/>
                  </a:cubicBezTo>
                  <a:cubicBezTo>
                    <a:pt x="265" y="539"/>
                    <a:pt x="262" y="529"/>
                    <a:pt x="258" y="521"/>
                  </a:cubicBezTo>
                  <a:cubicBezTo>
                    <a:pt x="255" y="516"/>
                    <a:pt x="249" y="503"/>
                    <a:pt x="251" y="492"/>
                  </a:cubicBezTo>
                  <a:cubicBezTo>
                    <a:pt x="252" y="485"/>
                    <a:pt x="261" y="466"/>
                    <a:pt x="282" y="459"/>
                  </a:cubicBezTo>
                  <a:cubicBezTo>
                    <a:pt x="282" y="459"/>
                    <a:pt x="283" y="459"/>
                    <a:pt x="283" y="459"/>
                  </a:cubicBezTo>
                  <a:cubicBezTo>
                    <a:pt x="289" y="457"/>
                    <a:pt x="322" y="449"/>
                    <a:pt x="362" y="449"/>
                  </a:cubicBezTo>
                  <a:cubicBezTo>
                    <a:pt x="403" y="448"/>
                    <a:pt x="436" y="457"/>
                    <a:pt x="441" y="459"/>
                  </a:cubicBezTo>
                  <a:cubicBezTo>
                    <a:pt x="442" y="459"/>
                    <a:pt x="442" y="459"/>
                    <a:pt x="442" y="459"/>
                  </a:cubicBezTo>
                  <a:cubicBezTo>
                    <a:pt x="442" y="459"/>
                    <a:pt x="478" y="469"/>
                    <a:pt x="522" y="469"/>
                  </a:cubicBezTo>
                  <a:cubicBezTo>
                    <a:pt x="566" y="469"/>
                    <a:pt x="601" y="458"/>
                    <a:pt x="601" y="458"/>
                  </a:cubicBezTo>
                  <a:cubicBezTo>
                    <a:pt x="602" y="458"/>
                    <a:pt x="602" y="458"/>
                    <a:pt x="602" y="458"/>
                  </a:cubicBezTo>
                  <a:cubicBezTo>
                    <a:pt x="623" y="451"/>
                    <a:pt x="632" y="432"/>
                    <a:pt x="633" y="426"/>
                  </a:cubicBezTo>
                  <a:cubicBezTo>
                    <a:pt x="635" y="414"/>
                    <a:pt x="628" y="401"/>
                    <a:pt x="626" y="397"/>
                  </a:cubicBezTo>
                  <a:cubicBezTo>
                    <a:pt x="621" y="388"/>
                    <a:pt x="618" y="378"/>
                    <a:pt x="618" y="368"/>
                  </a:cubicBezTo>
                  <a:cubicBezTo>
                    <a:pt x="618" y="333"/>
                    <a:pt x="646" y="305"/>
                    <a:pt x="681" y="305"/>
                  </a:cubicBezTo>
                  <a:cubicBezTo>
                    <a:pt x="715" y="305"/>
                    <a:pt x="743" y="333"/>
                    <a:pt x="743" y="367"/>
                  </a:cubicBezTo>
                  <a:cubicBezTo>
                    <a:pt x="743" y="378"/>
                    <a:pt x="741" y="388"/>
                    <a:pt x="736" y="396"/>
                  </a:cubicBezTo>
                  <a:cubicBezTo>
                    <a:pt x="734" y="401"/>
                    <a:pt x="727" y="414"/>
                    <a:pt x="729" y="426"/>
                  </a:cubicBezTo>
                  <a:cubicBezTo>
                    <a:pt x="729" y="426"/>
                    <a:pt x="729" y="426"/>
                    <a:pt x="729" y="427"/>
                  </a:cubicBezTo>
                  <a:cubicBezTo>
                    <a:pt x="730" y="427"/>
                    <a:pt x="730" y="427"/>
                    <a:pt x="730" y="428"/>
                  </a:cubicBezTo>
                  <a:cubicBezTo>
                    <a:pt x="730" y="428"/>
                    <a:pt x="730" y="428"/>
                    <a:pt x="730" y="428"/>
                  </a:cubicBezTo>
                  <a:cubicBezTo>
                    <a:pt x="730" y="429"/>
                    <a:pt x="730" y="429"/>
                    <a:pt x="730" y="430"/>
                  </a:cubicBezTo>
                  <a:cubicBezTo>
                    <a:pt x="730" y="430"/>
                    <a:pt x="731" y="430"/>
                    <a:pt x="731" y="430"/>
                  </a:cubicBezTo>
                  <a:cubicBezTo>
                    <a:pt x="731" y="431"/>
                    <a:pt x="731" y="431"/>
                    <a:pt x="731" y="432"/>
                  </a:cubicBezTo>
                  <a:cubicBezTo>
                    <a:pt x="731" y="432"/>
                    <a:pt x="731" y="432"/>
                    <a:pt x="731" y="432"/>
                  </a:cubicBezTo>
                  <a:cubicBezTo>
                    <a:pt x="732" y="433"/>
                    <a:pt x="732" y="433"/>
                    <a:pt x="732" y="434"/>
                  </a:cubicBezTo>
                  <a:cubicBezTo>
                    <a:pt x="732" y="434"/>
                    <a:pt x="732" y="434"/>
                    <a:pt x="732" y="434"/>
                  </a:cubicBezTo>
                  <a:cubicBezTo>
                    <a:pt x="737" y="442"/>
                    <a:pt x="745" y="452"/>
                    <a:pt x="758" y="457"/>
                  </a:cubicBezTo>
                  <a:cubicBezTo>
                    <a:pt x="758" y="457"/>
                    <a:pt x="758" y="457"/>
                    <a:pt x="758" y="457"/>
                  </a:cubicBezTo>
                  <a:cubicBezTo>
                    <a:pt x="758" y="457"/>
                    <a:pt x="761" y="458"/>
                    <a:pt x="761" y="458"/>
                  </a:cubicBezTo>
                  <a:cubicBezTo>
                    <a:pt x="761" y="458"/>
                    <a:pt x="761" y="458"/>
                    <a:pt x="761" y="458"/>
                  </a:cubicBezTo>
                  <a:cubicBezTo>
                    <a:pt x="761" y="458"/>
                    <a:pt x="797" y="468"/>
                    <a:pt x="841" y="468"/>
                  </a:cubicBezTo>
                  <a:cubicBezTo>
                    <a:pt x="873" y="468"/>
                    <a:pt x="901" y="463"/>
                    <a:pt x="918" y="458"/>
                  </a:cubicBezTo>
                  <a:cubicBezTo>
                    <a:pt x="917" y="205"/>
                    <a:pt x="712" y="0"/>
                    <a:pt x="459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4C7013"/>
                </a:gs>
                <a:gs pos="100000">
                  <a:srgbClr val="8BA266"/>
                </a:gs>
              </a:gsLst>
              <a:lin ang="2700000" scaled="1"/>
            </a:gradFill>
            <a:ln w="12700" cap="flat" cmpd="sng">
              <a:solidFill>
                <a:srgbClr val="F2F2F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AR"/>
            </a:p>
          </p:txBody>
        </p:sp>
      </p:grpSp>
      <p:sp>
        <p:nvSpPr>
          <p:cNvPr id="6154" name="Text Box 13"/>
          <p:cNvSpPr txBox="1">
            <a:spLocks noChangeArrowheads="1"/>
          </p:cNvSpPr>
          <p:nvPr/>
        </p:nvSpPr>
        <p:spPr bwMode="gray">
          <a:xfrm>
            <a:off x="6570663" y="1992313"/>
            <a:ext cx="2254250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ct val="40000"/>
              </a:spcAft>
            </a:pPr>
            <a:r>
              <a:rPr lang="es-AR" sz="1600" noProof="1">
                <a:solidFill>
                  <a:srgbClr val="080808"/>
                </a:solidFill>
              </a:rPr>
              <a:t>All phrases can be replaced with your </a:t>
            </a:r>
            <a:br>
              <a:rPr lang="es-AR" sz="1600" noProof="1">
                <a:solidFill>
                  <a:srgbClr val="080808"/>
                </a:solidFill>
              </a:rPr>
            </a:br>
            <a:r>
              <a:rPr lang="es-AR" sz="1600" noProof="1">
                <a:solidFill>
                  <a:srgbClr val="080808"/>
                </a:solidFill>
              </a:rPr>
              <a:t>own text.</a:t>
            </a:r>
          </a:p>
        </p:txBody>
      </p:sp>
      <p:sp>
        <p:nvSpPr>
          <p:cNvPr id="6155" name="Text Box 13"/>
          <p:cNvSpPr txBox="1">
            <a:spLocks noChangeArrowheads="1"/>
          </p:cNvSpPr>
          <p:nvPr/>
        </p:nvSpPr>
        <p:spPr bwMode="gray">
          <a:xfrm>
            <a:off x="306388" y="4492625"/>
            <a:ext cx="2208212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600" noProof="1">
                <a:solidFill>
                  <a:srgbClr val="080808"/>
                </a:solidFill>
              </a:rPr>
              <a:t>All phrases can be replaced with your </a:t>
            </a:r>
            <a:br>
              <a:rPr lang="es-AR" sz="1600" noProof="1">
                <a:solidFill>
                  <a:srgbClr val="080808"/>
                </a:solidFill>
              </a:rPr>
            </a:br>
            <a:r>
              <a:rPr lang="es-AR" sz="1600" noProof="1">
                <a:solidFill>
                  <a:srgbClr val="080808"/>
                </a:solidFill>
              </a:rPr>
              <a:t>own text.</a:t>
            </a:r>
          </a:p>
        </p:txBody>
      </p:sp>
      <p:sp>
        <p:nvSpPr>
          <p:cNvPr id="6156" name="Text Box 13"/>
          <p:cNvSpPr txBox="1">
            <a:spLocks noChangeArrowheads="1"/>
          </p:cNvSpPr>
          <p:nvPr/>
        </p:nvSpPr>
        <p:spPr bwMode="gray">
          <a:xfrm>
            <a:off x="6434138" y="4492625"/>
            <a:ext cx="2390775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ct val="40000"/>
              </a:spcAft>
            </a:pPr>
            <a:r>
              <a:rPr lang="es-AR" sz="1600" noProof="1">
                <a:solidFill>
                  <a:srgbClr val="080808"/>
                </a:solidFill>
              </a:rPr>
              <a:t>All phrases can be replaced with </a:t>
            </a:r>
            <a:br>
              <a:rPr lang="es-AR" sz="1600" noProof="1">
                <a:solidFill>
                  <a:srgbClr val="080808"/>
                </a:solidFill>
              </a:rPr>
            </a:br>
            <a:r>
              <a:rPr lang="es-AR" sz="1600" noProof="1">
                <a:solidFill>
                  <a:srgbClr val="080808"/>
                </a:solidFill>
              </a:rPr>
              <a:t>your own text.</a:t>
            </a:r>
          </a:p>
        </p:txBody>
      </p:sp>
      <p:sp>
        <p:nvSpPr>
          <p:cNvPr id="6157" name="Text Box 13"/>
          <p:cNvSpPr txBox="1">
            <a:spLocks noChangeArrowheads="1"/>
          </p:cNvSpPr>
          <p:nvPr/>
        </p:nvSpPr>
        <p:spPr bwMode="gray">
          <a:xfrm>
            <a:off x="323850" y="1992313"/>
            <a:ext cx="2325688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600" noProof="1">
                <a:solidFill>
                  <a:srgbClr val="080808"/>
                </a:solidFill>
              </a:rPr>
              <a:t>All phrases can be replaced with your </a:t>
            </a:r>
            <a:br>
              <a:rPr lang="es-AR" sz="1600" noProof="1">
                <a:solidFill>
                  <a:srgbClr val="080808"/>
                </a:solidFill>
              </a:rPr>
            </a:br>
            <a:r>
              <a:rPr lang="es-AR" sz="1600" noProof="1">
                <a:solidFill>
                  <a:srgbClr val="080808"/>
                </a:solidFill>
              </a:rPr>
              <a:t>own text.</a:t>
            </a:r>
          </a:p>
        </p:txBody>
      </p:sp>
      <p:sp>
        <p:nvSpPr>
          <p:cNvPr id="33" name="Textfeld 7"/>
          <p:cNvSpPr txBox="1">
            <a:spLocks noChangeArrowheads="1"/>
          </p:cNvSpPr>
          <p:nvPr/>
        </p:nvSpPr>
        <p:spPr bwMode="gray">
          <a:xfrm>
            <a:off x="155575" y="174625"/>
            <a:ext cx="8988425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6000" b="1" kern="0" dirty="0">
                <a:solidFill>
                  <a:srgbClr val="6B9B1A"/>
                </a:solidFill>
                <a:latin typeface="Arial"/>
                <a:cs typeface="+mn-cs"/>
              </a:rPr>
              <a:t>PUZZLE</a:t>
            </a:r>
            <a:r>
              <a:rPr lang="de-DE" sz="60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  <a:cs typeface="+mn-cs"/>
              </a:rPr>
              <a:t>CIRCLE</a:t>
            </a:r>
          </a:p>
        </p:txBody>
      </p:sp>
      <p:grpSp>
        <p:nvGrpSpPr>
          <p:cNvPr id="6159" name="Group 19"/>
          <p:cNvGrpSpPr>
            <a:grpSpLocks/>
          </p:cNvGrpSpPr>
          <p:nvPr/>
        </p:nvGrpSpPr>
        <p:grpSpPr bwMode="auto">
          <a:xfrm>
            <a:off x="2546350" y="2144713"/>
            <a:ext cx="4006850" cy="3059112"/>
            <a:chOff x="1604" y="1351"/>
            <a:chExt cx="2524" cy="1927"/>
          </a:xfrm>
        </p:grpSpPr>
        <p:sp>
          <p:nvSpPr>
            <p:cNvPr id="6161" name="Text Box 19"/>
            <p:cNvSpPr txBox="1">
              <a:spLocks noChangeArrowheads="1"/>
            </p:cNvSpPr>
            <p:nvPr/>
          </p:nvSpPr>
          <p:spPr bwMode="gray">
            <a:xfrm>
              <a:off x="2184" y="1832"/>
              <a:ext cx="1395" cy="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40000"/>
                </a:spcAft>
              </a:pPr>
              <a:r>
                <a:rPr lang="es-AR" b="1" noProof="1">
                  <a:solidFill>
                    <a:schemeClr val="bg1"/>
                  </a:solidFill>
                </a:rPr>
                <a:t>Document Management</a:t>
              </a:r>
            </a:p>
          </p:txBody>
        </p:sp>
        <p:sp>
          <p:nvSpPr>
            <p:cNvPr id="6162" name="Text Box 19"/>
            <p:cNvSpPr txBox="1">
              <a:spLocks noChangeArrowheads="1"/>
            </p:cNvSpPr>
            <p:nvPr/>
          </p:nvSpPr>
          <p:spPr bwMode="gray">
            <a:xfrm>
              <a:off x="2312" y="2428"/>
              <a:ext cx="1242" cy="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r" eaLnBrk="1" hangingPunct="1">
                <a:spcAft>
                  <a:spcPct val="40000"/>
                </a:spcAft>
              </a:pPr>
              <a:r>
                <a:rPr lang="es-AR" b="1" noProof="1">
                  <a:solidFill>
                    <a:schemeClr val="bg1"/>
                  </a:solidFill>
                </a:rPr>
                <a:t>Web Content</a:t>
              </a:r>
              <a:br>
                <a:rPr lang="es-AR" b="1" noProof="1">
                  <a:solidFill>
                    <a:schemeClr val="bg1"/>
                  </a:solidFill>
                </a:rPr>
              </a:br>
              <a:r>
                <a:rPr lang="es-AR" b="1" noProof="1">
                  <a:solidFill>
                    <a:schemeClr val="bg1"/>
                  </a:solidFill>
                </a:rPr>
                <a:t>Management</a:t>
              </a:r>
            </a:p>
          </p:txBody>
        </p:sp>
        <p:sp>
          <p:nvSpPr>
            <p:cNvPr id="6163" name="WordArt 20"/>
            <p:cNvSpPr>
              <a:spLocks noChangeArrowheads="1" noChangeShapeType="1" noTextEdit="1"/>
            </p:cNvSpPr>
            <p:nvPr/>
          </p:nvSpPr>
          <p:spPr bwMode="gray">
            <a:xfrm rot="-2700000">
              <a:off x="1604" y="1395"/>
              <a:ext cx="1456" cy="75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1704708"/>
                </a:avLst>
              </a:prstTxWarp>
            </a:bodyPr>
            <a:lstStyle/>
            <a:p>
              <a:pPr algn="ctr"/>
              <a:r>
                <a:rPr lang="en-US" sz="1200" kern="10">
                  <a:latin typeface="Arial Black" panose="020B0A04020102020204" pitchFamily="34" charset="0"/>
                </a:rPr>
                <a:t>This is a placeholder text</a:t>
              </a:r>
              <a:endParaRPr lang="es-AR" sz="1200" kern="10">
                <a:latin typeface="Arial Black" panose="020B0A04020102020204" pitchFamily="34" charset="0"/>
              </a:endParaRPr>
            </a:p>
          </p:txBody>
        </p:sp>
        <p:sp>
          <p:nvSpPr>
            <p:cNvPr id="6164" name="WordArt 21"/>
            <p:cNvSpPr>
              <a:spLocks noChangeArrowheads="1" noChangeShapeType="1" noTextEdit="1"/>
            </p:cNvSpPr>
            <p:nvPr/>
          </p:nvSpPr>
          <p:spPr bwMode="gray">
            <a:xfrm rot="-8221355">
              <a:off x="1619" y="2457"/>
              <a:ext cx="1478" cy="803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1744612"/>
                </a:avLst>
              </a:prstTxWarp>
            </a:bodyPr>
            <a:lstStyle/>
            <a:p>
              <a:pPr algn="ctr"/>
              <a:r>
                <a:rPr lang="en-US" sz="1200" kern="10">
                  <a:latin typeface="Arial Black" panose="020B0A04020102020204" pitchFamily="34" charset="0"/>
                </a:rPr>
                <a:t>This is a placeholder text</a:t>
              </a:r>
              <a:endParaRPr lang="es-AR" sz="1200" kern="10">
                <a:latin typeface="Arial Black" panose="020B0A04020102020204" pitchFamily="34" charset="0"/>
              </a:endParaRPr>
            </a:p>
          </p:txBody>
        </p:sp>
        <p:sp>
          <p:nvSpPr>
            <p:cNvPr id="6165" name="WordArt 22"/>
            <p:cNvSpPr>
              <a:spLocks noChangeArrowheads="1" noChangeShapeType="1" noTextEdit="1"/>
            </p:cNvSpPr>
            <p:nvPr/>
          </p:nvSpPr>
          <p:spPr bwMode="gray">
            <a:xfrm rot="8191985">
              <a:off x="2589" y="2374"/>
              <a:ext cx="1529" cy="904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1823300"/>
                </a:avLst>
              </a:prstTxWarp>
            </a:bodyPr>
            <a:lstStyle/>
            <a:p>
              <a:pPr algn="ctr"/>
              <a:r>
                <a:rPr lang="en-US" sz="1200" kern="10">
                  <a:latin typeface="Arial Black" panose="020B0A04020102020204" pitchFamily="34" charset="0"/>
                </a:rPr>
                <a:t>This is a placeholder text</a:t>
              </a:r>
              <a:endParaRPr lang="es-AR" sz="1200" kern="10">
                <a:latin typeface="Arial Black" panose="020B0A04020102020204" pitchFamily="34" charset="0"/>
              </a:endParaRPr>
            </a:p>
          </p:txBody>
        </p:sp>
        <p:sp>
          <p:nvSpPr>
            <p:cNvPr id="6166" name="WordArt 23"/>
            <p:cNvSpPr>
              <a:spLocks noChangeArrowheads="1" noChangeShapeType="1" noTextEdit="1"/>
            </p:cNvSpPr>
            <p:nvPr/>
          </p:nvSpPr>
          <p:spPr bwMode="gray">
            <a:xfrm rot="2667535">
              <a:off x="2579" y="1351"/>
              <a:ext cx="1549" cy="874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1779108"/>
                </a:avLst>
              </a:prstTxWarp>
            </a:bodyPr>
            <a:lstStyle/>
            <a:p>
              <a:pPr algn="ctr"/>
              <a:r>
                <a:rPr lang="en-US" sz="1200" kern="10">
                  <a:latin typeface="Arial Black" panose="020B0A04020102020204" pitchFamily="34" charset="0"/>
                </a:rPr>
                <a:t>This is a placeholder text</a:t>
              </a:r>
              <a:endParaRPr lang="es-AR" sz="1200" kern="10">
                <a:latin typeface="Arial Black" panose="020B0A040201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68303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70" name="Group 10"/>
          <p:cNvGrpSpPr>
            <a:grpSpLocks/>
          </p:cNvGrpSpPr>
          <p:nvPr/>
        </p:nvGrpSpPr>
        <p:grpSpPr bwMode="auto">
          <a:xfrm>
            <a:off x="0" y="0"/>
            <a:ext cx="9144000" cy="5948363"/>
            <a:chOff x="0" y="0"/>
            <a:chExt cx="5760" cy="3747"/>
          </a:xfrm>
        </p:grpSpPr>
        <p:sp>
          <p:nvSpPr>
            <p:cNvPr id="7194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7195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7196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7197" name="Rectangle 5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</p:grpSp>
      <p:sp>
        <p:nvSpPr>
          <p:cNvPr id="29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kern="0" noProof="1">
                <a:solidFill>
                  <a:schemeClr val="bg1"/>
                </a:solidFill>
                <a:cs typeface="+mn-cs"/>
              </a:rPr>
              <a:t>Placeholder for your own sub headline</a:t>
            </a:r>
          </a:p>
        </p:txBody>
      </p:sp>
      <p:sp>
        <p:nvSpPr>
          <p:cNvPr id="31" name="Rectangle 40"/>
          <p:cNvSpPr txBox="1">
            <a:spLocks noChangeArrowheads="1"/>
          </p:cNvSpPr>
          <p:nvPr/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>
              <a:lnSpc>
                <a:spcPct val="90000"/>
              </a:lnSpc>
              <a:defRPr/>
            </a:pPr>
            <a:r>
              <a:rPr lang="de-DE" sz="3000" b="1" kern="0" dirty="0">
                <a:solidFill>
                  <a:srgbClr val="FFFFFF"/>
                </a:solidFill>
                <a:latin typeface="Arial"/>
                <a:cs typeface="Arial"/>
              </a:rPr>
              <a:t>Puzzle Circle</a:t>
            </a:r>
          </a:p>
        </p:txBody>
      </p:sp>
      <p:pic>
        <p:nvPicPr>
          <p:cNvPr id="7173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16100" y="5572125"/>
            <a:ext cx="522287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4" name="Freeform 27"/>
          <p:cNvSpPr>
            <a:spLocks/>
          </p:cNvSpPr>
          <p:nvPr/>
        </p:nvSpPr>
        <p:spPr bwMode="gray">
          <a:xfrm>
            <a:off x="2457450" y="3638550"/>
            <a:ext cx="2114550" cy="2159000"/>
          </a:xfrm>
          <a:custGeom>
            <a:avLst/>
            <a:gdLst>
              <a:gd name="T0" fmla="*/ 0 w 1424"/>
              <a:gd name="T1" fmla="*/ 0 h 1437"/>
              <a:gd name="T2" fmla="*/ 2147483647 w 1424"/>
              <a:gd name="T3" fmla="*/ 2147483647 h 1437"/>
              <a:gd name="T4" fmla="*/ 2147483647 w 1424"/>
              <a:gd name="T5" fmla="*/ 0 h 1437"/>
              <a:gd name="T6" fmla="*/ 0 w 1424"/>
              <a:gd name="T7" fmla="*/ 0 h 1437"/>
              <a:gd name="T8" fmla="*/ 0 60000 65536"/>
              <a:gd name="T9" fmla="*/ 0 60000 65536"/>
              <a:gd name="T10" fmla="*/ 0 60000 65536"/>
              <a:gd name="T11" fmla="*/ 0 60000 65536"/>
              <a:gd name="T12" fmla="*/ 0 w 1424"/>
              <a:gd name="T13" fmla="*/ 0 h 1437"/>
              <a:gd name="T14" fmla="*/ 1424 w 1424"/>
              <a:gd name="T15" fmla="*/ 1437 h 143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24" h="1437">
                <a:moveTo>
                  <a:pt x="0" y="0"/>
                </a:moveTo>
                <a:cubicBezTo>
                  <a:pt x="0" y="793"/>
                  <a:pt x="637" y="1437"/>
                  <a:pt x="1424" y="1437"/>
                </a:cubicBezTo>
                <a:cubicBezTo>
                  <a:pt x="1424" y="0"/>
                  <a:pt x="1424" y="0"/>
                  <a:pt x="1424" y="0"/>
                </a:cubicBez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BFBFBF"/>
              </a:gs>
              <a:gs pos="50000">
                <a:srgbClr val="ECECEC"/>
              </a:gs>
              <a:gs pos="100000">
                <a:srgbClr val="BFBFBF"/>
              </a:gs>
            </a:gsLst>
            <a:lin ang="5400000" scaled="1"/>
          </a:gradFill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s-AR"/>
          </a:p>
        </p:txBody>
      </p:sp>
      <p:sp>
        <p:nvSpPr>
          <p:cNvPr id="7175" name="Freeform 31"/>
          <p:cNvSpPr>
            <a:spLocks/>
          </p:cNvSpPr>
          <p:nvPr/>
        </p:nvSpPr>
        <p:spPr bwMode="gray">
          <a:xfrm>
            <a:off x="4564063" y="3644900"/>
            <a:ext cx="2087562" cy="2152650"/>
          </a:xfrm>
          <a:custGeom>
            <a:avLst/>
            <a:gdLst>
              <a:gd name="T0" fmla="*/ 0 w 1424"/>
              <a:gd name="T1" fmla="*/ 0 h 1438"/>
              <a:gd name="T2" fmla="*/ 0 w 1424"/>
              <a:gd name="T3" fmla="*/ 2147483647 h 1438"/>
              <a:gd name="T4" fmla="*/ 2147483647 w 1424"/>
              <a:gd name="T5" fmla="*/ 0 h 1438"/>
              <a:gd name="T6" fmla="*/ 0 w 1424"/>
              <a:gd name="T7" fmla="*/ 0 h 1438"/>
              <a:gd name="T8" fmla="*/ 0 60000 65536"/>
              <a:gd name="T9" fmla="*/ 0 60000 65536"/>
              <a:gd name="T10" fmla="*/ 0 60000 65536"/>
              <a:gd name="T11" fmla="*/ 0 60000 65536"/>
              <a:gd name="T12" fmla="*/ 0 w 1424"/>
              <a:gd name="T13" fmla="*/ 0 h 1438"/>
              <a:gd name="T14" fmla="*/ 1424 w 1424"/>
              <a:gd name="T15" fmla="*/ 1438 h 143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24" h="1438">
                <a:moveTo>
                  <a:pt x="0" y="0"/>
                </a:moveTo>
                <a:cubicBezTo>
                  <a:pt x="0" y="1438"/>
                  <a:pt x="0" y="1438"/>
                  <a:pt x="0" y="1438"/>
                </a:cubicBezTo>
                <a:cubicBezTo>
                  <a:pt x="787" y="1438"/>
                  <a:pt x="1424" y="794"/>
                  <a:pt x="1424" y="0"/>
                </a:cubicBez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BFBFBF"/>
              </a:gs>
              <a:gs pos="50000">
                <a:srgbClr val="ECECEC"/>
              </a:gs>
              <a:gs pos="100000">
                <a:srgbClr val="BFBFBF"/>
              </a:gs>
            </a:gsLst>
            <a:lin ang="5400000" scaled="1"/>
          </a:gradFill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s-AR"/>
          </a:p>
        </p:txBody>
      </p:sp>
      <p:sp>
        <p:nvSpPr>
          <p:cNvPr id="7176" name="Freeform 36"/>
          <p:cNvSpPr>
            <a:spLocks/>
          </p:cNvSpPr>
          <p:nvPr/>
        </p:nvSpPr>
        <p:spPr bwMode="gray">
          <a:xfrm>
            <a:off x="4559300" y="1562100"/>
            <a:ext cx="2092325" cy="2078038"/>
          </a:xfrm>
          <a:custGeom>
            <a:avLst/>
            <a:gdLst>
              <a:gd name="T0" fmla="*/ 2147483647 w 1424"/>
              <a:gd name="T1" fmla="*/ 2147483647 h 1438"/>
              <a:gd name="T2" fmla="*/ 0 w 1424"/>
              <a:gd name="T3" fmla="*/ 0 h 1438"/>
              <a:gd name="T4" fmla="*/ 0 w 1424"/>
              <a:gd name="T5" fmla="*/ 2147483647 h 1438"/>
              <a:gd name="T6" fmla="*/ 2147483647 w 1424"/>
              <a:gd name="T7" fmla="*/ 2147483647 h 1438"/>
              <a:gd name="T8" fmla="*/ 0 60000 65536"/>
              <a:gd name="T9" fmla="*/ 0 60000 65536"/>
              <a:gd name="T10" fmla="*/ 0 60000 65536"/>
              <a:gd name="T11" fmla="*/ 0 60000 65536"/>
              <a:gd name="T12" fmla="*/ 0 w 1424"/>
              <a:gd name="T13" fmla="*/ 0 h 1438"/>
              <a:gd name="T14" fmla="*/ 1424 w 1424"/>
              <a:gd name="T15" fmla="*/ 1438 h 143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24" h="1438">
                <a:moveTo>
                  <a:pt x="1424" y="1438"/>
                </a:moveTo>
                <a:cubicBezTo>
                  <a:pt x="1424" y="644"/>
                  <a:pt x="787" y="0"/>
                  <a:pt x="0" y="0"/>
                </a:cubicBezTo>
                <a:cubicBezTo>
                  <a:pt x="0" y="1438"/>
                  <a:pt x="0" y="1438"/>
                  <a:pt x="0" y="1438"/>
                </a:cubicBezTo>
                <a:lnTo>
                  <a:pt x="1424" y="1438"/>
                </a:lnTo>
                <a:close/>
              </a:path>
            </a:pathLst>
          </a:custGeom>
          <a:gradFill rotWithShape="1">
            <a:gsLst>
              <a:gs pos="0">
                <a:srgbClr val="BFBFBF"/>
              </a:gs>
              <a:gs pos="50000">
                <a:srgbClr val="ECECEC"/>
              </a:gs>
              <a:gs pos="100000">
                <a:srgbClr val="BFBFBF"/>
              </a:gs>
            </a:gsLst>
            <a:lin ang="5400000" scaled="1"/>
          </a:gradFill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s-AR"/>
          </a:p>
        </p:txBody>
      </p:sp>
      <p:sp>
        <p:nvSpPr>
          <p:cNvPr id="7177" name="Freeform 45"/>
          <p:cNvSpPr>
            <a:spLocks/>
          </p:cNvSpPr>
          <p:nvPr/>
        </p:nvSpPr>
        <p:spPr bwMode="gray">
          <a:xfrm>
            <a:off x="2455863" y="1558925"/>
            <a:ext cx="2105025" cy="2085975"/>
          </a:xfrm>
          <a:custGeom>
            <a:avLst/>
            <a:gdLst>
              <a:gd name="T0" fmla="*/ 2147483647 w 1424"/>
              <a:gd name="T1" fmla="*/ 0 h 1438"/>
              <a:gd name="T2" fmla="*/ 0 w 1424"/>
              <a:gd name="T3" fmla="*/ 2147483647 h 1438"/>
              <a:gd name="T4" fmla="*/ 2147483647 w 1424"/>
              <a:gd name="T5" fmla="*/ 2147483647 h 1438"/>
              <a:gd name="T6" fmla="*/ 2147483647 w 1424"/>
              <a:gd name="T7" fmla="*/ 0 h 1438"/>
              <a:gd name="T8" fmla="*/ 0 60000 65536"/>
              <a:gd name="T9" fmla="*/ 0 60000 65536"/>
              <a:gd name="T10" fmla="*/ 0 60000 65536"/>
              <a:gd name="T11" fmla="*/ 0 60000 65536"/>
              <a:gd name="T12" fmla="*/ 0 w 1424"/>
              <a:gd name="T13" fmla="*/ 0 h 1438"/>
              <a:gd name="T14" fmla="*/ 1424 w 1424"/>
              <a:gd name="T15" fmla="*/ 1438 h 143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24" h="1438">
                <a:moveTo>
                  <a:pt x="1424" y="0"/>
                </a:moveTo>
                <a:cubicBezTo>
                  <a:pt x="638" y="0"/>
                  <a:pt x="0" y="644"/>
                  <a:pt x="0" y="1438"/>
                </a:cubicBezTo>
                <a:cubicBezTo>
                  <a:pt x="1424" y="1438"/>
                  <a:pt x="1424" y="1438"/>
                  <a:pt x="1424" y="1438"/>
                </a:cubicBezTo>
                <a:lnTo>
                  <a:pt x="1424" y="0"/>
                </a:lnTo>
                <a:close/>
              </a:path>
            </a:pathLst>
          </a:custGeom>
          <a:gradFill rotWithShape="1">
            <a:gsLst>
              <a:gs pos="0">
                <a:srgbClr val="BFBFBF"/>
              </a:gs>
              <a:gs pos="50000">
                <a:srgbClr val="ECECEC"/>
              </a:gs>
              <a:gs pos="100000">
                <a:srgbClr val="BFBFBF"/>
              </a:gs>
            </a:gsLst>
            <a:lin ang="5400000" scaled="1"/>
          </a:gradFill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s-AR"/>
          </a:p>
        </p:txBody>
      </p:sp>
      <p:sp useBgFill="1">
        <p:nvSpPr>
          <p:cNvPr id="7178" name="Oval 13"/>
          <p:cNvSpPr>
            <a:spLocks noChangeArrowheads="1"/>
          </p:cNvSpPr>
          <p:nvPr/>
        </p:nvSpPr>
        <p:spPr bwMode="gray">
          <a:xfrm>
            <a:off x="2927350" y="2054225"/>
            <a:ext cx="3233738" cy="3233738"/>
          </a:xfrm>
          <a:prstGeom prst="ellipse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grpSp>
        <p:nvGrpSpPr>
          <p:cNvPr id="7179" name="Group 15"/>
          <p:cNvGrpSpPr>
            <a:grpSpLocks/>
          </p:cNvGrpSpPr>
          <p:nvPr/>
        </p:nvGrpSpPr>
        <p:grpSpPr bwMode="auto">
          <a:xfrm>
            <a:off x="3076575" y="2189163"/>
            <a:ext cx="2935288" cy="2932112"/>
            <a:chOff x="1938" y="1379"/>
            <a:chExt cx="1849" cy="1847"/>
          </a:xfrm>
        </p:grpSpPr>
        <p:sp>
          <p:nvSpPr>
            <p:cNvPr id="7192" name="Freeform 16"/>
            <p:cNvSpPr>
              <a:spLocks/>
            </p:cNvSpPr>
            <p:nvPr/>
          </p:nvSpPr>
          <p:spPr bwMode="gray">
            <a:xfrm>
              <a:off x="1938" y="1992"/>
              <a:ext cx="1849" cy="1234"/>
            </a:xfrm>
            <a:custGeom>
              <a:avLst/>
              <a:gdLst>
                <a:gd name="T0" fmla="*/ 3088 w 918"/>
                <a:gd name="T1" fmla="*/ 620 h 613"/>
                <a:gd name="T2" fmla="*/ 3088 w 918"/>
                <a:gd name="T3" fmla="*/ 620 h 613"/>
                <a:gd name="T4" fmla="*/ 3076 w 918"/>
                <a:gd name="T5" fmla="*/ 616 h 613"/>
                <a:gd name="T6" fmla="*/ 3076 w 918"/>
                <a:gd name="T7" fmla="*/ 616 h 613"/>
                <a:gd name="T8" fmla="*/ 2969 w 918"/>
                <a:gd name="T9" fmla="*/ 523 h 613"/>
                <a:gd name="T10" fmla="*/ 2969 w 918"/>
                <a:gd name="T11" fmla="*/ 523 h 613"/>
                <a:gd name="T12" fmla="*/ 2965 w 918"/>
                <a:gd name="T13" fmla="*/ 515 h 613"/>
                <a:gd name="T14" fmla="*/ 2965 w 918"/>
                <a:gd name="T15" fmla="*/ 515 h 613"/>
                <a:gd name="T16" fmla="*/ 2965 w 918"/>
                <a:gd name="T17" fmla="*/ 507 h 613"/>
                <a:gd name="T18" fmla="*/ 2961 w 918"/>
                <a:gd name="T19" fmla="*/ 507 h 613"/>
                <a:gd name="T20" fmla="*/ 2961 w 918"/>
                <a:gd name="T21" fmla="*/ 499 h 613"/>
                <a:gd name="T22" fmla="*/ 2961 w 918"/>
                <a:gd name="T23" fmla="*/ 499 h 613"/>
                <a:gd name="T24" fmla="*/ 2957 w 918"/>
                <a:gd name="T25" fmla="*/ 495 h 613"/>
                <a:gd name="T26" fmla="*/ 2957 w 918"/>
                <a:gd name="T27" fmla="*/ 491 h 613"/>
                <a:gd name="T28" fmla="*/ 2985 w 918"/>
                <a:gd name="T29" fmla="*/ 368 h 613"/>
                <a:gd name="T30" fmla="*/ 3015 w 918"/>
                <a:gd name="T31" fmla="*/ 252 h 613"/>
                <a:gd name="T32" fmla="*/ 2763 w 918"/>
                <a:gd name="T33" fmla="*/ 0 h 613"/>
                <a:gd name="T34" fmla="*/ 2508 w 918"/>
                <a:gd name="T35" fmla="*/ 256 h 613"/>
                <a:gd name="T36" fmla="*/ 2540 w 918"/>
                <a:gd name="T37" fmla="*/ 372 h 613"/>
                <a:gd name="T38" fmla="*/ 2568 w 918"/>
                <a:gd name="T39" fmla="*/ 491 h 613"/>
                <a:gd name="T40" fmla="*/ 2443 w 918"/>
                <a:gd name="T41" fmla="*/ 620 h 613"/>
                <a:gd name="T42" fmla="*/ 2439 w 918"/>
                <a:gd name="T43" fmla="*/ 620 h 613"/>
                <a:gd name="T44" fmla="*/ 2117 w 918"/>
                <a:gd name="T45" fmla="*/ 664 h 613"/>
                <a:gd name="T46" fmla="*/ 1793 w 918"/>
                <a:gd name="T47" fmla="*/ 624 h 613"/>
                <a:gd name="T48" fmla="*/ 1789 w 918"/>
                <a:gd name="T49" fmla="*/ 624 h 613"/>
                <a:gd name="T50" fmla="*/ 1468 w 918"/>
                <a:gd name="T51" fmla="*/ 584 h 613"/>
                <a:gd name="T52" fmla="*/ 1148 w 918"/>
                <a:gd name="T53" fmla="*/ 624 h 613"/>
                <a:gd name="T54" fmla="*/ 1144 w 918"/>
                <a:gd name="T55" fmla="*/ 624 h 613"/>
                <a:gd name="T56" fmla="*/ 1019 w 918"/>
                <a:gd name="T57" fmla="*/ 757 h 613"/>
                <a:gd name="T58" fmla="*/ 1047 w 918"/>
                <a:gd name="T59" fmla="*/ 876 h 613"/>
                <a:gd name="T60" fmla="*/ 1076 w 918"/>
                <a:gd name="T61" fmla="*/ 992 h 613"/>
                <a:gd name="T62" fmla="*/ 824 w 918"/>
                <a:gd name="T63" fmla="*/ 1244 h 613"/>
                <a:gd name="T64" fmla="*/ 568 w 918"/>
                <a:gd name="T65" fmla="*/ 992 h 613"/>
                <a:gd name="T66" fmla="*/ 596 w 918"/>
                <a:gd name="T67" fmla="*/ 876 h 613"/>
                <a:gd name="T68" fmla="*/ 624 w 918"/>
                <a:gd name="T69" fmla="*/ 757 h 613"/>
                <a:gd name="T70" fmla="*/ 500 w 918"/>
                <a:gd name="T71" fmla="*/ 628 h 613"/>
                <a:gd name="T72" fmla="*/ 491 w 918"/>
                <a:gd name="T73" fmla="*/ 624 h 613"/>
                <a:gd name="T74" fmla="*/ 175 w 918"/>
                <a:gd name="T75" fmla="*/ 588 h 613"/>
                <a:gd name="T76" fmla="*/ 0 w 918"/>
                <a:gd name="T77" fmla="*/ 600 h 613"/>
                <a:gd name="T78" fmla="*/ 0 w 918"/>
                <a:gd name="T79" fmla="*/ 624 h 613"/>
                <a:gd name="T80" fmla="*/ 1861 w 918"/>
                <a:gd name="T81" fmla="*/ 2484 h 613"/>
                <a:gd name="T82" fmla="*/ 3724 w 918"/>
                <a:gd name="T83" fmla="*/ 624 h 613"/>
                <a:gd name="T84" fmla="*/ 3724 w 918"/>
                <a:gd name="T85" fmla="*/ 620 h 613"/>
                <a:gd name="T86" fmla="*/ 3412 w 918"/>
                <a:gd name="T87" fmla="*/ 660 h 613"/>
                <a:gd name="T88" fmla="*/ 3088 w 918"/>
                <a:gd name="T89" fmla="*/ 620 h 61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918" h="613">
                  <a:moveTo>
                    <a:pt x="761" y="153"/>
                  </a:moveTo>
                  <a:cubicBezTo>
                    <a:pt x="761" y="153"/>
                    <a:pt x="761" y="153"/>
                    <a:pt x="761" y="153"/>
                  </a:cubicBezTo>
                  <a:cubicBezTo>
                    <a:pt x="761" y="153"/>
                    <a:pt x="758" y="152"/>
                    <a:pt x="758" y="152"/>
                  </a:cubicBezTo>
                  <a:cubicBezTo>
                    <a:pt x="758" y="152"/>
                    <a:pt x="758" y="152"/>
                    <a:pt x="758" y="152"/>
                  </a:cubicBezTo>
                  <a:cubicBezTo>
                    <a:pt x="745" y="147"/>
                    <a:pt x="737" y="137"/>
                    <a:pt x="732" y="129"/>
                  </a:cubicBezTo>
                  <a:cubicBezTo>
                    <a:pt x="732" y="129"/>
                    <a:pt x="732" y="129"/>
                    <a:pt x="732" y="129"/>
                  </a:cubicBezTo>
                  <a:cubicBezTo>
                    <a:pt x="732" y="128"/>
                    <a:pt x="732" y="128"/>
                    <a:pt x="731" y="127"/>
                  </a:cubicBezTo>
                  <a:cubicBezTo>
                    <a:pt x="731" y="127"/>
                    <a:pt x="731" y="127"/>
                    <a:pt x="731" y="127"/>
                  </a:cubicBezTo>
                  <a:cubicBezTo>
                    <a:pt x="731" y="126"/>
                    <a:pt x="731" y="126"/>
                    <a:pt x="731" y="125"/>
                  </a:cubicBezTo>
                  <a:cubicBezTo>
                    <a:pt x="731" y="125"/>
                    <a:pt x="730" y="125"/>
                    <a:pt x="730" y="125"/>
                  </a:cubicBezTo>
                  <a:cubicBezTo>
                    <a:pt x="730" y="124"/>
                    <a:pt x="730" y="124"/>
                    <a:pt x="730" y="123"/>
                  </a:cubicBezTo>
                  <a:cubicBezTo>
                    <a:pt x="730" y="123"/>
                    <a:pt x="730" y="123"/>
                    <a:pt x="730" y="123"/>
                  </a:cubicBezTo>
                  <a:cubicBezTo>
                    <a:pt x="730" y="122"/>
                    <a:pt x="730" y="122"/>
                    <a:pt x="729" y="122"/>
                  </a:cubicBezTo>
                  <a:cubicBezTo>
                    <a:pt x="729" y="121"/>
                    <a:pt x="729" y="121"/>
                    <a:pt x="729" y="121"/>
                  </a:cubicBezTo>
                  <a:cubicBezTo>
                    <a:pt x="727" y="109"/>
                    <a:pt x="734" y="96"/>
                    <a:pt x="736" y="91"/>
                  </a:cubicBezTo>
                  <a:cubicBezTo>
                    <a:pt x="741" y="83"/>
                    <a:pt x="743" y="73"/>
                    <a:pt x="743" y="62"/>
                  </a:cubicBezTo>
                  <a:cubicBezTo>
                    <a:pt x="743" y="28"/>
                    <a:pt x="715" y="0"/>
                    <a:pt x="681" y="0"/>
                  </a:cubicBezTo>
                  <a:cubicBezTo>
                    <a:pt x="646" y="0"/>
                    <a:pt x="618" y="28"/>
                    <a:pt x="618" y="63"/>
                  </a:cubicBezTo>
                  <a:cubicBezTo>
                    <a:pt x="618" y="73"/>
                    <a:pt x="621" y="83"/>
                    <a:pt x="626" y="92"/>
                  </a:cubicBezTo>
                  <a:cubicBezTo>
                    <a:pt x="628" y="96"/>
                    <a:pt x="635" y="109"/>
                    <a:pt x="633" y="121"/>
                  </a:cubicBezTo>
                  <a:cubicBezTo>
                    <a:pt x="632" y="127"/>
                    <a:pt x="623" y="146"/>
                    <a:pt x="602" y="153"/>
                  </a:cubicBezTo>
                  <a:cubicBezTo>
                    <a:pt x="602" y="153"/>
                    <a:pt x="602" y="153"/>
                    <a:pt x="601" y="153"/>
                  </a:cubicBezTo>
                  <a:cubicBezTo>
                    <a:pt x="601" y="153"/>
                    <a:pt x="566" y="164"/>
                    <a:pt x="522" y="164"/>
                  </a:cubicBezTo>
                  <a:cubicBezTo>
                    <a:pt x="478" y="164"/>
                    <a:pt x="442" y="154"/>
                    <a:pt x="442" y="154"/>
                  </a:cubicBezTo>
                  <a:cubicBezTo>
                    <a:pt x="442" y="154"/>
                    <a:pt x="442" y="154"/>
                    <a:pt x="441" y="154"/>
                  </a:cubicBezTo>
                  <a:cubicBezTo>
                    <a:pt x="436" y="152"/>
                    <a:pt x="403" y="143"/>
                    <a:pt x="362" y="144"/>
                  </a:cubicBezTo>
                  <a:cubicBezTo>
                    <a:pt x="322" y="144"/>
                    <a:pt x="289" y="152"/>
                    <a:pt x="283" y="154"/>
                  </a:cubicBezTo>
                  <a:cubicBezTo>
                    <a:pt x="283" y="154"/>
                    <a:pt x="282" y="154"/>
                    <a:pt x="282" y="154"/>
                  </a:cubicBezTo>
                  <a:cubicBezTo>
                    <a:pt x="261" y="161"/>
                    <a:pt x="252" y="180"/>
                    <a:pt x="251" y="187"/>
                  </a:cubicBezTo>
                  <a:cubicBezTo>
                    <a:pt x="249" y="198"/>
                    <a:pt x="255" y="211"/>
                    <a:pt x="258" y="216"/>
                  </a:cubicBezTo>
                  <a:cubicBezTo>
                    <a:pt x="262" y="224"/>
                    <a:pt x="265" y="234"/>
                    <a:pt x="265" y="245"/>
                  </a:cubicBezTo>
                  <a:cubicBezTo>
                    <a:pt x="265" y="279"/>
                    <a:pt x="237" y="307"/>
                    <a:pt x="203" y="307"/>
                  </a:cubicBezTo>
                  <a:cubicBezTo>
                    <a:pt x="168" y="307"/>
                    <a:pt x="140" y="279"/>
                    <a:pt x="140" y="245"/>
                  </a:cubicBezTo>
                  <a:cubicBezTo>
                    <a:pt x="140" y="235"/>
                    <a:pt x="143" y="225"/>
                    <a:pt x="147" y="216"/>
                  </a:cubicBezTo>
                  <a:cubicBezTo>
                    <a:pt x="150" y="211"/>
                    <a:pt x="157" y="198"/>
                    <a:pt x="154" y="187"/>
                  </a:cubicBezTo>
                  <a:cubicBezTo>
                    <a:pt x="153" y="180"/>
                    <a:pt x="144" y="161"/>
                    <a:pt x="123" y="155"/>
                  </a:cubicBezTo>
                  <a:cubicBezTo>
                    <a:pt x="123" y="155"/>
                    <a:pt x="122" y="155"/>
                    <a:pt x="121" y="154"/>
                  </a:cubicBezTo>
                  <a:cubicBezTo>
                    <a:pt x="115" y="153"/>
                    <a:pt x="82" y="144"/>
                    <a:pt x="43" y="145"/>
                  </a:cubicBezTo>
                  <a:cubicBezTo>
                    <a:pt x="27" y="145"/>
                    <a:pt x="12" y="146"/>
                    <a:pt x="0" y="148"/>
                  </a:cubicBezTo>
                  <a:cubicBezTo>
                    <a:pt x="0" y="150"/>
                    <a:pt x="0" y="152"/>
                    <a:pt x="0" y="154"/>
                  </a:cubicBezTo>
                  <a:cubicBezTo>
                    <a:pt x="0" y="407"/>
                    <a:pt x="205" y="613"/>
                    <a:pt x="459" y="613"/>
                  </a:cubicBezTo>
                  <a:cubicBezTo>
                    <a:pt x="712" y="613"/>
                    <a:pt x="918" y="407"/>
                    <a:pt x="918" y="154"/>
                  </a:cubicBezTo>
                  <a:cubicBezTo>
                    <a:pt x="918" y="154"/>
                    <a:pt x="918" y="153"/>
                    <a:pt x="918" y="153"/>
                  </a:cubicBezTo>
                  <a:cubicBezTo>
                    <a:pt x="901" y="158"/>
                    <a:pt x="873" y="163"/>
                    <a:pt x="841" y="163"/>
                  </a:cubicBezTo>
                  <a:cubicBezTo>
                    <a:pt x="797" y="163"/>
                    <a:pt x="761" y="153"/>
                    <a:pt x="761" y="153"/>
                  </a:cubicBezTo>
                  <a:close/>
                </a:path>
              </a:pathLst>
            </a:custGeom>
            <a:gradFill rotWithShape="1">
              <a:gsLst>
                <a:gs pos="0">
                  <a:srgbClr val="4A729F"/>
                </a:gs>
                <a:gs pos="100000">
                  <a:srgbClr val="69A2E1"/>
                </a:gs>
              </a:gsLst>
              <a:lin ang="2700000" scaled="1"/>
            </a:gradFill>
            <a:ln w="1905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AR"/>
            </a:p>
          </p:txBody>
        </p:sp>
        <p:sp>
          <p:nvSpPr>
            <p:cNvPr id="7193" name="Freeform 17"/>
            <p:cNvSpPr>
              <a:spLocks/>
            </p:cNvSpPr>
            <p:nvPr/>
          </p:nvSpPr>
          <p:spPr bwMode="gray">
            <a:xfrm>
              <a:off x="1938" y="1379"/>
              <a:ext cx="1849" cy="1231"/>
            </a:xfrm>
            <a:custGeom>
              <a:avLst/>
              <a:gdLst>
                <a:gd name="T0" fmla="*/ 1861 w 918"/>
                <a:gd name="T1" fmla="*/ 0 h 612"/>
                <a:gd name="T2" fmla="*/ 0 w 918"/>
                <a:gd name="T3" fmla="*/ 1832 h 612"/>
                <a:gd name="T4" fmla="*/ 175 w 918"/>
                <a:gd name="T5" fmla="*/ 1820 h 612"/>
                <a:gd name="T6" fmla="*/ 491 w 918"/>
                <a:gd name="T7" fmla="*/ 1857 h 612"/>
                <a:gd name="T8" fmla="*/ 500 w 918"/>
                <a:gd name="T9" fmla="*/ 1861 h 612"/>
                <a:gd name="T10" fmla="*/ 624 w 918"/>
                <a:gd name="T11" fmla="*/ 1991 h 612"/>
                <a:gd name="T12" fmla="*/ 596 w 918"/>
                <a:gd name="T13" fmla="*/ 2108 h 612"/>
                <a:gd name="T14" fmla="*/ 568 w 918"/>
                <a:gd name="T15" fmla="*/ 2225 h 612"/>
                <a:gd name="T16" fmla="*/ 824 w 918"/>
                <a:gd name="T17" fmla="*/ 2476 h 612"/>
                <a:gd name="T18" fmla="*/ 1076 w 918"/>
                <a:gd name="T19" fmla="*/ 2225 h 612"/>
                <a:gd name="T20" fmla="*/ 1047 w 918"/>
                <a:gd name="T21" fmla="*/ 2108 h 612"/>
                <a:gd name="T22" fmla="*/ 1019 w 918"/>
                <a:gd name="T23" fmla="*/ 1991 h 612"/>
                <a:gd name="T24" fmla="*/ 1144 w 918"/>
                <a:gd name="T25" fmla="*/ 1857 h 612"/>
                <a:gd name="T26" fmla="*/ 1148 w 918"/>
                <a:gd name="T27" fmla="*/ 1857 h 612"/>
                <a:gd name="T28" fmla="*/ 1468 w 918"/>
                <a:gd name="T29" fmla="*/ 1816 h 612"/>
                <a:gd name="T30" fmla="*/ 1789 w 918"/>
                <a:gd name="T31" fmla="*/ 1857 h 612"/>
                <a:gd name="T32" fmla="*/ 1793 w 918"/>
                <a:gd name="T33" fmla="*/ 1857 h 612"/>
                <a:gd name="T34" fmla="*/ 2117 w 918"/>
                <a:gd name="T35" fmla="*/ 1897 h 612"/>
                <a:gd name="T36" fmla="*/ 2439 w 918"/>
                <a:gd name="T37" fmla="*/ 1853 h 612"/>
                <a:gd name="T38" fmla="*/ 2443 w 918"/>
                <a:gd name="T39" fmla="*/ 1853 h 612"/>
                <a:gd name="T40" fmla="*/ 2568 w 918"/>
                <a:gd name="T41" fmla="*/ 1724 h 612"/>
                <a:gd name="T42" fmla="*/ 2540 w 918"/>
                <a:gd name="T43" fmla="*/ 1607 h 612"/>
                <a:gd name="T44" fmla="*/ 2508 w 918"/>
                <a:gd name="T45" fmla="*/ 1488 h 612"/>
                <a:gd name="T46" fmla="*/ 2763 w 918"/>
                <a:gd name="T47" fmla="*/ 1233 h 612"/>
                <a:gd name="T48" fmla="*/ 3015 w 918"/>
                <a:gd name="T49" fmla="*/ 1484 h 612"/>
                <a:gd name="T50" fmla="*/ 2985 w 918"/>
                <a:gd name="T51" fmla="*/ 1603 h 612"/>
                <a:gd name="T52" fmla="*/ 2957 w 918"/>
                <a:gd name="T53" fmla="*/ 1724 h 612"/>
                <a:gd name="T54" fmla="*/ 2957 w 918"/>
                <a:gd name="T55" fmla="*/ 1728 h 612"/>
                <a:gd name="T56" fmla="*/ 2961 w 918"/>
                <a:gd name="T57" fmla="*/ 1732 h 612"/>
                <a:gd name="T58" fmla="*/ 2961 w 918"/>
                <a:gd name="T59" fmla="*/ 1732 h 612"/>
                <a:gd name="T60" fmla="*/ 2961 w 918"/>
                <a:gd name="T61" fmla="*/ 1740 h 612"/>
                <a:gd name="T62" fmla="*/ 2965 w 918"/>
                <a:gd name="T63" fmla="*/ 1740 h 612"/>
                <a:gd name="T64" fmla="*/ 2965 w 918"/>
                <a:gd name="T65" fmla="*/ 1748 h 612"/>
                <a:gd name="T66" fmla="*/ 2965 w 918"/>
                <a:gd name="T67" fmla="*/ 1748 h 612"/>
                <a:gd name="T68" fmla="*/ 2969 w 918"/>
                <a:gd name="T69" fmla="*/ 1756 h 612"/>
                <a:gd name="T70" fmla="*/ 2969 w 918"/>
                <a:gd name="T71" fmla="*/ 1756 h 612"/>
                <a:gd name="T72" fmla="*/ 3076 w 918"/>
                <a:gd name="T73" fmla="*/ 1849 h 612"/>
                <a:gd name="T74" fmla="*/ 3076 w 918"/>
                <a:gd name="T75" fmla="*/ 1849 h 612"/>
                <a:gd name="T76" fmla="*/ 3088 w 918"/>
                <a:gd name="T77" fmla="*/ 1853 h 612"/>
                <a:gd name="T78" fmla="*/ 3088 w 918"/>
                <a:gd name="T79" fmla="*/ 1853 h 612"/>
                <a:gd name="T80" fmla="*/ 3412 w 918"/>
                <a:gd name="T81" fmla="*/ 1893 h 612"/>
                <a:gd name="T82" fmla="*/ 3724 w 918"/>
                <a:gd name="T83" fmla="*/ 1853 h 612"/>
                <a:gd name="T84" fmla="*/ 1861 w 918"/>
                <a:gd name="T85" fmla="*/ 0 h 61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918" h="612">
                  <a:moveTo>
                    <a:pt x="459" y="0"/>
                  </a:moveTo>
                  <a:cubicBezTo>
                    <a:pt x="207" y="0"/>
                    <a:pt x="3" y="202"/>
                    <a:pt x="0" y="453"/>
                  </a:cubicBezTo>
                  <a:cubicBezTo>
                    <a:pt x="12" y="451"/>
                    <a:pt x="27" y="450"/>
                    <a:pt x="43" y="450"/>
                  </a:cubicBezTo>
                  <a:cubicBezTo>
                    <a:pt x="82" y="449"/>
                    <a:pt x="115" y="458"/>
                    <a:pt x="121" y="459"/>
                  </a:cubicBezTo>
                  <a:cubicBezTo>
                    <a:pt x="122" y="460"/>
                    <a:pt x="123" y="460"/>
                    <a:pt x="123" y="460"/>
                  </a:cubicBezTo>
                  <a:cubicBezTo>
                    <a:pt x="144" y="466"/>
                    <a:pt x="153" y="485"/>
                    <a:pt x="154" y="492"/>
                  </a:cubicBezTo>
                  <a:cubicBezTo>
                    <a:pt x="157" y="503"/>
                    <a:pt x="150" y="516"/>
                    <a:pt x="147" y="521"/>
                  </a:cubicBezTo>
                  <a:cubicBezTo>
                    <a:pt x="143" y="530"/>
                    <a:pt x="140" y="540"/>
                    <a:pt x="140" y="550"/>
                  </a:cubicBezTo>
                  <a:cubicBezTo>
                    <a:pt x="140" y="584"/>
                    <a:pt x="168" y="612"/>
                    <a:pt x="203" y="612"/>
                  </a:cubicBezTo>
                  <a:cubicBezTo>
                    <a:pt x="237" y="612"/>
                    <a:pt x="265" y="584"/>
                    <a:pt x="265" y="550"/>
                  </a:cubicBezTo>
                  <a:cubicBezTo>
                    <a:pt x="265" y="539"/>
                    <a:pt x="262" y="529"/>
                    <a:pt x="258" y="521"/>
                  </a:cubicBezTo>
                  <a:cubicBezTo>
                    <a:pt x="255" y="516"/>
                    <a:pt x="249" y="503"/>
                    <a:pt x="251" y="492"/>
                  </a:cubicBezTo>
                  <a:cubicBezTo>
                    <a:pt x="252" y="485"/>
                    <a:pt x="261" y="466"/>
                    <a:pt x="282" y="459"/>
                  </a:cubicBezTo>
                  <a:cubicBezTo>
                    <a:pt x="282" y="459"/>
                    <a:pt x="283" y="459"/>
                    <a:pt x="283" y="459"/>
                  </a:cubicBezTo>
                  <a:cubicBezTo>
                    <a:pt x="289" y="457"/>
                    <a:pt x="322" y="449"/>
                    <a:pt x="362" y="449"/>
                  </a:cubicBezTo>
                  <a:cubicBezTo>
                    <a:pt x="403" y="448"/>
                    <a:pt x="436" y="457"/>
                    <a:pt x="441" y="459"/>
                  </a:cubicBezTo>
                  <a:cubicBezTo>
                    <a:pt x="442" y="459"/>
                    <a:pt x="442" y="459"/>
                    <a:pt x="442" y="459"/>
                  </a:cubicBezTo>
                  <a:cubicBezTo>
                    <a:pt x="442" y="459"/>
                    <a:pt x="478" y="469"/>
                    <a:pt x="522" y="469"/>
                  </a:cubicBezTo>
                  <a:cubicBezTo>
                    <a:pt x="566" y="469"/>
                    <a:pt x="601" y="458"/>
                    <a:pt x="601" y="458"/>
                  </a:cubicBezTo>
                  <a:cubicBezTo>
                    <a:pt x="602" y="458"/>
                    <a:pt x="602" y="458"/>
                    <a:pt x="602" y="458"/>
                  </a:cubicBezTo>
                  <a:cubicBezTo>
                    <a:pt x="623" y="451"/>
                    <a:pt x="632" y="432"/>
                    <a:pt x="633" y="426"/>
                  </a:cubicBezTo>
                  <a:cubicBezTo>
                    <a:pt x="635" y="414"/>
                    <a:pt x="628" y="401"/>
                    <a:pt x="626" y="397"/>
                  </a:cubicBezTo>
                  <a:cubicBezTo>
                    <a:pt x="621" y="388"/>
                    <a:pt x="618" y="378"/>
                    <a:pt x="618" y="368"/>
                  </a:cubicBezTo>
                  <a:cubicBezTo>
                    <a:pt x="618" y="333"/>
                    <a:pt x="646" y="305"/>
                    <a:pt x="681" y="305"/>
                  </a:cubicBezTo>
                  <a:cubicBezTo>
                    <a:pt x="715" y="305"/>
                    <a:pt x="743" y="333"/>
                    <a:pt x="743" y="367"/>
                  </a:cubicBezTo>
                  <a:cubicBezTo>
                    <a:pt x="743" y="378"/>
                    <a:pt x="741" y="388"/>
                    <a:pt x="736" y="396"/>
                  </a:cubicBezTo>
                  <a:cubicBezTo>
                    <a:pt x="734" y="401"/>
                    <a:pt x="727" y="414"/>
                    <a:pt x="729" y="426"/>
                  </a:cubicBezTo>
                  <a:cubicBezTo>
                    <a:pt x="729" y="426"/>
                    <a:pt x="729" y="426"/>
                    <a:pt x="729" y="427"/>
                  </a:cubicBezTo>
                  <a:cubicBezTo>
                    <a:pt x="730" y="427"/>
                    <a:pt x="730" y="427"/>
                    <a:pt x="730" y="428"/>
                  </a:cubicBezTo>
                  <a:cubicBezTo>
                    <a:pt x="730" y="428"/>
                    <a:pt x="730" y="428"/>
                    <a:pt x="730" y="428"/>
                  </a:cubicBezTo>
                  <a:cubicBezTo>
                    <a:pt x="730" y="429"/>
                    <a:pt x="730" y="429"/>
                    <a:pt x="730" y="430"/>
                  </a:cubicBezTo>
                  <a:cubicBezTo>
                    <a:pt x="730" y="430"/>
                    <a:pt x="731" y="430"/>
                    <a:pt x="731" y="430"/>
                  </a:cubicBezTo>
                  <a:cubicBezTo>
                    <a:pt x="731" y="431"/>
                    <a:pt x="731" y="431"/>
                    <a:pt x="731" y="432"/>
                  </a:cubicBezTo>
                  <a:cubicBezTo>
                    <a:pt x="731" y="432"/>
                    <a:pt x="731" y="432"/>
                    <a:pt x="731" y="432"/>
                  </a:cubicBezTo>
                  <a:cubicBezTo>
                    <a:pt x="732" y="433"/>
                    <a:pt x="732" y="433"/>
                    <a:pt x="732" y="434"/>
                  </a:cubicBezTo>
                  <a:cubicBezTo>
                    <a:pt x="732" y="434"/>
                    <a:pt x="732" y="434"/>
                    <a:pt x="732" y="434"/>
                  </a:cubicBezTo>
                  <a:cubicBezTo>
                    <a:pt x="737" y="442"/>
                    <a:pt x="745" y="452"/>
                    <a:pt x="758" y="457"/>
                  </a:cubicBezTo>
                  <a:cubicBezTo>
                    <a:pt x="758" y="457"/>
                    <a:pt x="758" y="457"/>
                    <a:pt x="758" y="457"/>
                  </a:cubicBezTo>
                  <a:cubicBezTo>
                    <a:pt x="758" y="457"/>
                    <a:pt x="761" y="458"/>
                    <a:pt x="761" y="458"/>
                  </a:cubicBezTo>
                  <a:cubicBezTo>
                    <a:pt x="761" y="458"/>
                    <a:pt x="761" y="458"/>
                    <a:pt x="761" y="458"/>
                  </a:cubicBezTo>
                  <a:cubicBezTo>
                    <a:pt x="761" y="458"/>
                    <a:pt x="797" y="468"/>
                    <a:pt x="841" y="468"/>
                  </a:cubicBezTo>
                  <a:cubicBezTo>
                    <a:pt x="873" y="468"/>
                    <a:pt x="901" y="463"/>
                    <a:pt x="918" y="458"/>
                  </a:cubicBezTo>
                  <a:cubicBezTo>
                    <a:pt x="917" y="205"/>
                    <a:pt x="712" y="0"/>
                    <a:pt x="459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0061B2"/>
                </a:gs>
                <a:gs pos="100000">
                  <a:srgbClr val="4B8FC9"/>
                </a:gs>
              </a:gsLst>
              <a:lin ang="2700000" scaled="1"/>
            </a:gradFill>
            <a:ln w="1905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AR"/>
            </a:p>
          </p:txBody>
        </p:sp>
      </p:grpSp>
      <p:sp>
        <p:nvSpPr>
          <p:cNvPr id="7180" name="Text Box 13"/>
          <p:cNvSpPr txBox="1">
            <a:spLocks noChangeArrowheads="1"/>
          </p:cNvSpPr>
          <p:nvPr/>
        </p:nvSpPr>
        <p:spPr bwMode="gray">
          <a:xfrm>
            <a:off x="6570663" y="1992313"/>
            <a:ext cx="2254250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ct val="40000"/>
              </a:spcAft>
            </a:pPr>
            <a:r>
              <a:rPr lang="es-AR" sz="1600" noProof="1">
                <a:solidFill>
                  <a:schemeClr val="bg1"/>
                </a:solidFill>
              </a:rPr>
              <a:t>All phrases can be replaced with your </a:t>
            </a:r>
            <a:br>
              <a:rPr lang="es-AR" sz="1600" noProof="1">
                <a:solidFill>
                  <a:schemeClr val="bg1"/>
                </a:solidFill>
              </a:rPr>
            </a:br>
            <a:r>
              <a:rPr lang="es-AR" sz="1600" noProof="1">
                <a:solidFill>
                  <a:schemeClr val="bg1"/>
                </a:solidFill>
              </a:rPr>
              <a:t>own text.</a:t>
            </a:r>
          </a:p>
        </p:txBody>
      </p:sp>
      <p:sp>
        <p:nvSpPr>
          <p:cNvPr id="7181" name="Text Box 13"/>
          <p:cNvSpPr txBox="1">
            <a:spLocks noChangeArrowheads="1"/>
          </p:cNvSpPr>
          <p:nvPr/>
        </p:nvSpPr>
        <p:spPr bwMode="gray">
          <a:xfrm>
            <a:off x="306388" y="4492625"/>
            <a:ext cx="2208212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600" noProof="1">
                <a:solidFill>
                  <a:srgbClr val="080808"/>
                </a:solidFill>
              </a:rPr>
              <a:t>All phrases can be replaced with your </a:t>
            </a:r>
            <a:br>
              <a:rPr lang="es-AR" sz="1600" noProof="1">
                <a:solidFill>
                  <a:srgbClr val="080808"/>
                </a:solidFill>
              </a:rPr>
            </a:br>
            <a:r>
              <a:rPr lang="es-AR" sz="1600" noProof="1">
                <a:solidFill>
                  <a:srgbClr val="080808"/>
                </a:solidFill>
              </a:rPr>
              <a:t>own text.</a:t>
            </a:r>
          </a:p>
        </p:txBody>
      </p:sp>
      <p:sp>
        <p:nvSpPr>
          <p:cNvPr id="7182" name="Text Box 13"/>
          <p:cNvSpPr txBox="1">
            <a:spLocks noChangeArrowheads="1"/>
          </p:cNvSpPr>
          <p:nvPr/>
        </p:nvSpPr>
        <p:spPr bwMode="gray">
          <a:xfrm>
            <a:off x="6434138" y="4492625"/>
            <a:ext cx="2390775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ct val="40000"/>
              </a:spcAft>
            </a:pPr>
            <a:r>
              <a:rPr lang="es-AR" sz="1600" noProof="1">
                <a:solidFill>
                  <a:srgbClr val="080808"/>
                </a:solidFill>
              </a:rPr>
              <a:t>All phrases can be replaced with </a:t>
            </a:r>
            <a:br>
              <a:rPr lang="es-AR" sz="1600" noProof="1">
                <a:solidFill>
                  <a:srgbClr val="080808"/>
                </a:solidFill>
              </a:rPr>
            </a:br>
            <a:r>
              <a:rPr lang="es-AR" sz="1600" noProof="1">
                <a:solidFill>
                  <a:srgbClr val="080808"/>
                </a:solidFill>
              </a:rPr>
              <a:t>your own text.</a:t>
            </a:r>
          </a:p>
        </p:txBody>
      </p:sp>
      <p:sp>
        <p:nvSpPr>
          <p:cNvPr id="7183" name="Text Box 13"/>
          <p:cNvSpPr txBox="1">
            <a:spLocks noChangeArrowheads="1"/>
          </p:cNvSpPr>
          <p:nvPr/>
        </p:nvSpPr>
        <p:spPr bwMode="gray">
          <a:xfrm>
            <a:off x="323850" y="1992313"/>
            <a:ext cx="2325688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600" noProof="1">
                <a:solidFill>
                  <a:schemeClr val="bg1"/>
                </a:solidFill>
              </a:rPr>
              <a:t>All phrases can be replaced with your </a:t>
            </a:r>
            <a:br>
              <a:rPr lang="es-AR" sz="1600" noProof="1">
                <a:solidFill>
                  <a:schemeClr val="bg1"/>
                </a:solidFill>
              </a:rPr>
            </a:br>
            <a:r>
              <a:rPr lang="es-AR" sz="1600" noProof="1">
                <a:solidFill>
                  <a:schemeClr val="bg1"/>
                </a:solidFill>
              </a:rPr>
              <a:t>own text.</a:t>
            </a:r>
          </a:p>
        </p:txBody>
      </p:sp>
      <p:grpSp>
        <p:nvGrpSpPr>
          <p:cNvPr id="7184" name="Group 22"/>
          <p:cNvGrpSpPr>
            <a:grpSpLocks/>
          </p:cNvGrpSpPr>
          <p:nvPr/>
        </p:nvGrpSpPr>
        <p:grpSpPr bwMode="auto">
          <a:xfrm>
            <a:off x="2546350" y="2144713"/>
            <a:ext cx="4006850" cy="3059112"/>
            <a:chOff x="1604" y="1351"/>
            <a:chExt cx="2524" cy="1927"/>
          </a:xfrm>
        </p:grpSpPr>
        <p:sp>
          <p:nvSpPr>
            <p:cNvPr id="7186" name="Text Box 19"/>
            <p:cNvSpPr txBox="1">
              <a:spLocks noChangeArrowheads="1"/>
            </p:cNvSpPr>
            <p:nvPr/>
          </p:nvSpPr>
          <p:spPr bwMode="gray">
            <a:xfrm>
              <a:off x="2184" y="1832"/>
              <a:ext cx="1395" cy="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40000"/>
                </a:spcAft>
              </a:pPr>
              <a:r>
                <a:rPr lang="es-AR" b="1" noProof="1">
                  <a:solidFill>
                    <a:schemeClr val="bg1"/>
                  </a:solidFill>
                </a:rPr>
                <a:t>Document Management</a:t>
              </a:r>
            </a:p>
          </p:txBody>
        </p:sp>
        <p:sp>
          <p:nvSpPr>
            <p:cNvPr id="7187" name="Text Box 19"/>
            <p:cNvSpPr txBox="1">
              <a:spLocks noChangeArrowheads="1"/>
            </p:cNvSpPr>
            <p:nvPr/>
          </p:nvSpPr>
          <p:spPr bwMode="gray">
            <a:xfrm>
              <a:off x="2312" y="2428"/>
              <a:ext cx="1242" cy="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r" eaLnBrk="1" hangingPunct="1">
                <a:spcAft>
                  <a:spcPct val="40000"/>
                </a:spcAft>
              </a:pPr>
              <a:r>
                <a:rPr lang="es-AR" b="1" noProof="1">
                  <a:solidFill>
                    <a:schemeClr val="bg1"/>
                  </a:solidFill>
                </a:rPr>
                <a:t>Web Content</a:t>
              </a:r>
              <a:br>
                <a:rPr lang="es-AR" b="1" noProof="1">
                  <a:solidFill>
                    <a:schemeClr val="bg1"/>
                  </a:solidFill>
                </a:rPr>
              </a:br>
              <a:r>
                <a:rPr lang="es-AR" b="1" noProof="1">
                  <a:solidFill>
                    <a:schemeClr val="bg1"/>
                  </a:solidFill>
                </a:rPr>
                <a:t>Management</a:t>
              </a:r>
            </a:p>
          </p:txBody>
        </p:sp>
        <p:sp>
          <p:nvSpPr>
            <p:cNvPr id="7188" name="WordArt 20"/>
            <p:cNvSpPr>
              <a:spLocks noChangeArrowheads="1" noChangeShapeType="1" noTextEdit="1"/>
            </p:cNvSpPr>
            <p:nvPr/>
          </p:nvSpPr>
          <p:spPr bwMode="gray">
            <a:xfrm rot="-2700000">
              <a:off x="1604" y="1395"/>
              <a:ext cx="1456" cy="75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1704708"/>
                </a:avLst>
              </a:prstTxWarp>
            </a:bodyPr>
            <a:lstStyle/>
            <a:p>
              <a:pPr algn="ctr"/>
              <a:r>
                <a:rPr lang="en-US" sz="1200" kern="10">
                  <a:latin typeface="Arial Black" panose="020B0A04020102020204" pitchFamily="34" charset="0"/>
                </a:rPr>
                <a:t>This is a placeholder text</a:t>
              </a:r>
              <a:endParaRPr lang="es-AR" sz="1200" kern="10">
                <a:latin typeface="Arial Black" panose="020B0A04020102020204" pitchFamily="34" charset="0"/>
              </a:endParaRPr>
            </a:p>
          </p:txBody>
        </p:sp>
        <p:sp>
          <p:nvSpPr>
            <p:cNvPr id="7189" name="WordArt 21"/>
            <p:cNvSpPr>
              <a:spLocks noChangeArrowheads="1" noChangeShapeType="1" noTextEdit="1"/>
            </p:cNvSpPr>
            <p:nvPr/>
          </p:nvSpPr>
          <p:spPr bwMode="gray">
            <a:xfrm rot="-8221355">
              <a:off x="1619" y="2457"/>
              <a:ext cx="1478" cy="803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1744612"/>
                </a:avLst>
              </a:prstTxWarp>
            </a:bodyPr>
            <a:lstStyle/>
            <a:p>
              <a:pPr algn="ctr"/>
              <a:r>
                <a:rPr lang="en-US" sz="1200" kern="10">
                  <a:latin typeface="Arial Black" panose="020B0A04020102020204" pitchFamily="34" charset="0"/>
                </a:rPr>
                <a:t>This is a placeholder text</a:t>
              </a:r>
              <a:endParaRPr lang="es-AR" sz="1200" kern="10">
                <a:latin typeface="Arial Black" panose="020B0A04020102020204" pitchFamily="34" charset="0"/>
              </a:endParaRPr>
            </a:p>
          </p:txBody>
        </p:sp>
        <p:sp>
          <p:nvSpPr>
            <p:cNvPr id="7190" name="WordArt 22"/>
            <p:cNvSpPr>
              <a:spLocks noChangeArrowheads="1" noChangeShapeType="1" noTextEdit="1"/>
            </p:cNvSpPr>
            <p:nvPr/>
          </p:nvSpPr>
          <p:spPr bwMode="gray">
            <a:xfrm rot="8191985">
              <a:off x="2589" y="2374"/>
              <a:ext cx="1529" cy="904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1823300"/>
                </a:avLst>
              </a:prstTxWarp>
            </a:bodyPr>
            <a:lstStyle/>
            <a:p>
              <a:pPr algn="ctr"/>
              <a:r>
                <a:rPr lang="en-US" sz="1200" kern="10">
                  <a:latin typeface="Arial Black" panose="020B0A04020102020204" pitchFamily="34" charset="0"/>
                </a:rPr>
                <a:t>This is a placeholder text</a:t>
              </a:r>
              <a:endParaRPr lang="es-AR" sz="1200" kern="10">
                <a:latin typeface="Arial Black" panose="020B0A04020102020204" pitchFamily="34" charset="0"/>
              </a:endParaRPr>
            </a:p>
          </p:txBody>
        </p:sp>
        <p:sp>
          <p:nvSpPr>
            <p:cNvPr id="7191" name="WordArt 23"/>
            <p:cNvSpPr>
              <a:spLocks noChangeArrowheads="1" noChangeShapeType="1" noTextEdit="1"/>
            </p:cNvSpPr>
            <p:nvPr/>
          </p:nvSpPr>
          <p:spPr bwMode="gray">
            <a:xfrm rot="2667535">
              <a:off x="2579" y="1351"/>
              <a:ext cx="1549" cy="874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1779108"/>
                </a:avLst>
              </a:prstTxWarp>
            </a:bodyPr>
            <a:lstStyle/>
            <a:p>
              <a:pPr algn="ctr"/>
              <a:r>
                <a:rPr lang="en-US" sz="1200" kern="10">
                  <a:latin typeface="Arial Black" panose="020B0A04020102020204" pitchFamily="34" charset="0"/>
                </a:rPr>
                <a:t>This is a placeholder text</a:t>
              </a:r>
              <a:endParaRPr lang="es-AR" sz="1200" kern="10">
                <a:latin typeface="Arial Black" panose="020B0A040201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05104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94" name="Group 23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8214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/>
            </a:p>
          </p:txBody>
        </p:sp>
        <p:sp>
          <p:nvSpPr>
            <p:cNvPr id="8215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/>
            </a:p>
          </p:txBody>
        </p:sp>
      </p:grpSp>
      <p:pic>
        <p:nvPicPr>
          <p:cNvPr id="8195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981325" y="3802063"/>
            <a:ext cx="6162675" cy="160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6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-209550" y="4292600"/>
            <a:ext cx="6124575" cy="160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197" name="Group 7"/>
          <p:cNvGrpSpPr>
            <a:grpSpLocks/>
          </p:cNvGrpSpPr>
          <p:nvPr/>
        </p:nvGrpSpPr>
        <p:grpSpPr bwMode="auto">
          <a:xfrm>
            <a:off x="323850" y="1555750"/>
            <a:ext cx="4175125" cy="1885950"/>
            <a:chOff x="204" y="980"/>
            <a:chExt cx="2630" cy="1188"/>
          </a:xfrm>
        </p:grpSpPr>
        <p:sp>
          <p:nvSpPr>
            <p:cNvPr id="8212" name="Rectangle 19"/>
            <p:cNvSpPr>
              <a:spLocks noChangeArrowheads="1"/>
            </p:cNvSpPr>
            <p:nvPr/>
          </p:nvSpPr>
          <p:spPr bwMode="gray">
            <a:xfrm>
              <a:off x="204" y="980"/>
              <a:ext cx="2630" cy="227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C1C2C3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</p:spPr>
          <p:txBody>
            <a:bodyPr lIns="180000" tIns="0" rIns="0" bIns="0" anchor="ctr"/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r>
                <a:rPr lang="es-AR" b="1" noProof="1"/>
                <a:t>Pro Arguments</a:t>
              </a:r>
            </a:p>
          </p:txBody>
        </p:sp>
        <p:sp>
          <p:nvSpPr>
            <p:cNvPr id="8213" name="Rectangle 5"/>
            <p:cNvSpPr>
              <a:spLocks noChangeArrowheads="1"/>
            </p:cNvSpPr>
            <p:nvPr/>
          </p:nvSpPr>
          <p:spPr bwMode="gray">
            <a:xfrm>
              <a:off x="204" y="1207"/>
              <a:ext cx="2630" cy="961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EAEAEA"/>
                </a:gs>
              </a:gsLst>
              <a:lin ang="5400000" scaled="1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</p:spPr>
          <p:txBody>
            <a:bodyPr lIns="180000" tIns="108000" rIns="144000" bIns="72000"/>
            <a:lstStyle>
              <a:lvl1pPr marL="190500" indent="-1905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anose="05000000000000000000" pitchFamily="2" charset="2"/>
                <a:buChar char="§"/>
              </a:pPr>
              <a:r>
                <a:rPr lang="es-AR" sz="1600" noProof="1"/>
                <a:t>Pro Argument 1</a:t>
              </a:r>
            </a:p>
            <a:p>
              <a:pPr eaLnBrk="1" hangingPunct="1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anose="05000000000000000000" pitchFamily="2" charset="2"/>
                <a:buChar char="§"/>
              </a:pPr>
              <a:r>
                <a:rPr lang="es-AR" sz="1600" noProof="1"/>
                <a:t>Pro Argument 2</a:t>
              </a:r>
            </a:p>
            <a:p>
              <a:pPr eaLnBrk="1" hangingPunct="1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anose="05000000000000000000" pitchFamily="2" charset="2"/>
                <a:buChar char="§"/>
              </a:pPr>
              <a:r>
                <a:rPr lang="es-AR" sz="1600" noProof="1"/>
                <a:t>Pro Argument 3</a:t>
              </a:r>
            </a:p>
            <a:p>
              <a:pPr eaLnBrk="1" hangingPunct="1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anose="05000000000000000000" pitchFamily="2" charset="2"/>
                <a:buChar char="§"/>
              </a:pPr>
              <a:r>
                <a:rPr lang="es-AR" sz="1600" noProof="1"/>
                <a:t>Pro Argument 4</a:t>
              </a:r>
            </a:p>
            <a:p>
              <a:pPr eaLnBrk="1" hangingPunct="1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anose="05000000000000000000" pitchFamily="2" charset="2"/>
                <a:buChar char="§"/>
              </a:pPr>
              <a:endParaRPr lang="es-AR" sz="1600" noProof="1"/>
            </a:p>
            <a:p>
              <a:pPr eaLnBrk="1" hangingPunct="1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anose="05000000000000000000" pitchFamily="2" charset="2"/>
                <a:buChar char="§"/>
              </a:pPr>
              <a:endParaRPr lang="es-AR" sz="1600" noProof="1"/>
            </a:p>
          </p:txBody>
        </p:sp>
      </p:grpSp>
      <p:grpSp>
        <p:nvGrpSpPr>
          <p:cNvPr id="8198" name="Group 10"/>
          <p:cNvGrpSpPr>
            <a:grpSpLocks/>
          </p:cNvGrpSpPr>
          <p:nvPr/>
        </p:nvGrpSpPr>
        <p:grpSpPr bwMode="auto">
          <a:xfrm>
            <a:off x="4643438" y="1555750"/>
            <a:ext cx="4175125" cy="1885950"/>
            <a:chOff x="2925" y="980"/>
            <a:chExt cx="2630" cy="1188"/>
          </a:xfrm>
        </p:grpSpPr>
        <p:sp>
          <p:nvSpPr>
            <p:cNvPr id="8210" name="Rectangle 19"/>
            <p:cNvSpPr>
              <a:spLocks noChangeArrowheads="1"/>
            </p:cNvSpPr>
            <p:nvPr/>
          </p:nvSpPr>
          <p:spPr bwMode="gray">
            <a:xfrm>
              <a:off x="2925" y="980"/>
              <a:ext cx="2630" cy="227"/>
            </a:xfrm>
            <a:prstGeom prst="rect">
              <a:avLst/>
            </a:prstGeom>
            <a:gradFill rotWithShape="1">
              <a:gsLst>
                <a:gs pos="0">
                  <a:srgbClr val="C6C7C8"/>
                </a:gs>
                <a:gs pos="100000">
                  <a:srgbClr val="5C5C5D"/>
                </a:gs>
              </a:gsLst>
              <a:lin ang="5400000" scaled="1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</p:spPr>
          <p:txBody>
            <a:bodyPr lIns="180000" tIns="0" rIns="0" bIns="0" anchor="ctr"/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r>
                <a:rPr lang="es-AR" b="1" noProof="1">
                  <a:solidFill>
                    <a:schemeClr val="bg1"/>
                  </a:solidFill>
                </a:rPr>
                <a:t>Contra Arguments</a:t>
              </a:r>
            </a:p>
          </p:txBody>
        </p:sp>
        <p:sp>
          <p:nvSpPr>
            <p:cNvPr id="8211" name="Rectangle 5"/>
            <p:cNvSpPr>
              <a:spLocks noChangeArrowheads="1"/>
            </p:cNvSpPr>
            <p:nvPr/>
          </p:nvSpPr>
          <p:spPr bwMode="gray">
            <a:xfrm>
              <a:off x="2925" y="1207"/>
              <a:ext cx="2630" cy="961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EAEAEA"/>
                </a:gs>
              </a:gsLst>
              <a:lin ang="5400000" scaled="1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</p:spPr>
          <p:txBody>
            <a:bodyPr lIns="180000" tIns="108000" rIns="144000" bIns="72000"/>
            <a:lstStyle>
              <a:lvl1pPr marL="190500" indent="-1905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anose="05000000000000000000" pitchFamily="2" charset="2"/>
                <a:buChar char="§"/>
              </a:pPr>
              <a:r>
                <a:rPr lang="es-AR" sz="1600" noProof="1"/>
                <a:t>Contra Argument 1</a:t>
              </a:r>
            </a:p>
            <a:p>
              <a:pPr eaLnBrk="1" hangingPunct="1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anose="05000000000000000000" pitchFamily="2" charset="2"/>
                <a:buChar char="§"/>
              </a:pPr>
              <a:r>
                <a:rPr lang="es-AR" sz="1600" noProof="1"/>
                <a:t>Contra Argument 2</a:t>
              </a:r>
            </a:p>
            <a:p>
              <a:pPr eaLnBrk="1" hangingPunct="1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anose="05000000000000000000" pitchFamily="2" charset="2"/>
                <a:buChar char="§"/>
              </a:pPr>
              <a:r>
                <a:rPr lang="es-AR" sz="1600" noProof="1"/>
                <a:t>Contra Argument 3</a:t>
              </a:r>
            </a:p>
            <a:p>
              <a:pPr eaLnBrk="1" hangingPunct="1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anose="05000000000000000000" pitchFamily="2" charset="2"/>
                <a:buChar char="§"/>
              </a:pPr>
              <a:r>
                <a:rPr lang="es-AR" sz="1600" noProof="1"/>
                <a:t>Contra Argument 4</a:t>
              </a:r>
            </a:p>
          </p:txBody>
        </p:sp>
      </p:grpSp>
      <p:sp>
        <p:nvSpPr>
          <p:cNvPr id="23" name="Rectangle 5"/>
          <p:cNvSpPr>
            <a:spLocks noChangeArrowheads="1"/>
          </p:cNvSpPr>
          <p:nvPr/>
        </p:nvSpPr>
        <p:spPr bwMode="gray">
          <a:xfrm>
            <a:off x="4752975" y="5006975"/>
            <a:ext cx="4175125" cy="889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08000" tIns="108000" rIns="144000" bIns="72000"/>
          <a:lstStyle/>
          <a:p>
            <a:pPr algn="r">
              <a:spcAft>
                <a:spcPts val="1400"/>
              </a:spcAft>
              <a:buClr>
                <a:srgbClr val="292929"/>
              </a:buClr>
              <a:defRPr/>
            </a:pPr>
            <a:r>
              <a:rPr lang="en-US" sz="1400" noProof="1">
                <a:solidFill>
                  <a:schemeClr val="bg1">
                    <a:lumMod val="50000"/>
                  </a:schemeClr>
                </a:solidFill>
                <a:cs typeface="+mn-cs"/>
              </a:rPr>
              <a:t>This slide shows a pro &amp; con list </a:t>
            </a:r>
            <a:br>
              <a:rPr lang="en-US" sz="1400" noProof="1">
                <a:solidFill>
                  <a:schemeClr val="bg1">
                    <a:lumMod val="50000"/>
                  </a:schemeClr>
                </a:solidFill>
                <a:cs typeface="+mn-cs"/>
              </a:rPr>
            </a:br>
            <a:r>
              <a:rPr lang="en-US" sz="1400" noProof="1">
                <a:solidFill>
                  <a:schemeClr val="bg1">
                    <a:lumMod val="50000"/>
                  </a:schemeClr>
                </a:solidFill>
                <a:cs typeface="+mn-cs"/>
              </a:rPr>
              <a:t>- a list of arguments for and against </a:t>
            </a:r>
            <a:br>
              <a:rPr lang="en-US" sz="1400" noProof="1">
                <a:solidFill>
                  <a:schemeClr val="bg1">
                    <a:lumMod val="50000"/>
                  </a:schemeClr>
                </a:solidFill>
                <a:cs typeface="+mn-cs"/>
              </a:rPr>
            </a:br>
            <a:r>
              <a:rPr lang="en-US" sz="1400" noProof="1">
                <a:solidFill>
                  <a:schemeClr val="bg1">
                    <a:lumMod val="50000"/>
                  </a:schemeClr>
                </a:solidFill>
                <a:cs typeface="+mn-cs"/>
              </a:rPr>
              <a:t>some particular contention or position. </a:t>
            </a:r>
          </a:p>
        </p:txBody>
      </p:sp>
      <p:sp>
        <p:nvSpPr>
          <p:cNvPr id="15" name="Textfeld 7"/>
          <p:cNvSpPr txBox="1">
            <a:spLocks noChangeArrowheads="1"/>
          </p:cNvSpPr>
          <p:nvPr/>
        </p:nvSpPr>
        <p:spPr bwMode="gray">
          <a:xfrm>
            <a:off x="155575" y="174625"/>
            <a:ext cx="8988425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6000" b="1" kern="0" dirty="0">
                <a:solidFill>
                  <a:srgbClr val="6B9B1A"/>
                </a:solidFill>
                <a:latin typeface="Arial"/>
                <a:cs typeface="+mn-cs"/>
              </a:rPr>
              <a:t>ARROW</a:t>
            </a:r>
            <a:r>
              <a:rPr lang="de-DE" sz="60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  <a:cs typeface="+mn-cs"/>
              </a:rPr>
              <a:t>CHART</a:t>
            </a:r>
          </a:p>
        </p:txBody>
      </p:sp>
      <p:grpSp>
        <p:nvGrpSpPr>
          <p:cNvPr id="8201" name="Group 15"/>
          <p:cNvGrpSpPr>
            <a:grpSpLocks/>
          </p:cNvGrpSpPr>
          <p:nvPr/>
        </p:nvGrpSpPr>
        <p:grpSpPr bwMode="auto">
          <a:xfrm>
            <a:off x="3997325" y="3917950"/>
            <a:ext cx="3717925" cy="1193800"/>
            <a:chOff x="2518" y="2468"/>
            <a:chExt cx="2342" cy="752"/>
          </a:xfrm>
        </p:grpSpPr>
        <p:sp>
          <p:nvSpPr>
            <p:cNvPr id="8207" name="Freeform 16"/>
            <p:cNvSpPr>
              <a:spLocks/>
            </p:cNvSpPr>
            <p:nvPr/>
          </p:nvSpPr>
          <p:spPr bwMode="gray">
            <a:xfrm>
              <a:off x="3576" y="2838"/>
              <a:ext cx="1282" cy="208"/>
            </a:xfrm>
            <a:custGeom>
              <a:avLst/>
              <a:gdLst>
                <a:gd name="T0" fmla="*/ 1282 w 1282"/>
                <a:gd name="T1" fmla="*/ 0 h 208"/>
                <a:gd name="T2" fmla="*/ 1236 w 1282"/>
                <a:gd name="T3" fmla="*/ 208 h 208"/>
                <a:gd name="T4" fmla="*/ 0 w 1282"/>
                <a:gd name="T5" fmla="*/ 208 h 208"/>
                <a:gd name="T6" fmla="*/ 0 w 1282"/>
                <a:gd name="T7" fmla="*/ 0 h 208"/>
                <a:gd name="T8" fmla="*/ 1282 w 1282"/>
                <a:gd name="T9" fmla="*/ 0 h 20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82" h="208">
                  <a:moveTo>
                    <a:pt x="1282" y="0"/>
                  </a:moveTo>
                  <a:lnTo>
                    <a:pt x="1236" y="208"/>
                  </a:lnTo>
                  <a:lnTo>
                    <a:pt x="0" y="208"/>
                  </a:lnTo>
                  <a:lnTo>
                    <a:pt x="0" y="0"/>
                  </a:lnTo>
                  <a:lnTo>
                    <a:pt x="1282" y="0"/>
                  </a:lnTo>
                  <a:close/>
                </a:path>
              </a:pathLst>
            </a:custGeom>
            <a:solidFill>
              <a:srgbClr val="4C701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8208" name="Freeform 17"/>
            <p:cNvSpPr>
              <a:spLocks/>
            </p:cNvSpPr>
            <p:nvPr/>
          </p:nvSpPr>
          <p:spPr bwMode="gray">
            <a:xfrm>
              <a:off x="2518" y="2468"/>
              <a:ext cx="2342" cy="538"/>
            </a:xfrm>
            <a:custGeom>
              <a:avLst/>
              <a:gdLst>
                <a:gd name="T0" fmla="*/ 2342 w 2342"/>
                <a:gd name="T1" fmla="*/ 374 h 538"/>
                <a:gd name="T2" fmla="*/ 1054 w 2342"/>
                <a:gd name="T3" fmla="*/ 370 h 538"/>
                <a:gd name="T4" fmla="*/ 1104 w 2342"/>
                <a:gd name="T5" fmla="*/ 538 h 538"/>
                <a:gd name="T6" fmla="*/ 0 w 2342"/>
                <a:gd name="T7" fmla="*/ 236 h 538"/>
                <a:gd name="T8" fmla="*/ 948 w 2342"/>
                <a:gd name="T9" fmla="*/ 0 h 538"/>
                <a:gd name="T10" fmla="*/ 978 w 2342"/>
                <a:gd name="T11" fmla="*/ 116 h 538"/>
                <a:gd name="T12" fmla="*/ 2124 w 2342"/>
                <a:gd name="T13" fmla="*/ 116 h 538"/>
                <a:gd name="T14" fmla="*/ 2342 w 2342"/>
                <a:gd name="T15" fmla="*/ 374 h 5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342" h="538">
                  <a:moveTo>
                    <a:pt x="2342" y="374"/>
                  </a:moveTo>
                  <a:lnTo>
                    <a:pt x="1054" y="370"/>
                  </a:lnTo>
                  <a:lnTo>
                    <a:pt x="1104" y="538"/>
                  </a:lnTo>
                  <a:lnTo>
                    <a:pt x="0" y="236"/>
                  </a:lnTo>
                  <a:lnTo>
                    <a:pt x="948" y="0"/>
                  </a:lnTo>
                  <a:lnTo>
                    <a:pt x="978" y="116"/>
                  </a:lnTo>
                  <a:lnTo>
                    <a:pt x="2124" y="116"/>
                  </a:lnTo>
                  <a:lnTo>
                    <a:pt x="2342" y="374"/>
                  </a:lnTo>
                  <a:close/>
                </a:path>
              </a:pathLst>
            </a:custGeom>
            <a:solidFill>
              <a:srgbClr val="6B9B1A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8209" name="Freeform 18"/>
            <p:cNvSpPr>
              <a:spLocks/>
            </p:cNvSpPr>
            <p:nvPr/>
          </p:nvSpPr>
          <p:spPr bwMode="gray">
            <a:xfrm>
              <a:off x="2520" y="2704"/>
              <a:ext cx="1102" cy="516"/>
            </a:xfrm>
            <a:custGeom>
              <a:avLst/>
              <a:gdLst>
                <a:gd name="T0" fmla="*/ 1076 w 1102"/>
                <a:gd name="T1" fmla="*/ 516 h 516"/>
                <a:gd name="T2" fmla="*/ 1102 w 1102"/>
                <a:gd name="T3" fmla="*/ 300 h 516"/>
                <a:gd name="T4" fmla="*/ 0 w 1102"/>
                <a:gd name="T5" fmla="*/ 0 h 516"/>
                <a:gd name="T6" fmla="*/ 16 w 1102"/>
                <a:gd name="T7" fmla="*/ 188 h 516"/>
                <a:gd name="T8" fmla="*/ 1076 w 1102"/>
                <a:gd name="T9" fmla="*/ 516 h 5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102" h="516">
                  <a:moveTo>
                    <a:pt x="1076" y="516"/>
                  </a:moveTo>
                  <a:lnTo>
                    <a:pt x="1102" y="300"/>
                  </a:lnTo>
                  <a:lnTo>
                    <a:pt x="0" y="0"/>
                  </a:lnTo>
                  <a:lnTo>
                    <a:pt x="16" y="188"/>
                  </a:lnTo>
                  <a:lnTo>
                    <a:pt x="1076" y="516"/>
                  </a:lnTo>
                  <a:close/>
                </a:path>
              </a:pathLst>
            </a:custGeom>
            <a:solidFill>
              <a:srgbClr val="4C701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AR"/>
            </a:p>
          </p:txBody>
        </p:sp>
      </p:grpSp>
      <p:grpSp>
        <p:nvGrpSpPr>
          <p:cNvPr id="8202" name="Group 19"/>
          <p:cNvGrpSpPr>
            <a:grpSpLocks/>
          </p:cNvGrpSpPr>
          <p:nvPr/>
        </p:nvGrpSpPr>
        <p:grpSpPr bwMode="auto">
          <a:xfrm>
            <a:off x="968375" y="4292600"/>
            <a:ext cx="4289425" cy="1485900"/>
            <a:chOff x="610" y="2704"/>
            <a:chExt cx="2702" cy="936"/>
          </a:xfrm>
        </p:grpSpPr>
        <p:sp>
          <p:nvSpPr>
            <p:cNvPr id="8204" name="Freeform 20"/>
            <p:cNvSpPr>
              <a:spLocks/>
            </p:cNvSpPr>
            <p:nvPr/>
          </p:nvSpPr>
          <p:spPr bwMode="gray">
            <a:xfrm>
              <a:off x="610" y="3180"/>
              <a:ext cx="1476" cy="234"/>
            </a:xfrm>
            <a:custGeom>
              <a:avLst/>
              <a:gdLst>
                <a:gd name="T0" fmla="*/ 0 w 1476"/>
                <a:gd name="T1" fmla="*/ 0 h 234"/>
                <a:gd name="T2" fmla="*/ 69 w 1476"/>
                <a:gd name="T3" fmla="*/ 234 h 234"/>
                <a:gd name="T4" fmla="*/ 1476 w 1476"/>
                <a:gd name="T5" fmla="*/ 234 h 234"/>
                <a:gd name="T6" fmla="*/ 1476 w 1476"/>
                <a:gd name="T7" fmla="*/ 3 h 234"/>
                <a:gd name="T8" fmla="*/ 0 w 1476"/>
                <a:gd name="T9" fmla="*/ 0 h 2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76" h="234">
                  <a:moveTo>
                    <a:pt x="0" y="0"/>
                  </a:moveTo>
                  <a:lnTo>
                    <a:pt x="69" y="234"/>
                  </a:lnTo>
                  <a:lnTo>
                    <a:pt x="1476" y="234"/>
                  </a:lnTo>
                  <a:lnTo>
                    <a:pt x="1476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2CF7D"/>
            </a:solidFill>
            <a:ln w="9525" cap="flat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8205" name="Freeform 21"/>
            <p:cNvSpPr>
              <a:spLocks/>
            </p:cNvSpPr>
            <p:nvPr/>
          </p:nvSpPr>
          <p:spPr bwMode="gray">
            <a:xfrm>
              <a:off x="2022" y="3002"/>
              <a:ext cx="1286" cy="638"/>
            </a:xfrm>
            <a:custGeom>
              <a:avLst/>
              <a:gdLst>
                <a:gd name="T0" fmla="*/ 0 w 1286"/>
                <a:gd name="T1" fmla="*/ 400 h 638"/>
                <a:gd name="T2" fmla="*/ 30 w 1286"/>
                <a:gd name="T3" fmla="*/ 638 h 638"/>
                <a:gd name="T4" fmla="*/ 1274 w 1286"/>
                <a:gd name="T5" fmla="*/ 216 h 638"/>
                <a:gd name="T6" fmla="*/ 1286 w 1286"/>
                <a:gd name="T7" fmla="*/ 0 h 638"/>
                <a:gd name="T8" fmla="*/ 0 w 1286"/>
                <a:gd name="T9" fmla="*/ 400 h 63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86" h="638">
                  <a:moveTo>
                    <a:pt x="0" y="400"/>
                  </a:moveTo>
                  <a:lnTo>
                    <a:pt x="30" y="638"/>
                  </a:lnTo>
                  <a:lnTo>
                    <a:pt x="1274" y="216"/>
                  </a:lnTo>
                  <a:lnTo>
                    <a:pt x="1286" y="0"/>
                  </a:lnTo>
                  <a:lnTo>
                    <a:pt x="0" y="400"/>
                  </a:lnTo>
                  <a:close/>
                </a:path>
              </a:pathLst>
            </a:custGeom>
            <a:solidFill>
              <a:srgbClr val="B2CF7D"/>
            </a:solidFill>
            <a:ln w="9525" cap="flat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8206" name="Freeform 22"/>
            <p:cNvSpPr>
              <a:spLocks/>
            </p:cNvSpPr>
            <p:nvPr/>
          </p:nvSpPr>
          <p:spPr bwMode="gray">
            <a:xfrm>
              <a:off x="612" y="2704"/>
              <a:ext cx="2700" cy="701"/>
            </a:xfrm>
            <a:custGeom>
              <a:avLst/>
              <a:gdLst>
                <a:gd name="T0" fmla="*/ 0 w 2700"/>
                <a:gd name="T1" fmla="*/ 479 h 701"/>
                <a:gd name="T2" fmla="*/ 1482 w 2700"/>
                <a:gd name="T3" fmla="*/ 478 h 701"/>
                <a:gd name="T4" fmla="*/ 1410 w 2700"/>
                <a:gd name="T5" fmla="*/ 701 h 701"/>
                <a:gd name="T6" fmla="*/ 2700 w 2700"/>
                <a:gd name="T7" fmla="*/ 299 h 701"/>
                <a:gd name="T8" fmla="*/ 1634 w 2700"/>
                <a:gd name="T9" fmla="*/ 0 h 701"/>
                <a:gd name="T10" fmla="*/ 1588 w 2700"/>
                <a:gd name="T11" fmla="*/ 142 h 701"/>
                <a:gd name="T12" fmla="*/ 288 w 2700"/>
                <a:gd name="T13" fmla="*/ 143 h 701"/>
                <a:gd name="T14" fmla="*/ 0 w 2700"/>
                <a:gd name="T15" fmla="*/ 479 h 70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700" h="701">
                  <a:moveTo>
                    <a:pt x="0" y="479"/>
                  </a:moveTo>
                  <a:lnTo>
                    <a:pt x="1482" y="478"/>
                  </a:lnTo>
                  <a:lnTo>
                    <a:pt x="1410" y="701"/>
                  </a:lnTo>
                  <a:lnTo>
                    <a:pt x="2700" y="299"/>
                  </a:lnTo>
                  <a:lnTo>
                    <a:pt x="1634" y="0"/>
                  </a:lnTo>
                  <a:lnTo>
                    <a:pt x="1588" y="142"/>
                  </a:lnTo>
                  <a:lnTo>
                    <a:pt x="288" y="143"/>
                  </a:lnTo>
                  <a:lnTo>
                    <a:pt x="0" y="479"/>
                  </a:lnTo>
                  <a:close/>
                </a:path>
              </a:pathLst>
            </a:custGeom>
            <a:solidFill>
              <a:srgbClr val="90BA45"/>
            </a:solidFill>
            <a:ln w="9525" cap="flat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AR"/>
            </a:p>
          </p:txBody>
        </p:sp>
      </p:grpSp>
    </p:spTree>
    <p:extLst>
      <p:ext uri="{BB962C8B-B14F-4D97-AF65-F5344CB8AC3E}">
        <p14:creationId xmlns:p14="http://schemas.microsoft.com/office/powerpoint/2010/main" val="42883414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ubtitle 6"/>
          <p:cNvSpPr>
            <a:spLocks noGrp="1"/>
          </p:cNvSpPr>
          <p:nvPr>
            <p:ph type="subTitle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en-US" altLang="en-US" smtClean="0"/>
              <a:t>Replace This Text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RESENTER NAME</a:t>
            </a:r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COMPANY NAM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1C2959-85A9-45E3-8A88-02B504149026}" type="slidenum">
              <a:rPr lang="en-US"/>
              <a:pPr>
                <a:defRPr/>
              </a:pPr>
              <a:t>3</a:t>
            </a:fld>
            <a:r>
              <a:rPr lang="en-US"/>
              <a:t> I</a:t>
            </a:r>
            <a:endParaRPr lang="en-US" dirty="0"/>
          </a:p>
        </p:txBody>
      </p:sp>
      <p:sp>
        <p:nvSpPr>
          <p:cNvPr id="4100" name="Title 1"/>
          <p:cNvSpPr>
            <a:spLocks noGrp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  <a:normAutofit/>
          </a:bodyPr>
          <a:lstStyle/>
          <a:p>
            <a:r>
              <a:rPr lang="en-US" altLang="en-US" dirty="0" smtClean="0"/>
              <a:t>BUSINESS ECOSYSTEM</a:t>
            </a:r>
          </a:p>
        </p:txBody>
      </p:sp>
      <p:sp>
        <p:nvSpPr>
          <p:cNvPr id="3" name="Rectangle 2"/>
          <p:cNvSpPr/>
          <p:nvPr/>
        </p:nvSpPr>
        <p:spPr>
          <a:xfrm>
            <a:off x="534958" y="3064983"/>
            <a:ext cx="8084104" cy="1252617"/>
          </a:xfrm>
          <a:prstGeom prst="rect">
            <a:avLst/>
          </a:prstGeom>
          <a:gradFill>
            <a:gsLst>
              <a:gs pos="1000">
                <a:schemeClr val="bg1">
                  <a:lumMod val="75000"/>
                  <a:alpha val="18000"/>
                </a:schemeClr>
              </a:gs>
              <a:gs pos="100000">
                <a:schemeClr val="bg1">
                  <a:lumMod val="85000"/>
                  <a:alpha val="14000"/>
                </a:schemeClr>
              </a:gs>
            </a:gsLst>
          </a:gradFill>
          <a:ln>
            <a:solidFill>
              <a:schemeClr val="bg1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endParaRPr lang="en-US" altLang="en-US" smtClean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15309" y="1707893"/>
            <a:ext cx="8084104" cy="1252617"/>
          </a:xfrm>
          <a:prstGeom prst="rect">
            <a:avLst/>
          </a:prstGeom>
          <a:gradFill>
            <a:gsLst>
              <a:gs pos="1000">
                <a:schemeClr val="bg1">
                  <a:lumMod val="75000"/>
                  <a:alpha val="18000"/>
                </a:schemeClr>
              </a:gs>
              <a:gs pos="100000">
                <a:schemeClr val="bg1">
                  <a:lumMod val="85000"/>
                  <a:alpha val="14000"/>
                </a:schemeClr>
              </a:gs>
            </a:gsLst>
          </a:gradFill>
          <a:ln>
            <a:solidFill>
              <a:schemeClr val="bg1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endParaRPr lang="en-US" altLang="en-US" smtClean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40709" y="4396294"/>
            <a:ext cx="8084104" cy="1252617"/>
          </a:xfrm>
          <a:prstGeom prst="rect">
            <a:avLst/>
          </a:prstGeom>
          <a:gradFill>
            <a:gsLst>
              <a:gs pos="1000">
                <a:schemeClr val="bg1">
                  <a:lumMod val="75000"/>
                  <a:alpha val="18000"/>
                </a:schemeClr>
              </a:gs>
              <a:gs pos="100000">
                <a:schemeClr val="bg1">
                  <a:lumMod val="85000"/>
                  <a:alpha val="14000"/>
                </a:schemeClr>
              </a:gs>
            </a:gsLst>
          </a:gradFill>
          <a:ln>
            <a:solidFill>
              <a:schemeClr val="bg1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endParaRPr lang="en-US" altLang="en-US" smtClean="0">
              <a:solidFill>
                <a:srgbClr val="FFFFFF"/>
              </a:solidFill>
            </a:endParaRPr>
          </a:p>
        </p:txBody>
      </p:sp>
      <p:sp>
        <p:nvSpPr>
          <p:cNvPr id="4110" name="Tekstboks 72"/>
          <p:cNvSpPr txBox="1">
            <a:spLocks noChangeArrowheads="1"/>
          </p:cNvSpPr>
          <p:nvPr/>
        </p:nvSpPr>
        <p:spPr bwMode="auto">
          <a:xfrm>
            <a:off x="677863" y="3578225"/>
            <a:ext cx="1447800" cy="722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just" eaLnBrk="1" hangingPunct="1"/>
            <a:r>
              <a:rPr lang="en-US" altLang="en-US" sz="1000">
                <a:solidFill>
                  <a:srgbClr val="000000"/>
                </a:solidFill>
                <a:ea typeface="ＭＳ Ｐゴシック" pitchFamily="34" charset="-128"/>
              </a:rPr>
              <a:t>This is an example text. Example text. Go ahead and replace it. </a:t>
            </a:r>
            <a:endParaRPr lang="en-US" altLang="en-US" sz="1100">
              <a:solidFill>
                <a:srgbClr val="000000"/>
              </a:solidFill>
              <a:ea typeface="ＭＳ Ｐゴシック" pitchFamily="34" charset="-128"/>
            </a:endParaRPr>
          </a:p>
          <a:p>
            <a:pPr algn="just" eaLnBrk="1" hangingPunct="1"/>
            <a:endParaRPr lang="da-DK" altLang="en-US" sz="11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61988" y="3308350"/>
            <a:ext cx="1619250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EXAMPLE TEXT</a:t>
            </a:r>
          </a:p>
        </p:txBody>
      </p:sp>
      <p:sp>
        <p:nvSpPr>
          <p:cNvPr id="4112" name="Tekstboks 72"/>
          <p:cNvSpPr txBox="1">
            <a:spLocks noChangeArrowheads="1"/>
          </p:cNvSpPr>
          <p:nvPr/>
        </p:nvSpPr>
        <p:spPr bwMode="auto">
          <a:xfrm>
            <a:off x="695325" y="2211388"/>
            <a:ext cx="1430338" cy="722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just" eaLnBrk="1" hangingPunct="1"/>
            <a:r>
              <a:rPr lang="en-US" altLang="en-US" sz="1000">
                <a:solidFill>
                  <a:srgbClr val="000000"/>
                </a:solidFill>
                <a:ea typeface="ＭＳ Ｐゴシック" pitchFamily="34" charset="-128"/>
              </a:rPr>
              <a:t>This is an example text. Example text. Go ahead and replace it. </a:t>
            </a:r>
            <a:endParaRPr lang="en-US" altLang="en-US" sz="1100">
              <a:solidFill>
                <a:srgbClr val="000000"/>
              </a:solidFill>
              <a:ea typeface="ＭＳ Ｐゴシック" pitchFamily="34" charset="-128"/>
            </a:endParaRPr>
          </a:p>
          <a:p>
            <a:pPr algn="just" eaLnBrk="1" hangingPunct="1"/>
            <a:endParaRPr lang="da-DK" altLang="en-US" sz="11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77863" y="1941513"/>
            <a:ext cx="1620837" cy="3381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EXAMPLE TEXT</a:t>
            </a:r>
          </a:p>
        </p:txBody>
      </p:sp>
      <p:sp>
        <p:nvSpPr>
          <p:cNvPr id="4114" name="Tekstboks 72"/>
          <p:cNvSpPr txBox="1">
            <a:spLocks noChangeArrowheads="1"/>
          </p:cNvSpPr>
          <p:nvPr/>
        </p:nvSpPr>
        <p:spPr bwMode="auto">
          <a:xfrm>
            <a:off x="695325" y="4826000"/>
            <a:ext cx="1430338" cy="72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just" eaLnBrk="1" hangingPunct="1"/>
            <a:r>
              <a:rPr lang="en-US" altLang="en-US" sz="1000">
                <a:solidFill>
                  <a:srgbClr val="000000"/>
                </a:solidFill>
                <a:ea typeface="ＭＳ Ｐゴシック" pitchFamily="34" charset="-128"/>
              </a:rPr>
              <a:t>This is an example text. Example text. Go ahead and replace it. </a:t>
            </a:r>
            <a:endParaRPr lang="en-US" altLang="en-US" sz="1100">
              <a:solidFill>
                <a:srgbClr val="000000"/>
              </a:solidFill>
              <a:ea typeface="ＭＳ Ｐゴシック" pitchFamily="34" charset="-128"/>
            </a:endParaRPr>
          </a:p>
          <a:p>
            <a:pPr algn="just" eaLnBrk="1" hangingPunct="1"/>
            <a:endParaRPr lang="da-DK" altLang="en-US" sz="11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77863" y="4556125"/>
            <a:ext cx="1620837" cy="3397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EXAMPLE TEXT</a:t>
            </a:r>
          </a:p>
        </p:txBody>
      </p:sp>
      <p:sp>
        <p:nvSpPr>
          <p:cNvPr id="4116" name="Tekstboks 72"/>
          <p:cNvSpPr txBox="1">
            <a:spLocks noChangeArrowheads="1"/>
          </p:cNvSpPr>
          <p:nvPr/>
        </p:nvSpPr>
        <p:spPr bwMode="auto">
          <a:xfrm>
            <a:off x="6988175" y="3578225"/>
            <a:ext cx="1446213" cy="722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just" eaLnBrk="1" hangingPunct="1"/>
            <a:r>
              <a:rPr lang="en-US" altLang="en-US" sz="1000">
                <a:solidFill>
                  <a:srgbClr val="000000"/>
                </a:solidFill>
                <a:ea typeface="ＭＳ Ｐゴシック" pitchFamily="34" charset="-128"/>
              </a:rPr>
              <a:t>This is an example text. Example text. Go ahead and replace it. </a:t>
            </a:r>
            <a:endParaRPr lang="en-US" altLang="en-US" sz="1100">
              <a:solidFill>
                <a:srgbClr val="000000"/>
              </a:solidFill>
              <a:ea typeface="ＭＳ Ｐゴシック" pitchFamily="34" charset="-128"/>
            </a:endParaRPr>
          </a:p>
          <a:p>
            <a:pPr algn="just" eaLnBrk="1" hangingPunct="1"/>
            <a:endParaRPr lang="da-DK" altLang="en-US" sz="11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70713" y="3308350"/>
            <a:ext cx="1620837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EXAMPLE TEX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988175" y="1941513"/>
            <a:ext cx="1619250" cy="3381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EXAMPLE TEXT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988175" y="4556125"/>
            <a:ext cx="1619250" cy="3397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EXAMPLE TEXT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2438255" y="1273963"/>
            <a:ext cx="4298294" cy="4472869"/>
            <a:chOff x="2438255" y="1362863"/>
            <a:chExt cx="4298294" cy="4472869"/>
          </a:xfrm>
          <a:scene3d>
            <a:camera prst="perspectiveFront" fov="1200000">
              <a:rot lat="20699994" lon="0" rev="0"/>
            </a:camera>
            <a:lightRig rig="threePt" dir="t"/>
          </a:scene3d>
        </p:grpSpPr>
        <p:sp>
          <p:nvSpPr>
            <p:cNvPr id="20" name="Oval 19"/>
            <p:cNvSpPr>
              <a:spLocks noChangeArrowheads="1"/>
            </p:cNvSpPr>
            <p:nvPr/>
          </p:nvSpPr>
          <p:spPr bwMode="auto">
            <a:xfrm>
              <a:off x="2438255" y="1537438"/>
              <a:ext cx="4298294" cy="4298294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6200000" scaled="0"/>
              <a:tileRect/>
            </a:gradFill>
            <a:ln w="9525">
              <a:solidFill>
                <a:srgbClr val="FFFFFF"/>
              </a:solidFill>
              <a:round/>
              <a:headEnd/>
              <a:tailEnd/>
            </a:ln>
            <a:effectLst>
              <a:outerShdw dist="23000" dir="5400000" rotWithShape="0">
                <a:srgbClr val="808080">
                  <a:alpha val="34999"/>
                </a:srgbClr>
              </a:outerShdw>
            </a:effectLst>
            <a:sp3d extrusionH="254000"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>
                <a:solidFill>
                  <a:srgbClr val="FFFFFF"/>
                </a:solidFill>
                <a:latin typeface="+mn-lt"/>
                <a:cs typeface="+mn-cs"/>
              </a:endParaRPr>
            </a:p>
          </p:txBody>
        </p:sp>
        <p:sp>
          <p:nvSpPr>
            <p:cNvPr id="21" name="Oval 20"/>
            <p:cNvSpPr>
              <a:spLocks noChangeArrowheads="1"/>
            </p:cNvSpPr>
            <p:nvPr/>
          </p:nvSpPr>
          <p:spPr bwMode="auto">
            <a:xfrm>
              <a:off x="3101566" y="2249786"/>
              <a:ext cx="2936277" cy="2936277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lumMod val="75000"/>
                  </a:schemeClr>
                </a:gs>
                <a:gs pos="100000">
                  <a:schemeClr val="accent1">
                    <a:lumMod val="75000"/>
                  </a:schemeClr>
                </a:gs>
              </a:gsLst>
              <a:lin ang="16200000" scaled="0"/>
              <a:tileRect/>
            </a:gradFill>
            <a:ln w="9525">
              <a:solidFill>
                <a:srgbClr val="FFFFFF"/>
              </a:solidFill>
              <a:round/>
              <a:headEnd/>
              <a:tailEnd/>
            </a:ln>
            <a:effectLst>
              <a:outerShdw dist="23000" dir="5400000" rotWithShape="0">
                <a:srgbClr val="808080">
                  <a:alpha val="34999"/>
                </a:srgbClr>
              </a:outerShdw>
            </a:effectLst>
            <a:sp3d extrusionH="254000"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>
                <a:solidFill>
                  <a:srgbClr val="FFFFFF"/>
                </a:solidFill>
                <a:latin typeface="+mn-lt"/>
                <a:cs typeface="+mn-cs"/>
              </a:endParaRPr>
            </a:p>
          </p:txBody>
        </p:sp>
        <p:cxnSp>
          <p:nvCxnSpPr>
            <p:cNvPr id="22" name="Straight Connector 21"/>
            <p:cNvCxnSpPr/>
            <p:nvPr/>
          </p:nvCxnSpPr>
          <p:spPr>
            <a:xfrm flipH="1">
              <a:off x="2686051" y="2729770"/>
              <a:ext cx="3806461" cy="1945473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  <a:sp3d extrusionH="2540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Oval 22"/>
            <p:cNvSpPr>
              <a:spLocks noChangeArrowheads="1"/>
            </p:cNvSpPr>
            <p:nvPr/>
          </p:nvSpPr>
          <p:spPr bwMode="auto">
            <a:xfrm>
              <a:off x="3915036" y="3026852"/>
              <a:ext cx="1359551" cy="1359550"/>
            </a:xfrm>
            <a:prstGeom prst="ellipse">
              <a:avLst/>
            </a:prstGeom>
            <a:pattFill prst="ltUpDiag">
              <a:fgClr>
                <a:schemeClr val="tx1">
                  <a:lumMod val="65000"/>
                  <a:lumOff val="35000"/>
                </a:schemeClr>
              </a:fgClr>
              <a:bgClr>
                <a:schemeClr val="tx1"/>
              </a:bgClr>
            </a:pattFill>
            <a:ln w="76200">
              <a:solidFill>
                <a:srgbClr val="FFFFFF"/>
              </a:solidFill>
              <a:round/>
              <a:headEnd/>
              <a:tailEnd/>
            </a:ln>
            <a:effectLst>
              <a:outerShdw dist="23000" dir="5400000" rotWithShape="0">
                <a:srgbClr val="808080">
                  <a:alpha val="34999"/>
                </a:srgbClr>
              </a:outerShdw>
            </a:effectLst>
            <a:sp3d extrusionH="254000"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>
                <a:solidFill>
                  <a:srgbClr val="FFFFFF"/>
                </a:solidFill>
                <a:latin typeface="+mn-lt"/>
                <a:cs typeface="+mn-cs"/>
              </a:endParaRPr>
            </a:p>
          </p:txBody>
        </p:sp>
        <p:sp>
          <p:nvSpPr>
            <p:cNvPr id="24" name="TextBox 57"/>
            <p:cNvSpPr txBox="1">
              <a:spLocks noChangeArrowheads="1"/>
            </p:cNvSpPr>
            <p:nvPr/>
          </p:nvSpPr>
          <p:spPr bwMode="auto">
            <a:xfrm>
              <a:off x="4144767" y="3306796"/>
              <a:ext cx="1021671" cy="246221"/>
            </a:xfrm>
            <a:prstGeom prst="rect">
              <a:avLst/>
            </a:prstGeom>
            <a:noFill/>
            <a:ln>
              <a:noFill/>
            </a:ln>
            <a:sp3d extrusionH="254000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CORE BUSINESS</a:t>
              </a:r>
            </a:p>
          </p:txBody>
        </p:sp>
        <p:sp>
          <p:nvSpPr>
            <p:cNvPr id="25" name="TextBox 58"/>
            <p:cNvSpPr txBox="1">
              <a:spLocks noChangeArrowheads="1"/>
            </p:cNvSpPr>
            <p:nvPr/>
          </p:nvSpPr>
          <p:spPr bwMode="auto">
            <a:xfrm>
              <a:off x="4124681" y="3475013"/>
              <a:ext cx="966931" cy="584776"/>
            </a:xfrm>
            <a:prstGeom prst="rect">
              <a:avLst/>
            </a:prstGeom>
            <a:noFill/>
            <a:ln>
              <a:noFill/>
            </a:ln>
            <a:sp3d extrusionH="254000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- core contributors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- distribution 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  channels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- direct suppliers</a:t>
              </a:r>
            </a:p>
          </p:txBody>
        </p:sp>
        <p:sp>
          <p:nvSpPr>
            <p:cNvPr id="26" name="TextBox 59"/>
            <p:cNvSpPr txBox="1">
              <a:spLocks noChangeArrowheads="1"/>
            </p:cNvSpPr>
            <p:nvPr/>
          </p:nvSpPr>
          <p:spPr bwMode="auto">
            <a:xfrm>
              <a:off x="3511920" y="2705481"/>
              <a:ext cx="658929" cy="400110"/>
            </a:xfrm>
            <a:prstGeom prst="rect">
              <a:avLst/>
            </a:prstGeom>
            <a:noFill/>
            <a:ln>
              <a:noFill/>
            </a:ln>
            <a:sp3d extrusionH="254000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standard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bodies</a:t>
              </a:r>
            </a:p>
          </p:txBody>
        </p:sp>
        <p:sp>
          <p:nvSpPr>
            <p:cNvPr id="27" name="TextBox 60"/>
            <p:cNvSpPr txBox="1">
              <a:spLocks noChangeArrowheads="1"/>
            </p:cNvSpPr>
            <p:nvPr/>
          </p:nvSpPr>
          <p:spPr bwMode="auto">
            <a:xfrm>
              <a:off x="3211423" y="3410170"/>
              <a:ext cx="666569" cy="553998"/>
            </a:xfrm>
            <a:prstGeom prst="rect">
              <a:avLst/>
            </a:prstGeom>
            <a:noFill/>
            <a:ln>
              <a:noFill/>
            </a:ln>
            <a:sp3d extrusionH="254000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supplier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of my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suppliers</a:t>
              </a:r>
            </a:p>
          </p:txBody>
        </p:sp>
        <p:sp>
          <p:nvSpPr>
            <p:cNvPr id="28" name="TextBox 66"/>
            <p:cNvSpPr txBox="1">
              <a:spLocks noChangeArrowheads="1"/>
            </p:cNvSpPr>
            <p:nvPr/>
          </p:nvSpPr>
          <p:spPr bwMode="auto">
            <a:xfrm>
              <a:off x="3546186" y="4360132"/>
              <a:ext cx="1031051" cy="553998"/>
            </a:xfrm>
            <a:prstGeom prst="rect">
              <a:avLst/>
            </a:prstGeom>
            <a:noFill/>
            <a:ln>
              <a:noFill/>
            </a:ln>
            <a:sp3d extrusionH="254000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supplier of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complementary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products</a:t>
              </a:r>
            </a:p>
          </p:txBody>
        </p:sp>
        <p:sp>
          <p:nvSpPr>
            <p:cNvPr id="29" name="TextBox 70"/>
            <p:cNvSpPr txBox="1">
              <a:spLocks noChangeArrowheads="1"/>
            </p:cNvSpPr>
            <p:nvPr/>
          </p:nvSpPr>
          <p:spPr bwMode="auto">
            <a:xfrm>
              <a:off x="5274587" y="3425234"/>
              <a:ext cx="737326" cy="553998"/>
            </a:xfrm>
            <a:prstGeom prst="rect">
              <a:avLst/>
            </a:prstGeom>
            <a:noFill/>
            <a:ln>
              <a:noFill/>
            </a:ln>
            <a:sp3d extrusionH="254000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customers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smtClean="0">
                  <a:solidFill>
                    <a:srgbClr val="FFFFFF"/>
                  </a:solidFill>
                </a:rPr>
                <a:t>of </a:t>
              </a:r>
              <a:r>
                <a:rPr lang="en-US" sz="1000" b="1" dirty="0">
                  <a:solidFill>
                    <a:srgbClr val="FFFFFF"/>
                  </a:solidFill>
                </a:rPr>
                <a:t>my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customers</a:t>
              </a:r>
            </a:p>
          </p:txBody>
        </p:sp>
        <p:sp>
          <p:nvSpPr>
            <p:cNvPr id="30" name="TextBox 71"/>
            <p:cNvSpPr txBox="1">
              <a:spLocks noChangeArrowheads="1"/>
            </p:cNvSpPr>
            <p:nvPr/>
          </p:nvSpPr>
          <p:spPr bwMode="auto">
            <a:xfrm>
              <a:off x="4962963" y="2694182"/>
              <a:ext cx="737326" cy="400110"/>
            </a:xfrm>
            <a:prstGeom prst="rect">
              <a:avLst/>
            </a:prstGeom>
            <a:noFill/>
            <a:ln>
              <a:noFill/>
            </a:ln>
            <a:sp3d extrusionH="254000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direct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customers</a:t>
              </a:r>
            </a:p>
          </p:txBody>
        </p:sp>
        <p:sp>
          <p:nvSpPr>
            <p:cNvPr id="31" name="TextBox 76"/>
            <p:cNvSpPr txBox="1">
              <a:spLocks noChangeArrowheads="1"/>
            </p:cNvSpPr>
            <p:nvPr/>
          </p:nvSpPr>
          <p:spPr bwMode="auto">
            <a:xfrm rot="18863686">
              <a:off x="2856276" y="2285211"/>
              <a:ext cx="831690" cy="400110"/>
            </a:xfrm>
            <a:prstGeom prst="rect">
              <a:avLst/>
            </a:prstGeom>
            <a:noFill/>
            <a:ln>
              <a:noFill/>
            </a:ln>
            <a:sp3d extrusionH="254000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262626"/>
                  </a:solidFill>
                </a:rPr>
                <a:t>trade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262626"/>
                  </a:solidFill>
                </a:rPr>
                <a:t>associations</a:t>
              </a:r>
            </a:p>
          </p:txBody>
        </p:sp>
        <p:sp>
          <p:nvSpPr>
            <p:cNvPr id="32" name="TextBox 77"/>
            <p:cNvSpPr txBox="1">
              <a:spLocks noChangeArrowheads="1"/>
            </p:cNvSpPr>
            <p:nvPr/>
          </p:nvSpPr>
          <p:spPr bwMode="auto">
            <a:xfrm rot="16200000">
              <a:off x="2392100" y="3551812"/>
              <a:ext cx="671515" cy="246221"/>
            </a:xfrm>
            <a:prstGeom prst="rect">
              <a:avLst/>
            </a:prstGeom>
            <a:noFill/>
            <a:ln>
              <a:noFill/>
            </a:ln>
            <a:sp3d extrusionH="254000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262626"/>
                  </a:solidFill>
                </a:rPr>
                <a:t>investors</a:t>
              </a:r>
            </a:p>
          </p:txBody>
        </p:sp>
        <p:sp>
          <p:nvSpPr>
            <p:cNvPr id="33" name="TextBox 97"/>
            <p:cNvSpPr txBox="1">
              <a:spLocks noChangeArrowheads="1"/>
            </p:cNvSpPr>
            <p:nvPr/>
          </p:nvSpPr>
          <p:spPr bwMode="auto">
            <a:xfrm rot="5400000">
              <a:off x="5964489" y="3484843"/>
              <a:ext cx="869073" cy="400110"/>
            </a:xfrm>
            <a:prstGeom prst="rect">
              <a:avLst/>
            </a:prstGeom>
            <a:noFill/>
            <a:ln>
              <a:noFill/>
            </a:ln>
            <a:sp3d extrusionH="254000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262626"/>
                  </a:solidFill>
                </a:rPr>
                <a:t>other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262626"/>
                  </a:solidFill>
                </a:rPr>
                <a:t>stakeholders</a:t>
              </a:r>
            </a:p>
          </p:txBody>
        </p:sp>
        <p:sp>
          <p:nvSpPr>
            <p:cNvPr id="34" name="TextBox 98"/>
            <p:cNvSpPr txBox="1">
              <a:spLocks noChangeArrowheads="1"/>
            </p:cNvSpPr>
            <p:nvPr/>
          </p:nvSpPr>
          <p:spPr bwMode="auto">
            <a:xfrm rot="2694644">
              <a:off x="5689484" y="2323545"/>
              <a:ext cx="543739" cy="400110"/>
            </a:xfrm>
            <a:prstGeom prst="rect">
              <a:avLst/>
            </a:prstGeom>
            <a:noFill/>
            <a:ln>
              <a:noFill/>
            </a:ln>
            <a:sp3d extrusionH="254000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err="1">
                  <a:solidFill>
                    <a:srgbClr val="262626"/>
                  </a:solidFill>
                </a:rPr>
                <a:t>labour</a:t>
              </a:r>
              <a:r>
                <a:rPr lang="en-US" sz="1000" b="1" dirty="0">
                  <a:solidFill>
                    <a:srgbClr val="262626"/>
                  </a:solidFill>
                </a:rPr>
                <a:t> 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262626"/>
                  </a:solidFill>
                </a:rPr>
                <a:t>unions</a:t>
              </a:r>
            </a:p>
          </p:txBody>
        </p:sp>
        <p:sp>
          <p:nvSpPr>
            <p:cNvPr id="35" name="TextBox 99"/>
            <p:cNvSpPr txBox="1">
              <a:spLocks noChangeArrowheads="1"/>
            </p:cNvSpPr>
            <p:nvPr/>
          </p:nvSpPr>
          <p:spPr bwMode="auto">
            <a:xfrm rot="19544448">
              <a:off x="5071881" y="4996305"/>
              <a:ext cx="965942" cy="400110"/>
            </a:xfrm>
            <a:prstGeom prst="rect">
              <a:avLst/>
            </a:prstGeom>
            <a:noFill/>
            <a:ln>
              <a:noFill/>
            </a:ln>
            <a:sp3d extrusionH="254000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262626"/>
                  </a:solidFill>
                </a:rPr>
                <a:t>competing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err="1">
                  <a:solidFill>
                    <a:srgbClr val="262626"/>
                  </a:solidFill>
                </a:rPr>
                <a:t>organisations</a:t>
              </a:r>
              <a:r>
                <a:rPr lang="en-US" sz="1000" b="1" dirty="0">
                  <a:solidFill>
                    <a:srgbClr val="262626"/>
                  </a:solidFill>
                </a:rPr>
                <a:t>*</a:t>
              </a:r>
            </a:p>
          </p:txBody>
        </p:sp>
        <p:sp>
          <p:nvSpPr>
            <p:cNvPr id="36" name="TextBox 100"/>
            <p:cNvSpPr txBox="1">
              <a:spLocks noChangeArrowheads="1"/>
            </p:cNvSpPr>
            <p:nvPr/>
          </p:nvSpPr>
          <p:spPr bwMode="auto">
            <a:xfrm rot="2055355">
              <a:off x="2920174" y="5008578"/>
              <a:ext cx="1443086" cy="400110"/>
            </a:xfrm>
            <a:prstGeom prst="rect">
              <a:avLst/>
            </a:prstGeom>
            <a:noFill/>
            <a:ln>
              <a:noFill/>
            </a:ln>
            <a:sp3d extrusionH="254000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262626"/>
                  </a:solidFill>
                </a:rPr>
                <a:t>government agencies &amp;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262626"/>
                  </a:solidFill>
                </a:rPr>
                <a:t>other regulatory bodies</a:t>
              </a:r>
            </a:p>
          </p:txBody>
        </p:sp>
        <p:sp>
          <p:nvSpPr>
            <p:cNvPr id="37" name="Rounded Rectangle 36"/>
            <p:cNvSpPr>
              <a:spLocks noChangeArrowheads="1"/>
            </p:cNvSpPr>
            <p:nvPr/>
          </p:nvSpPr>
          <p:spPr bwMode="auto">
            <a:xfrm>
              <a:off x="4137235" y="1362863"/>
              <a:ext cx="886281" cy="365308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4196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  <a:effectLst>
              <a:outerShdw dist="23000" dir="5400000" rotWithShape="0">
                <a:srgbClr val="808080">
                  <a:alpha val="34999"/>
                </a:srgbClr>
              </a:outerShdw>
            </a:effectLst>
            <a:sp3d extrusionH="254000"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>
                <a:solidFill>
                  <a:srgbClr val="FFFFFF"/>
                </a:solidFill>
                <a:latin typeface="+mn-lt"/>
                <a:cs typeface="+mn-cs"/>
              </a:endParaRPr>
            </a:p>
          </p:txBody>
        </p:sp>
        <p:sp>
          <p:nvSpPr>
            <p:cNvPr id="38" name="TextBox 74"/>
            <p:cNvSpPr txBox="1">
              <a:spLocks noChangeArrowheads="1"/>
            </p:cNvSpPr>
            <p:nvPr/>
          </p:nvSpPr>
          <p:spPr bwMode="auto">
            <a:xfrm>
              <a:off x="4218714" y="1366923"/>
              <a:ext cx="763494" cy="369332"/>
            </a:xfrm>
            <a:prstGeom prst="rect">
              <a:avLst/>
            </a:prstGeom>
            <a:noFill/>
            <a:ln>
              <a:noFill/>
            </a:ln>
            <a:sp3d extrusionH="254000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dirty="0">
                  <a:solidFill>
                    <a:srgbClr val="17375E"/>
                  </a:solidFill>
                </a:rPr>
                <a:t>BUSINESS 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dirty="0">
                  <a:solidFill>
                    <a:srgbClr val="17375E"/>
                  </a:solidFill>
                </a:rPr>
                <a:t>ECOSYSTEM</a:t>
              </a:r>
            </a:p>
          </p:txBody>
        </p:sp>
        <p:sp>
          <p:nvSpPr>
            <p:cNvPr id="39" name="Rounded Rectangle 38"/>
            <p:cNvSpPr>
              <a:spLocks noChangeArrowheads="1"/>
            </p:cNvSpPr>
            <p:nvPr/>
          </p:nvSpPr>
          <p:spPr bwMode="auto">
            <a:xfrm>
              <a:off x="4137235" y="2075852"/>
              <a:ext cx="886281" cy="364053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0">
                  <a:schemeClr val="tx2">
                    <a:lumMod val="75000"/>
                  </a:schemeClr>
                </a:gs>
                <a:gs pos="100000">
                  <a:schemeClr val="accent1">
                    <a:lumMod val="75000"/>
                  </a:schemeClr>
                </a:gs>
              </a:gsLst>
              <a:lin ang="16200000" scaled="0"/>
              <a:tileRect/>
            </a:gradFill>
            <a:ln w="9525">
              <a:solidFill>
                <a:srgbClr val="FFFFFF"/>
              </a:solidFill>
              <a:round/>
              <a:headEnd/>
              <a:tailEnd/>
            </a:ln>
            <a:effectLst>
              <a:outerShdw dist="23000" dir="5400000" rotWithShape="0">
                <a:srgbClr val="808080">
                  <a:alpha val="34999"/>
                </a:srgbClr>
              </a:outerShdw>
            </a:effectLst>
            <a:sp3d extrusionH="254000"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>
                <a:solidFill>
                  <a:srgbClr val="FFFFFF"/>
                </a:solidFill>
                <a:latin typeface="+mn-lt"/>
                <a:cs typeface="+mn-cs"/>
              </a:endParaRPr>
            </a:p>
          </p:txBody>
        </p:sp>
        <p:sp>
          <p:nvSpPr>
            <p:cNvPr id="40" name="TextBox 72"/>
            <p:cNvSpPr txBox="1">
              <a:spLocks noChangeArrowheads="1"/>
            </p:cNvSpPr>
            <p:nvPr/>
          </p:nvSpPr>
          <p:spPr bwMode="auto">
            <a:xfrm>
              <a:off x="4206188" y="2067064"/>
              <a:ext cx="763438" cy="369332"/>
            </a:xfrm>
            <a:prstGeom prst="rect">
              <a:avLst/>
            </a:prstGeom>
            <a:noFill/>
            <a:ln>
              <a:noFill/>
            </a:ln>
            <a:sp3d extrusionH="254000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dirty="0">
                  <a:solidFill>
                    <a:schemeClr val="bg1"/>
                  </a:solidFill>
                </a:rPr>
                <a:t>EXTENDED 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dirty="0">
                  <a:solidFill>
                    <a:schemeClr val="bg1"/>
                  </a:solidFill>
                </a:rPr>
                <a:t>ENTERPRISE</a:t>
              </a:r>
            </a:p>
          </p:txBody>
        </p:sp>
        <p:sp>
          <p:nvSpPr>
            <p:cNvPr id="41" name="TextBox 66"/>
            <p:cNvSpPr txBox="1">
              <a:spLocks noChangeArrowheads="1"/>
            </p:cNvSpPr>
            <p:nvPr/>
          </p:nvSpPr>
          <p:spPr bwMode="auto">
            <a:xfrm>
              <a:off x="4807803" y="4397464"/>
              <a:ext cx="753920" cy="400110"/>
            </a:xfrm>
            <a:prstGeom prst="rect">
              <a:avLst/>
            </a:prstGeom>
            <a:noFill/>
            <a:ln>
              <a:noFill/>
            </a:ln>
            <a:sp3d extrusionH="254000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solidFill>
                    <a:srgbClr val="FFFFFF"/>
                  </a:solidFill>
                </a:rPr>
                <a:t>supplier </a:t>
              </a:r>
              <a:r>
                <a:rPr lang="en-US" sz="1000" b="1" dirty="0" smtClean="0">
                  <a:solidFill>
                    <a:srgbClr val="FFFFFF"/>
                  </a:solidFill>
                </a:rPr>
                <a:t>of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 smtClean="0">
                  <a:solidFill>
                    <a:srgbClr val="FFFFFF"/>
                  </a:solidFill>
                </a:rPr>
                <a:t>suppliers</a:t>
              </a:r>
              <a:endParaRPr lang="en-US" sz="1000" b="1" dirty="0">
                <a:solidFill>
                  <a:srgbClr val="FFFFFF"/>
                </a:solidFill>
              </a:endParaRPr>
            </a:p>
          </p:txBody>
        </p:sp>
        <p:cxnSp>
          <p:nvCxnSpPr>
            <p:cNvPr id="42" name="Straight Connector 41"/>
            <p:cNvCxnSpPr/>
            <p:nvPr/>
          </p:nvCxnSpPr>
          <p:spPr>
            <a:xfrm flipV="1">
              <a:off x="4731600" y="1728171"/>
              <a:ext cx="773873" cy="1298681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  <a:sp3d extrusionH="2540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>
              <a:off x="5217882" y="4059789"/>
              <a:ext cx="1274630" cy="615454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  <a:sp3d extrusionH="2540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>
              <a:endCxn id="20" idx="4"/>
            </p:cNvCxnSpPr>
            <p:nvPr/>
          </p:nvCxnSpPr>
          <p:spPr>
            <a:xfrm flipH="1">
              <a:off x="4587402" y="4405729"/>
              <a:ext cx="47" cy="1430003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  <a:sp3d extrusionH="2540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 flipH="1" flipV="1">
              <a:off x="2604747" y="2820099"/>
              <a:ext cx="1335691" cy="598539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  <a:sp3d extrusionH="2540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 flipH="1" flipV="1">
              <a:off x="3705992" y="1728171"/>
              <a:ext cx="687518" cy="1274097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  <a:sp3d extrusionH="2540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21" name="Tekstboks 72"/>
          <p:cNvSpPr txBox="1">
            <a:spLocks noChangeArrowheads="1"/>
          </p:cNvSpPr>
          <p:nvPr/>
        </p:nvSpPr>
        <p:spPr bwMode="auto">
          <a:xfrm>
            <a:off x="7011988" y="4826000"/>
            <a:ext cx="1428750" cy="72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just" eaLnBrk="1" hangingPunct="1"/>
            <a:r>
              <a:rPr lang="en-US" altLang="en-US" sz="1000">
                <a:solidFill>
                  <a:srgbClr val="000000"/>
                </a:solidFill>
                <a:ea typeface="ＭＳ Ｐゴシック" pitchFamily="34" charset="-128"/>
              </a:rPr>
              <a:t>This is an example text. Example text. Go ahead and replace it. </a:t>
            </a:r>
            <a:endParaRPr lang="en-US" altLang="en-US" sz="1100">
              <a:solidFill>
                <a:srgbClr val="000000"/>
              </a:solidFill>
              <a:ea typeface="ＭＳ Ｐゴシック" pitchFamily="34" charset="-128"/>
            </a:endParaRPr>
          </a:p>
          <a:p>
            <a:pPr algn="just" eaLnBrk="1" hangingPunct="1"/>
            <a:endParaRPr lang="da-DK" altLang="en-US" sz="11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4122" name="Tekstboks 72"/>
          <p:cNvSpPr txBox="1">
            <a:spLocks noChangeArrowheads="1"/>
          </p:cNvSpPr>
          <p:nvPr/>
        </p:nvSpPr>
        <p:spPr bwMode="auto">
          <a:xfrm>
            <a:off x="7011988" y="2211388"/>
            <a:ext cx="1428750" cy="722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just" eaLnBrk="1" hangingPunct="1"/>
            <a:r>
              <a:rPr lang="en-US" altLang="en-US" sz="1000">
                <a:solidFill>
                  <a:srgbClr val="000000"/>
                </a:solidFill>
                <a:ea typeface="ＭＳ Ｐゴシック" pitchFamily="34" charset="-128"/>
              </a:rPr>
              <a:t>This is an example text. Example text. Go ahead and replace it. </a:t>
            </a:r>
            <a:endParaRPr lang="en-US" altLang="en-US" sz="1100">
              <a:solidFill>
                <a:srgbClr val="000000"/>
              </a:solidFill>
              <a:ea typeface="ＭＳ Ｐゴシック" pitchFamily="34" charset="-128"/>
            </a:endParaRPr>
          </a:p>
          <a:p>
            <a:pPr algn="just" eaLnBrk="1" hangingPunct="1"/>
            <a:endParaRPr lang="da-DK" altLang="en-US" sz="110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99300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18" name="Group 10"/>
          <p:cNvGrpSpPr>
            <a:grpSpLocks/>
          </p:cNvGrpSpPr>
          <p:nvPr/>
        </p:nvGrpSpPr>
        <p:grpSpPr bwMode="auto">
          <a:xfrm>
            <a:off x="0" y="0"/>
            <a:ext cx="9144000" cy="5948363"/>
            <a:chOff x="0" y="0"/>
            <a:chExt cx="5760" cy="3747"/>
          </a:xfrm>
        </p:grpSpPr>
        <p:sp>
          <p:nvSpPr>
            <p:cNvPr id="9239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9240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9241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9242" name="Rectangle 5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</p:grpSp>
      <p:sp>
        <p:nvSpPr>
          <p:cNvPr id="29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kern="0" noProof="1">
                <a:solidFill>
                  <a:schemeClr val="bg1"/>
                </a:solidFill>
                <a:cs typeface="+mn-cs"/>
              </a:rPr>
              <a:t>Placeholder for your own sub headline</a:t>
            </a:r>
          </a:p>
        </p:txBody>
      </p:sp>
      <p:sp>
        <p:nvSpPr>
          <p:cNvPr id="9220" name="Rectangle 40"/>
          <p:cNvSpPr txBox="1">
            <a:spLocks noChangeArrowheads="1"/>
          </p:cNvSpPr>
          <p:nvPr/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sz="3000" b="1">
                <a:solidFill>
                  <a:srgbClr val="FFFFFF"/>
                </a:solidFill>
              </a:rPr>
              <a:t>Arrow Chart</a:t>
            </a:r>
          </a:p>
        </p:txBody>
      </p:sp>
      <p:pic>
        <p:nvPicPr>
          <p:cNvPr id="9221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981325" y="3802063"/>
            <a:ext cx="6162675" cy="160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2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-209550" y="4292600"/>
            <a:ext cx="6124575" cy="160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223" name="Group 11"/>
          <p:cNvGrpSpPr>
            <a:grpSpLocks/>
          </p:cNvGrpSpPr>
          <p:nvPr/>
        </p:nvGrpSpPr>
        <p:grpSpPr bwMode="auto">
          <a:xfrm>
            <a:off x="323850" y="1555750"/>
            <a:ext cx="4175125" cy="1885950"/>
            <a:chOff x="204" y="980"/>
            <a:chExt cx="2630" cy="1188"/>
          </a:xfrm>
        </p:grpSpPr>
        <p:sp>
          <p:nvSpPr>
            <p:cNvPr id="9237" name="Rectangle 19"/>
            <p:cNvSpPr>
              <a:spLocks noChangeArrowheads="1"/>
            </p:cNvSpPr>
            <p:nvPr/>
          </p:nvSpPr>
          <p:spPr bwMode="gray">
            <a:xfrm>
              <a:off x="204" y="980"/>
              <a:ext cx="2630" cy="227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C1C2C3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</p:spPr>
          <p:txBody>
            <a:bodyPr lIns="180000" tIns="0" rIns="0" bIns="0" anchor="ctr"/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r>
                <a:rPr lang="es-AR" b="1" noProof="1"/>
                <a:t>Pro Arguments</a:t>
              </a:r>
            </a:p>
          </p:txBody>
        </p:sp>
        <p:sp>
          <p:nvSpPr>
            <p:cNvPr id="9238" name="Rectangle 5"/>
            <p:cNvSpPr>
              <a:spLocks noChangeArrowheads="1"/>
            </p:cNvSpPr>
            <p:nvPr/>
          </p:nvSpPr>
          <p:spPr bwMode="gray">
            <a:xfrm>
              <a:off x="204" y="1207"/>
              <a:ext cx="2630" cy="961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EAEAEA"/>
                </a:gs>
              </a:gsLst>
              <a:lin ang="5400000" scaled="1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</p:spPr>
          <p:txBody>
            <a:bodyPr lIns="180000" tIns="108000" rIns="144000" bIns="72000"/>
            <a:lstStyle>
              <a:lvl1pPr marL="190500" indent="-1905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anose="05000000000000000000" pitchFamily="2" charset="2"/>
                <a:buChar char="§"/>
              </a:pPr>
              <a:r>
                <a:rPr lang="es-AR" sz="1600" noProof="1"/>
                <a:t>Pro Argument 1</a:t>
              </a:r>
            </a:p>
            <a:p>
              <a:pPr eaLnBrk="1" hangingPunct="1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anose="05000000000000000000" pitchFamily="2" charset="2"/>
                <a:buChar char="§"/>
              </a:pPr>
              <a:r>
                <a:rPr lang="es-AR" sz="1600" noProof="1"/>
                <a:t>Pro Argument 2</a:t>
              </a:r>
            </a:p>
            <a:p>
              <a:pPr eaLnBrk="1" hangingPunct="1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anose="05000000000000000000" pitchFamily="2" charset="2"/>
                <a:buChar char="§"/>
              </a:pPr>
              <a:r>
                <a:rPr lang="es-AR" sz="1600" noProof="1"/>
                <a:t>Pro Argument 3</a:t>
              </a:r>
            </a:p>
            <a:p>
              <a:pPr eaLnBrk="1" hangingPunct="1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anose="05000000000000000000" pitchFamily="2" charset="2"/>
                <a:buChar char="§"/>
              </a:pPr>
              <a:r>
                <a:rPr lang="es-AR" sz="1600" noProof="1"/>
                <a:t>Pro Argument 4</a:t>
              </a:r>
            </a:p>
            <a:p>
              <a:pPr eaLnBrk="1" hangingPunct="1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anose="05000000000000000000" pitchFamily="2" charset="2"/>
                <a:buChar char="§"/>
              </a:pPr>
              <a:endParaRPr lang="es-AR" sz="1600" noProof="1"/>
            </a:p>
            <a:p>
              <a:pPr eaLnBrk="1" hangingPunct="1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anose="05000000000000000000" pitchFamily="2" charset="2"/>
                <a:buChar char="§"/>
              </a:pPr>
              <a:endParaRPr lang="es-AR" sz="1600" noProof="1"/>
            </a:p>
          </p:txBody>
        </p:sp>
      </p:grpSp>
      <p:grpSp>
        <p:nvGrpSpPr>
          <p:cNvPr id="9224" name="Group 14"/>
          <p:cNvGrpSpPr>
            <a:grpSpLocks/>
          </p:cNvGrpSpPr>
          <p:nvPr/>
        </p:nvGrpSpPr>
        <p:grpSpPr bwMode="auto">
          <a:xfrm>
            <a:off x="4643438" y="1555750"/>
            <a:ext cx="4175125" cy="1885950"/>
            <a:chOff x="2925" y="980"/>
            <a:chExt cx="2630" cy="1188"/>
          </a:xfrm>
        </p:grpSpPr>
        <p:sp>
          <p:nvSpPr>
            <p:cNvPr id="9235" name="Rectangle 19"/>
            <p:cNvSpPr>
              <a:spLocks noChangeArrowheads="1"/>
            </p:cNvSpPr>
            <p:nvPr/>
          </p:nvSpPr>
          <p:spPr bwMode="gray">
            <a:xfrm>
              <a:off x="2925" y="980"/>
              <a:ext cx="2630" cy="227"/>
            </a:xfrm>
            <a:prstGeom prst="rect">
              <a:avLst/>
            </a:prstGeom>
            <a:gradFill rotWithShape="1">
              <a:gsLst>
                <a:gs pos="0">
                  <a:srgbClr val="C6C7C8"/>
                </a:gs>
                <a:gs pos="100000">
                  <a:srgbClr val="5C5C5D"/>
                </a:gs>
              </a:gsLst>
              <a:lin ang="5400000" scaled="1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</p:spPr>
          <p:txBody>
            <a:bodyPr lIns="180000" tIns="0" rIns="0" bIns="0" anchor="ctr"/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r>
                <a:rPr lang="es-AR" b="1" noProof="1">
                  <a:solidFill>
                    <a:schemeClr val="bg1"/>
                  </a:solidFill>
                </a:rPr>
                <a:t>Contra Arguments</a:t>
              </a:r>
            </a:p>
          </p:txBody>
        </p:sp>
        <p:sp>
          <p:nvSpPr>
            <p:cNvPr id="9236" name="Rectangle 5"/>
            <p:cNvSpPr>
              <a:spLocks noChangeArrowheads="1"/>
            </p:cNvSpPr>
            <p:nvPr/>
          </p:nvSpPr>
          <p:spPr bwMode="gray">
            <a:xfrm>
              <a:off x="2925" y="1207"/>
              <a:ext cx="2630" cy="961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EAEAEA"/>
                </a:gs>
              </a:gsLst>
              <a:lin ang="5400000" scaled="1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</p:spPr>
          <p:txBody>
            <a:bodyPr lIns="180000" tIns="108000" rIns="144000" bIns="72000"/>
            <a:lstStyle>
              <a:lvl1pPr marL="190500" indent="-1905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anose="05000000000000000000" pitchFamily="2" charset="2"/>
                <a:buChar char="§"/>
              </a:pPr>
              <a:r>
                <a:rPr lang="es-AR" sz="1600" noProof="1"/>
                <a:t>Contra Argument 1</a:t>
              </a:r>
            </a:p>
            <a:p>
              <a:pPr eaLnBrk="1" hangingPunct="1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anose="05000000000000000000" pitchFamily="2" charset="2"/>
                <a:buChar char="§"/>
              </a:pPr>
              <a:r>
                <a:rPr lang="es-AR" sz="1600" noProof="1"/>
                <a:t>Contra Argument 2</a:t>
              </a:r>
            </a:p>
            <a:p>
              <a:pPr eaLnBrk="1" hangingPunct="1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anose="05000000000000000000" pitchFamily="2" charset="2"/>
                <a:buChar char="§"/>
              </a:pPr>
              <a:r>
                <a:rPr lang="es-AR" sz="1600" noProof="1"/>
                <a:t>Contra Argument 3</a:t>
              </a:r>
            </a:p>
            <a:p>
              <a:pPr eaLnBrk="1" hangingPunct="1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anose="05000000000000000000" pitchFamily="2" charset="2"/>
                <a:buChar char="§"/>
              </a:pPr>
              <a:r>
                <a:rPr lang="es-AR" sz="1600" noProof="1"/>
                <a:t>Contra Argument 4</a:t>
              </a:r>
            </a:p>
          </p:txBody>
        </p:sp>
      </p:grpSp>
      <p:sp>
        <p:nvSpPr>
          <p:cNvPr id="23" name="Rectangle 5"/>
          <p:cNvSpPr>
            <a:spLocks noChangeArrowheads="1"/>
          </p:cNvSpPr>
          <p:nvPr/>
        </p:nvSpPr>
        <p:spPr bwMode="gray">
          <a:xfrm>
            <a:off x="4752975" y="5006975"/>
            <a:ext cx="4175125" cy="889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08000" tIns="108000" rIns="144000" bIns="72000"/>
          <a:lstStyle/>
          <a:p>
            <a:pPr algn="r">
              <a:spcAft>
                <a:spcPts val="1400"/>
              </a:spcAft>
              <a:buClr>
                <a:srgbClr val="292929"/>
              </a:buClr>
              <a:defRPr/>
            </a:pPr>
            <a:r>
              <a:rPr lang="en-US" sz="1400" noProof="1">
                <a:solidFill>
                  <a:schemeClr val="bg1">
                    <a:lumMod val="50000"/>
                  </a:schemeClr>
                </a:solidFill>
                <a:cs typeface="+mn-cs"/>
              </a:rPr>
              <a:t>This slide shows a pro &amp; con list </a:t>
            </a:r>
            <a:br>
              <a:rPr lang="en-US" sz="1400" noProof="1">
                <a:solidFill>
                  <a:schemeClr val="bg1">
                    <a:lumMod val="50000"/>
                  </a:schemeClr>
                </a:solidFill>
                <a:cs typeface="+mn-cs"/>
              </a:rPr>
            </a:br>
            <a:r>
              <a:rPr lang="en-US" sz="1400" noProof="1">
                <a:solidFill>
                  <a:schemeClr val="bg1">
                    <a:lumMod val="50000"/>
                  </a:schemeClr>
                </a:solidFill>
                <a:cs typeface="+mn-cs"/>
              </a:rPr>
              <a:t>- a list of arguments for and against </a:t>
            </a:r>
            <a:br>
              <a:rPr lang="en-US" sz="1400" noProof="1">
                <a:solidFill>
                  <a:schemeClr val="bg1">
                    <a:lumMod val="50000"/>
                  </a:schemeClr>
                </a:solidFill>
                <a:cs typeface="+mn-cs"/>
              </a:rPr>
            </a:br>
            <a:r>
              <a:rPr lang="en-US" sz="1400" noProof="1">
                <a:solidFill>
                  <a:schemeClr val="bg1">
                    <a:lumMod val="50000"/>
                  </a:schemeClr>
                </a:solidFill>
                <a:cs typeface="+mn-cs"/>
              </a:rPr>
              <a:t>some particular contention or position. </a:t>
            </a:r>
          </a:p>
        </p:txBody>
      </p:sp>
      <p:grpSp>
        <p:nvGrpSpPr>
          <p:cNvPr id="9226" name="Group 18"/>
          <p:cNvGrpSpPr>
            <a:grpSpLocks/>
          </p:cNvGrpSpPr>
          <p:nvPr/>
        </p:nvGrpSpPr>
        <p:grpSpPr bwMode="auto">
          <a:xfrm>
            <a:off x="3997325" y="3917950"/>
            <a:ext cx="3717925" cy="1193800"/>
            <a:chOff x="2518" y="2468"/>
            <a:chExt cx="2342" cy="752"/>
          </a:xfrm>
        </p:grpSpPr>
        <p:sp>
          <p:nvSpPr>
            <p:cNvPr id="9232" name="Freeform 19"/>
            <p:cNvSpPr>
              <a:spLocks/>
            </p:cNvSpPr>
            <p:nvPr/>
          </p:nvSpPr>
          <p:spPr bwMode="gray">
            <a:xfrm>
              <a:off x="3576" y="2838"/>
              <a:ext cx="1282" cy="208"/>
            </a:xfrm>
            <a:custGeom>
              <a:avLst/>
              <a:gdLst>
                <a:gd name="T0" fmla="*/ 1282 w 1282"/>
                <a:gd name="T1" fmla="*/ 0 h 208"/>
                <a:gd name="T2" fmla="*/ 1236 w 1282"/>
                <a:gd name="T3" fmla="*/ 208 h 208"/>
                <a:gd name="T4" fmla="*/ 0 w 1282"/>
                <a:gd name="T5" fmla="*/ 208 h 208"/>
                <a:gd name="T6" fmla="*/ 0 w 1282"/>
                <a:gd name="T7" fmla="*/ 0 h 208"/>
                <a:gd name="T8" fmla="*/ 1282 w 1282"/>
                <a:gd name="T9" fmla="*/ 0 h 20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82" h="208">
                  <a:moveTo>
                    <a:pt x="1282" y="0"/>
                  </a:moveTo>
                  <a:lnTo>
                    <a:pt x="1236" y="208"/>
                  </a:lnTo>
                  <a:lnTo>
                    <a:pt x="0" y="208"/>
                  </a:lnTo>
                  <a:lnTo>
                    <a:pt x="0" y="0"/>
                  </a:lnTo>
                  <a:lnTo>
                    <a:pt x="1282" y="0"/>
                  </a:lnTo>
                  <a:close/>
                </a:path>
              </a:pathLst>
            </a:custGeom>
            <a:solidFill>
              <a:srgbClr val="004074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9233" name="Freeform 20"/>
            <p:cNvSpPr>
              <a:spLocks/>
            </p:cNvSpPr>
            <p:nvPr/>
          </p:nvSpPr>
          <p:spPr bwMode="gray">
            <a:xfrm>
              <a:off x="2518" y="2468"/>
              <a:ext cx="2342" cy="538"/>
            </a:xfrm>
            <a:custGeom>
              <a:avLst/>
              <a:gdLst>
                <a:gd name="T0" fmla="*/ 2342 w 2342"/>
                <a:gd name="T1" fmla="*/ 374 h 538"/>
                <a:gd name="T2" fmla="*/ 1054 w 2342"/>
                <a:gd name="T3" fmla="*/ 370 h 538"/>
                <a:gd name="T4" fmla="*/ 1104 w 2342"/>
                <a:gd name="T5" fmla="*/ 538 h 538"/>
                <a:gd name="T6" fmla="*/ 0 w 2342"/>
                <a:gd name="T7" fmla="*/ 236 h 538"/>
                <a:gd name="T8" fmla="*/ 948 w 2342"/>
                <a:gd name="T9" fmla="*/ 0 h 538"/>
                <a:gd name="T10" fmla="*/ 978 w 2342"/>
                <a:gd name="T11" fmla="*/ 116 h 538"/>
                <a:gd name="T12" fmla="*/ 2124 w 2342"/>
                <a:gd name="T13" fmla="*/ 116 h 538"/>
                <a:gd name="T14" fmla="*/ 2342 w 2342"/>
                <a:gd name="T15" fmla="*/ 374 h 5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342" h="538">
                  <a:moveTo>
                    <a:pt x="2342" y="374"/>
                  </a:moveTo>
                  <a:lnTo>
                    <a:pt x="1054" y="370"/>
                  </a:lnTo>
                  <a:lnTo>
                    <a:pt x="1104" y="538"/>
                  </a:lnTo>
                  <a:lnTo>
                    <a:pt x="0" y="236"/>
                  </a:lnTo>
                  <a:lnTo>
                    <a:pt x="948" y="0"/>
                  </a:lnTo>
                  <a:lnTo>
                    <a:pt x="978" y="116"/>
                  </a:lnTo>
                  <a:lnTo>
                    <a:pt x="2124" y="116"/>
                  </a:lnTo>
                  <a:lnTo>
                    <a:pt x="2342" y="374"/>
                  </a:lnTo>
                  <a:close/>
                </a:path>
              </a:pathLst>
            </a:custGeom>
            <a:solidFill>
              <a:srgbClr val="0061B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9234" name="Freeform 21"/>
            <p:cNvSpPr>
              <a:spLocks/>
            </p:cNvSpPr>
            <p:nvPr/>
          </p:nvSpPr>
          <p:spPr bwMode="gray">
            <a:xfrm>
              <a:off x="2520" y="2704"/>
              <a:ext cx="1102" cy="516"/>
            </a:xfrm>
            <a:custGeom>
              <a:avLst/>
              <a:gdLst>
                <a:gd name="T0" fmla="*/ 1076 w 1102"/>
                <a:gd name="T1" fmla="*/ 516 h 516"/>
                <a:gd name="T2" fmla="*/ 1102 w 1102"/>
                <a:gd name="T3" fmla="*/ 300 h 516"/>
                <a:gd name="T4" fmla="*/ 0 w 1102"/>
                <a:gd name="T5" fmla="*/ 0 h 516"/>
                <a:gd name="T6" fmla="*/ 16 w 1102"/>
                <a:gd name="T7" fmla="*/ 188 h 516"/>
                <a:gd name="T8" fmla="*/ 1076 w 1102"/>
                <a:gd name="T9" fmla="*/ 516 h 5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102" h="516">
                  <a:moveTo>
                    <a:pt x="1076" y="516"/>
                  </a:moveTo>
                  <a:lnTo>
                    <a:pt x="1102" y="300"/>
                  </a:lnTo>
                  <a:lnTo>
                    <a:pt x="0" y="0"/>
                  </a:lnTo>
                  <a:lnTo>
                    <a:pt x="16" y="188"/>
                  </a:lnTo>
                  <a:lnTo>
                    <a:pt x="1076" y="516"/>
                  </a:lnTo>
                  <a:close/>
                </a:path>
              </a:pathLst>
            </a:custGeom>
            <a:solidFill>
              <a:srgbClr val="004074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AR"/>
            </a:p>
          </p:txBody>
        </p:sp>
      </p:grpSp>
      <p:grpSp>
        <p:nvGrpSpPr>
          <p:cNvPr id="9227" name="Group 22"/>
          <p:cNvGrpSpPr>
            <a:grpSpLocks/>
          </p:cNvGrpSpPr>
          <p:nvPr/>
        </p:nvGrpSpPr>
        <p:grpSpPr bwMode="auto">
          <a:xfrm>
            <a:off x="968375" y="4292600"/>
            <a:ext cx="4289425" cy="1485900"/>
            <a:chOff x="610" y="2704"/>
            <a:chExt cx="2702" cy="936"/>
          </a:xfrm>
        </p:grpSpPr>
        <p:sp>
          <p:nvSpPr>
            <p:cNvPr id="9229" name="Freeform 23"/>
            <p:cNvSpPr>
              <a:spLocks/>
            </p:cNvSpPr>
            <p:nvPr/>
          </p:nvSpPr>
          <p:spPr bwMode="gray">
            <a:xfrm>
              <a:off x="610" y="3180"/>
              <a:ext cx="1476" cy="234"/>
            </a:xfrm>
            <a:custGeom>
              <a:avLst/>
              <a:gdLst>
                <a:gd name="T0" fmla="*/ 0 w 1476"/>
                <a:gd name="T1" fmla="*/ 0 h 234"/>
                <a:gd name="T2" fmla="*/ 69 w 1476"/>
                <a:gd name="T3" fmla="*/ 234 h 234"/>
                <a:gd name="T4" fmla="*/ 1476 w 1476"/>
                <a:gd name="T5" fmla="*/ 234 h 234"/>
                <a:gd name="T6" fmla="*/ 1476 w 1476"/>
                <a:gd name="T7" fmla="*/ 3 h 234"/>
                <a:gd name="T8" fmla="*/ 0 w 1476"/>
                <a:gd name="T9" fmla="*/ 0 h 2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76" h="234">
                  <a:moveTo>
                    <a:pt x="0" y="0"/>
                  </a:moveTo>
                  <a:lnTo>
                    <a:pt x="69" y="234"/>
                  </a:lnTo>
                  <a:lnTo>
                    <a:pt x="1476" y="234"/>
                  </a:lnTo>
                  <a:lnTo>
                    <a:pt x="1476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DC2EB"/>
            </a:solidFill>
            <a:ln w="9525" cap="flat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9230" name="Freeform 24"/>
            <p:cNvSpPr>
              <a:spLocks/>
            </p:cNvSpPr>
            <p:nvPr/>
          </p:nvSpPr>
          <p:spPr bwMode="gray">
            <a:xfrm>
              <a:off x="2022" y="3002"/>
              <a:ext cx="1286" cy="638"/>
            </a:xfrm>
            <a:custGeom>
              <a:avLst/>
              <a:gdLst>
                <a:gd name="T0" fmla="*/ 0 w 1286"/>
                <a:gd name="T1" fmla="*/ 400 h 638"/>
                <a:gd name="T2" fmla="*/ 30 w 1286"/>
                <a:gd name="T3" fmla="*/ 638 h 638"/>
                <a:gd name="T4" fmla="*/ 1274 w 1286"/>
                <a:gd name="T5" fmla="*/ 216 h 638"/>
                <a:gd name="T6" fmla="*/ 1286 w 1286"/>
                <a:gd name="T7" fmla="*/ 0 h 638"/>
                <a:gd name="T8" fmla="*/ 0 w 1286"/>
                <a:gd name="T9" fmla="*/ 400 h 63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86" h="638">
                  <a:moveTo>
                    <a:pt x="0" y="400"/>
                  </a:moveTo>
                  <a:lnTo>
                    <a:pt x="30" y="638"/>
                  </a:lnTo>
                  <a:lnTo>
                    <a:pt x="1274" y="216"/>
                  </a:lnTo>
                  <a:lnTo>
                    <a:pt x="1286" y="0"/>
                  </a:lnTo>
                  <a:lnTo>
                    <a:pt x="0" y="400"/>
                  </a:lnTo>
                  <a:close/>
                </a:path>
              </a:pathLst>
            </a:custGeom>
            <a:solidFill>
              <a:srgbClr val="9DC2EB"/>
            </a:solidFill>
            <a:ln w="9525" cap="flat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9231" name="Freeform 25"/>
            <p:cNvSpPr>
              <a:spLocks/>
            </p:cNvSpPr>
            <p:nvPr/>
          </p:nvSpPr>
          <p:spPr bwMode="gray">
            <a:xfrm>
              <a:off x="612" y="2704"/>
              <a:ext cx="2700" cy="701"/>
            </a:xfrm>
            <a:custGeom>
              <a:avLst/>
              <a:gdLst>
                <a:gd name="T0" fmla="*/ 0 w 2700"/>
                <a:gd name="T1" fmla="*/ 479 h 701"/>
                <a:gd name="T2" fmla="*/ 1482 w 2700"/>
                <a:gd name="T3" fmla="*/ 478 h 701"/>
                <a:gd name="T4" fmla="*/ 1410 w 2700"/>
                <a:gd name="T5" fmla="*/ 701 h 701"/>
                <a:gd name="T6" fmla="*/ 2700 w 2700"/>
                <a:gd name="T7" fmla="*/ 299 h 701"/>
                <a:gd name="T8" fmla="*/ 1634 w 2700"/>
                <a:gd name="T9" fmla="*/ 0 h 701"/>
                <a:gd name="T10" fmla="*/ 1588 w 2700"/>
                <a:gd name="T11" fmla="*/ 142 h 701"/>
                <a:gd name="T12" fmla="*/ 288 w 2700"/>
                <a:gd name="T13" fmla="*/ 143 h 701"/>
                <a:gd name="T14" fmla="*/ 0 w 2700"/>
                <a:gd name="T15" fmla="*/ 479 h 70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700" h="701">
                  <a:moveTo>
                    <a:pt x="0" y="479"/>
                  </a:moveTo>
                  <a:lnTo>
                    <a:pt x="1482" y="478"/>
                  </a:lnTo>
                  <a:lnTo>
                    <a:pt x="1410" y="701"/>
                  </a:lnTo>
                  <a:lnTo>
                    <a:pt x="2700" y="299"/>
                  </a:lnTo>
                  <a:lnTo>
                    <a:pt x="1634" y="0"/>
                  </a:lnTo>
                  <a:lnTo>
                    <a:pt x="1588" y="142"/>
                  </a:lnTo>
                  <a:lnTo>
                    <a:pt x="288" y="143"/>
                  </a:lnTo>
                  <a:lnTo>
                    <a:pt x="0" y="479"/>
                  </a:lnTo>
                  <a:close/>
                </a:path>
              </a:pathLst>
            </a:custGeom>
            <a:solidFill>
              <a:srgbClr val="2A79D0"/>
            </a:solidFill>
            <a:ln w="9525" cap="flat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AR"/>
            </a:p>
          </p:txBody>
        </p:sp>
      </p:grpSp>
    </p:spTree>
    <p:extLst>
      <p:ext uri="{BB962C8B-B14F-4D97-AF65-F5344CB8AC3E}">
        <p14:creationId xmlns:p14="http://schemas.microsoft.com/office/powerpoint/2010/main" val="26555839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42" name="Group 23"/>
          <p:cNvGrpSpPr>
            <a:grpSpLocks/>
          </p:cNvGrpSpPr>
          <p:nvPr/>
        </p:nvGrpSpPr>
        <p:grpSpPr bwMode="auto">
          <a:xfrm>
            <a:off x="0" y="3500438"/>
            <a:ext cx="9144000" cy="1676400"/>
            <a:chOff x="0" y="2086"/>
            <a:chExt cx="5760" cy="1056"/>
          </a:xfrm>
        </p:grpSpPr>
        <p:sp>
          <p:nvSpPr>
            <p:cNvPr id="10255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/>
            </a:p>
          </p:txBody>
        </p:sp>
        <p:sp>
          <p:nvSpPr>
            <p:cNvPr id="10256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/>
            </a:p>
          </p:txBody>
        </p:sp>
      </p:grpSp>
      <p:pic>
        <p:nvPicPr>
          <p:cNvPr id="10243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038" y="5311775"/>
            <a:ext cx="6394450" cy="73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4" name="Freeform 22"/>
          <p:cNvSpPr>
            <a:spLocks/>
          </p:cNvSpPr>
          <p:nvPr/>
        </p:nvSpPr>
        <p:spPr bwMode="auto">
          <a:xfrm rot="-8100000">
            <a:off x="3168650" y="2863850"/>
            <a:ext cx="1933575" cy="2771775"/>
          </a:xfrm>
          <a:custGeom>
            <a:avLst/>
            <a:gdLst>
              <a:gd name="T0" fmla="*/ 2147483647 w 1104"/>
              <a:gd name="T1" fmla="*/ 0 h 1608"/>
              <a:gd name="T2" fmla="*/ 837425378 w 1104"/>
              <a:gd name="T3" fmla="*/ 0 h 1608"/>
              <a:gd name="T4" fmla="*/ 0 w 1104"/>
              <a:gd name="T5" fmla="*/ 826016530 h 1608"/>
              <a:gd name="T6" fmla="*/ 36809733 w 1104"/>
              <a:gd name="T7" fmla="*/ 2147483647 h 1608"/>
              <a:gd name="T8" fmla="*/ 653376710 w 1104"/>
              <a:gd name="T9" fmla="*/ 2147483647 h 1608"/>
              <a:gd name="T10" fmla="*/ 1984669369 w 1104"/>
              <a:gd name="T11" fmla="*/ 2147483647 h 1608"/>
              <a:gd name="T12" fmla="*/ 2147483647 w 1104"/>
              <a:gd name="T13" fmla="*/ 2147483647 h 1608"/>
              <a:gd name="T14" fmla="*/ 2147483647 w 1104"/>
              <a:gd name="T15" fmla="*/ 2147483647 h 1608"/>
              <a:gd name="T16" fmla="*/ 2147483647 w 1104"/>
              <a:gd name="T17" fmla="*/ 2147483647 h 1608"/>
              <a:gd name="T18" fmla="*/ 2147483647 w 1104"/>
              <a:gd name="T19" fmla="*/ 528888455 h 1608"/>
              <a:gd name="T20" fmla="*/ 2147483647 w 1104"/>
              <a:gd name="T21" fmla="*/ 0 h 160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104"/>
              <a:gd name="T34" fmla="*/ 0 h 1608"/>
              <a:gd name="T35" fmla="*/ 1104 w 1104"/>
              <a:gd name="T36" fmla="*/ 1608 h 160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104" h="1608">
                <a:moveTo>
                  <a:pt x="888" y="0"/>
                </a:moveTo>
                <a:cubicBezTo>
                  <a:pt x="184" y="0"/>
                  <a:pt x="184" y="0"/>
                  <a:pt x="184" y="0"/>
                </a:cubicBezTo>
                <a:cubicBezTo>
                  <a:pt x="184" y="0"/>
                  <a:pt x="0" y="40"/>
                  <a:pt x="0" y="200"/>
                </a:cubicBezTo>
                <a:cubicBezTo>
                  <a:pt x="0" y="360"/>
                  <a:pt x="8" y="952"/>
                  <a:pt x="8" y="952"/>
                </a:cubicBezTo>
                <a:cubicBezTo>
                  <a:pt x="8" y="952"/>
                  <a:pt x="48" y="1160"/>
                  <a:pt x="144" y="1240"/>
                </a:cubicBezTo>
                <a:cubicBezTo>
                  <a:pt x="436" y="1532"/>
                  <a:pt x="436" y="1532"/>
                  <a:pt x="436" y="1532"/>
                </a:cubicBezTo>
                <a:cubicBezTo>
                  <a:pt x="436" y="1532"/>
                  <a:pt x="576" y="1608"/>
                  <a:pt x="680" y="1520"/>
                </a:cubicBezTo>
                <a:cubicBezTo>
                  <a:pt x="960" y="1240"/>
                  <a:pt x="960" y="1240"/>
                  <a:pt x="960" y="1240"/>
                </a:cubicBezTo>
                <a:cubicBezTo>
                  <a:pt x="960" y="1240"/>
                  <a:pt x="1104" y="1072"/>
                  <a:pt x="1088" y="920"/>
                </a:cubicBezTo>
                <a:cubicBezTo>
                  <a:pt x="1064" y="128"/>
                  <a:pt x="1064" y="128"/>
                  <a:pt x="1064" y="128"/>
                </a:cubicBezTo>
                <a:cubicBezTo>
                  <a:pt x="1064" y="128"/>
                  <a:pt x="1056" y="24"/>
                  <a:pt x="888" y="0"/>
                </a:cubicBezTo>
                <a:close/>
              </a:path>
            </a:pathLst>
          </a:custGeom>
          <a:solidFill>
            <a:srgbClr val="B2CF7D">
              <a:alpha val="7215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4351" cap="flat" cmpd="sng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es-AR"/>
          </a:p>
        </p:txBody>
      </p:sp>
      <p:sp>
        <p:nvSpPr>
          <p:cNvPr id="10245" name="Freeform 21"/>
          <p:cNvSpPr>
            <a:spLocks/>
          </p:cNvSpPr>
          <p:nvPr/>
        </p:nvSpPr>
        <p:spPr bwMode="auto">
          <a:xfrm rot="2700000">
            <a:off x="4233863" y="1714500"/>
            <a:ext cx="1933575" cy="2771775"/>
          </a:xfrm>
          <a:custGeom>
            <a:avLst/>
            <a:gdLst>
              <a:gd name="T0" fmla="*/ 2147483647 w 1104"/>
              <a:gd name="T1" fmla="*/ 0 h 1608"/>
              <a:gd name="T2" fmla="*/ 837425378 w 1104"/>
              <a:gd name="T3" fmla="*/ 0 h 1608"/>
              <a:gd name="T4" fmla="*/ 0 w 1104"/>
              <a:gd name="T5" fmla="*/ 826016530 h 1608"/>
              <a:gd name="T6" fmla="*/ 36809733 w 1104"/>
              <a:gd name="T7" fmla="*/ 2147483647 h 1608"/>
              <a:gd name="T8" fmla="*/ 653376710 w 1104"/>
              <a:gd name="T9" fmla="*/ 2147483647 h 1608"/>
              <a:gd name="T10" fmla="*/ 1984669369 w 1104"/>
              <a:gd name="T11" fmla="*/ 2147483647 h 1608"/>
              <a:gd name="T12" fmla="*/ 2147483647 w 1104"/>
              <a:gd name="T13" fmla="*/ 2147483647 h 1608"/>
              <a:gd name="T14" fmla="*/ 2147483647 w 1104"/>
              <a:gd name="T15" fmla="*/ 2147483647 h 1608"/>
              <a:gd name="T16" fmla="*/ 2147483647 w 1104"/>
              <a:gd name="T17" fmla="*/ 2147483647 h 1608"/>
              <a:gd name="T18" fmla="*/ 2147483647 w 1104"/>
              <a:gd name="T19" fmla="*/ 528888455 h 1608"/>
              <a:gd name="T20" fmla="*/ 2147483647 w 1104"/>
              <a:gd name="T21" fmla="*/ 0 h 160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104"/>
              <a:gd name="T34" fmla="*/ 0 h 1608"/>
              <a:gd name="T35" fmla="*/ 1104 w 1104"/>
              <a:gd name="T36" fmla="*/ 1608 h 160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104" h="1608">
                <a:moveTo>
                  <a:pt x="888" y="0"/>
                </a:moveTo>
                <a:cubicBezTo>
                  <a:pt x="184" y="0"/>
                  <a:pt x="184" y="0"/>
                  <a:pt x="184" y="0"/>
                </a:cubicBezTo>
                <a:cubicBezTo>
                  <a:pt x="184" y="0"/>
                  <a:pt x="0" y="40"/>
                  <a:pt x="0" y="200"/>
                </a:cubicBezTo>
                <a:cubicBezTo>
                  <a:pt x="0" y="360"/>
                  <a:pt x="8" y="952"/>
                  <a:pt x="8" y="952"/>
                </a:cubicBezTo>
                <a:cubicBezTo>
                  <a:pt x="8" y="952"/>
                  <a:pt x="48" y="1160"/>
                  <a:pt x="144" y="1240"/>
                </a:cubicBezTo>
                <a:cubicBezTo>
                  <a:pt x="436" y="1532"/>
                  <a:pt x="436" y="1532"/>
                  <a:pt x="436" y="1532"/>
                </a:cubicBezTo>
                <a:cubicBezTo>
                  <a:pt x="436" y="1532"/>
                  <a:pt x="576" y="1608"/>
                  <a:pt x="680" y="1520"/>
                </a:cubicBezTo>
                <a:cubicBezTo>
                  <a:pt x="960" y="1240"/>
                  <a:pt x="960" y="1240"/>
                  <a:pt x="960" y="1240"/>
                </a:cubicBezTo>
                <a:cubicBezTo>
                  <a:pt x="960" y="1240"/>
                  <a:pt x="1104" y="1072"/>
                  <a:pt x="1088" y="920"/>
                </a:cubicBezTo>
                <a:cubicBezTo>
                  <a:pt x="1064" y="128"/>
                  <a:pt x="1064" y="128"/>
                  <a:pt x="1064" y="128"/>
                </a:cubicBezTo>
                <a:cubicBezTo>
                  <a:pt x="1064" y="128"/>
                  <a:pt x="1056" y="24"/>
                  <a:pt x="888" y="0"/>
                </a:cubicBezTo>
                <a:close/>
              </a:path>
            </a:pathLst>
          </a:custGeom>
          <a:solidFill>
            <a:srgbClr val="6B9B1A">
              <a:alpha val="7215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4351" cap="flat" cmpd="sng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es-AR"/>
          </a:p>
        </p:txBody>
      </p:sp>
      <p:sp>
        <p:nvSpPr>
          <p:cNvPr id="10246" name="Freeform 18"/>
          <p:cNvSpPr>
            <a:spLocks/>
          </p:cNvSpPr>
          <p:nvPr/>
        </p:nvSpPr>
        <p:spPr bwMode="auto">
          <a:xfrm rot="-2785570">
            <a:off x="3176588" y="1706563"/>
            <a:ext cx="1933575" cy="2771775"/>
          </a:xfrm>
          <a:custGeom>
            <a:avLst/>
            <a:gdLst>
              <a:gd name="T0" fmla="*/ 2147483647 w 1104"/>
              <a:gd name="T1" fmla="*/ 0 h 1608"/>
              <a:gd name="T2" fmla="*/ 837425378 w 1104"/>
              <a:gd name="T3" fmla="*/ 0 h 1608"/>
              <a:gd name="T4" fmla="*/ 0 w 1104"/>
              <a:gd name="T5" fmla="*/ 826016530 h 1608"/>
              <a:gd name="T6" fmla="*/ 36809733 w 1104"/>
              <a:gd name="T7" fmla="*/ 2147483647 h 1608"/>
              <a:gd name="T8" fmla="*/ 653376710 w 1104"/>
              <a:gd name="T9" fmla="*/ 2147483647 h 1608"/>
              <a:gd name="T10" fmla="*/ 1984669369 w 1104"/>
              <a:gd name="T11" fmla="*/ 2147483647 h 1608"/>
              <a:gd name="T12" fmla="*/ 2147483647 w 1104"/>
              <a:gd name="T13" fmla="*/ 2147483647 h 1608"/>
              <a:gd name="T14" fmla="*/ 2147483647 w 1104"/>
              <a:gd name="T15" fmla="*/ 2147483647 h 1608"/>
              <a:gd name="T16" fmla="*/ 2147483647 w 1104"/>
              <a:gd name="T17" fmla="*/ 2147483647 h 1608"/>
              <a:gd name="T18" fmla="*/ 2147483647 w 1104"/>
              <a:gd name="T19" fmla="*/ 528888455 h 1608"/>
              <a:gd name="T20" fmla="*/ 2147483647 w 1104"/>
              <a:gd name="T21" fmla="*/ 0 h 160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104"/>
              <a:gd name="T34" fmla="*/ 0 h 1608"/>
              <a:gd name="T35" fmla="*/ 1104 w 1104"/>
              <a:gd name="T36" fmla="*/ 1608 h 160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104" h="1608">
                <a:moveTo>
                  <a:pt x="888" y="0"/>
                </a:moveTo>
                <a:cubicBezTo>
                  <a:pt x="184" y="0"/>
                  <a:pt x="184" y="0"/>
                  <a:pt x="184" y="0"/>
                </a:cubicBezTo>
                <a:cubicBezTo>
                  <a:pt x="184" y="0"/>
                  <a:pt x="0" y="40"/>
                  <a:pt x="0" y="200"/>
                </a:cubicBezTo>
                <a:cubicBezTo>
                  <a:pt x="0" y="360"/>
                  <a:pt x="8" y="952"/>
                  <a:pt x="8" y="952"/>
                </a:cubicBezTo>
                <a:cubicBezTo>
                  <a:pt x="8" y="952"/>
                  <a:pt x="48" y="1160"/>
                  <a:pt x="144" y="1240"/>
                </a:cubicBezTo>
                <a:cubicBezTo>
                  <a:pt x="436" y="1532"/>
                  <a:pt x="436" y="1532"/>
                  <a:pt x="436" y="1532"/>
                </a:cubicBezTo>
                <a:cubicBezTo>
                  <a:pt x="436" y="1532"/>
                  <a:pt x="576" y="1608"/>
                  <a:pt x="680" y="1520"/>
                </a:cubicBezTo>
                <a:cubicBezTo>
                  <a:pt x="960" y="1240"/>
                  <a:pt x="960" y="1240"/>
                  <a:pt x="960" y="1240"/>
                </a:cubicBezTo>
                <a:cubicBezTo>
                  <a:pt x="960" y="1240"/>
                  <a:pt x="1104" y="1072"/>
                  <a:pt x="1088" y="920"/>
                </a:cubicBezTo>
                <a:cubicBezTo>
                  <a:pt x="1064" y="128"/>
                  <a:pt x="1064" y="128"/>
                  <a:pt x="1064" y="128"/>
                </a:cubicBezTo>
                <a:cubicBezTo>
                  <a:pt x="1064" y="128"/>
                  <a:pt x="1056" y="24"/>
                  <a:pt x="888" y="0"/>
                </a:cubicBezTo>
                <a:close/>
              </a:path>
            </a:pathLst>
          </a:custGeom>
          <a:solidFill>
            <a:srgbClr val="4C7013">
              <a:alpha val="7215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4351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AR"/>
          </a:p>
        </p:txBody>
      </p:sp>
      <p:sp>
        <p:nvSpPr>
          <p:cNvPr id="10247" name="Freeform 23"/>
          <p:cNvSpPr>
            <a:spLocks/>
          </p:cNvSpPr>
          <p:nvPr/>
        </p:nvSpPr>
        <p:spPr bwMode="auto">
          <a:xfrm rot="8182408">
            <a:off x="4243388" y="2857500"/>
            <a:ext cx="1931987" cy="2771775"/>
          </a:xfrm>
          <a:custGeom>
            <a:avLst/>
            <a:gdLst>
              <a:gd name="T0" fmla="*/ 2147483647 w 1104"/>
              <a:gd name="T1" fmla="*/ 0 h 1608"/>
              <a:gd name="T2" fmla="*/ 832989145 w 1104"/>
              <a:gd name="T3" fmla="*/ 0 h 1608"/>
              <a:gd name="T4" fmla="*/ 0 w 1104"/>
              <a:gd name="T5" fmla="*/ 826016530 h 1608"/>
              <a:gd name="T6" fmla="*/ 36749753 w 1104"/>
              <a:gd name="T7" fmla="*/ 2147483647 h 1608"/>
              <a:gd name="T8" fmla="*/ 652302861 w 1104"/>
              <a:gd name="T9" fmla="*/ 2147483647 h 1608"/>
              <a:gd name="T10" fmla="*/ 1972222729 w 1104"/>
              <a:gd name="T11" fmla="*/ 2147483647 h 1608"/>
              <a:gd name="T12" fmla="*/ 2147483647 w 1104"/>
              <a:gd name="T13" fmla="*/ 2147483647 h 1608"/>
              <a:gd name="T14" fmla="*/ 2147483647 w 1104"/>
              <a:gd name="T15" fmla="*/ 2147483647 h 1608"/>
              <a:gd name="T16" fmla="*/ 2147483647 w 1104"/>
              <a:gd name="T17" fmla="*/ 2147483647 h 1608"/>
              <a:gd name="T18" fmla="*/ 2147483647 w 1104"/>
              <a:gd name="T19" fmla="*/ 528888455 h 1608"/>
              <a:gd name="T20" fmla="*/ 2147483647 w 1104"/>
              <a:gd name="T21" fmla="*/ 0 h 160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104"/>
              <a:gd name="T34" fmla="*/ 0 h 1608"/>
              <a:gd name="T35" fmla="*/ 1104 w 1104"/>
              <a:gd name="T36" fmla="*/ 1608 h 160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104" h="1608">
                <a:moveTo>
                  <a:pt x="888" y="0"/>
                </a:moveTo>
                <a:cubicBezTo>
                  <a:pt x="184" y="0"/>
                  <a:pt x="184" y="0"/>
                  <a:pt x="184" y="0"/>
                </a:cubicBezTo>
                <a:cubicBezTo>
                  <a:pt x="184" y="0"/>
                  <a:pt x="0" y="40"/>
                  <a:pt x="0" y="200"/>
                </a:cubicBezTo>
                <a:cubicBezTo>
                  <a:pt x="0" y="360"/>
                  <a:pt x="8" y="952"/>
                  <a:pt x="8" y="952"/>
                </a:cubicBezTo>
                <a:cubicBezTo>
                  <a:pt x="8" y="952"/>
                  <a:pt x="48" y="1160"/>
                  <a:pt x="144" y="1240"/>
                </a:cubicBezTo>
                <a:cubicBezTo>
                  <a:pt x="436" y="1532"/>
                  <a:pt x="436" y="1532"/>
                  <a:pt x="436" y="1532"/>
                </a:cubicBezTo>
                <a:cubicBezTo>
                  <a:pt x="436" y="1532"/>
                  <a:pt x="576" y="1608"/>
                  <a:pt x="680" y="1520"/>
                </a:cubicBezTo>
                <a:cubicBezTo>
                  <a:pt x="960" y="1240"/>
                  <a:pt x="960" y="1240"/>
                  <a:pt x="960" y="1240"/>
                </a:cubicBezTo>
                <a:cubicBezTo>
                  <a:pt x="960" y="1240"/>
                  <a:pt x="1104" y="1072"/>
                  <a:pt x="1088" y="920"/>
                </a:cubicBezTo>
                <a:cubicBezTo>
                  <a:pt x="1064" y="128"/>
                  <a:pt x="1064" y="128"/>
                  <a:pt x="1064" y="128"/>
                </a:cubicBezTo>
                <a:cubicBezTo>
                  <a:pt x="1064" y="128"/>
                  <a:pt x="1056" y="24"/>
                  <a:pt x="888" y="0"/>
                </a:cubicBezTo>
                <a:close/>
              </a:path>
            </a:pathLst>
          </a:custGeom>
          <a:solidFill>
            <a:srgbClr val="90BA45">
              <a:alpha val="7215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4351" cap="flat" cmpd="sng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es-AR"/>
          </a:p>
        </p:txBody>
      </p:sp>
      <p:sp>
        <p:nvSpPr>
          <p:cNvPr id="10248" name="AutoShape 25"/>
          <p:cNvSpPr>
            <a:spLocks noChangeArrowheads="1"/>
          </p:cNvSpPr>
          <p:nvPr/>
        </p:nvSpPr>
        <p:spPr bwMode="auto">
          <a:xfrm>
            <a:off x="4121150" y="3119438"/>
            <a:ext cx="1103313" cy="1104900"/>
          </a:xfrm>
          <a:prstGeom prst="roundRect">
            <a:avLst>
              <a:gd name="adj" fmla="val 16667"/>
            </a:avLst>
          </a:prstGeom>
          <a:solidFill>
            <a:srgbClr val="6B9B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4C7013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de-DE"/>
          </a:p>
        </p:txBody>
      </p:sp>
      <p:sp>
        <p:nvSpPr>
          <p:cNvPr id="10249" name="Text Box 19"/>
          <p:cNvSpPr txBox="1">
            <a:spLocks noChangeArrowheads="1"/>
          </p:cNvSpPr>
          <p:nvPr/>
        </p:nvSpPr>
        <p:spPr bwMode="gray">
          <a:xfrm rot="-2922815">
            <a:off x="2634456" y="2243932"/>
            <a:ext cx="1706563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s-AR" sz="1600" noProof="1">
                <a:solidFill>
                  <a:schemeClr val="bg1"/>
                </a:solidFill>
              </a:rPr>
              <a:t>This is a placeholder text. </a:t>
            </a:r>
          </a:p>
        </p:txBody>
      </p:sp>
      <p:sp>
        <p:nvSpPr>
          <p:cNvPr id="10250" name="Text Box 19"/>
          <p:cNvSpPr txBox="1">
            <a:spLocks noChangeArrowheads="1"/>
          </p:cNvSpPr>
          <p:nvPr/>
        </p:nvSpPr>
        <p:spPr bwMode="gray">
          <a:xfrm rot="2700000">
            <a:off x="4961732" y="2201069"/>
            <a:ext cx="1706562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s-AR" sz="1600" noProof="1">
                <a:solidFill>
                  <a:schemeClr val="bg1"/>
                </a:solidFill>
              </a:rPr>
              <a:t>This is a placeholder text. </a:t>
            </a:r>
          </a:p>
        </p:txBody>
      </p:sp>
      <p:sp>
        <p:nvSpPr>
          <p:cNvPr id="10251" name="Text Box 19"/>
          <p:cNvSpPr txBox="1">
            <a:spLocks noChangeArrowheads="1"/>
          </p:cNvSpPr>
          <p:nvPr/>
        </p:nvSpPr>
        <p:spPr bwMode="gray">
          <a:xfrm rot="2700000">
            <a:off x="2696369" y="4626769"/>
            <a:ext cx="1706562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s-AR" sz="1600" noProof="1">
                <a:solidFill>
                  <a:schemeClr val="bg1"/>
                </a:solidFill>
              </a:rPr>
              <a:t>This is a placeholder text. </a:t>
            </a:r>
          </a:p>
        </p:txBody>
      </p:sp>
      <p:sp>
        <p:nvSpPr>
          <p:cNvPr id="10252" name="Text Box 19"/>
          <p:cNvSpPr txBox="1">
            <a:spLocks noChangeArrowheads="1"/>
          </p:cNvSpPr>
          <p:nvPr/>
        </p:nvSpPr>
        <p:spPr bwMode="gray">
          <a:xfrm rot="-2588827">
            <a:off x="5037138" y="4665663"/>
            <a:ext cx="1706562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s-AR" sz="1600" noProof="1">
                <a:solidFill>
                  <a:schemeClr val="bg1"/>
                </a:solidFill>
              </a:rPr>
              <a:t>This is a placeholder text. </a:t>
            </a:r>
          </a:p>
        </p:txBody>
      </p:sp>
      <p:sp>
        <p:nvSpPr>
          <p:cNvPr id="10253" name="Text Box 19"/>
          <p:cNvSpPr txBox="1">
            <a:spLocks noChangeArrowheads="1"/>
          </p:cNvSpPr>
          <p:nvPr/>
        </p:nvSpPr>
        <p:spPr bwMode="gray">
          <a:xfrm>
            <a:off x="4167188" y="3386138"/>
            <a:ext cx="1062037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s-AR" sz="1400" noProof="1">
                <a:solidFill>
                  <a:schemeClr val="bg1"/>
                </a:solidFill>
              </a:rPr>
              <a:t>This is a placeholder text. </a:t>
            </a:r>
          </a:p>
        </p:txBody>
      </p:sp>
      <p:sp>
        <p:nvSpPr>
          <p:cNvPr id="10254" name="Textfeld 7"/>
          <p:cNvSpPr txBox="1">
            <a:spLocks noChangeArrowheads="1"/>
          </p:cNvSpPr>
          <p:nvPr/>
        </p:nvSpPr>
        <p:spPr bwMode="gray">
          <a:xfrm>
            <a:off x="155575" y="174625"/>
            <a:ext cx="8988425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de-DE" sz="6000" b="1">
                <a:solidFill>
                  <a:srgbClr val="6B9B1A"/>
                </a:solidFill>
              </a:rPr>
              <a:t>VENN</a:t>
            </a:r>
            <a:r>
              <a:rPr lang="de-DE" sz="6000">
                <a:solidFill>
                  <a:srgbClr val="595959"/>
                </a:solidFill>
              </a:rPr>
              <a:t>DIAGRAM 2</a:t>
            </a:r>
          </a:p>
        </p:txBody>
      </p:sp>
    </p:spTree>
    <p:extLst>
      <p:ext uri="{BB962C8B-B14F-4D97-AF65-F5344CB8AC3E}">
        <p14:creationId xmlns:p14="http://schemas.microsoft.com/office/powerpoint/2010/main" val="34394132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14" name="Group 10"/>
          <p:cNvGrpSpPr>
            <a:grpSpLocks/>
          </p:cNvGrpSpPr>
          <p:nvPr/>
        </p:nvGrpSpPr>
        <p:grpSpPr bwMode="auto">
          <a:xfrm>
            <a:off x="0" y="0"/>
            <a:ext cx="9144000" cy="5948363"/>
            <a:chOff x="0" y="0"/>
            <a:chExt cx="5760" cy="3747"/>
          </a:xfrm>
        </p:grpSpPr>
        <p:sp>
          <p:nvSpPr>
            <p:cNvPr id="13328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13329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13330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13331" name="Rectangle 5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</p:grpSp>
      <p:sp>
        <p:nvSpPr>
          <p:cNvPr id="13315" name="Rectangle 2"/>
          <p:cNvSpPr txBox="1">
            <a:spLocks noChangeArrowheads="1"/>
          </p:cNvSpPr>
          <p:nvPr/>
        </p:nvSpPr>
        <p:spPr bwMode="auto">
          <a:xfrm>
            <a:off x="204788" y="58738"/>
            <a:ext cx="8520112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de-DE" sz="3200" b="1">
                <a:solidFill>
                  <a:schemeClr val="bg1"/>
                </a:solidFill>
              </a:rPr>
              <a:t>Venn Diagram 2</a:t>
            </a:r>
            <a:endParaRPr lang="de-DE" sz="3200" b="1" noProof="1">
              <a:solidFill>
                <a:schemeClr val="bg1"/>
              </a:solidFill>
            </a:endParaRPr>
          </a:p>
        </p:txBody>
      </p:sp>
      <p:pic>
        <p:nvPicPr>
          <p:cNvPr id="13316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038" y="5311775"/>
            <a:ext cx="6394450" cy="73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7" name="Freeform 22"/>
          <p:cNvSpPr>
            <a:spLocks/>
          </p:cNvSpPr>
          <p:nvPr/>
        </p:nvSpPr>
        <p:spPr bwMode="auto">
          <a:xfrm rot="-8100000">
            <a:off x="3168650" y="2863850"/>
            <a:ext cx="1933575" cy="2771775"/>
          </a:xfrm>
          <a:custGeom>
            <a:avLst/>
            <a:gdLst>
              <a:gd name="T0" fmla="*/ 2147483647 w 1104"/>
              <a:gd name="T1" fmla="*/ 0 h 1608"/>
              <a:gd name="T2" fmla="*/ 837425378 w 1104"/>
              <a:gd name="T3" fmla="*/ 0 h 1608"/>
              <a:gd name="T4" fmla="*/ 0 w 1104"/>
              <a:gd name="T5" fmla="*/ 826016530 h 1608"/>
              <a:gd name="T6" fmla="*/ 36809733 w 1104"/>
              <a:gd name="T7" fmla="*/ 2147483647 h 1608"/>
              <a:gd name="T8" fmla="*/ 653376710 w 1104"/>
              <a:gd name="T9" fmla="*/ 2147483647 h 1608"/>
              <a:gd name="T10" fmla="*/ 1984669369 w 1104"/>
              <a:gd name="T11" fmla="*/ 2147483647 h 1608"/>
              <a:gd name="T12" fmla="*/ 2147483647 w 1104"/>
              <a:gd name="T13" fmla="*/ 2147483647 h 1608"/>
              <a:gd name="T14" fmla="*/ 2147483647 w 1104"/>
              <a:gd name="T15" fmla="*/ 2147483647 h 1608"/>
              <a:gd name="T16" fmla="*/ 2147483647 w 1104"/>
              <a:gd name="T17" fmla="*/ 2147483647 h 1608"/>
              <a:gd name="T18" fmla="*/ 2147483647 w 1104"/>
              <a:gd name="T19" fmla="*/ 528888455 h 1608"/>
              <a:gd name="T20" fmla="*/ 2147483647 w 1104"/>
              <a:gd name="T21" fmla="*/ 0 h 160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104"/>
              <a:gd name="T34" fmla="*/ 0 h 1608"/>
              <a:gd name="T35" fmla="*/ 1104 w 1104"/>
              <a:gd name="T36" fmla="*/ 1608 h 160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104" h="1608">
                <a:moveTo>
                  <a:pt x="888" y="0"/>
                </a:moveTo>
                <a:cubicBezTo>
                  <a:pt x="184" y="0"/>
                  <a:pt x="184" y="0"/>
                  <a:pt x="184" y="0"/>
                </a:cubicBezTo>
                <a:cubicBezTo>
                  <a:pt x="184" y="0"/>
                  <a:pt x="0" y="40"/>
                  <a:pt x="0" y="200"/>
                </a:cubicBezTo>
                <a:cubicBezTo>
                  <a:pt x="0" y="360"/>
                  <a:pt x="8" y="952"/>
                  <a:pt x="8" y="952"/>
                </a:cubicBezTo>
                <a:cubicBezTo>
                  <a:pt x="8" y="952"/>
                  <a:pt x="48" y="1160"/>
                  <a:pt x="144" y="1240"/>
                </a:cubicBezTo>
                <a:cubicBezTo>
                  <a:pt x="436" y="1532"/>
                  <a:pt x="436" y="1532"/>
                  <a:pt x="436" y="1532"/>
                </a:cubicBezTo>
                <a:cubicBezTo>
                  <a:pt x="436" y="1532"/>
                  <a:pt x="576" y="1608"/>
                  <a:pt x="680" y="1520"/>
                </a:cubicBezTo>
                <a:cubicBezTo>
                  <a:pt x="960" y="1240"/>
                  <a:pt x="960" y="1240"/>
                  <a:pt x="960" y="1240"/>
                </a:cubicBezTo>
                <a:cubicBezTo>
                  <a:pt x="960" y="1240"/>
                  <a:pt x="1104" y="1072"/>
                  <a:pt x="1088" y="920"/>
                </a:cubicBezTo>
                <a:cubicBezTo>
                  <a:pt x="1064" y="128"/>
                  <a:pt x="1064" y="128"/>
                  <a:pt x="1064" y="128"/>
                </a:cubicBezTo>
                <a:cubicBezTo>
                  <a:pt x="1064" y="128"/>
                  <a:pt x="1056" y="24"/>
                  <a:pt x="888" y="0"/>
                </a:cubicBezTo>
                <a:close/>
              </a:path>
            </a:pathLst>
          </a:custGeom>
          <a:solidFill>
            <a:srgbClr val="69A2E1">
              <a:alpha val="7215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4351" cap="flat" cmpd="sng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es-AR"/>
          </a:p>
        </p:txBody>
      </p:sp>
      <p:sp>
        <p:nvSpPr>
          <p:cNvPr id="13318" name="Freeform 21"/>
          <p:cNvSpPr>
            <a:spLocks/>
          </p:cNvSpPr>
          <p:nvPr/>
        </p:nvSpPr>
        <p:spPr bwMode="auto">
          <a:xfrm rot="2700000">
            <a:off x="4233863" y="1714500"/>
            <a:ext cx="1933575" cy="2771775"/>
          </a:xfrm>
          <a:custGeom>
            <a:avLst/>
            <a:gdLst>
              <a:gd name="T0" fmla="*/ 2147483647 w 1104"/>
              <a:gd name="T1" fmla="*/ 0 h 1608"/>
              <a:gd name="T2" fmla="*/ 837425378 w 1104"/>
              <a:gd name="T3" fmla="*/ 0 h 1608"/>
              <a:gd name="T4" fmla="*/ 0 w 1104"/>
              <a:gd name="T5" fmla="*/ 826016530 h 1608"/>
              <a:gd name="T6" fmla="*/ 36809733 w 1104"/>
              <a:gd name="T7" fmla="*/ 2147483647 h 1608"/>
              <a:gd name="T8" fmla="*/ 653376710 w 1104"/>
              <a:gd name="T9" fmla="*/ 2147483647 h 1608"/>
              <a:gd name="T10" fmla="*/ 1984669369 w 1104"/>
              <a:gd name="T11" fmla="*/ 2147483647 h 1608"/>
              <a:gd name="T12" fmla="*/ 2147483647 w 1104"/>
              <a:gd name="T13" fmla="*/ 2147483647 h 1608"/>
              <a:gd name="T14" fmla="*/ 2147483647 w 1104"/>
              <a:gd name="T15" fmla="*/ 2147483647 h 1608"/>
              <a:gd name="T16" fmla="*/ 2147483647 w 1104"/>
              <a:gd name="T17" fmla="*/ 2147483647 h 1608"/>
              <a:gd name="T18" fmla="*/ 2147483647 w 1104"/>
              <a:gd name="T19" fmla="*/ 528888455 h 1608"/>
              <a:gd name="T20" fmla="*/ 2147483647 w 1104"/>
              <a:gd name="T21" fmla="*/ 0 h 160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104"/>
              <a:gd name="T34" fmla="*/ 0 h 1608"/>
              <a:gd name="T35" fmla="*/ 1104 w 1104"/>
              <a:gd name="T36" fmla="*/ 1608 h 160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104" h="1608">
                <a:moveTo>
                  <a:pt x="888" y="0"/>
                </a:moveTo>
                <a:cubicBezTo>
                  <a:pt x="184" y="0"/>
                  <a:pt x="184" y="0"/>
                  <a:pt x="184" y="0"/>
                </a:cubicBezTo>
                <a:cubicBezTo>
                  <a:pt x="184" y="0"/>
                  <a:pt x="0" y="40"/>
                  <a:pt x="0" y="200"/>
                </a:cubicBezTo>
                <a:cubicBezTo>
                  <a:pt x="0" y="360"/>
                  <a:pt x="8" y="952"/>
                  <a:pt x="8" y="952"/>
                </a:cubicBezTo>
                <a:cubicBezTo>
                  <a:pt x="8" y="952"/>
                  <a:pt x="48" y="1160"/>
                  <a:pt x="144" y="1240"/>
                </a:cubicBezTo>
                <a:cubicBezTo>
                  <a:pt x="436" y="1532"/>
                  <a:pt x="436" y="1532"/>
                  <a:pt x="436" y="1532"/>
                </a:cubicBezTo>
                <a:cubicBezTo>
                  <a:pt x="436" y="1532"/>
                  <a:pt x="576" y="1608"/>
                  <a:pt x="680" y="1520"/>
                </a:cubicBezTo>
                <a:cubicBezTo>
                  <a:pt x="960" y="1240"/>
                  <a:pt x="960" y="1240"/>
                  <a:pt x="960" y="1240"/>
                </a:cubicBezTo>
                <a:cubicBezTo>
                  <a:pt x="960" y="1240"/>
                  <a:pt x="1104" y="1072"/>
                  <a:pt x="1088" y="920"/>
                </a:cubicBezTo>
                <a:cubicBezTo>
                  <a:pt x="1064" y="128"/>
                  <a:pt x="1064" y="128"/>
                  <a:pt x="1064" y="128"/>
                </a:cubicBezTo>
                <a:cubicBezTo>
                  <a:pt x="1064" y="128"/>
                  <a:pt x="1056" y="24"/>
                  <a:pt x="888" y="0"/>
                </a:cubicBezTo>
                <a:close/>
              </a:path>
            </a:pathLst>
          </a:custGeom>
          <a:solidFill>
            <a:srgbClr val="0061B2">
              <a:alpha val="7215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4351" cap="flat" cmpd="sng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es-AR"/>
          </a:p>
        </p:txBody>
      </p:sp>
      <p:sp>
        <p:nvSpPr>
          <p:cNvPr id="13319" name="Freeform 18"/>
          <p:cNvSpPr>
            <a:spLocks/>
          </p:cNvSpPr>
          <p:nvPr/>
        </p:nvSpPr>
        <p:spPr bwMode="auto">
          <a:xfrm rot="-2785570">
            <a:off x="3176588" y="1706563"/>
            <a:ext cx="1933575" cy="2771775"/>
          </a:xfrm>
          <a:custGeom>
            <a:avLst/>
            <a:gdLst>
              <a:gd name="T0" fmla="*/ 2147483647 w 1104"/>
              <a:gd name="T1" fmla="*/ 0 h 1608"/>
              <a:gd name="T2" fmla="*/ 837425378 w 1104"/>
              <a:gd name="T3" fmla="*/ 0 h 1608"/>
              <a:gd name="T4" fmla="*/ 0 w 1104"/>
              <a:gd name="T5" fmla="*/ 826016530 h 1608"/>
              <a:gd name="T6" fmla="*/ 36809733 w 1104"/>
              <a:gd name="T7" fmla="*/ 2147483647 h 1608"/>
              <a:gd name="T8" fmla="*/ 653376710 w 1104"/>
              <a:gd name="T9" fmla="*/ 2147483647 h 1608"/>
              <a:gd name="T10" fmla="*/ 1984669369 w 1104"/>
              <a:gd name="T11" fmla="*/ 2147483647 h 1608"/>
              <a:gd name="T12" fmla="*/ 2147483647 w 1104"/>
              <a:gd name="T13" fmla="*/ 2147483647 h 1608"/>
              <a:gd name="T14" fmla="*/ 2147483647 w 1104"/>
              <a:gd name="T15" fmla="*/ 2147483647 h 1608"/>
              <a:gd name="T16" fmla="*/ 2147483647 w 1104"/>
              <a:gd name="T17" fmla="*/ 2147483647 h 1608"/>
              <a:gd name="T18" fmla="*/ 2147483647 w 1104"/>
              <a:gd name="T19" fmla="*/ 528888455 h 1608"/>
              <a:gd name="T20" fmla="*/ 2147483647 w 1104"/>
              <a:gd name="T21" fmla="*/ 0 h 160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104"/>
              <a:gd name="T34" fmla="*/ 0 h 1608"/>
              <a:gd name="T35" fmla="*/ 1104 w 1104"/>
              <a:gd name="T36" fmla="*/ 1608 h 160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104" h="1608">
                <a:moveTo>
                  <a:pt x="888" y="0"/>
                </a:moveTo>
                <a:cubicBezTo>
                  <a:pt x="184" y="0"/>
                  <a:pt x="184" y="0"/>
                  <a:pt x="184" y="0"/>
                </a:cubicBezTo>
                <a:cubicBezTo>
                  <a:pt x="184" y="0"/>
                  <a:pt x="0" y="40"/>
                  <a:pt x="0" y="200"/>
                </a:cubicBezTo>
                <a:cubicBezTo>
                  <a:pt x="0" y="360"/>
                  <a:pt x="8" y="952"/>
                  <a:pt x="8" y="952"/>
                </a:cubicBezTo>
                <a:cubicBezTo>
                  <a:pt x="8" y="952"/>
                  <a:pt x="48" y="1160"/>
                  <a:pt x="144" y="1240"/>
                </a:cubicBezTo>
                <a:cubicBezTo>
                  <a:pt x="436" y="1532"/>
                  <a:pt x="436" y="1532"/>
                  <a:pt x="436" y="1532"/>
                </a:cubicBezTo>
                <a:cubicBezTo>
                  <a:pt x="436" y="1532"/>
                  <a:pt x="576" y="1608"/>
                  <a:pt x="680" y="1520"/>
                </a:cubicBezTo>
                <a:cubicBezTo>
                  <a:pt x="960" y="1240"/>
                  <a:pt x="960" y="1240"/>
                  <a:pt x="960" y="1240"/>
                </a:cubicBezTo>
                <a:cubicBezTo>
                  <a:pt x="960" y="1240"/>
                  <a:pt x="1104" y="1072"/>
                  <a:pt x="1088" y="920"/>
                </a:cubicBezTo>
                <a:cubicBezTo>
                  <a:pt x="1064" y="128"/>
                  <a:pt x="1064" y="128"/>
                  <a:pt x="1064" y="128"/>
                </a:cubicBezTo>
                <a:cubicBezTo>
                  <a:pt x="1064" y="128"/>
                  <a:pt x="1056" y="24"/>
                  <a:pt x="888" y="0"/>
                </a:cubicBezTo>
                <a:close/>
              </a:path>
            </a:pathLst>
          </a:custGeom>
          <a:solidFill>
            <a:srgbClr val="004074">
              <a:alpha val="7215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4351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AR"/>
          </a:p>
        </p:txBody>
      </p:sp>
      <p:sp>
        <p:nvSpPr>
          <p:cNvPr id="13320" name="Freeform 23"/>
          <p:cNvSpPr>
            <a:spLocks/>
          </p:cNvSpPr>
          <p:nvPr/>
        </p:nvSpPr>
        <p:spPr bwMode="auto">
          <a:xfrm rot="8182408">
            <a:off x="4243388" y="2857500"/>
            <a:ext cx="1931987" cy="2771775"/>
          </a:xfrm>
          <a:custGeom>
            <a:avLst/>
            <a:gdLst>
              <a:gd name="T0" fmla="*/ 2147483647 w 1104"/>
              <a:gd name="T1" fmla="*/ 0 h 1608"/>
              <a:gd name="T2" fmla="*/ 832989145 w 1104"/>
              <a:gd name="T3" fmla="*/ 0 h 1608"/>
              <a:gd name="T4" fmla="*/ 0 w 1104"/>
              <a:gd name="T5" fmla="*/ 826016530 h 1608"/>
              <a:gd name="T6" fmla="*/ 36749753 w 1104"/>
              <a:gd name="T7" fmla="*/ 2147483647 h 1608"/>
              <a:gd name="T8" fmla="*/ 652302861 w 1104"/>
              <a:gd name="T9" fmla="*/ 2147483647 h 1608"/>
              <a:gd name="T10" fmla="*/ 1972222729 w 1104"/>
              <a:gd name="T11" fmla="*/ 2147483647 h 1608"/>
              <a:gd name="T12" fmla="*/ 2147483647 w 1104"/>
              <a:gd name="T13" fmla="*/ 2147483647 h 1608"/>
              <a:gd name="T14" fmla="*/ 2147483647 w 1104"/>
              <a:gd name="T15" fmla="*/ 2147483647 h 1608"/>
              <a:gd name="T16" fmla="*/ 2147483647 w 1104"/>
              <a:gd name="T17" fmla="*/ 2147483647 h 1608"/>
              <a:gd name="T18" fmla="*/ 2147483647 w 1104"/>
              <a:gd name="T19" fmla="*/ 528888455 h 1608"/>
              <a:gd name="T20" fmla="*/ 2147483647 w 1104"/>
              <a:gd name="T21" fmla="*/ 0 h 160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104"/>
              <a:gd name="T34" fmla="*/ 0 h 1608"/>
              <a:gd name="T35" fmla="*/ 1104 w 1104"/>
              <a:gd name="T36" fmla="*/ 1608 h 160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104" h="1608">
                <a:moveTo>
                  <a:pt x="888" y="0"/>
                </a:moveTo>
                <a:cubicBezTo>
                  <a:pt x="184" y="0"/>
                  <a:pt x="184" y="0"/>
                  <a:pt x="184" y="0"/>
                </a:cubicBezTo>
                <a:cubicBezTo>
                  <a:pt x="184" y="0"/>
                  <a:pt x="0" y="40"/>
                  <a:pt x="0" y="200"/>
                </a:cubicBezTo>
                <a:cubicBezTo>
                  <a:pt x="0" y="360"/>
                  <a:pt x="8" y="952"/>
                  <a:pt x="8" y="952"/>
                </a:cubicBezTo>
                <a:cubicBezTo>
                  <a:pt x="8" y="952"/>
                  <a:pt x="48" y="1160"/>
                  <a:pt x="144" y="1240"/>
                </a:cubicBezTo>
                <a:cubicBezTo>
                  <a:pt x="436" y="1532"/>
                  <a:pt x="436" y="1532"/>
                  <a:pt x="436" y="1532"/>
                </a:cubicBezTo>
                <a:cubicBezTo>
                  <a:pt x="436" y="1532"/>
                  <a:pt x="576" y="1608"/>
                  <a:pt x="680" y="1520"/>
                </a:cubicBezTo>
                <a:cubicBezTo>
                  <a:pt x="960" y="1240"/>
                  <a:pt x="960" y="1240"/>
                  <a:pt x="960" y="1240"/>
                </a:cubicBezTo>
                <a:cubicBezTo>
                  <a:pt x="960" y="1240"/>
                  <a:pt x="1104" y="1072"/>
                  <a:pt x="1088" y="920"/>
                </a:cubicBezTo>
                <a:cubicBezTo>
                  <a:pt x="1064" y="128"/>
                  <a:pt x="1064" y="128"/>
                  <a:pt x="1064" y="128"/>
                </a:cubicBezTo>
                <a:cubicBezTo>
                  <a:pt x="1064" y="128"/>
                  <a:pt x="1056" y="24"/>
                  <a:pt x="888" y="0"/>
                </a:cubicBezTo>
                <a:close/>
              </a:path>
            </a:pathLst>
          </a:custGeom>
          <a:solidFill>
            <a:srgbClr val="2A79D0">
              <a:alpha val="7215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4351" cap="flat" cmpd="sng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es-AR"/>
          </a:p>
        </p:txBody>
      </p:sp>
      <p:sp>
        <p:nvSpPr>
          <p:cNvPr id="82969" name="AutoShape 25"/>
          <p:cNvSpPr>
            <a:spLocks noChangeArrowheads="1"/>
          </p:cNvSpPr>
          <p:nvPr/>
        </p:nvSpPr>
        <p:spPr bwMode="auto">
          <a:xfrm>
            <a:off x="4121150" y="3119438"/>
            <a:ext cx="1103313" cy="1104900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285EA0"/>
              </a:gs>
              <a:gs pos="50000">
                <a:schemeClr val="accent1"/>
              </a:gs>
              <a:gs pos="100000">
                <a:srgbClr val="285EA0"/>
              </a:gs>
            </a:gsLst>
            <a:lin ang="0" scaled="1"/>
          </a:gra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13322" name="Text Box 19"/>
          <p:cNvSpPr txBox="1">
            <a:spLocks noChangeArrowheads="1"/>
          </p:cNvSpPr>
          <p:nvPr/>
        </p:nvSpPr>
        <p:spPr bwMode="gray">
          <a:xfrm rot="-2922815">
            <a:off x="2634456" y="2243932"/>
            <a:ext cx="1706563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s-AR" sz="1600" noProof="1">
                <a:solidFill>
                  <a:schemeClr val="bg1"/>
                </a:solidFill>
              </a:rPr>
              <a:t>This is a placeholder text. </a:t>
            </a:r>
          </a:p>
        </p:txBody>
      </p:sp>
      <p:sp>
        <p:nvSpPr>
          <p:cNvPr id="13323" name="Text Box 19"/>
          <p:cNvSpPr txBox="1">
            <a:spLocks noChangeArrowheads="1"/>
          </p:cNvSpPr>
          <p:nvPr/>
        </p:nvSpPr>
        <p:spPr bwMode="gray">
          <a:xfrm rot="2700000">
            <a:off x="4961732" y="2201069"/>
            <a:ext cx="1706562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s-AR" sz="1600" noProof="1">
                <a:solidFill>
                  <a:schemeClr val="bg1"/>
                </a:solidFill>
              </a:rPr>
              <a:t>This is a placeholder text. </a:t>
            </a:r>
          </a:p>
        </p:txBody>
      </p:sp>
      <p:sp>
        <p:nvSpPr>
          <p:cNvPr id="13324" name="Text Box 19"/>
          <p:cNvSpPr txBox="1">
            <a:spLocks noChangeArrowheads="1"/>
          </p:cNvSpPr>
          <p:nvPr/>
        </p:nvSpPr>
        <p:spPr bwMode="gray">
          <a:xfrm rot="2700000">
            <a:off x="2696369" y="4626769"/>
            <a:ext cx="1706562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s-AR" sz="1600" noProof="1">
                <a:solidFill>
                  <a:schemeClr val="bg1"/>
                </a:solidFill>
              </a:rPr>
              <a:t>This is a placeholder text. </a:t>
            </a:r>
          </a:p>
        </p:txBody>
      </p:sp>
      <p:sp>
        <p:nvSpPr>
          <p:cNvPr id="13325" name="Text Box 19"/>
          <p:cNvSpPr txBox="1">
            <a:spLocks noChangeArrowheads="1"/>
          </p:cNvSpPr>
          <p:nvPr/>
        </p:nvSpPr>
        <p:spPr bwMode="gray">
          <a:xfrm rot="-2588827">
            <a:off x="5037138" y="4665663"/>
            <a:ext cx="1706562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s-AR" sz="1600" noProof="1">
                <a:solidFill>
                  <a:schemeClr val="bg1"/>
                </a:solidFill>
              </a:rPr>
              <a:t>This is a placeholder text. </a:t>
            </a:r>
          </a:p>
        </p:txBody>
      </p:sp>
      <p:sp>
        <p:nvSpPr>
          <p:cNvPr id="13326" name="Text Box 19"/>
          <p:cNvSpPr txBox="1">
            <a:spLocks noChangeArrowheads="1"/>
          </p:cNvSpPr>
          <p:nvPr/>
        </p:nvSpPr>
        <p:spPr bwMode="gray">
          <a:xfrm>
            <a:off x="4167188" y="3386138"/>
            <a:ext cx="1062037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s-AR" sz="1400" noProof="1">
                <a:solidFill>
                  <a:schemeClr val="bg1"/>
                </a:solidFill>
              </a:rPr>
              <a:t>This is a placeholder text. </a:t>
            </a:r>
          </a:p>
        </p:txBody>
      </p:sp>
      <p:sp>
        <p:nvSpPr>
          <p:cNvPr id="13327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s-AR" noProof="1">
                <a:solidFill>
                  <a:schemeClr val="bg1"/>
                </a:solidFill>
              </a:rPr>
              <a:t>Placeholder for your own sub headline</a:t>
            </a:r>
          </a:p>
        </p:txBody>
      </p:sp>
    </p:spTree>
    <p:extLst>
      <p:ext uri="{BB962C8B-B14F-4D97-AF65-F5344CB8AC3E}">
        <p14:creationId xmlns:p14="http://schemas.microsoft.com/office/powerpoint/2010/main" val="2771077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38" name="Group 23"/>
          <p:cNvGrpSpPr>
            <a:grpSpLocks/>
          </p:cNvGrpSpPr>
          <p:nvPr/>
        </p:nvGrpSpPr>
        <p:grpSpPr bwMode="auto">
          <a:xfrm>
            <a:off x="0" y="3160713"/>
            <a:ext cx="9144000" cy="1676400"/>
            <a:chOff x="0" y="2086"/>
            <a:chExt cx="5760" cy="1056"/>
          </a:xfrm>
        </p:grpSpPr>
        <p:sp>
          <p:nvSpPr>
            <p:cNvPr id="14365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/>
            </a:p>
          </p:txBody>
        </p:sp>
        <p:sp>
          <p:nvSpPr>
            <p:cNvPr id="14366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/>
            </a:p>
          </p:txBody>
        </p:sp>
      </p:grpSp>
      <p:pic>
        <p:nvPicPr>
          <p:cNvPr id="14339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976688" y="5572125"/>
            <a:ext cx="46085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0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950" y="4862513"/>
            <a:ext cx="4608513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341" name="Group 7"/>
          <p:cNvGrpSpPr>
            <a:grpSpLocks/>
          </p:cNvGrpSpPr>
          <p:nvPr/>
        </p:nvGrpSpPr>
        <p:grpSpPr bwMode="auto">
          <a:xfrm>
            <a:off x="468313" y="2284413"/>
            <a:ext cx="4110037" cy="2749550"/>
            <a:chOff x="295" y="1439"/>
            <a:chExt cx="2589" cy="1732"/>
          </a:xfrm>
        </p:grpSpPr>
        <p:sp>
          <p:nvSpPr>
            <p:cNvPr id="4" name="Sechseck 3"/>
            <p:cNvSpPr>
              <a:spLocks noChangeArrowheads="1"/>
            </p:cNvSpPr>
            <p:nvPr/>
          </p:nvSpPr>
          <p:spPr bwMode="gray">
            <a:xfrm>
              <a:off x="1096" y="1439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adFill rotWithShape="1">
              <a:gsLst>
                <a:gs pos="0">
                  <a:srgbClr val="90BA45"/>
                </a:gs>
                <a:gs pos="100000">
                  <a:srgbClr val="B2CF7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  <a:cs typeface="+mn-cs"/>
              </a:endParaRPr>
            </a:p>
          </p:txBody>
        </p:sp>
        <p:sp>
          <p:nvSpPr>
            <p:cNvPr id="5" name="Sechseck 4"/>
            <p:cNvSpPr>
              <a:spLocks noChangeArrowheads="1"/>
            </p:cNvSpPr>
            <p:nvPr/>
          </p:nvSpPr>
          <p:spPr bwMode="gray">
            <a:xfrm>
              <a:off x="1096" y="2318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adFill rotWithShape="1">
              <a:gsLst>
                <a:gs pos="0">
                  <a:srgbClr val="90BA45"/>
                </a:gs>
                <a:gs pos="100000">
                  <a:srgbClr val="B2CF7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  <a:cs typeface="+mn-cs"/>
              </a:endParaRPr>
            </a:p>
          </p:txBody>
        </p:sp>
        <p:sp>
          <p:nvSpPr>
            <p:cNvPr id="6" name="Sechseck 5"/>
            <p:cNvSpPr>
              <a:spLocks noChangeArrowheads="1"/>
            </p:cNvSpPr>
            <p:nvPr/>
          </p:nvSpPr>
          <p:spPr bwMode="gray">
            <a:xfrm flipH="1">
              <a:off x="1894" y="1874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adFill rotWithShape="1">
              <a:gsLst>
                <a:gs pos="0">
                  <a:srgbClr val="90BA45"/>
                </a:gs>
                <a:gs pos="100000">
                  <a:srgbClr val="B2CF7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  <a:cs typeface="+mn-cs"/>
              </a:endParaRPr>
            </a:p>
          </p:txBody>
        </p:sp>
        <p:sp>
          <p:nvSpPr>
            <p:cNvPr id="7" name="Sechseck 6"/>
            <p:cNvSpPr>
              <a:spLocks noChangeArrowheads="1"/>
            </p:cNvSpPr>
            <p:nvPr/>
          </p:nvSpPr>
          <p:spPr bwMode="gray">
            <a:xfrm>
              <a:off x="295" y="1874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adFill rotWithShape="1">
              <a:gsLst>
                <a:gs pos="0">
                  <a:srgbClr val="90BA45"/>
                </a:gs>
                <a:gs pos="100000">
                  <a:srgbClr val="B2CF7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14342" name="Group 12"/>
          <p:cNvGrpSpPr>
            <a:grpSpLocks/>
          </p:cNvGrpSpPr>
          <p:nvPr/>
        </p:nvGrpSpPr>
        <p:grpSpPr bwMode="auto">
          <a:xfrm>
            <a:off x="4368800" y="3043238"/>
            <a:ext cx="4110038" cy="2749550"/>
            <a:chOff x="2752" y="1917"/>
            <a:chExt cx="2589" cy="1732"/>
          </a:xfrm>
        </p:grpSpPr>
        <p:sp>
          <p:nvSpPr>
            <p:cNvPr id="12" name="Sechseck 11"/>
            <p:cNvSpPr>
              <a:spLocks noChangeArrowheads="1"/>
            </p:cNvSpPr>
            <p:nvPr/>
          </p:nvSpPr>
          <p:spPr bwMode="gray">
            <a:xfrm>
              <a:off x="3553" y="1917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adFill rotWithShape="1">
              <a:gsLst>
                <a:gs pos="0">
                  <a:srgbClr val="4C7013"/>
                </a:gs>
                <a:gs pos="100000">
                  <a:srgbClr val="6B9B1A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  <a:cs typeface="+mn-cs"/>
              </a:endParaRPr>
            </a:p>
          </p:txBody>
        </p:sp>
        <p:sp>
          <p:nvSpPr>
            <p:cNvPr id="13" name="Sechseck 12"/>
            <p:cNvSpPr>
              <a:spLocks noChangeArrowheads="1"/>
            </p:cNvSpPr>
            <p:nvPr/>
          </p:nvSpPr>
          <p:spPr bwMode="gray">
            <a:xfrm>
              <a:off x="3553" y="2796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adFill rotWithShape="1">
              <a:gsLst>
                <a:gs pos="0">
                  <a:srgbClr val="4C7013"/>
                </a:gs>
                <a:gs pos="100000">
                  <a:srgbClr val="6B9B1A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  <a:cs typeface="+mn-cs"/>
              </a:endParaRPr>
            </a:p>
          </p:txBody>
        </p:sp>
        <p:sp>
          <p:nvSpPr>
            <p:cNvPr id="14" name="Sechseck 13"/>
            <p:cNvSpPr>
              <a:spLocks noChangeArrowheads="1"/>
            </p:cNvSpPr>
            <p:nvPr/>
          </p:nvSpPr>
          <p:spPr bwMode="gray">
            <a:xfrm flipH="1">
              <a:off x="4351" y="2352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adFill rotWithShape="1">
              <a:gsLst>
                <a:gs pos="0">
                  <a:srgbClr val="4C7013"/>
                </a:gs>
                <a:gs pos="100000">
                  <a:srgbClr val="6B9B1A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  <a:cs typeface="+mn-cs"/>
              </a:endParaRPr>
            </a:p>
          </p:txBody>
        </p:sp>
        <p:sp>
          <p:nvSpPr>
            <p:cNvPr id="15" name="Sechseck 14"/>
            <p:cNvSpPr>
              <a:spLocks noChangeArrowheads="1"/>
            </p:cNvSpPr>
            <p:nvPr/>
          </p:nvSpPr>
          <p:spPr bwMode="gray">
            <a:xfrm>
              <a:off x="2752" y="2352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adFill rotWithShape="1">
              <a:gsLst>
                <a:gs pos="0">
                  <a:srgbClr val="4C7013"/>
                </a:gs>
                <a:gs pos="100000">
                  <a:srgbClr val="6B9B1A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4343" name="Text Box 19"/>
          <p:cNvSpPr txBox="1">
            <a:spLocks noChangeArrowheads="1"/>
          </p:cNvSpPr>
          <p:nvPr/>
        </p:nvSpPr>
        <p:spPr bwMode="gray">
          <a:xfrm>
            <a:off x="5162550" y="2605088"/>
            <a:ext cx="244792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s-AR" sz="1600" noProof="1"/>
              <a:t>This is a placeholder text. </a:t>
            </a:r>
          </a:p>
        </p:txBody>
      </p:sp>
      <p:sp>
        <p:nvSpPr>
          <p:cNvPr id="14344" name="Text Box 19"/>
          <p:cNvSpPr txBox="1">
            <a:spLocks noChangeArrowheads="1"/>
          </p:cNvSpPr>
          <p:nvPr/>
        </p:nvSpPr>
        <p:spPr bwMode="gray">
          <a:xfrm>
            <a:off x="1327150" y="5238750"/>
            <a:ext cx="244792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s-AR" sz="1600" noProof="1"/>
              <a:t>This is a placeholder text. </a:t>
            </a:r>
          </a:p>
        </p:txBody>
      </p:sp>
      <p:grpSp>
        <p:nvGrpSpPr>
          <p:cNvPr id="14345" name="Group 19"/>
          <p:cNvGrpSpPr>
            <a:grpSpLocks/>
          </p:cNvGrpSpPr>
          <p:nvPr/>
        </p:nvGrpSpPr>
        <p:grpSpPr bwMode="auto">
          <a:xfrm>
            <a:off x="577850" y="2597150"/>
            <a:ext cx="3878263" cy="2130425"/>
            <a:chOff x="364" y="1636"/>
            <a:chExt cx="2443" cy="1342"/>
          </a:xfrm>
        </p:grpSpPr>
        <p:sp>
          <p:nvSpPr>
            <p:cNvPr id="14353" name="Text Box 19"/>
            <p:cNvSpPr txBox="1">
              <a:spLocks noChangeArrowheads="1"/>
            </p:cNvSpPr>
            <p:nvPr/>
          </p:nvSpPr>
          <p:spPr bwMode="gray">
            <a:xfrm>
              <a:off x="1168" y="1636"/>
              <a:ext cx="846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</a:pPr>
              <a:r>
                <a:rPr lang="es-AR" sz="1600" noProof="1"/>
                <a:t>This is a placeholder text. </a:t>
              </a:r>
            </a:p>
          </p:txBody>
        </p:sp>
        <p:sp>
          <p:nvSpPr>
            <p:cNvPr id="14354" name="Text Box 19"/>
            <p:cNvSpPr txBox="1">
              <a:spLocks noChangeArrowheads="1"/>
            </p:cNvSpPr>
            <p:nvPr/>
          </p:nvSpPr>
          <p:spPr bwMode="gray">
            <a:xfrm>
              <a:off x="1167" y="2516"/>
              <a:ext cx="846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</a:pPr>
              <a:r>
                <a:rPr lang="es-AR" sz="1600" noProof="1"/>
                <a:t>This is a placeholder text. </a:t>
              </a:r>
            </a:p>
          </p:txBody>
        </p:sp>
        <p:sp>
          <p:nvSpPr>
            <p:cNvPr id="14355" name="Text Box 19"/>
            <p:cNvSpPr txBox="1">
              <a:spLocks noChangeArrowheads="1"/>
            </p:cNvSpPr>
            <p:nvPr/>
          </p:nvSpPr>
          <p:spPr bwMode="gray">
            <a:xfrm>
              <a:off x="364" y="2069"/>
              <a:ext cx="846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</a:pPr>
              <a:r>
                <a:rPr lang="es-AR" sz="1600" noProof="1"/>
                <a:t>This is a placeholder text. </a:t>
              </a:r>
            </a:p>
          </p:txBody>
        </p:sp>
        <p:sp>
          <p:nvSpPr>
            <p:cNvPr id="14356" name="Text Box 19"/>
            <p:cNvSpPr txBox="1">
              <a:spLocks noChangeArrowheads="1"/>
            </p:cNvSpPr>
            <p:nvPr/>
          </p:nvSpPr>
          <p:spPr bwMode="gray">
            <a:xfrm>
              <a:off x="1961" y="2069"/>
              <a:ext cx="846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</a:pPr>
              <a:r>
                <a:rPr lang="es-AR" sz="1600" noProof="1"/>
                <a:t>This is a placeholder text. </a:t>
              </a:r>
            </a:p>
          </p:txBody>
        </p:sp>
      </p:grpSp>
      <p:grpSp>
        <p:nvGrpSpPr>
          <p:cNvPr id="14346" name="Group 24"/>
          <p:cNvGrpSpPr>
            <a:grpSpLocks/>
          </p:cNvGrpSpPr>
          <p:nvPr/>
        </p:nvGrpSpPr>
        <p:grpSpPr bwMode="auto">
          <a:xfrm>
            <a:off x="4529138" y="3360738"/>
            <a:ext cx="3794125" cy="2135187"/>
            <a:chOff x="2853" y="2117"/>
            <a:chExt cx="2390" cy="1345"/>
          </a:xfrm>
        </p:grpSpPr>
        <p:sp>
          <p:nvSpPr>
            <p:cNvPr id="14349" name="Text Box 19"/>
            <p:cNvSpPr txBox="1">
              <a:spLocks noChangeArrowheads="1"/>
            </p:cNvSpPr>
            <p:nvPr/>
          </p:nvSpPr>
          <p:spPr bwMode="gray">
            <a:xfrm>
              <a:off x="2853" y="2539"/>
              <a:ext cx="800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  <p:sp>
          <p:nvSpPr>
            <p:cNvPr id="14350" name="Text Box 19"/>
            <p:cNvSpPr txBox="1">
              <a:spLocks noChangeArrowheads="1"/>
            </p:cNvSpPr>
            <p:nvPr/>
          </p:nvSpPr>
          <p:spPr bwMode="gray">
            <a:xfrm>
              <a:off x="3647" y="2117"/>
              <a:ext cx="800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  <p:sp>
          <p:nvSpPr>
            <p:cNvPr id="14351" name="Text Box 19"/>
            <p:cNvSpPr txBox="1">
              <a:spLocks noChangeArrowheads="1"/>
            </p:cNvSpPr>
            <p:nvPr/>
          </p:nvSpPr>
          <p:spPr bwMode="gray">
            <a:xfrm>
              <a:off x="3647" y="3000"/>
              <a:ext cx="800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  <p:sp>
          <p:nvSpPr>
            <p:cNvPr id="14352" name="Text Box 19"/>
            <p:cNvSpPr txBox="1">
              <a:spLocks noChangeArrowheads="1"/>
            </p:cNvSpPr>
            <p:nvPr/>
          </p:nvSpPr>
          <p:spPr bwMode="gray">
            <a:xfrm>
              <a:off x="4443" y="2546"/>
              <a:ext cx="800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</p:grpSp>
      <p:sp>
        <p:nvSpPr>
          <p:cNvPr id="14347" name="Textfeld 7"/>
          <p:cNvSpPr txBox="1">
            <a:spLocks noChangeArrowheads="1"/>
          </p:cNvSpPr>
          <p:nvPr/>
        </p:nvSpPr>
        <p:spPr bwMode="gray">
          <a:xfrm>
            <a:off x="155575" y="174625"/>
            <a:ext cx="8988425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de-DE" sz="6000" b="1">
                <a:solidFill>
                  <a:srgbClr val="6B9B1A"/>
                </a:solidFill>
              </a:rPr>
              <a:t>COMB</a:t>
            </a:r>
            <a:r>
              <a:rPr lang="de-DE" sz="6000">
                <a:solidFill>
                  <a:srgbClr val="595959"/>
                </a:solidFill>
              </a:rPr>
              <a:t>CHART</a:t>
            </a:r>
          </a:p>
        </p:txBody>
      </p:sp>
    </p:spTree>
    <p:extLst>
      <p:ext uri="{BB962C8B-B14F-4D97-AF65-F5344CB8AC3E}">
        <p14:creationId xmlns:p14="http://schemas.microsoft.com/office/powerpoint/2010/main" val="4349322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62" name="Group 10"/>
          <p:cNvGrpSpPr>
            <a:grpSpLocks/>
          </p:cNvGrpSpPr>
          <p:nvPr/>
        </p:nvGrpSpPr>
        <p:grpSpPr bwMode="auto">
          <a:xfrm>
            <a:off x="0" y="-11113"/>
            <a:ext cx="9144000" cy="5948363"/>
            <a:chOff x="0" y="0"/>
            <a:chExt cx="5760" cy="3747"/>
          </a:xfrm>
        </p:grpSpPr>
        <p:sp>
          <p:nvSpPr>
            <p:cNvPr id="15390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15391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15392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15393" name="Rectangle 5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</p:grpSp>
      <p:sp>
        <p:nvSpPr>
          <p:cNvPr id="15363" name="Rectangle 2"/>
          <p:cNvSpPr txBox="1">
            <a:spLocks noChangeArrowheads="1"/>
          </p:cNvSpPr>
          <p:nvPr/>
        </p:nvSpPr>
        <p:spPr bwMode="gray">
          <a:xfrm>
            <a:off x="204788" y="58738"/>
            <a:ext cx="8520112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sz="3200" b="1">
                <a:solidFill>
                  <a:schemeClr val="bg1"/>
                </a:solidFill>
              </a:rPr>
              <a:t>Comb Chart</a:t>
            </a:r>
          </a:p>
        </p:txBody>
      </p:sp>
      <p:pic>
        <p:nvPicPr>
          <p:cNvPr id="15364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976688" y="5572125"/>
            <a:ext cx="460851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5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7950" y="4862513"/>
            <a:ext cx="4608513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66" name="Group 10"/>
          <p:cNvGrpSpPr>
            <a:grpSpLocks/>
          </p:cNvGrpSpPr>
          <p:nvPr/>
        </p:nvGrpSpPr>
        <p:grpSpPr bwMode="auto">
          <a:xfrm>
            <a:off x="468313" y="2284413"/>
            <a:ext cx="4110037" cy="2749550"/>
            <a:chOff x="295" y="1439"/>
            <a:chExt cx="2589" cy="1732"/>
          </a:xfrm>
        </p:grpSpPr>
        <p:sp>
          <p:nvSpPr>
            <p:cNvPr id="4" name="Sechseck 3"/>
            <p:cNvSpPr>
              <a:spLocks noChangeArrowheads="1"/>
            </p:cNvSpPr>
            <p:nvPr/>
          </p:nvSpPr>
          <p:spPr bwMode="gray">
            <a:xfrm>
              <a:off x="1096" y="1439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adFill rotWithShape="1">
              <a:gsLst>
                <a:gs pos="0">
                  <a:srgbClr val="69A2E1"/>
                </a:gs>
                <a:gs pos="100000">
                  <a:srgbClr val="9DC2EB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  <a:cs typeface="+mn-cs"/>
              </a:endParaRPr>
            </a:p>
          </p:txBody>
        </p:sp>
        <p:sp>
          <p:nvSpPr>
            <p:cNvPr id="5" name="Sechseck 4"/>
            <p:cNvSpPr>
              <a:spLocks noChangeArrowheads="1"/>
            </p:cNvSpPr>
            <p:nvPr/>
          </p:nvSpPr>
          <p:spPr bwMode="gray">
            <a:xfrm>
              <a:off x="1096" y="2318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adFill rotWithShape="1">
              <a:gsLst>
                <a:gs pos="0">
                  <a:srgbClr val="69A2E1"/>
                </a:gs>
                <a:gs pos="100000">
                  <a:srgbClr val="9DC2EB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  <a:cs typeface="+mn-cs"/>
              </a:endParaRPr>
            </a:p>
          </p:txBody>
        </p:sp>
        <p:sp>
          <p:nvSpPr>
            <p:cNvPr id="6" name="Sechseck 5"/>
            <p:cNvSpPr>
              <a:spLocks noChangeArrowheads="1"/>
            </p:cNvSpPr>
            <p:nvPr/>
          </p:nvSpPr>
          <p:spPr bwMode="gray">
            <a:xfrm flipH="1">
              <a:off x="1894" y="1874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adFill rotWithShape="1">
              <a:gsLst>
                <a:gs pos="0">
                  <a:srgbClr val="69A2E1"/>
                </a:gs>
                <a:gs pos="100000">
                  <a:srgbClr val="9DC2EB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  <a:cs typeface="+mn-cs"/>
              </a:endParaRPr>
            </a:p>
          </p:txBody>
        </p:sp>
        <p:sp>
          <p:nvSpPr>
            <p:cNvPr id="7" name="Sechseck 6"/>
            <p:cNvSpPr>
              <a:spLocks noChangeArrowheads="1"/>
            </p:cNvSpPr>
            <p:nvPr/>
          </p:nvSpPr>
          <p:spPr bwMode="gray">
            <a:xfrm>
              <a:off x="295" y="1874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adFill rotWithShape="1">
              <a:gsLst>
                <a:gs pos="0">
                  <a:srgbClr val="69A2E1"/>
                </a:gs>
                <a:gs pos="100000">
                  <a:srgbClr val="9DC2EB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15367" name="Group 15"/>
          <p:cNvGrpSpPr>
            <a:grpSpLocks/>
          </p:cNvGrpSpPr>
          <p:nvPr/>
        </p:nvGrpSpPr>
        <p:grpSpPr bwMode="auto">
          <a:xfrm>
            <a:off x="4368800" y="3043238"/>
            <a:ext cx="4110038" cy="2749550"/>
            <a:chOff x="2752" y="1917"/>
            <a:chExt cx="2589" cy="1732"/>
          </a:xfrm>
        </p:grpSpPr>
        <p:sp>
          <p:nvSpPr>
            <p:cNvPr id="12" name="Sechseck 11"/>
            <p:cNvSpPr>
              <a:spLocks noChangeArrowheads="1"/>
            </p:cNvSpPr>
            <p:nvPr/>
          </p:nvSpPr>
          <p:spPr bwMode="gray">
            <a:xfrm>
              <a:off x="3553" y="1917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adFill rotWithShape="1">
              <a:gsLst>
                <a:gs pos="0">
                  <a:srgbClr val="0061B2"/>
                </a:gs>
                <a:gs pos="100000">
                  <a:srgbClr val="69A2E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  <a:cs typeface="+mn-cs"/>
              </a:endParaRPr>
            </a:p>
          </p:txBody>
        </p:sp>
        <p:sp>
          <p:nvSpPr>
            <p:cNvPr id="13" name="Sechseck 12"/>
            <p:cNvSpPr>
              <a:spLocks noChangeArrowheads="1"/>
            </p:cNvSpPr>
            <p:nvPr/>
          </p:nvSpPr>
          <p:spPr bwMode="gray">
            <a:xfrm>
              <a:off x="3553" y="2796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adFill rotWithShape="1">
              <a:gsLst>
                <a:gs pos="0">
                  <a:srgbClr val="0061B2"/>
                </a:gs>
                <a:gs pos="100000">
                  <a:srgbClr val="69A2E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  <a:cs typeface="+mn-cs"/>
              </a:endParaRPr>
            </a:p>
          </p:txBody>
        </p:sp>
        <p:sp>
          <p:nvSpPr>
            <p:cNvPr id="14" name="Sechseck 13"/>
            <p:cNvSpPr>
              <a:spLocks noChangeArrowheads="1"/>
            </p:cNvSpPr>
            <p:nvPr/>
          </p:nvSpPr>
          <p:spPr bwMode="gray">
            <a:xfrm flipH="1">
              <a:off x="4351" y="2352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adFill rotWithShape="1">
              <a:gsLst>
                <a:gs pos="0">
                  <a:srgbClr val="0061B2"/>
                </a:gs>
                <a:gs pos="100000">
                  <a:srgbClr val="69A2E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  <a:cs typeface="+mn-cs"/>
              </a:endParaRPr>
            </a:p>
          </p:txBody>
        </p:sp>
        <p:sp>
          <p:nvSpPr>
            <p:cNvPr id="15" name="Sechseck 14"/>
            <p:cNvSpPr>
              <a:spLocks noChangeArrowheads="1"/>
            </p:cNvSpPr>
            <p:nvPr/>
          </p:nvSpPr>
          <p:spPr bwMode="gray">
            <a:xfrm>
              <a:off x="2752" y="2352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adFill rotWithShape="1">
              <a:gsLst>
                <a:gs pos="0">
                  <a:srgbClr val="0061B2"/>
                </a:gs>
                <a:gs pos="100000">
                  <a:srgbClr val="69A2E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5368" name="Text Box 19"/>
          <p:cNvSpPr txBox="1">
            <a:spLocks noChangeArrowheads="1"/>
          </p:cNvSpPr>
          <p:nvPr/>
        </p:nvSpPr>
        <p:spPr bwMode="gray">
          <a:xfrm>
            <a:off x="5162550" y="2605088"/>
            <a:ext cx="244792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s-AR" sz="1600" noProof="1">
                <a:solidFill>
                  <a:schemeClr val="bg1"/>
                </a:solidFill>
              </a:rPr>
              <a:t>This is a placeholder text. </a:t>
            </a:r>
          </a:p>
        </p:txBody>
      </p:sp>
      <p:sp>
        <p:nvSpPr>
          <p:cNvPr id="15369" name="Text Box 19"/>
          <p:cNvSpPr txBox="1">
            <a:spLocks noChangeArrowheads="1"/>
          </p:cNvSpPr>
          <p:nvPr/>
        </p:nvSpPr>
        <p:spPr bwMode="gray">
          <a:xfrm>
            <a:off x="1327150" y="5238750"/>
            <a:ext cx="244792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s-AR" sz="1600" noProof="1"/>
              <a:t>This is a placeholder text. </a:t>
            </a:r>
          </a:p>
        </p:txBody>
      </p:sp>
      <p:grpSp>
        <p:nvGrpSpPr>
          <p:cNvPr id="15370" name="Group 22"/>
          <p:cNvGrpSpPr>
            <a:grpSpLocks/>
          </p:cNvGrpSpPr>
          <p:nvPr/>
        </p:nvGrpSpPr>
        <p:grpSpPr bwMode="auto">
          <a:xfrm>
            <a:off x="577850" y="2597150"/>
            <a:ext cx="3878263" cy="2130425"/>
            <a:chOff x="364" y="1636"/>
            <a:chExt cx="2443" cy="1342"/>
          </a:xfrm>
        </p:grpSpPr>
        <p:sp>
          <p:nvSpPr>
            <p:cNvPr id="15378" name="Text Box 19"/>
            <p:cNvSpPr txBox="1">
              <a:spLocks noChangeArrowheads="1"/>
            </p:cNvSpPr>
            <p:nvPr/>
          </p:nvSpPr>
          <p:spPr bwMode="gray">
            <a:xfrm>
              <a:off x="1168" y="1636"/>
              <a:ext cx="846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</a:pPr>
              <a:r>
                <a:rPr lang="es-AR" sz="1600" noProof="1"/>
                <a:t>This is a placeholder text. </a:t>
              </a:r>
            </a:p>
          </p:txBody>
        </p:sp>
        <p:sp>
          <p:nvSpPr>
            <p:cNvPr id="15379" name="Text Box 19"/>
            <p:cNvSpPr txBox="1">
              <a:spLocks noChangeArrowheads="1"/>
            </p:cNvSpPr>
            <p:nvPr/>
          </p:nvSpPr>
          <p:spPr bwMode="gray">
            <a:xfrm>
              <a:off x="1167" y="2516"/>
              <a:ext cx="846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</a:pPr>
              <a:r>
                <a:rPr lang="es-AR" sz="1600" noProof="1"/>
                <a:t>This is a placeholder text. </a:t>
              </a:r>
            </a:p>
          </p:txBody>
        </p:sp>
        <p:sp>
          <p:nvSpPr>
            <p:cNvPr id="15380" name="Text Box 19"/>
            <p:cNvSpPr txBox="1">
              <a:spLocks noChangeArrowheads="1"/>
            </p:cNvSpPr>
            <p:nvPr/>
          </p:nvSpPr>
          <p:spPr bwMode="gray">
            <a:xfrm>
              <a:off x="364" y="2069"/>
              <a:ext cx="846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</a:pPr>
              <a:r>
                <a:rPr lang="es-AR" sz="1600" noProof="1"/>
                <a:t>This is a placeholder text. </a:t>
              </a:r>
            </a:p>
          </p:txBody>
        </p:sp>
        <p:sp>
          <p:nvSpPr>
            <p:cNvPr id="15381" name="Text Box 19"/>
            <p:cNvSpPr txBox="1">
              <a:spLocks noChangeArrowheads="1"/>
            </p:cNvSpPr>
            <p:nvPr/>
          </p:nvSpPr>
          <p:spPr bwMode="gray">
            <a:xfrm>
              <a:off x="1961" y="2069"/>
              <a:ext cx="846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</a:pPr>
              <a:r>
                <a:rPr lang="es-AR" sz="1600" noProof="1"/>
                <a:t>This is a placeholder text. </a:t>
              </a:r>
            </a:p>
          </p:txBody>
        </p:sp>
      </p:grpSp>
      <p:grpSp>
        <p:nvGrpSpPr>
          <p:cNvPr id="15371" name="Group 27"/>
          <p:cNvGrpSpPr>
            <a:grpSpLocks/>
          </p:cNvGrpSpPr>
          <p:nvPr/>
        </p:nvGrpSpPr>
        <p:grpSpPr bwMode="auto">
          <a:xfrm>
            <a:off x="4529138" y="3360738"/>
            <a:ext cx="3794125" cy="2135187"/>
            <a:chOff x="2853" y="2117"/>
            <a:chExt cx="2390" cy="1345"/>
          </a:xfrm>
        </p:grpSpPr>
        <p:sp>
          <p:nvSpPr>
            <p:cNvPr id="15374" name="Text Box 19"/>
            <p:cNvSpPr txBox="1">
              <a:spLocks noChangeArrowheads="1"/>
            </p:cNvSpPr>
            <p:nvPr/>
          </p:nvSpPr>
          <p:spPr bwMode="gray">
            <a:xfrm>
              <a:off x="2853" y="2539"/>
              <a:ext cx="800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  <p:sp>
          <p:nvSpPr>
            <p:cNvPr id="15375" name="Text Box 19"/>
            <p:cNvSpPr txBox="1">
              <a:spLocks noChangeArrowheads="1"/>
            </p:cNvSpPr>
            <p:nvPr/>
          </p:nvSpPr>
          <p:spPr bwMode="gray">
            <a:xfrm>
              <a:off x="3647" y="2117"/>
              <a:ext cx="800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  <p:sp>
          <p:nvSpPr>
            <p:cNvPr id="15376" name="Text Box 19"/>
            <p:cNvSpPr txBox="1">
              <a:spLocks noChangeArrowheads="1"/>
            </p:cNvSpPr>
            <p:nvPr/>
          </p:nvSpPr>
          <p:spPr bwMode="gray">
            <a:xfrm>
              <a:off x="3647" y="3000"/>
              <a:ext cx="800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  <p:sp>
          <p:nvSpPr>
            <p:cNvPr id="15377" name="Text Box 19"/>
            <p:cNvSpPr txBox="1">
              <a:spLocks noChangeArrowheads="1"/>
            </p:cNvSpPr>
            <p:nvPr/>
          </p:nvSpPr>
          <p:spPr bwMode="gray">
            <a:xfrm>
              <a:off x="4443" y="2546"/>
              <a:ext cx="800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</p:grpSp>
      <p:sp>
        <p:nvSpPr>
          <p:cNvPr id="29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kern="0" noProof="1">
                <a:solidFill>
                  <a:schemeClr val="bg1"/>
                </a:solidFill>
                <a:cs typeface="+mn-cs"/>
              </a:rPr>
              <a:t>Placeholder for your own sub headline</a:t>
            </a:r>
          </a:p>
        </p:txBody>
      </p:sp>
    </p:spTree>
    <p:extLst>
      <p:ext uri="{BB962C8B-B14F-4D97-AF65-F5344CB8AC3E}">
        <p14:creationId xmlns:p14="http://schemas.microsoft.com/office/powerpoint/2010/main" val="34988319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86" name="Group 23"/>
          <p:cNvGrpSpPr>
            <a:grpSpLocks/>
          </p:cNvGrpSpPr>
          <p:nvPr/>
        </p:nvGrpSpPr>
        <p:grpSpPr bwMode="auto">
          <a:xfrm>
            <a:off x="0" y="3500438"/>
            <a:ext cx="9144000" cy="1676400"/>
            <a:chOff x="0" y="2086"/>
            <a:chExt cx="5760" cy="1056"/>
          </a:xfrm>
        </p:grpSpPr>
        <p:sp>
          <p:nvSpPr>
            <p:cNvPr id="16402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/>
            </a:p>
          </p:txBody>
        </p:sp>
        <p:sp>
          <p:nvSpPr>
            <p:cNvPr id="16403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/>
            </a:p>
          </p:txBody>
        </p:sp>
      </p:grpSp>
      <p:pic>
        <p:nvPicPr>
          <p:cNvPr id="16387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57225" y="5108575"/>
            <a:ext cx="7793038" cy="1042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6388" name="Group 6"/>
          <p:cNvGrpSpPr>
            <a:grpSpLocks/>
          </p:cNvGrpSpPr>
          <p:nvPr/>
        </p:nvGrpSpPr>
        <p:grpSpPr bwMode="auto">
          <a:xfrm>
            <a:off x="2608263" y="1544638"/>
            <a:ext cx="3876675" cy="4262437"/>
            <a:chOff x="1391" y="941"/>
            <a:chExt cx="2764" cy="3039"/>
          </a:xfrm>
        </p:grpSpPr>
        <p:sp>
          <p:nvSpPr>
            <p:cNvPr id="16397" name="Freeform 15"/>
            <p:cNvSpPr>
              <a:spLocks/>
            </p:cNvSpPr>
            <p:nvPr/>
          </p:nvSpPr>
          <p:spPr bwMode="gray">
            <a:xfrm>
              <a:off x="1391" y="941"/>
              <a:ext cx="2392" cy="807"/>
            </a:xfrm>
            <a:custGeom>
              <a:avLst/>
              <a:gdLst>
                <a:gd name="T0" fmla="*/ 2484818 w 2957"/>
                <a:gd name="T1" fmla="*/ 839351 h 997"/>
                <a:gd name="T2" fmla="*/ 2040291 w 2957"/>
                <a:gd name="T3" fmla="*/ 0 h 997"/>
                <a:gd name="T4" fmla="*/ 2040291 w 2957"/>
                <a:gd name="T5" fmla="*/ 469768 h 997"/>
                <a:gd name="T6" fmla="*/ 0 w 2957"/>
                <a:gd name="T7" fmla="*/ 469768 h 997"/>
                <a:gd name="T8" fmla="*/ 0 w 2957"/>
                <a:gd name="T9" fmla="*/ 839351 h 997"/>
                <a:gd name="T10" fmla="*/ 2484818 w 2957"/>
                <a:gd name="T11" fmla="*/ 839351 h 99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957"/>
                <a:gd name="T19" fmla="*/ 0 h 997"/>
                <a:gd name="T20" fmla="*/ 2957 w 2957"/>
                <a:gd name="T21" fmla="*/ 997 h 99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957" h="997">
                  <a:moveTo>
                    <a:pt x="2957" y="997"/>
                  </a:moveTo>
                  <a:lnTo>
                    <a:pt x="2428" y="0"/>
                  </a:lnTo>
                  <a:lnTo>
                    <a:pt x="2428" y="558"/>
                  </a:lnTo>
                  <a:lnTo>
                    <a:pt x="0" y="558"/>
                  </a:lnTo>
                  <a:lnTo>
                    <a:pt x="0" y="997"/>
                  </a:lnTo>
                  <a:lnTo>
                    <a:pt x="2957" y="997"/>
                  </a:lnTo>
                  <a:close/>
                </a:path>
              </a:pathLst>
            </a:custGeom>
            <a:gradFill rotWithShape="1">
              <a:gsLst>
                <a:gs pos="0">
                  <a:srgbClr val="4C7013"/>
                </a:gs>
                <a:gs pos="50000">
                  <a:srgbClr val="6B9B1A"/>
                </a:gs>
                <a:gs pos="100000">
                  <a:srgbClr val="4C7013"/>
                </a:gs>
              </a:gsLst>
              <a:lin ang="0" scaled="1"/>
            </a:gradFill>
            <a:ln>
              <a:noFill/>
            </a:ln>
            <a:effectLst>
              <a:outerShdw dist="28398" dir="3806097" algn="ctr" rotWithShape="0">
                <a:srgbClr val="808080"/>
              </a:outerShdw>
            </a:effectLst>
            <a:extLst>
              <a:ext uri="{91240B29-F687-4F45-9708-019B960494DF}">
                <a14:hiddenLine xmlns:a14="http://schemas.microsoft.com/office/drawing/2010/main"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16398" name="Freeform 16"/>
            <p:cNvSpPr>
              <a:spLocks/>
            </p:cNvSpPr>
            <p:nvPr/>
          </p:nvSpPr>
          <p:spPr bwMode="gray">
            <a:xfrm>
              <a:off x="1391" y="1805"/>
              <a:ext cx="2622" cy="386"/>
            </a:xfrm>
            <a:custGeom>
              <a:avLst/>
              <a:gdLst>
                <a:gd name="T0" fmla="*/ 0 w 2622"/>
                <a:gd name="T1" fmla="*/ 612775 h 386"/>
                <a:gd name="T2" fmla="*/ 4162425 w 2622"/>
                <a:gd name="T3" fmla="*/ 612775 h 386"/>
                <a:gd name="T4" fmla="*/ 3822085 w 2622"/>
                <a:gd name="T5" fmla="*/ 0 h 386"/>
                <a:gd name="T6" fmla="*/ 0 w 2622"/>
                <a:gd name="T7" fmla="*/ 0 h 386"/>
                <a:gd name="T8" fmla="*/ 0 w 2622"/>
                <a:gd name="T9" fmla="*/ 612775 h 3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22"/>
                <a:gd name="T16" fmla="*/ 0 h 386"/>
                <a:gd name="T17" fmla="*/ 3241 w 2622"/>
                <a:gd name="T18" fmla="*/ 477 h 3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22" h="386">
                  <a:moveTo>
                    <a:pt x="0" y="386"/>
                  </a:moveTo>
                  <a:lnTo>
                    <a:pt x="2622" y="386"/>
                  </a:lnTo>
                  <a:lnTo>
                    <a:pt x="2419" y="0"/>
                  </a:lnTo>
                  <a:lnTo>
                    <a:pt x="0" y="0"/>
                  </a:lnTo>
                  <a:lnTo>
                    <a:pt x="0" y="386"/>
                  </a:lnTo>
                  <a:close/>
                </a:path>
              </a:pathLst>
            </a:custGeom>
            <a:gradFill rotWithShape="1">
              <a:gsLst>
                <a:gs pos="0">
                  <a:srgbClr val="4C7013"/>
                </a:gs>
                <a:gs pos="50000">
                  <a:srgbClr val="6B9B1A"/>
                </a:gs>
                <a:gs pos="100000">
                  <a:srgbClr val="4C7013"/>
                </a:gs>
              </a:gsLst>
              <a:lin ang="0" scaled="1"/>
            </a:gradFill>
            <a:ln>
              <a:noFill/>
            </a:ln>
            <a:effectLst>
              <a:outerShdw dist="28398" dir="3806097" algn="ctr" rotWithShape="0">
                <a:srgbClr val="808080"/>
              </a:outerShdw>
            </a:effectLst>
            <a:extLst>
              <a:ext uri="{91240B29-F687-4F45-9708-019B960494DF}">
                <a14:hiddenLine xmlns:a14="http://schemas.microsoft.com/office/drawing/2010/main"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16399" name="Freeform 17"/>
            <p:cNvSpPr>
              <a:spLocks/>
            </p:cNvSpPr>
            <p:nvPr/>
          </p:nvSpPr>
          <p:spPr bwMode="gray">
            <a:xfrm>
              <a:off x="1391" y="2260"/>
              <a:ext cx="2764" cy="394"/>
            </a:xfrm>
            <a:custGeom>
              <a:avLst/>
              <a:gdLst>
                <a:gd name="T0" fmla="*/ 6421 w 2764"/>
                <a:gd name="T1" fmla="*/ 625475 h 394"/>
                <a:gd name="T2" fmla="*/ 4162114 w 2764"/>
                <a:gd name="T3" fmla="*/ 625475 h 394"/>
                <a:gd name="T4" fmla="*/ 4362450 w 2764"/>
                <a:gd name="T5" fmla="*/ 322370 h 394"/>
                <a:gd name="T6" fmla="*/ 4162114 w 2764"/>
                <a:gd name="T7" fmla="*/ 0 h 394"/>
                <a:gd name="T8" fmla="*/ 0 w 2764"/>
                <a:gd name="T9" fmla="*/ 0 h 394"/>
                <a:gd name="T10" fmla="*/ 6421 w 2764"/>
                <a:gd name="T11" fmla="*/ 625475 h 39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764"/>
                <a:gd name="T19" fmla="*/ 0 h 394"/>
                <a:gd name="T20" fmla="*/ 3397 w 2764"/>
                <a:gd name="T21" fmla="*/ 487 h 39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764" h="394">
                  <a:moveTo>
                    <a:pt x="4" y="394"/>
                  </a:moveTo>
                  <a:lnTo>
                    <a:pt x="2662" y="392"/>
                  </a:lnTo>
                  <a:lnTo>
                    <a:pt x="2764" y="203"/>
                  </a:lnTo>
                  <a:lnTo>
                    <a:pt x="2659" y="1"/>
                  </a:lnTo>
                  <a:lnTo>
                    <a:pt x="0" y="0"/>
                  </a:lnTo>
                  <a:lnTo>
                    <a:pt x="4" y="394"/>
                  </a:lnTo>
                  <a:close/>
                </a:path>
              </a:pathLst>
            </a:custGeom>
            <a:gradFill rotWithShape="1">
              <a:gsLst>
                <a:gs pos="0">
                  <a:srgbClr val="4C7013"/>
                </a:gs>
                <a:gs pos="50000">
                  <a:srgbClr val="6B9B1A"/>
                </a:gs>
                <a:gs pos="100000">
                  <a:srgbClr val="4C7013"/>
                </a:gs>
              </a:gsLst>
              <a:lin ang="0" scaled="1"/>
            </a:gradFill>
            <a:ln>
              <a:noFill/>
            </a:ln>
            <a:effectLst>
              <a:outerShdw dist="28398" dir="3806097" algn="ctr" rotWithShape="0">
                <a:srgbClr val="808080"/>
              </a:outerShdw>
            </a:effectLst>
            <a:extLst>
              <a:ext uri="{91240B29-F687-4F45-9708-019B960494DF}">
                <a14:hiddenLine xmlns:a14="http://schemas.microsoft.com/office/drawing/2010/main"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16400" name="Freeform 18"/>
            <p:cNvSpPr>
              <a:spLocks/>
            </p:cNvSpPr>
            <p:nvPr/>
          </p:nvSpPr>
          <p:spPr bwMode="gray">
            <a:xfrm>
              <a:off x="1391" y="2719"/>
              <a:ext cx="2628" cy="401"/>
            </a:xfrm>
            <a:custGeom>
              <a:avLst/>
              <a:gdLst>
                <a:gd name="T0" fmla="*/ 0 w 2628"/>
                <a:gd name="T1" fmla="*/ 636587 h 401"/>
                <a:gd name="T2" fmla="*/ 3828506 w 2628"/>
                <a:gd name="T3" fmla="*/ 636587 h 401"/>
                <a:gd name="T4" fmla="*/ 4162425 w 2628"/>
                <a:gd name="T5" fmla="*/ 0 h 401"/>
                <a:gd name="T6" fmla="*/ 6422 w 2628"/>
                <a:gd name="T7" fmla="*/ 0 h 401"/>
                <a:gd name="T8" fmla="*/ 0 w 2628"/>
                <a:gd name="T9" fmla="*/ 636587 h 40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28"/>
                <a:gd name="T16" fmla="*/ 0 h 401"/>
                <a:gd name="T17" fmla="*/ 3241 w 2628"/>
                <a:gd name="T18" fmla="*/ 496 h 40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28" h="401">
                  <a:moveTo>
                    <a:pt x="0" y="401"/>
                  </a:moveTo>
                  <a:lnTo>
                    <a:pt x="2419" y="400"/>
                  </a:lnTo>
                  <a:lnTo>
                    <a:pt x="2628" y="1"/>
                  </a:lnTo>
                  <a:lnTo>
                    <a:pt x="4" y="0"/>
                  </a:lnTo>
                  <a:lnTo>
                    <a:pt x="0" y="401"/>
                  </a:lnTo>
                  <a:close/>
                </a:path>
              </a:pathLst>
            </a:custGeom>
            <a:gradFill rotWithShape="1">
              <a:gsLst>
                <a:gs pos="0">
                  <a:srgbClr val="4C7013"/>
                </a:gs>
                <a:gs pos="50000">
                  <a:srgbClr val="6B9B1A"/>
                </a:gs>
                <a:gs pos="100000">
                  <a:srgbClr val="4C7013"/>
                </a:gs>
              </a:gsLst>
              <a:lin ang="0" scaled="1"/>
            </a:gradFill>
            <a:ln>
              <a:noFill/>
            </a:ln>
            <a:effectLst>
              <a:outerShdw dist="28398" dir="3806097" algn="ctr" rotWithShape="0">
                <a:srgbClr val="808080"/>
              </a:outerShdw>
            </a:effectLst>
            <a:extLst>
              <a:ext uri="{91240B29-F687-4F45-9708-019B960494DF}">
                <a14:hiddenLine xmlns:a14="http://schemas.microsoft.com/office/drawing/2010/main"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16401" name="Freeform 19"/>
            <p:cNvSpPr>
              <a:spLocks/>
            </p:cNvSpPr>
            <p:nvPr/>
          </p:nvSpPr>
          <p:spPr bwMode="gray">
            <a:xfrm>
              <a:off x="1391" y="3166"/>
              <a:ext cx="2400" cy="814"/>
            </a:xfrm>
            <a:custGeom>
              <a:avLst/>
              <a:gdLst>
                <a:gd name="T0" fmla="*/ 0 w 2967"/>
                <a:gd name="T1" fmla="*/ 369196 h 1006"/>
                <a:gd name="T2" fmla="*/ 2048465 w 2967"/>
                <a:gd name="T3" fmla="*/ 369196 h 1006"/>
                <a:gd name="T4" fmla="*/ 2048465 w 2967"/>
                <a:gd name="T5" fmla="*/ 846041 h 1006"/>
                <a:gd name="T6" fmla="*/ 2492943 w 2967"/>
                <a:gd name="T7" fmla="*/ 0 h 1006"/>
                <a:gd name="T8" fmla="*/ 0 w 2967"/>
                <a:gd name="T9" fmla="*/ 0 h 1006"/>
                <a:gd name="T10" fmla="*/ 0 w 2967"/>
                <a:gd name="T11" fmla="*/ 369196 h 100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967"/>
                <a:gd name="T19" fmla="*/ 0 h 1006"/>
                <a:gd name="T20" fmla="*/ 2967 w 2967"/>
                <a:gd name="T21" fmla="*/ 1006 h 100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967" h="1006">
                  <a:moveTo>
                    <a:pt x="0" y="439"/>
                  </a:moveTo>
                  <a:lnTo>
                    <a:pt x="2438" y="439"/>
                  </a:lnTo>
                  <a:lnTo>
                    <a:pt x="2438" y="1006"/>
                  </a:lnTo>
                  <a:lnTo>
                    <a:pt x="2967" y="0"/>
                  </a:lnTo>
                  <a:lnTo>
                    <a:pt x="0" y="0"/>
                  </a:lnTo>
                  <a:lnTo>
                    <a:pt x="0" y="439"/>
                  </a:lnTo>
                  <a:close/>
                </a:path>
              </a:pathLst>
            </a:custGeom>
            <a:gradFill rotWithShape="1">
              <a:gsLst>
                <a:gs pos="0">
                  <a:srgbClr val="4C7013"/>
                </a:gs>
                <a:gs pos="50000">
                  <a:srgbClr val="6B9B1A"/>
                </a:gs>
                <a:gs pos="100000">
                  <a:srgbClr val="4C7013"/>
                </a:gs>
              </a:gsLst>
              <a:lin ang="0" scaled="1"/>
            </a:gradFill>
            <a:ln>
              <a:noFill/>
            </a:ln>
            <a:effectLst>
              <a:outerShdw dist="28398" dir="3806097" algn="ctr" rotWithShape="0">
                <a:srgbClr val="808080"/>
              </a:outerShdw>
            </a:effectLst>
            <a:extLst>
              <a:ext uri="{91240B29-F687-4F45-9708-019B960494DF}">
                <a14:hiddenLine xmlns:a14="http://schemas.microsoft.com/office/drawing/2010/main" w="14351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AR"/>
            </a:p>
          </p:txBody>
        </p:sp>
      </p:grpSp>
      <p:grpSp>
        <p:nvGrpSpPr>
          <p:cNvPr id="16389" name="Group 12"/>
          <p:cNvGrpSpPr>
            <a:grpSpLocks/>
          </p:cNvGrpSpPr>
          <p:nvPr/>
        </p:nvGrpSpPr>
        <p:grpSpPr bwMode="auto">
          <a:xfrm>
            <a:off x="2759075" y="2333625"/>
            <a:ext cx="2525713" cy="2733675"/>
            <a:chOff x="1499" y="1503"/>
            <a:chExt cx="1800" cy="1949"/>
          </a:xfrm>
        </p:grpSpPr>
        <p:sp>
          <p:nvSpPr>
            <p:cNvPr id="16392" name="Text Box 19"/>
            <p:cNvSpPr txBox="1">
              <a:spLocks noChangeArrowheads="1"/>
            </p:cNvSpPr>
            <p:nvPr/>
          </p:nvSpPr>
          <p:spPr bwMode="gray">
            <a:xfrm>
              <a:off x="1499" y="1503"/>
              <a:ext cx="180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  <p:sp>
          <p:nvSpPr>
            <p:cNvPr id="16393" name="Text Box 19"/>
            <p:cNvSpPr txBox="1">
              <a:spLocks noChangeArrowheads="1"/>
            </p:cNvSpPr>
            <p:nvPr/>
          </p:nvSpPr>
          <p:spPr bwMode="gray">
            <a:xfrm>
              <a:off x="1499" y="1929"/>
              <a:ext cx="180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  <p:sp>
          <p:nvSpPr>
            <p:cNvPr id="16394" name="Text Box 19"/>
            <p:cNvSpPr txBox="1">
              <a:spLocks noChangeArrowheads="1"/>
            </p:cNvSpPr>
            <p:nvPr/>
          </p:nvSpPr>
          <p:spPr bwMode="gray">
            <a:xfrm>
              <a:off x="1499" y="2393"/>
              <a:ext cx="180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  <p:sp>
          <p:nvSpPr>
            <p:cNvPr id="16395" name="Text Box 19"/>
            <p:cNvSpPr txBox="1">
              <a:spLocks noChangeArrowheads="1"/>
            </p:cNvSpPr>
            <p:nvPr/>
          </p:nvSpPr>
          <p:spPr bwMode="gray">
            <a:xfrm>
              <a:off x="1499" y="2846"/>
              <a:ext cx="1800" cy="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  <p:sp>
          <p:nvSpPr>
            <p:cNvPr id="16396" name="Text Box 19"/>
            <p:cNvSpPr txBox="1">
              <a:spLocks noChangeArrowheads="1"/>
            </p:cNvSpPr>
            <p:nvPr/>
          </p:nvSpPr>
          <p:spPr bwMode="gray">
            <a:xfrm>
              <a:off x="1499" y="3279"/>
              <a:ext cx="180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</p:grpSp>
      <p:sp>
        <p:nvSpPr>
          <p:cNvPr id="16390" name="Textfeld 7"/>
          <p:cNvSpPr txBox="1">
            <a:spLocks noChangeArrowheads="1"/>
          </p:cNvSpPr>
          <p:nvPr/>
        </p:nvSpPr>
        <p:spPr bwMode="gray">
          <a:xfrm>
            <a:off x="155575" y="174625"/>
            <a:ext cx="8988425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de-DE" sz="6000" b="1">
                <a:solidFill>
                  <a:srgbClr val="6B9B1A"/>
                </a:solidFill>
              </a:rPr>
              <a:t>ARROW</a:t>
            </a:r>
            <a:r>
              <a:rPr lang="de-DE" sz="6000">
                <a:solidFill>
                  <a:srgbClr val="595959"/>
                </a:solidFill>
              </a:rPr>
              <a:t>CHART 4</a:t>
            </a:r>
          </a:p>
        </p:txBody>
      </p:sp>
    </p:spTree>
    <p:extLst>
      <p:ext uri="{BB962C8B-B14F-4D97-AF65-F5344CB8AC3E}">
        <p14:creationId xmlns:p14="http://schemas.microsoft.com/office/powerpoint/2010/main" val="16633091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10" name="Group 10"/>
          <p:cNvGrpSpPr>
            <a:grpSpLocks/>
          </p:cNvGrpSpPr>
          <p:nvPr/>
        </p:nvGrpSpPr>
        <p:grpSpPr bwMode="auto">
          <a:xfrm>
            <a:off x="0" y="-11113"/>
            <a:ext cx="9144000" cy="5948363"/>
            <a:chOff x="0" y="0"/>
            <a:chExt cx="5760" cy="3747"/>
          </a:xfrm>
        </p:grpSpPr>
        <p:sp>
          <p:nvSpPr>
            <p:cNvPr id="17426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17427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17428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17429" name="Rectangle 5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</p:grpSp>
      <p:sp>
        <p:nvSpPr>
          <p:cNvPr id="17411" name="Rectangle 2"/>
          <p:cNvSpPr txBox="1">
            <a:spLocks noChangeArrowheads="1"/>
          </p:cNvSpPr>
          <p:nvPr/>
        </p:nvSpPr>
        <p:spPr bwMode="gray">
          <a:xfrm>
            <a:off x="204788" y="58738"/>
            <a:ext cx="8520112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sz="3200" b="1">
                <a:solidFill>
                  <a:schemeClr val="bg1"/>
                </a:solidFill>
              </a:rPr>
              <a:t>Arrow Chart 4</a:t>
            </a:r>
          </a:p>
        </p:txBody>
      </p:sp>
      <p:sp>
        <p:nvSpPr>
          <p:cNvPr id="29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kern="0" noProof="1">
                <a:solidFill>
                  <a:schemeClr val="bg1"/>
                </a:solidFill>
                <a:cs typeface="+mn-cs"/>
              </a:rPr>
              <a:t>Placeholder for your own sub headline</a:t>
            </a:r>
          </a:p>
        </p:txBody>
      </p:sp>
      <p:pic>
        <p:nvPicPr>
          <p:cNvPr id="17414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57225" y="5108575"/>
            <a:ext cx="7793038" cy="1042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5" name="Freeform 15"/>
          <p:cNvSpPr>
            <a:spLocks/>
          </p:cNvSpPr>
          <p:nvPr/>
        </p:nvSpPr>
        <p:spPr bwMode="gray">
          <a:xfrm>
            <a:off x="2608263" y="1544638"/>
            <a:ext cx="3354387" cy="1131887"/>
          </a:xfrm>
          <a:custGeom>
            <a:avLst/>
            <a:gdLst>
              <a:gd name="T0" fmla="*/ 2147483647 w 2957"/>
              <a:gd name="T1" fmla="*/ 2147483647 h 997"/>
              <a:gd name="T2" fmla="*/ 2147483647 w 2957"/>
              <a:gd name="T3" fmla="*/ 0 h 997"/>
              <a:gd name="T4" fmla="*/ 2147483647 w 2957"/>
              <a:gd name="T5" fmla="*/ 2147483647 h 997"/>
              <a:gd name="T6" fmla="*/ 0 w 2957"/>
              <a:gd name="T7" fmla="*/ 2147483647 h 997"/>
              <a:gd name="T8" fmla="*/ 0 w 2957"/>
              <a:gd name="T9" fmla="*/ 2147483647 h 997"/>
              <a:gd name="T10" fmla="*/ 2147483647 w 2957"/>
              <a:gd name="T11" fmla="*/ 2147483647 h 99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957"/>
              <a:gd name="T19" fmla="*/ 0 h 997"/>
              <a:gd name="T20" fmla="*/ 2957 w 2957"/>
              <a:gd name="T21" fmla="*/ 997 h 99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957" h="997">
                <a:moveTo>
                  <a:pt x="2957" y="997"/>
                </a:moveTo>
                <a:lnTo>
                  <a:pt x="2428" y="0"/>
                </a:lnTo>
                <a:lnTo>
                  <a:pt x="2428" y="558"/>
                </a:lnTo>
                <a:lnTo>
                  <a:pt x="0" y="558"/>
                </a:lnTo>
                <a:lnTo>
                  <a:pt x="0" y="997"/>
                </a:lnTo>
                <a:lnTo>
                  <a:pt x="2957" y="997"/>
                </a:lnTo>
                <a:close/>
              </a:path>
            </a:pathLst>
          </a:custGeom>
          <a:gradFill rotWithShape="1">
            <a:gsLst>
              <a:gs pos="0">
                <a:srgbClr val="004074"/>
              </a:gs>
              <a:gs pos="50000">
                <a:srgbClr val="0061B2"/>
              </a:gs>
              <a:gs pos="100000">
                <a:srgbClr val="004074"/>
              </a:gs>
            </a:gsLst>
            <a:lin ang="0" scaled="1"/>
          </a:gradFill>
          <a:ln>
            <a:noFill/>
          </a:ln>
          <a:effectLst>
            <a:outerShdw dist="28398" dir="3806097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14351" cap="flat" cmpd="sng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es-AR"/>
          </a:p>
        </p:txBody>
      </p:sp>
      <p:sp>
        <p:nvSpPr>
          <p:cNvPr id="17416" name="Freeform 16"/>
          <p:cNvSpPr>
            <a:spLocks/>
          </p:cNvSpPr>
          <p:nvPr/>
        </p:nvSpPr>
        <p:spPr bwMode="gray">
          <a:xfrm>
            <a:off x="2608263" y="2755900"/>
            <a:ext cx="3678237" cy="541338"/>
          </a:xfrm>
          <a:custGeom>
            <a:avLst/>
            <a:gdLst>
              <a:gd name="T0" fmla="*/ 0 w 2622"/>
              <a:gd name="T1" fmla="*/ 2147483647 h 386"/>
              <a:gd name="T2" fmla="*/ 2147483647 w 2622"/>
              <a:gd name="T3" fmla="*/ 2147483647 h 386"/>
              <a:gd name="T4" fmla="*/ 2147483647 w 2622"/>
              <a:gd name="T5" fmla="*/ 0 h 386"/>
              <a:gd name="T6" fmla="*/ 0 w 2622"/>
              <a:gd name="T7" fmla="*/ 0 h 386"/>
              <a:gd name="T8" fmla="*/ 0 w 2622"/>
              <a:gd name="T9" fmla="*/ 2147483647 h 38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22"/>
              <a:gd name="T16" fmla="*/ 0 h 386"/>
              <a:gd name="T17" fmla="*/ 3241 w 2622"/>
              <a:gd name="T18" fmla="*/ 477 h 38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22" h="386">
                <a:moveTo>
                  <a:pt x="0" y="386"/>
                </a:moveTo>
                <a:lnTo>
                  <a:pt x="2622" y="386"/>
                </a:lnTo>
                <a:lnTo>
                  <a:pt x="2419" y="0"/>
                </a:lnTo>
                <a:lnTo>
                  <a:pt x="0" y="0"/>
                </a:lnTo>
                <a:lnTo>
                  <a:pt x="0" y="386"/>
                </a:lnTo>
                <a:close/>
              </a:path>
            </a:pathLst>
          </a:custGeom>
          <a:gradFill rotWithShape="1">
            <a:gsLst>
              <a:gs pos="0">
                <a:srgbClr val="004074"/>
              </a:gs>
              <a:gs pos="50000">
                <a:srgbClr val="0061B2"/>
              </a:gs>
              <a:gs pos="100000">
                <a:srgbClr val="004074"/>
              </a:gs>
            </a:gsLst>
            <a:lin ang="0" scaled="1"/>
          </a:gradFill>
          <a:ln>
            <a:noFill/>
          </a:ln>
          <a:effectLst>
            <a:outerShdw dist="28398" dir="3806097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14351" cap="flat" cmpd="sng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es-AR"/>
          </a:p>
        </p:txBody>
      </p:sp>
      <p:sp>
        <p:nvSpPr>
          <p:cNvPr id="17417" name="Freeform 17"/>
          <p:cNvSpPr>
            <a:spLocks/>
          </p:cNvSpPr>
          <p:nvPr/>
        </p:nvSpPr>
        <p:spPr bwMode="gray">
          <a:xfrm>
            <a:off x="2608263" y="3394075"/>
            <a:ext cx="3876675" cy="552450"/>
          </a:xfrm>
          <a:custGeom>
            <a:avLst/>
            <a:gdLst>
              <a:gd name="T0" fmla="*/ 2147483647 w 2764"/>
              <a:gd name="T1" fmla="*/ 2147483647 h 394"/>
              <a:gd name="T2" fmla="*/ 2147483647 w 2764"/>
              <a:gd name="T3" fmla="*/ 2147483647 h 394"/>
              <a:gd name="T4" fmla="*/ 2147483647 w 2764"/>
              <a:gd name="T5" fmla="*/ 2147483647 h 394"/>
              <a:gd name="T6" fmla="*/ 2147483647 w 2764"/>
              <a:gd name="T7" fmla="*/ 0 h 394"/>
              <a:gd name="T8" fmla="*/ 0 w 2764"/>
              <a:gd name="T9" fmla="*/ 0 h 394"/>
              <a:gd name="T10" fmla="*/ 2147483647 w 2764"/>
              <a:gd name="T11" fmla="*/ 2147483647 h 39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764"/>
              <a:gd name="T19" fmla="*/ 0 h 394"/>
              <a:gd name="T20" fmla="*/ 3397 w 2764"/>
              <a:gd name="T21" fmla="*/ 487 h 39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764" h="394">
                <a:moveTo>
                  <a:pt x="4" y="394"/>
                </a:moveTo>
                <a:lnTo>
                  <a:pt x="2662" y="392"/>
                </a:lnTo>
                <a:lnTo>
                  <a:pt x="2764" y="203"/>
                </a:lnTo>
                <a:lnTo>
                  <a:pt x="2659" y="1"/>
                </a:lnTo>
                <a:lnTo>
                  <a:pt x="0" y="0"/>
                </a:lnTo>
                <a:lnTo>
                  <a:pt x="4" y="394"/>
                </a:lnTo>
                <a:close/>
              </a:path>
            </a:pathLst>
          </a:custGeom>
          <a:gradFill rotWithShape="1">
            <a:gsLst>
              <a:gs pos="0">
                <a:srgbClr val="004074"/>
              </a:gs>
              <a:gs pos="50000">
                <a:srgbClr val="0061B2"/>
              </a:gs>
              <a:gs pos="100000">
                <a:srgbClr val="004074"/>
              </a:gs>
            </a:gsLst>
            <a:lin ang="0" scaled="1"/>
          </a:gradFill>
          <a:ln>
            <a:noFill/>
          </a:ln>
          <a:effectLst>
            <a:outerShdw dist="28398" dir="3806097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14351" cap="flat" cmpd="sng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es-AR"/>
          </a:p>
        </p:txBody>
      </p:sp>
      <p:sp>
        <p:nvSpPr>
          <p:cNvPr id="17418" name="Freeform 18"/>
          <p:cNvSpPr>
            <a:spLocks/>
          </p:cNvSpPr>
          <p:nvPr/>
        </p:nvSpPr>
        <p:spPr bwMode="gray">
          <a:xfrm>
            <a:off x="2608263" y="4038600"/>
            <a:ext cx="3686175" cy="561975"/>
          </a:xfrm>
          <a:custGeom>
            <a:avLst/>
            <a:gdLst>
              <a:gd name="T0" fmla="*/ 0 w 2628"/>
              <a:gd name="T1" fmla="*/ 2147483647 h 401"/>
              <a:gd name="T2" fmla="*/ 2147483647 w 2628"/>
              <a:gd name="T3" fmla="*/ 2147483647 h 401"/>
              <a:gd name="T4" fmla="*/ 2147483647 w 2628"/>
              <a:gd name="T5" fmla="*/ 0 h 401"/>
              <a:gd name="T6" fmla="*/ 2147483647 w 2628"/>
              <a:gd name="T7" fmla="*/ 0 h 401"/>
              <a:gd name="T8" fmla="*/ 0 w 2628"/>
              <a:gd name="T9" fmla="*/ 2147483647 h 40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28"/>
              <a:gd name="T16" fmla="*/ 0 h 401"/>
              <a:gd name="T17" fmla="*/ 3241 w 2628"/>
              <a:gd name="T18" fmla="*/ 496 h 40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28" h="401">
                <a:moveTo>
                  <a:pt x="0" y="401"/>
                </a:moveTo>
                <a:lnTo>
                  <a:pt x="2419" y="400"/>
                </a:lnTo>
                <a:lnTo>
                  <a:pt x="2628" y="1"/>
                </a:lnTo>
                <a:lnTo>
                  <a:pt x="4" y="0"/>
                </a:lnTo>
                <a:lnTo>
                  <a:pt x="0" y="401"/>
                </a:lnTo>
                <a:close/>
              </a:path>
            </a:pathLst>
          </a:custGeom>
          <a:gradFill rotWithShape="1">
            <a:gsLst>
              <a:gs pos="0">
                <a:srgbClr val="004074"/>
              </a:gs>
              <a:gs pos="50000">
                <a:srgbClr val="0061B2"/>
              </a:gs>
              <a:gs pos="100000">
                <a:srgbClr val="004074"/>
              </a:gs>
            </a:gsLst>
            <a:lin ang="0" scaled="1"/>
          </a:gradFill>
          <a:ln>
            <a:noFill/>
          </a:ln>
          <a:effectLst>
            <a:outerShdw dist="28398" dir="3806097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14351" cap="flat" cmpd="sng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es-AR"/>
          </a:p>
        </p:txBody>
      </p:sp>
      <p:sp>
        <p:nvSpPr>
          <p:cNvPr id="17419" name="Freeform 19"/>
          <p:cNvSpPr>
            <a:spLocks/>
          </p:cNvSpPr>
          <p:nvPr/>
        </p:nvSpPr>
        <p:spPr bwMode="gray">
          <a:xfrm>
            <a:off x="2608263" y="4665663"/>
            <a:ext cx="3365500" cy="1141412"/>
          </a:xfrm>
          <a:custGeom>
            <a:avLst/>
            <a:gdLst>
              <a:gd name="T0" fmla="*/ 0 w 2967"/>
              <a:gd name="T1" fmla="*/ 2147483647 h 1006"/>
              <a:gd name="T2" fmla="*/ 2147483647 w 2967"/>
              <a:gd name="T3" fmla="*/ 2147483647 h 1006"/>
              <a:gd name="T4" fmla="*/ 2147483647 w 2967"/>
              <a:gd name="T5" fmla="*/ 2147483647 h 1006"/>
              <a:gd name="T6" fmla="*/ 2147483647 w 2967"/>
              <a:gd name="T7" fmla="*/ 0 h 1006"/>
              <a:gd name="T8" fmla="*/ 0 w 2967"/>
              <a:gd name="T9" fmla="*/ 0 h 1006"/>
              <a:gd name="T10" fmla="*/ 0 w 2967"/>
              <a:gd name="T11" fmla="*/ 2147483647 h 100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967"/>
              <a:gd name="T19" fmla="*/ 0 h 1006"/>
              <a:gd name="T20" fmla="*/ 2967 w 2967"/>
              <a:gd name="T21" fmla="*/ 1006 h 100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967" h="1006">
                <a:moveTo>
                  <a:pt x="0" y="439"/>
                </a:moveTo>
                <a:lnTo>
                  <a:pt x="2438" y="439"/>
                </a:lnTo>
                <a:lnTo>
                  <a:pt x="2438" y="1006"/>
                </a:lnTo>
                <a:lnTo>
                  <a:pt x="2967" y="0"/>
                </a:lnTo>
                <a:lnTo>
                  <a:pt x="0" y="0"/>
                </a:lnTo>
                <a:lnTo>
                  <a:pt x="0" y="439"/>
                </a:lnTo>
                <a:close/>
              </a:path>
            </a:pathLst>
          </a:custGeom>
          <a:gradFill rotWithShape="1">
            <a:gsLst>
              <a:gs pos="0">
                <a:srgbClr val="004074"/>
              </a:gs>
              <a:gs pos="50000">
                <a:srgbClr val="0061B2"/>
              </a:gs>
              <a:gs pos="100000">
                <a:srgbClr val="004074"/>
              </a:gs>
            </a:gsLst>
            <a:lin ang="0" scaled="1"/>
          </a:gradFill>
          <a:ln>
            <a:noFill/>
          </a:ln>
          <a:effectLst>
            <a:outerShdw dist="28398" dir="3806097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14351" cap="flat" cmpd="sng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es-AR"/>
          </a:p>
        </p:txBody>
      </p:sp>
      <p:grpSp>
        <p:nvGrpSpPr>
          <p:cNvPr id="17420" name="Group 16"/>
          <p:cNvGrpSpPr>
            <a:grpSpLocks/>
          </p:cNvGrpSpPr>
          <p:nvPr/>
        </p:nvGrpSpPr>
        <p:grpSpPr bwMode="auto">
          <a:xfrm>
            <a:off x="2759075" y="2333625"/>
            <a:ext cx="2525713" cy="2733675"/>
            <a:chOff x="1499" y="1503"/>
            <a:chExt cx="1800" cy="1949"/>
          </a:xfrm>
        </p:grpSpPr>
        <p:sp>
          <p:nvSpPr>
            <p:cNvPr id="17421" name="Text Box 19"/>
            <p:cNvSpPr txBox="1">
              <a:spLocks noChangeArrowheads="1"/>
            </p:cNvSpPr>
            <p:nvPr/>
          </p:nvSpPr>
          <p:spPr bwMode="gray">
            <a:xfrm>
              <a:off x="1499" y="1503"/>
              <a:ext cx="180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  <p:sp>
          <p:nvSpPr>
            <p:cNvPr id="17422" name="Text Box 19"/>
            <p:cNvSpPr txBox="1">
              <a:spLocks noChangeArrowheads="1"/>
            </p:cNvSpPr>
            <p:nvPr/>
          </p:nvSpPr>
          <p:spPr bwMode="gray">
            <a:xfrm>
              <a:off x="1499" y="1929"/>
              <a:ext cx="180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  <p:sp>
          <p:nvSpPr>
            <p:cNvPr id="17423" name="Text Box 19"/>
            <p:cNvSpPr txBox="1">
              <a:spLocks noChangeArrowheads="1"/>
            </p:cNvSpPr>
            <p:nvPr/>
          </p:nvSpPr>
          <p:spPr bwMode="gray">
            <a:xfrm>
              <a:off x="1499" y="2393"/>
              <a:ext cx="180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  <p:sp>
          <p:nvSpPr>
            <p:cNvPr id="17424" name="Text Box 19"/>
            <p:cNvSpPr txBox="1">
              <a:spLocks noChangeArrowheads="1"/>
            </p:cNvSpPr>
            <p:nvPr/>
          </p:nvSpPr>
          <p:spPr bwMode="gray">
            <a:xfrm>
              <a:off x="1499" y="2846"/>
              <a:ext cx="1800" cy="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  <p:sp>
          <p:nvSpPr>
            <p:cNvPr id="17425" name="Text Box 19"/>
            <p:cNvSpPr txBox="1">
              <a:spLocks noChangeArrowheads="1"/>
            </p:cNvSpPr>
            <p:nvPr/>
          </p:nvSpPr>
          <p:spPr bwMode="gray">
            <a:xfrm>
              <a:off x="1499" y="3279"/>
              <a:ext cx="180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95926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434" name="Group 23"/>
          <p:cNvGrpSpPr>
            <a:grpSpLocks/>
          </p:cNvGrpSpPr>
          <p:nvPr/>
        </p:nvGrpSpPr>
        <p:grpSpPr bwMode="auto">
          <a:xfrm>
            <a:off x="0" y="3500438"/>
            <a:ext cx="9144000" cy="1676400"/>
            <a:chOff x="0" y="2086"/>
            <a:chExt cx="5760" cy="1056"/>
          </a:xfrm>
        </p:grpSpPr>
        <p:sp>
          <p:nvSpPr>
            <p:cNvPr id="18468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/>
            </a:p>
          </p:txBody>
        </p:sp>
        <p:sp>
          <p:nvSpPr>
            <p:cNvPr id="18469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/>
            </a:p>
          </p:txBody>
        </p:sp>
      </p:grpSp>
      <p:pic>
        <p:nvPicPr>
          <p:cNvPr id="18435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6825" y="5595938"/>
            <a:ext cx="407035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377" name="Freeform 12"/>
          <p:cNvSpPr>
            <a:spLocks/>
          </p:cNvSpPr>
          <p:nvPr/>
        </p:nvSpPr>
        <p:spPr bwMode="auto">
          <a:xfrm>
            <a:off x="2584017" y="1652274"/>
            <a:ext cx="3981840" cy="4104225"/>
          </a:xfrm>
          <a:custGeom>
            <a:avLst/>
            <a:gdLst>
              <a:gd name="T0" fmla="*/ 918 w 2296"/>
              <a:gd name="T1" fmla="*/ 0 h 2387"/>
              <a:gd name="T2" fmla="*/ 1378 w 2296"/>
              <a:gd name="T3" fmla="*/ 0 h 2387"/>
              <a:gd name="T4" fmla="*/ 2064 w 2296"/>
              <a:gd name="T5" fmla="*/ 400 h 2387"/>
              <a:gd name="T6" fmla="*/ 2294 w 2296"/>
              <a:gd name="T7" fmla="*/ 800 h 2387"/>
              <a:gd name="T8" fmla="*/ 2296 w 2296"/>
              <a:gd name="T9" fmla="*/ 1594 h 2387"/>
              <a:gd name="T10" fmla="*/ 2067 w 2296"/>
              <a:gd name="T11" fmla="*/ 1984 h 2387"/>
              <a:gd name="T12" fmla="*/ 1382 w 2296"/>
              <a:gd name="T13" fmla="*/ 2387 h 2387"/>
              <a:gd name="T14" fmla="*/ 916 w 2296"/>
              <a:gd name="T15" fmla="*/ 2387 h 2387"/>
              <a:gd name="T16" fmla="*/ 229 w 2296"/>
              <a:gd name="T17" fmla="*/ 1987 h 2387"/>
              <a:gd name="T18" fmla="*/ 0 w 2296"/>
              <a:gd name="T19" fmla="*/ 1590 h 2387"/>
              <a:gd name="T20" fmla="*/ 4 w 2296"/>
              <a:gd name="T21" fmla="*/ 796 h 2387"/>
              <a:gd name="T22" fmla="*/ 227 w 2296"/>
              <a:gd name="T23" fmla="*/ 400 h 2387"/>
              <a:gd name="T24" fmla="*/ 918 w 2296"/>
              <a:gd name="T25" fmla="*/ 0 h 238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296"/>
              <a:gd name="T40" fmla="*/ 0 h 2387"/>
              <a:gd name="T41" fmla="*/ 2296 w 2296"/>
              <a:gd name="T42" fmla="*/ 2387 h 238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296" h="2387">
                <a:moveTo>
                  <a:pt x="918" y="0"/>
                </a:moveTo>
                <a:lnTo>
                  <a:pt x="1378" y="0"/>
                </a:lnTo>
                <a:lnTo>
                  <a:pt x="2064" y="400"/>
                </a:lnTo>
                <a:lnTo>
                  <a:pt x="2294" y="800"/>
                </a:lnTo>
                <a:lnTo>
                  <a:pt x="2296" y="1594"/>
                </a:lnTo>
                <a:lnTo>
                  <a:pt x="2067" y="1984"/>
                </a:lnTo>
                <a:lnTo>
                  <a:pt x="1382" y="2387"/>
                </a:lnTo>
                <a:lnTo>
                  <a:pt x="916" y="2387"/>
                </a:lnTo>
                <a:lnTo>
                  <a:pt x="229" y="1987"/>
                </a:lnTo>
                <a:lnTo>
                  <a:pt x="0" y="1590"/>
                </a:lnTo>
                <a:lnTo>
                  <a:pt x="4" y="796"/>
                </a:lnTo>
                <a:lnTo>
                  <a:pt x="227" y="400"/>
                </a:lnTo>
                <a:lnTo>
                  <a:pt x="918" y="0"/>
                </a:lnTo>
                <a:close/>
              </a:path>
            </a:pathLst>
          </a:custGeom>
          <a:gradFill rotWithShape="0">
            <a:gsLst>
              <a:gs pos="0">
                <a:schemeClr val="bg2"/>
              </a:gs>
              <a:gs pos="100000">
                <a:srgbClr val="CECEC4"/>
              </a:gs>
            </a:gsLst>
            <a:lin ang="0" scaled="1"/>
          </a:gradFill>
          <a:ln w="9525" cap="flat">
            <a:solidFill>
              <a:srgbClr val="CECEC4"/>
            </a:solidFill>
            <a:prstDash val="solid"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prst="relaxedInset"/>
          </a:sp3d>
        </p:spPr>
        <p:txBody>
          <a:bodyPr/>
          <a:lstStyle/>
          <a:p>
            <a:pPr>
              <a:defRPr/>
            </a:pPr>
            <a:endParaRPr lang="de-DE">
              <a:latin typeface="Arial" charset="0"/>
              <a:cs typeface="+mn-cs"/>
            </a:endParaRPr>
          </a:p>
        </p:txBody>
      </p:sp>
      <p:grpSp>
        <p:nvGrpSpPr>
          <p:cNvPr id="3" name="Gruppieren 17"/>
          <p:cNvGrpSpPr/>
          <p:nvPr/>
        </p:nvGrpSpPr>
        <p:grpSpPr>
          <a:xfrm>
            <a:off x="2683623" y="1705388"/>
            <a:ext cx="3832666" cy="3991526"/>
            <a:chOff x="2375461" y="1925730"/>
            <a:chExt cx="4080839" cy="4249739"/>
          </a:xfrm>
          <a:scene3d>
            <a:camera prst="orthographicFront"/>
            <a:lightRig rig="balanced" dir="t"/>
          </a:scene3d>
        </p:grpSpPr>
        <p:sp>
          <p:nvSpPr>
            <p:cNvPr id="4" name="AutoShape 4"/>
            <p:cNvSpPr>
              <a:spLocks noChangeArrowheads="1"/>
            </p:cNvSpPr>
            <p:nvPr/>
          </p:nvSpPr>
          <p:spPr bwMode="auto">
            <a:xfrm>
              <a:off x="3602577" y="1925730"/>
              <a:ext cx="1633767" cy="1416103"/>
            </a:xfrm>
            <a:prstGeom prst="hexagon">
              <a:avLst>
                <a:gd name="adj" fmla="val 28862"/>
                <a:gd name="vf" fmla="val 115470"/>
              </a:avLst>
            </a:prstGeom>
            <a:gradFill rotWithShape="1">
              <a:gsLst>
                <a:gs pos="0">
                  <a:srgbClr val="EDEDE7"/>
                </a:gs>
                <a:gs pos="100000">
                  <a:srgbClr val="CCCCBC"/>
                </a:gs>
              </a:gsLst>
              <a:lin ang="2700000" scaled="1"/>
            </a:gradFill>
            <a:ln w="9525" algn="ctr">
              <a:solidFill>
                <a:srgbClr val="9D9D9D"/>
              </a:solidFill>
              <a:miter lim="800000"/>
              <a:headEnd/>
              <a:tailEnd/>
            </a:ln>
            <a:effectLst/>
            <a:sp3d prstMaterial="metal">
              <a:bevelT h="19050" prst="angle"/>
            </a:sp3d>
          </p:spPr>
          <p:txBody>
            <a:bodyPr wrap="none" anchor="ctr"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  <p:sp>
          <p:nvSpPr>
            <p:cNvPr id="58371" name="AutoShape 5"/>
            <p:cNvSpPr>
              <a:spLocks noChangeArrowheads="1"/>
            </p:cNvSpPr>
            <p:nvPr/>
          </p:nvSpPr>
          <p:spPr bwMode="auto">
            <a:xfrm>
              <a:off x="3599713" y="3347560"/>
              <a:ext cx="1636631" cy="1416103"/>
            </a:xfrm>
            <a:prstGeom prst="hexagon">
              <a:avLst>
                <a:gd name="adj" fmla="val 28896"/>
                <a:gd name="vf" fmla="val 115470"/>
              </a:avLst>
            </a:prstGeom>
            <a:gradFill rotWithShape="1">
              <a:gsLst>
                <a:gs pos="0">
                  <a:srgbClr val="EDEDE7"/>
                </a:gs>
                <a:gs pos="100000">
                  <a:srgbClr val="CCCCBC"/>
                </a:gs>
              </a:gsLst>
              <a:lin ang="2700000" scaled="1"/>
            </a:gradFill>
            <a:ln w="9525" algn="ctr">
              <a:solidFill>
                <a:srgbClr val="9D9D9D"/>
              </a:solidFill>
              <a:miter lim="800000"/>
              <a:headEnd/>
              <a:tailEnd/>
            </a:ln>
            <a:effectLst/>
            <a:sp3d prstMaterial="metal">
              <a:bevelT h="19050" prst="angle"/>
            </a:sp3d>
          </p:spPr>
          <p:txBody>
            <a:bodyPr wrap="none" anchor="ctr"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  <p:sp>
          <p:nvSpPr>
            <p:cNvPr id="58372" name="AutoShape 6"/>
            <p:cNvSpPr>
              <a:spLocks noChangeArrowheads="1"/>
            </p:cNvSpPr>
            <p:nvPr/>
          </p:nvSpPr>
          <p:spPr bwMode="auto">
            <a:xfrm>
              <a:off x="2378325" y="2640225"/>
              <a:ext cx="1633767" cy="1416103"/>
            </a:xfrm>
            <a:prstGeom prst="hexagon">
              <a:avLst>
                <a:gd name="adj" fmla="val 28862"/>
                <a:gd name="vf" fmla="val 115470"/>
              </a:avLst>
            </a:prstGeom>
            <a:gradFill rotWithShape="1">
              <a:gsLst>
                <a:gs pos="0">
                  <a:srgbClr val="EDEDE7"/>
                </a:gs>
                <a:gs pos="100000">
                  <a:srgbClr val="CCCCBC"/>
                </a:gs>
              </a:gsLst>
              <a:lin ang="2700000" scaled="1"/>
            </a:gradFill>
            <a:ln w="9525">
              <a:solidFill>
                <a:srgbClr val="9D9D9D"/>
              </a:solidFill>
              <a:miter lim="800000"/>
              <a:headEnd/>
              <a:tailEnd/>
            </a:ln>
            <a:sp3d prstMaterial="metal">
              <a:bevelT h="19050" prst="angle"/>
            </a:sp3d>
          </p:spPr>
          <p:txBody>
            <a:bodyPr wrap="none" anchor="ctr"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  <p:sp>
          <p:nvSpPr>
            <p:cNvPr id="58373" name="AutoShape 7"/>
            <p:cNvSpPr>
              <a:spLocks noChangeArrowheads="1"/>
            </p:cNvSpPr>
            <p:nvPr/>
          </p:nvSpPr>
          <p:spPr bwMode="auto">
            <a:xfrm>
              <a:off x="2375461" y="4050600"/>
              <a:ext cx="1636631" cy="1416103"/>
            </a:xfrm>
            <a:prstGeom prst="hexagon">
              <a:avLst>
                <a:gd name="adj" fmla="val 28896"/>
                <a:gd name="vf" fmla="val 115470"/>
              </a:avLst>
            </a:prstGeom>
            <a:gradFill rotWithShape="1">
              <a:gsLst>
                <a:gs pos="0">
                  <a:srgbClr val="EDEDE7"/>
                </a:gs>
                <a:gs pos="100000">
                  <a:srgbClr val="CCCCBC"/>
                </a:gs>
              </a:gsLst>
              <a:lin ang="2700000" scaled="1"/>
            </a:gradFill>
            <a:ln w="9525" algn="ctr">
              <a:solidFill>
                <a:srgbClr val="9D9D9D"/>
              </a:solidFill>
              <a:miter lim="800000"/>
              <a:headEnd/>
              <a:tailEnd/>
            </a:ln>
            <a:effectLst/>
            <a:sp3d prstMaterial="metal">
              <a:bevelT h="19050" prst="angle"/>
            </a:sp3d>
          </p:spPr>
          <p:txBody>
            <a:bodyPr wrap="none" anchor="ctr"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  <p:sp>
          <p:nvSpPr>
            <p:cNvPr id="58374" name="AutoShape 8"/>
            <p:cNvSpPr>
              <a:spLocks noChangeArrowheads="1"/>
            </p:cNvSpPr>
            <p:nvPr/>
          </p:nvSpPr>
          <p:spPr bwMode="auto">
            <a:xfrm>
              <a:off x="3599713" y="4757935"/>
              <a:ext cx="1636631" cy="1417534"/>
            </a:xfrm>
            <a:prstGeom prst="hexagon">
              <a:avLst>
                <a:gd name="adj" fmla="val 28896"/>
                <a:gd name="vf" fmla="val 115470"/>
              </a:avLst>
            </a:prstGeom>
            <a:gradFill rotWithShape="1">
              <a:gsLst>
                <a:gs pos="0">
                  <a:srgbClr val="EDEDE7"/>
                </a:gs>
                <a:gs pos="100000">
                  <a:srgbClr val="CCCCBC"/>
                </a:gs>
              </a:gsLst>
              <a:lin ang="2700000" scaled="1"/>
            </a:gradFill>
            <a:ln w="9525" algn="ctr">
              <a:solidFill>
                <a:srgbClr val="9D9D9D"/>
              </a:solidFill>
              <a:miter lim="800000"/>
              <a:headEnd/>
              <a:tailEnd/>
            </a:ln>
            <a:effectLst/>
            <a:sp3d prstMaterial="metal">
              <a:bevelT h="19050" prst="angle"/>
            </a:sp3d>
          </p:spPr>
          <p:txBody>
            <a:bodyPr wrap="none" anchor="ctr"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  <p:sp>
          <p:nvSpPr>
            <p:cNvPr id="58375" name="AutoShape 9"/>
            <p:cNvSpPr>
              <a:spLocks noChangeArrowheads="1"/>
            </p:cNvSpPr>
            <p:nvPr/>
          </p:nvSpPr>
          <p:spPr bwMode="auto">
            <a:xfrm>
              <a:off x="4821101" y="2640225"/>
              <a:ext cx="1635199" cy="1416103"/>
            </a:xfrm>
            <a:prstGeom prst="hexagon">
              <a:avLst>
                <a:gd name="adj" fmla="val 28862"/>
                <a:gd name="vf" fmla="val 115470"/>
              </a:avLst>
            </a:prstGeom>
            <a:gradFill rotWithShape="1">
              <a:gsLst>
                <a:gs pos="0">
                  <a:srgbClr val="EDEDE7"/>
                </a:gs>
                <a:gs pos="100000">
                  <a:srgbClr val="CCCCBC"/>
                </a:gs>
              </a:gsLst>
              <a:lin ang="2700000" scaled="1"/>
            </a:gradFill>
            <a:ln w="9525" algn="ctr">
              <a:solidFill>
                <a:srgbClr val="9D9D9D"/>
              </a:solidFill>
              <a:miter lim="800000"/>
              <a:headEnd/>
              <a:tailEnd/>
            </a:ln>
            <a:effectLst/>
            <a:sp3d prstMaterial="metal">
              <a:bevelT h="19050" prst="angle"/>
            </a:sp3d>
          </p:spPr>
          <p:txBody>
            <a:bodyPr wrap="none" anchor="ctr"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  <p:sp>
          <p:nvSpPr>
            <p:cNvPr id="58376" name="AutoShape 10"/>
            <p:cNvSpPr>
              <a:spLocks noChangeArrowheads="1"/>
            </p:cNvSpPr>
            <p:nvPr/>
          </p:nvSpPr>
          <p:spPr bwMode="auto">
            <a:xfrm>
              <a:off x="4819669" y="4050600"/>
              <a:ext cx="1636631" cy="1416103"/>
            </a:xfrm>
            <a:prstGeom prst="hexagon">
              <a:avLst>
                <a:gd name="adj" fmla="val 28896"/>
                <a:gd name="vf" fmla="val 115470"/>
              </a:avLst>
            </a:prstGeom>
            <a:gradFill rotWithShape="1">
              <a:gsLst>
                <a:gs pos="0">
                  <a:srgbClr val="EDEDE7"/>
                </a:gs>
                <a:gs pos="100000">
                  <a:srgbClr val="CCCCBC"/>
                </a:gs>
              </a:gsLst>
              <a:lin ang="2700000" scaled="1"/>
            </a:gradFill>
            <a:ln w="9525" algn="ctr">
              <a:solidFill>
                <a:srgbClr val="9D9D9D"/>
              </a:solidFill>
              <a:miter lim="800000"/>
              <a:headEnd/>
              <a:tailEnd/>
            </a:ln>
            <a:effectLst/>
            <a:sp3d prstMaterial="metal">
              <a:bevelT h="19050" prst="angle"/>
            </a:sp3d>
          </p:spPr>
          <p:txBody>
            <a:bodyPr wrap="none" anchor="ctr"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</p:grpSp>
      <p:sp>
        <p:nvSpPr>
          <p:cNvPr id="18440" name="AutoShape 52"/>
          <p:cNvSpPr>
            <a:spLocks noChangeArrowheads="1"/>
          </p:cNvSpPr>
          <p:nvPr/>
        </p:nvSpPr>
        <p:spPr bwMode="auto">
          <a:xfrm>
            <a:off x="2689225" y="2368550"/>
            <a:ext cx="1531938" cy="1330325"/>
          </a:xfrm>
          <a:prstGeom prst="hexagon">
            <a:avLst>
              <a:gd name="adj" fmla="val 28789"/>
              <a:gd name="vf" fmla="val 115470"/>
            </a:avLst>
          </a:prstGeom>
          <a:solidFill>
            <a:srgbClr val="C0C0C0">
              <a:alpha val="4392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sp>
        <p:nvSpPr>
          <p:cNvPr id="18441" name="AutoShape 53"/>
          <p:cNvSpPr>
            <a:spLocks noChangeArrowheads="1"/>
          </p:cNvSpPr>
          <p:nvPr/>
        </p:nvSpPr>
        <p:spPr bwMode="auto">
          <a:xfrm>
            <a:off x="3822700" y="4367213"/>
            <a:ext cx="1554163" cy="1331912"/>
          </a:xfrm>
          <a:prstGeom prst="hexagon">
            <a:avLst>
              <a:gd name="adj" fmla="val 29172"/>
              <a:gd name="vf" fmla="val 115470"/>
            </a:avLst>
          </a:prstGeom>
          <a:solidFill>
            <a:srgbClr val="C0C0C0">
              <a:alpha val="4392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sp>
        <p:nvSpPr>
          <p:cNvPr id="18442" name="AutoShape 54"/>
          <p:cNvSpPr>
            <a:spLocks noChangeArrowheads="1"/>
          </p:cNvSpPr>
          <p:nvPr/>
        </p:nvSpPr>
        <p:spPr bwMode="auto">
          <a:xfrm>
            <a:off x="4979988" y="2371725"/>
            <a:ext cx="1530350" cy="1330325"/>
          </a:xfrm>
          <a:prstGeom prst="hexagon">
            <a:avLst>
              <a:gd name="adj" fmla="val 28759"/>
              <a:gd name="vf" fmla="val 115470"/>
            </a:avLst>
          </a:prstGeom>
          <a:solidFill>
            <a:srgbClr val="C0C0C0">
              <a:alpha val="4392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sp>
        <p:nvSpPr>
          <p:cNvPr id="18443" name="AutoShape 53"/>
          <p:cNvSpPr>
            <a:spLocks noChangeArrowheads="1"/>
          </p:cNvSpPr>
          <p:nvPr/>
        </p:nvSpPr>
        <p:spPr bwMode="auto">
          <a:xfrm>
            <a:off x="2660650" y="3697288"/>
            <a:ext cx="1554163" cy="1331912"/>
          </a:xfrm>
          <a:prstGeom prst="hexagon">
            <a:avLst>
              <a:gd name="adj" fmla="val 29172"/>
              <a:gd name="vf" fmla="val 115470"/>
            </a:avLst>
          </a:prstGeom>
          <a:solidFill>
            <a:srgbClr val="6B9B1A">
              <a:alpha val="43921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sp>
        <p:nvSpPr>
          <p:cNvPr id="18444" name="AutoShape 52"/>
          <p:cNvSpPr>
            <a:spLocks noChangeArrowheads="1"/>
          </p:cNvSpPr>
          <p:nvPr/>
        </p:nvSpPr>
        <p:spPr bwMode="auto">
          <a:xfrm>
            <a:off x="3835400" y="3035300"/>
            <a:ext cx="1530350" cy="1330325"/>
          </a:xfrm>
          <a:prstGeom prst="hexagon">
            <a:avLst>
              <a:gd name="adj" fmla="val 28759"/>
              <a:gd name="vf" fmla="val 115470"/>
            </a:avLst>
          </a:prstGeom>
          <a:solidFill>
            <a:srgbClr val="C0C0C0">
              <a:alpha val="4392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sp>
        <p:nvSpPr>
          <p:cNvPr id="18445" name="AutoShape 52"/>
          <p:cNvSpPr>
            <a:spLocks noChangeArrowheads="1"/>
          </p:cNvSpPr>
          <p:nvPr/>
        </p:nvSpPr>
        <p:spPr bwMode="auto">
          <a:xfrm>
            <a:off x="3829050" y="1700213"/>
            <a:ext cx="1531938" cy="1330325"/>
          </a:xfrm>
          <a:prstGeom prst="hexagon">
            <a:avLst>
              <a:gd name="adj" fmla="val 28789"/>
              <a:gd name="vf" fmla="val 115470"/>
            </a:avLst>
          </a:prstGeom>
          <a:solidFill>
            <a:srgbClr val="6B9B1A">
              <a:alpha val="4392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sp>
        <p:nvSpPr>
          <p:cNvPr id="18446" name="AutoShape 52"/>
          <p:cNvSpPr>
            <a:spLocks noChangeArrowheads="1"/>
          </p:cNvSpPr>
          <p:nvPr/>
        </p:nvSpPr>
        <p:spPr bwMode="auto">
          <a:xfrm>
            <a:off x="4984750" y="3697288"/>
            <a:ext cx="1531938" cy="1330325"/>
          </a:xfrm>
          <a:prstGeom prst="hexagon">
            <a:avLst>
              <a:gd name="adj" fmla="val 28789"/>
              <a:gd name="vf" fmla="val 115470"/>
            </a:avLst>
          </a:prstGeom>
          <a:solidFill>
            <a:srgbClr val="6B9B1A">
              <a:alpha val="4392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grpSp>
        <p:nvGrpSpPr>
          <p:cNvPr id="18447" name="Group 17"/>
          <p:cNvGrpSpPr>
            <a:grpSpLocks/>
          </p:cNvGrpSpPr>
          <p:nvPr/>
        </p:nvGrpSpPr>
        <p:grpSpPr bwMode="auto">
          <a:xfrm>
            <a:off x="4027488" y="1757363"/>
            <a:ext cx="1144587" cy="1143000"/>
            <a:chOff x="2537" y="1107"/>
            <a:chExt cx="721" cy="720"/>
          </a:xfrm>
        </p:grpSpPr>
        <p:sp>
          <p:nvSpPr>
            <p:cNvPr id="18465" name="Oval 19"/>
            <p:cNvSpPr>
              <a:spLocks noChangeArrowheads="1"/>
            </p:cNvSpPr>
            <p:nvPr/>
          </p:nvSpPr>
          <p:spPr bwMode="auto">
            <a:xfrm>
              <a:off x="2537" y="1107"/>
              <a:ext cx="721" cy="720"/>
            </a:xfrm>
            <a:prstGeom prst="ellipse">
              <a:avLst/>
            </a:prstGeom>
            <a:gradFill rotWithShape="1">
              <a:gsLst>
                <a:gs pos="0">
                  <a:srgbClr val="90BA45"/>
                </a:gs>
                <a:gs pos="100000">
                  <a:srgbClr val="4C7013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es-AR"/>
            </a:p>
          </p:txBody>
        </p:sp>
        <p:sp>
          <p:nvSpPr>
            <p:cNvPr id="18466" name="Oval 20"/>
            <p:cNvSpPr>
              <a:spLocks noChangeArrowheads="1"/>
            </p:cNvSpPr>
            <p:nvPr/>
          </p:nvSpPr>
          <p:spPr bwMode="auto">
            <a:xfrm>
              <a:off x="2825" y="1155"/>
              <a:ext cx="146" cy="14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de-DE" sz="1000" b="1"/>
                <a:t>1</a:t>
              </a:r>
            </a:p>
          </p:txBody>
        </p:sp>
        <p:sp>
          <p:nvSpPr>
            <p:cNvPr id="18467" name="Text Box 19"/>
            <p:cNvSpPr txBox="1">
              <a:spLocks noChangeArrowheads="1"/>
            </p:cNvSpPr>
            <p:nvPr/>
          </p:nvSpPr>
          <p:spPr bwMode="gray">
            <a:xfrm>
              <a:off x="2653" y="1355"/>
              <a:ext cx="498" cy="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</a:pPr>
              <a:r>
                <a:rPr lang="de-DE" sz="1200">
                  <a:solidFill>
                    <a:schemeClr val="bg1"/>
                  </a:solidFill>
                </a:rPr>
                <a:t>Support</a:t>
              </a:r>
              <a:br>
                <a:rPr lang="de-DE" sz="1200">
                  <a:solidFill>
                    <a:schemeClr val="bg1"/>
                  </a:solidFill>
                </a:rPr>
              </a:br>
              <a:r>
                <a:rPr lang="de-DE" sz="1200">
                  <a:solidFill>
                    <a:schemeClr val="bg1"/>
                  </a:solidFill>
                </a:rPr>
                <a:t>Service</a:t>
              </a:r>
              <a:endParaRPr lang="de-DE" sz="1200" noProof="1">
                <a:solidFill>
                  <a:schemeClr val="bg1"/>
                </a:solidFill>
              </a:endParaRPr>
            </a:p>
          </p:txBody>
        </p:sp>
      </p:grpSp>
      <p:grpSp>
        <p:nvGrpSpPr>
          <p:cNvPr id="18448" name="Group 21"/>
          <p:cNvGrpSpPr>
            <a:grpSpLocks/>
          </p:cNvGrpSpPr>
          <p:nvPr/>
        </p:nvGrpSpPr>
        <p:grpSpPr bwMode="auto">
          <a:xfrm>
            <a:off x="5159375" y="3746500"/>
            <a:ext cx="1201738" cy="1143000"/>
            <a:chOff x="3250" y="2360"/>
            <a:chExt cx="757" cy="720"/>
          </a:xfrm>
        </p:grpSpPr>
        <p:sp>
          <p:nvSpPr>
            <p:cNvPr id="18462" name="Oval 18"/>
            <p:cNvSpPr>
              <a:spLocks noChangeArrowheads="1"/>
            </p:cNvSpPr>
            <p:nvPr/>
          </p:nvSpPr>
          <p:spPr bwMode="auto">
            <a:xfrm>
              <a:off x="3257" y="2360"/>
              <a:ext cx="721" cy="720"/>
            </a:xfrm>
            <a:prstGeom prst="ellipse">
              <a:avLst/>
            </a:prstGeom>
            <a:gradFill rotWithShape="1">
              <a:gsLst>
                <a:gs pos="0">
                  <a:srgbClr val="90BA45"/>
                </a:gs>
                <a:gs pos="100000">
                  <a:srgbClr val="4C7013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es-AR"/>
            </a:p>
          </p:txBody>
        </p:sp>
        <p:sp>
          <p:nvSpPr>
            <p:cNvPr id="18463" name="Oval 22"/>
            <p:cNvSpPr>
              <a:spLocks noChangeArrowheads="1"/>
            </p:cNvSpPr>
            <p:nvPr/>
          </p:nvSpPr>
          <p:spPr bwMode="auto">
            <a:xfrm>
              <a:off x="3545" y="2407"/>
              <a:ext cx="146" cy="14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de-DE" sz="1000" b="1"/>
                <a:t>3</a:t>
              </a:r>
            </a:p>
          </p:txBody>
        </p:sp>
        <p:sp>
          <p:nvSpPr>
            <p:cNvPr id="18464" name="Text Box 19"/>
            <p:cNvSpPr txBox="1">
              <a:spLocks noChangeArrowheads="1"/>
            </p:cNvSpPr>
            <p:nvPr/>
          </p:nvSpPr>
          <p:spPr bwMode="gray">
            <a:xfrm>
              <a:off x="3250" y="2617"/>
              <a:ext cx="757" cy="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</a:pPr>
              <a:r>
                <a:rPr lang="de-DE" sz="1200">
                  <a:solidFill>
                    <a:schemeClr val="bg1"/>
                  </a:solidFill>
                </a:rPr>
                <a:t>Engineering </a:t>
              </a:r>
              <a:br>
                <a:rPr lang="de-DE" sz="1200">
                  <a:solidFill>
                    <a:schemeClr val="bg1"/>
                  </a:solidFill>
                </a:rPr>
              </a:br>
              <a:r>
                <a:rPr lang="de-DE" sz="1200">
                  <a:solidFill>
                    <a:schemeClr val="bg1"/>
                  </a:solidFill>
                </a:rPr>
                <a:t>Services</a:t>
              </a:r>
              <a:endParaRPr lang="de-DE" sz="1200" noProof="1">
                <a:solidFill>
                  <a:schemeClr val="bg1"/>
                </a:solidFill>
              </a:endParaRPr>
            </a:p>
          </p:txBody>
        </p:sp>
      </p:grpSp>
      <p:sp>
        <p:nvSpPr>
          <p:cNvPr id="18449" name="Rectangle 9"/>
          <p:cNvSpPr>
            <a:spLocks noChangeArrowheads="1"/>
          </p:cNvSpPr>
          <p:nvPr/>
        </p:nvSpPr>
        <p:spPr bwMode="gray">
          <a:xfrm>
            <a:off x="4140200" y="3551238"/>
            <a:ext cx="9271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FFFFFF"/>
                    </a:gs>
                    <a:gs pos="100000">
                      <a:srgbClr val="DDDDDD"/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969696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sz="1200" b="1">
                <a:latin typeface="Calibri" panose="020F0502020204030204" pitchFamily="34" charset="0"/>
              </a:rPr>
              <a:t>YOUR LOGO</a:t>
            </a:r>
          </a:p>
        </p:txBody>
      </p:sp>
      <p:sp>
        <p:nvSpPr>
          <p:cNvPr id="18450" name="Rectangle 9"/>
          <p:cNvSpPr>
            <a:spLocks noChangeArrowheads="1"/>
          </p:cNvSpPr>
          <p:nvPr/>
        </p:nvSpPr>
        <p:spPr bwMode="gray">
          <a:xfrm>
            <a:off x="5310188" y="2871788"/>
            <a:ext cx="928687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FFFFFF"/>
                    </a:gs>
                    <a:gs pos="100000">
                      <a:srgbClr val="DDDDDD"/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969696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sz="1200" b="1">
                <a:latin typeface="Calibri" panose="020F0502020204030204" pitchFamily="34" charset="0"/>
              </a:rPr>
              <a:t>YOUR LOGO</a:t>
            </a:r>
          </a:p>
        </p:txBody>
      </p:sp>
      <p:sp>
        <p:nvSpPr>
          <p:cNvPr id="18451" name="Rectangle 9"/>
          <p:cNvSpPr>
            <a:spLocks noChangeArrowheads="1"/>
          </p:cNvSpPr>
          <p:nvPr/>
        </p:nvSpPr>
        <p:spPr bwMode="gray">
          <a:xfrm>
            <a:off x="4124325" y="4911725"/>
            <a:ext cx="9286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FFFFFF"/>
                    </a:gs>
                    <a:gs pos="100000">
                      <a:srgbClr val="DDDDDD"/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969696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sz="1200" b="1">
                <a:latin typeface="Calibri" panose="020F0502020204030204" pitchFamily="34" charset="0"/>
              </a:rPr>
              <a:t>YOUR LOGO</a:t>
            </a:r>
          </a:p>
        </p:txBody>
      </p:sp>
      <p:sp>
        <p:nvSpPr>
          <p:cNvPr id="18452" name="Rectangle 9"/>
          <p:cNvSpPr>
            <a:spLocks noChangeArrowheads="1"/>
          </p:cNvSpPr>
          <p:nvPr/>
        </p:nvSpPr>
        <p:spPr bwMode="gray">
          <a:xfrm>
            <a:off x="2965450" y="2884488"/>
            <a:ext cx="928688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FFFFFF"/>
                    </a:gs>
                    <a:gs pos="100000">
                      <a:srgbClr val="DDDDDD"/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969696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sz="1200" b="1">
                <a:latin typeface="Calibri" panose="020F0502020204030204" pitchFamily="34" charset="0"/>
              </a:rPr>
              <a:t>YOUR LOGO</a:t>
            </a:r>
          </a:p>
        </p:txBody>
      </p:sp>
      <p:grpSp>
        <p:nvGrpSpPr>
          <p:cNvPr id="18453" name="Group 29"/>
          <p:cNvGrpSpPr>
            <a:grpSpLocks/>
          </p:cNvGrpSpPr>
          <p:nvPr/>
        </p:nvGrpSpPr>
        <p:grpSpPr bwMode="auto">
          <a:xfrm>
            <a:off x="2874963" y="3756025"/>
            <a:ext cx="1144587" cy="1144588"/>
            <a:chOff x="1811" y="2366"/>
            <a:chExt cx="721" cy="721"/>
          </a:xfrm>
        </p:grpSpPr>
        <p:sp>
          <p:nvSpPr>
            <p:cNvPr id="18459" name="Oval 16"/>
            <p:cNvSpPr>
              <a:spLocks noChangeArrowheads="1"/>
            </p:cNvSpPr>
            <p:nvPr/>
          </p:nvSpPr>
          <p:spPr bwMode="auto">
            <a:xfrm>
              <a:off x="1811" y="2366"/>
              <a:ext cx="721" cy="721"/>
            </a:xfrm>
            <a:prstGeom prst="ellipse">
              <a:avLst/>
            </a:prstGeom>
            <a:gradFill rotWithShape="1">
              <a:gsLst>
                <a:gs pos="0">
                  <a:srgbClr val="90BA45"/>
                </a:gs>
                <a:gs pos="100000">
                  <a:srgbClr val="4C7013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es-AR"/>
            </a:p>
          </p:txBody>
        </p:sp>
        <p:sp>
          <p:nvSpPr>
            <p:cNvPr id="18460" name="Oval 21"/>
            <p:cNvSpPr>
              <a:spLocks noChangeArrowheads="1"/>
            </p:cNvSpPr>
            <p:nvPr/>
          </p:nvSpPr>
          <p:spPr bwMode="auto">
            <a:xfrm>
              <a:off x="2099" y="2423"/>
              <a:ext cx="146" cy="14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de-DE" sz="1000" b="1"/>
                <a:t>2</a:t>
              </a:r>
            </a:p>
          </p:txBody>
        </p:sp>
        <p:sp>
          <p:nvSpPr>
            <p:cNvPr id="18461" name="Text Box 19"/>
            <p:cNvSpPr txBox="1">
              <a:spLocks noChangeArrowheads="1"/>
            </p:cNvSpPr>
            <p:nvPr/>
          </p:nvSpPr>
          <p:spPr bwMode="gray">
            <a:xfrm>
              <a:off x="1920" y="2665"/>
              <a:ext cx="498" cy="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</a:pPr>
              <a:r>
                <a:rPr lang="de-DE" sz="1200">
                  <a:solidFill>
                    <a:schemeClr val="bg1"/>
                  </a:solidFill>
                </a:rPr>
                <a:t>Design</a:t>
              </a:r>
              <a:br>
                <a:rPr lang="de-DE" sz="1200">
                  <a:solidFill>
                    <a:schemeClr val="bg1"/>
                  </a:solidFill>
                </a:rPr>
              </a:br>
              <a:r>
                <a:rPr lang="de-DE" sz="1200">
                  <a:solidFill>
                    <a:schemeClr val="bg1"/>
                  </a:solidFill>
                </a:rPr>
                <a:t>Service</a:t>
              </a:r>
              <a:endParaRPr lang="de-DE" sz="1200" noProof="1">
                <a:solidFill>
                  <a:schemeClr val="bg1"/>
                </a:solidFill>
              </a:endParaRPr>
            </a:p>
          </p:txBody>
        </p:sp>
      </p:grpSp>
      <p:sp>
        <p:nvSpPr>
          <p:cNvPr id="18454" name="Textfeld 7"/>
          <p:cNvSpPr txBox="1">
            <a:spLocks noChangeArrowheads="1"/>
          </p:cNvSpPr>
          <p:nvPr/>
        </p:nvSpPr>
        <p:spPr bwMode="gray">
          <a:xfrm>
            <a:off x="155575" y="174625"/>
            <a:ext cx="8988425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de-DE" sz="6000" b="1">
                <a:solidFill>
                  <a:srgbClr val="6B9B1A"/>
                </a:solidFill>
              </a:rPr>
              <a:t>COMB</a:t>
            </a:r>
            <a:r>
              <a:rPr lang="de-DE" sz="6000">
                <a:solidFill>
                  <a:srgbClr val="595959"/>
                </a:solidFill>
              </a:rPr>
              <a:t>CHART 4</a:t>
            </a:r>
          </a:p>
        </p:txBody>
      </p:sp>
      <p:sp>
        <p:nvSpPr>
          <p:cNvPr id="18455" name="Text Box 13"/>
          <p:cNvSpPr txBox="1">
            <a:spLocks noChangeArrowheads="1"/>
          </p:cNvSpPr>
          <p:nvPr/>
        </p:nvSpPr>
        <p:spPr bwMode="gray">
          <a:xfrm>
            <a:off x="5835650" y="1858963"/>
            <a:ext cx="300355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ct val="40000"/>
              </a:spcAft>
            </a:pPr>
            <a:r>
              <a:rPr lang="es-AR" sz="1400" noProof="1">
                <a:solidFill>
                  <a:srgbClr val="080808"/>
                </a:solidFill>
              </a:rPr>
              <a:t>The text demonstrates how your own text will look when you replace the placeholder with your own text.</a:t>
            </a:r>
          </a:p>
        </p:txBody>
      </p:sp>
      <p:sp>
        <p:nvSpPr>
          <p:cNvPr id="18456" name="Text Box 14"/>
          <p:cNvSpPr txBox="1">
            <a:spLocks noChangeArrowheads="1"/>
          </p:cNvSpPr>
          <p:nvPr/>
        </p:nvSpPr>
        <p:spPr bwMode="gray">
          <a:xfrm>
            <a:off x="6113463" y="4741863"/>
            <a:ext cx="2725737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ct val="40000"/>
              </a:spcAft>
            </a:pPr>
            <a:r>
              <a:rPr lang="es-AR" sz="1400" noProof="1">
                <a:solidFill>
                  <a:srgbClr val="080808"/>
                </a:solidFill>
              </a:rPr>
              <a:t>This is placeholder text. </a:t>
            </a:r>
            <a:br>
              <a:rPr lang="es-AR" sz="1400" noProof="1">
                <a:solidFill>
                  <a:srgbClr val="080808"/>
                </a:solidFill>
              </a:rPr>
            </a:br>
            <a:r>
              <a:rPr lang="es-AR" sz="1400" noProof="1">
                <a:solidFill>
                  <a:srgbClr val="080808"/>
                </a:solidFill>
              </a:rPr>
              <a:t>All phrases can be replaced with your own text.</a:t>
            </a:r>
          </a:p>
        </p:txBody>
      </p:sp>
      <p:sp>
        <p:nvSpPr>
          <p:cNvPr id="18457" name="Text Box 19"/>
          <p:cNvSpPr txBox="1">
            <a:spLocks noChangeArrowheads="1"/>
          </p:cNvSpPr>
          <p:nvPr/>
        </p:nvSpPr>
        <p:spPr bwMode="gray">
          <a:xfrm>
            <a:off x="312738" y="1858963"/>
            <a:ext cx="270510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400" noProof="1">
                <a:solidFill>
                  <a:srgbClr val="080808"/>
                </a:solidFill>
              </a:rPr>
              <a:t>This is placeholder text. </a:t>
            </a:r>
            <a:br>
              <a:rPr lang="es-AR" sz="1400" noProof="1">
                <a:solidFill>
                  <a:srgbClr val="080808"/>
                </a:solidFill>
              </a:rPr>
            </a:br>
            <a:r>
              <a:rPr lang="es-AR" sz="1400" noProof="1">
                <a:solidFill>
                  <a:srgbClr val="080808"/>
                </a:solidFill>
              </a:rPr>
              <a:t>All phrases can be replaced with your own text.</a:t>
            </a:r>
          </a:p>
        </p:txBody>
      </p:sp>
      <p:sp>
        <p:nvSpPr>
          <p:cNvPr id="18458" name="Text Box 20"/>
          <p:cNvSpPr txBox="1">
            <a:spLocks noChangeArrowheads="1"/>
          </p:cNvSpPr>
          <p:nvPr/>
        </p:nvSpPr>
        <p:spPr bwMode="gray">
          <a:xfrm>
            <a:off x="312738" y="4473575"/>
            <a:ext cx="2339975" cy="85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400" noProof="1">
                <a:solidFill>
                  <a:srgbClr val="080808"/>
                </a:solidFill>
              </a:rPr>
              <a:t>The text demonstrates how your own text will look when you replace the placeholder with your own text.</a:t>
            </a:r>
          </a:p>
        </p:txBody>
      </p:sp>
    </p:spTree>
    <p:extLst>
      <p:ext uri="{BB962C8B-B14F-4D97-AF65-F5344CB8AC3E}">
        <p14:creationId xmlns:p14="http://schemas.microsoft.com/office/powerpoint/2010/main" val="1087132947"/>
      </p:ext>
    </p:extLst>
  </p:cSld>
  <p:clrMapOvr>
    <a:masterClrMapping/>
  </p:clrMapOvr>
  <p:transition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458" name="Group 10"/>
          <p:cNvGrpSpPr>
            <a:grpSpLocks/>
          </p:cNvGrpSpPr>
          <p:nvPr/>
        </p:nvGrpSpPr>
        <p:grpSpPr bwMode="auto">
          <a:xfrm>
            <a:off x="0" y="-11113"/>
            <a:ext cx="9144000" cy="5948363"/>
            <a:chOff x="0" y="0"/>
            <a:chExt cx="5760" cy="3747"/>
          </a:xfrm>
        </p:grpSpPr>
        <p:sp>
          <p:nvSpPr>
            <p:cNvPr id="19490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19491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19492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19493" name="Rectangle 5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</p:grpSp>
      <p:pic>
        <p:nvPicPr>
          <p:cNvPr id="19459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6825" y="5595938"/>
            <a:ext cx="407035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60" name="Rectangle 2"/>
          <p:cNvSpPr txBox="1">
            <a:spLocks noChangeArrowheads="1"/>
          </p:cNvSpPr>
          <p:nvPr/>
        </p:nvSpPr>
        <p:spPr bwMode="auto">
          <a:xfrm>
            <a:off x="204788" y="58738"/>
            <a:ext cx="8520112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de-DE" sz="3200" b="1">
                <a:solidFill>
                  <a:schemeClr val="bg1"/>
                </a:solidFill>
              </a:rPr>
              <a:t>Comb Chart 4</a:t>
            </a:r>
            <a:endParaRPr lang="de-DE" sz="3200" b="1" noProof="1">
              <a:solidFill>
                <a:schemeClr val="bg1"/>
              </a:solidFill>
            </a:endParaRPr>
          </a:p>
        </p:txBody>
      </p:sp>
      <p:sp>
        <p:nvSpPr>
          <p:cNvPr id="19461" name="Rectangle 4"/>
          <p:cNvSpPr>
            <a:spLocks noChangeArrowheads="1"/>
          </p:cNvSpPr>
          <p:nvPr/>
        </p:nvSpPr>
        <p:spPr bwMode="gray">
          <a:xfrm>
            <a:off x="304800" y="1038225"/>
            <a:ext cx="57531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s-AR" sz="2000" noProof="1">
                <a:solidFill>
                  <a:schemeClr val="bg1"/>
                </a:solidFill>
              </a:rPr>
              <a:t>Placeholder for your own sub headline</a:t>
            </a:r>
          </a:p>
        </p:txBody>
      </p:sp>
      <p:sp>
        <p:nvSpPr>
          <p:cNvPr id="58377" name="Freeform 12"/>
          <p:cNvSpPr>
            <a:spLocks/>
          </p:cNvSpPr>
          <p:nvPr/>
        </p:nvSpPr>
        <p:spPr bwMode="auto">
          <a:xfrm>
            <a:off x="2584017" y="1652274"/>
            <a:ext cx="3981840" cy="4104225"/>
          </a:xfrm>
          <a:custGeom>
            <a:avLst/>
            <a:gdLst>
              <a:gd name="T0" fmla="*/ 918 w 2296"/>
              <a:gd name="T1" fmla="*/ 0 h 2387"/>
              <a:gd name="T2" fmla="*/ 1378 w 2296"/>
              <a:gd name="T3" fmla="*/ 0 h 2387"/>
              <a:gd name="T4" fmla="*/ 2064 w 2296"/>
              <a:gd name="T5" fmla="*/ 400 h 2387"/>
              <a:gd name="T6" fmla="*/ 2294 w 2296"/>
              <a:gd name="T7" fmla="*/ 800 h 2387"/>
              <a:gd name="T8" fmla="*/ 2296 w 2296"/>
              <a:gd name="T9" fmla="*/ 1594 h 2387"/>
              <a:gd name="T10" fmla="*/ 2067 w 2296"/>
              <a:gd name="T11" fmla="*/ 1984 h 2387"/>
              <a:gd name="T12" fmla="*/ 1382 w 2296"/>
              <a:gd name="T13" fmla="*/ 2387 h 2387"/>
              <a:gd name="T14" fmla="*/ 916 w 2296"/>
              <a:gd name="T15" fmla="*/ 2387 h 2387"/>
              <a:gd name="T16" fmla="*/ 229 w 2296"/>
              <a:gd name="T17" fmla="*/ 1987 h 2387"/>
              <a:gd name="T18" fmla="*/ 0 w 2296"/>
              <a:gd name="T19" fmla="*/ 1590 h 2387"/>
              <a:gd name="T20" fmla="*/ 4 w 2296"/>
              <a:gd name="T21" fmla="*/ 796 h 2387"/>
              <a:gd name="T22" fmla="*/ 227 w 2296"/>
              <a:gd name="T23" fmla="*/ 400 h 2387"/>
              <a:gd name="T24" fmla="*/ 918 w 2296"/>
              <a:gd name="T25" fmla="*/ 0 h 238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296"/>
              <a:gd name="T40" fmla="*/ 0 h 2387"/>
              <a:gd name="T41" fmla="*/ 2296 w 2296"/>
              <a:gd name="T42" fmla="*/ 2387 h 238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296" h="2387">
                <a:moveTo>
                  <a:pt x="918" y="0"/>
                </a:moveTo>
                <a:lnTo>
                  <a:pt x="1378" y="0"/>
                </a:lnTo>
                <a:lnTo>
                  <a:pt x="2064" y="400"/>
                </a:lnTo>
                <a:lnTo>
                  <a:pt x="2294" y="800"/>
                </a:lnTo>
                <a:lnTo>
                  <a:pt x="2296" y="1594"/>
                </a:lnTo>
                <a:lnTo>
                  <a:pt x="2067" y="1984"/>
                </a:lnTo>
                <a:lnTo>
                  <a:pt x="1382" y="2387"/>
                </a:lnTo>
                <a:lnTo>
                  <a:pt x="916" y="2387"/>
                </a:lnTo>
                <a:lnTo>
                  <a:pt x="229" y="1987"/>
                </a:lnTo>
                <a:lnTo>
                  <a:pt x="0" y="1590"/>
                </a:lnTo>
                <a:lnTo>
                  <a:pt x="4" y="796"/>
                </a:lnTo>
                <a:lnTo>
                  <a:pt x="227" y="400"/>
                </a:lnTo>
                <a:lnTo>
                  <a:pt x="918" y="0"/>
                </a:lnTo>
                <a:close/>
              </a:path>
            </a:pathLst>
          </a:custGeom>
          <a:gradFill rotWithShape="0">
            <a:gsLst>
              <a:gs pos="0">
                <a:schemeClr val="bg2"/>
              </a:gs>
              <a:gs pos="100000">
                <a:srgbClr val="CECEC4"/>
              </a:gs>
            </a:gsLst>
            <a:lin ang="0" scaled="1"/>
          </a:gradFill>
          <a:ln w="9525" cap="flat">
            <a:solidFill>
              <a:srgbClr val="CECEC4"/>
            </a:solidFill>
            <a:prstDash val="solid"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prst="relaxedInset"/>
          </a:sp3d>
        </p:spPr>
        <p:txBody>
          <a:bodyPr/>
          <a:lstStyle/>
          <a:p>
            <a:pPr>
              <a:defRPr/>
            </a:pPr>
            <a:endParaRPr lang="de-DE">
              <a:latin typeface="Arial" charset="0"/>
              <a:cs typeface="+mn-cs"/>
            </a:endParaRPr>
          </a:p>
        </p:txBody>
      </p:sp>
      <p:grpSp>
        <p:nvGrpSpPr>
          <p:cNvPr id="3" name="Gruppieren 17"/>
          <p:cNvGrpSpPr/>
          <p:nvPr/>
        </p:nvGrpSpPr>
        <p:grpSpPr>
          <a:xfrm>
            <a:off x="2683623" y="1705388"/>
            <a:ext cx="3832666" cy="3991526"/>
            <a:chOff x="2375461" y="1925730"/>
            <a:chExt cx="4080839" cy="4249739"/>
          </a:xfrm>
          <a:scene3d>
            <a:camera prst="orthographicFront"/>
            <a:lightRig rig="balanced" dir="t"/>
          </a:scene3d>
        </p:grpSpPr>
        <p:sp>
          <p:nvSpPr>
            <p:cNvPr id="4" name="AutoShape 4"/>
            <p:cNvSpPr>
              <a:spLocks noChangeArrowheads="1"/>
            </p:cNvSpPr>
            <p:nvPr/>
          </p:nvSpPr>
          <p:spPr bwMode="auto">
            <a:xfrm>
              <a:off x="3602577" y="1925730"/>
              <a:ext cx="1633767" cy="1416103"/>
            </a:xfrm>
            <a:prstGeom prst="hexagon">
              <a:avLst>
                <a:gd name="adj" fmla="val 28862"/>
                <a:gd name="vf" fmla="val 115470"/>
              </a:avLst>
            </a:prstGeom>
            <a:gradFill rotWithShape="1">
              <a:gsLst>
                <a:gs pos="0">
                  <a:srgbClr val="EDEDE7"/>
                </a:gs>
                <a:gs pos="100000">
                  <a:srgbClr val="CCCCBC"/>
                </a:gs>
              </a:gsLst>
              <a:lin ang="2700000" scaled="1"/>
            </a:gradFill>
            <a:ln w="9525" algn="ctr">
              <a:solidFill>
                <a:srgbClr val="9D9D9D"/>
              </a:solidFill>
              <a:miter lim="800000"/>
              <a:headEnd/>
              <a:tailEnd/>
            </a:ln>
            <a:effectLst/>
            <a:sp3d prstMaterial="metal">
              <a:bevelT h="19050" prst="angle"/>
            </a:sp3d>
          </p:spPr>
          <p:txBody>
            <a:bodyPr wrap="none" anchor="ctr"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  <p:sp>
          <p:nvSpPr>
            <p:cNvPr id="58371" name="AutoShape 5"/>
            <p:cNvSpPr>
              <a:spLocks noChangeArrowheads="1"/>
            </p:cNvSpPr>
            <p:nvPr/>
          </p:nvSpPr>
          <p:spPr bwMode="auto">
            <a:xfrm>
              <a:off x="3599713" y="3347560"/>
              <a:ext cx="1636631" cy="1416103"/>
            </a:xfrm>
            <a:prstGeom prst="hexagon">
              <a:avLst>
                <a:gd name="adj" fmla="val 28896"/>
                <a:gd name="vf" fmla="val 115470"/>
              </a:avLst>
            </a:prstGeom>
            <a:gradFill rotWithShape="1">
              <a:gsLst>
                <a:gs pos="0">
                  <a:srgbClr val="EDEDE7"/>
                </a:gs>
                <a:gs pos="100000">
                  <a:srgbClr val="CCCCBC"/>
                </a:gs>
              </a:gsLst>
              <a:lin ang="2700000" scaled="1"/>
            </a:gradFill>
            <a:ln w="9525" algn="ctr">
              <a:solidFill>
                <a:srgbClr val="9D9D9D"/>
              </a:solidFill>
              <a:miter lim="800000"/>
              <a:headEnd/>
              <a:tailEnd/>
            </a:ln>
            <a:effectLst/>
            <a:sp3d prstMaterial="metal">
              <a:bevelT h="19050" prst="angle"/>
            </a:sp3d>
          </p:spPr>
          <p:txBody>
            <a:bodyPr wrap="none" anchor="ctr"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  <p:sp>
          <p:nvSpPr>
            <p:cNvPr id="58372" name="AutoShape 6"/>
            <p:cNvSpPr>
              <a:spLocks noChangeArrowheads="1"/>
            </p:cNvSpPr>
            <p:nvPr/>
          </p:nvSpPr>
          <p:spPr bwMode="auto">
            <a:xfrm>
              <a:off x="2378325" y="2640225"/>
              <a:ext cx="1633767" cy="1416103"/>
            </a:xfrm>
            <a:prstGeom prst="hexagon">
              <a:avLst>
                <a:gd name="adj" fmla="val 28862"/>
                <a:gd name="vf" fmla="val 115470"/>
              </a:avLst>
            </a:prstGeom>
            <a:gradFill rotWithShape="1">
              <a:gsLst>
                <a:gs pos="0">
                  <a:srgbClr val="EDEDE7"/>
                </a:gs>
                <a:gs pos="100000">
                  <a:srgbClr val="CCCCBC"/>
                </a:gs>
              </a:gsLst>
              <a:lin ang="2700000" scaled="1"/>
            </a:gradFill>
            <a:ln w="9525">
              <a:solidFill>
                <a:srgbClr val="9D9D9D"/>
              </a:solidFill>
              <a:miter lim="800000"/>
              <a:headEnd/>
              <a:tailEnd/>
            </a:ln>
            <a:sp3d prstMaterial="metal">
              <a:bevelT h="19050" prst="angle"/>
            </a:sp3d>
          </p:spPr>
          <p:txBody>
            <a:bodyPr wrap="none" anchor="ctr"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  <p:sp>
          <p:nvSpPr>
            <p:cNvPr id="58373" name="AutoShape 7"/>
            <p:cNvSpPr>
              <a:spLocks noChangeArrowheads="1"/>
            </p:cNvSpPr>
            <p:nvPr/>
          </p:nvSpPr>
          <p:spPr bwMode="auto">
            <a:xfrm>
              <a:off x="2375461" y="4050600"/>
              <a:ext cx="1636631" cy="1416103"/>
            </a:xfrm>
            <a:prstGeom prst="hexagon">
              <a:avLst>
                <a:gd name="adj" fmla="val 28896"/>
                <a:gd name="vf" fmla="val 115470"/>
              </a:avLst>
            </a:prstGeom>
            <a:gradFill rotWithShape="1">
              <a:gsLst>
                <a:gs pos="0">
                  <a:srgbClr val="EDEDE7"/>
                </a:gs>
                <a:gs pos="100000">
                  <a:srgbClr val="CCCCBC"/>
                </a:gs>
              </a:gsLst>
              <a:lin ang="2700000" scaled="1"/>
            </a:gradFill>
            <a:ln w="9525" algn="ctr">
              <a:solidFill>
                <a:srgbClr val="9D9D9D"/>
              </a:solidFill>
              <a:miter lim="800000"/>
              <a:headEnd/>
              <a:tailEnd/>
            </a:ln>
            <a:effectLst/>
            <a:sp3d prstMaterial="metal">
              <a:bevelT h="19050" prst="angle"/>
            </a:sp3d>
          </p:spPr>
          <p:txBody>
            <a:bodyPr wrap="none" anchor="ctr"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  <p:sp>
          <p:nvSpPr>
            <p:cNvPr id="58374" name="AutoShape 8"/>
            <p:cNvSpPr>
              <a:spLocks noChangeArrowheads="1"/>
            </p:cNvSpPr>
            <p:nvPr/>
          </p:nvSpPr>
          <p:spPr bwMode="auto">
            <a:xfrm>
              <a:off x="3599713" y="4757935"/>
              <a:ext cx="1636631" cy="1417534"/>
            </a:xfrm>
            <a:prstGeom prst="hexagon">
              <a:avLst>
                <a:gd name="adj" fmla="val 28896"/>
                <a:gd name="vf" fmla="val 115470"/>
              </a:avLst>
            </a:prstGeom>
            <a:gradFill rotWithShape="1">
              <a:gsLst>
                <a:gs pos="0">
                  <a:srgbClr val="EDEDE7"/>
                </a:gs>
                <a:gs pos="100000">
                  <a:srgbClr val="CCCCBC"/>
                </a:gs>
              </a:gsLst>
              <a:lin ang="2700000" scaled="1"/>
            </a:gradFill>
            <a:ln w="9525" algn="ctr">
              <a:solidFill>
                <a:srgbClr val="9D9D9D"/>
              </a:solidFill>
              <a:miter lim="800000"/>
              <a:headEnd/>
              <a:tailEnd/>
            </a:ln>
            <a:effectLst/>
            <a:sp3d prstMaterial="metal">
              <a:bevelT h="19050" prst="angle"/>
            </a:sp3d>
          </p:spPr>
          <p:txBody>
            <a:bodyPr wrap="none" anchor="ctr"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  <p:sp>
          <p:nvSpPr>
            <p:cNvPr id="58375" name="AutoShape 9"/>
            <p:cNvSpPr>
              <a:spLocks noChangeArrowheads="1"/>
            </p:cNvSpPr>
            <p:nvPr/>
          </p:nvSpPr>
          <p:spPr bwMode="auto">
            <a:xfrm>
              <a:off x="4821101" y="2640225"/>
              <a:ext cx="1635199" cy="1416103"/>
            </a:xfrm>
            <a:prstGeom prst="hexagon">
              <a:avLst>
                <a:gd name="adj" fmla="val 28862"/>
                <a:gd name="vf" fmla="val 115470"/>
              </a:avLst>
            </a:prstGeom>
            <a:gradFill rotWithShape="1">
              <a:gsLst>
                <a:gs pos="0">
                  <a:srgbClr val="EDEDE7"/>
                </a:gs>
                <a:gs pos="100000">
                  <a:srgbClr val="CCCCBC"/>
                </a:gs>
              </a:gsLst>
              <a:lin ang="2700000" scaled="1"/>
            </a:gradFill>
            <a:ln w="9525" algn="ctr">
              <a:solidFill>
                <a:srgbClr val="9D9D9D"/>
              </a:solidFill>
              <a:miter lim="800000"/>
              <a:headEnd/>
              <a:tailEnd/>
            </a:ln>
            <a:effectLst/>
            <a:sp3d prstMaterial="metal">
              <a:bevelT h="19050" prst="angle"/>
            </a:sp3d>
          </p:spPr>
          <p:txBody>
            <a:bodyPr wrap="none" anchor="ctr"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  <p:sp>
          <p:nvSpPr>
            <p:cNvPr id="58376" name="AutoShape 10"/>
            <p:cNvSpPr>
              <a:spLocks noChangeArrowheads="1"/>
            </p:cNvSpPr>
            <p:nvPr/>
          </p:nvSpPr>
          <p:spPr bwMode="auto">
            <a:xfrm>
              <a:off x="4819669" y="4050600"/>
              <a:ext cx="1636631" cy="1416103"/>
            </a:xfrm>
            <a:prstGeom prst="hexagon">
              <a:avLst>
                <a:gd name="adj" fmla="val 28896"/>
                <a:gd name="vf" fmla="val 115470"/>
              </a:avLst>
            </a:prstGeom>
            <a:gradFill rotWithShape="1">
              <a:gsLst>
                <a:gs pos="0">
                  <a:srgbClr val="EDEDE7"/>
                </a:gs>
                <a:gs pos="100000">
                  <a:srgbClr val="CCCCBC"/>
                </a:gs>
              </a:gsLst>
              <a:lin ang="2700000" scaled="1"/>
            </a:gradFill>
            <a:ln w="9525" algn="ctr">
              <a:solidFill>
                <a:srgbClr val="9D9D9D"/>
              </a:solidFill>
              <a:miter lim="800000"/>
              <a:headEnd/>
              <a:tailEnd/>
            </a:ln>
            <a:effectLst/>
            <a:sp3d prstMaterial="metal">
              <a:bevelT h="19050" prst="angle"/>
            </a:sp3d>
          </p:spPr>
          <p:txBody>
            <a:bodyPr wrap="none" anchor="ctr"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</p:grpSp>
      <p:sp>
        <p:nvSpPr>
          <p:cNvPr id="19466" name="AutoShape 52"/>
          <p:cNvSpPr>
            <a:spLocks noChangeArrowheads="1"/>
          </p:cNvSpPr>
          <p:nvPr/>
        </p:nvSpPr>
        <p:spPr bwMode="auto">
          <a:xfrm>
            <a:off x="2689225" y="2368550"/>
            <a:ext cx="1531938" cy="1330325"/>
          </a:xfrm>
          <a:prstGeom prst="hexagon">
            <a:avLst>
              <a:gd name="adj" fmla="val 28789"/>
              <a:gd name="vf" fmla="val 115470"/>
            </a:avLst>
          </a:prstGeom>
          <a:solidFill>
            <a:srgbClr val="C0C0C0">
              <a:alpha val="4392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sp>
        <p:nvSpPr>
          <p:cNvPr id="19467" name="AutoShape 53"/>
          <p:cNvSpPr>
            <a:spLocks noChangeArrowheads="1"/>
          </p:cNvSpPr>
          <p:nvPr/>
        </p:nvSpPr>
        <p:spPr bwMode="auto">
          <a:xfrm>
            <a:off x="3822700" y="4367213"/>
            <a:ext cx="1554163" cy="1331912"/>
          </a:xfrm>
          <a:prstGeom prst="hexagon">
            <a:avLst>
              <a:gd name="adj" fmla="val 29172"/>
              <a:gd name="vf" fmla="val 115470"/>
            </a:avLst>
          </a:prstGeom>
          <a:solidFill>
            <a:srgbClr val="C0C0C0">
              <a:alpha val="4392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sp>
        <p:nvSpPr>
          <p:cNvPr id="19468" name="AutoShape 54"/>
          <p:cNvSpPr>
            <a:spLocks noChangeArrowheads="1"/>
          </p:cNvSpPr>
          <p:nvPr/>
        </p:nvSpPr>
        <p:spPr bwMode="auto">
          <a:xfrm>
            <a:off x="4979988" y="2371725"/>
            <a:ext cx="1530350" cy="1330325"/>
          </a:xfrm>
          <a:prstGeom prst="hexagon">
            <a:avLst>
              <a:gd name="adj" fmla="val 28759"/>
              <a:gd name="vf" fmla="val 115470"/>
            </a:avLst>
          </a:prstGeom>
          <a:solidFill>
            <a:srgbClr val="C0C0C0">
              <a:alpha val="4392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sp>
        <p:nvSpPr>
          <p:cNvPr id="19469" name="AutoShape 53"/>
          <p:cNvSpPr>
            <a:spLocks noChangeArrowheads="1"/>
          </p:cNvSpPr>
          <p:nvPr/>
        </p:nvSpPr>
        <p:spPr bwMode="auto">
          <a:xfrm>
            <a:off x="2660650" y="3697288"/>
            <a:ext cx="1554163" cy="1331912"/>
          </a:xfrm>
          <a:prstGeom prst="hexagon">
            <a:avLst>
              <a:gd name="adj" fmla="val 29172"/>
              <a:gd name="vf" fmla="val 115470"/>
            </a:avLst>
          </a:prstGeom>
          <a:solidFill>
            <a:srgbClr val="0161B2">
              <a:alpha val="43921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sp>
        <p:nvSpPr>
          <p:cNvPr id="19470" name="AutoShape 52"/>
          <p:cNvSpPr>
            <a:spLocks noChangeArrowheads="1"/>
          </p:cNvSpPr>
          <p:nvPr/>
        </p:nvSpPr>
        <p:spPr bwMode="auto">
          <a:xfrm>
            <a:off x="3835400" y="3035300"/>
            <a:ext cx="1530350" cy="1330325"/>
          </a:xfrm>
          <a:prstGeom prst="hexagon">
            <a:avLst>
              <a:gd name="adj" fmla="val 28759"/>
              <a:gd name="vf" fmla="val 115470"/>
            </a:avLst>
          </a:prstGeom>
          <a:solidFill>
            <a:srgbClr val="C0C0C0">
              <a:alpha val="4392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sp>
        <p:nvSpPr>
          <p:cNvPr id="19471" name="AutoShape 52"/>
          <p:cNvSpPr>
            <a:spLocks noChangeArrowheads="1"/>
          </p:cNvSpPr>
          <p:nvPr/>
        </p:nvSpPr>
        <p:spPr bwMode="auto">
          <a:xfrm>
            <a:off x="3829050" y="1700213"/>
            <a:ext cx="1531938" cy="1330325"/>
          </a:xfrm>
          <a:prstGeom prst="hexagon">
            <a:avLst>
              <a:gd name="adj" fmla="val 28789"/>
              <a:gd name="vf" fmla="val 115470"/>
            </a:avLst>
          </a:prstGeom>
          <a:solidFill>
            <a:srgbClr val="0161B2">
              <a:alpha val="4392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sp>
        <p:nvSpPr>
          <p:cNvPr id="19472" name="AutoShape 52"/>
          <p:cNvSpPr>
            <a:spLocks noChangeArrowheads="1"/>
          </p:cNvSpPr>
          <p:nvPr/>
        </p:nvSpPr>
        <p:spPr bwMode="auto">
          <a:xfrm>
            <a:off x="4984750" y="3697288"/>
            <a:ext cx="1531938" cy="1330325"/>
          </a:xfrm>
          <a:prstGeom prst="hexagon">
            <a:avLst>
              <a:gd name="adj" fmla="val 28789"/>
              <a:gd name="vf" fmla="val 115470"/>
            </a:avLst>
          </a:prstGeom>
          <a:solidFill>
            <a:srgbClr val="0161B2">
              <a:alpha val="4392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sp>
        <p:nvSpPr>
          <p:cNvPr id="19473" name="Oval 19"/>
          <p:cNvSpPr>
            <a:spLocks noChangeArrowheads="1"/>
          </p:cNvSpPr>
          <p:nvPr/>
        </p:nvSpPr>
        <p:spPr bwMode="auto">
          <a:xfrm>
            <a:off x="4027488" y="1757363"/>
            <a:ext cx="1144587" cy="1143000"/>
          </a:xfrm>
          <a:prstGeom prst="ellipse">
            <a:avLst/>
          </a:prstGeom>
          <a:gradFill rotWithShape="1">
            <a:gsLst>
              <a:gs pos="0">
                <a:srgbClr val="0161B2"/>
              </a:gs>
              <a:gs pos="100000">
                <a:srgbClr val="004074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sp>
        <p:nvSpPr>
          <p:cNvPr id="19474" name="Oval 20"/>
          <p:cNvSpPr>
            <a:spLocks noChangeArrowheads="1"/>
          </p:cNvSpPr>
          <p:nvPr/>
        </p:nvSpPr>
        <p:spPr bwMode="auto">
          <a:xfrm>
            <a:off x="4484688" y="1833563"/>
            <a:ext cx="231775" cy="231775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sz="1000" b="1"/>
              <a:t>1</a:t>
            </a:r>
          </a:p>
        </p:txBody>
      </p:sp>
      <p:sp>
        <p:nvSpPr>
          <p:cNvPr id="19475" name="Oval 18"/>
          <p:cNvSpPr>
            <a:spLocks noChangeArrowheads="1"/>
          </p:cNvSpPr>
          <p:nvPr/>
        </p:nvSpPr>
        <p:spPr bwMode="auto">
          <a:xfrm>
            <a:off x="5170488" y="3746500"/>
            <a:ext cx="1144587" cy="1143000"/>
          </a:xfrm>
          <a:prstGeom prst="ellipse">
            <a:avLst/>
          </a:prstGeom>
          <a:gradFill rotWithShape="1">
            <a:gsLst>
              <a:gs pos="0">
                <a:srgbClr val="0161B2"/>
              </a:gs>
              <a:gs pos="100000">
                <a:srgbClr val="004074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sp>
        <p:nvSpPr>
          <p:cNvPr id="19476" name="Oval 22"/>
          <p:cNvSpPr>
            <a:spLocks noChangeArrowheads="1"/>
          </p:cNvSpPr>
          <p:nvPr/>
        </p:nvSpPr>
        <p:spPr bwMode="auto">
          <a:xfrm>
            <a:off x="5627688" y="3821113"/>
            <a:ext cx="231775" cy="231775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sz="1000" b="1"/>
              <a:t>3</a:t>
            </a:r>
          </a:p>
        </p:txBody>
      </p:sp>
      <p:sp>
        <p:nvSpPr>
          <p:cNvPr id="19477" name="Oval 16"/>
          <p:cNvSpPr>
            <a:spLocks noChangeArrowheads="1"/>
          </p:cNvSpPr>
          <p:nvPr/>
        </p:nvSpPr>
        <p:spPr bwMode="auto">
          <a:xfrm>
            <a:off x="2874963" y="3756025"/>
            <a:ext cx="1144587" cy="1144588"/>
          </a:xfrm>
          <a:prstGeom prst="ellipse">
            <a:avLst/>
          </a:prstGeom>
          <a:gradFill rotWithShape="1">
            <a:gsLst>
              <a:gs pos="0">
                <a:srgbClr val="0161B2"/>
              </a:gs>
              <a:gs pos="100000">
                <a:srgbClr val="004074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sp>
        <p:nvSpPr>
          <p:cNvPr id="19478" name="Oval 21"/>
          <p:cNvSpPr>
            <a:spLocks noChangeArrowheads="1"/>
          </p:cNvSpPr>
          <p:nvPr/>
        </p:nvSpPr>
        <p:spPr bwMode="auto">
          <a:xfrm>
            <a:off x="3332163" y="3846513"/>
            <a:ext cx="231775" cy="231775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sz="1000" b="1"/>
              <a:t>2</a:t>
            </a:r>
          </a:p>
        </p:txBody>
      </p:sp>
      <p:sp>
        <p:nvSpPr>
          <p:cNvPr id="19479" name="Rectangle 9"/>
          <p:cNvSpPr>
            <a:spLocks noChangeArrowheads="1"/>
          </p:cNvSpPr>
          <p:nvPr/>
        </p:nvSpPr>
        <p:spPr bwMode="gray">
          <a:xfrm>
            <a:off x="4140200" y="3551238"/>
            <a:ext cx="9271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FFFFFF"/>
                    </a:gs>
                    <a:gs pos="100000">
                      <a:srgbClr val="DDDDDD"/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969696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sz="1200" b="1">
                <a:latin typeface="Calibri" panose="020F0502020204030204" pitchFamily="34" charset="0"/>
              </a:rPr>
              <a:t>YOUR LOGO</a:t>
            </a:r>
          </a:p>
        </p:txBody>
      </p:sp>
      <p:sp>
        <p:nvSpPr>
          <p:cNvPr id="19480" name="Rectangle 9"/>
          <p:cNvSpPr>
            <a:spLocks noChangeArrowheads="1"/>
          </p:cNvSpPr>
          <p:nvPr/>
        </p:nvSpPr>
        <p:spPr bwMode="gray">
          <a:xfrm>
            <a:off x="5310188" y="2871788"/>
            <a:ext cx="928687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FFFFFF"/>
                    </a:gs>
                    <a:gs pos="100000">
                      <a:srgbClr val="DDDDDD"/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969696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sz="1200" b="1">
                <a:latin typeface="Calibri" panose="020F0502020204030204" pitchFamily="34" charset="0"/>
              </a:rPr>
              <a:t>YOUR LOGO</a:t>
            </a:r>
          </a:p>
        </p:txBody>
      </p:sp>
      <p:sp>
        <p:nvSpPr>
          <p:cNvPr id="19481" name="Rectangle 9"/>
          <p:cNvSpPr>
            <a:spLocks noChangeArrowheads="1"/>
          </p:cNvSpPr>
          <p:nvPr/>
        </p:nvSpPr>
        <p:spPr bwMode="gray">
          <a:xfrm>
            <a:off x="4124325" y="4911725"/>
            <a:ext cx="9286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FFFFFF"/>
                    </a:gs>
                    <a:gs pos="100000">
                      <a:srgbClr val="DDDDDD"/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969696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sz="1200" b="1">
                <a:latin typeface="Calibri" panose="020F0502020204030204" pitchFamily="34" charset="0"/>
              </a:rPr>
              <a:t>YOUR LOGO</a:t>
            </a:r>
          </a:p>
        </p:txBody>
      </p:sp>
      <p:sp>
        <p:nvSpPr>
          <p:cNvPr id="19482" name="Rectangle 9"/>
          <p:cNvSpPr>
            <a:spLocks noChangeArrowheads="1"/>
          </p:cNvSpPr>
          <p:nvPr/>
        </p:nvSpPr>
        <p:spPr bwMode="gray">
          <a:xfrm>
            <a:off x="2965450" y="2884488"/>
            <a:ext cx="928688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FFFFFF"/>
                    </a:gs>
                    <a:gs pos="100000">
                      <a:srgbClr val="DDDDDD"/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969696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sz="1200" b="1">
                <a:latin typeface="Calibri" panose="020F0502020204030204" pitchFamily="34" charset="0"/>
              </a:rPr>
              <a:t>YOUR LOGO</a:t>
            </a:r>
          </a:p>
        </p:txBody>
      </p:sp>
      <p:sp>
        <p:nvSpPr>
          <p:cNvPr id="19483" name="Text Box 19"/>
          <p:cNvSpPr txBox="1">
            <a:spLocks noChangeArrowheads="1"/>
          </p:cNvSpPr>
          <p:nvPr/>
        </p:nvSpPr>
        <p:spPr bwMode="gray">
          <a:xfrm>
            <a:off x="4211638" y="2151063"/>
            <a:ext cx="7905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de-DE" sz="1200">
                <a:solidFill>
                  <a:schemeClr val="bg1"/>
                </a:solidFill>
              </a:rPr>
              <a:t>Support</a:t>
            </a:r>
            <a:br>
              <a:rPr lang="de-DE" sz="1200">
                <a:solidFill>
                  <a:schemeClr val="bg1"/>
                </a:solidFill>
              </a:rPr>
            </a:br>
            <a:r>
              <a:rPr lang="de-DE" sz="1200">
                <a:solidFill>
                  <a:schemeClr val="bg1"/>
                </a:solidFill>
              </a:rPr>
              <a:t>Service</a:t>
            </a:r>
            <a:endParaRPr lang="de-DE" sz="1200" noProof="1">
              <a:solidFill>
                <a:schemeClr val="bg1"/>
              </a:solidFill>
            </a:endParaRPr>
          </a:p>
        </p:txBody>
      </p:sp>
      <p:sp>
        <p:nvSpPr>
          <p:cNvPr id="19484" name="Text Box 19"/>
          <p:cNvSpPr txBox="1">
            <a:spLocks noChangeArrowheads="1"/>
          </p:cNvSpPr>
          <p:nvPr/>
        </p:nvSpPr>
        <p:spPr bwMode="gray">
          <a:xfrm>
            <a:off x="5159375" y="4154488"/>
            <a:ext cx="120173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de-DE" sz="1200">
                <a:solidFill>
                  <a:schemeClr val="bg1"/>
                </a:solidFill>
              </a:rPr>
              <a:t>Engineering </a:t>
            </a:r>
            <a:br>
              <a:rPr lang="de-DE" sz="1200">
                <a:solidFill>
                  <a:schemeClr val="bg1"/>
                </a:solidFill>
              </a:rPr>
            </a:br>
            <a:r>
              <a:rPr lang="de-DE" sz="1200">
                <a:solidFill>
                  <a:schemeClr val="bg1"/>
                </a:solidFill>
              </a:rPr>
              <a:t>Services</a:t>
            </a:r>
            <a:endParaRPr lang="de-DE" sz="1200" noProof="1">
              <a:solidFill>
                <a:schemeClr val="bg1"/>
              </a:solidFill>
            </a:endParaRPr>
          </a:p>
        </p:txBody>
      </p:sp>
      <p:sp>
        <p:nvSpPr>
          <p:cNvPr id="19485" name="Text Box 19"/>
          <p:cNvSpPr txBox="1">
            <a:spLocks noChangeArrowheads="1"/>
          </p:cNvSpPr>
          <p:nvPr/>
        </p:nvSpPr>
        <p:spPr bwMode="gray">
          <a:xfrm>
            <a:off x="3048000" y="4230688"/>
            <a:ext cx="7905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de-DE" sz="1200">
                <a:solidFill>
                  <a:schemeClr val="bg1"/>
                </a:solidFill>
              </a:rPr>
              <a:t>Design</a:t>
            </a:r>
            <a:br>
              <a:rPr lang="de-DE" sz="1200">
                <a:solidFill>
                  <a:schemeClr val="bg1"/>
                </a:solidFill>
              </a:rPr>
            </a:br>
            <a:r>
              <a:rPr lang="de-DE" sz="1200">
                <a:solidFill>
                  <a:schemeClr val="bg1"/>
                </a:solidFill>
              </a:rPr>
              <a:t>Service</a:t>
            </a:r>
            <a:endParaRPr lang="de-DE" sz="1200" noProof="1">
              <a:solidFill>
                <a:schemeClr val="bg1"/>
              </a:solidFill>
            </a:endParaRPr>
          </a:p>
        </p:txBody>
      </p:sp>
      <p:sp>
        <p:nvSpPr>
          <p:cNvPr id="19486" name="Text Box 13"/>
          <p:cNvSpPr txBox="1">
            <a:spLocks noChangeArrowheads="1"/>
          </p:cNvSpPr>
          <p:nvPr/>
        </p:nvSpPr>
        <p:spPr bwMode="gray">
          <a:xfrm>
            <a:off x="5835650" y="1858963"/>
            <a:ext cx="300355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ct val="40000"/>
              </a:spcAft>
            </a:pPr>
            <a:r>
              <a:rPr lang="es-AR" sz="1400" noProof="1">
                <a:solidFill>
                  <a:schemeClr val="bg1"/>
                </a:solidFill>
              </a:rPr>
              <a:t>The text demonstrates how your own text will look when you replace the placeholder with your own text.</a:t>
            </a:r>
          </a:p>
        </p:txBody>
      </p:sp>
      <p:sp>
        <p:nvSpPr>
          <p:cNvPr id="19487" name="Text Box 14"/>
          <p:cNvSpPr txBox="1">
            <a:spLocks noChangeArrowheads="1"/>
          </p:cNvSpPr>
          <p:nvPr/>
        </p:nvSpPr>
        <p:spPr bwMode="gray">
          <a:xfrm>
            <a:off x="6113463" y="4741863"/>
            <a:ext cx="2725737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ct val="40000"/>
              </a:spcAft>
            </a:pPr>
            <a:r>
              <a:rPr lang="es-AR" sz="1400" noProof="1">
                <a:solidFill>
                  <a:srgbClr val="080808"/>
                </a:solidFill>
              </a:rPr>
              <a:t>This is placeholder text. </a:t>
            </a:r>
            <a:br>
              <a:rPr lang="es-AR" sz="1400" noProof="1">
                <a:solidFill>
                  <a:srgbClr val="080808"/>
                </a:solidFill>
              </a:rPr>
            </a:br>
            <a:r>
              <a:rPr lang="es-AR" sz="1400" noProof="1">
                <a:solidFill>
                  <a:srgbClr val="080808"/>
                </a:solidFill>
              </a:rPr>
              <a:t>All phrases can be replaced with your own text.</a:t>
            </a:r>
          </a:p>
        </p:txBody>
      </p:sp>
      <p:sp>
        <p:nvSpPr>
          <p:cNvPr id="19488" name="Text Box 19"/>
          <p:cNvSpPr txBox="1">
            <a:spLocks noChangeArrowheads="1"/>
          </p:cNvSpPr>
          <p:nvPr/>
        </p:nvSpPr>
        <p:spPr bwMode="gray">
          <a:xfrm>
            <a:off x="312738" y="1858963"/>
            <a:ext cx="270510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400" noProof="1">
                <a:solidFill>
                  <a:schemeClr val="bg1"/>
                </a:solidFill>
              </a:rPr>
              <a:t>This is placeholder text. </a:t>
            </a:r>
            <a:br>
              <a:rPr lang="es-AR" sz="1400" noProof="1">
                <a:solidFill>
                  <a:schemeClr val="bg1"/>
                </a:solidFill>
              </a:rPr>
            </a:br>
            <a:r>
              <a:rPr lang="es-AR" sz="1400" noProof="1">
                <a:solidFill>
                  <a:schemeClr val="bg1"/>
                </a:solidFill>
              </a:rPr>
              <a:t>All phrases can be replaced with your own text.</a:t>
            </a:r>
          </a:p>
        </p:txBody>
      </p:sp>
      <p:sp>
        <p:nvSpPr>
          <p:cNvPr id="19489" name="Text Box 20"/>
          <p:cNvSpPr txBox="1">
            <a:spLocks noChangeArrowheads="1"/>
          </p:cNvSpPr>
          <p:nvPr/>
        </p:nvSpPr>
        <p:spPr bwMode="gray">
          <a:xfrm>
            <a:off x="312738" y="4473575"/>
            <a:ext cx="2339975" cy="85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400" noProof="1">
                <a:solidFill>
                  <a:srgbClr val="080808"/>
                </a:solidFill>
              </a:rPr>
              <a:t>The text demonstrates how your own text will look when you replace the placeholder with your own text.</a:t>
            </a:r>
          </a:p>
        </p:txBody>
      </p:sp>
    </p:spTree>
    <p:extLst>
      <p:ext uri="{BB962C8B-B14F-4D97-AF65-F5344CB8AC3E}">
        <p14:creationId xmlns:p14="http://schemas.microsoft.com/office/powerpoint/2010/main" val="3860668635"/>
      </p:ext>
    </p:extLst>
  </p:cSld>
  <p:clrMapOvr>
    <a:masterClrMapping/>
  </p:clrMapOvr>
  <p:transition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482" name="Group 23"/>
          <p:cNvGrpSpPr>
            <a:grpSpLocks/>
          </p:cNvGrpSpPr>
          <p:nvPr/>
        </p:nvGrpSpPr>
        <p:grpSpPr bwMode="auto">
          <a:xfrm>
            <a:off x="0" y="3500438"/>
            <a:ext cx="9144000" cy="1676400"/>
            <a:chOff x="0" y="2086"/>
            <a:chExt cx="5760" cy="1056"/>
          </a:xfrm>
        </p:grpSpPr>
        <p:sp>
          <p:nvSpPr>
            <p:cNvPr id="20514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/>
            </a:p>
          </p:txBody>
        </p:sp>
        <p:sp>
          <p:nvSpPr>
            <p:cNvPr id="20515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/>
            </a:p>
          </p:txBody>
        </p:sp>
      </p:grpSp>
      <p:sp>
        <p:nvSpPr>
          <p:cNvPr id="20483" name="Text Box 19"/>
          <p:cNvSpPr txBox="1">
            <a:spLocks noChangeArrowheads="1"/>
          </p:cNvSpPr>
          <p:nvPr/>
        </p:nvSpPr>
        <p:spPr bwMode="gray">
          <a:xfrm>
            <a:off x="4070350" y="2119313"/>
            <a:ext cx="941388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n-US" sz="1600"/>
              <a:t>Your</a:t>
            </a:r>
            <a:br>
              <a:rPr lang="en-US" sz="1600"/>
            </a:br>
            <a:r>
              <a:rPr lang="en-US" sz="1600"/>
              <a:t>Text</a:t>
            </a:r>
          </a:p>
        </p:txBody>
      </p:sp>
      <p:sp>
        <p:nvSpPr>
          <p:cNvPr id="20484" name="Text Box 19"/>
          <p:cNvSpPr txBox="1">
            <a:spLocks noChangeArrowheads="1"/>
          </p:cNvSpPr>
          <p:nvPr/>
        </p:nvSpPr>
        <p:spPr bwMode="gray">
          <a:xfrm>
            <a:off x="6040438" y="2190750"/>
            <a:ext cx="152717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n-US" sz="1600"/>
              <a:t>Placeholder</a:t>
            </a:r>
            <a:br>
              <a:rPr lang="en-US" sz="1600"/>
            </a:br>
            <a:r>
              <a:rPr lang="en-US" sz="1600"/>
              <a:t>Text</a:t>
            </a:r>
          </a:p>
        </p:txBody>
      </p:sp>
      <p:sp>
        <p:nvSpPr>
          <p:cNvPr id="20485" name="Text Box 19"/>
          <p:cNvSpPr txBox="1">
            <a:spLocks noChangeArrowheads="1"/>
          </p:cNvSpPr>
          <p:nvPr/>
        </p:nvSpPr>
        <p:spPr bwMode="gray">
          <a:xfrm>
            <a:off x="1568450" y="2190750"/>
            <a:ext cx="1487488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n-US" sz="1600"/>
              <a:t>Placeholder</a:t>
            </a:r>
            <a:br>
              <a:rPr lang="en-US" sz="1600"/>
            </a:br>
            <a:r>
              <a:rPr lang="en-US" sz="1600"/>
              <a:t>Text</a:t>
            </a:r>
          </a:p>
        </p:txBody>
      </p:sp>
      <p:sp>
        <p:nvSpPr>
          <p:cNvPr id="20486" name="Textfeld 7"/>
          <p:cNvSpPr txBox="1">
            <a:spLocks noChangeArrowheads="1"/>
          </p:cNvSpPr>
          <p:nvPr/>
        </p:nvSpPr>
        <p:spPr bwMode="gray">
          <a:xfrm>
            <a:off x="155575" y="174625"/>
            <a:ext cx="8988425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de-DE" sz="6000" b="1">
                <a:solidFill>
                  <a:srgbClr val="6B9B1A"/>
                </a:solidFill>
              </a:rPr>
              <a:t>FILL LEVEL</a:t>
            </a:r>
            <a:r>
              <a:rPr lang="de-DE" sz="6000">
                <a:solidFill>
                  <a:srgbClr val="595959"/>
                </a:solidFill>
              </a:rPr>
              <a:t>CHART</a:t>
            </a:r>
          </a:p>
        </p:txBody>
      </p:sp>
      <p:grpSp>
        <p:nvGrpSpPr>
          <p:cNvPr id="20488" name="Group 10"/>
          <p:cNvGrpSpPr>
            <a:grpSpLocks/>
          </p:cNvGrpSpPr>
          <p:nvPr/>
        </p:nvGrpSpPr>
        <p:grpSpPr bwMode="auto">
          <a:xfrm>
            <a:off x="1562100" y="2828925"/>
            <a:ext cx="1512888" cy="2503488"/>
            <a:chOff x="1666" y="2206"/>
            <a:chExt cx="938" cy="1552"/>
          </a:xfrm>
        </p:grpSpPr>
        <p:grpSp>
          <p:nvGrpSpPr>
            <p:cNvPr id="20507" name="Group 232"/>
            <p:cNvGrpSpPr>
              <a:grpSpLocks/>
            </p:cNvGrpSpPr>
            <p:nvPr/>
          </p:nvGrpSpPr>
          <p:grpSpPr bwMode="auto">
            <a:xfrm>
              <a:off x="1666" y="2206"/>
              <a:ext cx="938" cy="1078"/>
              <a:chOff x="2699" y="1389"/>
              <a:chExt cx="891" cy="1024"/>
            </a:xfrm>
          </p:grpSpPr>
          <p:sp>
            <p:nvSpPr>
              <p:cNvPr id="20509" name="Oval 233"/>
              <p:cNvSpPr>
                <a:spLocks noChangeArrowheads="1"/>
              </p:cNvSpPr>
              <p:nvPr/>
            </p:nvSpPr>
            <p:spPr bwMode="gray">
              <a:xfrm>
                <a:off x="2699" y="1389"/>
                <a:ext cx="891" cy="111"/>
              </a:xfrm>
              <a:prstGeom prst="ellipse">
                <a:avLst/>
              </a:prstGeom>
              <a:gradFill rotWithShape="1">
                <a:gsLst>
                  <a:gs pos="0">
                    <a:srgbClr val="C0C0C0"/>
                  </a:gs>
                  <a:gs pos="50000">
                    <a:srgbClr val="EEEEEE"/>
                  </a:gs>
                  <a:gs pos="100000">
                    <a:srgbClr val="C0C0C0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sp>
            <p:nvSpPr>
              <p:cNvPr id="20510" name="Freeform 234"/>
              <p:cNvSpPr>
                <a:spLocks/>
              </p:cNvSpPr>
              <p:nvPr/>
            </p:nvSpPr>
            <p:spPr bwMode="gray">
              <a:xfrm>
                <a:off x="2813" y="1870"/>
                <a:ext cx="664" cy="447"/>
              </a:xfrm>
              <a:custGeom>
                <a:avLst/>
                <a:gdLst>
                  <a:gd name="T0" fmla="*/ 512 w 636"/>
                  <a:gd name="T1" fmla="*/ 64 h 427"/>
                  <a:gd name="T2" fmla="*/ 0 w 636"/>
                  <a:gd name="T3" fmla="*/ 0 h 427"/>
                  <a:gd name="T4" fmla="*/ 58 w 636"/>
                  <a:gd name="T5" fmla="*/ 224 h 427"/>
                  <a:gd name="T6" fmla="*/ 60 w 636"/>
                  <a:gd name="T7" fmla="*/ 226 h 427"/>
                  <a:gd name="T8" fmla="*/ 172 w 636"/>
                  <a:gd name="T9" fmla="*/ 666 h 427"/>
                  <a:gd name="T10" fmla="*/ 512 w 636"/>
                  <a:gd name="T11" fmla="*/ 707 h 427"/>
                  <a:gd name="T12" fmla="*/ 847 w 636"/>
                  <a:gd name="T13" fmla="*/ 666 h 427"/>
                  <a:gd name="T14" fmla="*/ 847 w 636"/>
                  <a:gd name="T15" fmla="*/ 666 h 427"/>
                  <a:gd name="T16" fmla="*/ 847 w 636"/>
                  <a:gd name="T17" fmla="*/ 666 h 427"/>
                  <a:gd name="T18" fmla="*/ 963 w 636"/>
                  <a:gd name="T19" fmla="*/ 226 h 427"/>
                  <a:gd name="T20" fmla="*/ 963 w 636"/>
                  <a:gd name="T21" fmla="*/ 224 h 427"/>
                  <a:gd name="T22" fmla="*/ 1022 w 636"/>
                  <a:gd name="T23" fmla="*/ 0 h 427"/>
                  <a:gd name="T24" fmla="*/ 512 w 636"/>
                  <a:gd name="T25" fmla="*/ 64 h 42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36"/>
                  <a:gd name="T40" fmla="*/ 0 h 427"/>
                  <a:gd name="T41" fmla="*/ 636 w 636"/>
                  <a:gd name="T42" fmla="*/ 427 h 42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36" h="427">
                    <a:moveTo>
                      <a:pt x="318" y="39"/>
                    </a:moveTo>
                    <a:cubicBezTo>
                      <a:pt x="149" y="39"/>
                      <a:pt x="10" y="21"/>
                      <a:pt x="0" y="0"/>
                    </a:cubicBezTo>
                    <a:cubicBezTo>
                      <a:pt x="36" y="135"/>
                      <a:pt x="36" y="135"/>
                      <a:pt x="36" y="135"/>
                    </a:cubicBezTo>
                    <a:cubicBezTo>
                      <a:pt x="37" y="137"/>
                      <a:pt x="37" y="137"/>
                      <a:pt x="37" y="137"/>
                    </a:cubicBezTo>
                    <a:cubicBezTo>
                      <a:pt x="107" y="401"/>
                      <a:pt x="107" y="401"/>
                      <a:pt x="107" y="401"/>
                    </a:cubicBezTo>
                    <a:cubicBezTo>
                      <a:pt x="107" y="415"/>
                      <a:pt x="202" y="427"/>
                      <a:pt x="318" y="427"/>
                    </a:cubicBezTo>
                    <a:cubicBezTo>
                      <a:pt x="434" y="427"/>
                      <a:pt x="527" y="415"/>
                      <a:pt x="528" y="401"/>
                    </a:cubicBezTo>
                    <a:cubicBezTo>
                      <a:pt x="528" y="401"/>
                      <a:pt x="528" y="401"/>
                      <a:pt x="528" y="401"/>
                    </a:cubicBezTo>
                    <a:cubicBezTo>
                      <a:pt x="528" y="401"/>
                      <a:pt x="528" y="401"/>
                      <a:pt x="528" y="401"/>
                    </a:cubicBezTo>
                    <a:cubicBezTo>
                      <a:pt x="599" y="137"/>
                      <a:pt x="599" y="137"/>
                      <a:pt x="599" y="137"/>
                    </a:cubicBezTo>
                    <a:cubicBezTo>
                      <a:pt x="599" y="135"/>
                      <a:pt x="599" y="135"/>
                      <a:pt x="599" y="135"/>
                    </a:cubicBezTo>
                    <a:cubicBezTo>
                      <a:pt x="636" y="0"/>
                      <a:pt x="636" y="0"/>
                      <a:pt x="636" y="0"/>
                    </a:cubicBezTo>
                    <a:cubicBezTo>
                      <a:pt x="625" y="21"/>
                      <a:pt x="487" y="39"/>
                      <a:pt x="318" y="3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s-AR"/>
              </a:p>
            </p:txBody>
          </p:sp>
          <p:sp>
            <p:nvSpPr>
              <p:cNvPr id="20511" name="Freeform 235"/>
              <p:cNvSpPr>
                <a:spLocks/>
              </p:cNvSpPr>
              <p:nvPr/>
            </p:nvSpPr>
            <p:spPr bwMode="gray">
              <a:xfrm>
                <a:off x="2700" y="1447"/>
                <a:ext cx="890" cy="464"/>
              </a:xfrm>
              <a:custGeom>
                <a:avLst/>
                <a:gdLst>
                  <a:gd name="T0" fmla="*/ 690 w 852"/>
                  <a:gd name="T1" fmla="*/ 83 h 443"/>
                  <a:gd name="T2" fmla="*/ 0 w 852"/>
                  <a:gd name="T3" fmla="*/ 0 h 443"/>
                  <a:gd name="T4" fmla="*/ 116 w 852"/>
                  <a:gd name="T5" fmla="*/ 447 h 443"/>
                  <a:gd name="T6" fmla="*/ 118 w 852"/>
                  <a:gd name="T7" fmla="*/ 450 h 443"/>
                  <a:gd name="T8" fmla="*/ 172 w 852"/>
                  <a:gd name="T9" fmla="*/ 668 h 443"/>
                  <a:gd name="T10" fmla="*/ 174 w 852"/>
                  <a:gd name="T11" fmla="*/ 671 h 443"/>
                  <a:gd name="T12" fmla="*/ 690 w 852"/>
                  <a:gd name="T13" fmla="*/ 736 h 443"/>
                  <a:gd name="T14" fmla="*/ 1202 w 852"/>
                  <a:gd name="T15" fmla="*/ 671 h 443"/>
                  <a:gd name="T16" fmla="*/ 1202 w 852"/>
                  <a:gd name="T17" fmla="*/ 668 h 443"/>
                  <a:gd name="T18" fmla="*/ 1258 w 852"/>
                  <a:gd name="T19" fmla="*/ 450 h 443"/>
                  <a:gd name="T20" fmla="*/ 1258 w 852"/>
                  <a:gd name="T21" fmla="*/ 447 h 443"/>
                  <a:gd name="T22" fmla="*/ 1376 w 852"/>
                  <a:gd name="T23" fmla="*/ 0 h 443"/>
                  <a:gd name="T24" fmla="*/ 690 w 852"/>
                  <a:gd name="T25" fmla="*/ 83 h 4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52"/>
                  <a:gd name="T40" fmla="*/ 0 h 443"/>
                  <a:gd name="T41" fmla="*/ 852 w 852"/>
                  <a:gd name="T42" fmla="*/ 443 h 44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52" h="443">
                    <a:moveTo>
                      <a:pt x="426" y="50"/>
                    </a:moveTo>
                    <a:cubicBezTo>
                      <a:pt x="199" y="50"/>
                      <a:pt x="14" y="28"/>
                      <a:pt x="0" y="0"/>
                    </a:cubicBezTo>
                    <a:cubicBezTo>
                      <a:pt x="72" y="269"/>
                      <a:pt x="72" y="269"/>
                      <a:pt x="72" y="269"/>
                    </a:cubicBezTo>
                    <a:cubicBezTo>
                      <a:pt x="73" y="271"/>
                      <a:pt x="73" y="271"/>
                      <a:pt x="73" y="271"/>
                    </a:cubicBezTo>
                    <a:cubicBezTo>
                      <a:pt x="107" y="401"/>
                      <a:pt x="107" y="401"/>
                      <a:pt x="107" y="401"/>
                    </a:cubicBezTo>
                    <a:cubicBezTo>
                      <a:pt x="108" y="404"/>
                      <a:pt x="108" y="404"/>
                      <a:pt x="108" y="404"/>
                    </a:cubicBezTo>
                    <a:cubicBezTo>
                      <a:pt x="118" y="425"/>
                      <a:pt x="257" y="443"/>
                      <a:pt x="426" y="443"/>
                    </a:cubicBezTo>
                    <a:cubicBezTo>
                      <a:pt x="595" y="443"/>
                      <a:pt x="733" y="425"/>
                      <a:pt x="744" y="404"/>
                    </a:cubicBezTo>
                    <a:cubicBezTo>
                      <a:pt x="744" y="401"/>
                      <a:pt x="744" y="401"/>
                      <a:pt x="744" y="401"/>
                    </a:cubicBezTo>
                    <a:cubicBezTo>
                      <a:pt x="779" y="271"/>
                      <a:pt x="779" y="271"/>
                      <a:pt x="779" y="271"/>
                    </a:cubicBezTo>
                    <a:cubicBezTo>
                      <a:pt x="779" y="269"/>
                      <a:pt x="779" y="269"/>
                      <a:pt x="779" y="269"/>
                    </a:cubicBezTo>
                    <a:cubicBezTo>
                      <a:pt x="852" y="0"/>
                      <a:pt x="852" y="0"/>
                      <a:pt x="852" y="0"/>
                    </a:cubicBezTo>
                    <a:cubicBezTo>
                      <a:pt x="837" y="28"/>
                      <a:pt x="652" y="50"/>
                      <a:pt x="426" y="5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C0C0C0"/>
                  </a:gs>
                  <a:gs pos="50000">
                    <a:srgbClr val="EEEEEE"/>
                  </a:gs>
                  <a:gs pos="100000">
                    <a:srgbClr val="C0C0C0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s-AR"/>
              </a:p>
            </p:txBody>
          </p:sp>
          <p:sp>
            <p:nvSpPr>
              <p:cNvPr id="20512" name="Freeform 236"/>
              <p:cNvSpPr>
                <a:spLocks/>
              </p:cNvSpPr>
              <p:nvPr/>
            </p:nvSpPr>
            <p:spPr bwMode="gray">
              <a:xfrm>
                <a:off x="2812" y="1826"/>
                <a:ext cx="665" cy="88"/>
              </a:xfrm>
              <a:custGeom>
                <a:avLst/>
                <a:gdLst>
                  <a:gd name="T0" fmla="*/ 513 w 637"/>
                  <a:gd name="T1" fmla="*/ 0 h 84"/>
                  <a:gd name="T2" fmla="*/ 0 w 637"/>
                  <a:gd name="T3" fmla="*/ 69 h 84"/>
                  <a:gd name="T4" fmla="*/ 1 w 637"/>
                  <a:gd name="T5" fmla="*/ 74 h 84"/>
                  <a:gd name="T6" fmla="*/ 513 w 637"/>
                  <a:gd name="T7" fmla="*/ 140 h 84"/>
                  <a:gd name="T8" fmla="*/ 1023 w 637"/>
                  <a:gd name="T9" fmla="*/ 74 h 84"/>
                  <a:gd name="T10" fmla="*/ 1023 w 637"/>
                  <a:gd name="T11" fmla="*/ 69 h 84"/>
                  <a:gd name="T12" fmla="*/ 513 w 637"/>
                  <a:gd name="T13" fmla="*/ 0 h 8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37"/>
                  <a:gd name="T22" fmla="*/ 0 h 84"/>
                  <a:gd name="T23" fmla="*/ 637 w 637"/>
                  <a:gd name="T24" fmla="*/ 84 h 8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37" h="84">
                    <a:moveTo>
                      <a:pt x="319" y="0"/>
                    </a:moveTo>
                    <a:cubicBezTo>
                      <a:pt x="143" y="0"/>
                      <a:pt x="0" y="19"/>
                      <a:pt x="0" y="42"/>
                    </a:cubicBezTo>
                    <a:cubicBezTo>
                      <a:pt x="1" y="45"/>
                      <a:pt x="1" y="45"/>
                      <a:pt x="1" y="45"/>
                    </a:cubicBezTo>
                    <a:cubicBezTo>
                      <a:pt x="11" y="66"/>
                      <a:pt x="150" y="84"/>
                      <a:pt x="319" y="84"/>
                    </a:cubicBezTo>
                    <a:cubicBezTo>
                      <a:pt x="488" y="84"/>
                      <a:pt x="626" y="66"/>
                      <a:pt x="637" y="45"/>
                    </a:cubicBezTo>
                    <a:cubicBezTo>
                      <a:pt x="637" y="42"/>
                      <a:pt x="637" y="42"/>
                      <a:pt x="637" y="42"/>
                    </a:cubicBezTo>
                    <a:cubicBezTo>
                      <a:pt x="637" y="19"/>
                      <a:pt x="495" y="0"/>
                      <a:pt x="319" y="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004074"/>
                  </a:gs>
                  <a:gs pos="50000">
                    <a:srgbClr val="69A2E1"/>
                  </a:gs>
                  <a:gs pos="100000">
                    <a:srgbClr val="004074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s-AR"/>
              </a:p>
            </p:txBody>
          </p:sp>
          <p:pic>
            <p:nvPicPr>
              <p:cNvPr id="20513" name="Picture 237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2729" y="1468"/>
                <a:ext cx="297" cy="9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20508" name="Picture 258" descr="Bild1 Kopie"/>
            <p:cNvPicPr>
              <a:picLocks noChangeAspect="1" noChangeArrowheads="1"/>
            </p:cNvPicPr>
            <p:nvPr/>
          </p:nvPicPr>
          <p:blipFill>
            <a:blip r:embed="rId3">
              <a:lum brigh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757" y="3163"/>
              <a:ext cx="752" cy="5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0489" name="Group 18"/>
          <p:cNvGrpSpPr>
            <a:grpSpLocks/>
          </p:cNvGrpSpPr>
          <p:nvPr/>
        </p:nvGrpSpPr>
        <p:grpSpPr bwMode="auto">
          <a:xfrm>
            <a:off x="6053138" y="2832100"/>
            <a:ext cx="1517650" cy="2505075"/>
            <a:chOff x="4480" y="2218"/>
            <a:chExt cx="956" cy="1578"/>
          </a:xfrm>
        </p:grpSpPr>
        <p:grpSp>
          <p:nvGrpSpPr>
            <p:cNvPr id="20499" name="Group 51"/>
            <p:cNvGrpSpPr>
              <a:grpSpLocks/>
            </p:cNvGrpSpPr>
            <p:nvPr/>
          </p:nvGrpSpPr>
          <p:grpSpPr bwMode="auto">
            <a:xfrm>
              <a:off x="4480" y="2218"/>
              <a:ext cx="956" cy="1067"/>
              <a:chOff x="466" y="2182"/>
              <a:chExt cx="956" cy="1067"/>
            </a:xfrm>
          </p:grpSpPr>
          <p:sp>
            <p:nvSpPr>
              <p:cNvPr id="20501" name="Oval 230"/>
              <p:cNvSpPr>
                <a:spLocks noChangeArrowheads="1"/>
              </p:cNvSpPr>
              <p:nvPr/>
            </p:nvSpPr>
            <p:spPr bwMode="gray">
              <a:xfrm>
                <a:off x="469" y="2188"/>
                <a:ext cx="953" cy="118"/>
              </a:xfrm>
              <a:prstGeom prst="ellipse">
                <a:avLst/>
              </a:prstGeom>
              <a:gradFill rotWithShape="1">
                <a:gsLst>
                  <a:gs pos="0">
                    <a:srgbClr val="C0C0C0"/>
                  </a:gs>
                  <a:gs pos="50000">
                    <a:srgbClr val="EEEEEE"/>
                  </a:gs>
                  <a:gs pos="100000">
                    <a:srgbClr val="C0C0C0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sp>
            <p:nvSpPr>
              <p:cNvPr id="20502" name="Freeform 226"/>
              <p:cNvSpPr>
                <a:spLocks/>
              </p:cNvSpPr>
              <p:nvPr/>
            </p:nvSpPr>
            <p:spPr bwMode="gray">
              <a:xfrm>
                <a:off x="630" y="2850"/>
                <a:ext cx="628" cy="333"/>
              </a:xfrm>
              <a:custGeom>
                <a:avLst/>
                <a:gdLst>
                  <a:gd name="T0" fmla="*/ 1592 w 562"/>
                  <a:gd name="T1" fmla="*/ 243 h 290"/>
                  <a:gd name="T2" fmla="*/ 0 w 562"/>
                  <a:gd name="T3" fmla="*/ 0 h 290"/>
                  <a:gd name="T4" fmla="*/ 394 w 562"/>
                  <a:gd name="T5" fmla="*/ 2006 h 290"/>
                  <a:gd name="T6" fmla="*/ 1592 w 562"/>
                  <a:gd name="T7" fmla="*/ 2204 h 290"/>
                  <a:gd name="T8" fmla="*/ 2776 w 562"/>
                  <a:gd name="T9" fmla="*/ 2006 h 290"/>
                  <a:gd name="T10" fmla="*/ 2776 w 562"/>
                  <a:gd name="T11" fmla="*/ 2006 h 290"/>
                  <a:gd name="T12" fmla="*/ 2776 w 562"/>
                  <a:gd name="T13" fmla="*/ 2006 h 290"/>
                  <a:gd name="T14" fmla="*/ 3176 w 562"/>
                  <a:gd name="T15" fmla="*/ 0 h 290"/>
                  <a:gd name="T16" fmla="*/ 1592 w 562"/>
                  <a:gd name="T17" fmla="*/ 243 h 29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62"/>
                  <a:gd name="T28" fmla="*/ 0 h 290"/>
                  <a:gd name="T29" fmla="*/ 562 w 562"/>
                  <a:gd name="T30" fmla="*/ 290 h 29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62" h="290">
                    <a:moveTo>
                      <a:pt x="281" y="32"/>
                    </a:moveTo>
                    <a:cubicBezTo>
                      <a:pt x="131" y="32"/>
                      <a:pt x="8" y="18"/>
                      <a:pt x="0" y="0"/>
                    </a:cubicBezTo>
                    <a:cubicBezTo>
                      <a:pt x="70" y="264"/>
                      <a:pt x="70" y="264"/>
                      <a:pt x="70" y="264"/>
                    </a:cubicBezTo>
                    <a:cubicBezTo>
                      <a:pt x="70" y="278"/>
                      <a:pt x="165" y="290"/>
                      <a:pt x="281" y="290"/>
                    </a:cubicBezTo>
                    <a:cubicBezTo>
                      <a:pt x="396" y="290"/>
                      <a:pt x="490" y="278"/>
                      <a:pt x="491" y="264"/>
                    </a:cubicBezTo>
                    <a:cubicBezTo>
                      <a:pt x="491" y="264"/>
                      <a:pt x="491" y="264"/>
                      <a:pt x="491" y="264"/>
                    </a:cubicBezTo>
                    <a:cubicBezTo>
                      <a:pt x="491" y="264"/>
                      <a:pt x="491" y="264"/>
                      <a:pt x="491" y="264"/>
                    </a:cubicBezTo>
                    <a:cubicBezTo>
                      <a:pt x="562" y="0"/>
                      <a:pt x="562" y="0"/>
                      <a:pt x="562" y="0"/>
                    </a:cubicBezTo>
                    <a:cubicBezTo>
                      <a:pt x="553" y="18"/>
                      <a:pt x="430" y="32"/>
                      <a:pt x="281" y="3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s-AR"/>
              </a:p>
            </p:txBody>
          </p:sp>
          <p:sp>
            <p:nvSpPr>
              <p:cNvPr id="20503" name="Freeform 227"/>
              <p:cNvSpPr>
                <a:spLocks/>
              </p:cNvSpPr>
              <p:nvPr/>
            </p:nvSpPr>
            <p:spPr bwMode="gray">
              <a:xfrm>
                <a:off x="551" y="2551"/>
                <a:ext cx="789" cy="339"/>
              </a:xfrm>
              <a:custGeom>
                <a:avLst/>
                <a:gdLst>
                  <a:gd name="T0" fmla="*/ 1970 w 707"/>
                  <a:gd name="T1" fmla="*/ 245 h 302"/>
                  <a:gd name="T2" fmla="*/ 0 w 707"/>
                  <a:gd name="T3" fmla="*/ 0 h 302"/>
                  <a:gd name="T4" fmla="*/ 402 w 707"/>
                  <a:gd name="T5" fmla="*/ 1591 h 302"/>
                  <a:gd name="T6" fmla="*/ 410 w 707"/>
                  <a:gd name="T7" fmla="*/ 1603 h 302"/>
                  <a:gd name="T8" fmla="*/ 1970 w 707"/>
                  <a:gd name="T9" fmla="*/ 1793 h 302"/>
                  <a:gd name="T10" fmla="*/ 3543 w 707"/>
                  <a:gd name="T11" fmla="*/ 1603 h 302"/>
                  <a:gd name="T12" fmla="*/ 3543 w 707"/>
                  <a:gd name="T13" fmla="*/ 1591 h 302"/>
                  <a:gd name="T14" fmla="*/ 3943 w 707"/>
                  <a:gd name="T15" fmla="*/ 0 h 302"/>
                  <a:gd name="T16" fmla="*/ 1970 w 707"/>
                  <a:gd name="T17" fmla="*/ 245 h 30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07"/>
                  <a:gd name="T28" fmla="*/ 0 h 302"/>
                  <a:gd name="T29" fmla="*/ 707 w 707"/>
                  <a:gd name="T30" fmla="*/ 302 h 30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07" h="302">
                    <a:moveTo>
                      <a:pt x="354" y="41"/>
                    </a:moveTo>
                    <a:cubicBezTo>
                      <a:pt x="166" y="41"/>
                      <a:pt x="12" y="23"/>
                      <a:pt x="0" y="0"/>
                    </a:cubicBezTo>
                    <a:cubicBezTo>
                      <a:pt x="72" y="268"/>
                      <a:pt x="72" y="268"/>
                      <a:pt x="72" y="268"/>
                    </a:cubicBezTo>
                    <a:cubicBezTo>
                      <a:pt x="73" y="270"/>
                      <a:pt x="73" y="270"/>
                      <a:pt x="73" y="270"/>
                    </a:cubicBezTo>
                    <a:cubicBezTo>
                      <a:pt x="81" y="288"/>
                      <a:pt x="204" y="302"/>
                      <a:pt x="354" y="302"/>
                    </a:cubicBezTo>
                    <a:cubicBezTo>
                      <a:pt x="503" y="302"/>
                      <a:pt x="626" y="288"/>
                      <a:pt x="635" y="270"/>
                    </a:cubicBezTo>
                    <a:cubicBezTo>
                      <a:pt x="635" y="268"/>
                      <a:pt x="635" y="268"/>
                      <a:pt x="635" y="268"/>
                    </a:cubicBezTo>
                    <a:cubicBezTo>
                      <a:pt x="707" y="0"/>
                      <a:pt x="707" y="0"/>
                      <a:pt x="707" y="0"/>
                    </a:cubicBezTo>
                    <a:cubicBezTo>
                      <a:pt x="697" y="23"/>
                      <a:pt x="542" y="41"/>
                      <a:pt x="354" y="4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s-AR"/>
              </a:p>
            </p:txBody>
          </p:sp>
          <p:sp>
            <p:nvSpPr>
              <p:cNvPr id="20504" name="Freeform 228"/>
              <p:cNvSpPr>
                <a:spLocks/>
              </p:cNvSpPr>
              <p:nvPr/>
            </p:nvSpPr>
            <p:spPr bwMode="gray">
              <a:xfrm>
                <a:off x="470" y="2250"/>
                <a:ext cx="951" cy="351"/>
              </a:xfrm>
              <a:custGeom>
                <a:avLst/>
                <a:gdLst>
                  <a:gd name="T0" fmla="*/ 2408 w 851"/>
                  <a:gd name="T1" fmla="*/ 305 h 312"/>
                  <a:gd name="T2" fmla="*/ 0 w 851"/>
                  <a:gd name="T3" fmla="*/ 0 h 312"/>
                  <a:gd name="T4" fmla="*/ 411 w 851"/>
                  <a:gd name="T5" fmla="*/ 1637 h 312"/>
                  <a:gd name="T6" fmla="*/ 411 w 851"/>
                  <a:gd name="T7" fmla="*/ 1641 h 312"/>
                  <a:gd name="T8" fmla="*/ 2408 w 851"/>
                  <a:gd name="T9" fmla="*/ 1893 h 312"/>
                  <a:gd name="T10" fmla="*/ 4410 w 851"/>
                  <a:gd name="T11" fmla="*/ 1641 h 312"/>
                  <a:gd name="T12" fmla="*/ 4410 w 851"/>
                  <a:gd name="T13" fmla="*/ 1637 h 312"/>
                  <a:gd name="T14" fmla="*/ 4818 w 851"/>
                  <a:gd name="T15" fmla="*/ 0 h 312"/>
                  <a:gd name="T16" fmla="*/ 2408 w 851"/>
                  <a:gd name="T17" fmla="*/ 305 h 3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51"/>
                  <a:gd name="T28" fmla="*/ 0 h 312"/>
                  <a:gd name="T29" fmla="*/ 851 w 851"/>
                  <a:gd name="T30" fmla="*/ 312 h 31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51" h="312">
                    <a:moveTo>
                      <a:pt x="426" y="50"/>
                    </a:moveTo>
                    <a:cubicBezTo>
                      <a:pt x="199" y="50"/>
                      <a:pt x="14" y="28"/>
                      <a:pt x="0" y="0"/>
                    </a:cubicBezTo>
                    <a:cubicBezTo>
                      <a:pt x="72" y="269"/>
                      <a:pt x="72" y="269"/>
                      <a:pt x="72" y="269"/>
                    </a:cubicBezTo>
                    <a:cubicBezTo>
                      <a:pt x="72" y="271"/>
                      <a:pt x="72" y="271"/>
                      <a:pt x="72" y="271"/>
                    </a:cubicBezTo>
                    <a:cubicBezTo>
                      <a:pt x="84" y="294"/>
                      <a:pt x="238" y="312"/>
                      <a:pt x="426" y="312"/>
                    </a:cubicBezTo>
                    <a:cubicBezTo>
                      <a:pt x="614" y="312"/>
                      <a:pt x="769" y="294"/>
                      <a:pt x="779" y="271"/>
                    </a:cubicBezTo>
                    <a:cubicBezTo>
                      <a:pt x="779" y="269"/>
                      <a:pt x="779" y="269"/>
                      <a:pt x="779" y="269"/>
                    </a:cubicBezTo>
                    <a:cubicBezTo>
                      <a:pt x="851" y="0"/>
                      <a:pt x="851" y="0"/>
                      <a:pt x="851" y="0"/>
                    </a:cubicBezTo>
                    <a:cubicBezTo>
                      <a:pt x="837" y="28"/>
                      <a:pt x="652" y="50"/>
                      <a:pt x="426" y="5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s-AR"/>
              </a:p>
            </p:txBody>
          </p:sp>
          <p:sp>
            <p:nvSpPr>
              <p:cNvPr id="20505" name="Oval 229"/>
              <p:cNvSpPr>
                <a:spLocks noChangeArrowheads="1"/>
              </p:cNvSpPr>
              <p:nvPr/>
            </p:nvSpPr>
            <p:spPr bwMode="gray">
              <a:xfrm>
                <a:off x="466" y="2182"/>
                <a:ext cx="951" cy="133"/>
              </a:xfrm>
              <a:prstGeom prst="ellipse">
                <a:avLst/>
              </a:prstGeom>
              <a:gradFill rotWithShape="1">
                <a:gsLst>
                  <a:gs pos="0">
                    <a:srgbClr val="004074"/>
                  </a:gs>
                  <a:gs pos="50000">
                    <a:srgbClr val="69A2E1"/>
                  </a:gs>
                  <a:gs pos="100000">
                    <a:srgbClr val="004074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pic>
            <p:nvPicPr>
              <p:cNvPr id="20506" name="Picture 231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512" y="2284"/>
                <a:ext cx="318" cy="9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20500" name="Picture 257" descr="Bild1 Kopie"/>
            <p:cNvPicPr>
              <a:picLocks noChangeAspect="1" noChangeArrowheads="1"/>
            </p:cNvPicPr>
            <p:nvPr/>
          </p:nvPicPr>
          <p:blipFill>
            <a:blip r:embed="rId3">
              <a:lum brigh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562" y="3201"/>
              <a:ext cx="783" cy="5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0490" name="Group 27"/>
          <p:cNvGrpSpPr>
            <a:grpSpLocks/>
          </p:cNvGrpSpPr>
          <p:nvPr/>
        </p:nvGrpSpPr>
        <p:grpSpPr bwMode="auto">
          <a:xfrm>
            <a:off x="3781425" y="2830513"/>
            <a:ext cx="1517650" cy="2505075"/>
            <a:chOff x="466" y="2182"/>
            <a:chExt cx="956" cy="1578"/>
          </a:xfrm>
        </p:grpSpPr>
        <p:sp>
          <p:nvSpPr>
            <p:cNvPr id="20491" name="Oval 230"/>
            <p:cNvSpPr>
              <a:spLocks noChangeArrowheads="1"/>
            </p:cNvSpPr>
            <p:nvPr/>
          </p:nvSpPr>
          <p:spPr bwMode="gray">
            <a:xfrm>
              <a:off x="469" y="2188"/>
              <a:ext cx="953" cy="118"/>
            </a:xfrm>
            <a:prstGeom prst="ellipse">
              <a:avLst/>
            </a:prstGeom>
            <a:gradFill rotWithShape="1">
              <a:gsLst>
                <a:gs pos="0">
                  <a:srgbClr val="C0C0C0"/>
                </a:gs>
                <a:gs pos="50000">
                  <a:srgbClr val="EEEEEE"/>
                </a:gs>
                <a:gs pos="100000">
                  <a:srgbClr val="C0C0C0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es-AR"/>
            </a:p>
          </p:txBody>
        </p:sp>
        <p:sp>
          <p:nvSpPr>
            <p:cNvPr id="20492" name="Freeform 226"/>
            <p:cNvSpPr>
              <a:spLocks/>
            </p:cNvSpPr>
            <p:nvPr/>
          </p:nvSpPr>
          <p:spPr bwMode="gray">
            <a:xfrm>
              <a:off x="630" y="2850"/>
              <a:ext cx="628" cy="333"/>
            </a:xfrm>
            <a:custGeom>
              <a:avLst/>
              <a:gdLst>
                <a:gd name="T0" fmla="*/ 1592 w 562"/>
                <a:gd name="T1" fmla="*/ 243 h 290"/>
                <a:gd name="T2" fmla="*/ 0 w 562"/>
                <a:gd name="T3" fmla="*/ 0 h 290"/>
                <a:gd name="T4" fmla="*/ 394 w 562"/>
                <a:gd name="T5" fmla="*/ 2006 h 290"/>
                <a:gd name="T6" fmla="*/ 1592 w 562"/>
                <a:gd name="T7" fmla="*/ 2204 h 290"/>
                <a:gd name="T8" fmla="*/ 2776 w 562"/>
                <a:gd name="T9" fmla="*/ 2006 h 290"/>
                <a:gd name="T10" fmla="*/ 2776 w 562"/>
                <a:gd name="T11" fmla="*/ 2006 h 290"/>
                <a:gd name="T12" fmla="*/ 2776 w 562"/>
                <a:gd name="T13" fmla="*/ 2006 h 290"/>
                <a:gd name="T14" fmla="*/ 3176 w 562"/>
                <a:gd name="T15" fmla="*/ 0 h 290"/>
                <a:gd name="T16" fmla="*/ 1592 w 562"/>
                <a:gd name="T17" fmla="*/ 243 h 29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62"/>
                <a:gd name="T28" fmla="*/ 0 h 290"/>
                <a:gd name="T29" fmla="*/ 562 w 562"/>
                <a:gd name="T30" fmla="*/ 290 h 29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62" h="290">
                  <a:moveTo>
                    <a:pt x="281" y="32"/>
                  </a:moveTo>
                  <a:cubicBezTo>
                    <a:pt x="131" y="32"/>
                    <a:pt x="8" y="18"/>
                    <a:pt x="0" y="0"/>
                  </a:cubicBezTo>
                  <a:cubicBezTo>
                    <a:pt x="70" y="264"/>
                    <a:pt x="70" y="264"/>
                    <a:pt x="70" y="264"/>
                  </a:cubicBezTo>
                  <a:cubicBezTo>
                    <a:pt x="70" y="278"/>
                    <a:pt x="165" y="290"/>
                    <a:pt x="281" y="290"/>
                  </a:cubicBezTo>
                  <a:cubicBezTo>
                    <a:pt x="396" y="290"/>
                    <a:pt x="490" y="278"/>
                    <a:pt x="491" y="264"/>
                  </a:cubicBezTo>
                  <a:cubicBezTo>
                    <a:pt x="491" y="264"/>
                    <a:pt x="491" y="264"/>
                    <a:pt x="491" y="264"/>
                  </a:cubicBezTo>
                  <a:cubicBezTo>
                    <a:pt x="491" y="264"/>
                    <a:pt x="491" y="264"/>
                    <a:pt x="491" y="264"/>
                  </a:cubicBezTo>
                  <a:cubicBezTo>
                    <a:pt x="562" y="0"/>
                    <a:pt x="562" y="0"/>
                    <a:pt x="562" y="0"/>
                  </a:cubicBezTo>
                  <a:cubicBezTo>
                    <a:pt x="553" y="18"/>
                    <a:pt x="430" y="32"/>
                    <a:pt x="281" y="32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0493" name="Freeform 227"/>
            <p:cNvSpPr>
              <a:spLocks/>
            </p:cNvSpPr>
            <p:nvPr/>
          </p:nvSpPr>
          <p:spPr bwMode="gray">
            <a:xfrm>
              <a:off x="551" y="2551"/>
              <a:ext cx="789" cy="339"/>
            </a:xfrm>
            <a:custGeom>
              <a:avLst/>
              <a:gdLst>
                <a:gd name="T0" fmla="*/ 1970 w 707"/>
                <a:gd name="T1" fmla="*/ 245 h 302"/>
                <a:gd name="T2" fmla="*/ 0 w 707"/>
                <a:gd name="T3" fmla="*/ 0 h 302"/>
                <a:gd name="T4" fmla="*/ 402 w 707"/>
                <a:gd name="T5" fmla="*/ 1591 h 302"/>
                <a:gd name="T6" fmla="*/ 410 w 707"/>
                <a:gd name="T7" fmla="*/ 1603 h 302"/>
                <a:gd name="T8" fmla="*/ 1970 w 707"/>
                <a:gd name="T9" fmla="*/ 1793 h 302"/>
                <a:gd name="T10" fmla="*/ 3543 w 707"/>
                <a:gd name="T11" fmla="*/ 1603 h 302"/>
                <a:gd name="T12" fmla="*/ 3543 w 707"/>
                <a:gd name="T13" fmla="*/ 1591 h 302"/>
                <a:gd name="T14" fmla="*/ 3943 w 707"/>
                <a:gd name="T15" fmla="*/ 0 h 302"/>
                <a:gd name="T16" fmla="*/ 1970 w 707"/>
                <a:gd name="T17" fmla="*/ 245 h 30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07"/>
                <a:gd name="T28" fmla="*/ 0 h 302"/>
                <a:gd name="T29" fmla="*/ 707 w 707"/>
                <a:gd name="T30" fmla="*/ 302 h 30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07" h="302">
                  <a:moveTo>
                    <a:pt x="354" y="41"/>
                  </a:moveTo>
                  <a:cubicBezTo>
                    <a:pt x="166" y="41"/>
                    <a:pt x="12" y="23"/>
                    <a:pt x="0" y="0"/>
                  </a:cubicBezTo>
                  <a:cubicBezTo>
                    <a:pt x="72" y="268"/>
                    <a:pt x="72" y="268"/>
                    <a:pt x="72" y="268"/>
                  </a:cubicBezTo>
                  <a:cubicBezTo>
                    <a:pt x="73" y="270"/>
                    <a:pt x="73" y="270"/>
                    <a:pt x="73" y="270"/>
                  </a:cubicBezTo>
                  <a:cubicBezTo>
                    <a:pt x="81" y="288"/>
                    <a:pt x="204" y="302"/>
                    <a:pt x="354" y="302"/>
                  </a:cubicBezTo>
                  <a:cubicBezTo>
                    <a:pt x="503" y="302"/>
                    <a:pt x="626" y="288"/>
                    <a:pt x="635" y="270"/>
                  </a:cubicBezTo>
                  <a:cubicBezTo>
                    <a:pt x="635" y="268"/>
                    <a:pt x="635" y="268"/>
                    <a:pt x="635" y="268"/>
                  </a:cubicBezTo>
                  <a:cubicBezTo>
                    <a:pt x="707" y="0"/>
                    <a:pt x="707" y="0"/>
                    <a:pt x="707" y="0"/>
                  </a:cubicBezTo>
                  <a:cubicBezTo>
                    <a:pt x="697" y="23"/>
                    <a:pt x="542" y="41"/>
                    <a:pt x="354" y="41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0494" name="Freeform 228"/>
            <p:cNvSpPr>
              <a:spLocks/>
            </p:cNvSpPr>
            <p:nvPr/>
          </p:nvSpPr>
          <p:spPr bwMode="gray">
            <a:xfrm>
              <a:off x="470" y="2250"/>
              <a:ext cx="951" cy="351"/>
            </a:xfrm>
            <a:custGeom>
              <a:avLst/>
              <a:gdLst>
                <a:gd name="T0" fmla="*/ 2408 w 851"/>
                <a:gd name="T1" fmla="*/ 305 h 312"/>
                <a:gd name="T2" fmla="*/ 0 w 851"/>
                <a:gd name="T3" fmla="*/ 0 h 312"/>
                <a:gd name="T4" fmla="*/ 411 w 851"/>
                <a:gd name="T5" fmla="*/ 1637 h 312"/>
                <a:gd name="T6" fmla="*/ 411 w 851"/>
                <a:gd name="T7" fmla="*/ 1641 h 312"/>
                <a:gd name="T8" fmla="*/ 2408 w 851"/>
                <a:gd name="T9" fmla="*/ 1893 h 312"/>
                <a:gd name="T10" fmla="*/ 4410 w 851"/>
                <a:gd name="T11" fmla="*/ 1641 h 312"/>
                <a:gd name="T12" fmla="*/ 4410 w 851"/>
                <a:gd name="T13" fmla="*/ 1637 h 312"/>
                <a:gd name="T14" fmla="*/ 4818 w 851"/>
                <a:gd name="T15" fmla="*/ 0 h 312"/>
                <a:gd name="T16" fmla="*/ 2408 w 851"/>
                <a:gd name="T17" fmla="*/ 305 h 3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1"/>
                <a:gd name="T28" fmla="*/ 0 h 312"/>
                <a:gd name="T29" fmla="*/ 851 w 851"/>
                <a:gd name="T30" fmla="*/ 312 h 3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1" h="312">
                  <a:moveTo>
                    <a:pt x="426" y="50"/>
                  </a:moveTo>
                  <a:cubicBezTo>
                    <a:pt x="199" y="50"/>
                    <a:pt x="14" y="28"/>
                    <a:pt x="0" y="0"/>
                  </a:cubicBezTo>
                  <a:cubicBezTo>
                    <a:pt x="72" y="269"/>
                    <a:pt x="72" y="269"/>
                    <a:pt x="72" y="269"/>
                  </a:cubicBezTo>
                  <a:cubicBezTo>
                    <a:pt x="72" y="271"/>
                    <a:pt x="72" y="271"/>
                    <a:pt x="72" y="271"/>
                  </a:cubicBezTo>
                  <a:cubicBezTo>
                    <a:pt x="84" y="294"/>
                    <a:pt x="238" y="312"/>
                    <a:pt x="426" y="312"/>
                  </a:cubicBezTo>
                  <a:cubicBezTo>
                    <a:pt x="614" y="312"/>
                    <a:pt x="769" y="294"/>
                    <a:pt x="779" y="271"/>
                  </a:cubicBezTo>
                  <a:cubicBezTo>
                    <a:pt x="779" y="269"/>
                    <a:pt x="779" y="269"/>
                    <a:pt x="779" y="269"/>
                  </a:cubicBezTo>
                  <a:cubicBezTo>
                    <a:pt x="851" y="0"/>
                    <a:pt x="851" y="0"/>
                    <a:pt x="851" y="0"/>
                  </a:cubicBezTo>
                  <a:cubicBezTo>
                    <a:pt x="837" y="28"/>
                    <a:pt x="652" y="50"/>
                    <a:pt x="426" y="50"/>
                  </a:cubicBezTo>
                  <a:close/>
                </a:path>
              </a:pathLst>
            </a:custGeom>
            <a:gradFill rotWithShape="1">
              <a:gsLst>
                <a:gs pos="0">
                  <a:srgbClr val="C0C0C0"/>
                </a:gs>
                <a:gs pos="50000">
                  <a:srgbClr val="EEEEEE"/>
                </a:gs>
                <a:gs pos="100000">
                  <a:srgbClr val="C0C0C0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0495" name="Oval 229"/>
            <p:cNvSpPr>
              <a:spLocks noChangeArrowheads="1"/>
            </p:cNvSpPr>
            <p:nvPr/>
          </p:nvSpPr>
          <p:spPr bwMode="gray">
            <a:xfrm>
              <a:off x="466" y="2182"/>
              <a:ext cx="951" cy="133"/>
            </a:xfrm>
            <a:prstGeom prst="ellipse">
              <a:avLst/>
            </a:prstGeom>
            <a:gradFill rotWithShape="1">
              <a:gsLst>
                <a:gs pos="0">
                  <a:srgbClr val="C0C0C0"/>
                </a:gs>
                <a:gs pos="50000">
                  <a:srgbClr val="EEEEEE"/>
                </a:gs>
                <a:gs pos="100000">
                  <a:srgbClr val="C0C0C0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es-AR"/>
            </a:p>
          </p:txBody>
        </p:sp>
        <p:pic>
          <p:nvPicPr>
            <p:cNvPr id="20496" name="Picture 257" descr="Bild1 Kopie"/>
            <p:cNvPicPr>
              <a:picLocks noChangeAspect="1" noChangeArrowheads="1"/>
            </p:cNvPicPr>
            <p:nvPr/>
          </p:nvPicPr>
          <p:blipFill>
            <a:blip r:embed="rId3">
              <a:lum brigh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48" y="3165"/>
              <a:ext cx="783" cy="5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497" name="Freeform 236"/>
            <p:cNvSpPr>
              <a:spLocks/>
            </p:cNvSpPr>
            <p:nvPr/>
          </p:nvSpPr>
          <p:spPr bwMode="gray">
            <a:xfrm>
              <a:off x="548" y="2500"/>
              <a:ext cx="794" cy="106"/>
            </a:xfrm>
            <a:custGeom>
              <a:avLst/>
              <a:gdLst>
                <a:gd name="T0" fmla="*/ 730 w 637"/>
                <a:gd name="T1" fmla="*/ 0 h 84"/>
                <a:gd name="T2" fmla="*/ 0 w 637"/>
                <a:gd name="T3" fmla="*/ 101 h 84"/>
                <a:gd name="T4" fmla="*/ 1 w 637"/>
                <a:gd name="T5" fmla="*/ 109 h 84"/>
                <a:gd name="T6" fmla="*/ 730 w 637"/>
                <a:gd name="T7" fmla="*/ 204 h 84"/>
                <a:gd name="T8" fmla="*/ 1458 w 637"/>
                <a:gd name="T9" fmla="*/ 109 h 84"/>
                <a:gd name="T10" fmla="*/ 1458 w 637"/>
                <a:gd name="T11" fmla="*/ 101 h 84"/>
                <a:gd name="T12" fmla="*/ 730 w 637"/>
                <a:gd name="T13" fmla="*/ 0 h 8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37"/>
                <a:gd name="T22" fmla="*/ 0 h 84"/>
                <a:gd name="T23" fmla="*/ 637 w 637"/>
                <a:gd name="T24" fmla="*/ 84 h 8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37" h="84">
                  <a:moveTo>
                    <a:pt x="319" y="0"/>
                  </a:moveTo>
                  <a:cubicBezTo>
                    <a:pt x="143" y="0"/>
                    <a:pt x="0" y="19"/>
                    <a:pt x="0" y="42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1" y="66"/>
                    <a:pt x="150" y="84"/>
                    <a:pt x="319" y="84"/>
                  </a:cubicBezTo>
                  <a:cubicBezTo>
                    <a:pt x="488" y="84"/>
                    <a:pt x="626" y="66"/>
                    <a:pt x="637" y="45"/>
                  </a:cubicBezTo>
                  <a:cubicBezTo>
                    <a:pt x="637" y="42"/>
                    <a:pt x="637" y="42"/>
                    <a:pt x="637" y="42"/>
                  </a:cubicBezTo>
                  <a:cubicBezTo>
                    <a:pt x="637" y="19"/>
                    <a:pt x="495" y="0"/>
                    <a:pt x="319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004074"/>
                </a:gs>
                <a:gs pos="50000">
                  <a:srgbClr val="69A2E1"/>
                </a:gs>
                <a:gs pos="100000">
                  <a:srgbClr val="004074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AR"/>
            </a:p>
          </p:txBody>
        </p:sp>
        <p:pic>
          <p:nvPicPr>
            <p:cNvPr id="20498" name="Picture 231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12" y="2284"/>
              <a:ext cx="318" cy="9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457757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kstboks 9"/>
          <p:cNvSpPr txBox="1">
            <a:spLocks noChangeArrowheads="1"/>
          </p:cNvSpPr>
          <p:nvPr/>
        </p:nvSpPr>
        <p:spPr bwMode="auto">
          <a:xfrm>
            <a:off x="315913" y="1570038"/>
            <a:ext cx="1565275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a-DK" sz="1200" b="1">
                <a:latin typeface="Calibri" pitchFamily="34" charset="0"/>
              </a:rPr>
              <a:t>MIND MAP - </a:t>
            </a:r>
            <a:r>
              <a:rPr lang="da-DK" sz="1200">
                <a:latin typeface="Calibri" pitchFamily="34" charset="0"/>
              </a:rPr>
              <a:t>AGENDA</a:t>
            </a:r>
          </a:p>
        </p:txBody>
      </p:sp>
      <p:sp>
        <p:nvSpPr>
          <p:cNvPr id="21507" name="Tekstboks 19"/>
          <p:cNvSpPr txBox="1">
            <a:spLocks noChangeArrowheads="1"/>
          </p:cNvSpPr>
          <p:nvPr/>
        </p:nvSpPr>
        <p:spPr bwMode="auto">
          <a:xfrm>
            <a:off x="327025" y="1903413"/>
            <a:ext cx="785813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a-DK" sz="1000">
                <a:latin typeface="Calibri" pitchFamily="34" charset="0"/>
              </a:rPr>
              <a:t>5 SUBJECTS</a:t>
            </a:r>
          </a:p>
        </p:txBody>
      </p:sp>
      <p:grpSp>
        <p:nvGrpSpPr>
          <p:cNvPr id="21508" name="Gruppe 122"/>
          <p:cNvGrpSpPr>
            <a:grpSpLocks/>
          </p:cNvGrpSpPr>
          <p:nvPr/>
        </p:nvGrpSpPr>
        <p:grpSpPr bwMode="auto">
          <a:xfrm>
            <a:off x="5821363" y="1644650"/>
            <a:ext cx="1016000" cy="385763"/>
            <a:chOff x="6144817" y="1338943"/>
            <a:chExt cx="1136517" cy="736639"/>
          </a:xfrm>
        </p:grpSpPr>
        <p:cxnSp>
          <p:nvCxnSpPr>
            <p:cNvPr id="124" name="Lige forbindelse 123"/>
            <p:cNvCxnSpPr/>
            <p:nvPr/>
          </p:nvCxnSpPr>
          <p:spPr>
            <a:xfrm rot="10800000">
              <a:off x="6144817" y="1708778"/>
              <a:ext cx="1136517" cy="0"/>
            </a:xfrm>
            <a:prstGeom prst="line">
              <a:avLst/>
            </a:prstGeom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617" name="Gruppe 84"/>
            <p:cNvGrpSpPr>
              <a:grpSpLocks/>
            </p:cNvGrpSpPr>
            <p:nvPr/>
          </p:nvGrpSpPr>
          <p:grpSpPr bwMode="auto">
            <a:xfrm>
              <a:off x="6262420" y="1338943"/>
              <a:ext cx="1018914" cy="360156"/>
              <a:chOff x="6199767" y="1338943"/>
              <a:chExt cx="1947729" cy="360156"/>
            </a:xfrm>
          </p:grpSpPr>
          <p:cxnSp>
            <p:nvCxnSpPr>
              <p:cNvPr id="129" name="Lige forbindelse 128"/>
              <p:cNvCxnSpPr/>
              <p:nvPr/>
            </p:nvCxnSpPr>
            <p:spPr>
              <a:xfrm rot="10800000">
                <a:off x="6704796" y="1348038"/>
                <a:ext cx="1442700" cy="0"/>
              </a:xfrm>
              <a:prstGeom prst="line">
                <a:avLst/>
              </a:prstGeom>
              <a:ln w="1905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Lige forbindelse 129"/>
              <p:cNvCxnSpPr/>
              <p:nvPr/>
            </p:nvCxnSpPr>
            <p:spPr>
              <a:xfrm rot="10800000" flipV="1">
                <a:off x="6199004" y="1338943"/>
                <a:ext cx="512581" cy="360742"/>
              </a:xfrm>
              <a:prstGeom prst="line">
                <a:avLst/>
              </a:prstGeom>
              <a:ln w="1905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618" name="Gruppe 85"/>
            <p:cNvGrpSpPr>
              <a:grpSpLocks/>
            </p:cNvGrpSpPr>
            <p:nvPr/>
          </p:nvGrpSpPr>
          <p:grpSpPr bwMode="auto">
            <a:xfrm flipV="1">
              <a:off x="6262420" y="1715426"/>
              <a:ext cx="1018914" cy="360156"/>
              <a:chOff x="6199767" y="1338943"/>
              <a:chExt cx="1947729" cy="360156"/>
            </a:xfrm>
          </p:grpSpPr>
          <p:cxnSp>
            <p:nvCxnSpPr>
              <p:cNvPr id="127" name="Lige forbindelse 126"/>
              <p:cNvCxnSpPr/>
              <p:nvPr/>
            </p:nvCxnSpPr>
            <p:spPr>
              <a:xfrm rot="10800000">
                <a:off x="6704796" y="1341975"/>
                <a:ext cx="1442700" cy="0"/>
              </a:xfrm>
              <a:prstGeom prst="line">
                <a:avLst/>
              </a:prstGeom>
              <a:ln w="1905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Lige forbindelse 127"/>
              <p:cNvCxnSpPr/>
              <p:nvPr/>
            </p:nvCxnSpPr>
            <p:spPr>
              <a:xfrm rot="10800000" flipV="1">
                <a:off x="6199004" y="1338943"/>
                <a:ext cx="512581" cy="360742"/>
              </a:xfrm>
              <a:prstGeom prst="line">
                <a:avLst/>
              </a:prstGeom>
              <a:ln w="1905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509" name="Gruppe 90"/>
          <p:cNvGrpSpPr>
            <a:grpSpLocks/>
          </p:cNvGrpSpPr>
          <p:nvPr/>
        </p:nvGrpSpPr>
        <p:grpSpPr bwMode="auto">
          <a:xfrm>
            <a:off x="5811838" y="2579688"/>
            <a:ext cx="1014412" cy="384175"/>
            <a:chOff x="6144817" y="1338943"/>
            <a:chExt cx="1136517" cy="736639"/>
          </a:xfrm>
        </p:grpSpPr>
        <p:cxnSp>
          <p:nvCxnSpPr>
            <p:cNvPr id="92" name="Lige forbindelse 91"/>
            <p:cNvCxnSpPr/>
            <p:nvPr/>
          </p:nvCxnSpPr>
          <p:spPr>
            <a:xfrm rot="10800000">
              <a:off x="6144817" y="1710306"/>
              <a:ext cx="1136517" cy="0"/>
            </a:xfrm>
            <a:prstGeom prst="line">
              <a:avLst/>
            </a:prstGeom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610" name="Gruppe 84"/>
            <p:cNvGrpSpPr>
              <a:grpSpLocks/>
            </p:cNvGrpSpPr>
            <p:nvPr/>
          </p:nvGrpSpPr>
          <p:grpSpPr bwMode="auto">
            <a:xfrm>
              <a:off x="6262420" y="1338943"/>
              <a:ext cx="1018914" cy="360156"/>
              <a:chOff x="6199767" y="1338943"/>
              <a:chExt cx="1947729" cy="360156"/>
            </a:xfrm>
          </p:grpSpPr>
          <p:cxnSp>
            <p:nvCxnSpPr>
              <p:cNvPr id="97" name="Lige forbindelse 96"/>
              <p:cNvCxnSpPr/>
              <p:nvPr/>
            </p:nvCxnSpPr>
            <p:spPr>
              <a:xfrm rot="10800000">
                <a:off x="6705938" y="1348074"/>
                <a:ext cx="1441558" cy="0"/>
              </a:xfrm>
              <a:prstGeom prst="line">
                <a:avLst/>
              </a:prstGeom>
              <a:ln w="1905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Lige forbindelse 97"/>
              <p:cNvCxnSpPr/>
              <p:nvPr/>
            </p:nvCxnSpPr>
            <p:spPr>
              <a:xfrm rot="10800000" flipV="1">
                <a:off x="6199354" y="1338943"/>
                <a:ext cx="513384" cy="359188"/>
              </a:xfrm>
              <a:prstGeom prst="line">
                <a:avLst/>
              </a:prstGeom>
              <a:ln w="1905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611" name="Gruppe 85"/>
            <p:cNvGrpSpPr>
              <a:grpSpLocks/>
            </p:cNvGrpSpPr>
            <p:nvPr/>
          </p:nvGrpSpPr>
          <p:grpSpPr bwMode="auto">
            <a:xfrm flipV="1">
              <a:off x="6262420" y="1715426"/>
              <a:ext cx="1018914" cy="360156"/>
              <a:chOff x="6199767" y="1338943"/>
              <a:chExt cx="1947729" cy="360156"/>
            </a:xfrm>
          </p:grpSpPr>
          <p:cxnSp>
            <p:nvCxnSpPr>
              <p:cNvPr id="95" name="Lige forbindelse 94"/>
              <p:cNvCxnSpPr/>
              <p:nvPr/>
            </p:nvCxnSpPr>
            <p:spPr>
              <a:xfrm rot="10800000">
                <a:off x="6705938" y="1341988"/>
                <a:ext cx="1441558" cy="0"/>
              </a:xfrm>
              <a:prstGeom prst="line">
                <a:avLst/>
              </a:prstGeom>
              <a:ln w="1905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Lige forbindelse 95"/>
              <p:cNvCxnSpPr/>
              <p:nvPr/>
            </p:nvCxnSpPr>
            <p:spPr>
              <a:xfrm rot="10800000" flipV="1">
                <a:off x="6199354" y="1338943"/>
                <a:ext cx="513384" cy="359188"/>
              </a:xfrm>
              <a:prstGeom prst="line">
                <a:avLst/>
              </a:prstGeom>
              <a:ln w="1905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510" name="Gruppe 98"/>
          <p:cNvGrpSpPr>
            <a:grpSpLocks/>
          </p:cNvGrpSpPr>
          <p:nvPr/>
        </p:nvGrpSpPr>
        <p:grpSpPr bwMode="auto">
          <a:xfrm>
            <a:off x="5811838" y="3513138"/>
            <a:ext cx="1014412" cy="384175"/>
            <a:chOff x="6144817" y="1338943"/>
            <a:chExt cx="1136517" cy="736639"/>
          </a:xfrm>
        </p:grpSpPr>
        <p:cxnSp>
          <p:nvCxnSpPr>
            <p:cNvPr id="100" name="Lige forbindelse 99"/>
            <p:cNvCxnSpPr/>
            <p:nvPr/>
          </p:nvCxnSpPr>
          <p:spPr>
            <a:xfrm rot="10800000">
              <a:off x="6144817" y="1710306"/>
              <a:ext cx="1136517" cy="0"/>
            </a:xfrm>
            <a:prstGeom prst="line">
              <a:avLst/>
            </a:prstGeom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603" name="Gruppe 84"/>
            <p:cNvGrpSpPr>
              <a:grpSpLocks/>
            </p:cNvGrpSpPr>
            <p:nvPr/>
          </p:nvGrpSpPr>
          <p:grpSpPr bwMode="auto">
            <a:xfrm>
              <a:off x="6262420" y="1338943"/>
              <a:ext cx="1018914" cy="360156"/>
              <a:chOff x="6199767" y="1338943"/>
              <a:chExt cx="1947729" cy="360156"/>
            </a:xfrm>
          </p:grpSpPr>
          <p:cxnSp>
            <p:nvCxnSpPr>
              <p:cNvPr id="105" name="Lige forbindelse 104"/>
              <p:cNvCxnSpPr/>
              <p:nvPr/>
            </p:nvCxnSpPr>
            <p:spPr>
              <a:xfrm rot="10800000">
                <a:off x="6705938" y="1348074"/>
                <a:ext cx="1441558" cy="0"/>
              </a:xfrm>
              <a:prstGeom prst="line">
                <a:avLst/>
              </a:prstGeom>
              <a:ln w="1905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Lige forbindelse 105"/>
              <p:cNvCxnSpPr/>
              <p:nvPr/>
            </p:nvCxnSpPr>
            <p:spPr>
              <a:xfrm rot="10800000" flipV="1">
                <a:off x="6199354" y="1338943"/>
                <a:ext cx="513384" cy="359188"/>
              </a:xfrm>
              <a:prstGeom prst="line">
                <a:avLst/>
              </a:prstGeom>
              <a:ln w="1905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604" name="Gruppe 85"/>
            <p:cNvGrpSpPr>
              <a:grpSpLocks/>
            </p:cNvGrpSpPr>
            <p:nvPr/>
          </p:nvGrpSpPr>
          <p:grpSpPr bwMode="auto">
            <a:xfrm flipV="1">
              <a:off x="6262420" y="1715426"/>
              <a:ext cx="1018914" cy="360156"/>
              <a:chOff x="6199767" y="1338943"/>
              <a:chExt cx="1947729" cy="360156"/>
            </a:xfrm>
          </p:grpSpPr>
          <p:cxnSp>
            <p:nvCxnSpPr>
              <p:cNvPr id="103" name="Lige forbindelse 102"/>
              <p:cNvCxnSpPr/>
              <p:nvPr/>
            </p:nvCxnSpPr>
            <p:spPr>
              <a:xfrm rot="10800000">
                <a:off x="6705938" y="1341988"/>
                <a:ext cx="1441558" cy="0"/>
              </a:xfrm>
              <a:prstGeom prst="line">
                <a:avLst/>
              </a:prstGeom>
              <a:ln w="1905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Lige forbindelse 103"/>
              <p:cNvCxnSpPr/>
              <p:nvPr/>
            </p:nvCxnSpPr>
            <p:spPr>
              <a:xfrm rot="10800000" flipV="1">
                <a:off x="6199354" y="1338943"/>
                <a:ext cx="513384" cy="359188"/>
              </a:xfrm>
              <a:prstGeom prst="line">
                <a:avLst/>
              </a:prstGeom>
              <a:ln w="1905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511" name="Gruppe 106"/>
          <p:cNvGrpSpPr>
            <a:grpSpLocks/>
          </p:cNvGrpSpPr>
          <p:nvPr/>
        </p:nvGrpSpPr>
        <p:grpSpPr bwMode="auto">
          <a:xfrm>
            <a:off x="5811838" y="4483100"/>
            <a:ext cx="1014412" cy="384175"/>
            <a:chOff x="6144817" y="1338943"/>
            <a:chExt cx="1136517" cy="736639"/>
          </a:xfrm>
        </p:grpSpPr>
        <p:cxnSp>
          <p:nvCxnSpPr>
            <p:cNvPr id="108" name="Lige forbindelse 107"/>
            <p:cNvCxnSpPr/>
            <p:nvPr/>
          </p:nvCxnSpPr>
          <p:spPr>
            <a:xfrm rot="10800000">
              <a:off x="6144817" y="1710306"/>
              <a:ext cx="1136517" cy="0"/>
            </a:xfrm>
            <a:prstGeom prst="line">
              <a:avLst/>
            </a:prstGeom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596" name="Gruppe 84"/>
            <p:cNvGrpSpPr>
              <a:grpSpLocks/>
            </p:cNvGrpSpPr>
            <p:nvPr/>
          </p:nvGrpSpPr>
          <p:grpSpPr bwMode="auto">
            <a:xfrm>
              <a:off x="6262420" y="1338943"/>
              <a:ext cx="1018914" cy="360156"/>
              <a:chOff x="6199767" y="1338943"/>
              <a:chExt cx="1947729" cy="360156"/>
            </a:xfrm>
          </p:grpSpPr>
          <p:cxnSp>
            <p:nvCxnSpPr>
              <p:cNvPr id="113" name="Lige forbindelse 112"/>
              <p:cNvCxnSpPr/>
              <p:nvPr/>
            </p:nvCxnSpPr>
            <p:spPr>
              <a:xfrm rot="10800000">
                <a:off x="6705938" y="1348076"/>
                <a:ext cx="1441558" cy="0"/>
              </a:xfrm>
              <a:prstGeom prst="line">
                <a:avLst/>
              </a:prstGeom>
              <a:ln w="1905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Lige forbindelse 113"/>
              <p:cNvCxnSpPr/>
              <p:nvPr/>
            </p:nvCxnSpPr>
            <p:spPr>
              <a:xfrm rot="10800000" flipV="1">
                <a:off x="6199354" y="1338943"/>
                <a:ext cx="513384" cy="359188"/>
              </a:xfrm>
              <a:prstGeom prst="line">
                <a:avLst/>
              </a:prstGeom>
              <a:ln w="1905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597" name="Gruppe 85"/>
            <p:cNvGrpSpPr>
              <a:grpSpLocks/>
            </p:cNvGrpSpPr>
            <p:nvPr/>
          </p:nvGrpSpPr>
          <p:grpSpPr bwMode="auto">
            <a:xfrm flipV="1">
              <a:off x="6262420" y="1715426"/>
              <a:ext cx="1018914" cy="360156"/>
              <a:chOff x="6199767" y="1338943"/>
              <a:chExt cx="1947729" cy="360156"/>
            </a:xfrm>
          </p:grpSpPr>
          <p:cxnSp>
            <p:nvCxnSpPr>
              <p:cNvPr id="111" name="Lige forbindelse 110"/>
              <p:cNvCxnSpPr/>
              <p:nvPr/>
            </p:nvCxnSpPr>
            <p:spPr>
              <a:xfrm rot="10800000">
                <a:off x="6705938" y="1341986"/>
                <a:ext cx="1441558" cy="0"/>
              </a:xfrm>
              <a:prstGeom prst="line">
                <a:avLst/>
              </a:prstGeom>
              <a:ln w="1905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Lige forbindelse 111"/>
              <p:cNvCxnSpPr/>
              <p:nvPr/>
            </p:nvCxnSpPr>
            <p:spPr>
              <a:xfrm rot="10800000" flipV="1">
                <a:off x="6199354" y="1338943"/>
                <a:ext cx="513384" cy="359188"/>
              </a:xfrm>
              <a:prstGeom prst="line">
                <a:avLst/>
              </a:prstGeom>
              <a:ln w="1905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512" name="Gruppe 114"/>
          <p:cNvGrpSpPr>
            <a:grpSpLocks/>
          </p:cNvGrpSpPr>
          <p:nvPr/>
        </p:nvGrpSpPr>
        <p:grpSpPr bwMode="auto">
          <a:xfrm>
            <a:off x="5811838" y="5414963"/>
            <a:ext cx="1014412" cy="385762"/>
            <a:chOff x="6144817" y="1338943"/>
            <a:chExt cx="1136517" cy="736639"/>
          </a:xfrm>
        </p:grpSpPr>
        <p:cxnSp>
          <p:nvCxnSpPr>
            <p:cNvPr id="116" name="Lige forbindelse 115"/>
            <p:cNvCxnSpPr/>
            <p:nvPr/>
          </p:nvCxnSpPr>
          <p:spPr>
            <a:xfrm rot="10800000">
              <a:off x="6144817" y="1708779"/>
              <a:ext cx="1136517" cy="0"/>
            </a:xfrm>
            <a:prstGeom prst="line">
              <a:avLst/>
            </a:prstGeom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589" name="Gruppe 84"/>
            <p:cNvGrpSpPr>
              <a:grpSpLocks/>
            </p:cNvGrpSpPr>
            <p:nvPr/>
          </p:nvGrpSpPr>
          <p:grpSpPr bwMode="auto">
            <a:xfrm>
              <a:off x="6262420" y="1338943"/>
              <a:ext cx="1018914" cy="360156"/>
              <a:chOff x="6199767" y="1338943"/>
              <a:chExt cx="1947729" cy="360156"/>
            </a:xfrm>
          </p:grpSpPr>
          <p:cxnSp>
            <p:nvCxnSpPr>
              <p:cNvPr id="121" name="Lige forbindelse 120"/>
              <p:cNvCxnSpPr/>
              <p:nvPr/>
            </p:nvCxnSpPr>
            <p:spPr>
              <a:xfrm rot="10800000">
                <a:off x="6705938" y="1348036"/>
                <a:ext cx="1441558" cy="0"/>
              </a:xfrm>
              <a:prstGeom prst="line">
                <a:avLst/>
              </a:prstGeom>
              <a:ln w="1905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Lige forbindelse 121"/>
              <p:cNvCxnSpPr/>
              <p:nvPr/>
            </p:nvCxnSpPr>
            <p:spPr>
              <a:xfrm rot="10800000" flipV="1">
                <a:off x="6199354" y="1338943"/>
                <a:ext cx="513384" cy="360740"/>
              </a:xfrm>
              <a:prstGeom prst="line">
                <a:avLst/>
              </a:prstGeom>
              <a:ln w="1905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590" name="Gruppe 85"/>
            <p:cNvGrpSpPr>
              <a:grpSpLocks/>
            </p:cNvGrpSpPr>
            <p:nvPr/>
          </p:nvGrpSpPr>
          <p:grpSpPr bwMode="auto">
            <a:xfrm flipV="1">
              <a:off x="6262420" y="1715426"/>
              <a:ext cx="1018914" cy="360156"/>
              <a:chOff x="6199767" y="1338943"/>
              <a:chExt cx="1947729" cy="360156"/>
            </a:xfrm>
          </p:grpSpPr>
          <p:cxnSp>
            <p:nvCxnSpPr>
              <p:cNvPr id="119" name="Lige forbindelse 118"/>
              <p:cNvCxnSpPr/>
              <p:nvPr/>
            </p:nvCxnSpPr>
            <p:spPr>
              <a:xfrm rot="10800000">
                <a:off x="6705938" y="1341973"/>
                <a:ext cx="1441558" cy="0"/>
              </a:xfrm>
              <a:prstGeom prst="line">
                <a:avLst/>
              </a:prstGeom>
              <a:ln w="1905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Lige forbindelse 119"/>
              <p:cNvCxnSpPr/>
              <p:nvPr/>
            </p:nvCxnSpPr>
            <p:spPr>
              <a:xfrm rot="10800000" flipV="1">
                <a:off x="6199354" y="1338943"/>
                <a:ext cx="513384" cy="360740"/>
              </a:xfrm>
              <a:prstGeom prst="line">
                <a:avLst/>
              </a:prstGeom>
              <a:ln w="1905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33" name="Lige forbindelse 32"/>
          <p:cNvCxnSpPr/>
          <p:nvPr/>
        </p:nvCxnSpPr>
        <p:spPr>
          <a:xfrm rot="10800000">
            <a:off x="2817813" y="3684588"/>
            <a:ext cx="814387" cy="3175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Afrundet rektangel 48"/>
          <p:cNvSpPr/>
          <p:nvPr/>
        </p:nvSpPr>
        <p:spPr>
          <a:xfrm>
            <a:off x="3632200" y="3427413"/>
            <a:ext cx="2168525" cy="522287"/>
          </a:xfrm>
          <a:prstGeom prst="roundRect">
            <a:avLst/>
          </a:prstGeom>
          <a:solidFill>
            <a:schemeClr val="bg1"/>
          </a:solidFill>
          <a:ln w="38100" cap="flat" cmpd="sng" algn="ctr">
            <a:solidFill>
              <a:srgbClr val="F0B71F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Calibri" pitchFamily="-112" charset="0"/>
              <a:ea typeface="ＭＳ Ｐゴシック" pitchFamily="-112" charset="-128"/>
            </a:endParaRPr>
          </a:p>
        </p:txBody>
      </p:sp>
      <p:sp>
        <p:nvSpPr>
          <p:cNvPr id="61" name="Blokbue 60"/>
          <p:cNvSpPr/>
          <p:nvPr/>
        </p:nvSpPr>
        <p:spPr>
          <a:xfrm rot="16200000">
            <a:off x="1804194" y="2805907"/>
            <a:ext cx="3902075" cy="1843087"/>
          </a:xfrm>
          <a:prstGeom prst="blockArc">
            <a:avLst>
              <a:gd name="adj1" fmla="val 11042440"/>
              <a:gd name="adj2" fmla="val 21451274"/>
              <a:gd name="adj3" fmla="val 0"/>
            </a:avLst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>
              <a:ea typeface="ＭＳ Ｐゴシック" pitchFamily="-112" charset="-128"/>
            </a:endParaRPr>
          </a:p>
        </p:txBody>
      </p:sp>
      <p:sp>
        <p:nvSpPr>
          <p:cNvPr id="64" name="Afrundet rektangel 63"/>
          <p:cNvSpPr/>
          <p:nvPr/>
        </p:nvSpPr>
        <p:spPr>
          <a:xfrm>
            <a:off x="3632200" y="1573213"/>
            <a:ext cx="2168525" cy="520700"/>
          </a:xfrm>
          <a:prstGeom prst="roundRect">
            <a:avLst/>
          </a:prstGeom>
          <a:solidFill>
            <a:schemeClr val="bg1"/>
          </a:solidFill>
          <a:ln w="38100" cap="flat" cmpd="sng" algn="ctr">
            <a:solidFill>
              <a:srgbClr val="2A9B18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Calibri" pitchFamily="-112" charset="0"/>
              <a:ea typeface="ＭＳ Ｐゴシック" pitchFamily="-112" charset="-128"/>
            </a:endParaRPr>
          </a:p>
        </p:txBody>
      </p:sp>
      <p:sp>
        <p:nvSpPr>
          <p:cNvPr id="65" name="Afrundet rektangel 64"/>
          <p:cNvSpPr/>
          <p:nvPr/>
        </p:nvSpPr>
        <p:spPr>
          <a:xfrm>
            <a:off x="3629025" y="5318125"/>
            <a:ext cx="2168525" cy="522288"/>
          </a:xfrm>
          <a:prstGeom prst="roundRect">
            <a:avLst/>
          </a:prstGeom>
          <a:solidFill>
            <a:schemeClr val="bg1"/>
          </a:solidFill>
          <a:ln w="38100" cap="flat" cmpd="sng" algn="ctr">
            <a:solidFill>
              <a:schemeClr val="accent1">
                <a:lumMod val="75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Calibri" pitchFamily="-112" charset="0"/>
              <a:ea typeface="ＭＳ Ｐゴシック" pitchFamily="-112" charset="-128"/>
            </a:endParaRPr>
          </a:p>
        </p:txBody>
      </p:sp>
      <p:sp>
        <p:nvSpPr>
          <p:cNvPr id="66" name="Blokbue 65"/>
          <p:cNvSpPr/>
          <p:nvPr/>
        </p:nvSpPr>
        <p:spPr>
          <a:xfrm rot="16200000">
            <a:off x="2753519" y="2758282"/>
            <a:ext cx="2014537" cy="1841500"/>
          </a:xfrm>
          <a:prstGeom prst="blockArc">
            <a:avLst>
              <a:gd name="adj1" fmla="val 11042440"/>
              <a:gd name="adj2" fmla="val 21451274"/>
              <a:gd name="adj3" fmla="val 0"/>
            </a:avLst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>
              <a:ea typeface="ＭＳ Ｐゴシック" pitchFamily="-112" charset="-128"/>
            </a:endParaRPr>
          </a:p>
        </p:txBody>
      </p:sp>
      <p:sp>
        <p:nvSpPr>
          <p:cNvPr id="67" name="Afrundet rektangel 66"/>
          <p:cNvSpPr/>
          <p:nvPr/>
        </p:nvSpPr>
        <p:spPr>
          <a:xfrm>
            <a:off x="3632200" y="2509838"/>
            <a:ext cx="2168525" cy="520700"/>
          </a:xfrm>
          <a:prstGeom prst="roundRect">
            <a:avLst/>
          </a:prstGeom>
          <a:solidFill>
            <a:schemeClr val="bg1"/>
          </a:solidFill>
          <a:ln w="38100" cap="flat" cmpd="sng" algn="ctr">
            <a:solidFill>
              <a:srgbClr val="CE202A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Calibri" pitchFamily="-112" charset="0"/>
              <a:ea typeface="ＭＳ Ｐゴシック" pitchFamily="-112" charset="-128"/>
            </a:endParaRPr>
          </a:p>
        </p:txBody>
      </p:sp>
      <p:sp>
        <p:nvSpPr>
          <p:cNvPr id="68" name="Afrundet rektangel 67"/>
          <p:cNvSpPr/>
          <p:nvPr/>
        </p:nvSpPr>
        <p:spPr>
          <a:xfrm>
            <a:off x="3632200" y="4383088"/>
            <a:ext cx="2168525" cy="520700"/>
          </a:xfrm>
          <a:prstGeom prst="roundRect">
            <a:avLst/>
          </a:prstGeom>
          <a:solidFill>
            <a:schemeClr val="bg1"/>
          </a:solidFill>
          <a:ln w="38100" cap="flat" cmpd="sng" algn="ctr">
            <a:solidFill>
              <a:schemeClr val="accent1">
                <a:lumMod val="75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Calibri" pitchFamily="-112" charset="0"/>
              <a:ea typeface="ＭＳ Ｐゴシック" pitchFamily="-112" charset="-128"/>
            </a:endParaRPr>
          </a:p>
        </p:txBody>
      </p:sp>
      <p:sp>
        <p:nvSpPr>
          <p:cNvPr id="71" name="Afrundet rektangel 70"/>
          <p:cNvSpPr/>
          <p:nvPr/>
        </p:nvSpPr>
        <p:spPr>
          <a:xfrm>
            <a:off x="957263" y="3209925"/>
            <a:ext cx="2112962" cy="947738"/>
          </a:xfrm>
          <a:prstGeom prst="roundRect">
            <a:avLst/>
          </a:prstGeom>
          <a:solidFill>
            <a:schemeClr val="bg1"/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Calibri" pitchFamily="-112" charset="0"/>
              <a:ea typeface="ＭＳ Ｐゴシック" pitchFamily="-112" charset="-128"/>
            </a:endParaRPr>
          </a:p>
        </p:txBody>
      </p:sp>
      <p:sp>
        <p:nvSpPr>
          <p:cNvPr id="21522" name="Tekstboks 130"/>
          <p:cNvSpPr txBox="1">
            <a:spLocks noChangeArrowheads="1"/>
          </p:cNvSpPr>
          <p:nvPr/>
        </p:nvSpPr>
        <p:spPr bwMode="auto">
          <a:xfrm>
            <a:off x="1438275" y="3514725"/>
            <a:ext cx="1150938" cy="41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a-DK" sz="2400" b="1">
                <a:latin typeface="Calibri" pitchFamily="34" charset="0"/>
              </a:rPr>
              <a:t>AGENDA</a:t>
            </a:r>
          </a:p>
        </p:txBody>
      </p:sp>
      <p:sp>
        <p:nvSpPr>
          <p:cNvPr id="21523" name="Tekstboks 131"/>
          <p:cNvSpPr txBox="1">
            <a:spLocks noChangeArrowheads="1"/>
          </p:cNvSpPr>
          <p:nvPr/>
        </p:nvSpPr>
        <p:spPr bwMode="auto">
          <a:xfrm>
            <a:off x="4005263" y="1676400"/>
            <a:ext cx="1030287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a-DK">
                <a:latin typeface="Calibri" pitchFamily="34" charset="0"/>
              </a:rPr>
              <a:t>SUBJECT 1</a:t>
            </a:r>
          </a:p>
        </p:txBody>
      </p:sp>
      <p:sp>
        <p:nvSpPr>
          <p:cNvPr id="21524" name="Tekstboks 133"/>
          <p:cNvSpPr txBox="1">
            <a:spLocks noChangeArrowheads="1"/>
          </p:cNvSpPr>
          <p:nvPr/>
        </p:nvSpPr>
        <p:spPr bwMode="auto">
          <a:xfrm>
            <a:off x="4005263" y="2620963"/>
            <a:ext cx="1030287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a-DK">
                <a:latin typeface="Calibri" pitchFamily="34" charset="0"/>
              </a:rPr>
              <a:t>SUBJECT 2</a:t>
            </a:r>
          </a:p>
        </p:txBody>
      </p:sp>
      <p:sp>
        <p:nvSpPr>
          <p:cNvPr id="21525" name="Tekstboks 134"/>
          <p:cNvSpPr txBox="1">
            <a:spLocks noChangeArrowheads="1"/>
          </p:cNvSpPr>
          <p:nvPr/>
        </p:nvSpPr>
        <p:spPr bwMode="auto">
          <a:xfrm>
            <a:off x="4005263" y="3535363"/>
            <a:ext cx="1030287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a-DK">
                <a:latin typeface="Calibri" pitchFamily="34" charset="0"/>
              </a:rPr>
              <a:t>SUBJECT 3</a:t>
            </a:r>
          </a:p>
        </p:txBody>
      </p:sp>
      <p:sp>
        <p:nvSpPr>
          <p:cNvPr id="21526" name="Tekstboks 135"/>
          <p:cNvSpPr txBox="1">
            <a:spLocks noChangeArrowheads="1"/>
          </p:cNvSpPr>
          <p:nvPr/>
        </p:nvSpPr>
        <p:spPr bwMode="auto">
          <a:xfrm>
            <a:off x="4005263" y="4478338"/>
            <a:ext cx="1030287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a-DK">
                <a:latin typeface="Calibri" pitchFamily="34" charset="0"/>
              </a:rPr>
              <a:t>SUBJECT 4</a:t>
            </a:r>
          </a:p>
        </p:txBody>
      </p:sp>
      <p:sp>
        <p:nvSpPr>
          <p:cNvPr id="21527" name="Tekstboks 136"/>
          <p:cNvSpPr txBox="1">
            <a:spLocks noChangeArrowheads="1"/>
          </p:cNvSpPr>
          <p:nvPr/>
        </p:nvSpPr>
        <p:spPr bwMode="auto">
          <a:xfrm>
            <a:off x="4005263" y="5430838"/>
            <a:ext cx="1030287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a-DK">
                <a:latin typeface="Calibri" pitchFamily="34" charset="0"/>
              </a:rPr>
              <a:t>SUBJECT 5</a:t>
            </a:r>
          </a:p>
        </p:txBody>
      </p:sp>
      <p:sp>
        <p:nvSpPr>
          <p:cNvPr id="21528" name="Tekstboks 146"/>
          <p:cNvSpPr txBox="1">
            <a:spLocks noChangeArrowheads="1"/>
          </p:cNvSpPr>
          <p:nvPr/>
        </p:nvSpPr>
        <p:spPr bwMode="auto">
          <a:xfrm>
            <a:off x="6845300" y="5305425"/>
            <a:ext cx="100171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a-DK" sz="1200" i="1">
                <a:latin typeface="Calibri" pitchFamily="34" charset="0"/>
              </a:rPr>
              <a:t>EXAMPLE TEXT</a:t>
            </a:r>
          </a:p>
        </p:txBody>
      </p:sp>
      <p:sp>
        <p:nvSpPr>
          <p:cNvPr id="21529" name="Tekstboks 147"/>
          <p:cNvSpPr txBox="1">
            <a:spLocks noChangeArrowheads="1"/>
          </p:cNvSpPr>
          <p:nvPr/>
        </p:nvSpPr>
        <p:spPr bwMode="auto">
          <a:xfrm>
            <a:off x="6845300" y="5480050"/>
            <a:ext cx="1001713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a-DK" sz="1200" i="1">
                <a:latin typeface="Calibri" pitchFamily="34" charset="0"/>
              </a:rPr>
              <a:t>EXAMPLE TEXT</a:t>
            </a:r>
          </a:p>
        </p:txBody>
      </p:sp>
      <p:sp>
        <p:nvSpPr>
          <p:cNvPr id="21530" name="Tekstboks 148"/>
          <p:cNvSpPr txBox="1">
            <a:spLocks noChangeArrowheads="1"/>
          </p:cNvSpPr>
          <p:nvPr/>
        </p:nvSpPr>
        <p:spPr bwMode="auto">
          <a:xfrm>
            <a:off x="6845300" y="5673725"/>
            <a:ext cx="1001713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a-DK" sz="1200" i="1">
                <a:latin typeface="Calibri" pitchFamily="34" charset="0"/>
              </a:rPr>
              <a:t>EXAMPLE TEXT</a:t>
            </a:r>
          </a:p>
        </p:txBody>
      </p:sp>
      <p:sp>
        <p:nvSpPr>
          <p:cNvPr id="21531" name="Tekstboks 149"/>
          <p:cNvSpPr txBox="1">
            <a:spLocks noChangeArrowheads="1"/>
          </p:cNvSpPr>
          <p:nvPr/>
        </p:nvSpPr>
        <p:spPr bwMode="auto">
          <a:xfrm>
            <a:off x="6845300" y="4351338"/>
            <a:ext cx="1001713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a-DK" sz="1200" i="1">
                <a:latin typeface="Calibri" pitchFamily="34" charset="0"/>
              </a:rPr>
              <a:t>EXAMPLE TEXT</a:t>
            </a:r>
          </a:p>
        </p:txBody>
      </p:sp>
      <p:sp>
        <p:nvSpPr>
          <p:cNvPr id="21532" name="Tekstboks 150"/>
          <p:cNvSpPr txBox="1">
            <a:spLocks noChangeArrowheads="1"/>
          </p:cNvSpPr>
          <p:nvPr/>
        </p:nvSpPr>
        <p:spPr bwMode="auto">
          <a:xfrm>
            <a:off x="6845300" y="4525963"/>
            <a:ext cx="1001713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a-DK" sz="1200" i="1">
                <a:latin typeface="Calibri" pitchFamily="34" charset="0"/>
              </a:rPr>
              <a:t>EXAMPLE TEXT</a:t>
            </a:r>
          </a:p>
        </p:txBody>
      </p:sp>
      <p:sp>
        <p:nvSpPr>
          <p:cNvPr id="21533" name="Tekstboks 151"/>
          <p:cNvSpPr txBox="1">
            <a:spLocks noChangeArrowheads="1"/>
          </p:cNvSpPr>
          <p:nvPr/>
        </p:nvSpPr>
        <p:spPr bwMode="auto">
          <a:xfrm>
            <a:off x="6845300" y="4721225"/>
            <a:ext cx="1001713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a-DK" sz="1200" i="1">
                <a:latin typeface="Calibri" pitchFamily="34" charset="0"/>
              </a:rPr>
              <a:t>EXAMPLE TEXT</a:t>
            </a:r>
          </a:p>
        </p:txBody>
      </p:sp>
      <p:sp>
        <p:nvSpPr>
          <p:cNvPr id="21534" name="Tekstboks 152"/>
          <p:cNvSpPr txBox="1">
            <a:spLocks noChangeArrowheads="1"/>
          </p:cNvSpPr>
          <p:nvPr/>
        </p:nvSpPr>
        <p:spPr bwMode="auto">
          <a:xfrm>
            <a:off x="6845300" y="3408363"/>
            <a:ext cx="1001713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a-DK" sz="1200" i="1">
                <a:latin typeface="Calibri" pitchFamily="34" charset="0"/>
              </a:rPr>
              <a:t>EXAMPLE TEXT</a:t>
            </a:r>
          </a:p>
        </p:txBody>
      </p:sp>
      <p:sp>
        <p:nvSpPr>
          <p:cNvPr id="21535" name="Tekstboks 153"/>
          <p:cNvSpPr txBox="1">
            <a:spLocks noChangeArrowheads="1"/>
          </p:cNvSpPr>
          <p:nvPr/>
        </p:nvSpPr>
        <p:spPr bwMode="auto">
          <a:xfrm>
            <a:off x="6845300" y="3582988"/>
            <a:ext cx="1001713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a-DK" sz="1200" i="1">
                <a:latin typeface="Calibri" pitchFamily="34" charset="0"/>
              </a:rPr>
              <a:t>EXAMPLE TEXT</a:t>
            </a:r>
          </a:p>
        </p:txBody>
      </p:sp>
      <p:sp>
        <p:nvSpPr>
          <p:cNvPr id="21536" name="Tekstboks 154"/>
          <p:cNvSpPr txBox="1">
            <a:spLocks noChangeArrowheads="1"/>
          </p:cNvSpPr>
          <p:nvPr/>
        </p:nvSpPr>
        <p:spPr bwMode="auto">
          <a:xfrm>
            <a:off x="6845300" y="3778250"/>
            <a:ext cx="1001713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a-DK" sz="1200" i="1">
                <a:latin typeface="Calibri" pitchFamily="34" charset="0"/>
              </a:rPr>
              <a:t>EXAMPLE TEXT</a:t>
            </a:r>
          </a:p>
        </p:txBody>
      </p:sp>
      <p:sp>
        <p:nvSpPr>
          <p:cNvPr id="21537" name="Tekstboks 155"/>
          <p:cNvSpPr txBox="1">
            <a:spLocks noChangeArrowheads="1"/>
          </p:cNvSpPr>
          <p:nvPr/>
        </p:nvSpPr>
        <p:spPr bwMode="auto">
          <a:xfrm>
            <a:off x="6845300" y="2455863"/>
            <a:ext cx="1001713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a-DK" sz="1200" i="1">
                <a:latin typeface="Calibri" pitchFamily="34" charset="0"/>
              </a:rPr>
              <a:t>EXAMPLE TEXT</a:t>
            </a:r>
          </a:p>
        </p:txBody>
      </p:sp>
      <p:sp>
        <p:nvSpPr>
          <p:cNvPr id="21538" name="Tekstboks 156"/>
          <p:cNvSpPr txBox="1">
            <a:spLocks noChangeArrowheads="1"/>
          </p:cNvSpPr>
          <p:nvPr/>
        </p:nvSpPr>
        <p:spPr bwMode="auto">
          <a:xfrm>
            <a:off x="6845300" y="2630488"/>
            <a:ext cx="1001713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a-DK" sz="1200" i="1">
                <a:latin typeface="Calibri" pitchFamily="34" charset="0"/>
              </a:rPr>
              <a:t>EXAMPLE TEXT</a:t>
            </a:r>
          </a:p>
        </p:txBody>
      </p:sp>
      <p:sp>
        <p:nvSpPr>
          <p:cNvPr id="21539" name="Tekstboks 157"/>
          <p:cNvSpPr txBox="1">
            <a:spLocks noChangeArrowheads="1"/>
          </p:cNvSpPr>
          <p:nvPr/>
        </p:nvSpPr>
        <p:spPr bwMode="auto">
          <a:xfrm>
            <a:off x="6845300" y="2824163"/>
            <a:ext cx="1001713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a-DK" sz="1200" i="1">
                <a:latin typeface="Calibri" pitchFamily="34" charset="0"/>
              </a:rPr>
              <a:t>EXAMPLE TEXT</a:t>
            </a:r>
          </a:p>
        </p:txBody>
      </p:sp>
      <p:sp>
        <p:nvSpPr>
          <p:cNvPr id="21540" name="Tekstboks 158"/>
          <p:cNvSpPr txBox="1">
            <a:spLocks noChangeArrowheads="1"/>
          </p:cNvSpPr>
          <p:nvPr/>
        </p:nvSpPr>
        <p:spPr bwMode="auto">
          <a:xfrm>
            <a:off x="6845300" y="1520825"/>
            <a:ext cx="1001713" cy="24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a-DK" sz="1200" i="1">
                <a:latin typeface="Calibri" pitchFamily="34" charset="0"/>
              </a:rPr>
              <a:t>EXAMPLE TEXT</a:t>
            </a:r>
          </a:p>
        </p:txBody>
      </p:sp>
      <p:sp>
        <p:nvSpPr>
          <p:cNvPr id="21541" name="Tekstboks 159"/>
          <p:cNvSpPr txBox="1">
            <a:spLocks noChangeArrowheads="1"/>
          </p:cNvSpPr>
          <p:nvPr/>
        </p:nvSpPr>
        <p:spPr bwMode="auto">
          <a:xfrm>
            <a:off x="6845300" y="1697038"/>
            <a:ext cx="1001713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a-DK" sz="1200" i="1">
                <a:latin typeface="Calibri" pitchFamily="34" charset="0"/>
              </a:rPr>
              <a:t>EXAMPLE TEXT</a:t>
            </a:r>
          </a:p>
        </p:txBody>
      </p:sp>
      <p:sp>
        <p:nvSpPr>
          <p:cNvPr id="21542" name="Tekstboks 160"/>
          <p:cNvSpPr txBox="1">
            <a:spLocks noChangeArrowheads="1"/>
          </p:cNvSpPr>
          <p:nvPr/>
        </p:nvSpPr>
        <p:spPr bwMode="auto">
          <a:xfrm>
            <a:off x="6845300" y="1890713"/>
            <a:ext cx="1001713" cy="24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a-DK" sz="1200" i="1">
                <a:latin typeface="Calibri" pitchFamily="34" charset="0"/>
              </a:rPr>
              <a:t>EXAMPLE TEXT</a:t>
            </a:r>
          </a:p>
        </p:txBody>
      </p:sp>
      <p:sp>
        <p:nvSpPr>
          <p:cNvPr id="163" name="Freeform 150"/>
          <p:cNvSpPr>
            <a:spLocks/>
          </p:cNvSpPr>
          <p:nvPr/>
        </p:nvSpPr>
        <p:spPr bwMode="auto">
          <a:xfrm>
            <a:off x="7895751" y="1473070"/>
            <a:ext cx="159679" cy="209086"/>
          </a:xfrm>
          <a:custGeom>
            <a:avLst/>
            <a:gdLst/>
            <a:ahLst/>
            <a:cxnLst>
              <a:cxn ang="0">
                <a:pos x="0" y="194"/>
              </a:cxn>
              <a:cxn ang="0">
                <a:pos x="0" y="194"/>
              </a:cxn>
              <a:cxn ang="0">
                <a:pos x="0" y="188"/>
              </a:cxn>
              <a:cxn ang="0">
                <a:pos x="4" y="182"/>
              </a:cxn>
              <a:cxn ang="0">
                <a:pos x="8" y="176"/>
              </a:cxn>
              <a:cxn ang="0">
                <a:pos x="14" y="170"/>
              </a:cxn>
              <a:cxn ang="0">
                <a:pos x="14" y="170"/>
              </a:cxn>
              <a:cxn ang="0">
                <a:pos x="24" y="166"/>
              </a:cxn>
              <a:cxn ang="0">
                <a:pos x="30" y="164"/>
              </a:cxn>
              <a:cxn ang="0">
                <a:pos x="30" y="164"/>
              </a:cxn>
              <a:cxn ang="0">
                <a:pos x="36" y="168"/>
              </a:cxn>
              <a:cxn ang="0">
                <a:pos x="38" y="174"/>
              </a:cxn>
              <a:cxn ang="0">
                <a:pos x="38" y="174"/>
              </a:cxn>
              <a:cxn ang="0">
                <a:pos x="48" y="202"/>
              </a:cxn>
              <a:cxn ang="0">
                <a:pos x="48" y="202"/>
              </a:cxn>
              <a:cxn ang="0">
                <a:pos x="52" y="206"/>
              </a:cxn>
              <a:cxn ang="0">
                <a:pos x="54" y="208"/>
              </a:cxn>
              <a:cxn ang="0">
                <a:pos x="54" y="208"/>
              </a:cxn>
              <a:cxn ang="0">
                <a:pos x="56" y="208"/>
              </a:cxn>
              <a:cxn ang="0">
                <a:pos x="58" y="204"/>
              </a:cxn>
              <a:cxn ang="0">
                <a:pos x="58" y="204"/>
              </a:cxn>
              <a:cxn ang="0">
                <a:pos x="80" y="162"/>
              </a:cxn>
              <a:cxn ang="0">
                <a:pos x="100" y="124"/>
              </a:cxn>
              <a:cxn ang="0">
                <a:pos x="118" y="92"/>
              </a:cxn>
              <a:cxn ang="0">
                <a:pos x="136" y="64"/>
              </a:cxn>
              <a:cxn ang="0">
                <a:pos x="136" y="64"/>
              </a:cxn>
              <a:cxn ang="0">
                <a:pos x="156" y="34"/>
              </a:cxn>
              <a:cxn ang="0">
                <a:pos x="168" y="20"/>
              </a:cxn>
              <a:cxn ang="0">
                <a:pos x="168" y="20"/>
              </a:cxn>
              <a:cxn ang="0">
                <a:pos x="178" y="12"/>
              </a:cxn>
              <a:cxn ang="0">
                <a:pos x="190" y="6"/>
              </a:cxn>
              <a:cxn ang="0">
                <a:pos x="202" y="2"/>
              </a:cxn>
              <a:cxn ang="0">
                <a:pos x="216" y="0"/>
              </a:cxn>
              <a:cxn ang="0">
                <a:pos x="216" y="8"/>
              </a:cxn>
              <a:cxn ang="0">
                <a:pos x="216" y="8"/>
              </a:cxn>
              <a:cxn ang="0">
                <a:pos x="204" y="24"/>
              </a:cxn>
              <a:cxn ang="0">
                <a:pos x="188" y="50"/>
              </a:cxn>
              <a:cxn ang="0">
                <a:pos x="142" y="122"/>
              </a:cxn>
              <a:cxn ang="0">
                <a:pos x="142" y="122"/>
              </a:cxn>
              <a:cxn ang="0">
                <a:pos x="98" y="202"/>
              </a:cxn>
              <a:cxn ang="0">
                <a:pos x="68" y="262"/>
              </a:cxn>
              <a:cxn ang="0">
                <a:pos x="68" y="262"/>
              </a:cxn>
              <a:cxn ang="0">
                <a:pos x="64" y="274"/>
              </a:cxn>
              <a:cxn ang="0">
                <a:pos x="60" y="276"/>
              </a:cxn>
              <a:cxn ang="0">
                <a:pos x="56" y="278"/>
              </a:cxn>
              <a:cxn ang="0">
                <a:pos x="56" y="278"/>
              </a:cxn>
              <a:cxn ang="0">
                <a:pos x="50" y="282"/>
              </a:cxn>
              <a:cxn ang="0">
                <a:pos x="40" y="282"/>
              </a:cxn>
              <a:cxn ang="0">
                <a:pos x="40" y="282"/>
              </a:cxn>
              <a:cxn ang="0">
                <a:pos x="32" y="282"/>
              </a:cxn>
              <a:cxn ang="0">
                <a:pos x="28" y="278"/>
              </a:cxn>
              <a:cxn ang="0">
                <a:pos x="28" y="278"/>
              </a:cxn>
              <a:cxn ang="0">
                <a:pos x="24" y="274"/>
              </a:cxn>
              <a:cxn ang="0">
                <a:pos x="20" y="266"/>
              </a:cxn>
              <a:cxn ang="0">
                <a:pos x="20" y="266"/>
              </a:cxn>
              <a:cxn ang="0">
                <a:pos x="8" y="234"/>
              </a:cxn>
              <a:cxn ang="0">
                <a:pos x="2" y="206"/>
              </a:cxn>
              <a:cxn ang="0">
                <a:pos x="2" y="206"/>
              </a:cxn>
              <a:cxn ang="0">
                <a:pos x="0" y="194"/>
              </a:cxn>
              <a:cxn ang="0">
                <a:pos x="0" y="194"/>
              </a:cxn>
            </a:cxnLst>
            <a:rect l="0" t="0" r="r" b="b"/>
            <a:pathLst>
              <a:path w="216" h="282">
                <a:moveTo>
                  <a:pt x="0" y="194"/>
                </a:moveTo>
                <a:lnTo>
                  <a:pt x="0" y="194"/>
                </a:lnTo>
                <a:lnTo>
                  <a:pt x="0" y="188"/>
                </a:lnTo>
                <a:lnTo>
                  <a:pt x="4" y="182"/>
                </a:lnTo>
                <a:lnTo>
                  <a:pt x="8" y="176"/>
                </a:lnTo>
                <a:lnTo>
                  <a:pt x="14" y="170"/>
                </a:lnTo>
                <a:lnTo>
                  <a:pt x="14" y="170"/>
                </a:lnTo>
                <a:lnTo>
                  <a:pt x="24" y="166"/>
                </a:lnTo>
                <a:lnTo>
                  <a:pt x="30" y="164"/>
                </a:lnTo>
                <a:lnTo>
                  <a:pt x="30" y="164"/>
                </a:lnTo>
                <a:lnTo>
                  <a:pt x="36" y="168"/>
                </a:lnTo>
                <a:lnTo>
                  <a:pt x="38" y="174"/>
                </a:lnTo>
                <a:lnTo>
                  <a:pt x="38" y="174"/>
                </a:lnTo>
                <a:lnTo>
                  <a:pt x="48" y="202"/>
                </a:lnTo>
                <a:lnTo>
                  <a:pt x="48" y="202"/>
                </a:lnTo>
                <a:lnTo>
                  <a:pt x="52" y="206"/>
                </a:lnTo>
                <a:lnTo>
                  <a:pt x="54" y="208"/>
                </a:lnTo>
                <a:lnTo>
                  <a:pt x="54" y="208"/>
                </a:lnTo>
                <a:lnTo>
                  <a:pt x="56" y="208"/>
                </a:lnTo>
                <a:lnTo>
                  <a:pt x="58" y="204"/>
                </a:lnTo>
                <a:lnTo>
                  <a:pt x="58" y="204"/>
                </a:lnTo>
                <a:lnTo>
                  <a:pt x="80" y="162"/>
                </a:lnTo>
                <a:lnTo>
                  <a:pt x="100" y="124"/>
                </a:lnTo>
                <a:lnTo>
                  <a:pt x="118" y="92"/>
                </a:lnTo>
                <a:lnTo>
                  <a:pt x="136" y="64"/>
                </a:lnTo>
                <a:lnTo>
                  <a:pt x="136" y="64"/>
                </a:lnTo>
                <a:lnTo>
                  <a:pt x="156" y="34"/>
                </a:lnTo>
                <a:lnTo>
                  <a:pt x="168" y="20"/>
                </a:lnTo>
                <a:lnTo>
                  <a:pt x="168" y="20"/>
                </a:lnTo>
                <a:lnTo>
                  <a:pt x="178" y="12"/>
                </a:lnTo>
                <a:lnTo>
                  <a:pt x="190" y="6"/>
                </a:lnTo>
                <a:lnTo>
                  <a:pt x="202" y="2"/>
                </a:lnTo>
                <a:lnTo>
                  <a:pt x="216" y="0"/>
                </a:lnTo>
                <a:lnTo>
                  <a:pt x="216" y="8"/>
                </a:lnTo>
                <a:lnTo>
                  <a:pt x="216" y="8"/>
                </a:lnTo>
                <a:lnTo>
                  <a:pt x="204" y="24"/>
                </a:lnTo>
                <a:lnTo>
                  <a:pt x="188" y="50"/>
                </a:lnTo>
                <a:lnTo>
                  <a:pt x="142" y="122"/>
                </a:lnTo>
                <a:lnTo>
                  <a:pt x="142" y="122"/>
                </a:lnTo>
                <a:lnTo>
                  <a:pt x="98" y="202"/>
                </a:lnTo>
                <a:lnTo>
                  <a:pt x="68" y="262"/>
                </a:lnTo>
                <a:lnTo>
                  <a:pt x="68" y="262"/>
                </a:lnTo>
                <a:lnTo>
                  <a:pt x="64" y="274"/>
                </a:lnTo>
                <a:lnTo>
                  <a:pt x="60" y="276"/>
                </a:lnTo>
                <a:lnTo>
                  <a:pt x="56" y="278"/>
                </a:lnTo>
                <a:lnTo>
                  <a:pt x="56" y="278"/>
                </a:lnTo>
                <a:lnTo>
                  <a:pt x="50" y="282"/>
                </a:lnTo>
                <a:lnTo>
                  <a:pt x="40" y="282"/>
                </a:lnTo>
                <a:lnTo>
                  <a:pt x="40" y="282"/>
                </a:lnTo>
                <a:lnTo>
                  <a:pt x="32" y="282"/>
                </a:lnTo>
                <a:lnTo>
                  <a:pt x="28" y="278"/>
                </a:lnTo>
                <a:lnTo>
                  <a:pt x="28" y="278"/>
                </a:lnTo>
                <a:lnTo>
                  <a:pt x="24" y="274"/>
                </a:lnTo>
                <a:lnTo>
                  <a:pt x="20" y="266"/>
                </a:lnTo>
                <a:lnTo>
                  <a:pt x="20" y="266"/>
                </a:lnTo>
                <a:lnTo>
                  <a:pt x="8" y="234"/>
                </a:lnTo>
                <a:lnTo>
                  <a:pt x="2" y="206"/>
                </a:lnTo>
                <a:lnTo>
                  <a:pt x="2" y="206"/>
                </a:lnTo>
                <a:lnTo>
                  <a:pt x="0" y="194"/>
                </a:lnTo>
                <a:lnTo>
                  <a:pt x="0" y="194"/>
                </a:lnTo>
                <a:close/>
              </a:path>
            </a:pathLst>
          </a:custGeom>
          <a:gradFill>
            <a:gsLst>
              <a:gs pos="0">
                <a:srgbClr val="2A9B18">
                  <a:lumMod val="70000"/>
                </a:srgbClr>
              </a:gs>
              <a:gs pos="79000">
                <a:srgbClr val="2A9B18"/>
              </a:gs>
              <a:gs pos="100000">
                <a:srgbClr val="2A9B18"/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ea typeface="ＭＳ Ｐゴシック" pitchFamily="-112" charset="-128"/>
            </a:endParaRPr>
          </a:p>
        </p:txBody>
      </p:sp>
      <p:sp>
        <p:nvSpPr>
          <p:cNvPr id="164" name="Freeform 150"/>
          <p:cNvSpPr>
            <a:spLocks/>
          </p:cNvSpPr>
          <p:nvPr/>
        </p:nvSpPr>
        <p:spPr bwMode="auto">
          <a:xfrm>
            <a:off x="7886026" y="1677294"/>
            <a:ext cx="159679" cy="209086"/>
          </a:xfrm>
          <a:custGeom>
            <a:avLst/>
            <a:gdLst/>
            <a:ahLst/>
            <a:cxnLst>
              <a:cxn ang="0">
                <a:pos x="0" y="194"/>
              </a:cxn>
              <a:cxn ang="0">
                <a:pos x="0" y="194"/>
              </a:cxn>
              <a:cxn ang="0">
                <a:pos x="0" y="188"/>
              </a:cxn>
              <a:cxn ang="0">
                <a:pos x="4" y="182"/>
              </a:cxn>
              <a:cxn ang="0">
                <a:pos x="8" y="176"/>
              </a:cxn>
              <a:cxn ang="0">
                <a:pos x="14" y="170"/>
              </a:cxn>
              <a:cxn ang="0">
                <a:pos x="14" y="170"/>
              </a:cxn>
              <a:cxn ang="0">
                <a:pos x="24" y="166"/>
              </a:cxn>
              <a:cxn ang="0">
                <a:pos x="30" y="164"/>
              </a:cxn>
              <a:cxn ang="0">
                <a:pos x="30" y="164"/>
              </a:cxn>
              <a:cxn ang="0">
                <a:pos x="36" y="168"/>
              </a:cxn>
              <a:cxn ang="0">
                <a:pos x="38" y="174"/>
              </a:cxn>
              <a:cxn ang="0">
                <a:pos x="38" y="174"/>
              </a:cxn>
              <a:cxn ang="0">
                <a:pos x="48" y="202"/>
              </a:cxn>
              <a:cxn ang="0">
                <a:pos x="48" y="202"/>
              </a:cxn>
              <a:cxn ang="0">
                <a:pos x="52" y="206"/>
              </a:cxn>
              <a:cxn ang="0">
                <a:pos x="54" y="208"/>
              </a:cxn>
              <a:cxn ang="0">
                <a:pos x="54" y="208"/>
              </a:cxn>
              <a:cxn ang="0">
                <a:pos x="56" y="208"/>
              </a:cxn>
              <a:cxn ang="0">
                <a:pos x="58" y="204"/>
              </a:cxn>
              <a:cxn ang="0">
                <a:pos x="58" y="204"/>
              </a:cxn>
              <a:cxn ang="0">
                <a:pos x="80" y="162"/>
              </a:cxn>
              <a:cxn ang="0">
                <a:pos x="100" y="124"/>
              </a:cxn>
              <a:cxn ang="0">
                <a:pos x="118" y="92"/>
              </a:cxn>
              <a:cxn ang="0">
                <a:pos x="136" y="64"/>
              </a:cxn>
              <a:cxn ang="0">
                <a:pos x="136" y="64"/>
              </a:cxn>
              <a:cxn ang="0">
                <a:pos x="156" y="34"/>
              </a:cxn>
              <a:cxn ang="0">
                <a:pos x="168" y="20"/>
              </a:cxn>
              <a:cxn ang="0">
                <a:pos x="168" y="20"/>
              </a:cxn>
              <a:cxn ang="0">
                <a:pos x="178" y="12"/>
              </a:cxn>
              <a:cxn ang="0">
                <a:pos x="190" y="6"/>
              </a:cxn>
              <a:cxn ang="0">
                <a:pos x="202" y="2"/>
              </a:cxn>
              <a:cxn ang="0">
                <a:pos x="216" y="0"/>
              </a:cxn>
              <a:cxn ang="0">
                <a:pos x="216" y="8"/>
              </a:cxn>
              <a:cxn ang="0">
                <a:pos x="216" y="8"/>
              </a:cxn>
              <a:cxn ang="0">
                <a:pos x="204" y="24"/>
              </a:cxn>
              <a:cxn ang="0">
                <a:pos x="188" y="50"/>
              </a:cxn>
              <a:cxn ang="0">
                <a:pos x="142" y="122"/>
              </a:cxn>
              <a:cxn ang="0">
                <a:pos x="142" y="122"/>
              </a:cxn>
              <a:cxn ang="0">
                <a:pos x="98" y="202"/>
              </a:cxn>
              <a:cxn ang="0">
                <a:pos x="68" y="262"/>
              </a:cxn>
              <a:cxn ang="0">
                <a:pos x="68" y="262"/>
              </a:cxn>
              <a:cxn ang="0">
                <a:pos x="64" y="274"/>
              </a:cxn>
              <a:cxn ang="0">
                <a:pos x="60" y="276"/>
              </a:cxn>
              <a:cxn ang="0">
                <a:pos x="56" y="278"/>
              </a:cxn>
              <a:cxn ang="0">
                <a:pos x="56" y="278"/>
              </a:cxn>
              <a:cxn ang="0">
                <a:pos x="50" y="282"/>
              </a:cxn>
              <a:cxn ang="0">
                <a:pos x="40" y="282"/>
              </a:cxn>
              <a:cxn ang="0">
                <a:pos x="40" y="282"/>
              </a:cxn>
              <a:cxn ang="0">
                <a:pos x="32" y="282"/>
              </a:cxn>
              <a:cxn ang="0">
                <a:pos x="28" y="278"/>
              </a:cxn>
              <a:cxn ang="0">
                <a:pos x="28" y="278"/>
              </a:cxn>
              <a:cxn ang="0">
                <a:pos x="24" y="274"/>
              </a:cxn>
              <a:cxn ang="0">
                <a:pos x="20" y="266"/>
              </a:cxn>
              <a:cxn ang="0">
                <a:pos x="20" y="266"/>
              </a:cxn>
              <a:cxn ang="0">
                <a:pos x="8" y="234"/>
              </a:cxn>
              <a:cxn ang="0">
                <a:pos x="2" y="206"/>
              </a:cxn>
              <a:cxn ang="0">
                <a:pos x="2" y="206"/>
              </a:cxn>
              <a:cxn ang="0">
                <a:pos x="0" y="194"/>
              </a:cxn>
              <a:cxn ang="0">
                <a:pos x="0" y="194"/>
              </a:cxn>
            </a:cxnLst>
            <a:rect l="0" t="0" r="r" b="b"/>
            <a:pathLst>
              <a:path w="216" h="282">
                <a:moveTo>
                  <a:pt x="0" y="194"/>
                </a:moveTo>
                <a:lnTo>
                  <a:pt x="0" y="194"/>
                </a:lnTo>
                <a:lnTo>
                  <a:pt x="0" y="188"/>
                </a:lnTo>
                <a:lnTo>
                  <a:pt x="4" y="182"/>
                </a:lnTo>
                <a:lnTo>
                  <a:pt x="8" y="176"/>
                </a:lnTo>
                <a:lnTo>
                  <a:pt x="14" y="170"/>
                </a:lnTo>
                <a:lnTo>
                  <a:pt x="14" y="170"/>
                </a:lnTo>
                <a:lnTo>
                  <a:pt x="24" y="166"/>
                </a:lnTo>
                <a:lnTo>
                  <a:pt x="30" y="164"/>
                </a:lnTo>
                <a:lnTo>
                  <a:pt x="30" y="164"/>
                </a:lnTo>
                <a:lnTo>
                  <a:pt x="36" y="168"/>
                </a:lnTo>
                <a:lnTo>
                  <a:pt x="38" y="174"/>
                </a:lnTo>
                <a:lnTo>
                  <a:pt x="38" y="174"/>
                </a:lnTo>
                <a:lnTo>
                  <a:pt x="48" y="202"/>
                </a:lnTo>
                <a:lnTo>
                  <a:pt x="48" y="202"/>
                </a:lnTo>
                <a:lnTo>
                  <a:pt x="52" y="206"/>
                </a:lnTo>
                <a:lnTo>
                  <a:pt x="54" y="208"/>
                </a:lnTo>
                <a:lnTo>
                  <a:pt x="54" y="208"/>
                </a:lnTo>
                <a:lnTo>
                  <a:pt x="56" y="208"/>
                </a:lnTo>
                <a:lnTo>
                  <a:pt x="58" y="204"/>
                </a:lnTo>
                <a:lnTo>
                  <a:pt x="58" y="204"/>
                </a:lnTo>
                <a:lnTo>
                  <a:pt x="80" y="162"/>
                </a:lnTo>
                <a:lnTo>
                  <a:pt x="100" y="124"/>
                </a:lnTo>
                <a:lnTo>
                  <a:pt x="118" y="92"/>
                </a:lnTo>
                <a:lnTo>
                  <a:pt x="136" y="64"/>
                </a:lnTo>
                <a:lnTo>
                  <a:pt x="136" y="64"/>
                </a:lnTo>
                <a:lnTo>
                  <a:pt x="156" y="34"/>
                </a:lnTo>
                <a:lnTo>
                  <a:pt x="168" y="20"/>
                </a:lnTo>
                <a:lnTo>
                  <a:pt x="168" y="20"/>
                </a:lnTo>
                <a:lnTo>
                  <a:pt x="178" y="12"/>
                </a:lnTo>
                <a:lnTo>
                  <a:pt x="190" y="6"/>
                </a:lnTo>
                <a:lnTo>
                  <a:pt x="202" y="2"/>
                </a:lnTo>
                <a:lnTo>
                  <a:pt x="216" y="0"/>
                </a:lnTo>
                <a:lnTo>
                  <a:pt x="216" y="8"/>
                </a:lnTo>
                <a:lnTo>
                  <a:pt x="216" y="8"/>
                </a:lnTo>
                <a:lnTo>
                  <a:pt x="204" y="24"/>
                </a:lnTo>
                <a:lnTo>
                  <a:pt x="188" y="50"/>
                </a:lnTo>
                <a:lnTo>
                  <a:pt x="142" y="122"/>
                </a:lnTo>
                <a:lnTo>
                  <a:pt x="142" y="122"/>
                </a:lnTo>
                <a:lnTo>
                  <a:pt x="98" y="202"/>
                </a:lnTo>
                <a:lnTo>
                  <a:pt x="68" y="262"/>
                </a:lnTo>
                <a:lnTo>
                  <a:pt x="68" y="262"/>
                </a:lnTo>
                <a:lnTo>
                  <a:pt x="64" y="274"/>
                </a:lnTo>
                <a:lnTo>
                  <a:pt x="60" y="276"/>
                </a:lnTo>
                <a:lnTo>
                  <a:pt x="56" y="278"/>
                </a:lnTo>
                <a:lnTo>
                  <a:pt x="56" y="278"/>
                </a:lnTo>
                <a:lnTo>
                  <a:pt x="50" y="282"/>
                </a:lnTo>
                <a:lnTo>
                  <a:pt x="40" y="282"/>
                </a:lnTo>
                <a:lnTo>
                  <a:pt x="40" y="282"/>
                </a:lnTo>
                <a:lnTo>
                  <a:pt x="32" y="282"/>
                </a:lnTo>
                <a:lnTo>
                  <a:pt x="28" y="278"/>
                </a:lnTo>
                <a:lnTo>
                  <a:pt x="28" y="278"/>
                </a:lnTo>
                <a:lnTo>
                  <a:pt x="24" y="274"/>
                </a:lnTo>
                <a:lnTo>
                  <a:pt x="20" y="266"/>
                </a:lnTo>
                <a:lnTo>
                  <a:pt x="20" y="266"/>
                </a:lnTo>
                <a:lnTo>
                  <a:pt x="8" y="234"/>
                </a:lnTo>
                <a:lnTo>
                  <a:pt x="2" y="206"/>
                </a:lnTo>
                <a:lnTo>
                  <a:pt x="2" y="206"/>
                </a:lnTo>
                <a:lnTo>
                  <a:pt x="0" y="194"/>
                </a:lnTo>
                <a:lnTo>
                  <a:pt x="0" y="194"/>
                </a:lnTo>
                <a:close/>
              </a:path>
            </a:pathLst>
          </a:custGeom>
          <a:gradFill>
            <a:gsLst>
              <a:gs pos="0">
                <a:srgbClr val="2A9B18">
                  <a:lumMod val="70000"/>
                </a:srgbClr>
              </a:gs>
              <a:gs pos="79000">
                <a:srgbClr val="2A9B18"/>
              </a:gs>
              <a:gs pos="100000">
                <a:srgbClr val="2A9B18"/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ea typeface="ＭＳ Ｐゴシック" pitchFamily="-112" charset="-128"/>
            </a:endParaRPr>
          </a:p>
        </p:txBody>
      </p:sp>
      <p:sp>
        <p:nvSpPr>
          <p:cNvPr id="165" name="Freeform 150"/>
          <p:cNvSpPr>
            <a:spLocks/>
          </p:cNvSpPr>
          <p:nvPr/>
        </p:nvSpPr>
        <p:spPr bwMode="auto">
          <a:xfrm>
            <a:off x="5590938" y="1397827"/>
            <a:ext cx="447377" cy="585802"/>
          </a:xfrm>
          <a:custGeom>
            <a:avLst/>
            <a:gdLst/>
            <a:ahLst/>
            <a:cxnLst>
              <a:cxn ang="0">
                <a:pos x="0" y="194"/>
              </a:cxn>
              <a:cxn ang="0">
                <a:pos x="0" y="194"/>
              </a:cxn>
              <a:cxn ang="0">
                <a:pos x="0" y="188"/>
              </a:cxn>
              <a:cxn ang="0">
                <a:pos x="4" y="182"/>
              </a:cxn>
              <a:cxn ang="0">
                <a:pos x="8" y="176"/>
              </a:cxn>
              <a:cxn ang="0">
                <a:pos x="14" y="170"/>
              </a:cxn>
              <a:cxn ang="0">
                <a:pos x="14" y="170"/>
              </a:cxn>
              <a:cxn ang="0">
                <a:pos x="24" y="166"/>
              </a:cxn>
              <a:cxn ang="0">
                <a:pos x="30" y="164"/>
              </a:cxn>
              <a:cxn ang="0">
                <a:pos x="30" y="164"/>
              </a:cxn>
              <a:cxn ang="0">
                <a:pos x="36" y="168"/>
              </a:cxn>
              <a:cxn ang="0">
                <a:pos x="38" y="174"/>
              </a:cxn>
              <a:cxn ang="0">
                <a:pos x="38" y="174"/>
              </a:cxn>
              <a:cxn ang="0">
                <a:pos x="48" y="202"/>
              </a:cxn>
              <a:cxn ang="0">
                <a:pos x="48" y="202"/>
              </a:cxn>
              <a:cxn ang="0">
                <a:pos x="52" y="206"/>
              </a:cxn>
              <a:cxn ang="0">
                <a:pos x="54" y="208"/>
              </a:cxn>
              <a:cxn ang="0">
                <a:pos x="54" y="208"/>
              </a:cxn>
              <a:cxn ang="0">
                <a:pos x="56" y="208"/>
              </a:cxn>
              <a:cxn ang="0">
                <a:pos x="58" y="204"/>
              </a:cxn>
              <a:cxn ang="0">
                <a:pos x="58" y="204"/>
              </a:cxn>
              <a:cxn ang="0">
                <a:pos x="80" y="162"/>
              </a:cxn>
              <a:cxn ang="0">
                <a:pos x="100" y="124"/>
              </a:cxn>
              <a:cxn ang="0">
                <a:pos x="118" y="92"/>
              </a:cxn>
              <a:cxn ang="0">
                <a:pos x="136" y="64"/>
              </a:cxn>
              <a:cxn ang="0">
                <a:pos x="136" y="64"/>
              </a:cxn>
              <a:cxn ang="0">
                <a:pos x="156" y="34"/>
              </a:cxn>
              <a:cxn ang="0">
                <a:pos x="168" y="20"/>
              </a:cxn>
              <a:cxn ang="0">
                <a:pos x="168" y="20"/>
              </a:cxn>
              <a:cxn ang="0">
                <a:pos x="178" y="12"/>
              </a:cxn>
              <a:cxn ang="0">
                <a:pos x="190" y="6"/>
              </a:cxn>
              <a:cxn ang="0">
                <a:pos x="202" y="2"/>
              </a:cxn>
              <a:cxn ang="0">
                <a:pos x="216" y="0"/>
              </a:cxn>
              <a:cxn ang="0">
                <a:pos x="216" y="8"/>
              </a:cxn>
              <a:cxn ang="0">
                <a:pos x="216" y="8"/>
              </a:cxn>
              <a:cxn ang="0">
                <a:pos x="204" y="24"/>
              </a:cxn>
              <a:cxn ang="0">
                <a:pos x="188" y="50"/>
              </a:cxn>
              <a:cxn ang="0">
                <a:pos x="142" y="122"/>
              </a:cxn>
              <a:cxn ang="0">
                <a:pos x="142" y="122"/>
              </a:cxn>
              <a:cxn ang="0">
                <a:pos x="98" y="202"/>
              </a:cxn>
              <a:cxn ang="0">
                <a:pos x="68" y="262"/>
              </a:cxn>
              <a:cxn ang="0">
                <a:pos x="68" y="262"/>
              </a:cxn>
              <a:cxn ang="0">
                <a:pos x="64" y="274"/>
              </a:cxn>
              <a:cxn ang="0">
                <a:pos x="60" y="276"/>
              </a:cxn>
              <a:cxn ang="0">
                <a:pos x="56" y="278"/>
              </a:cxn>
              <a:cxn ang="0">
                <a:pos x="56" y="278"/>
              </a:cxn>
              <a:cxn ang="0">
                <a:pos x="50" y="282"/>
              </a:cxn>
              <a:cxn ang="0">
                <a:pos x="40" y="282"/>
              </a:cxn>
              <a:cxn ang="0">
                <a:pos x="40" y="282"/>
              </a:cxn>
              <a:cxn ang="0">
                <a:pos x="32" y="282"/>
              </a:cxn>
              <a:cxn ang="0">
                <a:pos x="28" y="278"/>
              </a:cxn>
              <a:cxn ang="0">
                <a:pos x="28" y="278"/>
              </a:cxn>
              <a:cxn ang="0">
                <a:pos x="24" y="274"/>
              </a:cxn>
              <a:cxn ang="0">
                <a:pos x="20" y="266"/>
              </a:cxn>
              <a:cxn ang="0">
                <a:pos x="20" y="266"/>
              </a:cxn>
              <a:cxn ang="0">
                <a:pos x="8" y="234"/>
              </a:cxn>
              <a:cxn ang="0">
                <a:pos x="2" y="206"/>
              </a:cxn>
              <a:cxn ang="0">
                <a:pos x="2" y="206"/>
              </a:cxn>
              <a:cxn ang="0">
                <a:pos x="0" y="194"/>
              </a:cxn>
              <a:cxn ang="0">
                <a:pos x="0" y="194"/>
              </a:cxn>
            </a:cxnLst>
            <a:rect l="0" t="0" r="r" b="b"/>
            <a:pathLst>
              <a:path w="216" h="282">
                <a:moveTo>
                  <a:pt x="0" y="194"/>
                </a:moveTo>
                <a:lnTo>
                  <a:pt x="0" y="194"/>
                </a:lnTo>
                <a:lnTo>
                  <a:pt x="0" y="188"/>
                </a:lnTo>
                <a:lnTo>
                  <a:pt x="4" y="182"/>
                </a:lnTo>
                <a:lnTo>
                  <a:pt x="8" y="176"/>
                </a:lnTo>
                <a:lnTo>
                  <a:pt x="14" y="170"/>
                </a:lnTo>
                <a:lnTo>
                  <a:pt x="14" y="170"/>
                </a:lnTo>
                <a:lnTo>
                  <a:pt x="24" y="166"/>
                </a:lnTo>
                <a:lnTo>
                  <a:pt x="30" y="164"/>
                </a:lnTo>
                <a:lnTo>
                  <a:pt x="30" y="164"/>
                </a:lnTo>
                <a:lnTo>
                  <a:pt x="36" y="168"/>
                </a:lnTo>
                <a:lnTo>
                  <a:pt x="38" y="174"/>
                </a:lnTo>
                <a:lnTo>
                  <a:pt x="38" y="174"/>
                </a:lnTo>
                <a:lnTo>
                  <a:pt x="48" y="202"/>
                </a:lnTo>
                <a:lnTo>
                  <a:pt x="48" y="202"/>
                </a:lnTo>
                <a:lnTo>
                  <a:pt x="52" y="206"/>
                </a:lnTo>
                <a:lnTo>
                  <a:pt x="54" y="208"/>
                </a:lnTo>
                <a:lnTo>
                  <a:pt x="54" y="208"/>
                </a:lnTo>
                <a:lnTo>
                  <a:pt x="56" y="208"/>
                </a:lnTo>
                <a:lnTo>
                  <a:pt x="58" y="204"/>
                </a:lnTo>
                <a:lnTo>
                  <a:pt x="58" y="204"/>
                </a:lnTo>
                <a:lnTo>
                  <a:pt x="80" y="162"/>
                </a:lnTo>
                <a:lnTo>
                  <a:pt x="100" y="124"/>
                </a:lnTo>
                <a:lnTo>
                  <a:pt x="118" y="92"/>
                </a:lnTo>
                <a:lnTo>
                  <a:pt x="136" y="64"/>
                </a:lnTo>
                <a:lnTo>
                  <a:pt x="136" y="64"/>
                </a:lnTo>
                <a:lnTo>
                  <a:pt x="156" y="34"/>
                </a:lnTo>
                <a:lnTo>
                  <a:pt x="168" y="20"/>
                </a:lnTo>
                <a:lnTo>
                  <a:pt x="168" y="20"/>
                </a:lnTo>
                <a:lnTo>
                  <a:pt x="178" y="12"/>
                </a:lnTo>
                <a:lnTo>
                  <a:pt x="190" y="6"/>
                </a:lnTo>
                <a:lnTo>
                  <a:pt x="202" y="2"/>
                </a:lnTo>
                <a:lnTo>
                  <a:pt x="216" y="0"/>
                </a:lnTo>
                <a:lnTo>
                  <a:pt x="216" y="8"/>
                </a:lnTo>
                <a:lnTo>
                  <a:pt x="216" y="8"/>
                </a:lnTo>
                <a:lnTo>
                  <a:pt x="204" y="24"/>
                </a:lnTo>
                <a:lnTo>
                  <a:pt x="188" y="50"/>
                </a:lnTo>
                <a:lnTo>
                  <a:pt x="142" y="122"/>
                </a:lnTo>
                <a:lnTo>
                  <a:pt x="142" y="122"/>
                </a:lnTo>
                <a:lnTo>
                  <a:pt x="98" y="202"/>
                </a:lnTo>
                <a:lnTo>
                  <a:pt x="68" y="262"/>
                </a:lnTo>
                <a:lnTo>
                  <a:pt x="68" y="262"/>
                </a:lnTo>
                <a:lnTo>
                  <a:pt x="64" y="274"/>
                </a:lnTo>
                <a:lnTo>
                  <a:pt x="60" y="276"/>
                </a:lnTo>
                <a:lnTo>
                  <a:pt x="56" y="278"/>
                </a:lnTo>
                <a:lnTo>
                  <a:pt x="56" y="278"/>
                </a:lnTo>
                <a:lnTo>
                  <a:pt x="50" y="282"/>
                </a:lnTo>
                <a:lnTo>
                  <a:pt x="40" y="282"/>
                </a:lnTo>
                <a:lnTo>
                  <a:pt x="40" y="282"/>
                </a:lnTo>
                <a:lnTo>
                  <a:pt x="32" y="282"/>
                </a:lnTo>
                <a:lnTo>
                  <a:pt x="28" y="278"/>
                </a:lnTo>
                <a:lnTo>
                  <a:pt x="28" y="278"/>
                </a:lnTo>
                <a:lnTo>
                  <a:pt x="24" y="274"/>
                </a:lnTo>
                <a:lnTo>
                  <a:pt x="20" y="266"/>
                </a:lnTo>
                <a:lnTo>
                  <a:pt x="20" y="266"/>
                </a:lnTo>
                <a:lnTo>
                  <a:pt x="8" y="234"/>
                </a:lnTo>
                <a:lnTo>
                  <a:pt x="2" y="206"/>
                </a:lnTo>
                <a:lnTo>
                  <a:pt x="2" y="206"/>
                </a:lnTo>
                <a:lnTo>
                  <a:pt x="0" y="194"/>
                </a:lnTo>
                <a:lnTo>
                  <a:pt x="0" y="194"/>
                </a:lnTo>
                <a:close/>
              </a:path>
            </a:pathLst>
          </a:custGeom>
          <a:gradFill>
            <a:gsLst>
              <a:gs pos="0">
                <a:srgbClr val="2A9B18">
                  <a:lumMod val="52000"/>
                </a:srgbClr>
              </a:gs>
              <a:gs pos="80000">
                <a:srgbClr val="2A9B18"/>
              </a:gs>
              <a:gs pos="100000">
                <a:srgbClr val="2A9B18"/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ea typeface="ＭＳ Ｐゴシック" pitchFamily="-112" charset="-128"/>
            </a:endParaRPr>
          </a:p>
        </p:txBody>
      </p:sp>
      <p:sp>
        <p:nvSpPr>
          <p:cNvPr id="166" name="Freeform 150"/>
          <p:cNvSpPr>
            <a:spLocks/>
          </p:cNvSpPr>
          <p:nvPr/>
        </p:nvSpPr>
        <p:spPr bwMode="auto">
          <a:xfrm>
            <a:off x="7876297" y="1910695"/>
            <a:ext cx="159679" cy="209086"/>
          </a:xfrm>
          <a:custGeom>
            <a:avLst/>
            <a:gdLst/>
            <a:ahLst/>
            <a:cxnLst>
              <a:cxn ang="0">
                <a:pos x="0" y="194"/>
              </a:cxn>
              <a:cxn ang="0">
                <a:pos x="0" y="194"/>
              </a:cxn>
              <a:cxn ang="0">
                <a:pos x="0" y="188"/>
              </a:cxn>
              <a:cxn ang="0">
                <a:pos x="4" y="182"/>
              </a:cxn>
              <a:cxn ang="0">
                <a:pos x="8" y="176"/>
              </a:cxn>
              <a:cxn ang="0">
                <a:pos x="14" y="170"/>
              </a:cxn>
              <a:cxn ang="0">
                <a:pos x="14" y="170"/>
              </a:cxn>
              <a:cxn ang="0">
                <a:pos x="24" y="166"/>
              </a:cxn>
              <a:cxn ang="0">
                <a:pos x="30" y="164"/>
              </a:cxn>
              <a:cxn ang="0">
                <a:pos x="30" y="164"/>
              </a:cxn>
              <a:cxn ang="0">
                <a:pos x="36" y="168"/>
              </a:cxn>
              <a:cxn ang="0">
                <a:pos x="38" y="174"/>
              </a:cxn>
              <a:cxn ang="0">
                <a:pos x="38" y="174"/>
              </a:cxn>
              <a:cxn ang="0">
                <a:pos x="48" y="202"/>
              </a:cxn>
              <a:cxn ang="0">
                <a:pos x="48" y="202"/>
              </a:cxn>
              <a:cxn ang="0">
                <a:pos x="52" y="206"/>
              </a:cxn>
              <a:cxn ang="0">
                <a:pos x="54" y="208"/>
              </a:cxn>
              <a:cxn ang="0">
                <a:pos x="54" y="208"/>
              </a:cxn>
              <a:cxn ang="0">
                <a:pos x="56" y="208"/>
              </a:cxn>
              <a:cxn ang="0">
                <a:pos x="58" y="204"/>
              </a:cxn>
              <a:cxn ang="0">
                <a:pos x="58" y="204"/>
              </a:cxn>
              <a:cxn ang="0">
                <a:pos x="80" y="162"/>
              </a:cxn>
              <a:cxn ang="0">
                <a:pos x="100" y="124"/>
              </a:cxn>
              <a:cxn ang="0">
                <a:pos x="118" y="92"/>
              </a:cxn>
              <a:cxn ang="0">
                <a:pos x="136" y="64"/>
              </a:cxn>
              <a:cxn ang="0">
                <a:pos x="136" y="64"/>
              </a:cxn>
              <a:cxn ang="0">
                <a:pos x="156" y="34"/>
              </a:cxn>
              <a:cxn ang="0">
                <a:pos x="168" y="20"/>
              </a:cxn>
              <a:cxn ang="0">
                <a:pos x="168" y="20"/>
              </a:cxn>
              <a:cxn ang="0">
                <a:pos x="178" y="12"/>
              </a:cxn>
              <a:cxn ang="0">
                <a:pos x="190" y="6"/>
              </a:cxn>
              <a:cxn ang="0">
                <a:pos x="202" y="2"/>
              </a:cxn>
              <a:cxn ang="0">
                <a:pos x="216" y="0"/>
              </a:cxn>
              <a:cxn ang="0">
                <a:pos x="216" y="8"/>
              </a:cxn>
              <a:cxn ang="0">
                <a:pos x="216" y="8"/>
              </a:cxn>
              <a:cxn ang="0">
                <a:pos x="204" y="24"/>
              </a:cxn>
              <a:cxn ang="0">
                <a:pos x="188" y="50"/>
              </a:cxn>
              <a:cxn ang="0">
                <a:pos x="142" y="122"/>
              </a:cxn>
              <a:cxn ang="0">
                <a:pos x="142" y="122"/>
              </a:cxn>
              <a:cxn ang="0">
                <a:pos x="98" y="202"/>
              </a:cxn>
              <a:cxn ang="0">
                <a:pos x="68" y="262"/>
              </a:cxn>
              <a:cxn ang="0">
                <a:pos x="68" y="262"/>
              </a:cxn>
              <a:cxn ang="0">
                <a:pos x="64" y="274"/>
              </a:cxn>
              <a:cxn ang="0">
                <a:pos x="60" y="276"/>
              </a:cxn>
              <a:cxn ang="0">
                <a:pos x="56" y="278"/>
              </a:cxn>
              <a:cxn ang="0">
                <a:pos x="56" y="278"/>
              </a:cxn>
              <a:cxn ang="0">
                <a:pos x="50" y="282"/>
              </a:cxn>
              <a:cxn ang="0">
                <a:pos x="40" y="282"/>
              </a:cxn>
              <a:cxn ang="0">
                <a:pos x="40" y="282"/>
              </a:cxn>
              <a:cxn ang="0">
                <a:pos x="32" y="282"/>
              </a:cxn>
              <a:cxn ang="0">
                <a:pos x="28" y="278"/>
              </a:cxn>
              <a:cxn ang="0">
                <a:pos x="28" y="278"/>
              </a:cxn>
              <a:cxn ang="0">
                <a:pos x="24" y="274"/>
              </a:cxn>
              <a:cxn ang="0">
                <a:pos x="20" y="266"/>
              </a:cxn>
              <a:cxn ang="0">
                <a:pos x="20" y="266"/>
              </a:cxn>
              <a:cxn ang="0">
                <a:pos x="8" y="234"/>
              </a:cxn>
              <a:cxn ang="0">
                <a:pos x="2" y="206"/>
              </a:cxn>
              <a:cxn ang="0">
                <a:pos x="2" y="206"/>
              </a:cxn>
              <a:cxn ang="0">
                <a:pos x="0" y="194"/>
              </a:cxn>
              <a:cxn ang="0">
                <a:pos x="0" y="194"/>
              </a:cxn>
            </a:cxnLst>
            <a:rect l="0" t="0" r="r" b="b"/>
            <a:pathLst>
              <a:path w="216" h="282">
                <a:moveTo>
                  <a:pt x="0" y="194"/>
                </a:moveTo>
                <a:lnTo>
                  <a:pt x="0" y="194"/>
                </a:lnTo>
                <a:lnTo>
                  <a:pt x="0" y="188"/>
                </a:lnTo>
                <a:lnTo>
                  <a:pt x="4" y="182"/>
                </a:lnTo>
                <a:lnTo>
                  <a:pt x="8" y="176"/>
                </a:lnTo>
                <a:lnTo>
                  <a:pt x="14" y="170"/>
                </a:lnTo>
                <a:lnTo>
                  <a:pt x="14" y="170"/>
                </a:lnTo>
                <a:lnTo>
                  <a:pt x="24" y="166"/>
                </a:lnTo>
                <a:lnTo>
                  <a:pt x="30" y="164"/>
                </a:lnTo>
                <a:lnTo>
                  <a:pt x="30" y="164"/>
                </a:lnTo>
                <a:lnTo>
                  <a:pt x="36" y="168"/>
                </a:lnTo>
                <a:lnTo>
                  <a:pt x="38" y="174"/>
                </a:lnTo>
                <a:lnTo>
                  <a:pt x="38" y="174"/>
                </a:lnTo>
                <a:lnTo>
                  <a:pt x="48" y="202"/>
                </a:lnTo>
                <a:lnTo>
                  <a:pt x="48" y="202"/>
                </a:lnTo>
                <a:lnTo>
                  <a:pt x="52" y="206"/>
                </a:lnTo>
                <a:lnTo>
                  <a:pt x="54" y="208"/>
                </a:lnTo>
                <a:lnTo>
                  <a:pt x="54" y="208"/>
                </a:lnTo>
                <a:lnTo>
                  <a:pt x="56" y="208"/>
                </a:lnTo>
                <a:lnTo>
                  <a:pt x="58" y="204"/>
                </a:lnTo>
                <a:lnTo>
                  <a:pt x="58" y="204"/>
                </a:lnTo>
                <a:lnTo>
                  <a:pt x="80" y="162"/>
                </a:lnTo>
                <a:lnTo>
                  <a:pt x="100" y="124"/>
                </a:lnTo>
                <a:lnTo>
                  <a:pt x="118" y="92"/>
                </a:lnTo>
                <a:lnTo>
                  <a:pt x="136" y="64"/>
                </a:lnTo>
                <a:lnTo>
                  <a:pt x="136" y="64"/>
                </a:lnTo>
                <a:lnTo>
                  <a:pt x="156" y="34"/>
                </a:lnTo>
                <a:lnTo>
                  <a:pt x="168" y="20"/>
                </a:lnTo>
                <a:lnTo>
                  <a:pt x="168" y="20"/>
                </a:lnTo>
                <a:lnTo>
                  <a:pt x="178" y="12"/>
                </a:lnTo>
                <a:lnTo>
                  <a:pt x="190" y="6"/>
                </a:lnTo>
                <a:lnTo>
                  <a:pt x="202" y="2"/>
                </a:lnTo>
                <a:lnTo>
                  <a:pt x="216" y="0"/>
                </a:lnTo>
                <a:lnTo>
                  <a:pt x="216" y="8"/>
                </a:lnTo>
                <a:lnTo>
                  <a:pt x="216" y="8"/>
                </a:lnTo>
                <a:lnTo>
                  <a:pt x="204" y="24"/>
                </a:lnTo>
                <a:lnTo>
                  <a:pt x="188" y="50"/>
                </a:lnTo>
                <a:lnTo>
                  <a:pt x="142" y="122"/>
                </a:lnTo>
                <a:lnTo>
                  <a:pt x="142" y="122"/>
                </a:lnTo>
                <a:lnTo>
                  <a:pt x="98" y="202"/>
                </a:lnTo>
                <a:lnTo>
                  <a:pt x="68" y="262"/>
                </a:lnTo>
                <a:lnTo>
                  <a:pt x="68" y="262"/>
                </a:lnTo>
                <a:lnTo>
                  <a:pt x="64" y="274"/>
                </a:lnTo>
                <a:lnTo>
                  <a:pt x="60" y="276"/>
                </a:lnTo>
                <a:lnTo>
                  <a:pt x="56" y="278"/>
                </a:lnTo>
                <a:lnTo>
                  <a:pt x="56" y="278"/>
                </a:lnTo>
                <a:lnTo>
                  <a:pt x="50" y="282"/>
                </a:lnTo>
                <a:lnTo>
                  <a:pt x="40" y="282"/>
                </a:lnTo>
                <a:lnTo>
                  <a:pt x="40" y="282"/>
                </a:lnTo>
                <a:lnTo>
                  <a:pt x="32" y="282"/>
                </a:lnTo>
                <a:lnTo>
                  <a:pt x="28" y="278"/>
                </a:lnTo>
                <a:lnTo>
                  <a:pt x="28" y="278"/>
                </a:lnTo>
                <a:lnTo>
                  <a:pt x="24" y="274"/>
                </a:lnTo>
                <a:lnTo>
                  <a:pt x="20" y="266"/>
                </a:lnTo>
                <a:lnTo>
                  <a:pt x="20" y="266"/>
                </a:lnTo>
                <a:lnTo>
                  <a:pt x="8" y="234"/>
                </a:lnTo>
                <a:lnTo>
                  <a:pt x="2" y="206"/>
                </a:lnTo>
                <a:lnTo>
                  <a:pt x="2" y="206"/>
                </a:lnTo>
                <a:lnTo>
                  <a:pt x="0" y="194"/>
                </a:lnTo>
                <a:lnTo>
                  <a:pt x="0" y="194"/>
                </a:lnTo>
                <a:close/>
              </a:path>
            </a:pathLst>
          </a:custGeom>
          <a:gradFill>
            <a:gsLst>
              <a:gs pos="0">
                <a:srgbClr val="2A9B18">
                  <a:lumMod val="70000"/>
                </a:srgbClr>
              </a:gs>
              <a:gs pos="79000">
                <a:srgbClr val="2A9B18"/>
              </a:gs>
              <a:gs pos="100000">
                <a:srgbClr val="2A9B18"/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ea typeface="ＭＳ Ｐゴシック" pitchFamily="-112" charset="-128"/>
            </a:endParaRPr>
          </a:p>
        </p:txBody>
      </p:sp>
      <p:grpSp>
        <p:nvGrpSpPr>
          <p:cNvPr id="21555" name="Gruppe 166"/>
          <p:cNvGrpSpPr>
            <a:grpSpLocks/>
          </p:cNvGrpSpPr>
          <p:nvPr/>
        </p:nvGrpSpPr>
        <p:grpSpPr bwMode="auto">
          <a:xfrm>
            <a:off x="5227638" y="3436938"/>
            <a:ext cx="750887" cy="819150"/>
            <a:chOff x="2085247" y="4931228"/>
            <a:chExt cx="842211" cy="916262"/>
          </a:xfrm>
        </p:grpSpPr>
        <p:sp>
          <p:nvSpPr>
            <p:cNvPr id="168" name="Freeform 7"/>
            <p:cNvSpPr>
              <a:spLocks/>
            </p:cNvSpPr>
            <p:nvPr/>
          </p:nvSpPr>
          <p:spPr bwMode="auto">
            <a:xfrm rot="685383">
              <a:off x="2085247" y="5030667"/>
              <a:ext cx="842211" cy="816823"/>
            </a:xfrm>
            <a:custGeom>
              <a:avLst/>
              <a:gdLst>
                <a:gd name="T0" fmla="*/ 985 w 1153"/>
                <a:gd name="T1" fmla="*/ 114 h 985"/>
                <a:gd name="T2" fmla="*/ 985 w 1153"/>
                <a:gd name="T3" fmla="*/ 114 h 985"/>
                <a:gd name="T4" fmla="*/ 1017 w 1153"/>
                <a:gd name="T5" fmla="*/ 242 h 985"/>
                <a:gd name="T6" fmla="*/ 1073 w 1153"/>
                <a:gd name="T7" fmla="*/ 462 h 985"/>
                <a:gd name="T8" fmla="*/ 1153 w 1153"/>
                <a:gd name="T9" fmla="*/ 763 h 985"/>
                <a:gd name="T10" fmla="*/ 180 w 1153"/>
                <a:gd name="T11" fmla="*/ 985 h 985"/>
                <a:gd name="T12" fmla="*/ 180 w 1153"/>
                <a:gd name="T13" fmla="*/ 985 h 985"/>
                <a:gd name="T14" fmla="*/ 104 w 1153"/>
                <a:gd name="T15" fmla="*/ 693 h 985"/>
                <a:gd name="T16" fmla="*/ 48 w 1153"/>
                <a:gd name="T17" fmla="*/ 478 h 985"/>
                <a:gd name="T18" fmla="*/ 16 w 1153"/>
                <a:gd name="T19" fmla="*/ 348 h 985"/>
                <a:gd name="T20" fmla="*/ 16 w 1153"/>
                <a:gd name="T21" fmla="*/ 348 h 985"/>
                <a:gd name="T22" fmla="*/ 6 w 1153"/>
                <a:gd name="T23" fmla="*/ 296 h 985"/>
                <a:gd name="T24" fmla="*/ 2 w 1153"/>
                <a:gd name="T25" fmla="*/ 252 h 985"/>
                <a:gd name="T26" fmla="*/ 0 w 1153"/>
                <a:gd name="T27" fmla="*/ 210 h 985"/>
                <a:gd name="T28" fmla="*/ 965 w 1153"/>
                <a:gd name="T29" fmla="*/ 0 h 985"/>
                <a:gd name="T30" fmla="*/ 965 w 1153"/>
                <a:gd name="T31" fmla="*/ 0 h 985"/>
                <a:gd name="T32" fmla="*/ 971 w 1153"/>
                <a:gd name="T33" fmla="*/ 36 h 985"/>
                <a:gd name="T34" fmla="*/ 977 w 1153"/>
                <a:gd name="T35" fmla="*/ 72 h 985"/>
                <a:gd name="T36" fmla="*/ 985 w 1153"/>
                <a:gd name="T37" fmla="*/ 114 h 985"/>
                <a:gd name="T38" fmla="*/ 985 w 1153"/>
                <a:gd name="T39" fmla="*/ 114 h 98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153"/>
                <a:gd name="T61" fmla="*/ 0 h 985"/>
                <a:gd name="T62" fmla="*/ 1153 w 1153"/>
                <a:gd name="T63" fmla="*/ 985 h 98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153" h="985">
                  <a:moveTo>
                    <a:pt x="985" y="114"/>
                  </a:moveTo>
                  <a:lnTo>
                    <a:pt x="985" y="114"/>
                  </a:lnTo>
                  <a:lnTo>
                    <a:pt x="1017" y="242"/>
                  </a:lnTo>
                  <a:lnTo>
                    <a:pt x="1073" y="462"/>
                  </a:lnTo>
                  <a:lnTo>
                    <a:pt x="1153" y="763"/>
                  </a:lnTo>
                  <a:lnTo>
                    <a:pt x="180" y="985"/>
                  </a:lnTo>
                  <a:lnTo>
                    <a:pt x="104" y="693"/>
                  </a:lnTo>
                  <a:lnTo>
                    <a:pt x="48" y="478"/>
                  </a:lnTo>
                  <a:lnTo>
                    <a:pt x="16" y="348"/>
                  </a:lnTo>
                  <a:lnTo>
                    <a:pt x="6" y="296"/>
                  </a:lnTo>
                  <a:lnTo>
                    <a:pt x="2" y="252"/>
                  </a:lnTo>
                  <a:lnTo>
                    <a:pt x="0" y="210"/>
                  </a:lnTo>
                  <a:lnTo>
                    <a:pt x="965" y="0"/>
                  </a:lnTo>
                  <a:lnTo>
                    <a:pt x="971" y="36"/>
                  </a:lnTo>
                  <a:lnTo>
                    <a:pt x="977" y="72"/>
                  </a:lnTo>
                  <a:lnTo>
                    <a:pt x="985" y="114"/>
                  </a:lnTo>
                  <a:close/>
                </a:path>
              </a:pathLst>
            </a:custGeom>
            <a:solidFill>
              <a:srgbClr val="CCECF4"/>
            </a:solidFill>
            <a:ln w="9525">
              <a:noFill/>
              <a:round/>
              <a:headEnd/>
              <a:tailEnd/>
            </a:ln>
            <a:effectLst>
              <a:outerShdw blurRad="63500" dist="38100" dir="5400000" algn="t" rotWithShape="0">
                <a:srgbClr val="000000">
                  <a:alpha val="39999"/>
                </a:srgb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ea typeface="ＭＳ Ｐゴシック" pitchFamily="-112" charset="-128"/>
              </a:endParaRPr>
            </a:p>
          </p:txBody>
        </p:sp>
        <p:grpSp>
          <p:nvGrpSpPr>
            <p:cNvPr id="21560" name="Gruppe 43"/>
            <p:cNvGrpSpPr>
              <a:grpSpLocks/>
            </p:cNvGrpSpPr>
            <p:nvPr/>
          </p:nvGrpSpPr>
          <p:grpSpPr bwMode="auto">
            <a:xfrm>
              <a:off x="2405678" y="4931227"/>
              <a:ext cx="281023" cy="302305"/>
              <a:chOff x="6447970" y="766231"/>
              <a:chExt cx="610213" cy="654959"/>
            </a:xfrm>
          </p:grpSpPr>
          <p:sp>
            <p:nvSpPr>
              <p:cNvPr id="179" name="Cylinder 178"/>
              <p:cNvSpPr/>
              <p:nvPr/>
            </p:nvSpPr>
            <p:spPr>
              <a:xfrm rot="1790977" flipH="1">
                <a:off x="6707169" y="1047073"/>
                <a:ext cx="34798" cy="265454"/>
              </a:xfrm>
              <a:prstGeom prst="can">
                <a:avLst>
                  <a:gd name="adj" fmla="val 49797"/>
                </a:avLst>
              </a:prstGeom>
              <a:gradFill flip="none" rotWithShape="1">
                <a:gsLst>
                  <a:gs pos="84000">
                    <a:schemeClr val="tx1">
                      <a:lumMod val="50000"/>
                      <a:lumOff val="50000"/>
                    </a:schemeClr>
                  </a:gs>
                  <a:gs pos="44000">
                    <a:sysClr val="window" lastClr="FFFFFF">
                      <a:lumMod val="65000"/>
                      <a:shade val="67500"/>
                      <a:satMod val="115000"/>
                    </a:sysClr>
                  </a:gs>
                  <a:gs pos="0">
                    <a:schemeClr val="tx1">
                      <a:lumMod val="95000"/>
                      <a:lumOff val="5000"/>
                    </a:schemeClr>
                  </a:gs>
                </a:gsLst>
                <a:lin ang="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algn="ctr">
                  <a:buFont typeface="Calibri" pitchFamily="-112" charset="0"/>
                  <a:buAutoNum type="arabicPeriod"/>
                  <a:defRPr/>
                </a:pPr>
                <a:endParaRPr lang="en-US" noProof="1">
                  <a:solidFill>
                    <a:srgbClr val="FFFFFF"/>
                  </a:solidFill>
                  <a:latin typeface="Calibri" pitchFamily="-112" charset="0"/>
                  <a:ea typeface="ＭＳ Ｐゴシック" pitchFamily="-112" charset="-128"/>
                </a:endParaRPr>
              </a:p>
            </p:txBody>
          </p:sp>
          <p:grpSp>
            <p:nvGrpSpPr>
              <p:cNvPr id="21571" name="Gruppe 42"/>
              <p:cNvGrpSpPr>
                <a:grpSpLocks/>
              </p:cNvGrpSpPr>
              <p:nvPr/>
            </p:nvGrpSpPr>
            <p:grpSpPr bwMode="auto">
              <a:xfrm rot="337570">
                <a:off x="6447970" y="766231"/>
                <a:ext cx="610213" cy="654959"/>
                <a:chOff x="5821437" y="723898"/>
                <a:chExt cx="610213" cy="654959"/>
              </a:xfrm>
            </p:grpSpPr>
            <p:sp>
              <p:nvSpPr>
                <p:cNvPr id="181" name="Ellipse 180"/>
                <p:cNvSpPr/>
                <p:nvPr/>
              </p:nvSpPr>
              <p:spPr bwMode="auto">
                <a:xfrm>
                  <a:off x="5821437" y="1193800"/>
                  <a:ext cx="500742" cy="185057"/>
                </a:xfrm>
                <a:prstGeom prst="ellipse">
                  <a:avLst/>
                </a:prstGeom>
                <a:gradFill flip="none" rotWithShape="1">
                  <a:gsLst>
                    <a:gs pos="24000">
                      <a:sysClr val="windowText" lastClr="000000">
                        <a:alpha val="22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>
                    <a:solidFill>
                      <a:srgbClr val="FFFFFF"/>
                    </a:solidFill>
                    <a:latin typeface="Calibri" pitchFamily="-112" charset="0"/>
                    <a:ea typeface="ＭＳ Ｐゴシック" pitchFamily="-112" charset="-128"/>
                  </a:endParaRPr>
                </a:p>
              </p:txBody>
            </p:sp>
            <p:sp>
              <p:nvSpPr>
                <p:cNvPr id="182" name="Ellipse 181"/>
                <p:cNvSpPr/>
                <p:nvPr/>
              </p:nvSpPr>
              <p:spPr>
                <a:xfrm rot="12415626">
                  <a:off x="5936168" y="900582"/>
                  <a:ext cx="416374" cy="309986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B00000"/>
                    </a:gs>
                    <a:gs pos="100000">
                      <a:srgbClr val="D60015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9525" cap="flat" cmpd="sng" algn="ctr">
                  <a:solidFill>
                    <a:srgbClr val="C00000"/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indent="-342900" algn="ctr">
                    <a:buFont typeface="Calibri" pitchFamily="-112" charset="0"/>
                    <a:buAutoNum type="arabicPeriod"/>
                    <a:defRPr/>
                  </a:pPr>
                  <a:endParaRPr lang="en-US" noProof="1">
                    <a:solidFill>
                      <a:srgbClr val="FFFFFF"/>
                    </a:solidFill>
                    <a:latin typeface="Calibri" pitchFamily="-112" charset="0"/>
                    <a:ea typeface="ＭＳ Ｐゴシック" pitchFamily="-112" charset="-128"/>
                  </a:endParaRPr>
                </a:p>
              </p:txBody>
            </p:sp>
            <p:sp>
              <p:nvSpPr>
                <p:cNvPr id="183" name="Ellipse 182"/>
                <p:cNvSpPr/>
                <p:nvPr/>
              </p:nvSpPr>
              <p:spPr>
                <a:xfrm rot="12415626">
                  <a:off x="5936168" y="900582"/>
                  <a:ext cx="416374" cy="309986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>
                        <a:lumMod val="40000"/>
                        <a:lumOff val="60000"/>
                        <a:alpha val="73000"/>
                      </a:srgbClr>
                    </a:gs>
                    <a:gs pos="70000">
                      <a:srgbClr val="FFFCF9">
                        <a:alpha val="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marL="342900" indent="-342900" algn="ctr">
                    <a:buFont typeface="Calibri" pitchFamily="-112" charset="0"/>
                    <a:buAutoNum type="arabicPeriod"/>
                    <a:defRPr/>
                  </a:pPr>
                  <a:endParaRPr lang="en-US" noProof="1">
                    <a:solidFill>
                      <a:srgbClr val="FFFFFF"/>
                    </a:solidFill>
                    <a:latin typeface="Calibri" pitchFamily="-112" charset="0"/>
                    <a:ea typeface="ＭＳ Ｐゴシック" pitchFamily="-112" charset="-128"/>
                  </a:endParaRPr>
                </a:p>
              </p:txBody>
            </p:sp>
            <p:sp>
              <p:nvSpPr>
                <p:cNvPr id="21581" name="Cylinder 183"/>
                <p:cNvSpPr>
                  <a:spLocks noChangeArrowheads="1"/>
                </p:cNvSpPr>
                <p:nvPr/>
              </p:nvSpPr>
              <p:spPr bwMode="auto">
                <a:xfrm rot="1790977">
                  <a:off x="6131045" y="787827"/>
                  <a:ext cx="148374" cy="264911"/>
                </a:xfrm>
                <a:prstGeom prst="can">
                  <a:avLst>
                    <a:gd name="adj" fmla="val 78633"/>
                  </a:avLst>
                </a:prstGeom>
                <a:solidFill>
                  <a:srgbClr val="C00000"/>
                </a:solidFill>
                <a:ln w="9525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anchor="ctr"/>
                <a:lstStyle/>
                <a:p>
                  <a:pPr indent="-342900" algn="ctr">
                    <a:buFont typeface="Calibri" pitchFamily="34" charset="0"/>
                    <a:buAutoNum type="arabicPeriod"/>
                  </a:pPr>
                  <a:endParaRPr lang="en-US" noProof="1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185" name="Ellipse 184"/>
                <p:cNvSpPr/>
                <p:nvPr/>
              </p:nvSpPr>
              <p:spPr>
                <a:xfrm rot="1354009">
                  <a:off x="6091622" y="729355"/>
                  <a:ext cx="340028" cy="22488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B0036"/>
                    </a:gs>
                    <a:gs pos="100000">
                      <a:srgbClr val="D60015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9525" cap="flat" cmpd="sng" algn="ctr">
                  <a:solidFill>
                    <a:srgbClr val="C00000"/>
                  </a:solidFill>
                  <a:prstDash val="solid"/>
                </a:ln>
                <a:effectLst/>
              </p:spPr>
              <p:txBody>
                <a:bodyPr anchor="ctr"/>
                <a:lstStyle/>
                <a:p>
                  <a:pPr indent="-342900" algn="ctr">
                    <a:buFont typeface="Calibri" pitchFamily="-112" charset="0"/>
                    <a:buAutoNum type="arabicPeriod"/>
                    <a:defRPr/>
                  </a:pPr>
                  <a:endParaRPr lang="en-US" noProof="1">
                    <a:solidFill>
                      <a:srgbClr val="FFFFFF"/>
                    </a:solidFill>
                    <a:latin typeface="Calibri" pitchFamily="-112" charset="0"/>
                    <a:ea typeface="ＭＳ Ｐゴシック" pitchFamily="-112" charset="-128"/>
                  </a:endParaRPr>
                </a:p>
              </p:txBody>
            </p:sp>
            <p:sp>
              <p:nvSpPr>
                <p:cNvPr id="186" name="Ellipse 185"/>
                <p:cNvSpPr/>
                <p:nvPr/>
              </p:nvSpPr>
              <p:spPr>
                <a:xfrm rot="1354009">
                  <a:off x="6090368" y="723898"/>
                  <a:ext cx="340028" cy="224889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>
                        <a:lumMod val="40000"/>
                        <a:lumOff val="60000"/>
                        <a:alpha val="0"/>
                      </a:srgbClr>
                    </a:gs>
                    <a:gs pos="100000">
                      <a:srgbClr val="FFFCF9">
                        <a:alpha val="77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marL="342900" indent="-342900" algn="ctr">
                    <a:buFont typeface="Calibri" pitchFamily="-112" charset="0"/>
                    <a:buAutoNum type="arabicPeriod"/>
                    <a:defRPr/>
                  </a:pPr>
                  <a:endParaRPr lang="en-US" noProof="1">
                    <a:solidFill>
                      <a:srgbClr val="FFFFFF"/>
                    </a:solidFill>
                    <a:latin typeface="Calibri" pitchFamily="-112" charset="0"/>
                    <a:ea typeface="ＭＳ Ｐゴシック" pitchFamily="-112" charset="-128"/>
                  </a:endParaRPr>
                </a:p>
              </p:txBody>
            </p:sp>
          </p:grpSp>
        </p:grpSp>
        <p:grpSp>
          <p:nvGrpSpPr>
            <p:cNvPr id="21561" name="Gruppe 930"/>
            <p:cNvGrpSpPr>
              <a:grpSpLocks/>
            </p:cNvGrpSpPr>
            <p:nvPr/>
          </p:nvGrpSpPr>
          <p:grpSpPr bwMode="auto">
            <a:xfrm>
              <a:off x="2185087" y="5254846"/>
              <a:ext cx="645206" cy="375337"/>
              <a:chOff x="7399338" y="2085975"/>
              <a:chExt cx="1320800" cy="768350"/>
            </a:xfrm>
          </p:grpSpPr>
          <p:sp>
            <p:nvSpPr>
              <p:cNvPr id="21562" name="Freeform 341"/>
              <p:cNvSpPr>
                <a:spLocks/>
              </p:cNvSpPr>
              <p:nvPr/>
            </p:nvSpPr>
            <p:spPr bwMode="auto">
              <a:xfrm>
                <a:off x="7399338" y="2085975"/>
                <a:ext cx="355600" cy="561975"/>
              </a:xfrm>
              <a:custGeom>
                <a:avLst/>
                <a:gdLst>
                  <a:gd name="T0" fmla="*/ 2147483647 w 224"/>
                  <a:gd name="T1" fmla="*/ 2147483647 h 354"/>
                  <a:gd name="T2" fmla="*/ 2147483647 w 224"/>
                  <a:gd name="T3" fmla="*/ 2147483647 h 354"/>
                  <a:gd name="T4" fmla="*/ 2147483647 w 224"/>
                  <a:gd name="T5" fmla="*/ 2147483647 h 354"/>
                  <a:gd name="T6" fmla="*/ 2147483647 w 224"/>
                  <a:gd name="T7" fmla="*/ 2147483647 h 354"/>
                  <a:gd name="T8" fmla="*/ 2147483647 w 224"/>
                  <a:gd name="T9" fmla="*/ 0 h 354"/>
                  <a:gd name="T10" fmla="*/ 2147483647 w 224"/>
                  <a:gd name="T11" fmla="*/ 0 h 354"/>
                  <a:gd name="T12" fmla="*/ 2147483647 w 224"/>
                  <a:gd name="T13" fmla="*/ 2147483647 h 354"/>
                  <a:gd name="T14" fmla="*/ 2147483647 w 224"/>
                  <a:gd name="T15" fmla="*/ 2147483647 h 354"/>
                  <a:gd name="T16" fmla="*/ 2147483647 w 224"/>
                  <a:gd name="T17" fmla="*/ 2147483647 h 354"/>
                  <a:gd name="T18" fmla="*/ 2147483647 w 224"/>
                  <a:gd name="T19" fmla="*/ 2147483647 h 354"/>
                  <a:gd name="T20" fmla="*/ 2147483647 w 224"/>
                  <a:gd name="T21" fmla="*/ 2147483647 h 354"/>
                  <a:gd name="T22" fmla="*/ 2147483647 w 224"/>
                  <a:gd name="T23" fmla="*/ 2147483647 h 354"/>
                  <a:gd name="T24" fmla="*/ 2147483647 w 224"/>
                  <a:gd name="T25" fmla="*/ 2147483647 h 354"/>
                  <a:gd name="T26" fmla="*/ 2147483647 w 224"/>
                  <a:gd name="T27" fmla="*/ 2147483647 h 354"/>
                  <a:gd name="T28" fmla="*/ 2147483647 w 224"/>
                  <a:gd name="T29" fmla="*/ 2147483647 h 354"/>
                  <a:gd name="T30" fmla="*/ 2147483647 w 224"/>
                  <a:gd name="T31" fmla="*/ 2147483647 h 354"/>
                  <a:gd name="T32" fmla="*/ 2147483647 w 224"/>
                  <a:gd name="T33" fmla="*/ 2147483647 h 354"/>
                  <a:gd name="T34" fmla="*/ 2147483647 w 224"/>
                  <a:gd name="T35" fmla="*/ 2147483647 h 354"/>
                  <a:gd name="T36" fmla="*/ 2147483647 w 224"/>
                  <a:gd name="T37" fmla="*/ 2147483647 h 354"/>
                  <a:gd name="T38" fmla="*/ 2147483647 w 224"/>
                  <a:gd name="T39" fmla="*/ 2147483647 h 354"/>
                  <a:gd name="T40" fmla="*/ 2147483647 w 224"/>
                  <a:gd name="T41" fmla="*/ 2147483647 h 354"/>
                  <a:gd name="T42" fmla="*/ 2147483647 w 224"/>
                  <a:gd name="T43" fmla="*/ 2147483647 h 354"/>
                  <a:gd name="T44" fmla="*/ 2147483647 w 224"/>
                  <a:gd name="T45" fmla="*/ 2147483647 h 354"/>
                  <a:gd name="T46" fmla="*/ 2147483647 w 224"/>
                  <a:gd name="T47" fmla="*/ 2147483647 h 354"/>
                  <a:gd name="T48" fmla="*/ 2147483647 w 224"/>
                  <a:gd name="T49" fmla="*/ 2147483647 h 354"/>
                  <a:gd name="T50" fmla="*/ 2147483647 w 224"/>
                  <a:gd name="T51" fmla="*/ 2147483647 h 354"/>
                  <a:gd name="T52" fmla="*/ 2147483647 w 224"/>
                  <a:gd name="T53" fmla="*/ 2147483647 h 354"/>
                  <a:gd name="T54" fmla="*/ 2147483647 w 224"/>
                  <a:gd name="T55" fmla="*/ 2147483647 h 354"/>
                  <a:gd name="T56" fmla="*/ 0 w 224"/>
                  <a:gd name="T57" fmla="*/ 2147483647 h 354"/>
                  <a:gd name="T58" fmla="*/ 2147483647 w 224"/>
                  <a:gd name="T59" fmla="*/ 2147483647 h 354"/>
                  <a:gd name="T60" fmla="*/ 2147483647 w 224"/>
                  <a:gd name="T61" fmla="*/ 2147483647 h 354"/>
                  <a:gd name="T62" fmla="*/ 2147483647 w 224"/>
                  <a:gd name="T63" fmla="*/ 2147483647 h 354"/>
                  <a:gd name="T64" fmla="*/ 2147483647 w 224"/>
                  <a:gd name="T65" fmla="*/ 2147483647 h 354"/>
                  <a:gd name="T66" fmla="*/ 2147483647 w 224"/>
                  <a:gd name="T67" fmla="*/ 2147483647 h 354"/>
                  <a:gd name="T68" fmla="*/ 2147483647 w 224"/>
                  <a:gd name="T69" fmla="*/ 2147483647 h 354"/>
                  <a:gd name="T70" fmla="*/ 2147483647 w 224"/>
                  <a:gd name="T71" fmla="*/ 2147483647 h 354"/>
                  <a:gd name="T72" fmla="*/ 2147483647 w 224"/>
                  <a:gd name="T73" fmla="*/ 2147483647 h 354"/>
                  <a:gd name="T74" fmla="*/ 2147483647 w 224"/>
                  <a:gd name="T75" fmla="*/ 2147483647 h 354"/>
                  <a:gd name="T76" fmla="*/ 2147483647 w 224"/>
                  <a:gd name="T77" fmla="*/ 2147483647 h 354"/>
                  <a:gd name="T78" fmla="*/ 2147483647 w 224"/>
                  <a:gd name="T79" fmla="*/ 2147483647 h 354"/>
                  <a:gd name="T80" fmla="*/ 2147483647 w 224"/>
                  <a:gd name="T81" fmla="*/ 2147483647 h 354"/>
                  <a:gd name="T82" fmla="*/ 2147483647 w 224"/>
                  <a:gd name="T83" fmla="*/ 2147483647 h 354"/>
                  <a:gd name="T84" fmla="*/ 2147483647 w 224"/>
                  <a:gd name="T85" fmla="*/ 2147483647 h 354"/>
                  <a:gd name="T86" fmla="*/ 2147483647 w 224"/>
                  <a:gd name="T87" fmla="*/ 2147483647 h 354"/>
                  <a:gd name="T88" fmla="*/ 2147483647 w 224"/>
                  <a:gd name="T89" fmla="*/ 2147483647 h 354"/>
                  <a:gd name="T90" fmla="*/ 2147483647 w 224"/>
                  <a:gd name="T91" fmla="*/ 2147483647 h 354"/>
                  <a:gd name="T92" fmla="*/ 2147483647 w 224"/>
                  <a:gd name="T93" fmla="*/ 2147483647 h 354"/>
                  <a:gd name="T94" fmla="*/ 2147483647 w 224"/>
                  <a:gd name="T95" fmla="*/ 2147483647 h 354"/>
                  <a:gd name="T96" fmla="*/ 2147483647 w 224"/>
                  <a:gd name="T97" fmla="*/ 2147483647 h 35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24"/>
                  <a:gd name="T148" fmla="*/ 0 h 354"/>
                  <a:gd name="T149" fmla="*/ 224 w 224"/>
                  <a:gd name="T150" fmla="*/ 354 h 35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24" h="354">
                    <a:moveTo>
                      <a:pt x="144" y="202"/>
                    </a:moveTo>
                    <a:lnTo>
                      <a:pt x="144" y="202"/>
                    </a:lnTo>
                    <a:lnTo>
                      <a:pt x="194" y="96"/>
                    </a:lnTo>
                    <a:lnTo>
                      <a:pt x="214" y="46"/>
                    </a:lnTo>
                    <a:lnTo>
                      <a:pt x="220" y="28"/>
                    </a:lnTo>
                    <a:lnTo>
                      <a:pt x="222" y="14"/>
                    </a:lnTo>
                    <a:lnTo>
                      <a:pt x="222" y="4"/>
                    </a:lnTo>
                    <a:lnTo>
                      <a:pt x="224" y="0"/>
                    </a:lnTo>
                    <a:lnTo>
                      <a:pt x="220" y="0"/>
                    </a:lnTo>
                    <a:lnTo>
                      <a:pt x="216" y="0"/>
                    </a:lnTo>
                    <a:lnTo>
                      <a:pt x="212" y="2"/>
                    </a:lnTo>
                    <a:lnTo>
                      <a:pt x="208" y="6"/>
                    </a:lnTo>
                    <a:lnTo>
                      <a:pt x="202" y="14"/>
                    </a:lnTo>
                    <a:lnTo>
                      <a:pt x="188" y="38"/>
                    </a:lnTo>
                    <a:lnTo>
                      <a:pt x="170" y="80"/>
                    </a:lnTo>
                    <a:lnTo>
                      <a:pt x="130" y="174"/>
                    </a:lnTo>
                    <a:lnTo>
                      <a:pt x="104" y="226"/>
                    </a:lnTo>
                    <a:lnTo>
                      <a:pt x="84" y="260"/>
                    </a:lnTo>
                    <a:lnTo>
                      <a:pt x="74" y="272"/>
                    </a:lnTo>
                    <a:lnTo>
                      <a:pt x="66" y="282"/>
                    </a:lnTo>
                    <a:lnTo>
                      <a:pt x="56" y="290"/>
                    </a:lnTo>
                    <a:lnTo>
                      <a:pt x="46" y="296"/>
                    </a:lnTo>
                    <a:lnTo>
                      <a:pt x="38" y="298"/>
                    </a:lnTo>
                    <a:lnTo>
                      <a:pt x="28" y="298"/>
                    </a:lnTo>
                    <a:lnTo>
                      <a:pt x="24" y="296"/>
                    </a:lnTo>
                    <a:lnTo>
                      <a:pt x="22" y="292"/>
                    </a:lnTo>
                    <a:lnTo>
                      <a:pt x="22" y="278"/>
                    </a:lnTo>
                    <a:lnTo>
                      <a:pt x="26" y="266"/>
                    </a:lnTo>
                    <a:lnTo>
                      <a:pt x="30" y="248"/>
                    </a:lnTo>
                    <a:lnTo>
                      <a:pt x="50" y="200"/>
                    </a:lnTo>
                    <a:lnTo>
                      <a:pt x="98" y="108"/>
                    </a:lnTo>
                    <a:lnTo>
                      <a:pt x="120" y="62"/>
                    </a:lnTo>
                    <a:lnTo>
                      <a:pt x="124" y="46"/>
                    </a:lnTo>
                    <a:lnTo>
                      <a:pt x="126" y="38"/>
                    </a:lnTo>
                    <a:lnTo>
                      <a:pt x="126" y="32"/>
                    </a:lnTo>
                    <a:lnTo>
                      <a:pt x="120" y="34"/>
                    </a:lnTo>
                    <a:lnTo>
                      <a:pt x="116" y="36"/>
                    </a:lnTo>
                    <a:lnTo>
                      <a:pt x="110" y="44"/>
                    </a:lnTo>
                    <a:lnTo>
                      <a:pt x="96" y="68"/>
                    </a:lnTo>
                    <a:lnTo>
                      <a:pt x="74" y="112"/>
                    </a:lnTo>
                    <a:lnTo>
                      <a:pt x="42" y="178"/>
                    </a:lnTo>
                    <a:lnTo>
                      <a:pt x="20" y="228"/>
                    </a:lnTo>
                    <a:lnTo>
                      <a:pt x="6" y="266"/>
                    </a:lnTo>
                    <a:lnTo>
                      <a:pt x="2" y="280"/>
                    </a:lnTo>
                    <a:lnTo>
                      <a:pt x="0" y="290"/>
                    </a:lnTo>
                    <a:lnTo>
                      <a:pt x="0" y="310"/>
                    </a:lnTo>
                    <a:lnTo>
                      <a:pt x="2" y="316"/>
                    </a:lnTo>
                    <a:lnTo>
                      <a:pt x="4" y="322"/>
                    </a:lnTo>
                    <a:lnTo>
                      <a:pt x="12" y="326"/>
                    </a:lnTo>
                    <a:lnTo>
                      <a:pt x="22" y="330"/>
                    </a:lnTo>
                    <a:lnTo>
                      <a:pt x="32" y="328"/>
                    </a:lnTo>
                    <a:lnTo>
                      <a:pt x="44" y="322"/>
                    </a:lnTo>
                    <a:lnTo>
                      <a:pt x="58" y="312"/>
                    </a:lnTo>
                    <a:lnTo>
                      <a:pt x="74" y="298"/>
                    </a:lnTo>
                    <a:lnTo>
                      <a:pt x="94" y="276"/>
                    </a:lnTo>
                    <a:lnTo>
                      <a:pt x="94" y="282"/>
                    </a:lnTo>
                    <a:lnTo>
                      <a:pt x="92" y="308"/>
                    </a:lnTo>
                    <a:lnTo>
                      <a:pt x="92" y="328"/>
                    </a:lnTo>
                    <a:lnTo>
                      <a:pt x="94" y="338"/>
                    </a:lnTo>
                    <a:lnTo>
                      <a:pt x="98" y="346"/>
                    </a:lnTo>
                    <a:lnTo>
                      <a:pt x="104" y="350"/>
                    </a:lnTo>
                    <a:lnTo>
                      <a:pt x="110" y="354"/>
                    </a:lnTo>
                    <a:lnTo>
                      <a:pt x="118" y="352"/>
                    </a:lnTo>
                    <a:lnTo>
                      <a:pt x="136" y="344"/>
                    </a:lnTo>
                    <a:lnTo>
                      <a:pt x="142" y="342"/>
                    </a:lnTo>
                    <a:lnTo>
                      <a:pt x="136" y="338"/>
                    </a:lnTo>
                    <a:lnTo>
                      <a:pt x="120" y="324"/>
                    </a:lnTo>
                    <a:lnTo>
                      <a:pt x="116" y="320"/>
                    </a:lnTo>
                    <a:lnTo>
                      <a:pt x="114" y="314"/>
                    </a:lnTo>
                    <a:lnTo>
                      <a:pt x="114" y="306"/>
                    </a:lnTo>
                    <a:lnTo>
                      <a:pt x="114" y="298"/>
                    </a:lnTo>
                    <a:lnTo>
                      <a:pt x="116" y="278"/>
                    </a:lnTo>
                    <a:lnTo>
                      <a:pt x="124" y="254"/>
                    </a:lnTo>
                    <a:lnTo>
                      <a:pt x="132" y="228"/>
                    </a:lnTo>
                    <a:lnTo>
                      <a:pt x="144" y="20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563" name="Freeform 342"/>
              <p:cNvSpPr>
                <a:spLocks/>
              </p:cNvSpPr>
              <p:nvPr/>
            </p:nvSpPr>
            <p:spPr bwMode="auto">
              <a:xfrm>
                <a:off x="7650163" y="2565400"/>
                <a:ext cx="1588" cy="1588"/>
              </a:xfrm>
              <a:custGeom>
                <a:avLst/>
                <a:gdLst>
                  <a:gd name="T0" fmla="*/ 0 w 1588"/>
                  <a:gd name="T1" fmla="*/ 0 h 1588"/>
                  <a:gd name="T2" fmla="*/ 0 w 1588"/>
                  <a:gd name="T3" fmla="*/ 0 h 1588"/>
                  <a:gd name="T4" fmla="*/ 0 w 1588"/>
                  <a:gd name="T5" fmla="*/ 0 h 1588"/>
                  <a:gd name="T6" fmla="*/ 0 w 1588"/>
                  <a:gd name="T7" fmla="*/ 0 h 1588"/>
                  <a:gd name="T8" fmla="*/ 0 w 1588"/>
                  <a:gd name="T9" fmla="*/ 0 h 1588"/>
                  <a:gd name="T10" fmla="*/ 0 w 1588"/>
                  <a:gd name="T11" fmla="*/ 0 h 158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88"/>
                  <a:gd name="T19" fmla="*/ 0 h 1588"/>
                  <a:gd name="T20" fmla="*/ 1588 w 1588"/>
                  <a:gd name="T21" fmla="*/ 1588 h 158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88" h="1588"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564" name="Freeform 343"/>
              <p:cNvSpPr>
                <a:spLocks noEditPoints="1"/>
              </p:cNvSpPr>
              <p:nvPr/>
            </p:nvSpPr>
            <p:spPr bwMode="auto">
              <a:xfrm>
                <a:off x="7646988" y="2228850"/>
                <a:ext cx="247650" cy="460375"/>
              </a:xfrm>
              <a:custGeom>
                <a:avLst/>
                <a:gdLst>
                  <a:gd name="T0" fmla="*/ 2147483647 w 156"/>
                  <a:gd name="T1" fmla="*/ 2147483647 h 290"/>
                  <a:gd name="T2" fmla="*/ 2147483647 w 156"/>
                  <a:gd name="T3" fmla="*/ 2147483647 h 290"/>
                  <a:gd name="T4" fmla="*/ 2147483647 w 156"/>
                  <a:gd name="T5" fmla="*/ 2147483647 h 290"/>
                  <a:gd name="T6" fmla="*/ 2147483647 w 156"/>
                  <a:gd name="T7" fmla="*/ 0 h 290"/>
                  <a:gd name="T8" fmla="*/ 2147483647 w 156"/>
                  <a:gd name="T9" fmla="*/ 2147483647 h 290"/>
                  <a:gd name="T10" fmla="*/ 2147483647 w 156"/>
                  <a:gd name="T11" fmla="*/ 2147483647 h 290"/>
                  <a:gd name="T12" fmla="*/ 2147483647 w 156"/>
                  <a:gd name="T13" fmla="*/ 2147483647 h 290"/>
                  <a:gd name="T14" fmla="*/ 2147483647 w 156"/>
                  <a:gd name="T15" fmla="*/ 2147483647 h 290"/>
                  <a:gd name="T16" fmla="*/ 2147483647 w 156"/>
                  <a:gd name="T17" fmla="*/ 2147483647 h 290"/>
                  <a:gd name="T18" fmla="*/ 2147483647 w 156"/>
                  <a:gd name="T19" fmla="*/ 2147483647 h 290"/>
                  <a:gd name="T20" fmla="*/ 2147483647 w 156"/>
                  <a:gd name="T21" fmla="*/ 2147483647 h 290"/>
                  <a:gd name="T22" fmla="*/ 2147483647 w 156"/>
                  <a:gd name="T23" fmla="*/ 2147483647 h 290"/>
                  <a:gd name="T24" fmla="*/ 2147483647 w 156"/>
                  <a:gd name="T25" fmla="*/ 2147483647 h 290"/>
                  <a:gd name="T26" fmla="*/ 2147483647 w 156"/>
                  <a:gd name="T27" fmla="*/ 2147483647 h 290"/>
                  <a:gd name="T28" fmla="*/ 2147483647 w 156"/>
                  <a:gd name="T29" fmla="*/ 2147483647 h 290"/>
                  <a:gd name="T30" fmla="*/ 2147483647 w 156"/>
                  <a:gd name="T31" fmla="*/ 2147483647 h 290"/>
                  <a:gd name="T32" fmla="*/ 2147483647 w 156"/>
                  <a:gd name="T33" fmla="*/ 2147483647 h 290"/>
                  <a:gd name="T34" fmla="*/ 2147483647 w 156"/>
                  <a:gd name="T35" fmla="*/ 2147483647 h 290"/>
                  <a:gd name="T36" fmla="*/ 2147483647 w 156"/>
                  <a:gd name="T37" fmla="*/ 2147483647 h 290"/>
                  <a:gd name="T38" fmla="*/ 0 w 156"/>
                  <a:gd name="T39" fmla="*/ 2147483647 h 290"/>
                  <a:gd name="T40" fmla="*/ 0 w 156"/>
                  <a:gd name="T41" fmla="*/ 2147483647 h 290"/>
                  <a:gd name="T42" fmla="*/ 2147483647 w 156"/>
                  <a:gd name="T43" fmla="*/ 2147483647 h 290"/>
                  <a:gd name="T44" fmla="*/ 2147483647 w 156"/>
                  <a:gd name="T45" fmla="*/ 2147483647 h 290"/>
                  <a:gd name="T46" fmla="*/ 2147483647 w 156"/>
                  <a:gd name="T47" fmla="*/ 2147483647 h 290"/>
                  <a:gd name="T48" fmla="*/ 2147483647 w 156"/>
                  <a:gd name="T49" fmla="*/ 2147483647 h 290"/>
                  <a:gd name="T50" fmla="*/ 2147483647 w 156"/>
                  <a:gd name="T51" fmla="*/ 2147483647 h 290"/>
                  <a:gd name="T52" fmla="*/ 2147483647 w 156"/>
                  <a:gd name="T53" fmla="*/ 2147483647 h 290"/>
                  <a:gd name="T54" fmla="*/ 2147483647 w 156"/>
                  <a:gd name="T55" fmla="*/ 2147483647 h 290"/>
                  <a:gd name="T56" fmla="*/ 2147483647 w 156"/>
                  <a:gd name="T57" fmla="*/ 2147483647 h 290"/>
                  <a:gd name="T58" fmla="*/ 2147483647 w 156"/>
                  <a:gd name="T59" fmla="*/ 2147483647 h 290"/>
                  <a:gd name="T60" fmla="*/ 2147483647 w 156"/>
                  <a:gd name="T61" fmla="*/ 2147483647 h 290"/>
                  <a:gd name="T62" fmla="*/ 2147483647 w 156"/>
                  <a:gd name="T63" fmla="*/ 2147483647 h 290"/>
                  <a:gd name="T64" fmla="*/ 2147483647 w 156"/>
                  <a:gd name="T65" fmla="*/ 2147483647 h 290"/>
                  <a:gd name="T66" fmla="*/ 2147483647 w 156"/>
                  <a:gd name="T67" fmla="*/ 2147483647 h 290"/>
                  <a:gd name="T68" fmla="*/ 2147483647 w 156"/>
                  <a:gd name="T69" fmla="*/ 2147483647 h 290"/>
                  <a:gd name="T70" fmla="*/ 2147483647 w 156"/>
                  <a:gd name="T71" fmla="*/ 2147483647 h 290"/>
                  <a:gd name="T72" fmla="*/ 2147483647 w 156"/>
                  <a:gd name="T73" fmla="*/ 2147483647 h 290"/>
                  <a:gd name="T74" fmla="*/ 2147483647 w 156"/>
                  <a:gd name="T75" fmla="*/ 2147483647 h 290"/>
                  <a:gd name="T76" fmla="*/ 2147483647 w 156"/>
                  <a:gd name="T77" fmla="*/ 2147483647 h 290"/>
                  <a:gd name="T78" fmla="*/ 2147483647 w 156"/>
                  <a:gd name="T79" fmla="*/ 2147483647 h 290"/>
                  <a:gd name="T80" fmla="*/ 2147483647 w 156"/>
                  <a:gd name="T81" fmla="*/ 2147483647 h 290"/>
                  <a:gd name="T82" fmla="*/ 2147483647 w 156"/>
                  <a:gd name="T83" fmla="*/ 2147483647 h 290"/>
                  <a:gd name="T84" fmla="*/ 2147483647 w 156"/>
                  <a:gd name="T85" fmla="*/ 2147483647 h 290"/>
                  <a:gd name="T86" fmla="*/ 2147483647 w 156"/>
                  <a:gd name="T87" fmla="*/ 2147483647 h 290"/>
                  <a:gd name="T88" fmla="*/ 2147483647 w 156"/>
                  <a:gd name="T89" fmla="*/ 2147483647 h 290"/>
                  <a:gd name="T90" fmla="*/ 2147483647 w 156"/>
                  <a:gd name="T91" fmla="*/ 2147483647 h 290"/>
                  <a:gd name="T92" fmla="*/ 2147483647 w 156"/>
                  <a:gd name="T93" fmla="*/ 2147483647 h 290"/>
                  <a:gd name="T94" fmla="*/ 2147483647 w 156"/>
                  <a:gd name="T95" fmla="*/ 2147483647 h 290"/>
                  <a:gd name="T96" fmla="*/ 2147483647 w 156"/>
                  <a:gd name="T97" fmla="*/ 2147483647 h 290"/>
                  <a:gd name="T98" fmla="*/ 2147483647 w 156"/>
                  <a:gd name="T99" fmla="*/ 2147483647 h 290"/>
                  <a:gd name="T100" fmla="*/ 2147483647 w 156"/>
                  <a:gd name="T101" fmla="*/ 2147483647 h 290"/>
                  <a:gd name="T102" fmla="*/ 2147483647 w 156"/>
                  <a:gd name="T103" fmla="*/ 2147483647 h 290"/>
                  <a:gd name="T104" fmla="*/ 2147483647 w 156"/>
                  <a:gd name="T105" fmla="*/ 2147483647 h 290"/>
                  <a:gd name="T106" fmla="*/ 2147483647 w 156"/>
                  <a:gd name="T107" fmla="*/ 2147483647 h 290"/>
                  <a:gd name="T108" fmla="*/ 2147483647 w 156"/>
                  <a:gd name="T109" fmla="*/ 2147483647 h 290"/>
                  <a:gd name="T110" fmla="*/ 2147483647 w 156"/>
                  <a:gd name="T111" fmla="*/ 2147483647 h 290"/>
                  <a:gd name="T112" fmla="*/ 2147483647 w 156"/>
                  <a:gd name="T113" fmla="*/ 2147483647 h 290"/>
                  <a:gd name="T114" fmla="*/ 2147483647 w 156"/>
                  <a:gd name="T115" fmla="*/ 2147483647 h 290"/>
                  <a:gd name="T116" fmla="*/ 2147483647 w 156"/>
                  <a:gd name="T117" fmla="*/ 2147483647 h 290"/>
                  <a:gd name="T118" fmla="*/ 2147483647 w 156"/>
                  <a:gd name="T119" fmla="*/ 2147483647 h 29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56"/>
                  <a:gd name="T181" fmla="*/ 0 h 290"/>
                  <a:gd name="T182" fmla="*/ 156 w 156"/>
                  <a:gd name="T183" fmla="*/ 290 h 29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56" h="290">
                    <a:moveTo>
                      <a:pt x="156" y="26"/>
                    </a:moveTo>
                    <a:lnTo>
                      <a:pt x="156" y="26"/>
                    </a:lnTo>
                    <a:lnTo>
                      <a:pt x="156" y="14"/>
                    </a:lnTo>
                    <a:lnTo>
                      <a:pt x="154" y="6"/>
                    </a:lnTo>
                    <a:lnTo>
                      <a:pt x="150" y="2"/>
                    </a:lnTo>
                    <a:lnTo>
                      <a:pt x="144" y="0"/>
                    </a:lnTo>
                    <a:lnTo>
                      <a:pt x="132" y="2"/>
                    </a:lnTo>
                    <a:lnTo>
                      <a:pt x="120" y="8"/>
                    </a:lnTo>
                    <a:lnTo>
                      <a:pt x="94" y="24"/>
                    </a:lnTo>
                    <a:lnTo>
                      <a:pt x="84" y="30"/>
                    </a:lnTo>
                    <a:lnTo>
                      <a:pt x="76" y="32"/>
                    </a:lnTo>
                    <a:lnTo>
                      <a:pt x="74" y="30"/>
                    </a:lnTo>
                    <a:lnTo>
                      <a:pt x="70" y="24"/>
                    </a:lnTo>
                    <a:lnTo>
                      <a:pt x="68" y="30"/>
                    </a:lnTo>
                    <a:lnTo>
                      <a:pt x="56" y="44"/>
                    </a:lnTo>
                    <a:lnTo>
                      <a:pt x="48" y="62"/>
                    </a:lnTo>
                    <a:lnTo>
                      <a:pt x="48" y="64"/>
                    </a:lnTo>
                    <a:lnTo>
                      <a:pt x="46" y="78"/>
                    </a:lnTo>
                    <a:lnTo>
                      <a:pt x="44" y="94"/>
                    </a:lnTo>
                    <a:lnTo>
                      <a:pt x="38" y="108"/>
                    </a:lnTo>
                    <a:lnTo>
                      <a:pt x="20" y="138"/>
                    </a:lnTo>
                    <a:lnTo>
                      <a:pt x="16" y="148"/>
                    </a:lnTo>
                    <a:lnTo>
                      <a:pt x="16" y="150"/>
                    </a:lnTo>
                    <a:lnTo>
                      <a:pt x="18" y="156"/>
                    </a:lnTo>
                    <a:lnTo>
                      <a:pt x="10" y="178"/>
                    </a:lnTo>
                    <a:lnTo>
                      <a:pt x="0" y="200"/>
                    </a:lnTo>
                    <a:lnTo>
                      <a:pt x="0" y="202"/>
                    </a:lnTo>
                    <a:lnTo>
                      <a:pt x="0" y="208"/>
                    </a:lnTo>
                    <a:lnTo>
                      <a:pt x="2" y="212"/>
                    </a:lnTo>
                    <a:lnTo>
                      <a:pt x="6" y="214"/>
                    </a:lnTo>
                    <a:lnTo>
                      <a:pt x="8" y="216"/>
                    </a:lnTo>
                    <a:lnTo>
                      <a:pt x="10" y="214"/>
                    </a:lnTo>
                    <a:lnTo>
                      <a:pt x="14" y="212"/>
                    </a:lnTo>
                    <a:lnTo>
                      <a:pt x="16" y="208"/>
                    </a:lnTo>
                    <a:lnTo>
                      <a:pt x="26" y="184"/>
                    </a:lnTo>
                    <a:lnTo>
                      <a:pt x="30" y="170"/>
                    </a:lnTo>
                    <a:lnTo>
                      <a:pt x="34" y="166"/>
                    </a:lnTo>
                    <a:lnTo>
                      <a:pt x="36" y="168"/>
                    </a:lnTo>
                    <a:lnTo>
                      <a:pt x="40" y="174"/>
                    </a:lnTo>
                    <a:lnTo>
                      <a:pt x="44" y="188"/>
                    </a:lnTo>
                    <a:lnTo>
                      <a:pt x="46" y="214"/>
                    </a:lnTo>
                    <a:lnTo>
                      <a:pt x="50" y="252"/>
                    </a:lnTo>
                    <a:lnTo>
                      <a:pt x="48" y="286"/>
                    </a:lnTo>
                    <a:lnTo>
                      <a:pt x="48" y="290"/>
                    </a:lnTo>
                    <a:lnTo>
                      <a:pt x="52" y="290"/>
                    </a:lnTo>
                    <a:lnTo>
                      <a:pt x="58" y="288"/>
                    </a:lnTo>
                    <a:lnTo>
                      <a:pt x="64" y="282"/>
                    </a:lnTo>
                    <a:lnTo>
                      <a:pt x="66" y="276"/>
                    </a:lnTo>
                    <a:lnTo>
                      <a:pt x="68" y="266"/>
                    </a:lnTo>
                    <a:lnTo>
                      <a:pt x="68" y="236"/>
                    </a:lnTo>
                    <a:lnTo>
                      <a:pt x="64" y="200"/>
                    </a:lnTo>
                    <a:lnTo>
                      <a:pt x="58" y="172"/>
                    </a:lnTo>
                    <a:lnTo>
                      <a:pt x="52" y="146"/>
                    </a:lnTo>
                    <a:lnTo>
                      <a:pt x="86" y="124"/>
                    </a:lnTo>
                    <a:lnTo>
                      <a:pt x="102" y="112"/>
                    </a:lnTo>
                    <a:lnTo>
                      <a:pt x="114" y="100"/>
                    </a:lnTo>
                    <a:lnTo>
                      <a:pt x="126" y="88"/>
                    </a:lnTo>
                    <a:lnTo>
                      <a:pt x="136" y="76"/>
                    </a:lnTo>
                    <a:lnTo>
                      <a:pt x="144" y="64"/>
                    </a:lnTo>
                    <a:lnTo>
                      <a:pt x="150" y="52"/>
                    </a:lnTo>
                    <a:lnTo>
                      <a:pt x="154" y="38"/>
                    </a:lnTo>
                    <a:lnTo>
                      <a:pt x="156" y="26"/>
                    </a:lnTo>
                    <a:close/>
                    <a:moveTo>
                      <a:pt x="128" y="28"/>
                    </a:moveTo>
                    <a:lnTo>
                      <a:pt x="128" y="28"/>
                    </a:lnTo>
                    <a:lnTo>
                      <a:pt x="132" y="26"/>
                    </a:lnTo>
                    <a:lnTo>
                      <a:pt x="134" y="26"/>
                    </a:lnTo>
                    <a:lnTo>
                      <a:pt x="134" y="28"/>
                    </a:lnTo>
                    <a:lnTo>
                      <a:pt x="134" y="34"/>
                    </a:lnTo>
                    <a:lnTo>
                      <a:pt x="132" y="42"/>
                    </a:lnTo>
                    <a:lnTo>
                      <a:pt x="128" y="50"/>
                    </a:lnTo>
                    <a:lnTo>
                      <a:pt x="122" y="60"/>
                    </a:lnTo>
                    <a:lnTo>
                      <a:pt x="114" y="70"/>
                    </a:lnTo>
                    <a:lnTo>
                      <a:pt x="102" y="86"/>
                    </a:lnTo>
                    <a:lnTo>
                      <a:pt x="84" y="102"/>
                    </a:lnTo>
                    <a:lnTo>
                      <a:pt x="70" y="112"/>
                    </a:lnTo>
                    <a:lnTo>
                      <a:pt x="62" y="116"/>
                    </a:lnTo>
                    <a:lnTo>
                      <a:pt x="56" y="118"/>
                    </a:lnTo>
                    <a:lnTo>
                      <a:pt x="54" y="118"/>
                    </a:lnTo>
                    <a:lnTo>
                      <a:pt x="52" y="118"/>
                    </a:lnTo>
                    <a:lnTo>
                      <a:pt x="56" y="102"/>
                    </a:lnTo>
                    <a:lnTo>
                      <a:pt x="62" y="88"/>
                    </a:lnTo>
                    <a:lnTo>
                      <a:pt x="68" y="76"/>
                    </a:lnTo>
                    <a:lnTo>
                      <a:pt x="78" y="64"/>
                    </a:lnTo>
                    <a:lnTo>
                      <a:pt x="88" y="54"/>
                    </a:lnTo>
                    <a:lnTo>
                      <a:pt x="100" y="44"/>
                    </a:lnTo>
                    <a:lnTo>
                      <a:pt x="112" y="34"/>
                    </a:lnTo>
                    <a:lnTo>
                      <a:pt x="128" y="2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565" name="Freeform 344"/>
              <p:cNvSpPr>
                <a:spLocks noEditPoints="1"/>
              </p:cNvSpPr>
              <p:nvPr/>
            </p:nvSpPr>
            <p:spPr bwMode="auto">
              <a:xfrm>
                <a:off x="7815263" y="2257425"/>
                <a:ext cx="244475" cy="441325"/>
              </a:xfrm>
              <a:custGeom>
                <a:avLst/>
                <a:gdLst>
                  <a:gd name="T0" fmla="*/ 2147483647 w 154"/>
                  <a:gd name="T1" fmla="*/ 2147483647 h 278"/>
                  <a:gd name="T2" fmla="*/ 2147483647 w 154"/>
                  <a:gd name="T3" fmla="*/ 2147483647 h 278"/>
                  <a:gd name="T4" fmla="*/ 2147483647 w 154"/>
                  <a:gd name="T5" fmla="*/ 2147483647 h 278"/>
                  <a:gd name="T6" fmla="*/ 2147483647 w 154"/>
                  <a:gd name="T7" fmla="*/ 2147483647 h 278"/>
                  <a:gd name="T8" fmla="*/ 2147483647 w 154"/>
                  <a:gd name="T9" fmla="*/ 2147483647 h 278"/>
                  <a:gd name="T10" fmla="*/ 2147483647 w 154"/>
                  <a:gd name="T11" fmla="*/ 2147483647 h 278"/>
                  <a:gd name="T12" fmla="*/ 2147483647 w 154"/>
                  <a:gd name="T13" fmla="*/ 2147483647 h 278"/>
                  <a:gd name="T14" fmla="*/ 2147483647 w 154"/>
                  <a:gd name="T15" fmla="*/ 2147483647 h 278"/>
                  <a:gd name="T16" fmla="*/ 2147483647 w 154"/>
                  <a:gd name="T17" fmla="*/ 2147483647 h 278"/>
                  <a:gd name="T18" fmla="*/ 2147483647 w 154"/>
                  <a:gd name="T19" fmla="*/ 2147483647 h 278"/>
                  <a:gd name="T20" fmla="*/ 2147483647 w 154"/>
                  <a:gd name="T21" fmla="*/ 2147483647 h 278"/>
                  <a:gd name="T22" fmla="*/ 2147483647 w 154"/>
                  <a:gd name="T23" fmla="*/ 2147483647 h 278"/>
                  <a:gd name="T24" fmla="*/ 2147483647 w 154"/>
                  <a:gd name="T25" fmla="*/ 2147483647 h 278"/>
                  <a:gd name="T26" fmla="*/ 2147483647 w 154"/>
                  <a:gd name="T27" fmla="*/ 2147483647 h 278"/>
                  <a:gd name="T28" fmla="*/ 2147483647 w 154"/>
                  <a:gd name="T29" fmla="*/ 2147483647 h 278"/>
                  <a:gd name="T30" fmla="*/ 2147483647 w 154"/>
                  <a:gd name="T31" fmla="*/ 2147483647 h 278"/>
                  <a:gd name="T32" fmla="*/ 2147483647 w 154"/>
                  <a:gd name="T33" fmla="*/ 2147483647 h 278"/>
                  <a:gd name="T34" fmla="*/ 2147483647 w 154"/>
                  <a:gd name="T35" fmla="*/ 2147483647 h 278"/>
                  <a:gd name="T36" fmla="*/ 2147483647 w 154"/>
                  <a:gd name="T37" fmla="*/ 2147483647 h 278"/>
                  <a:gd name="T38" fmla="*/ 2147483647 w 154"/>
                  <a:gd name="T39" fmla="*/ 2147483647 h 278"/>
                  <a:gd name="T40" fmla="*/ 2147483647 w 154"/>
                  <a:gd name="T41" fmla="*/ 2147483647 h 278"/>
                  <a:gd name="T42" fmla="*/ 2147483647 w 154"/>
                  <a:gd name="T43" fmla="*/ 2147483647 h 278"/>
                  <a:gd name="T44" fmla="*/ 2147483647 w 154"/>
                  <a:gd name="T45" fmla="*/ 2147483647 h 278"/>
                  <a:gd name="T46" fmla="*/ 2147483647 w 154"/>
                  <a:gd name="T47" fmla="*/ 2147483647 h 278"/>
                  <a:gd name="T48" fmla="*/ 2147483647 w 154"/>
                  <a:gd name="T49" fmla="*/ 2147483647 h 278"/>
                  <a:gd name="T50" fmla="*/ 2147483647 w 154"/>
                  <a:gd name="T51" fmla="*/ 2147483647 h 278"/>
                  <a:gd name="T52" fmla="*/ 2147483647 w 154"/>
                  <a:gd name="T53" fmla="*/ 2147483647 h 278"/>
                  <a:gd name="T54" fmla="*/ 2147483647 w 154"/>
                  <a:gd name="T55" fmla="*/ 2147483647 h 278"/>
                  <a:gd name="T56" fmla="*/ 2147483647 w 154"/>
                  <a:gd name="T57" fmla="*/ 2147483647 h 278"/>
                  <a:gd name="T58" fmla="*/ 2147483647 w 154"/>
                  <a:gd name="T59" fmla="*/ 2147483647 h 278"/>
                  <a:gd name="T60" fmla="*/ 2147483647 w 154"/>
                  <a:gd name="T61" fmla="*/ 2147483647 h 278"/>
                  <a:gd name="T62" fmla="*/ 2147483647 w 154"/>
                  <a:gd name="T63" fmla="*/ 2147483647 h 278"/>
                  <a:gd name="T64" fmla="*/ 2147483647 w 154"/>
                  <a:gd name="T65" fmla="*/ 0 h 278"/>
                  <a:gd name="T66" fmla="*/ 2147483647 w 154"/>
                  <a:gd name="T67" fmla="*/ 2147483647 h 278"/>
                  <a:gd name="T68" fmla="*/ 2147483647 w 154"/>
                  <a:gd name="T69" fmla="*/ 2147483647 h 278"/>
                  <a:gd name="T70" fmla="*/ 2147483647 w 154"/>
                  <a:gd name="T71" fmla="*/ 2147483647 h 278"/>
                  <a:gd name="T72" fmla="*/ 2147483647 w 154"/>
                  <a:gd name="T73" fmla="*/ 2147483647 h 278"/>
                  <a:gd name="T74" fmla="*/ 2147483647 w 154"/>
                  <a:gd name="T75" fmla="*/ 2147483647 h 278"/>
                  <a:gd name="T76" fmla="*/ 2147483647 w 154"/>
                  <a:gd name="T77" fmla="*/ 2147483647 h 278"/>
                  <a:gd name="T78" fmla="*/ 0 w 154"/>
                  <a:gd name="T79" fmla="*/ 2147483647 h 278"/>
                  <a:gd name="T80" fmla="*/ 2147483647 w 154"/>
                  <a:gd name="T81" fmla="*/ 2147483647 h 278"/>
                  <a:gd name="T82" fmla="*/ 2147483647 w 154"/>
                  <a:gd name="T83" fmla="*/ 2147483647 h 278"/>
                  <a:gd name="T84" fmla="*/ 2147483647 w 154"/>
                  <a:gd name="T85" fmla="*/ 2147483647 h 278"/>
                  <a:gd name="T86" fmla="*/ 2147483647 w 154"/>
                  <a:gd name="T87" fmla="*/ 2147483647 h 278"/>
                  <a:gd name="T88" fmla="*/ 2147483647 w 154"/>
                  <a:gd name="T89" fmla="*/ 2147483647 h 278"/>
                  <a:gd name="T90" fmla="*/ 2147483647 w 154"/>
                  <a:gd name="T91" fmla="*/ 2147483647 h 278"/>
                  <a:gd name="T92" fmla="*/ 2147483647 w 154"/>
                  <a:gd name="T93" fmla="*/ 2147483647 h 278"/>
                  <a:gd name="T94" fmla="*/ 2147483647 w 154"/>
                  <a:gd name="T95" fmla="*/ 2147483647 h 278"/>
                  <a:gd name="T96" fmla="*/ 2147483647 w 154"/>
                  <a:gd name="T97" fmla="*/ 2147483647 h 278"/>
                  <a:gd name="T98" fmla="*/ 2147483647 w 154"/>
                  <a:gd name="T99" fmla="*/ 2147483647 h 278"/>
                  <a:gd name="T100" fmla="*/ 2147483647 w 154"/>
                  <a:gd name="T101" fmla="*/ 2147483647 h 278"/>
                  <a:gd name="T102" fmla="*/ 2147483647 w 154"/>
                  <a:gd name="T103" fmla="*/ 2147483647 h 278"/>
                  <a:gd name="T104" fmla="*/ 2147483647 w 154"/>
                  <a:gd name="T105" fmla="*/ 2147483647 h 278"/>
                  <a:gd name="T106" fmla="*/ 2147483647 w 154"/>
                  <a:gd name="T107" fmla="*/ 2147483647 h 278"/>
                  <a:gd name="T108" fmla="*/ 2147483647 w 154"/>
                  <a:gd name="T109" fmla="*/ 2147483647 h 278"/>
                  <a:gd name="T110" fmla="*/ 2147483647 w 154"/>
                  <a:gd name="T111" fmla="*/ 2147483647 h 278"/>
                  <a:gd name="T112" fmla="*/ 2147483647 w 154"/>
                  <a:gd name="T113" fmla="*/ 2147483647 h 278"/>
                  <a:gd name="T114" fmla="*/ 2147483647 w 154"/>
                  <a:gd name="T115" fmla="*/ 2147483647 h 278"/>
                  <a:gd name="T116" fmla="*/ 2147483647 w 154"/>
                  <a:gd name="T117" fmla="*/ 2147483647 h 278"/>
                  <a:gd name="T118" fmla="*/ 2147483647 w 154"/>
                  <a:gd name="T119" fmla="*/ 2147483647 h 27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54"/>
                  <a:gd name="T181" fmla="*/ 0 h 278"/>
                  <a:gd name="T182" fmla="*/ 154 w 154"/>
                  <a:gd name="T183" fmla="*/ 278 h 27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54" h="278">
                    <a:moveTo>
                      <a:pt x="134" y="122"/>
                    </a:moveTo>
                    <a:lnTo>
                      <a:pt x="134" y="120"/>
                    </a:lnTo>
                    <a:lnTo>
                      <a:pt x="130" y="118"/>
                    </a:lnTo>
                    <a:lnTo>
                      <a:pt x="128" y="118"/>
                    </a:lnTo>
                    <a:lnTo>
                      <a:pt x="122" y="118"/>
                    </a:lnTo>
                    <a:lnTo>
                      <a:pt x="112" y="122"/>
                    </a:lnTo>
                    <a:lnTo>
                      <a:pt x="98" y="130"/>
                    </a:lnTo>
                    <a:lnTo>
                      <a:pt x="92" y="132"/>
                    </a:lnTo>
                    <a:lnTo>
                      <a:pt x="88" y="132"/>
                    </a:lnTo>
                    <a:lnTo>
                      <a:pt x="80" y="132"/>
                    </a:lnTo>
                    <a:lnTo>
                      <a:pt x="76" y="132"/>
                    </a:lnTo>
                    <a:lnTo>
                      <a:pt x="74" y="134"/>
                    </a:lnTo>
                    <a:lnTo>
                      <a:pt x="70" y="138"/>
                    </a:lnTo>
                    <a:lnTo>
                      <a:pt x="68" y="148"/>
                    </a:lnTo>
                    <a:lnTo>
                      <a:pt x="68" y="158"/>
                    </a:lnTo>
                    <a:lnTo>
                      <a:pt x="70" y="166"/>
                    </a:lnTo>
                    <a:lnTo>
                      <a:pt x="74" y="168"/>
                    </a:lnTo>
                    <a:lnTo>
                      <a:pt x="76" y="168"/>
                    </a:lnTo>
                    <a:lnTo>
                      <a:pt x="84" y="168"/>
                    </a:lnTo>
                    <a:lnTo>
                      <a:pt x="100" y="158"/>
                    </a:lnTo>
                    <a:lnTo>
                      <a:pt x="98" y="176"/>
                    </a:lnTo>
                    <a:lnTo>
                      <a:pt x="94" y="190"/>
                    </a:lnTo>
                    <a:lnTo>
                      <a:pt x="88" y="204"/>
                    </a:lnTo>
                    <a:lnTo>
                      <a:pt x="82" y="214"/>
                    </a:lnTo>
                    <a:lnTo>
                      <a:pt x="74" y="222"/>
                    </a:lnTo>
                    <a:lnTo>
                      <a:pt x="64" y="226"/>
                    </a:lnTo>
                    <a:lnTo>
                      <a:pt x="54" y="230"/>
                    </a:lnTo>
                    <a:lnTo>
                      <a:pt x="42" y="230"/>
                    </a:lnTo>
                    <a:lnTo>
                      <a:pt x="32" y="226"/>
                    </a:lnTo>
                    <a:lnTo>
                      <a:pt x="26" y="220"/>
                    </a:lnTo>
                    <a:lnTo>
                      <a:pt x="22" y="214"/>
                    </a:lnTo>
                    <a:lnTo>
                      <a:pt x="20" y="206"/>
                    </a:lnTo>
                    <a:lnTo>
                      <a:pt x="18" y="198"/>
                    </a:lnTo>
                    <a:lnTo>
                      <a:pt x="18" y="188"/>
                    </a:lnTo>
                    <a:lnTo>
                      <a:pt x="22" y="166"/>
                    </a:lnTo>
                    <a:lnTo>
                      <a:pt x="30" y="146"/>
                    </a:lnTo>
                    <a:lnTo>
                      <a:pt x="40" y="126"/>
                    </a:lnTo>
                    <a:lnTo>
                      <a:pt x="56" y="106"/>
                    </a:lnTo>
                    <a:lnTo>
                      <a:pt x="78" y="80"/>
                    </a:lnTo>
                    <a:lnTo>
                      <a:pt x="106" y="56"/>
                    </a:lnTo>
                    <a:lnTo>
                      <a:pt x="130" y="40"/>
                    </a:lnTo>
                    <a:lnTo>
                      <a:pt x="152" y="28"/>
                    </a:lnTo>
                    <a:lnTo>
                      <a:pt x="154" y="28"/>
                    </a:lnTo>
                    <a:lnTo>
                      <a:pt x="154" y="26"/>
                    </a:lnTo>
                    <a:lnTo>
                      <a:pt x="154" y="16"/>
                    </a:lnTo>
                    <a:lnTo>
                      <a:pt x="152" y="8"/>
                    </a:lnTo>
                    <a:lnTo>
                      <a:pt x="148" y="4"/>
                    </a:lnTo>
                    <a:lnTo>
                      <a:pt x="142" y="0"/>
                    </a:lnTo>
                    <a:lnTo>
                      <a:pt x="138" y="2"/>
                    </a:lnTo>
                    <a:lnTo>
                      <a:pt x="132" y="2"/>
                    </a:lnTo>
                    <a:lnTo>
                      <a:pt x="118" y="10"/>
                    </a:lnTo>
                    <a:lnTo>
                      <a:pt x="104" y="22"/>
                    </a:lnTo>
                    <a:lnTo>
                      <a:pt x="86" y="40"/>
                    </a:lnTo>
                    <a:lnTo>
                      <a:pt x="56" y="72"/>
                    </a:lnTo>
                    <a:lnTo>
                      <a:pt x="34" y="106"/>
                    </a:lnTo>
                    <a:lnTo>
                      <a:pt x="20" y="130"/>
                    </a:lnTo>
                    <a:lnTo>
                      <a:pt x="10" y="152"/>
                    </a:lnTo>
                    <a:lnTo>
                      <a:pt x="4" y="172"/>
                    </a:lnTo>
                    <a:lnTo>
                      <a:pt x="0" y="192"/>
                    </a:lnTo>
                    <a:lnTo>
                      <a:pt x="0" y="204"/>
                    </a:lnTo>
                    <a:lnTo>
                      <a:pt x="2" y="216"/>
                    </a:lnTo>
                    <a:lnTo>
                      <a:pt x="4" y="226"/>
                    </a:lnTo>
                    <a:lnTo>
                      <a:pt x="10" y="234"/>
                    </a:lnTo>
                    <a:lnTo>
                      <a:pt x="14" y="240"/>
                    </a:lnTo>
                    <a:lnTo>
                      <a:pt x="20" y="244"/>
                    </a:lnTo>
                    <a:lnTo>
                      <a:pt x="26" y="246"/>
                    </a:lnTo>
                    <a:lnTo>
                      <a:pt x="34" y="248"/>
                    </a:lnTo>
                    <a:lnTo>
                      <a:pt x="50" y="248"/>
                    </a:lnTo>
                    <a:lnTo>
                      <a:pt x="70" y="246"/>
                    </a:lnTo>
                    <a:lnTo>
                      <a:pt x="64" y="264"/>
                    </a:lnTo>
                    <a:lnTo>
                      <a:pt x="64" y="266"/>
                    </a:lnTo>
                    <a:lnTo>
                      <a:pt x="66" y="272"/>
                    </a:lnTo>
                    <a:lnTo>
                      <a:pt x="68" y="276"/>
                    </a:lnTo>
                    <a:lnTo>
                      <a:pt x="72" y="278"/>
                    </a:lnTo>
                    <a:lnTo>
                      <a:pt x="76" y="278"/>
                    </a:lnTo>
                    <a:lnTo>
                      <a:pt x="80" y="278"/>
                    </a:lnTo>
                    <a:lnTo>
                      <a:pt x="84" y="274"/>
                    </a:lnTo>
                    <a:lnTo>
                      <a:pt x="88" y="264"/>
                    </a:lnTo>
                    <a:lnTo>
                      <a:pt x="94" y="244"/>
                    </a:lnTo>
                    <a:lnTo>
                      <a:pt x="104" y="218"/>
                    </a:lnTo>
                    <a:lnTo>
                      <a:pt x="120" y="172"/>
                    </a:lnTo>
                    <a:lnTo>
                      <a:pt x="128" y="146"/>
                    </a:lnTo>
                    <a:lnTo>
                      <a:pt x="134" y="122"/>
                    </a:lnTo>
                    <a:close/>
                    <a:moveTo>
                      <a:pt x="74" y="246"/>
                    </a:moveTo>
                    <a:lnTo>
                      <a:pt x="74" y="24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566" name="Freeform 345"/>
              <p:cNvSpPr>
                <a:spLocks/>
              </p:cNvSpPr>
              <p:nvPr/>
            </p:nvSpPr>
            <p:spPr bwMode="auto">
              <a:xfrm>
                <a:off x="8002588" y="2289175"/>
                <a:ext cx="577850" cy="419100"/>
              </a:xfrm>
              <a:custGeom>
                <a:avLst/>
                <a:gdLst>
                  <a:gd name="T0" fmla="*/ 2147483647 w 364"/>
                  <a:gd name="T1" fmla="*/ 2147483647 h 264"/>
                  <a:gd name="T2" fmla="*/ 2147483647 w 364"/>
                  <a:gd name="T3" fmla="*/ 2147483647 h 264"/>
                  <a:gd name="T4" fmla="*/ 2147483647 w 364"/>
                  <a:gd name="T5" fmla="*/ 2147483647 h 264"/>
                  <a:gd name="T6" fmla="*/ 2147483647 w 364"/>
                  <a:gd name="T7" fmla="*/ 2147483647 h 264"/>
                  <a:gd name="T8" fmla="*/ 2147483647 w 364"/>
                  <a:gd name="T9" fmla="*/ 2147483647 h 264"/>
                  <a:gd name="T10" fmla="*/ 2147483647 w 364"/>
                  <a:gd name="T11" fmla="*/ 2147483647 h 264"/>
                  <a:gd name="T12" fmla="*/ 2147483647 w 364"/>
                  <a:gd name="T13" fmla="*/ 2147483647 h 264"/>
                  <a:gd name="T14" fmla="*/ 2147483647 w 364"/>
                  <a:gd name="T15" fmla="*/ 0 h 264"/>
                  <a:gd name="T16" fmla="*/ 2147483647 w 364"/>
                  <a:gd name="T17" fmla="*/ 2147483647 h 264"/>
                  <a:gd name="T18" fmla="*/ 2147483647 w 364"/>
                  <a:gd name="T19" fmla="*/ 2147483647 h 264"/>
                  <a:gd name="T20" fmla="*/ 2147483647 w 364"/>
                  <a:gd name="T21" fmla="*/ 2147483647 h 264"/>
                  <a:gd name="T22" fmla="*/ 2147483647 w 364"/>
                  <a:gd name="T23" fmla="*/ 2147483647 h 264"/>
                  <a:gd name="T24" fmla="*/ 2147483647 w 364"/>
                  <a:gd name="T25" fmla="*/ 2147483647 h 264"/>
                  <a:gd name="T26" fmla="*/ 2147483647 w 364"/>
                  <a:gd name="T27" fmla="*/ 2147483647 h 264"/>
                  <a:gd name="T28" fmla="*/ 2147483647 w 364"/>
                  <a:gd name="T29" fmla="*/ 2147483647 h 264"/>
                  <a:gd name="T30" fmla="*/ 2147483647 w 364"/>
                  <a:gd name="T31" fmla="*/ 2147483647 h 264"/>
                  <a:gd name="T32" fmla="*/ 2147483647 w 364"/>
                  <a:gd name="T33" fmla="*/ 2147483647 h 264"/>
                  <a:gd name="T34" fmla="*/ 2147483647 w 364"/>
                  <a:gd name="T35" fmla="*/ 2147483647 h 264"/>
                  <a:gd name="T36" fmla="*/ 2147483647 w 364"/>
                  <a:gd name="T37" fmla="*/ 2147483647 h 264"/>
                  <a:gd name="T38" fmla="*/ 2147483647 w 364"/>
                  <a:gd name="T39" fmla="*/ 2147483647 h 264"/>
                  <a:gd name="T40" fmla="*/ 2147483647 w 364"/>
                  <a:gd name="T41" fmla="*/ 2147483647 h 264"/>
                  <a:gd name="T42" fmla="*/ 2147483647 w 364"/>
                  <a:gd name="T43" fmla="*/ 2147483647 h 264"/>
                  <a:gd name="T44" fmla="*/ 2147483647 w 364"/>
                  <a:gd name="T45" fmla="*/ 2147483647 h 264"/>
                  <a:gd name="T46" fmla="*/ 2147483647 w 364"/>
                  <a:gd name="T47" fmla="*/ 2147483647 h 264"/>
                  <a:gd name="T48" fmla="*/ 2147483647 w 364"/>
                  <a:gd name="T49" fmla="*/ 2147483647 h 264"/>
                  <a:gd name="T50" fmla="*/ 2147483647 w 364"/>
                  <a:gd name="T51" fmla="*/ 2147483647 h 264"/>
                  <a:gd name="T52" fmla="*/ 2147483647 w 364"/>
                  <a:gd name="T53" fmla="*/ 2147483647 h 264"/>
                  <a:gd name="T54" fmla="*/ 2147483647 w 364"/>
                  <a:gd name="T55" fmla="*/ 2147483647 h 264"/>
                  <a:gd name="T56" fmla="*/ 2147483647 w 364"/>
                  <a:gd name="T57" fmla="*/ 2147483647 h 264"/>
                  <a:gd name="T58" fmla="*/ 2147483647 w 364"/>
                  <a:gd name="T59" fmla="*/ 2147483647 h 264"/>
                  <a:gd name="T60" fmla="*/ 2147483647 w 364"/>
                  <a:gd name="T61" fmla="*/ 2147483647 h 264"/>
                  <a:gd name="T62" fmla="*/ 2147483647 w 364"/>
                  <a:gd name="T63" fmla="*/ 2147483647 h 264"/>
                  <a:gd name="T64" fmla="*/ 2147483647 w 364"/>
                  <a:gd name="T65" fmla="*/ 2147483647 h 264"/>
                  <a:gd name="T66" fmla="*/ 2147483647 w 364"/>
                  <a:gd name="T67" fmla="*/ 2147483647 h 264"/>
                  <a:gd name="T68" fmla="*/ 2147483647 w 364"/>
                  <a:gd name="T69" fmla="*/ 2147483647 h 264"/>
                  <a:gd name="T70" fmla="*/ 2147483647 w 364"/>
                  <a:gd name="T71" fmla="*/ 2147483647 h 264"/>
                  <a:gd name="T72" fmla="*/ 2147483647 w 364"/>
                  <a:gd name="T73" fmla="*/ 2147483647 h 264"/>
                  <a:gd name="T74" fmla="*/ 2147483647 w 364"/>
                  <a:gd name="T75" fmla="*/ 2147483647 h 264"/>
                  <a:gd name="T76" fmla="*/ 2147483647 w 364"/>
                  <a:gd name="T77" fmla="*/ 2147483647 h 264"/>
                  <a:gd name="T78" fmla="*/ 2147483647 w 364"/>
                  <a:gd name="T79" fmla="*/ 2147483647 h 264"/>
                  <a:gd name="T80" fmla="*/ 2147483647 w 364"/>
                  <a:gd name="T81" fmla="*/ 2147483647 h 264"/>
                  <a:gd name="T82" fmla="*/ 2147483647 w 364"/>
                  <a:gd name="T83" fmla="*/ 2147483647 h 264"/>
                  <a:gd name="T84" fmla="*/ 2147483647 w 364"/>
                  <a:gd name="T85" fmla="*/ 2147483647 h 264"/>
                  <a:gd name="T86" fmla="*/ 2147483647 w 364"/>
                  <a:gd name="T87" fmla="*/ 2147483647 h 264"/>
                  <a:gd name="T88" fmla="*/ 2147483647 w 364"/>
                  <a:gd name="T89" fmla="*/ 2147483647 h 264"/>
                  <a:gd name="T90" fmla="*/ 2147483647 w 364"/>
                  <a:gd name="T91" fmla="*/ 2147483647 h 264"/>
                  <a:gd name="T92" fmla="*/ 2147483647 w 364"/>
                  <a:gd name="T93" fmla="*/ 2147483647 h 264"/>
                  <a:gd name="T94" fmla="*/ 2147483647 w 364"/>
                  <a:gd name="T95" fmla="*/ 2147483647 h 264"/>
                  <a:gd name="T96" fmla="*/ 2147483647 w 364"/>
                  <a:gd name="T97" fmla="*/ 2147483647 h 264"/>
                  <a:gd name="T98" fmla="*/ 2147483647 w 364"/>
                  <a:gd name="T99" fmla="*/ 2147483647 h 264"/>
                  <a:gd name="T100" fmla="*/ 2147483647 w 364"/>
                  <a:gd name="T101" fmla="*/ 2147483647 h 264"/>
                  <a:gd name="T102" fmla="*/ 2147483647 w 364"/>
                  <a:gd name="T103" fmla="*/ 2147483647 h 264"/>
                  <a:gd name="T104" fmla="*/ 2147483647 w 364"/>
                  <a:gd name="T105" fmla="*/ 2147483647 h 264"/>
                  <a:gd name="T106" fmla="*/ 2147483647 w 364"/>
                  <a:gd name="T107" fmla="*/ 2147483647 h 264"/>
                  <a:gd name="T108" fmla="*/ 2147483647 w 364"/>
                  <a:gd name="T109" fmla="*/ 2147483647 h 264"/>
                  <a:gd name="T110" fmla="*/ 2147483647 w 364"/>
                  <a:gd name="T111" fmla="*/ 2147483647 h 264"/>
                  <a:gd name="T112" fmla="*/ 2147483647 w 364"/>
                  <a:gd name="T113" fmla="*/ 2147483647 h 264"/>
                  <a:gd name="T114" fmla="*/ 2147483647 w 364"/>
                  <a:gd name="T115" fmla="*/ 2147483647 h 26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64"/>
                  <a:gd name="T175" fmla="*/ 0 h 264"/>
                  <a:gd name="T176" fmla="*/ 364 w 364"/>
                  <a:gd name="T177" fmla="*/ 264 h 264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64" h="264">
                    <a:moveTo>
                      <a:pt x="364" y="24"/>
                    </a:moveTo>
                    <a:lnTo>
                      <a:pt x="364" y="24"/>
                    </a:lnTo>
                    <a:lnTo>
                      <a:pt x="362" y="16"/>
                    </a:lnTo>
                    <a:lnTo>
                      <a:pt x="360" y="14"/>
                    </a:lnTo>
                    <a:lnTo>
                      <a:pt x="356" y="12"/>
                    </a:lnTo>
                    <a:lnTo>
                      <a:pt x="352" y="10"/>
                    </a:lnTo>
                    <a:lnTo>
                      <a:pt x="342" y="10"/>
                    </a:lnTo>
                    <a:lnTo>
                      <a:pt x="332" y="12"/>
                    </a:lnTo>
                    <a:lnTo>
                      <a:pt x="320" y="14"/>
                    </a:lnTo>
                    <a:lnTo>
                      <a:pt x="308" y="20"/>
                    </a:lnTo>
                    <a:lnTo>
                      <a:pt x="264" y="40"/>
                    </a:lnTo>
                    <a:lnTo>
                      <a:pt x="242" y="46"/>
                    </a:lnTo>
                    <a:lnTo>
                      <a:pt x="232" y="48"/>
                    </a:lnTo>
                    <a:lnTo>
                      <a:pt x="222" y="48"/>
                    </a:lnTo>
                    <a:lnTo>
                      <a:pt x="220" y="48"/>
                    </a:lnTo>
                    <a:lnTo>
                      <a:pt x="214" y="46"/>
                    </a:lnTo>
                    <a:lnTo>
                      <a:pt x="222" y="34"/>
                    </a:lnTo>
                    <a:lnTo>
                      <a:pt x="230" y="18"/>
                    </a:lnTo>
                    <a:lnTo>
                      <a:pt x="230" y="4"/>
                    </a:lnTo>
                    <a:lnTo>
                      <a:pt x="230" y="0"/>
                    </a:lnTo>
                    <a:lnTo>
                      <a:pt x="226" y="0"/>
                    </a:lnTo>
                    <a:lnTo>
                      <a:pt x="224" y="2"/>
                    </a:lnTo>
                    <a:lnTo>
                      <a:pt x="220" y="4"/>
                    </a:lnTo>
                    <a:lnTo>
                      <a:pt x="216" y="8"/>
                    </a:lnTo>
                    <a:lnTo>
                      <a:pt x="210" y="18"/>
                    </a:lnTo>
                    <a:lnTo>
                      <a:pt x="204" y="32"/>
                    </a:lnTo>
                    <a:lnTo>
                      <a:pt x="194" y="54"/>
                    </a:lnTo>
                    <a:lnTo>
                      <a:pt x="168" y="126"/>
                    </a:lnTo>
                    <a:lnTo>
                      <a:pt x="152" y="172"/>
                    </a:lnTo>
                    <a:lnTo>
                      <a:pt x="152" y="152"/>
                    </a:lnTo>
                    <a:lnTo>
                      <a:pt x="150" y="108"/>
                    </a:lnTo>
                    <a:lnTo>
                      <a:pt x="146" y="88"/>
                    </a:lnTo>
                    <a:lnTo>
                      <a:pt x="140" y="72"/>
                    </a:lnTo>
                    <a:lnTo>
                      <a:pt x="136" y="66"/>
                    </a:lnTo>
                    <a:lnTo>
                      <a:pt x="134" y="74"/>
                    </a:lnTo>
                    <a:lnTo>
                      <a:pt x="126" y="96"/>
                    </a:lnTo>
                    <a:lnTo>
                      <a:pt x="112" y="138"/>
                    </a:lnTo>
                    <a:lnTo>
                      <a:pt x="96" y="178"/>
                    </a:lnTo>
                    <a:lnTo>
                      <a:pt x="78" y="216"/>
                    </a:lnTo>
                    <a:lnTo>
                      <a:pt x="78" y="218"/>
                    </a:lnTo>
                    <a:lnTo>
                      <a:pt x="78" y="226"/>
                    </a:lnTo>
                    <a:lnTo>
                      <a:pt x="74" y="222"/>
                    </a:lnTo>
                    <a:lnTo>
                      <a:pt x="66" y="218"/>
                    </a:lnTo>
                    <a:lnTo>
                      <a:pt x="54" y="220"/>
                    </a:lnTo>
                    <a:lnTo>
                      <a:pt x="46" y="220"/>
                    </a:lnTo>
                    <a:lnTo>
                      <a:pt x="34" y="218"/>
                    </a:lnTo>
                    <a:lnTo>
                      <a:pt x="30" y="214"/>
                    </a:lnTo>
                    <a:lnTo>
                      <a:pt x="26" y="212"/>
                    </a:lnTo>
                    <a:lnTo>
                      <a:pt x="24" y="206"/>
                    </a:lnTo>
                    <a:lnTo>
                      <a:pt x="22" y="202"/>
                    </a:lnTo>
                    <a:lnTo>
                      <a:pt x="22" y="190"/>
                    </a:lnTo>
                    <a:lnTo>
                      <a:pt x="24" y="176"/>
                    </a:lnTo>
                    <a:lnTo>
                      <a:pt x="26" y="164"/>
                    </a:lnTo>
                    <a:lnTo>
                      <a:pt x="30" y="156"/>
                    </a:lnTo>
                    <a:lnTo>
                      <a:pt x="34" y="148"/>
                    </a:lnTo>
                    <a:lnTo>
                      <a:pt x="44" y="142"/>
                    </a:lnTo>
                    <a:lnTo>
                      <a:pt x="56" y="138"/>
                    </a:lnTo>
                    <a:lnTo>
                      <a:pt x="72" y="132"/>
                    </a:lnTo>
                    <a:lnTo>
                      <a:pt x="80" y="128"/>
                    </a:lnTo>
                    <a:lnTo>
                      <a:pt x="82" y="126"/>
                    </a:lnTo>
                    <a:lnTo>
                      <a:pt x="82" y="124"/>
                    </a:lnTo>
                    <a:lnTo>
                      <a:pt x="80" y="120"/>
                    </a:lnTo>
                    <a:lnTo>
                      <a:pt x="78" y="116"/>
                    </a:lnTo>
                    <a:lnTo>
                      <a:pt x="72" y="112"/>
                    </a:lnTo>
                    <a:lnTo>
                      <a:pt x="68" y="108"/>
                    </a:lnTo>
                    <a:lnTo>
                      <a:pt x="56" y="104"/>
                    </a:lnTo>
                    <a:lnTo>
                      <a:pt x="74" y="64"/>
                    </a:lnTo>
                    <a:lnTo>
                      <a:pt x="80" y="54"/>
                    </a:lnTo>
                    <a:lnTo>
                      <a:pt x="84" y="48"/>
                    </a:lnTo>
                    <a:lnTo>
                      <a:pt x="90" y="44"/>
                    </a:lnTo>
                    <a:lnTo>
                      <a:pt x="94" y="44"/>
                    </a:lnTo>
                    <a:lnTo>
                      <a:pt x="104" y="46"/>
                    </a:lnTo>
                    <a:lnTo>
                      <a:pt x="114" y="48"/>
                    </a:lnTo>
                    <a:lnTo>
                      <a:pt x="126" y="46"/>
                    </a:lnTo>
                    <a:lnTo>
                      <a:pt x="136" y="42"/>
                    </a:lnTo>
                    <a:lnTo>
                      <a:pt x="140" y="38"/>
                    </a:lnTo>
                    <a:lnTo>
                      <a:pt x="136" y="36"/>
                    </a:lnTo>
                    <a:lnTo>
                      <a:pt x="114" y="22"/>
                    </a:lnTo>
                    <a:lnTo>
                      <a:pt x="108" y="18"/>
                    </a:lnTo>
                    <a:lnTo>
                      <a:pt x="100" y="18"/>
                    </a:lnTo>
                    <a:lnTo>
                      <a:pt x="88" y="18"/>
                    </a:lnTo>
                    <a:lnTo>
                      <a:pt x="78" y="20"/>
                    </a:lnTo>
                    <a:lnTo>
                      <a:pt x="70" y="26"/>
                    </a:lnTo>
                    <a:lnTo>
                      <a:pt x="62" y="34"/>
                    </a:lnTo>
                    <a:lnTo>
                      <a:pt x="62" y="36"/>
                    </a:lnTo>
                    <a:lnTo>
                      <a:pt x="44" y="86"/>
                    </a:lnTo>
                    <a:lnTo>
                      <a:pt x="24" y="112"/>
                    </a:lnTo>
                    <a:lnTo>
                      <a:pt x="24" y="114"/>
                    </a:lnTo>
                    <a:lnTo>
                      <a:pt x="20" y="130"/>
                    </a:lnTo>
                    <a:lnTo>
                      <a:pt x="12" y="154"/>
                    </a:lnTo>
                    <a:lnTo>
                      <a:pt x="4" y="178"/>
                    </a:lnTo>
                    <a:lnTo>
                      <a:pt x="0" y="190"/>
                    </a:lnTo>
                    <a:lnTo>
                      <a:pt x="0" y="202"/>
                    </a:lnTo>
                    <a:lnTo>
                      <a:pt x="2" y="212"/>
                    </a:lnTo>
                    <a:lnTo>
                      <a:pt x="6" y="222"/>
                    </a:lnTo>
                    <a:lnTo>
                      <a:pt x="12" y="228"/>
                    </a:lnTo>
                    <a:lnTo>
                      <a:pt x="24" y="236"/>
                    </a:lnTo>
                    <a:lnTo>
                      <a:pt x="36" y="240"/>
                    </a:lnTo>
                    <a:lnTo>
                      <a:pt x="56" y="240"/>
                    </a:lnTo>
                    <a:lnTo>
                      <a:pt x="68" y="240"/>
                    </a:lnTo>
                    <a:lnTo>
                      <a:pt x="76" y="238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4"/>
                    </a:lnTo>
                    <a:lnTo>
                      <a:pt x="80" y="230"/>
                    </a:lnTo>
                    <a:lnTo>
                      <a:pt x="82" y="232"/>
                    </a:lnTo>
                    <a:lnTo>
                      <a:pt x="84" y="232"/>
                    </a:lnTo>
                    <a:lnTo>
                      <a:pt x="86" y="232"/>
                    </a:lnTo>
                    <a:lnTo>
                      <a:pt x="90" y="232"/>
                    </a:lnTo>
                    <a:lnTo>
                      <a:pt x="94" y="226"/>
                    </a:lnTo>
                    <a:lnTo>
                      <a:pt x="102" y="212"/>
                    </a:lnTo>
                    <a:lnTo>
                      <a:pt x="114" y="190"/>
                    </a:lnTo>
                    <a:lnTo>
                      <a:pt x="132" y="154"/>
                    </a:lnTo>
                    <a:lnTo>
                      <a:pt x="132" y="194"/>
                    </a:lnTo>
                    <a:lnTo>
                      <a:pt x="132" y="250"/>
                    </a:lnTo>
                    <a:lnTo>
                      <a:pt x="132" y="256"/>
                    </a:lnTo>
                    <a:lnTo>
                      <a:pt x="138" y="252"/>
                    </a:lnTo>
                    <a:lnTo>
                      <a:pt x="144" y="250"/>
                    </a:lnTo>
                    <a:lnTo>
                      <a:pt x="152" y="244"/>
                    </a:lnTo>
                    <a:lnTo>
                      <a:pt x="156" y="234"/>
                    </a:lnTo>
                    <a:lnTo>
                      <a:pt x="160" y="220"/>
                    </a:lnTo>
                    <a:lnTo>
                      <a:pt x="164" y="200"/>
                    </a:lnTo>
                    <a:lnTo>
                      <a:pt x="172" y="168"/>
                    </a:lnTo>
                    <a:lnTo>
                      <a:pt x="192" y="106"/>
                    </a:lnTo>
                    <a:lnTo>
                      <a:pt x="200" y="82"/>
                    </a:lnTo>
                    <a:lnTo>
                      <a:pt x="202" y="88"/>
                    </a:lnTo>
                    <a:lnTo>
                      <a:pt x="206" y="90"/>
                    </a:lnTo>
                    <a:lnTo>
                      <a:pt x="208" y="90"/>
                    </a:lnTo>
                    <a:lnTo>
                      <a:pt x="210" y="90"/>
                    </a:lnTo>
                    <a:lnTo>
                      <a:pt x="228" y="74"/>
                    </a:lnTo>
                    <a:lnTo>
                      <a:pt x="264" y="62"/>
                    </a:lnTo>
                    <a:lnTo>
                      <a:pt x="256" y="96"/>
                    </a:lnTo>
                    <a:lnTo>
                      <a:pt x="246" y="132"/>
                    </a:lnTo>
                    <a:lnTo>
                      <a:pt x="220" y="198"/>
                    </a:lnTo>
                    <a:lnTo>
                      <a:pt x="210" y="228"/>
                    </a:lnTo>
                    <a:lnTo>
                      <a:pt x="204" y="250"/>
                    </a:lnTo>
                    <a:lnTo>
                      <a:pt x="202" y="252"/>
                    </a:lnTo>
                    <a:lnTo>
                      <a:pt x="206" y="254"/>
                    </a:lnTo>
                    <a:lnTo>
                      <a:pt x="216" y="260"/>
                    </a:lnTo>
                    <a:lnTo>
                      <a:pt x="222" y="264"/>
                    </a:lnTo>
                    <a:lnTo>
                      <a:pt x="222" y="258"/>
                    </a:lnTo>
                    <a:lnTo>
                      <a:pt x="230" y="228"/>
                    </a:lnTo>
                    <a:lnTo>
                      <a:pt x="240" y="200"/>
                    </a:lnTo>
                    <a:lnTo>
                      <a:pt x="262" y="144"/>
                    </a:lnTo>
                    <a:lnTo>
                      <a:pt x="268" y="126"/>
                    </a:lnTo>
                    <a:lnTo>
                      <a:pt x="274" y="104"/>
                    </a:lnTo>
                    <a:lnTo>
                      <a:pt x="286" y="52"/>
                    </a:lnTo>
                    <a:lnTo>
                      <a:pt x="294" y="48"/>
                    </a:lnTo>
                    <a:lnTo>
                      <a:pt x="310" y="42"/>
                    </a:lnTo>
                    <a:lnTo>
                      <a:pt x="326" y="38"/>
                    </a:lnTo>
                    <a:lnTo>
                      <a:pt x="332" y="38"/>
                    </a:lnTo>
                    <a:lnTo>
                      <a:pt x="338" y="38"/>
                    </a:lnTo>
                    <a:lnTo>
                      <a:pt x="334" y="48"/>
                    </a:lnTo>
                    <a:lnTo>
                      <a:pt x="332" y="52"/>
                    </a:lnTo>
                    <a:lnTo>
                      <a:pt x="338" y="54"/>
                    </a:lnTo>
                    <a:lnTo>
                      <a:pt x="346" y="52"/>
                    </a:lnTo>
                    <a:lnTo>
                      <a:pt x="352" y="48"/>
                    </a:lnTo>
                    <a:lnTo>
                      <a:pt x="358" y="38"/>
                    </a:lnTo>
                    <a:lnTo>
                      <a:pt x="364" y="26"/>
                    </a:lnTo>
                    <a:lnTo>
                      <a:pt x="364" y="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567" name="Freeform 346"/>
              <p:cNvSpPr>
                <a:spLocks noEditPoints="1"/>
              </p:cNvSpPr>
              <p:nvPr/>
            </p:nvSpPr>
            <p:spPr bwMode="auto">
              <a:xfrm>
                <a:off x="8456613" y="2295525"/>
                <a:ext cx="263525" cy="447675"/>
              </a:xfrm>
              <a:custGeom>
                <a:avLst/>
                <a:gdLst>
                  <a:gd name="T0" fmla="*/ 2147483647 w 166"/>
                  <a:gd name="T1" fmla="*/ 2147483647 h 282"/>
                  <a:gd name="T2" fmla="*/ 2147483647 w 166"/>
                  <a:gd name="T3" fmla="*/ 2147483647 h 282"/>
                  <a:gd name="T4" fmla="*/ 2147483647 w 166"/>
                  <a:gd name="T5" fmla="*/ 2147483647 h 282"/>
                  <a:gd name="T6" fmla="*/ 2147483647 w 166"/>
                  <a:gd name="T7" fmla="*/ 2147483647 h 282"/>
                  <a:gd name="T8" fmla="*/ 2147483647 w 166"/>
                  <a:gd name="T9" fmla="*/ 2147483647 h 282"/>
                  <a:gd name="T10" fmla="*/ 2147483647 w 166"/>
                  <a:gd name="T11" fmla="*/ 2147483647 h 282"/>
                  <a:gd name="T12" fmla="*/ 2147483647 w 166"/>
                  <a:gd name="T13" fmla="*/ 2147483647 h 282"/>
                  <a:gd name="T14" fmla="*/ 2147483647 w 166"/>
                  <a:gd name="T15" fmla="*/ 2147483647 h 282"/>
                  <a:gd name="T16" fmla="*/ 2147483647 w 166"/>
                  <a:gd name="T17" fmla="*/ 2147483647 h 282"/>
                  <a:gd name="T18" fmla="*/ 2147483647 w 166"/>
                  <a:gd name="T19" fmla="*/ 2147483647 h 282"/>
                  <a:gd name="T20" fmla="*/ 2147483647 w 166"/>
                  <a:gd name="T21" fmla="*/ 2147483647 h 282"/>
                  <a:gd name="T22" fmla="*/ 0 w 166"/>
                  <a:gd name="T23" fmla="*/ 2147483647 h 282"/>
                  <a:gd name="T24" fmla="*/ 0 w 166"/>
                  <a:gd name="T25" fmla="*/ 2147483647 h 282"/>
                  <a:gd name="T26" fmla="*/ 0 w 166"/>
                  <a:gd name="T27" fmla="*/ 2147483647 h 282"/>
                  <a:gd name="T28" fmla="*/ 2147483647 w 166"/>
                  <a:gd name="T29" fmla="*/ 2147483647 h 282"/>
                  <a:gd name="T30" fmla="*/ 2147483647 w 166"/>
                  <a:gd name="T31" fmla="*/ 2147483647 h 282"/>
                  <a:gd name="T32" fmla="*/ 2147483647 w 166"/>
                  <a:gd name="T33" fmla="*/ 2147483647 h 282"/>
                  <a:gd name="T34" fmla="*/ 2147483647 w 166"/>
                  <a:gd name="T35" fmla="*/ 2147483647 h 282"/>
                  <a:gd name="T36" fmla="*/ 2147483647 w 166"/>
                  <a:gd name="T37" fmla="*/ 2147483647 h 282"/>
                  <a:gd name="T38" fmla="*/ 2147483647 w 166"/>
                  <a:gd name="T39" fmla="*/ 2147483647 h 282"/>
                  <a:gd name="T40" fmla="*/ 2147483647 w 166"/>
                  <a:gd name="T41" fmla="*/ 2147483647 h 282"/>
                  <a:gd name="T42" fmla="*/ 2147483647 w 166"/>
                  <a:gd name="T43" fmla="*/ 2147483647 h 282"/>
                  <a:gd name="T44" fmla="*/ 2147483647 w 166"/>
                  <a:gd name="T45" fmla="*/ 2147483647 h 282"/>
                  <a:gd name="T46" fmla="*/ 2147483647 w 166"/>
                  <a:gd name="T47" fmla="*/ 2147483647 h 282"/>
                  <a:gd name="T48" fmla="*/ 2147483647 w 166"/>
                  <a:gd name="T49" fmla="*/ 2147483647 h 282"/>
                  <a:gd name="T50" fmla="*/ 2147483647 w 166"/>
                  <a:gd name="T51" fmla="*/ 2147483647 h 282"/>
                  <a:gd name="T52" fmla="*/ 2147483647 w 166"/>
                  <a:gd name="T53" fmla="*/ 2147483647 h 282"/>
                  <a:gd name="T54" fmla="*/ 2147483647 w 166"/>
                  <a:gd name="T55" fmla="*/ 2147483647 h 282"/>
                  <a:gd name="T56" fmla="*/ 2147483647 w 166"/>
                  <a:gd name="T57" fmla="*/ 2147483647 h 282"/>
                  <a:gd name="T58" fmla="*/ 2147483647 w 166"/>
                  <a:gd name="T59" fmla="*/ 2147483647 h 282"/>
                  <a:gd name="T60" fmla="*/ 2147483647 w 166"/>
                  <a:gd name="T61" fmla="*/ 2147483647 h 282"/>
                  <a:gd name="T62" fmla="*/ 2147483647 w 166"/>
                  <a:gd name="T63" fmla="*/ 2147483647 h 282"/>
                  <a:gd name="T64" fmla="*/ 2147483647 w 166"/>
                  <a:gd name="T65" fmla="*/ 2147483647 h 282"/>
                  <a:gd name="T66" fmla="*/ 2147483647 w 166"/>
                  <a:gd name="T67" fmla="*/ 2147483647 h 282"/>
                  <a:gd name="T68" fmla="*/ 2147483647 w 166"/>
                  <a:gd name="T69" fmla="*/ 2147483647 h 282"/>
                  <a:gd name="T70" fmla="*/ 2147483647 w 166"/>
                  <a:gd name="T71" fmla="*/ 2147483647 h 282"/>
                  <a:gd name="T72" fmla="*/ 2147483647 w 166"/>
                  <a:gd name="T73" fmla="*/ 2147483647 h 282"/>
                  <a:gd name="T74" fmla="*/ 2147483647 w 166"/>
                  <a:gd name="T75" fmla="*/ 2147483647 h 282"/>
                  <a:gd name="T76" fmla="*/ 2147483647 w 166"/>
                  <a:gd name="T77" fmla="*/ 2147483647 h 282"/>
                  <a:gd name="T78" fmla="*/ 2147483647 w 166"/>
                  <a:gd name="T79" fmla="*/ 2147483647 h 282"/>
                  <a:gd name="T80" fmla="*/ 2147483647 w 166"/>
                  <a:gd name="T81" fmla="*/ 2147483647 h 282"/>
                  <a:gd name="T82" fmla="*/ 2147483647 w 166"/>
                  <a:gd name="T83" fmla="*/ 2147483647 h 282"/>
                  <a:gd name="T84" fmla="*/ 2147483647 w 166"/>
                  <a:gd name="T85" fmla="*/ 2147483647 h 282"/>
                  <a:gd name="T86" fmla="*/ 2147483647 w 166"/>
                  <a:gd name="T87" fmla="*/ 2147483647 h 282"/>
                  <a:gd name="T88" fmla="*/ 2147483647 w 166"/>
                  <a:gd name="T89" fmla="*/ 2147483647 h 282"/>
                  <a:gd name="T90" fmla="*/ 2147483647 w 166"/>
                  <a:gd name="T91" fmla="*/ 2147483647 h 282"/>
                  <a:gd name="T92" fmla="*/ 2147483647 w 166"/>
                  <a:gd name="T93" fmla="*/ 2147483647 h 282"/>
                  <a:gd name="T94" fmla="*/ 2147483647 w 166"/>
                  <a:gd name="T95" fmla="*/ 2147483647 h 282"/>
                  <a:gd name="T96" fmla="*/ 2147483647 w 166"/>
                  <a:gd name="T97" fmla="*/ 2147483647 h 282"/>
                  <a:gd name="T98" fmla="*/ 2147483647 w 166"/>
                  <a:gd name="T99" fmla="*/ 2147483647 h 282"/>
                  <a:gd name="T100" fmla="*/ 2147483647 w 166"/>
                  <a:gd name="T101" fmla="*/ 2147483647 h 282"/>
                  <a:gd name="T102" fmla="*/ 2147483647 w 166"/>
                  <a:gd name="T103" fmla="*/ 2147483647 h 282"/>
                  <a:gd name="T104" fmla="*/ 2147483647 w 166"/>
                  <a:gd name="T105" fmla="*/ 0 h 282"/>
                  <a:gd name="T106" fmla="*/ 2147483647 w 166"/>
                  <a:gd name="T107" fmla="*/ 0 h 282"/>
                  <a:gd name="T108" fmla="*/ 2147483647 w 166"/>
                  <a:gd name="T109" fmla="*/ 2147483647 h 282"/>
                  <a:gd name="T110" fmla="*/ 2147483647 w 166"/>
                  <a:gd name="T111" fmla="*/ 2147483647 h 28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66"/>
                  <a:gd name="T169" fmla="*/ 0 h 282"/>
                  <a:gd name="T170" fmla="*/ 166 w 166"/>
                  <a:gd name="T171" fmla="*/ 282 h 28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66" h="282">
                    <a:moveTo>
                      <a:pt x="50" y="252"/>
                    </a:moveTo>
                    <a:lnTo>
                      <a:pt x="50" y="252"/>
                    </a:lnTo>
                    <a:lnTo>
                      <a:pt x="46" y="268"/>
                    </a:lnTo>
                    <a:lnTo>
                      <a:pt x="42" y="276"/>
                    </a:lnTo>
                    <a:lnTo>
                      <a:pt x="36" y="280"/>
                    </a:lnTo>
                    <a:lnTo>
                      <a:pt x="28" y="282"/>
                    </a:lnTo>
                    <a:lnTo>
                      <a:pt x="18" y="282"/>
                    </a:lnTo>
                    <a:lnTo>
                      <a:pt x="8" y="280"/>
                    </a:lnTo>
                    <a:lnTo>
                      <a:pt x="4" y="276"/>
                    </a:lnTo>
                    <a:lnTo>
                      <a:pt x="0" y="270"/>
                    </a:lnTo>
                    <a:lnTo>
                      <a:pt x="0" y="260"/>
                    </a:lnTo>
                    <a:lnTo>
                      <a:pt x="2" y="254"/>
                    </a:lnTo>
                    <a:lnTo>
                      <a:pt x="8" y="250"/>
                    </a:lnTo>
                    <a:lnTo>
                      <a:pt x="16" y="248"/>
                    </a:lnTo>
                    <a:lnTo>
                      <a:pt x="26" y="246"/>
                    </a:lnTo>
                    <a:lnTo>
                      <a:pt x="40" y="248"/>
                    </a:lnTo>
                    <a:lnTo>
                      <a:pt x="50" y="252"/>
                    </a:lnTo>
                    <a:close/>
                    <a:moveTo>
                      <a:pt x="166" y="6"/>
                    </a:moveTo>
                    <a:lnTo>
                      <a:pt x="166" y="6"/>
                    </a:lnTo>
                    <a:lnTo>
                      <a:pt x="142" y="42"/>
                    </a:lnTo>
                    <a:lnTo>
                      <a:pt x="126" y="74"/>
                    </a:lnTo>
                    <a:lnTo>
                      <a:pt x="118" y="94"/>
                    </a:lnTo>
                    <a:lnTo>
                      <a:pt x="112" y="112"/>
                    </a:lnTo>
                    <a:lnTo>
                      <a:pt x="108" y="132"/>
                    </a:lnTo>
                    <a:lnTo>
                      <a:pt x="104" y="152"/>
                    </a:lnTo>
                    <a:lnTo>
                      <a:pt x="102" y="166"/>
                    </a:lnTo>
                    <a:lnTo>
                      <a:pt x="96" y="176"/>
                    </a:lnTo>
                    <a:lnTo>
                      <a:pt x="90" y="182"/>
                    </a:lnTo>
                    <a:lnTo>
                      <a:pt x="84" y="186"/>
                    </a:lnTo>
                    <a:lnTo>
                      <a:pt x="78" y="186"/>
                    </a:lnTo>
                    <a:lnTo>
                      <a:pt x="72" y="186"/>
                    </a:lnTo>
                    <a:lnTo>
                      <a:pt x="60" y="184"/>
                    </a:lnTo>
                    <a:lnTo>
                      <a:pt x="60" y="172"/>
                    </a:lnTo>
                    <a:lnTo>
                      <a:pt x="64" y="160"/>
                    </a:lnTo>
                    <a:lnTo>
                      <a:pt x="74" y="136"/>
                    </a:lnTo>
                    <a:lnTo>
                      <a:pt x="110" y="50"/>
                    </a:lnTo>
                    <a:lnTo>
                      <a:pt x="120" y="22"/>
                    </a:lnTo>
                    <a:lnTo>
                      <a:pt x="128" y="8"/>
                    </a:lnTo>
                    <a:lnTo>
                      <a:pt x="132" y="4"/>
                    </a:lnTo>
                    <a:lnTo>
                      <a:pt x="138" y="2"/>
                    </a:lnTo>
                    <a:lnTo>
                      <a:pt x="148" y="0"/>
                    </a:lnTo>
                    <a:lnTo>
                      <a:pt x="16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568" name="Freeform 347"/>
              <p:cNvSpPr>
                <a:spLocks/>
              </p:cNvSpPr>
              <p:nvPr/>
            </p:nvSpPr>
            <p:spPr bwMode="auto">
              <a:xfrm>
                <a:off x="8367713" y="2797175"/>
                <a:ext cx="127000" cy="57150"/>
              </a:xfrm>
              <a:custGeom>
                <a:avLst/>
                <a:gdLst>
                  <a:gd name="T0" fmla="*/ 2147483647 w 80"/>
                  <a:gd name="T1" fmla="*/ 2147483647 h 36"/>
                  <a:gd name="T2" fmla="*/ 2147483647 w 80"/>
                  <a:gd name="T3" fmla="*/ 2147483647 h 36"/>
                  <a:gd name="T4" fmla="*/ 2147483647 w 80"/>
                  <a:gd name="T5" fmla="*/ 2147483647 h 36"/>
                  <a:gd name="T6" fmla="*/ 2147483647 w 80"/>
                  <a:gd name="T7" fmla="*/ 2147483647 h 36"/>
                  <a:gd name="T8" fmla="*/ 2147483647 w 80"/>
                  <a:gd name="T9" fmla="*/ 2147483647 h 36"/>
                  <a:gd name="T10" fmla="*/ 2147483647 w 80"/>
                  <a:gd name="T11" fmla="*/ 2147483647 h 36"/>
                  <a:gd name="T12" fmla="*/ 2147483647 w 80"/>
                  <a:gd name="T13" fmla="*/ 2147483647 h 36"/>
                  <a:gd name="T14" fmla="*/ 2147483647 w 80"/>
                  <a:gd name="T15" fmla="*/ 2147483647 h 36"/>
                  <a:gd name="T16" fmla="*/ 2147483647 w 80"/>
                  <a:gd name="T17" fmla="*/ 2147483647 h 36"/>
                  <a:gd name="T18" fmla="*/ 2147483647 w 80"/>
                  <a:gd name="T19" fmla="*/ 2147483647 h 36"/>
                  <a:gd name="T20" fmla="*/ 0 w 80"/>
                  <a:gd name="T21" fmla="*/ 0 h 36"/>
                  <a:gd name="T22" fmla="*/ 0 w 80"/>
                  <a:gd name="T23" fmla="*/ 0 h 36"/>
                  <a:gd name="T24" fmla="*/ 2147483647 w 80"/>
                  <a:gd name="T25" fmla="*/ 2147483647 h 36"/>
                  <a:gd name="T26" fmla="*/ 2147483647 w 80"/>
                  <a:gd name="T27" fmla="*/ 2147483647 h 36"/>
                  <a:gd name="T28" fmla="*/ 2147483647 w 80"/>
                  <a:gd name="T29" fmla="*/ 2147483647 h 36"/>
                  <a:gd name="T30" fmla="*/ 2147483647 w 80"/>
                  <a:gd name="T31" fmla="*/ 2147483647 h 36"/>
                  <a:gd name="T32" fmla="*/ 2147483647 w 80"/>
                  <a:gd name="T33" fmla="*/ 2147483647 h 36"/>
                  <a:gd name="T34" fmla="*/ 2147483647 w 80"/>
                  <a:gd name="T35" fmla="*/ 2147483647 h 36"/>
                  <a:gd name="T36" fmla="*/ 2147483647 w 80"/>
                  <a:gd name="T37" fmla="*/ 2147483647 h 36"/>
                  <a:gd name="T38" fmla="*/ 2147483647 w 80"/>
                  <a:gd name="T39" fmla="*/ 2147483647 h 36"/>
                  <a:gd name="T40" fmla="*/ 2147483647 w 80"/>
                  <a:gd name="T41" fmla="*/ 2147483647 h 36"/>
                  <a:gd name="T42" fmla="*/ 2147483647 w 80"/>
                  <a:gd name="T43" fmla="*/ 2147483647 h 36"/>
                  <a:gd name="T44" fmla="*/ 2147483647 w 80"/>
                  <a:gd name="T45" fmla="*/ 2147483647 h 36"/>
                  <a:gd name="T46" fmla="*/ 2147483647 w 80"/>
                  <a:gd name="T47" fmla="*/ 2147483647 h 36"/>
                  <a:gd name="T48" fmla="*/ 2147483647 w 80"/>
                  <a:gd name="T49" fmla="*/ 2147483647 h 36"/>
                  <a:gd name="T50" fmla="*/ 2147483647 w 80"/>
                  <a:gd name="T51" fmla="*/ 2147483647 h 36"/>
                  <a:gd name="T52" fmla="*/ 2147483647 w 80"/>
                  <a:gd name="T53" fmla="*/ 2147483647 h 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80"/>
                  <a:gd name="T82" fmla="*/ 0 h 36"/>
                  <a:gd name="T83" fmla="*/ 80 w 80"/>
                  <a:gd name="T84" fmla="*/ 36 h 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80" h="36">
                    <a:moveTo>
                      <a:pt x="68" y="26"/>
                    </a:moveTo>
                    <a:lnTo>
                      <a:pt x="66" y="26"/>
                    </a:lnTo>
                    <a:lnTo>
                      <a:pt x="70" y="28"/>
                    </a:lnTo>
                    <a:lnTo>
                      <a:pt x="56" y="20"/>
                    </a:lnTo>
                    <a:lnTo>
                      <a:pt x="42" y="12"/>
                    </a:lnTo>
                    <a:lnTo>
                      <a:pt x="26" y="8"/>
                    </a:lnTo>
                    <a:lnTo>
                      <a:pt x="12" y="4"/>
                    </a:lnTo>
                    <a:lnTo>
                      <a:pt x="0" y="0"/>
                    </a:lnTo>
                    <a:lnTo>
                      <a:pt x="10" y="4"/>
                    </a:lnTo>
                    <a:lnTo>
                      <a:pt x="12" y="6"/>
                    </a:lnTo>
                    <a:lnTo>
                      <a:pt x="42" y="20"/>
                    </a:lnTo>
                    <a:lnTo>
                      <a:pt x="36" y="16"/>
                    </a:lnTo>
                    <a:lnTo>
                      <a:pt x="44" y="22"/>
                    </a:lnTo>
                    <a:lnTo>
                      <a:pt x="44" y="20"/>
                    </a:lnTo>
                    <a:lnTo>
                      <a:pt x="76" y="36"/>
                    </a:lnTo>
                    <a:lnTo>
                      <a:pt x="78" y="36"/>
                    </a:lnTo>
                    <a:lnTo>
                      <a:pt x="80" y="36"/>
                    </a:lnTo>
                    <a:lnTo>
                      <a:pt x="72" y="30"/>
                    </a:lnTo>
                    <a:lnTo>
                      <a:pt x="68" y="2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569" name="Freeform 348"/>
              <p:cNvSpPr>
                <a:spLocks/>
              </p:cNvSpPr>
              <p:nvPr/>
            </p:nvSpPr>
            <p:spPr bwMode="auto">
              <a:xfrm>
                <a:off x="7446963" y="2673350"/>
                <a:ext cx="1060450" cy="177800"/>
              </a:xfrm>
              <a:custGeom>
                <a:avLst/>
                <a:gdLst>
                  <a:gd name="T0" fmla="*/ 2147483647 w 668"/>
                  <a:gd name="T1" fmla="*/ 2147483647 h 112"/>
                  <a:gd name="T2" fmla="*/ 2147483647 w 668"/>
                  <a:gd name="T3" fmla="*/ 2147483647 h 112"/>
                  <a:gd name="T4" fmla="*/ 2147483647 w 668"/>
                  <a:gd name="T5" fmla="*/ 2147483647 h 112"/>
                  <a:gd name="T6" fmla="*/ 2147483647 w 668"/>
                  <a:gd name="T7" fmla="*/ 2147483647 h 112"/>
                  <a:gd name="T8" fmla="*/ 2147483647 w 668"/>
                  <a:gd name="T9" fmla="*/ 2147483647 h 112"/>
                  <a:gd name="T10" fmla="*/ 2147483647 w 668"/>
                  <a:gd name="T11" fmla="*/ 2147483647 h 112"/>
                  <a:gd name="T12" fmla="*/ 2147483647 w 668"/>
                  <a:gd name="T13" fmla="*/ 2147483647 h 112"/>
                  <a:gd name="T14" fmla="*/ 2147483647 w 668"/>
                  <a:gd name="T15" fmla="*/ 2147483647 h 112"/>
                  <a:gd name="T16" fmla="*/ 2147483647 w 668"/>
                  <a:gd name="T17" fmla="*/ 2147483647 h 112"/>
                  <a:gd name="T18" fmla="*/ 2147483647 w 668"/>
                  <a:gd name="T19" fmla="*/ 2147483647 h 112"/>
                  <a:gd name="T20" fmla="*/ 2147483647 w 668"/>
                  <a:gd name="T21" fmla="*/ 2147483647 h 112"/>
                  <a:gd name="T22" fmla="*/ 2147483647 w 668"/>
                  <a:gd name="T23" fmla="*/ 2147483647 h 112"/>
                  <a:gd name="T24" fmla="*/ 2147483647 w 668"/>
                  <a:gd name="T25" fmla="*/ 2147483647 h 112"/>
                  <a:gd name="T26" fmla="*/ 2147483647 w 668"/>
                  <a:gd name="T27" fmla="*/ 2147483647 h 112"/>
                  <a:gd name="T28" fmla="*/ 2147483647 w 668"/>
                  <a:gd name="T29" fmla="*/ 2147483647 h 112"/>
                  <a:gd name="T30" fmla="*/ 2147483647 w 668"/>
                  <a:gd name="T31" fmla="*/ 2147483647 h 112"/>
                  <a:gd name="T32" fmla="*/ 2147483647 w 668"/>
                  <a:gd name="T33" fmla="*/ 2147483647 h 112"/>
                  <a:gd name="T34" fmla="*/ 2147483647 w 668"/>
                  <a:gd name="T35" fmla="*/ 2147483647 h 112"/>
                  <a:gd name="T36" fmla="*/ 2147483647 w 668"/>
                  <a:gd name="T37" fmla="*/ 2147483647 h 112"/>
                  <a:gd name="T38" fmla="*/ 2147483647 w 668"/>
                  <a:gd name="T39" fmla="*/ 2147483647 h 112"/>
                  <a:gd name="T40" fmla="*/ 2147483647 w 668"/>
                  <a:gd name="T41" fmla="*/ 2147483647 h 112"/>
                  <a:gd name="T42" fmla="*/ 2147483647 w 668"/>
                  <a:gd name="T43" fmla="*/ 2147483647 h 112"/>
                  <a:gd name="T44" fmla="*/ 2147483647 w 668"/>
                  <a:gd name="T45" fmla="*/ 2147483647 h 112"/>
                  <a:gd name="T46" fmla="*/ 2147483647 w 668"/>
                  <a:gd name="T47" fmla="*/ 2147483647 h 112"/>
                  <a:gd name="T48" fmla="*/ 2147483647 w 668"/>
                  <a:gd name="T49" fmla="*/ 2147483647 h 112"/>
                  <a:gd name="T50" fmla="*/ 2147483647 w 668"/>
                  <a:gd name="T51" fmla="*/ 2147483647 h 112"/>
                  <a:gd name="T52" fmla="*/ 2147483647 w 668"/>
                  <a:gd name="T53" fmla="*/ 2147483647 h 112"/>
                  <a:gd name="T54" fmla="*/ 2147483647 w 668"/>
                  <a:gd name="T55" fmla="*/ 2147483647 h 112"/>
                  <a:gd name="T56" fmla="*/ 2147483647 w 668"/>
                  <a:gd name="T57" fmla="*/ 2147483647 h 112"/>
                  <a:gd name="T58" fmla="*/ 2147483647 w 668"/>
                  <a:gd name="T59" fmla="*/ 2147483647 h 112"/>
                  <a:gd name="T60" fmla="*/ 2147483647 w 668"/>
                  <a:gd name="T61" fmla="*/ 2147483647 h 112"/>
                  <a:gd name="T62" fmla="*/ 2147483647 w 668"/>
                  <a:gd name="T63" fmla="*/ 2147483647 h 112"/>
                  <a:gd name="T64" fmla="*/ 2147483647 w 668"/>
                  <a:gd name="T65" fmla="*/ 2147483647 h 112"/>
                  <a:gd name="T66" fmla="*/ 2147483647 w 668"/>
                  <a:gd name="T67" fmla="*/ 2147483647 h 112"/>
                  <a:gd name="T68" fmla="*/ 2147483647 w 668"/>
                  <a:gd name="T69" fmla="*/ 2147483647 h 112"/>
                  <a:gd name="T70" fmla="*/ 2147483647 w 668"/>
                  <a:gd name="T71" fmla="*/ 2147483647 h 112"/>
                  <a:gd name="T72" fmla="*/ 2147483647 w 668"/>
                  <a:gd name="T73" fmla="*/ 2147483647 h 112"/>
                  <a:gd name="T74" fmla="*/ 2147483647 w 668"/>
                  <a:gd name="T75" fmla="*/ 2147483647 h 112"/>
                  <a:gd name="T76" fmla="*/ 2147483647 w 668"/>
                  <a:gd name="T77" fmla="*/ 2147483647 h 112"/>
                  <a:gd name="T78" fmla="*/ 2147483647 w 668"/>
                  <a:gd name="T79" fmla="*/ 2147483647 h 112"/>
                  <a:gd name="T80" fmla="*/ 2147483647 w 668"/>
                  <a:gd name="T81" fmla="*/ 2147483647 h 112"/>
                  <a:gd name="T82" fmla="*/ 2147483647 w 668"/>
                  <a:gd name="T83" fmla="*/ 2147483647 h 112"/>
                  <a:gd name="T84" fmla="*/ 2147483647 w 668"/>
                  <a:gd name="T85" fmla="*/ 2147483647 h 112"/>
                  <a:gd name="T86" fmla="*/ 2147483647 w 668"/>
                  <a:gd name="T87" fmla="*/ 2147483647 h 112"/>
                  <a:gd name="T88" fmla="*/ 2147483647 w 668"/>
                  <a:gd name="T89" fmla="*/ 2147483647 h 112"/>
                  <a:gd name="T90" fmla="*/ 2147483647 w 668"/>
                  <a:gd name="T91" fmla="*/ 2147483647 h 112"/>
                  <a:gd name="T92" fmla="*/ 2147483647 w 668"/>
                  <a:gd name="T93" fmla="*/ 2147483647 h 112"/>
                  <a:gd name="T94" fmla="*/ 2147483647 w 668"/>
                  <a:gd name="T95" fmla="*/ 2147483647 h 112"/>
                  <a:gd name="T96" fmla="*/ 2147483647 w 668"/>
                  <a:gd name="T97" fmla="*/ 2147483647 h 112"/>
                  <a:gd name="T98" fmla="*/ 2147483647 w 668"/>
                  <a:gd name="T99" fmla="*/ 2147483647 h 112"/>
                  <a:gd name="T100" fmla="*/ 2147483647 w 668"/>
                  <a:gd name="T101" fmla="*/ 2147483647 h 112"/>
                  <a:gd name="T102" fmla="*/ 2147483647 w 668"/>
                  <a:gd name="T103" fmla="*/ 2147483647 h 112"/>
                  <a:gd name="T104" fmla="*/ 2147483647 w 668"/>
                  <a:gd name="T105" fmla="*/ 2147483647 h 112"/>
                  <a:gd name="T106" fmla="*/ 2147483647 w 668"/>
                  <a:gd name="T107" fmla="*/ 2147483647 h 112"/>
                  <a:gd name="T108" fmla="*/ 2147483647 w 668"/>
                  <a:gd name="T109" fmla="*/ 2147483647 h 112"/>
                  <a:gd name="T110" fmla="*/ 2147483647 w 668"/>
                  <a:gd name="T111" fmla="*/ 2147483647 h 112"/>
                  <a:gd name="T112" fmla="*/ 2147483647 w 668"/>
                  <a:gd name="T113" fmla="*/ 2147483647 h 112"/>
                  <a:gd name="T114" fmla="*/ 2147483647 w 668"/>
                  <a:gd name="T115" fmla="*/ 2147483647 h 112"/>
                  <a:gd name="T116" fmla="*/ 2147483647 w 668"/>
                  <a:gd name="T117" fmla="*/ 2147483647 h 112"/>
                  <a:gd name="T118" fmla="*/ 2147483647 w 668"/>
                  <a:gd name="T119" fmla="*/ 2147483647 h 11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668"/>
                  <a:gd name="T181" fmla="*/ 0 h 112"/>
                  <a:gd name="T182" fmla="*/ 668 w 668"/>
                  <a:gd name="T183" fmla="*/ 112 h 112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668" h="112">
                    <a:moveTo>
                      <a:pt x="60" y="28"/>
                    </a:moveTo>
                    <a:lnTo>
                      <a:pt x="60" y="28"/>
                    </a:lnTo>
                    <a:lnTo>
                      <a:pt x="72" y="28"/>
                    </a:lnTo>
                    <a:lnTo>
                      <a:pt x="74" y="28"/>
                    </a:lnTo>
                    <a:lnTo>
                      <a:pt x="76" y="26"/>
                    </a:lnTo>
                    <a:lnTo>
                      <a:pt x="166" y="16"/>
                    </a:lnTo>
                    <a:lnTo>
                      <a:pt x="168" y="16"/>
                    </a:lnTo>
                    <a:lnTo>
                      <a:pt x="178" y="14"/>
                    </a:lnTo>
                    <a:lnTo>
                      <a:pt x="182" y="14"/>
                    </a:lnTo>
                    <a:lnTo>
                      <a:pt x="222" y="12"/>
                    </a:lnTo>
                    <a:lnTo>
                      <a:pt x="230" y="12"/>
                    </a:lnTo>
                    <a:lnTo>
                      <a:pt x="266" y="8"/>
                    </a:lnTo>
                    <a:lnTo>
                      <a:pt x="264" y="8"/>
                    </a:lnTo>
                    <a:lnTo>
                      <a:pt x="270" y="8"/>
                    </a:lnTo>
                    <a:lnTo>
                      <a:pt x="276" y="8"/>
                    </a:lnTo>
                    <a:lnTo>
                      <a:pt x="262" y="8"/>
                    </a:lnTo>
                    <a:lnTo>
                      <a:pt x="260" y="8"/>
                    </a:lnTo>
                    <a:lnTo>
                      <a:pt x="244" y="8"/>
                    </a:lnTo>
                    <a:lnTo>
                      <a:pt x="178" y="14"/>
                    </a:lnTo>
                    <a:lnTo>
                      <a:pt x="114" y="20"/>
                    </a:lnTo>
                    <a:lnTo>
                      <a:pt x="112" y="20"/>
                    </a:lnTo>
                    <a:lnTo>
                      <a:pt x="150" y="14"/>
                    </a:lnTo>
                    <a:lnTo>
                      <a:pt x="192" y="10"/>
                    </a:lnTo>
                    <a:lnTo>
                      <a:pt x="246" y="4"/>
                    </a:lnTo>
                    <a:lnTo>
                      <a:pt x="300" y="0"/>
                    </a:lnTo>
                    <a:lnTo>
                      <a:pt x="330" y="0"/>
                    </a:lnTo>
                    <a:lnTo>
                      <a:pt x="360" y="2"/>
                    </a:lnTo>
                    <a:lnTo>
                      <a:pt x="416" y="8"/>
                    </a:lnTo>
                    <a:lnTo>
                      <a:pt x="456" y="14"/>
                    </a:lnTo>
                    <a:lnTo>
                      <a:pt x="496" y="20"/>
                    </a:lnTo>
                    <a:lnTo>
                      <a:pt x="534" y="28"/>
                    </a:lnTo>
                    <a:lnTo>
                      <a:pt x="572" y="38"/>
                    </a:lnTo>
                    <a:lnTo>
                      <a:pt x="598" y="48"/>
                    </a:lnTo>
                    <a:lnTo>
                      <a:pt x="606" y="52"/>
                    </a:lnTo>
                    <a:lnTo>
                      <a:pt x="610" y="54"/>
                    </a:lnTo>
                    <a:lnTo>
                      <a:pt x="610" y="56"/>
                    </a:lnTo>
                    <a:lnTo>
                      <a:pt x="608" y="56"/>
                    </a:lnTo>
                    <a:lnTo>
                      <a:pt x="598" y="54"/>
                    </a:lnTo>
                    <a:lnTo>
                      <a:pt x="604" y="56"/>
                    </a:lnTo>
                    <a:lnTo>
                      <a:pt x="610" y="58"/>
                    </a:lnTo>
                    <a:lnTo>
                      <a:pt x="626" y="66"/>
                    </a:lnTo>
                    <a:lnTo>
                      <a:pt x="632" y="68"/>
                    </a:lnTo>
                    <a:lnTo>
                      <a:pt x="642" y="76"/>
                    </a:lnTo>
                    <a:lnTo>
                      <a:pt x="652" y="84"/>
                    </a:lnTo>
                    <a:lnTo>
                      <a:pt x="650" y="84"/>
                    </a:lnTo>
                    <a:lnTo>
                      <a:pt x="652" y="84"/>
                    </a:lnTo>
                    <a:lnTo>
                      <a:pt x="658" y="90"/>
                    </a:lnTo>
                    <a:lnTo>
                      <a:pt x="650" y="90"/>
                    </a:lnTo>
                    <a:lnTo>
                      <a:pt x="648" y="90"/>
                    </a:lnTo>
                    <a:lnTo>
                      <a:pt x="650" y="92"/>
                    </a:lnTo>
                    <a:lnTo>
                      <a:pt x="650" y="94"/>
                    </a:lnTo>
                    <a:lnTo>
                      <a:pt x="648" y="94"/>
                    </a:lnTo>
                    <a:lnTo>
                      <a:pt x="646" y="92"/>
                    </a:lnTo>
                    <a:lnTo>
                      <a:pt x="648" y="94"/>
                    </a:lnTo>
                    <a:lnTo>
                      <a:pt x="650" y="96"/>
                    </a:lnTo>
                    <a:lnTo>
                      <a:pt x="658" y="100"/>
                    </a:lnTo>
                    <a:lnTo>
                      <a:pt x="662" y="104"/>
                    </a:lnTo>
                    <a:lnTo>
                      <a:pt x="664" y="106"/>
                    </a:lnTo>
                    <a:lnTo>
                      <a:pt x="664" y="108"/>
                    </a:lnTo>
                    <a:lnTo>
                      <a:pt x="664" y="106"/>
                    </a:lnTo>
                    <a:lnTo>
                      <a:pt x="666" y="110"/>
                    </a:lnTo>
                    <a:lnTo>
                      <a:pt x="668" y="110"/>
                    </a:lnTo>
                    <a:lnTo>
                      <a:pt x="668" y="112"/>
                    </a:lnTo>
                    <a:lnTo>
                      <a:pt x="666" y="110"/>
                    </a:lnTo>
                    <a:lnTo>
                      <a:pt x="662" y="108"/>
                    </a:lnTo>
                    <a:lnTo>
                      <a:pt x="660" y="106"/>
                    </a:lnTo>
                    <a:lnTo>
                      <a:pt x="658" y="106"/>
                    </a:lnTo>
                    <a:lnTo>
                      <a:pt x="658" y="104"/>
                    </a:lnTo>
                    <a:lnTo>
                      <a:pt x="658" y="106"/>
                    </a:lnTo>
                    <a:lnTo>
                      <a:pt x="656" y="104"/>
                    </a:lnTo>
                    <a:lnTo>
                      <a:pt x="658" y="106"/>
                    </a:lnTo>
                    <a:lnTo>
                      <a:pt x="652" y="102"/>
                    </a:lnTo>
                    <a:lnTo>
                      <a:pt x="648" y="100"/>
                    </a:lnTo>
                    <a:lnTo>
                      <a:pt x="640" y="94"/>
                    </a:lnTo>
                    <a:lnTo>
                      <a:pt x="638" y="94"/>
                    </a:lnTo>
                    <a:lnTo>
                      <a:pt x="636" y="92"/>
                    </a:lnTo>
                    <a:lnTo>
                      <a:pt x="634" y="92"/>
                    </a:lnTo>
                    <a:lnTo>
                      <a:pt x="632" y="92"/>
                    </a:lnTo>
                    <a:lnTo>
                      <a:pt x="630" y="90"/>
                    </a:lnTo>
                    <a:lnTo>
                      <a:pt x="620" y="86"/>
                    </a:lnTo>
                    <a:lnTo>
                      <a:pt x="616" y="84"/>
                    </a:lnTo>
                    <a:lnTo>
                      <a:pt x="616" y="86"/>
                    </a:lnTo>
                    <a:lnTo>
                      <a:pt x="634" y="94"/>
                    </a:lnTo>
                    <a:lnTo>
                      <a:pt x="650" y="104"/>
                    </a:lnTo>
                    <a:lnTo>
                      <a:pt x="654" y="106"/>
                    </a:lnTo>
                    <a:lnTo>
                      <a:pt x="652" y="104"/>
                    </a:lnTo>
                    <a:lnTo>
                      <a:pt x="612" y="88"/>
                    </a:lnTo>
                    <a:lnTo>
                      <a:pt x="572" y="72"/>
                    </a:lnTo>
                    <a:lnTo>
                      <a:pt x="552" y="66"/>
                    </a:lnTo>
                    <a:lnTo>
                      <a:pt x="548" y="66"/>
                    </a:lnTo>
                    <a:lnTo>
                      <a:pt x="546" y="64"/>
                    </a:lnTo>
                    <a:lnTo>
                      <a:pt x="550" y="66"/>
                    </a:lnTo>
                    <a:lnTo>
                      <a:pt x="554" y="68"/>
                    </a:lnTo>
                    <a:lnTo>
                      <a:pt x="576" y="76"/>
                    </a:lnTo>
                    <a:lnTo>
                      <a:pt x="598" y="84"/>
                    </a:lnTo>
                    <a:lnTo>
                      <a:pt x="620" y="94"/>
                    </a:lnTo>
                    <a:lnTo>
                      <a:pt x="624" y="96"/>
                    </a:lnTo>
                    <a:lnTo>
                      <a:pt x="620" y="94"/>
                    </a:lnTo>
                    <a:lnTo>
                      <a:pt x="580" y="80"/>
                    </a:lnTo>
                    <a:lnTo>
                      <a:pt x="544" y="66"/>
                    </a:lnTo>
                    <a:lnTo>
                      <a:pt x="530" y="62"/>
                    </a:lnTo>
                    <a:lnTo>
                      <a:pt x="534" y="64"/>
                    </a:lnTo>
                    <a:lnTo>
                      <a:pt x="524" y="62"/>
                    </a:lnTo>
                    <a:lnTo>
                      <a:pt x="526" y="62"/>
                    </a:lnTo>
                    <a:lnTo>
                      <a:pt x="472" y="50"/>
                    </a:lnTo>
                    <a:lnTo>
                      <a:pt x="470" y="50"/>
                    </a:lnTo>
                    <a:lnTo>
                      <a:pt x="446" y="46"/>
                    </a:lnTo>
                    <a:lnTo>
                      <a:pt x="454" y="48"/>
                    </a:lnTo>
                    <a:lnTo>
                      <a:pt x="436" y="44"/>
                    </a:lnTo>
                    <a:lnTo>
                      <a:pt x="408" y="40"/>
                    </a:lnTo>
                    <a:lnTo>
                      <a:pt x="388" y="36"/>
                    </a:lnTo>
                    <a:lnTo>
                      <a:pt x="360" y="32"/>
                    </a:lnTo>
                    <a:lnTo>
                      <a:pt x="334" y="32"/>
                    </a:lnTo>
                    <a:lnTo>
                      <a:pt x="280" y="32"/>
                    </a:lnTo>
                    <a:lnTo>
                      <a:pt x="276" y="32"/>
                    </a:lnTo>
                    <a:lnTo>
                      <a:pt x="280" y="32"/>
                    </a:lnTo>
                    <a:lnTo>
                      <a:pt x="318" y="30"/>
                    </a:lnTo>
                    <a:lnTo>
                      <a:pt x="356" y="30"/>
                    </a:lnTo>
                    <a:lnTo>
                      <a:pt x="324" y="30"/>
                    </a:lnTo>
                    <a:lnTo>
                      <a:pt x="292" y="30"/>
                    </a:lnTo>
                    <a:lnTo>
                      <a:pt x="282" y="30"/>
                    </a:lnTo>
                    <a:lnTo>
                      <a:pt x="274" y="30"/>
                    </a:lnTo>
                    <a:lnTo>
                      <a:pt x="232" y="32"/>
                    </a:lnTo>
                    <a:lnTo>
                      <a:pt x="188" y="34"/>
                    </a:lnTo>
                    <a:lnTo>
                      <a:pt x="116" y="42"/>
                    </a:lnTo>
                    <a:lnTo>
                      <a:pt x="16" y="52"/>
                    </a:lnTo>
                    <a:lnTo>
                      <a:pt x="6" y="52"/>
                    </a:lnTo>
                    <a:lnTo>
                      <a:pt x="14" y="50"/>
                    </a:lnTo>
                    <a:lnTo>
                      <a:pt x="122" y="38"/>
                    </a:lnTo>
                    <a:lnTo>
                      <a:pt x="176" y="34"/>
                    </a:lnTo>
                    <a:lnTo>
                      <a:pt x="232" y="30"/>
                    </a:lnTo>
                    <a:lnTo>
                      <a:pt x="256" y="28"/>
                    </a:lnTo>
                    <a:lnTo>
                      <a:pt x="258" y="28"/>
                    </a:lnTo>
                    <a:lnTo>
                      <a:pt x="230" y="28"/>
                    </a:lnTo>
                    <a:lnTo>
                      <a:pt x="152" y="34"/>
                    </a:lnTo>
                    <a:lnTo>
                      <a:pt x="100" y="38"/>
                    </a:lnTo>
                    <a:lnTo>
                      <a:pt x="34" y="44"/>
                    </a:lnTo>
                    <a:lnTo>
                      <a:pt x="32" y="44"/>
                    </a:lnTo>
                    <a:lnTo>
                      <a:pt x="80" y="38"/>
                    </a:lnTo>
                    <a:lnTo>
                      <a:pt x="76" y="38"/>
                    </a:lnTo>
                    <a:lnTo>
                      <a:pt x="80" y="36"/>
                    </a:lnTo>
                    <a:lnTo>
                      <a:pt x="70" y="38"/>
                    </a:lnTo>
                    <a:lnTo>
                      <a:pt x="66" y="38"/>
                    </a:lnTo>
                    <a:lnTo>
                      <a:pt x="70" y="36"/>
                    </a:lnTo>
                    <a:lnTo>
                      <a:pt x="112" y="32"/>
                    </a:lnTo>
                    <a:lnTo>
                      <a:pt x="166" y="28"/>
                    </a:lnTo>
                    <a:lnTo>
                      <a:pt x="160" y="28"/>
                    </a:lnTo>
                    <a:lnTo>
                      <a:pt x="152" y="28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2" y="42"/>
                    </a:lnTo>
                    <a:lnTo>
                      <a:pt x="48" y="38"/>
                    </a:lnTo>
                    <a:lnTo>
                      <a:pt x="50" y="38"/>
                    </a:lnTo>
                    <a:lnTo>
                      <a:pt x="134" y="30"/>
                    </a:lnTo>
                    <a:lnTo>
                      <a:pt x="56" y="36"/>
                    </a:lnTo>
                    <a:lnTo>
                      <a:pt x="48" y="38"/>
                    </a:lnTo>
                    <a:lnTo>
                      <a:pt x="46" y="38"/>
                    </a:lnTo>
                    <a:lnTo>
                      <a:pt x="50" y="36"/>
                    </a:lnTo>
                    <a:lnTo>
                      <a:pt x="40" y="36"/>
                    </a:lnTo>
                    <a:lnTo>
                      <a:pt x="50" y="34"/>
                    </a:lnTo>
                    <a:lnTo>
                      <a:pt x="90" y="30"/>
                    </a:lnTo>
                    <a:lnTo>
                      <a:pt x="96" y="30"/>
                    </a:lnTo>
                    <a:lnTo>
                      <a:pt x="100" y="30"/>
                    </a:lnTo>
                    <a:lnTo>
                      <a:pt x="36" y="34"/>
                    </a:lnTo>
                    <a:lnTo>
                      <a:pt x="34" y="34"/>
                    </a:lnTo>
                    <a:lnTo>
                      <a:pt x="36" y="34"/>
                    </a:lnTo>
                    <a:lnTo>
                      <a:pt x="148" y="22"/>
                    </a:lnTo>
                    <a:lnTo>
                      <a:pt x="184" y="18"/>
                    </a:lnTo>
                    <a:lnTo>
                      <a:pt x="180" y="18"/>
                    </a:lnTo>
                    <a:lnTo>
                      <a:pt x="122" y="24"/>
                    </a:lnTo>
                    <a:lnTo>
                      <a:pt x="66" y="30"/>
                    </a:lnTo>
                    <a:lnTo>
                      <a:pt x="64" y="30"/>
                    </a:lnTo>
                    <a:lnTo>
                      <a:pt x="120" y="24"/>
                    </a:lnTo>
                    <a:lnTo>
                      <a:pt x="166" y="18"/>
                    </a:lnTo>
                    <a:lnTo>
                      <a:pt x="78" y="26"/>
                    </a:lnTo>
                    <a:lnTo>
                      <a:pt x="74" y="28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60" y="2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</p:grp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Replace This Text</a:t>
            </a:r>
            <a:endParaRPr lang="en-US" dirty="0"/>
          </a:p>
        </p:txBody>
      </p:sp>
      <p:sp>
        <p:nvSpPr>
          <p:cNvPr id="102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B471349-563C-4946-85D1-7EAD1F20B8B5}" type="slidenum">
              <a:rPr lang="en-US" smtClean="0"/>
              <a:pPr>
                <a:defRPr/>
              </a:pPr>
              <a:t>4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ND MAP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27401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506" name="Group 10"/>
          <p:cNvGrpSpPr>
            <a:grpSpLocks/>
          </p:cNvGrpSpPr>
          <p:nvPr/>
        </p:nvGrpSpPr>
        <p:grpSpPr bwMode="auto">
          <a:xfrm>
            <a:off x="0" y="-11113"/>
            <a:ext cx="9144000" cy="5948363"/>
            <a:chOff x="0" y="0"/>
            <a:chExt cx="5760" cy="3747"/>
          </a:xfrm>
        </p:grpSpPr>
        <p:sp>
          <p:nvSpPr>
            <p:cNvPr id="21550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21551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21552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21553" name="Rectangle 5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</p:grpSp>
      <p:sp>
        <p:nvSpPr>
          <p:cNvPr id="21507" name="Text Box 19"/>
          <p:cNvSpPr txBox="1">
            <a:spLocks noChangeArrowheads="1"/>
          </p:cNvSpPr>
          <p:nvPr/>
        </p:nvSpPr>
        <p:spPr bwMode="gray">
          <a:xfrm>
            <a:off x="1308100" y="1558925"/>
            <a:ext cx="2303463" cy="427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s-AR" sz="2800" noProof="1">
                <a:solidFill>
                  <a:schemeClr val="bg1"/>
                </a:solidFill>
              </a:rPr>
              <a:t>Option A</a:t>
            </a:r>
          </a:p>
        </p:txBody>
      </p:sp>
      <p:sp>
        <p:nvSpPr>
          <p:cNvPr id="21508" name="Text Box 19"/>
          <p:cNvSpPr txBox="1">
            <a:spLocks noChangeArrowheads="1"/>
          </p:cNvSpPr>
          <p:nvPr/>
        </p:nvSpPr>
        <p:spPr bwMode="gray">
          <a:xfrm>
            <a:off x="5570538" y="1630363"/>
            <a:ext cx="2303462" cy="42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s-AR" sz="2800" noProof="1">
                <a:solidFill>
                  <a:schemeClr val="bg1"/>
                </a:solidFill>
              </a:rPr>
              <a:t>Option B</a:t>
            </a:r>
          </a:p>
        </p:txBody>
      </p:sp>
      <p:sp>
        <p:nvSpPr>
          <p:cNvPr id="21509" name="Text Box 19"/>
          <p:cNvSpPr txBox="1">
            <a:spLocks noChangeArrowheads="1"/>
          </p:cNvSpPr>
          <p:nvPr/>
        </p:nvSpPr>
        <p:spPr bwMode="gray">
          <a:xfrm>
            <a:off x="2908300" y="2119313"/>
            <a:ext cx="941388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s-AR" sz="1600" noProof="1">
                <a:solidFill>
                  <a:schemeClr val="bg1"/>
                </a:solidFill>
              </a:rPr>
              <a:t>percelved</a:t>
            </a:r>
            <a:br>
              <a:rPr lang="es-AR" sz="1600" noProof="1">
                <a:solidFill>
                  <a:schemeClr val="bg1"/>
                </a:solidFill>
              </a:rPr>
            </a:br>
            <a:r>
              <a:rPr lang="es-AR" sz="1600" noProof="1">
                <a:solidFill>
                  <a:schemeClr val="bg1"/>
                </a:solidFill>
              </a:rPr>
              <a:t>content </a:t>
            </a:r>
          </a:p>
        </p:txBody>
      </p:sp>
      <p:sp>
        <p:nvSpPr>
          <p:cNvPr id="21510" name="Text Box 19"/>
          <p:cNvSpPr txBox="1">
            <a:spLocks noChangeArrowheads="1"/>
          </p:cNvSpPr>
          <p:nvPr/>
        </p:nvSpPr>
        <p:spPr bwMode="gray">
          <a:xfrm>
            <a:off x="5368925" y="2190750"/>
            <a:ext cx="792163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s-AR" sz="1600" noProof="1">
                <a:solidFill>
                  <a:schemeClr val="bg1"/>
                </a:solidFill>
              </a:rPr>
              <a:t>actual </a:t>
            </a:r>
            <a:br>
              <a:rPr lang="es-AR" sz="1600" noProof="1">
                <a:solidFill>
                  <a:schemeClr val="bg1"/>
                </a:solidFill>
              </a:rPr>
            </a:br>
            <a:r>
              <a:rPr lang="es-AR" sz="1600" noProof="1">
                <a:solidFill>
                  <a:schemeClr val="bg1"/>
                </a:solidFill>
              </a:rPr>
              <a:t>content </a:t>
            </a:r>
          </a:p>
        </p:txBody>
      </p:sp>
      <p:sp>
        <p:nvSpPr>
          <p:cNvPr id="21511" name="Text Box 19"/>
          <p:cNvSpPr txBox="1">
            <a:spLocks noChangeArrowheads="1"/>
          </p:cNvSpPr>
          <p:nvPr/>
        </p:nvSpPr>
        <p:spPr bwMode="gray">
          <a:xfrm>
            <a:off x="7281863" y="2190750"/>
            <a:ext cx="941387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s-AR" sz="1600" noProof="1">
                <a:solidFill>
                  <a:schemeClr val="bg1"/>
                </a:solidFill>
              </a:rPr>
              <a:t>percelved</a:t>
            </a:r>
            <a:br>
              <a:rPr lang="es-AR" sz="1600" noProof="1">
                <a:solidFill>
                  <a:schemeClr val="bg1"/>
                </a:solidFill>
              </a:rPr>
            </a:br>
            <a:r>
              <a:rPr lang="es-AR" sz="1600" noProof="1">
                <a:solidFill>
                  <a:schemeClr val="bg1"/>
                </a:solidFill>
              </a:rPr>
              <a:t>content </a:t>
            </a:r>
          </a:p>
        </p:txBody>
      </p:sp>
      <p:grpSp>
        <p:nvGrpSpPr>
          <p:cNvPr id="21512" name="Group 12"/>
          <p:cNvGrpSpPr>
            <a:grpSpLocks/>
          </p:cNvGrpSpPr>
          <p:nvPr/>
        </p:nvGrpSpPr>
        <p:grpSpPr bwMode="auto">
          <a:xfrm>
            <a:off x="711200" y="2828925"/>
            <a:ext cx="1512888" cy="2503488"/>
            <a:chOff x="1666" y="2206"/>
            <a:chExt cx="938" cy="1552"/>
          </a:xfrm>
        </p:grpSpPr>
        <p:grpSp>
          <p:nvGrpSpPr>
            <p:cNvPr id="21543" name="Group 232"/>
            <p:cNvGrpSpPr>
              <a:grpSpLocks/>
            </p:cNvGrpSpPr>
            <p:nvPr/>
          </p:nvGrpSpPr>
          <p:grpSpPr bwMode="auto">
            <a:xfrm>
              <a:off x="1666" y="2206"/>
              <a:ext cx="938" cy="1078"/>
              <a:chOff x="2699" y="1389"/>
              <a:chExt cx="891" cy="1024"/>
            </a:xfrm>
          </p:grpSpPr>
          <p:sp>
            <p:nvSpPr>
              <p:cNvPr id="21545" name="Oval 233"/>
              <p:cNvSpPr>
                <a:spLocks noChangeArrowheads="1"/>
              </p:cNvSpPr>
              <p:nvPr/>
            </p:nvSpPr>
            <p:spPr bwMode="gray">
              <a:xfrm>
                <a:off x="2699" y="1389"/>
                <a:ext cx="891" cy="111"/>
              </a:xfrm>
              <a:prstGeom prst="ellipse">
                <a:avLst/>
              </a:prstGeom>
              <a:gradFill rotWithShape="1">
                <a:gsLst>
                  <a:gs pos="0">
                    <a:srgbClr val="C0C0C0"/>
                  </a:gs>
                  <a:gs pos="50000">
                    <a:srgbClr val="EEEEEE"/>
                  </a:gs>
                  <a:gs pos="100000">
                    <a:srgbClr val="C0C0C0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sp>
            <p:nvSpPr>
              <p:cNvPr id="21546" name="Freeform 234"/>
              <p:cNvSpPr>
                <a:spLocks/>
              </p:cNvSpPr>
              <p:nvPr/>
            </p:nvSpPr>
            <p:spPr bwMode="gray">
              <a:xfrm>
                <a:off x="2813" y="1870"/>
                <a:ext cx="664" cy="447"/>
              </a:xfrm>
              <a:custGeom>
                <a:avLst/>
                <a:gdLst>
                  <a:gd name="T0" fmla="*/ 512 w 636"/>
                  <a:gd name="T1" fmla="*/ 64 h 427"/>
                  <a:gd name="T2" fmla="*/ 0 w 636"/>
                  <a:gd name="T3" fmla="*/ 0 h 427"/>
                  <a:gd name="T4" fmla="*/ 58 w 636"/>
                  <a:gd name="T5" fmla="*/ 224 h 427"/>
                  <a:gd name="T6" fmla="*/ 60 w 636"/>
                  <a:gd name="T7" fmla="*/ 226 h 427"/>
                  <a:gd name="T8" fmla="*/ 172 w 636"/>
                  <a:gd name="T9" fmla="*/ 666 h 427"/>
                  <a:gd name="T10" fmla="*/ 512 w 636"/>
                  <a:gd name="T11" fmla="*/ 707 h 427"/>
                  <a:gd name="T12" fmla="*/ 847 w 636"/>
                  <a:gd name="T13" fmla="*/ 666 h 427"/>
                  <a:gd name="T14" fmla="*/ 847 w 636"/>
                  <a:gd name="T15" fmla="*/ 666 h 427"/>
                  <a:gd name="T16" fmla="*/ 847 w 636"/>
                  <a:gd name="T17" fmla="*/ 666 h 427"/>
                  <a:gd name="T18" fmla="*/ 963 w 636"/>
                  <a:gd name="T19" fmla="*/ 226 h 427"/>
                  <a:gd name="T20" fmla="*/ 963 w 636"/>
                  <a:gd name="T21" fmla="*/ 224 h 427"/>
                  <a:gd name="T22" fmla="*/ 1022 w 636"/>
                  <a:gd name="T23" fmla="*/ 0 h 427"/>
                  <a:gd name="T24" fmla="*/ 512 w 636"/>
                  <a:gd name="T25" fmla="*/ 64 h 42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36"/>
                  <a:gd name="T40" fmla="*/ 0 h 427"/>
                  <a:gd name="T41" fmla="*/ 636 w 636"/>
                  <a:gd name="T42" fmla="*/ 427 h 42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36" h="427">
                    <a:moveTo>
                      <a:pt x="318" y="39"/>
                    </a:moveTo>
                    <a:cubicBezTo>
                      <a:pt x="149" y="39"/>
                      <a:pt x="10" y="21"/>
                      <a:pt x="0" y="0"/>
                    </a:cubicBezTo>
                    <a:cubicBezTo>
                      <a:pt x="36" y="135"/>
                      <a:pt x="36" y="135"/>
                      <a:pt x="36" y="135"/>
                    </a:cubicBezTo>
                    <a:cubicBezTo>
                      <a:pt x="37" y="137"/>
                      <a:pt x="37" y="137"/>
                      <a:pt x="37" y="137"/>
                    </a:cubicBezTo>
                    <a:cubicBezTo>
                      <a:pt x="107" y="401"/>
                      <a:pt x="107" y="401"/>
                      <a:pt x="107" y="401"/>
                    </a:cubicBezTo>
                    <a:cubicBezTo>
                      <a:pt x="107" y="415"/>
                      <a:pt x="202" y="427"/>
                      <a:pt x="318" y="427"/>
                    </a:cubicBezTo>
                    <a:cubicBezTo>
                      <a:pt x="434" y="427"/>
                      <a:pt x="527" y="415"/>
                      <a:pt x="528" y="401"/>
                    </a:cubicBezTo>
                    <a:cubicBezTo>
                      <a:pt x="528" y="401"/>
                      <a:pt x="528" y="401"/>
                      <a:pt x="528" y="401"/>
                    </a:cubicBezTo>
                    <a:cubicBezTo>
                      <a:pt x="528" y="401"/>
                      <a:pt x="528" y="401"/>
                      <a:pt x="528" y="401"/>
                    </a:cubicBezTo>
                    <a:cubicBezTo>
                      <a:pt x="599" y="137"/>
                      <a:pt x="599" y="137"/>
                      <a:pt x="599" y="137"/>
                    </a:cubicBezTo>
                    <a:cubicBezTo>
                      <a:pt x="599" y="135"/>
                      <a:pt x="599" y="135"/>
                      <a:pt x="599" y="135"/>
                    </a:cubicBezTo>
                    <a:cubicBezTo>
                      <a:pt x="636" y="0"/>
                      <a:pt x="636" y="0"/>
                      <a:pt x="636" y="0"/>
                    </a:cubicBezTo>
                    <a:cubicBezTo>
                      <a:pt x="625" y="21"/>
                      <a:pt x="487" y="39"/>
                      <a:pt x="318" y="3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s-AR"/>
              </a:p>
            </p:txBody>
          </p:sp>
          <p:sp>
            <p:nvSpPr>
              <p:cNvPr id="21547" name="Freeform 235"/>
              <p:cNvSpPr>
                <a:spLocks/>
              </p:cNvSpPr>
              <p:nvPr/>
            </p:nvSpPr>
            <p:spPr bwMode="gray">
              <a:xfrm>
                <a:off x="2700" y="1447"/>
                <a:ext cx="890" cy="464"/>
              </a:xfrm>
              <a:custGeom>
                <a:avLst/>
                <a:gdLst>
                  <a:gd name="T0" fmla="*/ 690 w 852"/>
                  <a:gd name="T1" fmla="*/ 83 h 443"/>
                  <a:gd name="T2" fmla="*/ 0 w 852"/>
                  <a:gd name="T3" fmla="*/ 0 h 443"/>
                  <a:gd name="T4" fmla="*/ 116 w 852"/>
                  <a:gd name="T5" fmla="*/ 447 h 443"/>
                  <a:gd name="T6" fmla="*/ 118 w 852"/>
                  <a:gd name="T7" fmla="*/ 450 h 443"/>
                  <a:gd name="T8" fmla="*/ 172 w 852"/>
                  <a:gd name="T9" fmla="*/ 668 h 443"/>
                  <a:gd name="T10" fmla="*/ 174 w 852"/>
                  <a:gd name="T11" fmla="*/ 671 h 443"/>
                  <a:gd name="T12" fmla="*/ 690 w 852"/>
                  <a:gd name="T13" fmla="*/ 736 h 443"/>
                  <a:gd name="T14" fmla="*/ 1202 w 852"/>
                  <a:gd name="T15" fmla="*/ 671 h 443"/>
                  <a:gd name="T16" fmla="*/ 1202 w 852"/>
                  <a:gd name="T17" fmla="*/ 668 h 443"/>
                  <a:gd name="T18" fmla="*/ 1258 w 852"/>
                  <a:gd name="T19" fmla="*/ 450 h 443"/>
                  <a:gd name="T20" fmla="*/ 1258 w 852"/>
                  <a:gd name="T21" fmla="*/ 447 h 443"/>
                  <a:gd name="T22" fmla="*/ 1376 w 852"/>
                  <a:gd name="T23" fmla="*/ 0 h 443"/>
                  <a:gd name="T24" fmla="*/ 690 w 852"/>
                  <a:gd name="T25" fmla="*/ 83 h 4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52"/>
                  <a:gd name="T40" fmla="*/ 0 h 443"/>
                  <a:gd name="T41" fmla="*/ 852 w 852"/>
                  <a:gd name="T42" fmla="*/ 443 h 44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52" h="443">
                    <a:moveTo>
                      <a:pt x="426" y="50"/>
                    </a:moveTo>
                    <a:cubicBezTo>
                      <a:pt x="199" y="50"/>
                      <a:pt x="14" y="28"/>
                      <a:pt x="0" y="0"/>
                    </a:cubicBezTo>
                    <a:cubicBezTo>
                      <a:pt x="72" y="269"/>
                      <a:pt x="72" y="269"/>
                      <a:pt x="72" y="269"/>
                    </a:cubicBezTo>
                    <a:cubicBezTo>
                      <a:pt x="73" y="271"/>
                      <a:pt x="73" y="271"/>
                      <a:pt x="73" y="271"/>
                    </a:cubicBezTo>
                    <a:cubicBezTo>
                      <a:pt x="107" y="401"/>
                      <a:pt x="107" y="401"/>
                      <a:pt x="107" y="401"/>
                    </a:cubicBezTo>
                    <a:cubicBezTo>
                      <a:pt x="108" y="404"/>
                      <a:pt x="108" y="404"/>
                      <a:pt x="108" y="404"/>
                    </a:cubicBezTo>
                    <a:cubicBezTo>
                      <a:pt x="118" y="425"/>
                      <a:pt x="257" y="443"/>
                      <a:pt x="426" y="443"/>
                    </a:cubicBezTo>
                    <a:cubicBezTo>
                      <a:pt x="595" y="443"/>
                      <a:pt x="733" y="425"/>
                      <a:pt x="744" y="404"/>
                    </a:cubicBezTo>
                    <a:cubicBezTo>
                      <a:pt x="744" y="401"/>
                      <a:pt x="744" y="401"/>
                      <a:pt x="744" y="401"/>
                    </a:cubicBezTo>
                    <a:cubicBezTo>
                      <a:pt x="779" y="271"/>
                      <a:pt x="779" y="271"/>
                      <a:pt x="779" y="271"/>
                    </a:cubicBezTo>
                    <a:cubicBezTo>
                      <a:pt x="779" y="269"/>
                      <a:pt x="779" y="269"/>
                      <a:pt x="779" y="269"/>
                    </a:cubicBezTo>
                    <a:cubicBezTo>
                      <a:pt x="852" y="0"/>
                      <a:pt x="852" y="0"/>
                      <a:pt x="852" y="0"/>
                    </a:cubicBezTo>
                    <a:cubicBezTo>
                      <a:pt x="837" y="28"/>
                      <a:pt x="652" y="50"/>
                      <a:pt x="426" y="5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C0C0C0"/>
                  </a:gs>
                  <a:gs pos="50000">
                    <a:srgbClr val="EEEEEE"/>
                  </a:gs>
                  <a:gs pos="100000">
                    <a:srgbClr val="C0C0C0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s-AR"/>
              </a:p>
            </p:txBody>
          </p:sp>
          <p:sp>
            <p:nvSpPr>
              <p:cNvPr id="21548" name="Freeform 236"/>
              <p:cNvSpPr>
                <a:spLocks/>
              </p:cNvSpPr>
              <p:nvPr/>
            </p:nvSpPr>
            <p:spPr bwMode="gray">
              <a:xfrm>
                <a:off x="2812" y="1826"/>
                <a:ext cx="665" cy="88"/>
              </a:xfrm>
              <a:custGeom>
                <a:avLst/>
                <a:gdLst>
                  <a:gd name="T0" fmla="*/ 513 w 637"/>
                  <a:gd name="T1" fmla="*/ 0 h 84"/>
                  <a:gd name="T2" fmla="*/ 0 w 637"/>
                  <a:gd name="T3" fmla="*/ 69 h 84"/>
                  <a:gd name="T4" fmla="*/ 1 w 637"/>
                  <a:gd name="T5" fmla="*/ 74 h 84"/>
                  <a:gd name="T6" fmla="*/ 513 w 637"/>
                  <a:gd name="T7" fmla="*/ 140 h 84"/>
                  <a:gd name="T8" fmla="*/ 1023 w 637"/>
                  <a:gd name="T9" fmla="*/ 74 h 84"/>
                  <a:gd name="T10" fmla="*/ 1023 w 637"/>
                  <a:gd name="T11" fmla="*/ 69 h 84"/>
                  <a:gd name="T12" fmla="*/ 513 w 637"/>
                  <a:gd name="T13" fmla="*/ 0 h 8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37"/>
                  <a:gd name="T22" fmla="*/ 0 h 84"/>
                  <a:gd name="T23" fmla="*/ 637 w 637"/>
                  <a:gd name="T24" fmla="*/ 84 h 8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37" h="84">
                    <a:moveTo>
                      <a:pt x="319" y="0"/>
                    </a:moveTo>
                    <a:cubicBezTo>
                      <a:pt x="143" y="0"/>
                      <a:pt x="0" y="19"/>
                      <a:pt x="0" y="42"/>
                    </a:cubicBezTo>
                    <a:cubicBezTo>
                      <a:pt x="1" y="45"/>
                      <a:pt x="1" y="45"/>
                      <a:pt x="1" y="45"/>
                    </a:cubicBezTo>
                    <a:cubicBezTo>
                      <a:pt x="11" y="66"/>
                      <a:pt x="150" y="84"/>
                      <a:pt x="319" y="84"/>
                    </a:cubicBezTo>
                    <a:cubicBezTo>
                      <a:pt x="488" y="84"/>
                      <a:pt x="626" y="66"/>
                      <a:pt x="637" y="45"/>
                    </a:cubicBezTo>
                    <a:cubicBezTo>
                      <a:pt x="637" y="42"/>
                      <a:pt x="637" y="42"/>
                      <a:pt x="637" y="42"/>
                    </a:cubicBezTo>
                    <a:cubicBezTo>
                      <a:pt x="637" y="19"/>
                      <a:pt x="495" y="0"/>
                      <a:pt x="319" y="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004074"/>
                  </a:gs>
                  <a:gs pos="50000">
                    <a:srgbClr val="69A2E1"/>
                  </a:gs>
                  <a:gs pos="100000">
                    <a:srgbClr val="004074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s-AR"/>
              </a:p>
            </p:txBody>
          </p:sp>
          <p:pic>
            <p:nvPicPr>
              <p:cNvPr id="21549" name="Picture 237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2729" y="1468"/>
                <a:ext cx="297" cy="9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21544" name="Picture 258" descr="Bild1 Kopie"/>
            <p:cNvPicPr>
              <a:picLocks noChangeAspect="1" noChangeArrowheads="1"/>
            </p:cNvPicPr>
            <p:nvPr/>
          </p:nvPicPr>
          <p:blipFill>
            <a:blip r:embed="rId3">
              <a:lum brigh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757" y="3163"/>
              <a:ext cx="752" cy="5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1513" name="Group 20"/>
          <p:cNvGrpSpPr>
            <a:grpSpLocks/>
          </p:cNvGrpSpPr>
          <p:nvPr/>
        </p:nvGrpSpPr>
        <p:grpSpPr bwMode="auto">
          <a:xfrm>
            <a:off x="6988175" y="2828925"/>
            <a:ext cx="1512888" cy="2495550"/>
            <a:chOff x="3168" y="2206"/>
            <a:chExt cx="938" cy="1547"/>
          </a:xfrm>
        </p:grpSpPr>
        <p:grpSp>
          <p:nvGrpSpPr>
            <p:cNvPr id="21536" name="Group 238"/>
            <p:cNvGrpSpPr>
              <a:grpSpLocks/>
            </p:cNvGrpSpPr>
            <p:nvPr/>
          </p:nvGrpSpPr>
          <p:grpSpPr bwMode="auto">
            <a:xfrm>
              <a:off x="3168" y="2206"/>
              <a:ext cx="938" cy="1078"/>
              <a:chOff x="2699" y="1389"/>
              <a:chExt cx="891" cy="1024"/>
            </a:xfrm>
          </p:grpSpPr>
          <p:sp>
            <p:nvSpPr>
              <p:cNvPr id="21538" name="Oval 239"/>
              <p:cNvSpPr>
                <a:spLocks noChangeArrowheads="1"/>
              </p:cNvSpPr>
              <p:nvPr/>
            </p:nvSpPr>
            <p:spPr bwMode="gray">
              <a:xfrm>
                <a:off x="2699" y="1389"/>
                <a:ext cx="891" cy="111"/>
              </a:xfrm>
              <a:prstGeom prst="ellipse">
                <a:avLst/>
              </a:prstGeom>
              <a:gradFill rotWithShape="1">
                <a:gsLst>
                  <a:gs pos="0">
                    <a:srgbClr val="C0C0C0"/>
                  </a:gs>
                  <a:gs pos="50000">
                    <a:srgbClr val="EEEEEE"/>
                  </a:gs>
                  <a:gs pos="100000">
                    <a:srgbClr val="C0C0C0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sp>
            <p:nvSpPr>
              <p:cNvPr id="21539" name="Freeform 240"/>
              <p:cNvSpPr>
                <a:spLocks/>
              </p:cNvSpPr>
              <p:nvPr/>
            </p:nvSpPr>
            <p:spPr bwMode="gray">
              <a:xfrm>
                <a:off x="2813" y="1870"/>
                <a:ext cx="664" cy="447"/>
              </a:xfrm>
              <a:custGeom>
                <a:avLst/>
                <a:gdLst>
                  <a:gd name="T0" fmla="*/ 512 w 636"/>
                  <a:gd name="T1" fmla="*/ 64 h 427"/>
                  <a:gd name="T2" fmla="*/ 0 w 636"/>
                  <a:gd name="T3" fmla="*/ 0 h 427"/>
                  <a:gd name="T4" fmla="*/ 58 w 636"/>
                  <a:gd name="T5" fmla="*/ 224 h 427"/>
                  <a:gd name="T6" fmla="*/ 60 w 636"/>
                  <a:gd name="T7" fmla="*/ 226 h 427"/>
                  <a:gd name="T8" fmla="*/ 172 w 636"/>
                  <a:gd name="T9" fmla="*/ 666 h 427"/>
                  <a:gd name="T10" fmla="*/ 512 w 636"/>
                  <a:gd name="T11" fmla="*/ 707 h 427"/>
                  <a:gd name="T12" fmla="*/ 847 w 636"/>
                  <a:gd name="T13" fmla="*/ 666 h 427"/>
                  <a:gd name="T14" fmla="*/ 847 w 636"/>
                  <a:gd name="T15" fmla="*/ 666 h 427"/>
                  <a:gd name="T16" fmla="*/ 847 w 636"/>
                  <a:gd name="T17" fmla="*/ 666 h 427"/>
                  <a:gd name="T18" fmla="*/ 963 w 636"/>
                  <a:gd name="T19" fmla="*/ 226 h 427"/>
                  <a:gd name="T20" fmla="*/ 963 w 636"/>
                  <a:gd name="T21" fmla="*/ 224 h 427"/>
                  <a:gd name="T22" fmla="*/ 1022 w 636"/>
                  <a:gd name="T23" fmla="*/ 0 h 427"/>
                  <a:gd name="T24" fmla="*/ 512 w 636"/>
                  <a:gd name="T25" fmla="*/ 64 h 42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36"/>
                  <a:gd name="T40" fmla="*/ 0 h 427"/>
                  <a:gd name="T41" fmla="*/ 636 w 636"/>
                  <a:gd name="T42" fmla="*/ 427 h 42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36" h="427">
                    <a:moveTo>
                      <a:pt x="318" y="39"/>
                    </a:moveTo>
                    <a:cubicBezTo>
                      <a:pt x="149" y="39"/>
                      <a:pt x="10" y="21"/>
                      <a:pt x="0" y="0"/>
                    </a:cubicBezTo>
                    <a:cubicBezTo>
                      <a:pt x="36" y="135"/>
                      <a:pt x="36" y="135"/>
                      <a:pt x="36" y="135"/>
                    </a:cubicBezTo>
                    <a:cubicBezTo>
                      <a:pt x="37" y="137"/>
                      <a:pt x="37" y="137"/>
                      <a:pt x="37" y="137"/>
                    </a:cubicBezTo>
                    <a:cubicBezTo>
                      <a:pt x="107" y="401"/>
                      <a:pt x="107" y="401"/>
                      <a:pt x="107" y="401"/>
                    </a:cubicBezTo>
                    <a:cubicBezTo>
                      <a:pt x="107" y="415"/>
                      <a:pt x="202" y="427"/>
                      <a:pt x="318" y="427"/>
                    </a:cubicBezTo>
                    <a:cubicBezTo>
                      <a:pt x="434" y="427"/>
                      <a:pt x="527" y="415"/>
                      <a:pt x="528" y="401"/>
                    </a:cubicBezTo>
                    <a:cubicBezTo>
                      <a:pt x="528" y="401"/>
                      <a:pt x="528" y="401"/>
                      <a:pt x="528" y="401"/>
                    </a:cubicBezTo>
                    <a:cubicBezTo>
                      <a:pt x="528" y="401"/>
                      <a:pt x="528" y="401"/>
                      <a:pt x="528" y="401"/>
                    </a:cubicBezTo>
                    <a:cubicBezTo>
                      <a:pt x="599" y="137"/>
                      <a:pt x="599" y="137"/>
                      <a:pt x="599" y="137"/>
                    </a:cubicBezTo>
                    <a:cubicBezTo>
                      <a:pt x="599" y="135"/>
                      <a:pt x="599" y="135"/>
                      <a:pt x="599" y="135"/>
                    </a:cubicBezTo>
                    <a:cubicBezTo>
                      <a:pt x="636" y="0"/>
                      <a:pt x="636" y="0"/>
                      <a:pt x="636" y="0"/>
                    </a:cubicBezTo>
                    <a:cubicBezTo>
                      <a:pt x="625" y="21"/>
                      <a:pt x="487" y="39"/>
                      <a:pt x="318" y="3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s-AR"/>
              </a:p>
            </p:txBody>
          </p:sp>
          <p:sp>
            <p:nvSpPr>
              <p:cNvPr id="21540" name="Freeform 241"/>
              <p:cNvSpPr>
                <a:spLocks/>
              </p:cNvSpPr>
              <p:nvPr/>
            </p:nvSpPr>
            <p:spPr bwMode="gray">
              <a:xfrm>
                <a:off x="2700" y="1447"/>
                <a:ext cx="890" cy="464"/>
              </a:xfrm>
              <a:custGeom>
                <a:avLst/>
                <a:gdLst>
                  <a:gd name="T0" fmla="*/ 690 w 852"/>
                  <a:gd name="T1" fmla="*/ 83 h 443"/>
                  <a:gd name="T2" fmla="*/ 0 w 852"/>
                  <a:gd name="T3" fmla="*/ 0 h 443"/>
                  <a:gd name="T4" fmla="*/ 116 w 852"/>
                  <a:gd name="T5" fmla="*/ 447 h 443"/>
                  <a:gd name="T6" fmla="*/ 118 w 852"/>
                  <a:gd name="T7" fmla="*/ 450 h 443"/>
                  <a:gd name="T8" fmla="*/ 172 w 852"/>
                  <a:gd name="T9" fmla="*/ 668 h 443"/>
                  <a:gd name="T10" fmla="*/ 174 w 852"/>
                  <a:gd name="T11" fmla="*/ 671 h 443"/>
                  <a:gd name="T12" fmla="*/ 690 w 852"/>
                  <a:gd name="T13" fmla="*/ 736 h 443"/>
                  <a:gd name="T14" fmla="*/ 1202 w 852"/>
                  <a:gd name="T15" fmla="*/ 671 h 443"/>
                  <a:gd name="T16" fmla="*/ 1202 w 852"/>
                  <a:gd name="T17" fmla="*/ 668 h 443"/>
                  <a:gd name="T18" fmla="*/ 1258 w 852"/>
                  <a:gd name="T19" fmla="*/ 450 h 443"/>
                  <a:gd name="T20" fmla="*/ 1258 w 852"/>
                  <a:gd name="T21" fmla="*/ 447 h 443"/>
                  <a:gd name="T22" fmla="*/ 1376 w 852"/>
                  <a:gd name="T23" fmla="*/ 0 h 443"/>
                  <a:gd name="T24" fmla="*/ 690 w 852"/>
                  <a:gd name="T25" fmla="*/ 83 h 4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52"/>
                  <a:gd name="T40" fmla="*/ 0 h 443"/>
                  <a:gd name="T41" fmla="*/ 852 w 852"/>
                  <a:gd name="T42" fmla="*/ 443 h 44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52" h="443">
                    <a:moveTo>
                      <a:pt x="426" y="50"/>
                    </a:moveTo>
                    <a:cubicBezTo>
                      <a:pt x="199" y="50"/>
                      <a:pt x="14" y="28"/>
                      <a:pt x="0" y="0"/>
                    </a:cubicBezTo>
                    <a:cubicBezTo>
                      <a:pt x="72" y="269"/>
                      <a:pt x="72" y="269"/>
                      <a:pt x="72" y="269"/>
                    </a:cubicBezTo>
                    <a:cubicBezTo>
                      <a:pt x="73" y="271"/>
                      <a:pt x="73" y="271"/>
                      <a:pt x="73" y="271"/>
                    </a:cubicBezTo>
                    <a:cubicBezTo>
                      <a:pt x="107" y="401"/>
                      <a:pt x="107" y="401"/>
                      <a:pt x="107" y="401"/>
                    </a:cubicBezTo>
                    <a:cubicBezTo>
                      <a:pt x="108" y="404"/>
                      <a:pt x="108" y="404"/>
                      <a:pt x="108" y="404"/>
                    </a:cubicBezTo>
                    <a:cubicBezTo>
                      <a:pt x="118" y="425"/>
                      <a:pt x="257" y="443"/>
                      <a:pt x="426" y="443"/>
                    </a:cubicBezTo>
                    <a:cubicBezTo>
                      <a:pt x="595" y="443"/>
                      <a:pt x="733" y="425"/>
                      <a:pt x="744" y="404"/>
                    </a:cubicBezTo>
                    <a:cubicBezTo>
                      <a:pt x="744" y="401"/>
                      <a:pt x="744" y="401"/>
                      <a:pt x="744" y="401"/>
                    </a:cubicBezTo>
                    <a:cubicBezTo>
                      <a:pt x="779" y="271"/>
                      <a:pt x="779" y="271"/>
                      <a:pt x="779" y="271"/>
                    </a:cubicBezTo>
                    <a:cubicBezTo>
                      <a:pt x="779" y="269"/>
                      <a:pt x="779" y="269"/>
                      <a:pt x="779" y="269"/>
                    </a:cubicBezTo>
                    <a:cubicBezTo>
                      <a:pt x="852" y="0"/>
                      <a:pt x="852" y="0"/>
                      <a:pt x="852" y="0"/>
                    </a:cubicBezTo>
                    <a:cubicBezTo>
                      <a:pt x="837" y="28"/>
                      <a:pt x="652" y="50"/>
                      <a:pt x="426" y="5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C0C0C0"/>
                  </a:gs>
                  <a:gs pos="50000">
                    <a:srgbClr val="EEEEEE"/>
                  </a:gs>
                  <a:gs pos="100000">
                    <a:srgbClr val="C0C0C0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s-AR"/>
              </a:p>
            </p:txBody>
          </p:sp>
          <p:sp>
            <p:nvSpPr>
              <p:cNvPr id="21541" name="Freeform 242"/>
              <p:cNvSpPr>
                <a:spLocks/>
              </p:cNvSpPr>
              <p:nvPr/>
            </p:nvSpPr>
            <p:spPr bwMode="gray">
              <a:xfrm>
                <a:off x="2812" y="1826"/>
                <a:ext cx="665" cy="88"/>
              </a:xfrm>
              <a:custGeom>
                <a:avLst/>
                <a:gdLst>
                  <a:gd name="T0" fmla="*/ 513 w 637"/>
                  <a:gd name="T1" fmla="*/ 0 h 84"/>
                  <a:gd name="T2" fmla="*/ 0 w 637"/>
                  <a:gd name="T3" fmla="*/ 69 h 84"/>
                  <a:gd name="T4" fmla="*/ 1 w 637"/>
                  <a:gd name="T5" fmla="*/ 74 h 84"/>
                  <a:gd name="T6" fmla="*/ 513 w 637"/>
                  <a:gd name="T7" fmla="*/ 140 h 84"/>
                  <a:gd name="T8" fmla="*/ 1023 w 637"/>
                  <a:gd name="T9" fmla="*/ 74 h 84"/>
                  <a:gd name="T10" fmla="*/ 1023 w 637"/>
                  <a:gd name="T11" fmla="*/ 69 h 84"/>
                  <a:gd name="T12" fmla="*/ 513 w 637"/>
                  <a:gd name="T13" fmla="*/ 0 h 8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37"/>
                  <a:gd name="T22" fmla="*/ 0 h 84"/>
                  <a:gd name="T23" fmla="*/ 637 w 637"/>
                  <a:gd name="T24" fmla="*/ 84 h 8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37" h="84">
                    <a:moveTo>
                      <a:pt x="319" y="0"/>
                    </a:moveTo>
                    <a:cubicBezTo>
                      <a:pt x="143" y="0"/>
                      <a:pt x="0" y="19"/>
                      <a:pt x="0" y="42"/>
                    </a:cubicBezTo>
                    <a:cubicBezTo>
                      <a:pt x="1" y="45"/>
                      <a:pt x="1" y="45"/>
                      <a:pt x="1" y="45"/>
                    </a:cubicBezTo>
                    <a:cubicBezTo>
                      <a:pt x="11" y="66"/>
                      <a:pt x="150" y="84"/>
                      <a:pt x="319" y="84"/>
                    </a:cubicBezTo>
                    <a:cubicBezTo>
                      <a:pt x="488" y="84"/>
                      <a:pt x="626" y="66"/>
                      <a:pt x="637" y="45"/>
                    </a:cubicBezTo>
                    <a:cubicBezTo>
                      <a:pt x="637" y="42"/>
                      <a:pt x="637" y="42"/>
                      <a:pt x="637" y="42"/>
                    </a:cubicBezTo>
                    <a:cubicBezTo>
                      <a:pt x="637" y="19"/>
                      <a:pt x="495" y="0"/>
                      <a:pt x="319" y="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004074"/>
                  </a:gs>
                  <a:gs pos="50000">
                    <a:srgbClr val="69A2E1"/>
                  </a:gs>
                  <a:gs pos="100000">
                    <a:srgbClr val="004074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s-AR"/>
              </a:p>
            </p:txBody>
          </p:sp>
          <p:pic>
            <p:nvPicPr>
              <p:cNvPr id="21542" name="Picture 243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2729" y="1468"/>
                <a:ext cx="297" cy="9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21537" name="Picture 259" descr="Bild1 Kopie"/>
            <p:cNvPicPr>
              <a:picLocks noChangeAspect="1" noChangeArrowheads="1"/>
            </p:cNvPicPr>
            <p:nvPr/>
          </p:nvPicPr>
          <p:blipFill>
            <a:blip r:embed="rId3">
              <a:lum brigh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254" y="3158"/>
              <a:ext cx="761" cy="5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514" name="Text Box 19"/>
          <p:cNvSpPr txBox="1">
            <a:spLocks noChangeArrowheads="1"/>
          </p:cNvSpPr>
          <p:nvPr/>
        </p:nvSpPr>
        <p:spPr bwMode="gray">
          <a:xfrm>
            <a:off x="1062038" y="2190750"/>
            <a:ext cx="792162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s-AR" sz="1600" noProof="1">
                <a:solidFill>
                  <a:schemeClr val="bg1"/>
                </a:solidFill>
              </a:rPr>
              <a:t>actual </a:t>
            </a:r>
            <a:br>
              <a:rPr lang="es-AR" sz="1600" noProof="1">
                <a:solidFill>
                  <a:schemeClr val="bg1"/>
                </a:solidFill>
              </a:rPr>
            </a:br>
            <a:r>
              <a:rPr lang="es-AR" sz="1600" noProof="1">
                <a:solidFill>
                  <a:schemeClr val="bg1"/>
                </a:solidFill>
              </a:rPr>
              <a:t>content </a:t>
            </a:r>
          </a:p>
        </p:txBody>
      </p:sp>
      <p:grpSp>
        <p:nvGrpSpPr>
          <p:cNvPr id="21515" name="Group 29"/>
          <p:cNvGrpSpPr>
            <a:grpSpLocks/>
          </p:cNvGrpSpPr>
          <p:nvPr/>
        </p:nvGrpSpPr>
        <p:grpSpPr bwMode="auto">
          <a:xfrm>
            <a:off x="5026025" y="2832100"/>
            <a:ext cx="1517650" cy="2505075"/>
            <a:chOff x="4480" y="2218"/>
            <a:chExt cx="956" cy="1578"/>
          </a:xfrm>
        </p:grpSpPr>
        <p:grpSp>
          <p:nvGrpSpPr>
            <p:cNvPr id="21528" name="Group 51"/>
            <p:cNvGrpSpPr>
              <a:grpSpLocks/>
            </p:cNvGrpSpPr>
            <p:nvPr/>
          </p:nvGrpSpPr>
          <p:grpSpPr bwMode="auto">
            <a:xfrm>
              <a:off x="4480" y="2218"/>
              <a:ext cx="956" cy="1067"/>
              <a:chOff x="466" y="2182"/>
              <a:chExt cx="956" cy="1067"/>
            </a:xfrm>
          </p:grpSpPr>
          <p:sp>
            <p:nvSpPr>
              <p:cNvPr id="21530" name="Oval 230"/>
              <p:cNvSpPr>
                <a:spLocks noChangeArrowheads="1"/>
              </p:cNvSpPr>
              <p:nvPr/>
            </p:nvSpPr>
            <p:spPr bwMode="gray">
              <a:xfrm>
                <a:off x="469" y="2188"/>
                <a:ext cx="953" cy="118"/>
              </a:xfrm>
              <a:prstGeom prst="ellipse">
                <a:avLst/>
              </a:prstGeom>
              <a:gradFill rotWithShape="1">
                <a:gsLst>
                  <a:gs pos="0">
                    <a:srgbClr val="C0C0C0"/>
                  </a:gs>
                  <a:gs pos="50000">
                    <a:srgbClr val="EEEEEE"/>
                  </a:gs>
                  <a:gs pos="100000">
                    <a:srgbClr val="C0C0C0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sp>
            <p:nvSpPr>
              <p:cNvPr id="21531" name="Freeform 226"/>
              <p:cNvSpPr>
                <a:spLocks/>
              </p:cNvSpPr>
              <p:nvPr/>
            </p:nvSpPr>
            <p:spPr bwMode="gray">
              <a:xfrm>
                <a:off x="630" y="2850"/>
                <a:ext cx="628" cy="333"/>
              </a:xfrm>
              <a:custGeom>
                <a:avLst/>
                <a:gdLst>
                  <a:gd name="T0" fmla="*/ 1592 w 562"/>
                  <a:gd name="T1" fmla="*/ 243 h 290"/>
                  <a:gd name="T2" fmla="*/ 0 w 562"/>
                  <a:gd name="T3" fmla="*/ 0 h 290"/>
                  <a:gd name="T4" fmla="*/ 394 w 562"/>
                  <a:gd name="T5" fmla="*/ 2006 h 290"/>
                  <a:gd name="T6" fmla="*/ 1592 w 562"/>
                  <a:gd name="T7" fmla="*/ 2204 h 290"/>
                  <a:gd name="T8" fmla="*/ 2776 w 562"/>
                  <a:gd name="T9" fmla="*/ 2006 h 290"/>
                  <a:gd name="T10" fmla="*/ 2776 w 562"/>
                  <a:gd name="T11" fmla="*/ 2006 h 290"/>
                  <a:gd name="T12" fmla="*/ 2776 w 562"/>
                  <a:gd name="T13" fmla="*/ 2006 h 290"/>
                  <a:gd name="T14" fmla="*/ 3176 w 562"/>
                  <a:gd name="T15" fmla="*/ 0 h 290"/>
                  <a:gd name="T16" fmla="*/ 1592 w 562"/>
                  <a:gd name="T17" fmla="*/ 243 h 29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62"/>
                  <a:gd name="T28" fmla="*/ 0 h 290"/>
                  <a:gd name="T29" fmla="*/ 562 w 562"/>
                  <a:gd name="T30" fmla="*/ 290 h 29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62" h="290">
                    <a:moveTo>
                      <a:pt x="281" y="32"/>
                    </a:moveTo>
                    <a:cubicBezTo>
                      <a:pt x="131" y="32"/>
                      <a:pt x="8" y="18"/>
                      <a:pt x="0" y="0"/>
                    </a:cubicBezTo>
                    <a:cubicBezTo>
                      <a:pt x="70" y="264"/>
                      <a:pt x="70" y="264"/>
                      <a:pt x="70" y="264"/>
                    </a:cubicBezTo>
                    <a:cubicBezTo>
                      <a:pt x="70" y="278"/>
                      <a:pt x="165" y="290"/>
                      <a:pt x="281" y="290"/>
                    </a:cubicBezTo>
                    <a:cubicBezTo>
                      <a:pt x="396" y="290"/>
                      <a:pt x="490" y="278"/>
                      <a:pt x="491" y="264"/>
                    </a:cubicBezTo>
                    <a:cubicBezTo>
                      <a:pt x="491" y="264"/>
                      <a:pt x="491" y="264"/>
                      <a:pt x="491" y="264"/>
                    </a:cubicBezTo>
                    <a:cubicBezTo>
                      <a:pt x="491" y="264"/>
                      <a:pt x="491" y="264"/>
                      <a:pt x="491" y="264"/>
                    </a:cubicBezTo>
                    <a:cubicBezTo>
                      <a:pt x="562" y="0"/>
                      <a:pt x="562" y="0"/>
                      <a:pt x="562" y="0"/>
                    </a:cubicBezTo>
                    <a:cubicBezTo>
                      <a:pt x="553" y="18"/>
                      <a:pt x="430" y="32"/>
                      <a:pt x="281" y="3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s-AR"/>
              </a:p>
            </p:txBody>
          </p:sp>
          <p:sp>
            <p:nvSpPr>
              <p:cNvPr id="21532" name="Freeform 227"/>
              <p:cNvSpPr>
                <a:spLocks/>
              </p:cNvSpPr>
              <p:nvPr/>
            </p:nvSpPr>
            <p:spPr bwMode="gray">
              <a:xfrm>
                <a:off x="551" y="2551"/>
                <a:ext cx="789" cy="339"/>
              </a:xfrm>
              <a:custGeom>
                <a:avLst/>
                <a:gdLst>
                  <a:gd name="T0" fmla="*/ 1970 w 707"/>
                  <a:gd name="T1" fmla="*/ 245 h 302"/>
                  <a:gd name="T2" fmla="*/ 0 w 707"/>
                  <a:gd name="T3" fmla="*/ 0 h 302"/>
                  <a:gd name="T4" fmla="*/ 402 w 707"/>
                  <a:gd name="T5" fmla="*/ 1591 h 302"/>
                  <a:gd name="T6" fmla="*/ 410 w 707"/>
                  <a:gd name="T7" fmla="*/ 1603 h 302"/>
                  <a:gd name="T8" fmla="*/ 1970 w 707"/>
                  <a:gd name="T9" fmla="*/ 1793 h 302"/>
                  <a:gd name="T10" fmla="*/ 3543 w 707"/>
                  <a:gd name="T11" fmla="*/ 1603 h 302"/>
                  <a:gd name="T12" fmla="*/ 3543 w 707"/>
                  <a:gd name="T13" fmla="*/ 1591 h 302"/>
                  <a:gd name="T14" fmla="*/ 3943 w 707"/>
                  <a:gd name="T15" fmla="*/ 0 h 302"/>
                  <a:gd name="T16" fmla="*/ 1970 w 707"/>
                  <a:gd name="T17" fmla="*/ 245 h 30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07"/>
                  <a:gd name="T28" fmla="*/ 0 h 302"/>
                  <a:gd name="T29" fmla="*/ 707 w 707"/>
                  <a:gd name="T30" fmla="*/ 302 h 30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07" h="302">
                    <a:moveTo>
                      <a:pt x="354" y="41"/>
                    </a:moveTo>
                    <a:cubicBezTo>
                      <a:pt x="166" y="41"/>
                      <a:pt x="12" y="23"/>
                      <a:pt x="0" y="0"/>
                    </a:cubicBezTo>
                    <a:cubicBezTo>
                      <a:pt x="72" y="268"/>
                      <a:pt x="72" y="268"/>
                      <a:pt x="72" y="268"/>
                    </a:cubicBezTo>
                    <a:cubicBezTo>
                      <a:pt x="73" y="270"/>
                      <a:pt x="73" y="270"/>
                      <a:pt x="73" y="270"/>
                    </a:cubicBezTo>
                    <a:cubicBezTo>
                      <a:pt x="81" y="288"/>
                      <a:pt x="204" y="302"/>
                      <a:pt x="354" y="302"/>
                    </a:cubicBezTo>
                    <a:cubicBezTo>
                      <a:pt x="503" y="302"/>
                      <a:pt x="626" y="288"/>
                      <a:pt x="635" y="270"/>
                    </a:cubicBezTo>
                    <a:cubicBezTo>
                      <a:pt x="635" y="268"/>
                      <a:pt x="635" y="268"/>
                      <a:pt x="635" y="268"/>
                    </a:cubicBezTo>
                    <a:cubicBezTo>
                      <a:pt x="707" y="0"/>
                      <a:pt x="707" y="0"/>
                      <a:pt x="707" y="0"/>
                    </a:cubicBezTo>
                    <a:cubicBezTo>
                      <a:pt x="697" y="23"/>
                      <a:pt x="542" y="41"/>
                      <a:pt x="354" y="4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s-AR"/>
              </a:p>
            </p:txBody>
          </p:sp>
          <p:sp>
            <p:nvSpPr>
              <p:cNvPr id="21533" name="Freeform 228"/>
              <p:cNvSpPr>
                <a:spLocks/>
              </p:cNvSpPr>
              <p:nvPr/>
            </p:nvSpPr>
            <p:spPr bwMode="gray">
              <a:xfrm>
                <a:off x="470" y="2250"/>
                <a:ext cx="951" cy="351"/>
              </a:xfrm>
              <a:custGeom>
                <a:avLst/>
                <a:gdLst>
                  <a:gd name="T0" fmla="*/ 2408 w 851"/>
                  <a:gd name="T1" fmla="*/ 305 h 312"/>
                  <a:gd name="T2" fmla="*/ 0 w 851"/>
                  <a:gd name="T3" fmla="*/ 0 h 312"/>
                  <a:gd name="T4" fmla="*/ 411 w 851"/>
                  <a:gd name="T5" fmla="*/ 1637 h 312"/>
                  <a:gd name="T6" fmla="*/ 411 w 851"/>
                  <a:gd name="T7" fmla="*/ 1641 h 312"/>
                  <a:gd name="T8" fmla="*/ 2408 w 851"/>
                  <a:gd name="T9" fmla="*/ 1893 h 312"/>
                  <a:gd name="T10" fmla="*/ 4410 w 851"/>
                  <a:gd name="T11" fmla="*/ 1641 h 312"/>
                  <a:gd name="T12" fmla="*/ 4410 w 851"/>
                  <a:gd name="T13" fmla="*/ 1637 h 312"/>
                  <a:gd name="T14" fmla="*/ 4818 w 851"/>
                  <a:gd name="T15" fmla="*/ 0 h 312"/>
                  <a:gd name="T16" fmla="*/ 2408 w 851"/>
                  <a:gd name="T17" fmla="*/ 305 h 3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51"/>
                  <a:gd name="T28" fmla="*/ 0 h 312"/>
                  <a:gd name="T29" fmla="*/ 851 w 851"/>
                  <a:gd name="T30" fmla="*/ 312 h 31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51" h="312">
                    <a:moveTo>
                      <a:pt x="426" y="50"/>
                    </a:moveTo>
                    <a:cubicBezTo>
                      <a:pt x="199" y="50"/>
                      <a:pt x="14" y="28"/>
                      <a:pt x="0" y="0"/>
                    </a:cubicBezTo>
                    <a:cubicBezTo>
                      <a:pt x="72" y="269"/>
                      <a:pt x="72" y="269"/>
                      <a:pt x="72" y="269"/>
                    </a:cubicBezTo>
                    <a:cubicBezTo>
                      <a:pt x="72" y="271"/>
                      <a:pt x="72" y="271"/>
                      <a:pt x="72" y="271"/>
                    </a:cubicBezTo>
                    <a:cubicBezTo>
                      <a:pt x="84" y="294"/>
                      <a:pt x="238" y="312"/>
                      <a:pt x="426" y="312"/>
                    </a:cubicBezTo>
                    <a:cubicBezTo>
                      <a:pt x="614" y="312"/>
                      <a:pt x="769" y="294"/>
                      <a:pt x="779" y="271"/>
                    </a:cubicBezTo>
                    <a:cubicBezTo>
                      <a:pt x="779" y="269"/>
                      <a:pt x="779" y="269"/>
                      <a:pt x="779" y="269"/>
                    </a:cubicBezTo>
                    <a:cubicBezTo>
                      <a:pt x="851" y="0"/>
                      <a:pt x="851" y="0"/>
                      <a:pt x="851" y="0"/>
                    </a:cubicBezTo>
                    <a:cubicBezTo>
                      <a:pt x="837" y="28"/>
                      <a:pt x="652" y="50"/>
                      <a:pt x="426" y="5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s-AR"/>
              </a:p>
            </p:txBody>
          </p:sp>
          <p:sp>
            <p:nvSpPr>
              <p:cNvPr id="21534" name="Oval 229"/>
              <p:cNvSpPr>
                <a:spLocks noChangeArrowheads="1"/>
              </p:cNvSpPr>
              <p:nvPr/>
            </p:nvSpPr>
            <p:spPr bwMode="gray">
              <a:xfrm>
                <a:off x="466" y="2182"/>
                <a:ext cx="951" cy="133"/>
              </a:xfrm>
              <a:prstGeom prst="ellipse">
                <a:avLst/>
              </a:prstGeom>
              <a:gradFill rotWithShape="1">
                <a:gsLst>
                  <a:gs pos="0">
                    <a:srgbClr val="004074"/>
                  </a:gs>
                  <a:gs pos="50000">
                    <a:srgbClr val="69A2E1"/>
                  </a:gs>
                  <a:gs pos="100000">
                    <a:srgbClr val="004074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pic>
            <p:nvPicPr>
              <p:cNvPr id="21535" name="Picture 231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512" y="2284"/>
                <a:ext cx="318" cy="9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21529" name="Picture 257" descr="Bild1 Kopie"/>
            <p:cNvPicPr>
              <a:picLocks noChangeAspect="1" noChangeArrowheads="1"/>
            </p:cNvPicPr>
            <p:nvPr/>
          </p:nvPicPr>
          <p:blipFill>
            <a:blip r:embed="rId3">
              <a:lum brigh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562" y="3201"/>
              <a:ext cx="783" cy="5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516" name="Rectangle 2"/>
          <p:cNvSpPr txBox="1">
            <a:spLocks noChangeArrowheads="1"/>
          </p:cNvSpPr>
          <p:nvPr/>
        </p:nvSpPr>
        <p:spPr bwMode="gray">
          <a:xfrm>
            <a:off x="204788" y="58738"/>
            <a:ext cx="8520112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sz="3200" b="1">
                <a:solidFill>
                  <a:schemeClr val="bg1"/>
                </a:solidFill>
              </a:rPr>
              <a:t>Fill Level Chart</a:t>
            </a:r>
          </a:p>
        </p:txBody>
      </p:sp>
      <p:grpSp>
        <p:nvGrpSpPr>
          <p:cNvPr id="21517" name="Group 39"/>
          <p:cNvGrpSpPr>
            <a:grpSpLocks/>
          </p:cNvGrpSpPr>
          <p:nvPr/>
        </p:nvGrpSpPr>
        <p:grpSpPr bwMode="auto">
          <a:xfrm>
            <a:off x="2617788" y="2830513"/>
            <a:ext cx="1517650" cy="2505075"/>
            <a:chOff x="466" y="2182"/>
            <a:chExt cx="956" cy="1578"/>
          </a:xfrm>
        </p:grpSpPr>
        <p:sp>
          <p:nvSpPr>
            <p:cNvPr id="21520" name="Oval 230"/>
            <p:cNvSpPr>
              <a:spLocks noChangeArrowheads="1"/>
            </p:cNvSpPr>
            <p:nvPr/>
          </p:nvSpPr>
          <p:spPr bwMode="gray">
            <a:xfrm>
              <a:off x="469" y="2188"/>
              <a:ext cx="953" cy="118"/>
            </a:xfrm>
            <a:prstGeom prst="ellipse">
              <a:avLst/>
            </a:prstGeom>
            <a:gradFill rotWithShape="1">
              <a:gsLst>
                <a:gs pos="0">
                  <a:srgbClr val="C0C0C0"/>
                </a:gs>
                <a:gs pos="50000">
                  <a:srgbClr val="EEEEEE"/>
                </a:gs>
                <a:gs pos="100000">
                  <a:srgbClr val="C0C0C0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es-AR"/>
            </a:p>
          </p:txBody>
        </p:sp>
        <p:sp>
          <p:nvSpPr>
            <p:cNvPr id="21521" name="Freeform 226"/>
            <p:cNvSpPr>
              <a:spLocks/>
            </p:cNvSpPr>
            <p:nvPr/>
          </p:nvSpPr>
          <p:spPr bwMode="gray">
            <a:xfrm>
              <a:off x="630" y="2850"/>
              <a:ext cx="628" cy="333"/>
            </a:xfrm>
            <a:custGeom>
              <a:avLst/>
              <a:gdLst>
                <a:gd name="T0" fmla="*/ 1592 w 562"/>
                <a:gd name="T1" fmla="*/ 243 h 290"/>
                <a:gd name="T2" fmla="*/ 0 w 562"/>
                <a:gd name="T3" fmla="*/ 0 h 290"/>
                <a:gd name="T4" fmla="*/ 394 w 562"/>
                <a:gd name="T5" fmla="*/ 2006 h 290"/>
                <a:gd name="T6" fmla="*/ 1592 w 562"/>
                <a:gd name="T7" fmla="*/ 2204 h 290"/>
                <a:gd name="T8" fmla="*/ 2776 w 562"/>
                <a:gd name="T9" fmla="*/ 2006 h 290"/>
                <a:gd name="T10" fmla="*/ 2776 w 562"/>
                <a:gd name="T11" fmla="*/ 2006 h 290"/>
                <a:gd name="T12" fmla="*/ 2776 w 562"/>
                <a:gd name="T13" fmla="*/ 2006 h 290"/>
                <a:gd name="T14" fmla="*/ 3176 w 562"/>
                <a:gd name="T15" fmla="*/ 0 h 290"/>
                <a:gd name="T16" fmla="*/ 1592 w 562"/>
                <a:gd name="T17" fmla="*/ 243 h 29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62"/>
                <a:gd name="T28" fmla="*/ 0 h 290"/>
                <a:gd name="T29" fmla="*/ 562 w 562"/>
                <a:gd name="T30" fmla="*/ 290 h 29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62" h="290">
                  <a:moveTo>
                    <a:pt x="281" y="32"/>
                  </a:moveTo>
                  <a:cubicBezTo>
                    <a:pt x="131" y="32"/>
                    <a:pt x="8" y="18"/>
                    <a:pt x="0" y="0"/>
                  </a:cubicBezTo>
                  <a:cubicBezTo>
                    <a:pt x="70" y="264"/>
                    <a:pt x="70" y="264"/>
                    <a:pt x="70" y="264"/>
                  </a:cubicBezTo>
                  <a:cubicBezTo>
                    <a:pt x="70" y="278"/>
                    <a:pt x="165" y="290"/>
                    <a:pt x="281" y="290"/>
                  </a:cubicBezTo>
                  <a:cubicBezTo>
                    <a:pt x="396" y="290"/>
                    <a:pt x="490" y="278"/>
                    <a:pt x="491" y="264"/>
                  </a:cubicBezTo>
                  <a:cubicBezTo>
                    <a:pt x="491" y="264"/>
                    <a:pt x="491" y="264"/>
                    <a:pt x="491" y="264"/>
                  </a:cubicBezTo>
                  <a:cubicBezTo>
                    <a:pt x="491" y="264"/>
                    <a:pt x="491" y="264"/>
                    <a:pt x="491" y="264"/>
                  </a:cubicBezTo>
                  <a:cubicBezTo>
                    <a:pt x="562" y="0"/>
                    <a:pt x="562" y="0"/>
                    <a:pt x="562" y="0"/>
                  </a:cubicBezTo>
                  <a:cubicBezTo>
                    <a:pt x="553" y="18"/>
                    <a:pt x="430" y="32"/>
                    <a:pt x="281" y="32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1522" name="Freeform 227"/>
            <p:cNvSpPr>
              <a:spLocks/>
            </p:cNvSpPr>
            <p:nvPr/>
          </p:nvSpPr>
          <p:spPr bwMode="gray">
            <a:xfrm>
              <a:off x="551" y="2551"/>
              <a:ext cx="789" cy="339"/>
            </a:xfrm>
            <a:custGeom>
              <a:avLst/>
              <a:gdLst>
                <a:gd name="T0" fmla="*/ 1970 w 707"/>
                <a:gd name="T1" fmla="*/ 245 h 302"/>
                <a:gd name="T2" fmla="*/ 0 w 707"/>
                <a:gd name="T3" fmla="*/ 0 h 302"/>
                <a:gd name="T4" fmla="*/ 402 w 707"/>
                <a:gd name="T5" fmla="*/ 1591 h 302"/>
                <a:gd name="T6" fmla="*/ 410 w 707"/>
                <a:gd name="T7" fmla="*/ 1603 h 302"/>
                <a:gd name="T8" fmla="*/ 1970 w 707"/>
                <a:gd name="T9" fmla="*/ 1793 h 302"/>
                <a:gd name="T10" fmla="*/ 3543 w 707"/>
                <a:gd name="T11" fmla="*/ 1603 h 302"/>
                <a:gd name="T12" fmla="*/ 3543 w 707"/>
                <a:gd name="T13" fmla="*/ 1591 h 302"/>
                <a:gd name="T14" fmla="*/ 3943 w 707"/>
                <a:gd name="T15" fmla="*/ 0 h 302"/>
                <a:gd name="T16" fmla="*/ 1970 w 707"/>
                <a:gd name="T17" fmla="*/ 245 h 30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07"/>
                <a:gd name="T28" fmla="*/ 0 h 302"/>
                <a:gd name="T29" fmla="*/ 707 w 707"/>
                <a:gd name="T30" fmla="*/ 302 h 30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07" h="302">
                  <a:moveTo>
                    <a:pt x="354" y="41"/>
                  </a:moveTo>
                  <a:cubicBezTo>
                    <a:pt x="166" y="41"/>
                    <a:pt x="12" y="23"/>
                    <a:pt x="0" y="0"/>
                  </a:cubicBezTo>
                  <a:cubicBezTo>
                    <a:pt x="72" y="268"/>
                    <a:pt x="72" y="268"/>
                    <a:pt x="72" y="268"/>
                  </a:cubicBezTo>
                  <a:cubicBezTo>
                    <a:pt x="73" y="270"/>
                    <a:pt x="73" y="270"/>
                    <a:pt x="73" y="270"/>
                  </a:cubicBezTo>
                  <a:cubicBezTo>
                    <a:pt x="81" y="288"/>
                    <a:pt x="204" y="302"/>
                    <a:pt x="354" y="302"/>
                  </a:cubicBezTo>
                  <a:cubicBezTo>
                    <a:pt x="503" y="302"/>
                    <a:pt x="626" y="288"/>
                    <a:pt x="635" y="270"/>
                  </a:cubicBezTo>
                  <a:cubicBezTo>
                    <a:pt x="635" y="268"/>
                    <a:pt x="635" y="268"/>
                    <a:pt x="635" y="268"/>
                  </a:cubicBezTo>
                  <a:cubicBezTo>
                    <a:pt x="707" y="0"/>
                    <a:pt x="707" y="0"/>
                    <a:pt x="707" y="0"/>
                  </a:cubicBezTo>
                  <a:cubicBezTo>
                    <a:pt x="697" y="23"/>
                    <a:pt x="542" y="41"/>
                    <a:pt x="354" y="41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1523" name="Freeform 228"/>
            <p:cNvSpPr>
              <a:spLocks/>
            </p:cNvSpPr>
            <p:nvPr/>
          </p:nvSpPr>
          <p:spPr bwMode="gray">
            <a:xfrm>
              <a:off x="470" y="2250"/>
              <a:ext cx="951" cy="351"/>
            </a:xfrm>
            <a:custGeom>
              <a:avLst/>
              <a:gdLst>
                <a:gd name="T0" fmla="*/ 2408 w 851"/>
                <a:gd name="T1" fmla="*/ 305 h 312"/>
                <a:gd name="T2" fmla="*/ 0 w 851"/>
                <a:gd name="T3" fmla="*/ 0 h 312"/>
                <a:gd name="T4" fmla="*/ 411 w 851"/>
                <a:gd name="T5" fmla="*/ 1637 h 312"/>
                <a:gd name="T6" fmla="*/ 411 w 851"/>
                <a:gd name="T7" fmla="*/ 1641 h 312"/>
                <a:gd name="T8" fmla="*/ 2408 w 851"/>
                <a:gd name="T9" fmla="*/ 1893 h 312"/>
                <a:gd name="T10" fmla="*/ 4410 w 851"/>
                <a:gd name="T11" fmla="*/ 1641 h 312"/>
                <a:gd name="T12" fmla="*/ 4410 w 851"/>
                <a:gd name="T13" fmla="*/ 1637 h 312"/>
                <a:gd name="T14" fmla="*/ 4818 w 851"/>
                <a:gd name="T15" fmla="*/ 0 h 312"/>
                <a:gd name="T16" fmla="*/ 2408 w 851"/>
                <a:gd name="T17" fmla="*/ 305 h 3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1"/>
                <a:gd name="T28" fmla="*/ 0 h 312"/>
                <a:gd name="T29" fmla="*/ 851 w 851"/>
                <a:gd name="T30" fmla="*/ 312 h 3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1" h="312">
                  <a:moveTo>
                    <a:pt x="426" y="50"/>
                  </a:moveTo>
                  <a:cubicBezTo>
                    <a:pt x="199" y="50"/>
                    <a:pt x="14" y="28"/>
                    <a:pt x="0" y="0"/>
                  </a:cubicBezTo>
                  <a:cubicBezTo>
                    <a:pt x="72" y="269"/>
                    <a:pt x="72" y="269"/>
                    <a:pt x="72" y="269"/>
                  </a:cubicBezTo>
                  <a:cubicBezTo>
                    <a:pt x="72" y="271"/>
                    <a:pt x="72" y="271"/>
                    <a:pt x="72" y="271"/>
                  </a:cubicBezTo>
                  <a:cubicBezTo>
                    <a:pt x="84" y="294"/>
                    <a:pt x="238" y="312"/>
                    <a:pt x="426" y="312"/>
                  </a:cubicBezTo>
                  <a:cubicBezTo>
                    <a:pt x="614" y="312"/>
                    <a:pt x="769" y="294"/>
                    <a:pt x="779" y="271"/>
                  </a:cubicBezTo>
                  <a:cubicBezTo>
                    <a:pt x="779" y="269"/>
                    <a:pt x="779" y="269"/>
                    <a:pt x="779" y="269"/>
                  </a:cubicBezTo>
                  <a:cubicBezTo>
                    <a:pt x="851" y="0"/>
                    <a:pt x="851" y="0"/>
                    <a:pt x="851" y="0"/>
                  </a:cubicBezTo>
                  <a:cubicBezTo>
                    <a:pt x="837" y="28"/>
                    <a:pt x="652" y="50"/>
                    <a:pt x="426" y="50"/>
                  </a:cubicBezTo>
                  <a:close/>
                </a:path>
              </a:pathLst>
            </a:custGeom>
            <a:gradFill rotWithShape="1">
              <a:gsLst>
                <a:gs pos="0">
                  <a:srgbClr val="C0C0C0"/>
                </a:gs>
                <a:gs pos="50000">
                  <a:srgbClr val="EEEEEE"/>
                </a:gs>
                <a:gs pos="100000">
                  <a:srgbClr val="C0C0C0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1524" name="Oval 229"/>
            <p:cNvSpPr>
              <a:spLocks noChangeArrowheads="1"/>
            </p:cNvSpPr>
            <p:nvPr/>
          </p:nvSpPr>
          <p:spPr bwMode="gray">
            <a:xfrm>
              <a:off x="466" y="2182"/>
              <a:ext cx="951" cy="133"/>
            </a:xfrm>
            <a:prstGeom prst="ellipse">
              <a:avLst/>
            </a:prstGeom>
            <a:gradFill rotWithShape="1">
              <a:gsLst>
                <a:gs pos="0">
                  <a:srgbClr val="C0C0C0"/>
                </a:gs>
                <a:gs pos="50000">
                  <a:srgbClr val="EEEEEE"/>
                </a:gs>
                <a:gs pos="100000">
                  <a:srgbClr val="C0C0C0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es-AR"/>
            </a:p>
          </p:txBody>
        </p:sp>
        <p:pic>
          <p:nvPicPr>
            <p:cNvPr id="21525" name="Picture 257" descr="Bild1 Kopie"/>
            <p:cNvPicPr>
              <a:picLocks noChangeAspect="1" noChangeArrowheads="1"/>
            </p:cNvPicPr>
            <p:nvPr/>
          </p:nvPicPr>
          <p:blipFill>
            <a:blip r:embed="rId3">
              <a:lum brigh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48" y="3165"/>
              <a:ext cx="783" cy="5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526" name="Freeform 236"/>
            <p:cNvSpPr>
              <a:spLocks/>
            </p:cNvSpPr>
            <p:nvPr/>
          </p:nvSpPr>
          <p:spPr bwMode="gray">
            <a:xfrm>
              <a:off x="548" y="2500"/>
              <a:ext cx="794" cy="106"/>
            </a:xfrm>
            <a:custGeom>
              <a:avLst/>
              <a:gdLst>
                <a:gd name="T0" fmla="*/ 730 w 637"/>
                <a:gd name="T1" fmla="*/ 0 h 84"/>
                <a:gd name="T2" fmla="*/ 0 w 637"/>
                <a:gd name="T3" fmla="*/ 101 h 84"/>
                <a:gd name="T4" fmla="*/ 1 w 637"/>
                <a:gd name="T5" fmla="*/ 109 h 84"/>
                <a:gd name="T6" fmla="*/ 730 w 637"/>
                <a:gd name="T7" fmla="*/ 204 h 84"/>
                <a:gd name="T8" fmla="*/ 1458 w 637"/>
                <a:gd name="T9" fmla="*/ 109 h 84"/>
                <a:gd name="T10" fmla="*/ 1458 w 637"/>
                <a:gd name="T11" fmla="*/ 101 h 84"/>
                <a:gd name="T12" fmla="*/ 730 w 637"/>
                <a:gd name="T13" fmla="*/ 0 h 8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37"/>
                <a:gd name="T22" fmla="*/ 0 h 84"/>
                <a:gd name="T23" fmla="*/ 637 w 637"/>
                <a:gd name="T24" fmla="*/ 84 h 8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37" h="84">
                  <a:moveTo>
                    <a:pt x="319" y="0"/>
                  </a:moveTo>
                  <a:cubicBezTo>
                    <a:pt x="143" y="0"/>
                    <a:pt x="0" y="19"/>
                    <a:pt x="0" y="42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1" y="66"/>
                    <a:pt x="150" y="84"/>
                    <a:pt x="319" y="84"/>
                  </a:cubicBezTo>
                  <a:cubicBezTo>
                    <a:pt x="488" y="84"/>
                    <a:pt x="626" y="66"/>
                    <a:pt x="637" y="45"/>
                  </a:cubicBezTo>
                  <a:cubicBezTo>
                    <a:pt x="637" y="42"/>
                    <a:pt x="637" y="42"/>
                    <a:pt x="637" y="42"/>
                  </a:cubicBezTo>
                  <a:cubicBezTo>
                    <a:pt x="637" y="19"/>
                    <a:pt x="495" y="0"/>
                    <a:pt x="319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004074"/>
                </a:gs>
                <a:gs pos="50000">
                  <a:srgbClr val="69A2E1"/>
                </a:gs>
                <a:gs pos="100000">
                  <a:srgbClr val="004074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AR"/>
            </a:p>
          </p:txBody>
        </p:sp>
        <p:pic>
          <p:nvPicPr>
            <p:cNvPr id="21527" name="Picture 231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12" y="2284"/>
              <a:ext cx="318" cy="9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kern="0" noProof="1">
                <a:solidFill>
                  <a:schemeClr val="bg1"/>
                </a:solidFill>
                <a:cs typeface="+mn-cs"/>
              </a:rPr>
              <a:t>Placeholder for your own sub headline</a:t>
            </a:r>
          </a:p>
        </p:txBody>
      </p:sp>
      <p:sp>
        <p:nvSpPr>
          <p:cNvPr id="21519" name="Text Box 13"/>
          <p:cNvSpPr txBox="1">
            <a:spLocks noChangeArrowheads="1"/>
          </p:cNvSpPr>
          <p:nvPr/>
        </p:nvSpPr>
        <p:spPr bwMode="gray">
          <a:xfrm>
            <a:off x="323850" y="6146800"/>
            <a:ext cx="23256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200" noProof="1">
                <a:solidFill>
                  <a:srgbClr val="7F7F7F"/>
                </a:solidFill>
              </a:rPr>
              <a:t>For PowerPoint  97-20</a:t>
            </a:r>
            <a:r>
              <a:rPr lang="de-DE" sz="1200">
                <a:solidFill>
                  <a:srgbClr val="7F7F7F"/>
                </a:solidFill>
              </a:rPr>
              <a:t>10</a:t>
            </a:r>
            <a:endParaRPr lang="de-DE" sz="1200" noProof="1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1810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530" name="Group 23"/>
          <p:cNvGrpSpPr>
            <a:grpSpLocks/>
          </p:cNvGrpSpPr>
          <p:nvPr/>
        </p:nvGrpSpPr>
        <p:grpSpPr bwMode="auto">
          <a:xfrm>
            <a:off x="0" y="3500438"/>
            <a:ext cx="9144000" cy="1676400"/>
            <a:chOff x="0" y="2086"/>
            <a:chExt cx="5760" cy="1056"/>
          </a:xfrm>
        </p:grpSpPr>
        <p:sp>
          <p:nvSpPr>
            <p:cNvPr id="22595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/>
            </a:p>
          </p:txBody>
        </p:sp>
        <p:sp>
          <p:nvSpPr>
            <p:cNvPr id="22596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/>
            </a:p>
          </p:txBody>
        </p:sp>
      </p:grpSp>
      <p:pic>
        <p:nvPicPr>
          <p:cNvPr id="22531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6588" y="5392738"/>
            <a:ext cx="5060950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2" name="Ellipse 14"/>
          <p:cNvSpPr>
            <a:spLocks noChangeArrowheads="1"/>
          </p:cNvSpPr>
          <p:nvPr/>
        </p:nvSpPr>
        <p:spPr bwMode="auto">
          <a:xfrm>
            <a:off x="2482850" y="1744663"/>
            <a:ext cx="3884613" cy="3883025"/>
          </a:xfrm>
          <a:prstGeom prst="ellipse">
            <a:avLst/>
          </a:prstGeom>
          <a:solidFill>
            <a:srgbClr val="90BA45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sp>
        <p:nvSpPr>
          <p:cNvPr id="22533" name="Ellipse 15"/>
          <p:cNvSpPr>
            <a:spLocks noChangeArrowheads="1"/>
          </p:cNvSpPr>
          <p:nvPr/>
        </p:nvSpPr>
        <p:spPr bwMode="auto">
          <a:xfrm>
            <a:off x="2836863" y="2136775"/>
            <a:ext cx="3165475" cy="3165475"/>
          </a:xfrm>
          <a:prstGeom prst="ellipse">
            <a:avLst/>
          </a:prstGeom>
          <a:noFill/>
          <a:ln w="6350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sp>
        <p:nvSpPr>
          <p:cNvPr id="22534" name="Ellipse 16"/>
          <p:cNvSpPr>
            <a:spLocks noChangeArrowheads="1"/>
          </p:cNvSpPr>
          <p:nvPr/>
        </p:nvSpPr>
        <p:spPr bwMode="auto">
          <a:xfrm>
            <a:off x="3186113" y="2486025"/>
            <a:ext cx="2466975" cy="2466975"/>
          </a:xfrm>
          <a:prstGeom prst="ellipse">
            <a:avLst/>
          </a:prstGeom>
          <a:noFill/>
          <a:ln w="6350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sp>
        <p:nvSpPr>
          <p:cNvPr id="22535" name="Ellipse 17"/>
          <p:cNvSpPr>
            <a:spLocks noChangeArrowheads="1"/>
          </p:cNvSpPr>
          <p:nvPr/>
        </p:nvSpPr>
        <p:spPr bwMode="auto">
          <a:xfrm>
            <a:off x="3603625" y="2903538"/>
            <a:ext cx="1630363" cy="1631950"/>
          </a:xfrm>
          <a:prstGeom prst="ellipse">
            <a:avLst/>
          </a:prstGeom>
          <a:solidFill>
            <a:srgbClr val="4C7013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pic>
        <p:nvPicPr>
          <p:cNvPr id="22536" name="Picture 60" descr="Bild2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6975" y="3503613"/>
            <a:ext cx="126047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7" name="Picture 61" descr="Bild2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8938" y="4302125"/>
            <a:ext cx="428625" cy="126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8" name="Picture 63" descr="Bild2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8575" y="3503613"/>
            <a:ext cx="126047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9" name="Picture 64" descr="Bild2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700000">
            <a:off x="3290888" y="3898900"/>
            <a:ext cx="428625" cy="126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40" name="Picture 65" descr="Bild2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2588477">
            <a:off x="5089525" y="3937000"/>
            <a:ext cx="430213" cy="126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41" name="Freeform 15"/>
          <p:cNvSpPr>
            <a:spLocks/>
          </p:cNvSpPr>
          <p:nvPr/>
        </p:nvSpPr>
        <p:spPr bwMode="auto">
          <a:xfrm>
            <a:off x="3021013" y="1701800"/>
            <a:ext cx="2805112" cy="1871663"/>
          </a:xfrm>
          <a:custGeom>
            <a:avLst/>
            <a:gdLst>
              <a:gd name="T0" fmla="*/ 0 w 875"/>
              <a:gd name="T1" fmla="*/ 2013194695 h 584"/>
              <a:gd name="T2" fmla="*/ 2147483647 w 875"/>
              <a:gd name="T3" fmla="*/ 2147483647 h 584"/>
              <a:gd name="T4" fmla="*/ 2147483647 w 875"/>
              <a:gd name="T5" fmla="*/ 2147483647 h 584"/>
              <a:gd name="T6" fmla="*/ 2147483647 w 875"/>
              <a:gd name="T7" fmla="*/ 1961836134 h 584"/>
              <a:gd name="T8" fmla="*/ 2147483647 w 875"/>
              <a:gd name="T9" fmla="*/ 20543424 h 584"/>
              <a:gd name="T10" fmla="*/ 0 w 875"/>
              <a:gd name="T11" fmla="*/ 2013194695 h 5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875" h="584">
                <a:moveTo>
                  <a:pt x="0" y="196"/>
                </a:moveTo>
                <a:cubicBezTo>
                  <a:pt x="388" y="584"/>
                  <a:pt x="388" y="584"/>
                  <a:pt x="388" y="584"/>
                </a:cubicBezTo>
                <a:cubicBezTo>
                  <a:pt x="388" y="584"/>
                  <a:pt x="435" y="537"/>
                  <a:pt x="490" y="584"/>
                </a:cubicBezTo>
                <a:cubicBezTo>
                  <a:pt x="875" y="191"/>
                  <a:pt x="875" y="191"/>
                  <a:pt x="875" y="191"/>
                </a:cubicBezTo>
                <a:cubicBezTo>
                  <a:pt x="864" y="180"/>
                  <a:pt x="690" y="6"/>
                  <a:pt x="445" y="2"/>
                </a:cubicBezTo>
                <a:cubicBezTo>
                  <a:pt x="313" y="0"/>
                  <a:pt x="160" y="47"/>
                  <a:pt x="0" y="196"/>
                </a:cubicBezTo>
              </a:path>
            </a:pathLst>
          </a:custGeom>
          <a:solidFill>
            <a:srgbClr val="C5C5C5">
              <a:alpha val="41960"/>
            </a:srgbClr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AR"/>
          </a:p>
        </p:txBody>
      </p:sp>
      <p:sp>
        <p:nvSpPr>
          <p:cNvPr id="22542" name="Freeform 114"/>
          <p:cNvSpPr>
            <a:spLocks/>
          </p:cNvSpPr>
          <p:nvPr/>
        </p:nvSpPr>
        <p:spPr bwMode="auto">
          <a:xfrm>
            <a:off x="2940050" y="1247775"/>
            <a:ext cx="2963863" cy="1101725"/>
          </a:xfrm>
          <a:custGeom>
            <a:avLst/>
            <a:gdLst>
              <a:gd name="T0" fmla="*/ 2147483647 w 1288"/>
              <a:gd name="T1" fmla="*/ 2147483647 h 477"/>
              <a:gd name="T2" fmla="*/ 0 w 1288"/>
              <a:gd name="T3" fmla="*/ 2147483647 h 477"/>
              <a:gd name="T4" fmla="*/ 2147483647 w 1288"/>
              <a:gd name="T5" fmla="*/ 2147483647 h 477"/>
              <a:gd name="T6" fmla="*/ 2147483647 w 1288"/>
              <a:gd name="T7" fmla="*/ 2147483647 h 477"/>
              <a:gd name="T8" fmla="*/ 2147483647 w 1288"/>
              <a:gd name="T9" fmla="*/ 2147483647 h 477"/>
              <a:gd name="T10" fmla="*/ 2147483647 w 1288"/>
              <a:gd name="T11" fmla="*/ 2147483647 h 477"/>
              <a:gd name="T12" fmla="*/ 2147483647 w 1288"/>
              <a:gd name="T13" fmla="*/ 2147483647 h 47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88"/>
              <a:gd name="T22" fmla="*/ 0 h 477"/>
              <a:gd name="T23" fmla="*/ 1288 w 1288"/>
              <a:gd name="T24" fmla="*/ 477 h 47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88" h="477">
                <a:moveTo>
                  <a:pt x="40" y="477"/>
                </a:moveTo>
                <a:cubicBezTo>
                  <a:pt x="0" y="437"/>
                  <a:pt x="0" y="437"/>
                  <a:pt x="0" y="437"/>
                </a:cubicBezTo>
                <a:cubicBezTo>
                  <a:pt x="0" y="437"/>
                  <a:pt x="427" y="0"/>
                  <a:pt x="992" y="234"/>
                </a:cubicBezTo>
                <a:cubicBezTo>
                  <a:pt x="992" y="234"/>
                  <a:pt x="1192" y="314"/>
                  <a:pt x="1288" y="432"/>
                </a:cubicBezTo>
                <a:cubicBezTo>
                  <a:pt x="1245" y="474"/>
                  <a:pt x="1245" y="474"/>
                  <a:pt x="1245" y="474"/>
                </a:cubicBezTo>
                <a:cubicBezTo>
                  <a:pt x="1245" y="474"/>
                  <a:pt x="941" y="138"/>
                  <a:pt x="475" y="240"/>
                </a:cubicBezTo>
                <a:cubicBezTo>
                  <a:pt x="475" y="240"/>
                  <a:pt x="192" y="296"/>
                  <a:pt x="40" y="477"/>
                </a:cubicBezTo>
                <a:close/>
              </a:path>
            </a:pathLst>
          </a:custGeom>
          <a:solidFill>
            <a:srgbClr val="4C7013"/>
          </a:solidFill>
          <a:ln w="12700" cap="flat" cmpd="sng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wrap="none" anchor="ctr"/>
          <a:lstStyle/>
          <a:p>
            <a:endParaRPr lang="es-AR"/>
          </a:p>
        </p:txBody>
      </p:sp>
      <p:pic>
        <p:nvPicPr>
          <p:cNvPr id="22543" name="Picture 67" descr="Bild2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700000">
            <a:off x="2893219" y="2618581"/>
            <a:ext cx="1260475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44" name="Picture 69" descr="Bild2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2700000">
            <a:off x="4679950" y="2611438"/>
            <a:ext cx="126047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45" name="Text Box 19"/>
          <p:cNvSpPr txBox="1">
            <a:spLocks noChangeArrowheads="1"/>
          </p:cNvSpPr>
          <p:nvPr/>
        </p:nvSpPr>
        <p:spPr bwMode="gray">
          <a:xfrm>
            <a:off x="3938588" y="1874838"/>
            <a:ext cx="98583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de-DE" sz="1000">
                <a:solidFill>
                  <a:schemeClr val="bg1"/>
                </a:solidFill>
              </a:rPr>
              <a:t>P</a:t>
            </a:r>
            <a:r>
              <a:rPr lang="de-DE" sz="1000" noProof="1">
                <a:solidFill>
                  <a:schemeClr val="bg1"/>
                </a:solidFill>
              </a:rPr>
              <a:t>laceholder </a:t>
            </a:r>
            <a:r>
              <a:rPr lang="de-DE" sz="1000">
                <a:solidFill>
                  <a:schemeClr val="bg1"/>
                </a:solidFill>
              </a:rPr>
              <a:t>T</a:t>
            </a:r>
            <a:r>
              <a:rPr lang="de-DE" sz="1000" noProof="1">
                <a:solidFill>
                  <a:schemeClr val="bg1"/>
                </a:solidFill>
              </a:rPr>
              <a:t>ext</a:t>
            </a:r>
          </a:p>
        </p:txBody>
      </p:sp>
      <p:sp>
        <p:nvSpPr>
          <p:cNvPr id="22546" name="Text Box 19"/>
          <p:cNvSpPr txBox="1">
            <a:spLocks noChangeArrowheads="1"/>
          </p:cNvSpPr>
          <p:nvPr/>
        </p:nvSpPr>
        <p:spPr bwMode="gray">
          <a:xfrm>
            <a:off x="3954463" y="2246313"/>
            <a:ext cx="952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de-DE" sz="1000">
                <a:solidFill>
                  <a:schemeClr val="bg1"/>
                </a:solidFill>
              </a:rPr>
              <a:t>P</a:t>
            </a:r>
            <a:r>
              <a:rPr lang="de-DE" sz="1000" noProof="1">
                <a:solidFill>
                  <a:schemeClr val="bg1"/>
                </a:solidFill>
              </a:rPr>
              <a:t>laceholder</a:t>
            </a:r>
          </a:p>
        </p:txBody>
      </p:sp>
      <p:sp>
        <p:nvSpPr>
          <p:cNvPr id="22547" name="Text Box 19"/>
          <p:cNvSpPr txBox="1">
            <a:spLocks noChangeArrowheads="1"/>
          </p:cNvSpPr>
          <p:nvPr/>
        </p:nvSpPr>
        <p:spPr bwMode="gray">
          <a:xfrm>
            <a:off x="4032250" y="2649538"/>
            <a:ext cx="7985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de-DE" sz="900">
                <a:solidFill>
                  <a:schemeClr val="bg1"/>
                </a:solidFill>
              </a:rPr>
              <a:t>Text</a:t>
            </a:r>
            <a:endParaRPr lang="de-DE" sz="900" noProof="1">
              <a:solidFill>
                <a:schemeClr val="bg1"/>
              </a:solidFill>
            </a:endParaRPr>
          </a:p>
        </p:txBody>
      </p:sp>
      <p:sp>
        <p:nvSpPr>
          <p:cNvPr id="22548" name="Text Box 19"/>
          <p:cNvSpPr txBox="1">
            <a:spLocks noChangeArrowheads="1"/>
          </p:cNvSpPr>
          <p:nvPr/>
        </p:nvSpPr>
        <p:spPr bwMode="gray">
          <a:xfrm>
            <a:off x="4032250" y="3017838"/>
            <a:ext cx="79851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s-AR" sz="900" noProof="1">
                <a:solidFill>
                  <a:schemeClr val="bg1"/>
                </a:solidFill>
              </a:rPr>
              <a:t>Placeholder Text</a:t>
            </a:r>
          </a:p>
        </p:txBody>
      </p:sp>
      <p:sp>
        <p:nvSpPr>
          <p:cNvPr id="22549" name="WordArt 120"/>
          <p:cNvSpPr>
            <a:spLocks noChangeArrowheads="1" noChangeShapeType="1" noTextEdit="1"/>
          </p:cNvSpPr>
          <p:nvPr/>
        </p:nvSpPr>
        <p:spPr bwMode="auto">
          <a:xfrm>
            <a:off x="4049713" y="1708150"/>
            <a:ext cx="839787" cy="17938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spcFirstLastPara="1" wrap="none" fromWordArt="1">
            <a:prstTxWarp prst="textArchUp">
              <a:avLst>
                <a:gd name="adj" fmla="val 11275344"/>
              </a:avLst>
            </a:prstTxWarp>
          </a:bodyPr>
          <a:lstStyle/>
          <a:p>
            <a:pPr algn="ctr"/>
            <a:r>
              <a:rPr lang="es-AR" sz="1000" kern="10">
                <a:solidFill>
                  <a:schemeClr val="bg1"/>
                </a:solidFill>
                <a:latin typeface="Arial Black" panose="020B0A04020102020204" pitchFamily="34" charset="0"/>
              </a:rPr>
              <a:t>Placeholder</a:t>
            </a:r>
          </a:p>
        </p:txBody>
      </p:sp>
      <p:sp>
        <p:nvSpPr>
          <p:cNvPr id="22550" name="Oval 121"/>
          <p:cNvSpPr>
            <a:spLocks noChangeArrowheads="1"/>
          </p:cNvSpPr>
          <p:nvPr/>
        </p:nvSpPr>
        <p:spPr bwMode="auto">
          <a:xfrm>
            <a:off x="3327400" y="4692650"/>
            <a:ext cx="115888" cy="115888"/>
          </a:xfrm>
          <a:prstGeom prst="ellipse">
            <a:avLst/>
          </a:prstGeom>
          <a:gradFill rotWithShape="1">
            <a:gsLst>
              <a:gs pos="0">
                <a:srgbClr val="B2CF7D"/>
              </a:gs>
              <a:gs pos="100000">
                <a:srgbClr val="6B9B1A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de-DE"/>
          </a:p>
        </p:txBody>
      </p:sp>
      <p:sp>
        <p:nvSpPr>
          <p:cNvPr id="22551" name="Oval 122"/>
          <p:cNvSpPr>
            <a:spLocks noChangeArrowheads="1"/>
          </p:cNvSpPr>
          <p:nvPr/>
        </p:nvSpPr>
        <p:spPr bwMode="auto">
          <a:xfrm>
            <a:off x="3576638" y="4916488"/>
            <a:ext cx="117475" cy="117475"/>
          </a:xfrm>
          <a:prstGeom prst="ellipse">
            <a:avLst/>
          </a:prstGeom>
          <a:gradFill rotWithShape="1">
            <a:gsLst>
              <a:gs pos="0">
                <a:srgbClr val="B2CF7D"/>
              </a:gs>
              <a:gs pos="100000">
                <a:srgbClr val="6B9B1A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de-DE"/>
          </a:p>
        </p:txBody>
      </p:sp>
      <p:sp>
        <p:nvSpPr>
          <p:cNvPr id="22552" name="Oval 123"/>
          <p:cNvSpPr>
            <a:spLocks noChangeArrowheads="1"/>
          </p:cNvSpPr>
          <p:nvPr/>
        </p:nvSpPr>
        <p:spPr bwMode="auto">
          <a:xfrm>
            <a:off x="4008438" y="4986338"/>
            <a:ext cx="115887" cy="117475"/>
          </a:xfrm>
          <a:prstGeom prst="ellipse">
            <a:avLst/>
          </a:prstGeom>
          <a:gradFill rotWithShape="1">
            <a:gsLst>
              <a:gs pos="0">
                <a:srgbClr val="B2CF7D"/>
              </a:gs>
              <a:gs pos="100000">
                <a:srgbClr val="6B9B1A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de-DE"/>
          </a:p>
        </p:txBody>
      </p:sp>
      <p:sp>
        <p:nvSpPr>
          <p:cNvPr id="22553" name="Oval 124"/>
          <p:cNvSpPr>
            <a:spLocks noChangeArrowheads="1"/>
          </p:cNvSpPr>
          <p:nvPr/>
        </p:nvSpPr>
        <p:spPr bwMode="auto">
          <a:xfrm>
            <a:off x="4584700" y="4576763"/>
            <a:ext cx="117475" cy="117475"/>
          </a:xfrm>
          <a:prstGeom prst="ellipse">
            <a:avLst/>
          </a:prstGeom>
          <a:gradFill rotWithShape="1">
            <a:gsLst>
              <a:gs pos="0">
                <a:srgbClr val="B2CF7D"/>
              </a:gs>
              <a:gs pos="100000">
                <a:srgbClr val="6B9B1A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de-DE"/>
          </a:p>
        </p:txBody>
      </p:sp>
      <p:sp>
        <p:nvSpPr>
          <p:cNvPr id="22554" name="Oval 125"/>
          <p:cNvSpPr>
            <a:spLocks noChangeArrowheads="1"/>
          </p:cNvSpPr>
          <p:nvPr/>
        </p:nvSpPr>
        <p:spPr bwMode="auto">
          <a:xfrm>
            <a:off x="4772025" y="4737100"/>
            <a:ext cx="115888" cy="115888"/>
          </a:xfrm>
          <a:prstGeom prst="ellipse">
            <a:avLst/>
          </a:prstGeom>
          <a:gradFill rotWithShape="1">
            <a:gsLst>
              <a:gs pos="0">
                <a:srgbClr val="B2CF7D"/>
              </a:gs>
              <a:gs pos="100000">
                <a:srgbClr val="6B9B1A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de-DE"/>
          </a:p>
        </p:txBody>
      </p:sp>
      <p:sp>
        <p:nvSpPr>
          <p:cNvPr id="22555" name="Oval 126"/>
          <p:cNvSpPr>
            <a:spLocks noChangeArrowheads="1"/>
          </p:cNvSpPr>
          <p:nvPr/>
        </p:nvSpPr>
        <p:spPr bwMode="auto">
          <a:xfrm>
            <a:off x="4938713" y="4500563"/>
            <a:ext cx="115887" cy="115887"/>
          </a:xfrm>
          <a:prstGeom prst="ellipse">
            <a:avLst/>
          </a:prstGeom>
          <a:gradFill rotWithShape="1">
            <a:gsLst>
              <a:gs pos="0">
                <a:srgbClr val="B2CF7D"/>
              </a:gs>
              <a:gs pos="100000">
                <a:srgbClr val="6B9B1A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de-DE"/>
          </a:p>
        </p:txBody>
      </p:sp>
      <p:sp>
        <p:nvSpPr>
          <p:cNvPr id="22556" name="Oval 127"/>
          <p:cNvSpPr>
            <a:spLocks noChangeArrowheads="1"/>
          </p:cNvSpPr>
          <p:nvPr/>
        </p:nvSpPr>
        <p:spPr bwMode="auto">
          <a:xfrm>
            <a:off x="5862638" y="4576763"/>
            <a:ext cx="115887" cy="117475"/>
          </a:xfrm>
          <a:prstGeom prst="ellipse">
            <a:avLst/>
          </a:prstGeom>
          <a:gradFill rotWithShape="1">
            <a:gsLst>
              <a:gs pos="0">
                <a:srgbClr val="B2CF7D"/>
              </a:gs>
              <a:gs pos="100000">
                <a:srgbClr val="6B9B1A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de-DE"/>
          </a:p>
        </p:txBody>
      </p:sp>
      <p:sp>
        <p:nvSpPr>
          <p:cNvPr id="22557" name="Oval 128"/>
          <p:cNvSpPr>
            <a:spLocks noChangeArrowheads="1"/>
          </p:cNvSpPr>
          <p:nvPr/>
        </p:nvSpPr>
        <p:spPr bwMode="auto">
          <a:xfrm>
            <a:off x="6022975" y="4391025"/>
            <a:ext cx="117475" cy="115888"/>
          </a:xfrm>
          <a:prstGeom prst="ellipse">
            <a:avLst/>
          </a:prstGeom>
          <a:gradFill rotWithShape="1">
            <a:gsLst>
              <a:gs pos="0">
                <a:srgbClr val="B2CF7D"/>
              </a:gs>
              <a:gs pos="100000">
                <a:srgbClr val="6B9B1A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de-DE"/>
          </a:p>
        </p:txBody>
      </p:sp>
      <p:sp>
        <p:nvSpPr>
          <p:cNvPr id="22558" name="Oval 129"/>
          <p:cNvSpPr>
            <a:spLocks noChangeArrowheads="1"/>
          </p:cNvSpPr>
          <p:nvPr/>
        </p:nvSpPr>
        <p:spPr bwMode="auto">
          <a:xfrm>
            <a:off x="6042025" y="4083050"/>
            <a:ext cx="117475" cy="115888"/>
          </a:xfrm>
          <a:prstGeom prst="ellipse">
            <a:avLst/>
          </a:prstGeom>
          <a:gradFill rotWithShape="1">
            <a:gsLst>
              <a:gs pos="0">
                <a:srgbClr val="B2CF7D"/>
              </a:gs>
              <a:gs pos="100000">
                <a:srgbClr val="6B9B1A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de-DE"/>
          </a:p>
        </p:txBody>
      </p:sp>
      <p:sp>
        <p:nvSpPr>
          <p:cNvPr id="22559" name="Text Box 13"/>
          <p:cNvSpPr txBox="1">
            <a:spLocks noChangeArrowheads="1"/>
          </p:cNvSpPr>
          <p:nvPr/>
        </p:nvSpPr>
        <p:spPr bwMode="gray">
          <a:xfrm>
            <a:off x="5835650" y="1858963"/>
            <a:ext cx="3003550" cy="97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ct val="40000"/>
              </a:spcAft>
            </a:pPr>
            <a:r>
              <a:rPr lang="es-AR" sz="1600" noProof="1">
                <a:solidFill>
                  <a:srgbClr val="080808"/>
                </a:solidFill>
              </a:rPr>
              <a:t>The text demonstrates how your own text will look when you replace the placeholder </a:t>
            </a:r>
            <a:br>
              <a:rPr lang="es-AR" sz="1600" noProof="1">
                <a:solidFill>
                  <a:srgbClr val="080808"/>
                </a:solidFill>
              </a:rPr>
            </a:br>
            <a:r>
              <a:rPr lang="es-AR" sz="1600" noProof="1">
                <a:solidFill>
                  <a:srgbClr val="080808"/>
                </a:solidFill>
              </a:rPr>
              <a:t>with your own text.</a:t>
            </a:r>
          </a:p>
        </p:txBody>
      </p:sp>
      <p:sp>
        <p:nvSpPr>
          <p:cNvPr id="22560" name="Text Box 14"/>
          <p:cNvSpPr txBox="1">
            <a:spLocks noChangeArrowheads="1"/>
          </p:cNvSpPr>
          <p:nvPr/>
        </p:nvSpPr>
        <p:spPr bwMode="gray">
          <a:xfrm>
            <a:off x="6113463" y="4741863"/>
            <a:ext cx="2725737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ct val="40000"/>
              </a:spcAft>
            </a:pPr>
            <a:r>
              <a:rPr lang="es-AR" sz="1600" noProof="1">
                <a:solidFill>
                  <a:srgbClr val="080808"/>
                </a:solidFill>
              </a:rPr>
              <a:t>This is placeholder text. </a:t>
            </a:r>
            <a:br>
              <a:rPr lang="es-AR" sz="1600" noProof="1">
                <a:solidFill>
                  <a:srgbClr val="080808"/>
                </a:solidFill>
              </a:rPr>
            </a:br>
            <a:r>
              <a:rPr lang="es-AR" sz="1600" noProof="1">
                <a:solidFill>
                  <a:srgbClr val="080808"/>
                </a:solidFill>
              </a:rPr>
              <a:t>All phrases can be replaced with your own text.</a:t>
            </a:r>
          </a:p>
        </p:txBody>
      </p:sp>
      <p:sp>
        <p:nvSpPr>
          <p:cNvPr id="22561" name="Text Box 19"/>
          <p:cNvSpPr txBox="1">
            <a:spLocks noChangeArrowheads="1"/>
          </p:cNvSpPr>
          <p:nvPr/>
        </p:nvSpPr>
        <p:spPr bwMode="gray">
          <a:xfrm>
            <a:off x="312738" y="1858963"/>
            <a:ext cx="2705100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600" noProof="1">
                <a:solidFill>
                  <a:srgbClr val="080808"/>
                </a:solidFill>
              </a:rPr>
              <a:t>This is placeholder text. </a:t>
            </a:r>
            <a:br>
              <a:rPr lang="es-AR" sz="1600" noProof="1">
                <a:solidFill>
                  <a:srgbClr val="080808"/>
                </a:solidFill>
              </a:rPr>
            </a:br>
            <a:r>
              <a:rPr lang="es-AR" sz="1600" noProof="1">
                <a:solidFill>
                  <a:srgbClr val="080808"/>
                </a:solidFill>
              </a:rPr>
              <a:t>All phrases can be replaced with your own text.</a:t>
            </a:r>
          </a:p>
        </p:txBody>
      </p:sp>
      <p:sp>
        <p:nvSpPr>
          <p:cNvPr id="22562" name="Text Box 20"/>
          <p:cNvSpPr txBox="1">
            <a:spLocks noChangeArrowheads="1"/>
          </p:cNvSpPr>
          <p:nvPr/>
        </p:nvSpPr>
        <p:spPr bwMode="gray">
          <a:xfrm>
            <a:off x="312738" y="4473575"/>
            <a:ext cx="2619375" cy="97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600" noProof="1">
                <a:solidFill>
                  <a:srgbClr val="080808"/>
                </a:solidFill>
              </a:rPr>
              <a:t>The text demonstrates how your own text will look when you replace the placeholder with your own text.</a:t>
            </a:r>
          </a:p>
        </p:txBody>
      </p:sp>
      <p:sp>
        <p:nvSpPr>
          <p:cNvPr id="22563" name="Textfeld 7"/>
          <p:cNvSpPr txBox="1">
            <a:spLocks noChangeArrowheads="1"/>
          </p:cNvSpPr>
          <p:nvPr/>
        </p:nvSpPr>
        <p:spPr bwMode="gray">
          <a:xfrm>
            <a:off x="155575" y="174625"/>
            <a:ext cx="8988425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de-DE" sz="6000" b="1">
                <a:solidFill>
                  <a:srgbClr val="6B9B1A"/>
                </a:solidFill>
              </a:rPr>
              <a:t>RADAR</a:t>
            </a:r>
            <a:r>
              <a:rPr lang="de-DE" sz="6000">
                <a:solidFill>
                  <a:srgbClr val="595959"/>
                </a:solidFill>
              </a:rPr>
              <a:t>CHART</a:t>
            </a:r>
          </a:p>
        </p:txBody>
      </p:sp>
      <p:grpSp>
        <p:nvGrpSpPr>
          <p:cNvPr id="22564" name="Group 38"/>
          <p:cNvGrpSpPr>
            <a:grpSpLocks/>
          </p:cNvGrpSpPr>
          <p:nvPr/>
        </p:nvGrpSpPr>
        <p:grpSpPr bwMode="auto">
          <a:xfrm>
            <a:off x="4173538" y="3479800"/>
            <a:ext cx="504825" cy="485775"/>
            <a:chOff x="4684" y="485"/>
            <a:chExt cx="318" cy="306"/>
          </a:xfrm>
        </p:grpSpPr>
        <p:sp>
          <p:nvSpPr>
            <p:cNvPr id="22565" name="Oval 14"/>
            <p:cNvSpPr>
              <a:spLocks noChangeArrowheads="1"/>
            </p:cNvSpPr>
            <p:nvPr/>
          </p:nvSpPr>
          <p:spPr bwMode="auto">
            <a:xfrm rot="-1088192">
              <a:off x="4701" y="501"/>
              <a:ext cx="286" cy="286"/>
            </a:xfrm>
            <a:prstGeom prst="ellipse">
              <a:avLst/>
            </a:prstGeom>
            <a:gradFill rotWithShape="1">
              <a:gsLst>
                <a:gs pos="0">
                  <a:srgbClr val="CEE1AD">
                    <a:alpha val="81000"/>
                  </a:srgbClr>
                </a:gs>
                <a:gs pos="100000">
                  <a:srgbClr val="90BA45"/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es-AR"/>
            </a:p>
          </p:txBody>
        </p:sp>
        <p:sp>
          <p:nvSpPr>
            <p:cNvPr id="22566" name="Line 19"/>
            <p:cNvSpPr>
              <a:spLocks noChangeShapeType="1"/>
            </p:cNvSpPr>
            <p:nvPr/>
          </p:nvSpPr>
          <p:spPr bwMode="auto">
            <a:xfrm rot="-1088192">
              <a:off x="4769" y="514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2567" name="Line 20"/>
            <p:cNvSpPr>
              <a:spLocks noChangeShapeType="1"/>
            </p:cNvSpPr>
            <p:nvPr/>
          </p:nvSpPr>
          <p:spPr bwMode="auto">
            <a:xfrm rot="-1088192">
              <a:off x="4769" y="514"/>
              <a:ext cx="0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2568" name="Line 21"/>
            <p:cNvSpPr>
              <a:spLocks noChangeShapeType="1"/>
            </p:cNvSpPr>
            <p:nvPr/>
          </p:nvSpPr>
          <p:spPr bwMode="auto">
            <a:xfrm rot="-1088192">
              <a:off x="4905" y="516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2569" name="Line 22"/>
            <p:cNvSpPr>
              <a:spLocks noChangeShapeType="1"/>
            </p:cNvSpPr>
            <p:nvPr/>
          </p:nvSpPr>
          <p:spPr bwMode="auto">
            <a:xfrm rot="-1088192">
              <a:off x="4905" y="516"/>
              <a:ext cx="0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2570" name="Line 23"/>
            <p:cNvSpPr>
              <a:spLocks noChangeShapeType="1"/>
            </p:cNvSpPr>
            <p:nvPr/>
          </p:nvSpPr>
          <p:spPr bwMode="auto">
            <a:xfrm rot="-1088192">
              <a:off x="4706" y="696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2571" name="Line 24"/>
            <p:cNvSpPr>
              <a:spLocks noChangeShapeType="1"/>
            </p:cNvSpPr>
            <p:nvPr/>
          </p:nvSpPr>
          <p:spPr bwMode="auto">
            <a:xfrm rot="-1088192">
              <a:off x="4706" y="696"/>
              <a:ext cx="0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2572" name="Line 25"/>
            <p:cNvSpPr>
              <a:spLocks noChangeShapeType="1"/>
            </p:cNvSpPr>
            <p:nvPr/>
          </p:nvSpPr>
          <p:spPr bwMode="auto">
            <a:xfrm rot="-1088192">
              <a:off x="4922" y="763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2573" name="Line 26"/>
            <p:cNvSpPr>
              <a:spLocks noChangeShapeType="1"/>
            </p:cNvSpPr>
            <p:nvPr/>
          </p:nvSpPr>
          <p:spPr bwMode="auto">
            <a:xfrm rot="-1088192">
              <a:off x="4922" y="763"/>
              <a:ext cx="0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2574" name="Line 27"/>
            <p:cNvSpPr>
              <a:spLocks noChangeShapeType="1"/>
            </p:cNvSpPr>
            <p:nvPr/>
          </p:nvSpPr>
          <p:spPr bwMode="auto">
            <a:xfrm rot="-1088192">
              <a:off x="4841" y="490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2575" name="Line 28"/>
            <p:cNvSpPr>
              <a:spLocks noChangeShapeType="1"/>
            </p:cNvSpPr>
            <p:nvPr/>
          </p:nvSpPr>
          <p:spPr bwMode="auto">
            <a:xfrm rot="-1088192">
              <a:off x="4841" y="490"/>
              <a:ext cx="0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2576" name="Line 30"/>
            <p:cNvSpPr>
              <a:spLocks noChangeShapeType="1"/>
            </p:cNvSpPr>
            <p:nvPr/>
          </p:nvSpPr>
          <p:spPr bwMode="auto">
            <a:xfrm rot="-1088192">
              <a:off x="4985" y="630"/>
              <a:ext cx="0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2577" name="Line 31"/>
            <p:cNvSpPr>
              <a:spLocks noChangeShapeType="1"/>
            </p:cNvSpPr>
            <p:nvPr/>
          </p:nvSpPr>
          <p:spPr bwMode="auto">
            <a:xfrm rot="-1088192">
              <a:off x="4785" y="775"/>
              <a:ext cx="0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2578" name="Freeform 29"/>
            <p:cNvSpPr>
              <a:spLocks/>
            </p:cNvSpPr>
            <p:nvPr/>
          </p:nvSpPr>
          <p:spPr bwMode="auto">
            <a:xfrm rot="-1088192">
              <a:off x="4688" y="568"/>
              <a:ext cx="259" cy="79"/>
            </a:xfrm>
            <a:custGeom>
              <a:avLst/>
              <a:gdLst>
                <a:gd name="T0" fmla="*/ 0 w 275"/>
                <a:gd name="T1" fmla="*/ 161 h 86"/>
                <a:gd name="T2" fmla="*/ 591 w 275"/>
                <a:gd name="T3" fmla="*/ 0 h 86"/>
                <a:gd name="T4" fmla="*/ 0 60000 65536"/>
                <a:gd name="T5" fmla="*/ 0 60000 65536"/>
                <a:gd name="T6" fmla="*/ 0 w 275"/>
                <a:gd name="T7" fmla="*/ 0 h 86"/>
                <a:gd name="T8" fmla="*/ 275 w 275"/>
                <a:gd name="T9" fmla="*/ 86 h 8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75" h="86">
                  <a:moveTo>
                    <a:pt x="0" y="86"/>
                  </a:moveTo>
                  <a:cubicBezTo>
                    <a:pt x="0" y="86"/>
                    <a:pt x="216" y="82"/>
                    <a:pt x="275" y="0"/>
                  </a:cubicBez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2579" name="Freeform 32"/>
            <p:cNvSpPr>
              <a:spLocks/>
            </p:cNvSpPr>
            <p:nvPr/>
          </p:nvSpPr>
          <p:spPr bwMode="auto">
            <a:xfrm rot="-1088192">
              <a:off x="4766" y="678"/>
              <a:ext cx="236" cy="66"/>
            </a:xfrm>
            <a:custGeom>
              <a:avLst/>
              <a:gdLst>
                <a:gd name="T0" fmla="*/ 0 w 251"/>
                <a:gd name="T1" fmla="*/ 119 h 71"/>
                <a:gd name="T2" fmla="*/ 529 w 251"/>
                <a:gd name="T3" fmla="*/ 0 h 71"/>
                <a:gd name="T4" fmla="*/ 0 60000 65536"/>
                <a:gd name="T5" fmla="*/ 0 60000 65536"/>
                <a:gd name="T6" fmla="*/ 0 w 251"/>
                <a:gd name="T7" fmla="*/ 0 h 71"/>
                <a:gd name="T8" fmla="*/ 251 w 251"/>
                <a:gd name="T9" fmla="*/ 71 h 71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51" h="71">
                  <a:moveTo>
                    <a:pt x="0" y="61"/>
                  </a:moveTo>
                  <a:cubicBezTo>
                    <a:pt x="0" y="61"/>
                    <a:pt x="166" y="71"/>
                    <a:pt x="251" y="0"/>
                  </a:cubicBez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2580" name="Freeform 33"/>
            <p:cNvSpPr>
              <a:spLocks/>
            </p:cNvSpPr>
            <p:nvPr/>
          </p:nvSpPr>
          <p:spPr bwMode="auto">
            <a:xfrm rot="-1088192">
              <a:off x="4851" y="493"/>
              <a:ext cx="55" cy="277"/>
            </a:xfrm>
            <a:custGeom>
              <a:avLst/>
              <a:gdLst>
                <a:gd name="T0" fmla="*/ 49 w 59"/>
                <a:gd name="T1" fmla="*/ 610 h 295"/>
                <a:gd name="T2" fmla="*/ 0 w 59"/>
                <a:gd name="T3" fmla="*/ 0 h 295"/>
                <a:gd name="T4" fmla="*/ 0 60000 65536"/>
                <a:gd name="T5" fmla="*/ 0 60000 65536"/>
                <a:gd name="T6" fmla="*/ 0 w 59"/>
                <a:gd name="T7" fmla="*/ 0 h 295"/>
                <a:gd name="T8" fmla="*/ 59 w 59"/>
                <a:gd name="T9" fmla="*/ 295 h 295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59" h="295">
                  <a:moveTo>
                    <a:pt x="24" y="295"/>
                  </a:moveTo>
                  <a:cubicBezTo>
                    <a:pt x="24" y="295"/>
                    <a:pt x="59" y="128"/>
                    <a:pt x="0" y="0"/>
                  </a:cubicBezTo>
                </a:path>
              </a:pathLst>
            </a:custGeom>
            <a:no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2581" name="Freeform 34"/>
            <p:cNvSpPr>
              <a:spLocks/>
            </p:cNvSpPr>
            <p:nvPr/>
          </p:nvSpPr>
          <p:spPr bwMode="auto">
            <a:xfrm rot="-1088192">
              <a:off x="4772" y="525"/>
              <a:ext cx="104" cy="266"/>
            </a:xfrm>
            <a:custGeom>
              <a:avLst/>
              <a:gdLst>
                <a:gd name="T0" fmla="*/ 237 w 110"/>
                <a:gd name="T1" fmla="*/ 592 h 283"/>
                <a:gd name="T2" fmla="*/ 27 w 110"/>
                <a:gd name="T3" fmla="*/ 0 h 283"/>
                <a:gd name="T4" fmla="*/ 0 60000 65536"/>
                <a:gd name="T5" fmla="*/ 0 60000 65536"/>
                <a:gd name="T6" fmla="*/ 0 w 110"/>
                <a:gd name="T7" fmla="*/ 0 h 283"/>
                <a:gd name="T8" fmla="*/ 110 w 110"/>
                <a:gd name="T9" fmla="*/ 283 h 283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10" h="283">
                  <a:moveTo>
                    <a:pt x="110" y="283"/>
                  </a:moveTo>
                  <a:cubicBezTo>
                    <a:pt x="110" y="283"/>
                    <a:pt x="0" y="110"/>
                    <a:pt x="13" y="0"/>
                  </a:cubicBez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2582" name="Freeform 35"/>
            <p:cNvSpPr>
              <a:spLocks/>
            </p:cNvSpPr>
            <p:nvPr/>
          </p:nvSpPr>
          <p:spPr bwMode="auto">
            <a:xfrm rot="-1088192">
              <a:off x="4684" y="544"/>
              <a:ext cx="114" cy="244"/>
            </a:xfrm>
            <a:custGeom>
              <a:avLst/>
              <a:gdLst>
                <a:gd name="T0" fmla="*/ 163 w 120"/>
                <a:gd name="T1" fmla="*/ 548 h 259"/>
                <a:gd name="T2" fmla="*/ 265 w 120"/>
                <a:gd name="T3" fmla="*/ 0 h 259"/>
                <a:gd name="T4" fmla="*/ 0 60000 65536"/>
                <a:gd name="T5" fmla="*/ 0 60000 65536"/>
                <a:gd name="T6" fmla="*/ 0 w 120"/>
                <a:gd name="T7" fmla="*/ 0 h 259"/>
                <a:gd name="T8" fmla="*/ 120 w 120"/>
                <a:gd name="T9" fmla="*/ 259 h 259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20" h="259">
                  <a:moveTo>
                    <a:pt x="74" y="259"/>
                  </a:moveTo>
                  <a:cubicBezTo>
                    <a:pt x="74" y="259"/>
                    <a:pt x="0" y="126"/>
                    <a:pt x="120" y="0"/>
                  </a:cubicBez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2583" name="Freeform 36"/>
            <p:cNvSpPr>
              <a:spLocks/>
            </p:cNvSpPr>
            <p:nvPr/>
          </p:nvSpPr>
          <p:spPr bwMode="auto">
            <a:xfrm rot="-1088192">
              <a:off x="4824" y="485"/>
              <a:ext cx="156" cy="195"/>
            </a:xfrm>
            <a:custGeom>
              <a:avLst/>
              <a:gdLst>
                <a:gd name="T0" fmla="*/ 316 w 164"/>
                <a:gd name="T1" fmla="*/ 428 h 208"/>
                <a:gd name="T2" fmla="*/ 0 w 164"/>
                <a:gd name="T3" fmla="*/ 0 h 208"/>
                <a:gd name="T4" fmla="*/ 0 60000 65536"/>
                <a:gd name="T5" fmla="*/ 0 60000 65536"/>
                <a:gd name="T6" fmla="*/ 0 w 164"/>
                <a:gd name="T7" fmla="*/ 0 h 208"/>
                <a:gd name="T8" fmla="*/ 164 w 164"/>
                <a:gd name="T9" fmla="*/ 208 h 208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64" h="208">
                  <a:moveTo>
                    <a:pt x="140" y="208"/>
                  </a:moveTo>
                  <a:cubicBezTo>
                    <a:pt x="140" y="208"/>
                    <a:pt x="164" y="76"/>
                    <a:pt x="0" y="0"/>
                  </a:cubicBez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grpSp>
          <p:nvGrpSpPr>
            <p:cNvPr id="22584" name="Group 58"/>
            <p:cNvGrpSpPr>
              <a:grpSpLocks/>
            </p:cNvGrpSpPr>
            <p:nvPr/>
          </p:nvGrpSpPr>
          <p:grpSpPr bwMode="auto">
            <a:xfrm>
              <a:off x="4724" y="512"/>
              <a:ext cx="263" cy="261"/>
              <a:chOff x="4724" y="512"/>
              <a:chExt cx="263" cy="261"/>
            </a:xfrm>
          </p:grpSpPr>
          <p:sp>
            <p:nvSpPr>
              <p:cNvPr id="22585" name="Oval 75"/>
              <p:cNvSpPr>
                <a:spLocks noChangeArrowheads="1"/>
              </p:cNvSpPr>
              <p:nvPr/>
            </p:nvSpPr>
            <p:spPr bwMode="auto">
              <a:xfrm rot="20511808" flipV="1">
                <a:off x="4865" y="719"/>
                <a:ext cx="26" cy="27"/>
              </a:xfrm>
              <a:prstGeom prst="ellipse">
                <a:avLst/>
              </a:prstGeom>
              <a:gradFill rotWithShape="1">
                <a:gsLst>
                  <a:gs pos="0">
                    <a:srgbClr val="CEE1AD">
                      <a:alpha val="81000"/>
                    </a:srgbClr>
                  </a:gs>
                  <a:gs pos="100000">
                    <a:srgbClr val="6B9B1A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10800000"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sp>
            <p:nvSpPr>
              <p:cNvPr id="22586" name="Oval 72"/>
              <p:cNvSpPr>
                <a:spLocks noChangeArrowheads="1"/>
              </p:cNvSpPr>
              <p:nvPr/>
            </p:nvSpPr>
            <p:spPr bwMode="auto">
              <a:xfrm rot="20511808" flipV="1">
                <a:off x="4783" y="633"/>
                <a:ext cx="27" cy="26"/>
              </a:xfrm>
              <a:prstGeom prst="ellipse">
                <a:avLst/>
              </a:prstGeom>
              <a:gradFill rotWithShape="1">
                <a:gsLst>
                  <a:gs pos="0">
                    <a:srgbClr val="CEE1AD">
                      <a:alpha val="81000"/>
                    </a:srgbClr>
                  </a:gs>
                  <a:gs pos="100000">
                    <a:srgbClr val="6B9B1A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10800000"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sp>
            <p:nvSpPr>
              <p:cNvPr id="22587" name="Oval 78"/>
              <p:cNvSpPr>
                <a:spLocks noChangeArrowheads="1"/>
              </p:cNvSpPr>
              <p:nvPr/>
            </p:nvSpPr>
            <p:spPr bwMode="auto">
              <a:xfrm rot="20511808" flipV="1">
                <a:off x="4897" y="703"/>
                <a:ext cx="26" cy="27"/>
              </a:xfrm>
              <a:prstGeom prst="ellipse">
                <a:avLst/>
              </a:prstGeom>
              <a:gradFill rotWithShape="1">
                <a:gsLst>
                  <a:gs pos="0">
                    <a:srgbClr val="CEE1AD">
                      <a:alpha val="81000"/>
                    </a:srgbClr>
                  </a:gs>
                  <a:gs pos="100000">
                    <a:srgbClr val="6B9B1A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10800000"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sp>
            <p:nvSpPr>
              <p:cNvPr id="22588" name="Oval 81"/>
              <p:cNvSpPr>
                <a:spLocks noChangeArrowheads="1"/>
              </p:cNvSpPr>
              <p:nvPr/>
            </p:nvSpPr>
            <p:spPr bwMode="auto">
              <a:xfrm rot="20511808" flipV="1">
                <a:off x="4860" y="592"/>
                <a:ext cx="27" cy="26"/>
              </a:xfrm>
              <a:prstGeom prst="ellipse">
                <a:avLst/>
              </a:prstGeom>
              <a:gradFill rotWithShape="1">
                <a:gsLst>
                  <a:gs pos="0">
                    <a:srgbClr val="CEE1AD">
                      <a:alpha val="81000"/>
                    </a:srgbClr>
                  </a:gs>
                  <a:gs pos="100000">
                    <a:srgbClr val="6B9B1A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10800000"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sp>
            <p:nvSpPr>
              <p:cNvPr id="22589" name="Oval 84"/>
              <p:cNvSpPr>
                <a:spLocks noChangeArrowheads="1"/>
              </p:cNvSpPr>
              <p:nvPr/>
            </p:nvSpPr>
            <p:spPr bwMode="auto">
              <a:xfrm rot="20511808" flipV="1">
                <a:off x="4904" y="544"/>
                <a:ext cx="26" cy="27"/>
              </a:xfrm>
              <a:prstGeom prst="ellipse">
                <a:avLst/>
              </a:prstGeom>
              <a:gradFill rotWithShape="1">
                <a:gsLst>
                  <a:gs pos="0">
                    <a:srgbClr val="CEE1AD">
                      <a:alpha val="81000"/>
                    </a:srgbClr>
                  </a:gs>
                  <a:gs pos="100000">
                    <a:srgbClr val="6B9B1A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10800000"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sp>
            <p:nvSpPr>
              <p:cNvPr id="22590" name="Oval 87"/>
              <p:cNvSpPr>
                <a:spLocks noChangeArrowheads="1"/>
              </p:cNvSpPr>
              <p:nvPr/>
            </p:nvSpPr>
            <p:spPr bwMode="auto">
              <a:xfrm rot="20511808" flipV="1">
                <a:off x="4724" y="664"/>
                <a:ext cx="27" cy="27"/>
              </a:xfrm>
              <a:prstGeom prst="ellipse">
                <a:avLst/>
              </a:prstGeom>
              <a:gradFill rotWithShape="1">
                <a:gsLst>
                  <a:gs pos="0">
                    <a:srgbClr val="CEE1AD">
                      <a:alpha val="81000"/>
                    </a:srgbClr>
                  </a:gs>
                  <a:gs pos="100000">
                    <a:srgbClr val="6B9B1A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10800000"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sp>
            <p:nvSpPr>
              <p:cNvPr id="22591" name="Oval 90"/>
              <p:cNvSpPr>
                <a:spLocks noChangeArrowheads="1"/>
              </p:cNvSpPr>
              <p:nvPr/>
            </p:nvSpPr>
            <p:spPr bwMode="auto">
              <a:xfrm rot="20511808" flipV="1">
                <a:off x="4772" y="746"/>
                <a:ext cx="26" cy="27"/>
              </a:xfrm>
              <a:prstGeom prst="ellipse">
                <a:avLst/>
              </a:prstGeom>
              <a:gradFill rotWithShape="1">
                <a:gsLst>
                  <a:gs pos="0">
                    <a:srgbClr val="CEE1AD">
                      <a:alpha val="81000"/>
                    </a:srgbClr>
                  </a:gs>
                  <a:gs pos="100000">
                    <a:srgbClr val="6B9B1A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10800000"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sp>
            <p:nvSpPr>
              <p:cNvPr id="22592" name="Oval 93"/>
              <p:cNvSpPr>
                <a:spLocks noChangeArrowheads="1"/>
              </p:cNvSpPr>
              <p:nvPr/>
            </p:nvSpPr>
            <p:spPr bwMode="auto">
              <a:xfrm rot="20511808" flipV="1">
                <a:off x="4960" y="635"/>
                <a:ext cx="27" cy="27"/>
              </a:xfrm>
              <a:prstGeom prst="ellipse">
                <a:avLst/>
              </a:prstGeom>
              <a:gradFill rotWithShape="1">
                <a:gsLst>
                  <a:gs pos="0">
                    <a:srgbClr val="CEE1AD">
                      <a:alpha val="81000"/>
                    </a:srgbClr>
                  </a:gs>
                  <a:gs pos="100000">
                    <a:srgbClr val="6B9B1A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10800000"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sp>
            <p:nvSpPr>
              <p:cNvPr id="22593" name="Oval 96"/>
              <p:cNvSpPr>
                <a:spLocks noChangeArrowheads="1"/>
              </p:cNvSpPr>
              <p:nvPr/>
            </p:nvSpPr>
            <p:spPr bwMode="auto">
              <a:xfrm rot="20511808" flipV="1">
                <a:off x="4740" y="542"/>
                <a:ext cx="27" cy="26"/>
              </a:xfrm>
              <a:prstGeom prst="ellipse">
                <a:avLst/>
              </a:prstGeom>
              <a:gradFill rotWithShape="1">
                <a:gsLst>
                  <a:gs pos="0">
                    <a:srgbClr val="CEE1AD">
                      <a:alpha val="81000"/>
                    </a:srgbClr>
                  </a:gs>
                  <a:gs pos="100000">
                    <a:srgbClr val="6B9B1A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10800000"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sp>
            <p:nvSpPr>
              <p:cNvPr id="22594" name="Oval 99"/>
              <p:cNvSpPr>
                <a:spLocks noChangeArrowheads="1"/>
              </p:cNvSpPr>
              <p:nvPr/>
            </p:nvSpPr>
            <p:spPr bwMode="auto">
              <a:xfrm rot="20511808" flipV="1">
                <a:off x="4804" y="512"/>
                <a:ext cx="26" cy="27"/>
              </a:xfrm>
              <a:prstGeom prst="ellipse">
                <a:avLst/>
              </a:prstGeom>
              <a:gradFill rotWithShape="1">
                <a:gsLst>
                  <a:gs pos="0">
                    <a:srgbClr val="CEE1AD">
                      <a:alpha val="81000"/>
                    </a:srgbClr>
                  </a:gs>
                  <a:gs pos="100000">
                    <a:srgbClr val="6B9B1A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10800000"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161926"/>
      </p:ext>
    </p:extLst>
  </p:cSld>
  <p:clrMapOvr>
    <a:masterClrMapping/>
  </p:clrMapOvr>
  <p:transition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54" name="Group 10"/>
          <p:cNvGrpSpPr>
            <a:grpSpLocks/>
          </p:cNvGrpSpPr>
          <p:nvPr/>
        </p:nvGrpSpPr>
        <p:grpSpPr bwMode="auto">
          <a:xfrm>
            <a:off x="0" y="-11113"/>
            <a:ext cx="9144000" cy="5948363"/>
            <a:chOff x="0" y="0"/>
            <a:chExt cx="5760" cy="3747"/>
          </a:xfrm>
        </p:grpSpPr>
        <p:sp>
          <p:nvSpPr>
            <p:cNvPr id="23620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23621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23622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23623" name="Rectangle 5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</p:grpSp>
      <p:sp>
        <p:nvSpPr>
          <p:cNvPr id="23555" name="Rectangle 2"/>
          <p:cNvSpPr txBox="1">
            <a:spLocks noChangeArrowheads="1"/>
          </p:cNvSpPr>
          <p:nvPr/>
        </p:nvSpPr>
        <p:spPr bwMode="auto">
          <a:xfrm>
            <a:off x="204788" y="58738"/>
            <a:ext cx="8520112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de-DE" sz="3200" b="1">
                <a:solidFill>
                  <a:schemeClr val="bg1"/>
                </a:solidFill>
              </a:rPr>
              <a:t>Radar Chart</a:t>
            </a:r>
            <a:endParaRPr lang="de-DE" sz="3200" b="1" noProof="1">
              <a:solidFill>
                <a:schemeClr val="bg1"/>
              </a:solidFill>
            </a:endParaRPr>
          </a:p>
        </p:txBody>
      </p:sp>
      <p:pic>
        <p:nvPicPr>
          <p:cNvPr id="23556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6588" y="5392738"/>
            <a:ext cx="5060950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57" name="Ellipse 14"/>
          <p:cNvSpPr>
            <a:spLocks noChangeArrowheads="1"/>
          </p:cNvSpPr>
          <p:nvPr/>
        </p:nvSpPr>
        <p:spPr bwMode="auto">
          <a:xfrm>
            <a:off x="2482850" y="1744663"/>
            <a:ext cx="3884613" cy="3883025"/>
          </a:xfrm>
          <a:prstGeom prst="ellipse">
            <a:avLst/>
          </a:prstGeom>
          <a:solidFill>
            <a:srgbClr val="69A2E1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sp>
        <p:nvSpPr>
          <p:cNvPr id="23558" name="Ellipse 15"/>
          <p:cNvSpPr>
            <a:spLocks noChangeArrowheads="1"/>
          </p:cNvSpPr>
          <p:nvPr/>
        </p:nvSpPr>
        <p:spPr bwMode="auto">
          <a:xfrm>
            <a:off x="2836863" y="2136775"/>
            <a:ext cx="3165475" cy="3165475"/>
          </a:xfrm>
          <a:prstGeom prst="ellipse">
            <a:avLst/>
          </a:prstGeom>
          <a:noFill/>
          <a:ln w="6350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sp>
        <p:nvSpPr>
          <p:cNvPr id="23559" name="Ellipse 16"/>
          <p:cNvSpPr>
            <a:spLocks noChangeArrowheads="1"/>
          </p:cNvSpPr>
          <p:nvPr/>
        </p:nvSpPr>
        <p:spPr bwMode="auto">
          <a:xfrm>
            <a:off x="3186113" y="2486025"/>
            <a:ext cx="2466975" cy="2466975"/>
          </a:xfrm>
          <a:prstGeom prst="ellipse">
            <a:avLst/>
          </a:prstGeom>
          <a:noFill/>
          <a:ln w="6350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sp>
        <p:nvSpPr>
          <p:cNvPr id="23560" name="Ellipse 17"/>
          <p:cNvSpPr>
            <a:spLocks noChangeArrowheads="1"/>
          </p:cNvSpPr>
          <p:nvPr/>
        </p:nvSpPr>
        <p:spPr bwMode="auto">
          <a:xfrm>
            <a:off x="3603625" y="2903538"/>
            <a:ext cx="1630363" cy="1631950"/>
          </a:xfrm>
          <a:prstGeom prst="ellipse">
            <a:avLst/>
          </a:prstGeom>
          <a:solidFill>
            <a:srgbClr val="0061B2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s-AR"/>
          </a:p>
        </p:txBody>
      </p:sp>
      <p:pic>
        <p:nvPicPr>
          <p:cNvPr id="23561" name="Picture 60" descr="Bild2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6975" y="3503613"/>
            <a:ext cx="126047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2" name="Picture 61" descr="Bild2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8938" y="4302125"/>
            <a:ext cx="428625" cy="126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3" name="Picture 63" descr="Bild2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8575" y="3503613"/>
            <a:ext cx="126047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4" name="Picture 64" descr="Bild2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700000">
            <a:off x="3290888" y="3898900"/>
            <a:ext cx="428625" cy="126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5" name="Picture 65" descr="Bild2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2588477">
            <a:off x="5089525" y="3937000"/>
            <a:ext cx="430213" cy="126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66" name="Freeform 18"/>
          <p:cNvSpPr>
            <a:spLocks/>
          </p:cNvSpPr>
          <p:nvPr/>
        </p:nvSpPr>
        <p:spPr bwMode="auto">
          <a:xfrm>
            <a:off x="3021013" y="1701800"/>
            <a:ext cx="2805112" cy="1871663"/>
          </a:xfrm>
          <a:custGeom>
            <a:avLst/>
            <a:gdLst>
              <a:gd name="T0" fmla="*/ 0 w 875"/>
              <a:gd name="T1" fmla="*/ 2013194695 h 584"/>
              <a:gd name="T2" fmla="*/ 2147483647 w 875"/>
              <a:gd name="T3" fmla="*/ 2147483647 h 584"/>
              <a:gd name="T4" fmla="*/ 2147483647 w 875"/>
              <a:gd name="T5" fmla="*/ 2147483647 h 584"/>
              <a:gd name="T6" fmla="*/ 2147483647 w 875"/>
              <a:gd name="T7" fmla="*/ 1961836134 h 584"/>
              <a:gd name="T8" fmla="*/ 2147483647 w 875"/>
              <a:gd name="T9" fmla="*/ 20543424 h 584"/>
              <a:gd name="T10" fmla="*/ 0 w 875"/>
              <a:gd name="T11" fmla="*/ 2013194695 h 5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875" h="584">
                <a:moveTo>
                  <a:pt x="0" y="196"/>
                </a:moveTo>
                <a:cubicBezTo>
                  <a:pt x="388" y="584"/>
                  <a:pt x="388" y="584"/>
                  <a:pt x="388" y="584"/>
                </a:cubicBezTo>
                <a:cubicBezTo>
                  <a:pt x="388" y="584"/>
                  <a:pt x="435" y="537"/>
                  <a:pt x="490" y="584"/>
                </a:cubicBezTo>
                <a:cubicBezTo>
                  <a:pt x="875" y="191"/>
                  <a:pt x="875" y="191"/>
                  <a:pt x="875" y="191"/>
                </a:cubicBezTo>
                <a:cubicBezTo>
                  <a:pt x="864" y="180"/>
                  <a:pt x="690" y="6"/>
                  <a:pt x="445" y="2"/>
                </a:cubicBezTo>
                <a:cubicBezTo>
                  <a:pt x="313" y="0"/>
                  <a:pt x="160" y="47"/>
                  <a:pt x="0" y="196"/>
                </a:cubicBezTo>
              </a:path>
            </a:pathLst>
          </a:custGeom>
          <a:solidFill>
            <a:srgbClr val="C5C5C5">
              <a:alpha val="41960"/>
            </a:srgbClr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AR"/>
          </a:p>
        </p:txBody>
      </p:sp>
      <p:sp>
        <p:nvSpPr>
          <p:cNvPr id="23567" name="Freeform 114"/>
          <p:cNvSpPr>
            <a:spLocks/>
          </p:cNvSpPr>
          <p:nvPr/>
        </p:nvSpPr>
        <p:spPr bwMode="auto">
          <a:xfrm>
            <a:off x="2940050" y="1247775"/>
            <a:ext cx="2963863" cy="1101725"/>
          </a:xfrm>
          <a:custGeom>
            <a:avLst/>
            <a:gdLst>
              <a:gd name="T0" fmla="*/ 2147483647 w 1288"/>
              <a:gd name="T1" fmla="*/ 2147483647 h 477"/>
              <a:gd name="T2" fmla="*/ 0 w 1288"/>
              <a:gd name="T3" fmla="*/ 2147483647 h 477"/>
              <a:gd name="T4" fmla="*/ 2147483647 w 1288"/>
              <a:gd name="T5" fmla="*/ 2147483647 h 477"/>
              <a:gd name="T6" fmla="*/ 2147483647 w 1288"/>
              <a:gd name="T7" fmla="*/ 2147483647 h 477"/>
              <a:gd name="T8" fmla="*/ 2147483647 w 1288"/>
              <a:gd name="T9" fmla="*/ 2147483647 h 477"/>
              <a:gd name="T10" fmla="*/ 2147483647 w 1288"/>
              <a:gd name="T11" fmla="*/ 2147483647 h 477"/>
              <a:gd name="T12" fmla="*/ 2147483647 w 1288"/>
              <a:gd name="T13" fmla="*/ 2147483647 h 47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88"/>
              <a:gd name="T22" fmla="*/ 0 h 477"/>
              <a:gd name="T23" fmla="*/ 1288 w 1288"/>
              <a:gd name="T24" fmla="*/ 477 h 47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88" h="477">
                <a:moveTo>
                  <a:pt x="40" y="477"/>
                </a:moveTo>
                <a:cubicBezTo>
                  <a:pt x="0" y="437"/>
                  <a:pt x="0" y="437"/>
                  <a:pt x="0" y="437"/>
                </a:cubicBezTo>
                <a:cubicBezTo>
                  <a:pt x="0" y="437"/>
                  <a:pt x="427" y="0"/>
                  <a:pt x="992" y="234"/>
                </a:cubicBezTo>
                <a:cubicBezTo>
                  <a:pt x="992" y="234"/>
                  <a:pt x="1192" y="314"/>
                  <a:pt x="1288" y="432"/>
                </a:cubicBezTo>
                <a:cubicBezTo>
                  <a:pt x="1245" y="474"/>
                  <a:pt x="1245" y="474"/>
                  <a:pt x="1245" y="474"/>
                </a:cubicBezTo>
                <a:cubicBezTo>
                  <a:pt x="1245" y="474"/>
                  <a:pt x="941" y="138"/>
                  <a:pt x="475" y="240"/>
                </a:cubicBezTo>
                <a:cubicBezTo>
                  <a:pt x="475" y="240"/>
                  <a:pt x="192" y="296"/>
                  <a:pt x="40" y="477"/>
                </a:cubicBezTo>
                <a:close/>
              </a:path>
            </a:pathLst>
          </a:custGeom>
          <a:solidFill>
            <a:srgbClr val="0061B2"/>
          </a:solidFill>
          <a:ln w="12700" cap="flat" cmpd="sng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wrap="none" anchor="ctr"/>
          <a:lstStyle/>
          <a:p>
            <a:endParaRPr lang="es-AR"/>
          </a:p>
        </p:txBody>
      </p:sp>
      <p:pic>
        <p:nvPicPr>
          <p:cNvPr id="23568" name="Picture 67" descr="Bild2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700000">
            <a:off x="2893219" y="2618581"/>
            <a:ext cx="1260475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9" name="Picture 69" descr="Bild2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2700000">
            <a:off x="4679950" y="2611438"/>
            <a:ext cx="126047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70" name="Text Box 19"/>
          <p:cNvSpPr txBox="1">
            <a:spLocks noChangeArrowheads="1"/>
          </p:cNvSpPr>
          <p:nvPr/>
        </p:nvSpPr>
        <p:spPr bwMode="gray">
          <a:xfrm>
            <a:off x="3938588" y="1874838"/>
            <a:ext cx="98583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de-DE" sz="1000">
                <a:solidFill>
                  <a:schemeClr val="bg1"/>
                </a:solidFill>
              </a:rPr>
              <a:t>P</a:t>
            </a:r>
            <a:r>
              <a:rPr lang="de-DE" sz="1000" noProof="1">
                <a:solidFill>
                  <a:schemeClr val="bg1"/>
                </a:solidFill>
              </a:rPr>
              <a:t>laceholder </a:t>
            </a:r>
            <a:r>
              <a:rPr lang="de-DE" sz="1000">
                <a:solidFill>
                  <a:schemeClr val="bg1"/>
                </a:solidFill>
              </a:rPr>
              <a:t>T</a:t>
            </a:r>
            <a:r>
              <a:rPr lang="de-DE" sz="1000" noProof="1">
                <a:solidFill>
                  <a:schemeClr val="bg1"/>
                </a:solidFill>
              </a:rPr>
              <a:t>ext</a:t>
            </a:r>
          </a:p>
        </p:txBody>
      </p:sp>
      <p:sp>
        <p:nvSpPr>
          <p:cNvPr id="23571" name="Text Box 19"/>
          <p:cNvSpPr txBox="1">
            <a:spLocks noChangeArrowheads="1"/>
          </p:cNvSpPr>
          <p:nvPr/>
        </p:nvSpPr>
        <p:spPr bwMode="gray">
          <a:xfrm>
            <a:off x="3954463" y="2246313"/>
            <a:ext cx="952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de-DE" sz="1000">
                <a:solidFill>
                  <a:schemeClr val="bg1"/>
                </a:solidFill>
              </a:rPr>
              <a:t>P</a:t>
            </a:r>
            <a:r>
              <a:rPr lang="de-DE" sz="1000" noProof="1">
                <a:solidFill>
                  <a:schemeClr val="bg1"/>
                </a:solidFill>
              </a:rPr>
              <a:t>laceholder</a:t>
            </a:r>
          </a:p>
        </p:txBody>
      </p:sp>
      <p:sp>
        <p:nvSpPr>
          <p:cNvPr id="23572" name="Text Box 19"/>
          <p:cNvSpPr txBox="1">
            <a:spLocks noChangeArrowheads="1"/>
          </p:cNvSpPr>
          <p:nvPr/>
        </p:nvSpPr>
        <p:spPr bwMode="gray">
          <a:xfrm>
            <a:off x="4032250" y="2649538"/>
            <a:ext cx="7985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de-DE" sz="900">
                <a:solidFill>
                  <a:schemeClr val="bg1"/>
                </a:solidFill>
              </a:rPr>
              <a:t>Text</a:t>
            </a:r>
            <a:endParaRPr lang="de-DE" sz="900" noProof="1">
              <a:solidFill>
                <a:schemeClr val="bg1"/>
              </a:solidFill>
            </a:endParaRPr>
          </a:p>
        </p:txBody>
      </p:sp>
      <p:sp>
        <p:nvSpPr>
          <p:cNvPr id="23573" name="Text Box 19"/>
          <p:cNvSpPr txBox="1">
            <a:spLocks noChangeArrowheads="1"/>
          </p:cNvSpPr>
          <p:nvPr/>
        </p:nvSpPr>
        <p:spPr bwMode="gray">
          <a:xfrm>
            <a:off x="4032250" y="3017838"/>
            <a:ext cx="79851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Aft>
                <a:spcPct val="40000"/>
              </a:spcAft>
            </a:pPr>
            <a:r>
              <a:rPr lang="es-AR" sz="900" noProof="1">
                <a:solidFill>
                  <a:schemeClr val="bg1"/>
                </a:solidFill>
              </a:rPr>
              <a:t>Placeholder Text</a:t>
            </a:r>
          </a:p>
        </p:txBody>
      </p:sp>
      <p:sp>
        <p:nvSpPr>
          <p:cNvPr id="23574" name="WordArt 120"/>
          <p:cNvSpPr>
            <a:spLocks noChangeArrowheads="1" noChangeShapeType="1" noTextEdit="1"/>
          </p:cNvSpPr>
          <p:nvPr/>
        </p:nvSpPr>
        <p:spPr bwMode="auto">
          <a:xfrm>
            <a:off x="4049713" y="1708150"/>
            <a:ext cx="839787" cy="17938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spcFirstLastPara="1" wrap="none" fromWordArt="1">
            <a:prstTxWarp prst="textArchUp">
              <a:avLst>
                <a:gd name="adj" fmla="val 11275344"/>
              </a:avLst>
            </a:prstTxWarp>
          </a:bodyPr>
          <a:lstStyle/>
          <a:p>
            <a:pPr algn="ctr"/>
            <a:r>
              <a:rPr lang="es-AR" sz="1000" kern="10">
                <a:solidFill>
                  <a:schemeClr val="bg1"/>
                </a:solidFill>
                <a:latin typeface="Arial Black" panose="020B0A04020102020204" pitchFamily="34" charset="0"/>
              </a:rPr>
              <a:t>Placeholder</a:t>
            </a:r>
          </a:p>
        </p:txBody>
      </p:sp>
      <p:sp>
        <p:nvSpPr>
          <p:cNvPr id="93305" name="Oval 121"/>
          <p:cNvSpPr>
            <a:spLocks noChangeArrowheads="1"/>
          </p:cNvSpPr>
          <p:nvPr/>
        </p:nvSpPr>
        <p:spPr bwMode="auto">
          <a:xfrm>
            <a:off x="3327400" y="4692650"/>
            <a:ext cx="115888" cy="115888"/>
          </a:xfrm>
          <a:prstGeom prst="ellipse">
            <a:avLst/>
          </a:prstGeom>
          <a:gradFill rotWithShape="1">
            <a:gsLst>
              <a:gs pos="0">
                <a:schemeClr val="accent1">
                  <a:gamma/>
                  <a:tint val="50588"/>
                  <a:invGamma/>
                </a:schemeClr>
              </a:gs>
              <a:gs pos="100000">
                <a:schemeClr val="accent1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93306" name="Oval 122"/>
          <p:cNvSpPr>
            <a:spLocks noChangeArrowheads="1"/>
          </p:cNvSpPr>
          <p:nvPr/>
        </p:nvSpPr>
        <p:spPr bwMode="auto">
          <a:xfrm>
            <a:off x="3576638" y="4916488"/>
            <a:ext cx="117475" cy="117475"/>
          </a:xfrm>
          <a:prstGeom prst="ellipse">
            <a:avLst/>
          </a:prstGeom>
          <a:gradFill rotWithShape="1">
            <a:gsLst>
              <a:gs pos="0">
                <a:schemeClr val="accent1">
                  <a:gamma/>
                  <a:tint val="50588"/>
                  <a:invGamma/>
                </a:schemeClr>
              </a:gs>
              <a:gs pos="100000">
                <a:schemeClr val="accent1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93307" name="Oval 123"/>
          <p:cNvSpPr>
            <a:spLocks noChangeArrowheads="1"/>
          </p:cNvSpPr>
          <p:nvPr/>
        </p:nvSpPr>
        <p:spPr bwMode="auto">
          <a:xfrm>
            <a:off x="4008438" y="4986338"/>
            <a:ext cx="115887" cy="117475"/>
          </a:xfrm>
          <a:prstGeom prst="ellipse">
            <a:avLst/>
          </a:prstGeom>
          <a:gradFill rotWithShape="1">
            <a:gsLst>
              <a:gs pos="0">
                <a:schemeClr val="accent1">
                  <a:gamma/>
                  <a:tint val="50588"/>
                  <a:invGamma/>
                </a:schemeClr>
              </a:gs>
              <a:gs pos="100000">
                <a:schemeClr val="accent1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93308" name="Oval 124"/>
          <p:cNvSpPr>
            <a:spLocks noChangeArrowheads="1"/>
          </p:cNvSpPr>
          <p:nvPr/>
        </p:nvSpPr>
        <p:spPr bwMode="auto">
          <a:xfrm>
            <a:off x="4584700" y="4576763"/>
            <a:ext cx="117475" cy="117475"/>
          </a:xfrm>
          <a:prstGeom prst="ellipse">
            <a:avLst/>
          </a:prstGeom>
          <a:gradFill rotWithShape="1">
            <a:gsLst>
              <a:gs pos="0">
                <a:schemeClr val="accent1">
                  <a:gamma/>
                  <a:tint val="50588"/>
                  <a:invGamma/>
                </a:schemeClr>
              </a:gs>
              <a:gs pos="100000">
                <a:schemeClr val="accent1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93309" name="Oval 125"/>
          <p:cNvSpPr>
            <a:spLocks noChangeArrowheads="1"/>
          </p:cNvSpPr>
          <p:nvPr/>
        </p:nvSpPr>
        <p:spPr bwMode="auto">
          <a:xfrm>
            <a:off x="4772025" y="4737100"/>
            <a:ext cx="115888" cy="115888"/>
          </a:xfrm>
          <a:prstGeom prst="ellipse">
            <a:avLst/>
          </a:prstGeom>
          <a:gradFill rotWithShape="1">
            <a:gsLst>
              <a:gs pos="0">
                <a:schemeClr val="accent1">
                  <a:gamma/>
                  <a:tint val="50588"/>
                  <a:invGamma/>
                </a:schemeClr>
              </a:gs>
              <a:gs pos="100000">
                <a:schemeClr val="accent1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93310" name="Oval 126"/>
          <p:cNvSpPr>
            <a:spLocks noChangeArrowheads="1"/>
          </p:cNvSpPr>
          <p:nvPr/>
        </p:nvSpPr>
        <p:spPr bwMode="auto">
          <a:xfrm>
            <a:off x="4938713" y="4500563"/>
            <a:ext cx="115887" cy="115887"/>
          </a:xfrm>
          <a:prstGeom prst="ellipse">
            <a:avLst/>
          </a:prstGeom>
          <a:gradFill rotWithShape="1">
            <a:gsLst>
              <a:gs pos="0">
                <a:schemeClr val="accent1">
                  <a:gamma/>
                  <a:tint val="50588"/>
                  <a:invGamma/>
                </a:schemeClr>
              </a:gs>
              <a:gs pos="100000">
                <a:schemeClr val="accent1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93311" name="Oval 127"/>
          <p:cNvSpPr>
            <a:spLocks noChangeArrowheads="1"/>
          </p:cNvSpPr>
          <p:nvPr/>
        </p:nvSpPr>
        <p:spPr bwMode="auto">
          <a:xfrm>
            <a:off x="5862638" y="4576763"/>
            <a:ext cx="115887" cy="117475"/>
          </a:xfrm>
          <a:prstGeom prst="ellipse">
            <a:avLst/>
          </a:prstGeom>
          <a:gradFill rotWithShape="1">
            <a:gsLst>
              <a:gs pos="0">
                <a:schemeClr val="accent1">
                  <a:gamma/>
                  <a:tint val="50588"/>
                  <a:invGamma/>
                </a:schemeClr>
              </a:gs>
              <a:gs pos="100000">
                <a:schemeClr val="accent1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93312" name="Oval 128"/>
          <p:cNvSpPr>
            <a:spLocks noChangeArrowheads="1"/>
          </p:cNvSpPr>
          <p:nvPr/>
        </p:nvSpPr>
        <p:spPr bwMode="auto">
          <a:xfrm>
            <a:off x="6022975" y="4391025"/>
            <a:ext cx="117475" cy="115888"/>
          </a:xfrm>
          <a:prstGeom prst="ellipse">
            <a:avLst/>
          </a:prstGeom>
          <a:gradFill rotWithShape="1">
            <a:gsLst>
              <a:gs pos="0">
                <a:schemeClr val="accent1">
                  <a:gamma/>
                  <a:tint val="50588"/>
                  <a:invGamma/>
                </a:schemeClr>
              </a:gs>
              <a:gs pos="100000">
                <a:schemeClr val="accent1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93313" name="Oval 129"/>
          <p:cNvSpPr>
            <a:spLocks noChangeArrowheads="1"/>
          </p:cNvSpPr>
          <p:nvPr/>
        </p:nvSpPr>
        <p:spPr bwMode="auto">
          <a:xfrm>
            <a:off x="6042025" y="4083050"/>
            <a:ext cx="117475" cy="115888"/>
          </a:xfrm>
          <a:prstGeom prst="ellipse">
            <a:avLst/>
          </a:prstGeom>
          <a:gradFill rotWithShape="1">
            <a:gsLst>
              <a:gs pos="0">
                <a:schemeClr val="accent1">
                  <a:gamma/>
                  <a:tint val="50588"/>
                  <a:invGamma/>
                </a:schemeClr>
              </a:gs>
              <a:gs pos="100000">
                <a:schemeClr val="accent1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23584" name="Rectangle 4"/>
          <p:cNvSpPr>
            <a:spLocks noChangeArrowheads="1"/>
          </p:cNvSpPr>
          <p:nvPr/>
        </p:nvSpPr>
        <p:spPr bwMode="gray">
          <a:xfrm>
            <a:off x="304800" y="1038225"/>
            <a:ext cx="57531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s-AR" sz="2000" noProof="1">
                <a:solidFill>
                  <a:schemeClr val="bg1"/>
                </a:solidFill>
              </a:rPr>
              <a:t>Placeholder for your own sub headline</a:t>
            </a:r>
          </a:p>
        </p:txBody>
      </p:sp>
      <p:grpSp>
        <p:nvGrpSpPr>
          <p:cNvPr id="23585" name="Group 37"/>
          <p:cNvGrpSpPr>
            <a:grpSpLocks/>
          </p:cNvGrpSpPr>
          <p:nvPr/>
        </p:nvGrpSpPr>
        <p:grpSpPr bwMode="auto">
          <a:xfrm>
            <a:off x="4173538" y="3479800"/>
            <a:ext cx="504825" cy="485775"/>
            <a:chOff x="4684" y="485"/>
            <a:chExt cx="318" cy="306"/>
          </a:xfrm>
        </p:grpSpPr>
        <p:sp>
          <p:nvSpPr>
            <p:cNvPr id="23590" name="Oval 14"/>
            <p:cNvSpPr>
              <a:spLocks noChangeArrowheads="1"/>
            </p:cNvSpPr>
            <p:nvPr/>
          </p:nvSpPr>
          <p:spPr bwMode="auto">
            <a:xfrm rot="-1088192">
              <a:off x="4701" y="501"/>
              <a:ext cx="286" cy="286"/>
            </a:xfrm>
            <a:prstGeom prst="ellipse">
              <a:avLst/>
            </a:prstGeom>
            <a:gradFill rotWithShape="1">
              <a:gsLst>
                <a:gs pos="0">
                  <a:srgbClr val="9DC2EB">
                    <a:alpha val="81000"/>
                  </a:srgbClr>
                </a:gs>
                <a:gs pos="100000">
                  <a:srgbClr val="2A79D0"/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es-AR"/>
            </a:p>
          </p:txBody>
        </p:sp>
        <p:sp>
          <p:nvSpPr>
            <p:cNvPr id="23591" name="Line 19"/>
            <p:cNvSpPr>
              <a:spLocks noChangeShapeType="1"/>
            </p:cNvSpPr>
            <p:nvPr/>
          </p:nvSpPr>
          <p:spPr bwMode="auto">
            <a:xfrm rot="-1088192">
              <a:off x="4769" y="514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3592" name="Line 20"/>
            <p:cNvSpPr>
              <a:spLocks noChangeShapeType="1"/>
            </p:cNvSpPr>
            <p:nvPr/>
          </p:nvSpPr>
          <p:spPr bwMode="auto">
            <a:xfrm rot="-1088192">
              <a:off x="4769" y="514"/>
              <a:ext cx="0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3593" name="Line 21"/>
            <p:cNvSpPr>
              <a:spLocks noChangeShapeType="1"/>
            </p:cNvSpPr>
            <p:nvPr/>
          </p:nvSpPr>
          <p:spPr bwMode="auto">
            <a:xfrm rot="-1088192">
              <a:off x="4905" y="516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3594" name="Line 22"/>
            <p:cNvSpPr>
              <a:spLocks noChangeShapeType="1"/>
            </p:cNvSpPr>
            <p:nvPr/>
          </p:nvSpPr>
          <p:spPr bwMode="auto">
            <a:xfrm rot="-1088192">
              <a:off x="4905" y="516"/>
              <a:ext cx="0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3595" name="Line 23"/>
            <p:cNvSpPr>
              <a:spLocks noChangeShapeType="1"/>
            </p:cNvSpPr>
            <p:nvPr/>
          </p:nvSpPr>
          <p:spPr bwMode="auto">
            <a:xfrm rot="-1088192">
              <a:off x="4706" y="696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3596" name="Line 24"/>
            <p:cNvSpPr>
              <a:spLocks noChangeShapeType="1"/>
            </p:cNvSpPr>
            <p:nvPr/>
          </p:nvSpPr>
          <p:spPr bwMode="auto">
            <a:xfrm rot="-1088192">
              <a:off x="4706" y="696"/>
              <a:ext cx="0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3597" name="Line 25"/>
            <p:cNvSpPr>
              <a:spLocks noChangeShapeType="1"/>
            </p:cNvSpPr>
            <p:nvPr/>
          </p:nvSpPr>
          <p:spPr bwMode="auto">
            <a:xfrm rot="-1088192">
              <a:off x="4922" y="763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3598" name="Line 26"/>
            <p:cNvSpPr>
              <a:spLocks noChangeShapeType="1"/>
            </p:cNvSpPr>
            <p:nvPr/>
          </p:nvSpPr>
          <p:spPr bwMode="auto">
            <a:xfrm rot="-1088192">
              <a:off x="4922" y="763"/>
              <a:ext cx="0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3599" name="Line 27"/>
            <p:cNvSpPr>
              <a:spLocks noChangeShapeType="1"/>
            </p:cNvSpPr>
            <p:nvPr/>
          </p:nvSpPr>
          <p:spPr bwMode="auto">
            <a:xfrm rot="-1088192">
              <a:off x="4841" y="490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3600" name="Line 28"/>
            <p:cNvSpPr>
              <a:spLocks noChangeShapeType="1"/>
            </p:cNvSpPr>
            <p:nvPr/>
          </p:nvSpPr>
          <p:spPr bwMode="auto">
            <a:xfrm rot="-1088192">
              <a:off x="4841" y="490"/>
              <a:ext cx="0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3601" name="Line 30"/>
            <p:cNvSpPr>
              <a:spLocks noChangeShapeType="1"/>
            </p:cNvSpPr>
            <p:nvPr/>
          </p:nvSpPr>
          <p:spPr bwMode="auto">
            <a:xfrm rot="-1088192">
              <a:off x="4985" y="630"/>
              <a:ext cx="0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3602" name="Line 31"/>
            <p:cNvSpPr>
              <a:spLocks noChangeShapeType="1"/>
            </p:cNvSpPr>
            <p:nvPr/>
          </p:nvSpPr>
          <p:spPr bwMode="auto">
            <a:xfrm rot="-1088192">
              <a:off x="4785" y="775"/>
              <a:ext cx="0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3603" name="Freeform 29"/>
            <p:cNvSpPr>
              <a:spLocks/>
            </p:cNvSpPr>
            <p:nvPr/>
          </p:nvSpPr>
          <p:spPr bwMode="auto">
            <a:xfrm rot="-1088192">
              <a:off x="4688" y="568"/>
              <a:ext cx="259" cy="79"/>
            </a:xfrm>
            <a:custGeom>
              <a:avLst/>
              <a:gdLst>
                <a:gd name="T0" fmla="*/ 0 w 275"/>
                <a:gd name="T1" fmla="*/ 161 h 86"/>
                <a:gd name="T2" fmla="*/ 591 w 275"/>
                <a:gd name="T3" fmla="*/ 0 h 86"/>
                <a:gd name="T4" fmla="*/ 0 60000 65536"/>
                <a:gd name="T5" fmla="*/ 0 60000 65536"/>
                <a:gd name="T6" fmla="*/ 0 w 275"/>
                <a:gd name="T7" fmla="*/ 0 h 86"/>
                <a:gd name="T8" fmla="*/ 275 w 275"/>
                <a:gd name="T9" fmla="*/ 86 h 8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75" h="86">
                  <a:moveTo>
                    <a:pt x="0" y="86"/>
                  </a:moveTo>
                  <a:cubicBezTo>
                    <a:pt x="0" y="86"/>
                    <a:pt x="216" y="82"/>
                    <a:pt x="275" y="0"/>
                  </a:cubicBez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3604" name="Freeform 32"/>
            <p:cNvSpPr>
              <a:spLocks/>
            </p:cNvSpPr>
            <p:nvPr/>
          </p:nvSpPr>
          <p:spPr bwMode="auto">
            <a:xfrm rot="-1088192">
              <a:off x="4766" y="678"/>
              <a:ext cx="236" cy="66"/>
            </a:xfrm>
            <a:custGeom>
              <a:avLst/>
              <a:gdLst>
                <a:gd name="T0" fmla="*/ 0 w 251"/>
                <a:gd name="T1" fmla="*/ 119 h 71"/>
                <a:gd name="T2" fmla="*/ 529 w 251"/>
                <a:gd name="T3" fmla="*/ 0 h 71"/>
                <a:gd name="T4" fmla="*/ 0 60000 65536"/>
                <a:gd name="T5" fmla="*/ 0 60000 65536"/>
                <a:gd name="T6" fmla="*/ 0 w 251"/>
                <a:gd name="T7" fmla="*/ 0 h 71"/>
                <a:gd name="T8" fmla="*/ 251 w 251"/>
                <a:gd name="T9" fmla="*/ 71 h 71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51" h="71">
                  <a:moveTo>
                    <a:pt x="0" y="61"/>
                  </a:moveTo>
                  <a:cubicBezTo>
                    <a:pt x="0" y="61"/>
                    <a:pt x="166" y="71"/>
                    <a:pt x="251" y="0"/>
                  </a:cubicBez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3605" name="Freeform 33"/>
            <p:cNvSpPr>
              <a:spLocks/>
            </p:cNvSpPr>
            <p:nvPr/>
          </p:nvSpPr>
          <p:spPr bwMode="auto">
            <a:xfrm rot="-1088192">
              <a:off x="4851" y="493"/>
              <a:ext cx="55" cy="277"/>
            </a:xfrm>
            <a:custGeom>
              <a:avLst/>
              <a:gdLst>
                <a:gd name="T0" fmla="*/ 49 w 59"/>
                <a:gd name="T1" fmla="*/ 610 h 295"/>
                <a:gd name="T2" fmla="*/ 0 w 59"/>
                <a:gd name="T3" fmla="*/ 0 h 295"/>
                <a:gd name="T4" fmla="*/ 0 60000 65536"/>
                <a:gd name="T5" fmla="*/ 0 60000 65536"/>
                <a:gd name="T6" fmla="*/ 0 w 59"/>
                <a:gd name="T7" fmla="*/ 0 h 295"/>
                <a:gd name="T8" fmla="*/ 59 w 59"/>
                <a:gd name="T9" fmla="*/ 295 h 295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59" h="295">
                  <a:moveTo>
                    <a:pt x="24" y="295"/>
                  </a:moveTo>
                  <a:cubicBezTo>
                    <a:pt x="24" y="295"/>
                    <a:pt x="59" y="128"/>
                    <a:pt x="0" y="0"/>
                  </a:cubicBezTo>
                </a:path>
              </a:pathLst>
            </a:custGeom>
            <a:no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3606" name="Freeform 34"/>
            <p:cNvSpPr>
              <a:spLocks/>
            </p:cNvSpPr>
            <p:nvPr/>
          </p:nvSpPr>
          <p:spPr bwMode="auto">
            <a:xfrm rot="-1088192">
              <a:off x="4772" y="525"/>
              <a:ext cx="104" cy="266"/>
            </a:xfrm>
            <a:custGeom>
              <a:avLst/>
              <a:gdLst>
                <a:gd name="T0" fmla="*/ 237 w 110"/>
                <a:gd name="T1" fmla="*/ 592 h 283"/>
                <a:gd name="T2" fmla="*/ 27 w 110"/>
                <a:gd name="T3" fmla="*/ 0 h 283"/>
                <a:gd name="T4" fmla="*/ 0 60000 65536"/>
                <a:gd name="T5" fmla="*/ 0 60000 65536"/>
                <a:gd name="T6" fmla="*/ 0 w 110"/>
                <a:gd name="T7" fmla="*/ 0 h 283"/>
                <a:gd name="T8" fmla="*/ 110 w 110"/>
                <a:gd name="T9" fmla="*/ 283 h 283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10" h="283">
                  <a:moveTo>
                    <a:pt x="110" y="283"/>
                  </a:moveTo>
                  <a:cubicBezTo>
                    <a:pt x="110" y="283"/>
                    <a:pt x="0" y="110"/>
                    <a:pt x="13" y="0"/>
                  </a:cubicBez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3607" name="Freeform 35"/>
            <p:cNvSpPr>
              <a:spLocks/>
            </p:cNvSpPr>
            <p:nvPr/>
          </p:nvSpPr>
          <p:spPr bwMode="auto">
            <a:xfrm rot="-1088192">
              <a:off x="4684" y="544"/>
              <a:ext cx="114" cy="244"/>
            </a:xfrm>
            <a:custGeom>
              <a:avLst/>
              <a:gdLst>
                <a:gd name="T0" fmla="*/ 163 w 120"/>
                <a:gd name="T1" fmla="*/ 548 h 259"/>
                <a:gd name="T2" fmla="*/ 265 w 120"/>
                <a:gd name="T3" fmla="*/ 0 h 259"/>
                <a:gd name="T4" fmla="*/ 0 60000 65536"/>
                <a:gd name="T5" fmla="*/ 0 60000 65536"/>
                <a:gd name="T6" fmla="*/ 0 w 120"/>
                <a:gd name="T7" fmla="*/ 0 h 259"/>
                <a:gd name="T8" fmla="*/ 120 w 120"/>
                <a:gd name="T9" fmla="*/ 259 h 259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20" h="259">
                  <a:moveTo>
                    <a:pt x="74" y="259"/>
                  </a:moveTo>
                  <a:cubicBezTo>
                    <a:pt x="74" y="259"/>
                    <a:pt x="0" y="126"/>
                    <a:pt x="120" y="0"/>
                  </a:cubicBez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sp>
          <p:nvSpPr>
            <p:cNvPr id="23608" name="Freeform 36"/>
            <p:cNvSpPr>
              <a:spLocks/>
            </p:cNvSpPr>
            <p:nvPr/>
          </p:nvSpPr>
          <p:spPr bwMode="auto">
            <a:xfrm rot="-1088192">
              <a:off x="4824" y="485"/>
              <a:ext cx="156" cy="195"/>
            </a:xfrm>
            <a:custGeom>
              <a:avLst/>
              <a:gdLst>
                <a:gd name="T0" fmla="*/ 316 w 164"/>
                <a:gd name="T1" fmla="*/ 428 h 208"/>
                <a:gd name="T2" fmla="*/ 0 w 164"/>
                <a:gd name="T3" fmla="*/ 0 h 208"/>
                <a:gd name="T4" fmla="*/ 0 60000 65536"/>
                <a:gd name="T5" fmla="*/ 0 60000 65536"/>
                <a:gd name="T6" fmla="*/ 0 w 164"/>
                <a:gd name="T7" fmla="*/ 0 h 208"/>
                <a:gd name="T8" fmla="*/ 164 w 164"/>
                <a:gd name="T9" fmla="*/ 208 h 208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64" h="208">
                  <a:moveTo>
                    <a:pt x="140" y="208"/>
                  </a:moveTo>
                  <a:cubicBezTo>
                    <a:pt x="140" y="208"/>
                    <a:pt x="164" y="76"/>
                    <a:pt x="0" y="0"/>
                  </a:cubicBez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s-AR"/>
            </a:p>
          </p:txBody>
        </p:sp>
        <p:grpSp>
          <p:nvGrpSpPr>
            <p:cNvPr id="23609" name="Group 57"/>
            <p:cNvGrpSpPr>
              <a:grpSpLocks/>
            </p:cNvGrpSpPr>
            <p:nvPr/>
          </p:nvGrpSpPr>
          <p:grpSpPr bwMode="auto">
            <a:xfrm>
              <a:off x="4724" y="512"/>
              <a:ext cx="263" cy="261"/>
              <a:chOff x="4724" y="512"/>
              <a:chExt cx="263" cy="261"/>
            </a:xfrm>
          </p:grpSpPr>
          <p:sp>
            <p:nvSpPr>
              <p:cNvPr id="23610" name="Oval 75"/>
              <p:cNvSpPr>
                <a:spLocks noChangeArrowheads="1"/>
              </p:cNvSpPr>
              <p:nvPr/>
            </p:nvSpPr>
            <p:spPr bwMode="auto">
              <a:xfrm rot="20511808" flipV="1">
                <a:off x="4865" y="719"/>
                <a:ext cx="26" cy="27"/>
              </a:xfrm>
              <a:prstGeom prst="ellipse">
                <a:avLst/>
              </a:prstGeom>
              <a:gradFill rotWithShape="1">
                <a:gsLst>
                  <a:gs pos="0">
                    <a:srgbClr val="9DC2EB">
                      <a:alpha val="81000"/>
                    </a:srgbClr>
                  </a:gs>
                  <a:gs pos="100000">
                    <a:srgbClr val="0061B2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10800000"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sp>
            <p:nvSpPr>
              <p:cNvPr id="23611" name="Oval 72"/>
              <p:cNvSpPr>
                <a:spLocks noChangeArrowheads="1"/>
              </p:cNvSpPr>
              <p:nvPr/>
            </p:nvSpPr>
            <p:spPr bwMode="auto">
              <a:xfrm rot="20511808" flipV="1">
                <a:off x="4783" y="633"/>
                <a:ext cx="27" cy="26"/>
              </a:xfrm>
              <a:prstGeom prst="ellipse">
                <a:avLst/>
              </a:prstGeom>
              <a:gradFill rotWithShape="1">
                <a:gsLst>
                  <a:gs pos="0">
                    <a:srgbClr val="9DC2EB">
                      <a:alpha val="81000"/>
                    </a:srgbClr>
                  </a:gs>
                  <a:gs pos="100000">
                    <a:srgbClr val="0061B2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10800000"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sp>
            <p:nvSpPr>
              <p:cNvPr id="23612" name="Oval 78"/>
              <p:cNvSpPr>
                <a:spLocks noChangeArrowheads="1"/>
              </p:cNvSpPr>
              <p:nvPr/>
            </p:nvSpPr>
            <p:spPr bwMode="auto">
              <a:xfrm rot="20511808" flipV="1">
                <a:off x="4897" y="703"/>
                <a:ext cx="26" cy="27"/>
              </a:xfrm>
              <a:prstGeom prst="ellipse">
                <a:avLst/>
              </a:prstGeom>
              <a:gradFill rotWithShape="1">
                <a:gsLst>
                  <a:gs pos="0">
                    <a:srgbClr val="9DC2EB">
                      <a:alpha val="81000"/>
                    </a:srgbClr>
                  </a:gs>
                  <a:gs pos="100000">
                    <a:srgbClr val="0061B2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10800000"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sp>
            <p:nvSpPr>
              <p:cNvPr id="23613" name="Oval 81"/>
              <p:cNvSpPr>
                <a:spLocks noChangeArrowheads="1"/>
              </p:cNvSpPr>
              <p:nvPr/>
            </p:nvSpPr>
            <p:spPr bwMode="auto">
              <a:xfrm rot="20511808" flipV="1">
                <a:off x="4860" y="592"/>
                <a:ext cx="27" cy="26"/>
              </a:xfrm>
              <a:prstGeom prst="ellipse">
                <a:avLst/>
              </a:prstGeom>
              <a:gradFill rotWithShape="1">
                <a:gsLst>
                  <a:gs pos="0">
                    <a:srgbClr val="9DC2EB">
                      <a:alpha val="81000"/>
                    </a:srgbClr>
                  </a:gs>
                  <a:gs pos="100000">
                    <a:srgbClr val="0061B2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10800000"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sp>
            <p:nvSpPr>
              <p:cNvPr id="23614" name="Oval 84"/>
              <p:cNvSpPr>
                <a:spLocks noChangeArrowheads="1"/>
              </p:cNvSpPr>
              <p:nvPr/>
            </p:nvSpPr>
            <p:spPr bwMode="auto">
              <a:xfrm rot="20511808" flipV="1">
                <a:off x="4904" y="544"/>
                <a:ext cx="26" cy="27"/>
              </a:xfrm>
              <a:prstGeom prst="ellipse">
                <a:avLst/>
              </a:prstGeom>
              <a:gradFill rotWithShape="1">
                <a:gsLst>
                  <a:gs pos="0">
                    <a:srgbClr val="9DC2EB">
                      <a:alpha val="81000"/>
                    </a:srgbClr>
                  </a:gs>
                  <a:gs pos="100000">
                    <a:srgbClr val="0061B2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10800000"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sp>
            <p:nvSpPr>
              <p:cNvPr id="23615" name="Oval 87"/>
              <p:cNvSpPr>
                <a:spLocks noChangeArrowheads="1"/>
              </p:cNvSpPr>
              <p:nvPr/>
            </p:nvSpPr>
            <p:spPr bwMode="auto">
              <a:xfrm rot="20511808" flipV="1">
                <a:off x="4724" y="664"/>
                <a:ext cx="27" cy="27"/>
              </a:xfrm>
              <a:prstGeom prst="ellipse">
                <a:avLst/>
              </a:prstGeom>
              <a:gradFill rotWithShape="1">
                <a:gsLst>
                  <a:gs pos="0">
                    <a:srgbClr val="9DC2EB">
                      <a:alpha val="81000"/>
                    </a:srgbClr>
                  </a:gs>
                  <a:gs pos="100000">
                    <a:srgbClr val="0061B2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10800000"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sp>
            <p:nvSpPr>
              <p:cNvPr id="23616" name="Oval 90"/>
              <p:cNvSpPr>
                <a:spLocks noChangeArrowheads="1"/>
              </p:cNvSpPr>
              <p:nvPr/>
            </p:nvSpPr>
            <p:spPr bwMode="auto">
              <a:xfrm rot="20511808" flipV="1">
                <a:off x="4772" y="746"/>
                <a:ext cx="26" cy="27"/>
              </a:xfrm>
              <a:prstGeom prst="ellipse">
                <a:avLst/>
              </a:prstGeom>
              <a:gradFill rotWithShape="1">
                <a:gsLst>
                  <a:gs pos="0">
                    <a:srgbClr val="9DC2EB">
                      <a:alpha val="81000"/>
                    </a:srgbClr>
                  </a:gs>
                  <a:gs pos="100000">
                    <a:srgbClr val="0061B2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10800000"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sp>
            <p:nvSpPr>
              <p:cNvPr id="23617" name="Oval 93"/>
              <p:cNvSpPr>
                <a:spLocks noChangeArrowheads="1"/>
              </p:cNvSpPr>
              <p:nvPr/>
            </p:nvSpPr>
            <p:spPr bwMode="auto">
              <a:xfrm rot="20511808" flipV="1">
                <a:off x="4960" y="635"/>
                <a:ext cx="27" cy="27"/>
              </a:xfrm>
              <a:prstGeom prst="ellipse">
                <a:avLst/>
              </a:prstGeom>
              <a:gradFill rotWithShape="1">
                <a:gsLst>
                  <a:gs pos="0">
                    <a:srgbClr val="9DC2EB">
                      <a:alpha val="81000"/>
                    </a:srgbClr>
                  </a:gs>
                  <a:gs pos="100000">
                    <a:srgbClr val="0061B2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10800000"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sp>
            <p:nvSpPr>
              <p:cNvPr id="23618" name="Oval 96"/>
              <p:cNvSpPr>
                <a:spLocks noChangeArrowheads="1"/>
              </p:cNvSpPr>
              <p:nvPr/>
            </p:nvSpPr>
            <p:spPr bwMode="auto">
              <a:xfrm rot="20511808" flipV="1">
                <a:off x="4740" y="542"/>
                <a:ext cx="27" cy="26"/>
              </a:xfrm>
              <a:prstGeom prst="ellipse">
                <a:avLst/>
              </a:prstGeom>
              <a:gradFill rotWithShape="1">
                <a:gsLst>
                  <a:gs pos="0">
                    <a:srgbClr val="9DC2EB">
                      <a:alpha val="81000"/>
                    </a:srgbClr>
                  </a:gs>
                  <a:gs pos="100000">
                    <a:srgbClr val="0061B2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10800000"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  <p:sp>
            <p:nvSpPr>
              <p:cNvPr id="23619" name="Oval 99"/>
              <p:cNvSpPr>
                <a:spLocks noChangeArrowheads="1"/>
              </p:cNvSpPr>
              <p:nvPr/>
            </p:nvSpPr>
            <p:spPr bwMode="auto">
              <a:xfrm rot="20511808" flipV="1">
                <a:off x="4804" y="512"/>
                <a:ext cx="26" cy="27"/>
              </a:xfrm>
              <a:prstGeom prst="ellipse">
                <a:avLst/>
              </a:prstGeom>
              <a:gradFill rotWithShape="1">
                <a:gsLst>
                  <a:gs pos="0">
                    <a:srgbClr val="9DC2EB">
                      <a:alpha val="81000"/>
                    </a:srgbClr>
                  </a:gs>
                  <a:gs pos="100000">
                    <a:srgbClr val="0061B2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rot="10800000"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s-AR"/>
              </a:p>
            </p:txBody>
          </p:sp>
        </p:grpSp>
      </p:grpSp>
      <p:sp>
        <p:nvSpPr>
          <p:cNvPr id="23586" name="Text Box 13"/>
          <p:cNvSpPr txBox="1">
            <a:spLocks noChangeArrowheads="1"/>
          </p:cNvSpPr>
          <p:nvPr/>
        </p:nvSpPr>
        <p:spPr bwMode="gray">
          <a:xfrm>
            <a:off x="5835650" y="1858963"/>
            <a:ext cx="300355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ct val="40000"/>
              </a:spcAft>
            </a:pPr>
            <a:r>
              <a:rPr lang="es-AR" sz="1400" noProof="1">
                <a:solidFill>
                  <a:schemeClr val="bg1"/>
                </a:solidFill>
              </a:rPr>
              <a:t>The text demonstrates how your own text will look when you replace the placeholder with your own text.</a:t>
            </a:r>
          </a:p>
        </p:txBody>
      </p:sp>
      <p:sp>
        <p:nvSpPr>
          <p:cNvPr id="23587" name="Text Box 14"/>
          <p:cNvSpPr txBox="1">
            <a:spLocks noChangeArrowheads="1"/>
          </p:cNvSpPr>
          <p:nvPr/>
        </p:nvSpPr>
        <p:spPr bwMode="gray">
          <a:xfrm>
            <a:off x="6113463" y="4741863"/>
            <a:ext cx="2725737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ct val="40000"/>
              </a:spcAft>
            </a:pPr>
            <a:r>
              <a:rPr lang="es-AR" sz="1400" noProof="1">
                <a:solidFill>
                  <a:srgbClr val="080808"/>
                </a:solidFill>
              </a:rPr>
              <a:t>This is placeholder text. </a:t>
            </a:r>
            <a:br>
              <a:rPr lang="es-AR" sz="1400" noProof="1">
                <a:solidFill>
                  <a:srgbClr val="080808"/>
                </a:solidFill>
              </a:rPr>
            </a:br>
            <a:r>
              <a:rPr lang="es-AR" sz="1400" noProof="1">
                <a:solidFill>
                  <a:srgbClr val="080808"/>
                </a:solidFill>
              </a:rPr>
              <a:t>All phrases can be replaced with your own text.</a:t>
            </a:r>
          </a:p>
        </p:txBody>
      </p:sp>
      <p:sp>
        <p:nvSpPr>
          <p:cNvPr id="23588" name="Text Box 19"/>
          <p:cNvSpPr txBox="1">
            <a:spLocks noChangeArrowheads="1"/>
          </p:cNvSpPr>
          <p:nvPr/>
        </p:nvSpPr>
        <p:spPr bwMode="gray">
          <a:xfrm>
            <a:off x="312738" y="1858963"/>
            <a:ext cx="270510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400" noProof="1">
                <a:solidFill>
                  <a:schemeClr val="bg1"/>
                </a:solidFill>
              </a:rPr>
              <a:t>This is placeholder text. </a:t>
            </a:r>
            <a:br>
              <a:rPr lang="es-AR" sz="1400" noProof="1">
                <a:solidFill>
                  <a:schemeClr val="bg1"/>
                </a:solidFill>
              </a:rPr>
            </a:br>
            <a:r>
              <a:rPr lang="es-AR" sz="1400" noProof="1">
                <a:solidFill>
                  <a:schemeClr val="bg1"/>
                </a:solidFill>
              </a:rPr>
              <a:t>All phrases can be replaced with your own text.</a:t>
            </a:r>
          </a:p>
        </p:txBody>
      </p:sp>
      <p:sp>
        <p:nvSpPr>
          <p:cNvPr id="23589" name="Text Box 20"/>
          <p:cNvSpPr txBox="1">
            <a:spLocks noChangeArrowheads="1"/>
          </p:cNvSpPr>
          <p:nvPr/>
        </p:nvSpPr>
        <p:spPr bwMode="gray">
          <a:xfrm>
            <a:off x="312738" y="4473575"/>
            <a:ext cx="2339975" cy="85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400" noProof="1">
                <a:solidFill>
                  <a:srgbClr val="080808"/>
                </a:solidFill>
              </a:rPr>
              <a:t>The text demonstrates how your own text will look when you replace the placeholder with your own text.</a:t>
            </a:r>
          </a:p>
        </p:txBody>
      </p:sp>
    </p:spTree>
    <p:extLst>
      <p:ext uri="{BB962C8B-B14F-4D97-AF65-F5344CB8AC3E}">
        <p14:creationId xmlns:p14="http://schemas.microsoft.com/office/powerpoint/2010/main" val="2347587715"/>
      </p:ext>
    </p:extLst>
  </p:cSld>
  <p:clrMapOvr>
    <a:masterClrMapping/>
  </p:clrMapOvr>
  <p:transition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578" name="Group 60"/>
          <p:cNvGrpSpPr>
            <a:grpSpLocks/>
          </p:cNvGrpSpPr>
          <p:nvPr/>
        </p:nvGrpSpPr>
        <p:grpSpPr bwMode="auto">
          <a:xfrm>
            <a:off x="0" y="3276600"/>
            <a:ext cx="9134475" cy="1676400"/>
            <a:chOff x="0" y="2086"/>
            <a:chExt cx="5760" cy="1056"/>
          </a:xfrm>
        </p:grpSpPr>
        <p:sp>
          <p:nvSpPr>
            <p:cNvPr id="24596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latin typeface="Calibri" panose="020F0502020204030204" pitchFamily="34" charset="0"/>
              </a:endParaRPr>
            </a:p>
          </p:txBody>
        </p:sp>
        <p:sp>
          <p:nvSpPr>
            <p:cNvPr id="24597" name="Rectangle 62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latin typeface="Calibri" panose="020F0502020204030204" pitchFamily="34" charset="0"/>
              </a:endParaRPr>
            </a:p>
          </p:txBody>
        </p:sp>
      </p:grpSp>
      <p:pic>
        <p:nvPicPr>
          <p:cNvPr id="24579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16100" y="5572125"/>
            <a:ext cx="522287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80" name="Text Box 13"/>
          <p:cNvSpPr txBox="1">
            <a:spLocks noChangeArrowheads="1"/>
          </p:cNvSpPr>
          <p:nvPr/>
        </p:nvSpPr>
        <p:spPr bwMode="gray">
          <a:xfrm>
            <a:off x="6570663" y="1992313"/>
            <a:ext cx="2254250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ct val="40000"/>
              </a:spcAft>
            </a:pPr>
            <a:r>
              <a:rPr lang="es-AR" sz="1600" noProof="1">
                <a:solidFill>
                  <a:srgbClr val="080808"/>
                </a:solidFill>
              </a:rPr>
              <a:t>All phrases can be replaced with your </a:t>
            </a:r>
            <a:br>
              <a:rPr lang="es-AR" sz="1600" noProof="1">
                <a:solidFill>
                  <a:srgbClr val="080808"/>
                </a:solidFill>
              </a:rPr>
            </a:br>
            <a:r>
              <a:rPr lang="es-AR" sz="1600" noProof="1">
                <a:solidFill>
                  <a:srgbClr val="080808"/>
                </a:solidFill>
              </a:rPr>
              <a:t>own text.</a:t>
            </a:r>
          </a:p>
        </p:txBody>
      </p:sp>
      <p:sp>
        <p:nvSpPr>
          <p:cNvPr id="24581" name="Text Box 13"/>
          <p:cNvSpPr txBox="1">
            <a:spLocks noChangeArrowheads="1"/>
          </p:cNvSpPr>
          <p:nvPr/>
        </p:nvSpPr>
        <p:spPr bwMode="gray">
          <a:xfrm>
            <a:off x="306388" y="4492625"/>
            <a:ext cx="2208212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600" noProof="1">
                <a:solidFill>
                  <a:srgbClr val="080808"/>
                </a:solidFill>
              </a:rPr>
              <a:t>All phrases can be replaced with your </a:t>
            </a:r>
            <a:br>
              <a:rPr lang="es-AR" sz="1600" noProof="1">
                <a:solidFill>
                  <a:srgbClr val="080808"/>
                </a:solidFill>
              </a:rPr>
            </a:br>
            <a:r>
              <a:rPr lang="es-AR" sz="1600" noProof="1">
                <a:solidFill>
                  <a:srgbClr val="080808"/>
                </a:solidFill>
              </a:rPr>
              <a:t>own text.</a:t>
            </a:r>
          </a:p>
        </p:txBody>
      </p:sp>
      <p:sp>
        <p:nvSpPr>
          <p:cNvPr id="24582" name="Text Box 13"/>
          <p:cNvSpPr txBox="1">
            <a:spLocks noChangeArrowheads="1"/>
          </p:cNvSpPr>
          <p:nvPr/>
        </p:nvSpPr>
        <p:spPr bwMode="gray">
          <a:xfrm>
            <a:off x="6434138" y="4492625"/>
            <a:ext cx="2390775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ct val="40000"/>
              </a:spcAft>
            </a:pPr>
            <a:r>
              <a:rPr lang="es-AR" sz="1600" noProof="1">
                <a:solidFill>
                  <a:srgbClr val="080808"/>
                </a:solidFill>
              </a:rPr>
              <a:t>All phrases can be replaced with </a:t>
            </a:r>
            <a:br>
              <a:rPr lang="es-AR" sz="1600" noProof="1">
                <a:solidFill>
                  <a:srgbClr val="080808"/>
                </a:solidFill>
              </a:rPr>
            </a:br>
            <a:r>
              <a:rPr lang="es-AR" sz="1600" noProof="1">
                <a:solidFill>
                  <a:srgbClr val="080808"/>
                </a:solidFill>
              </a:rPr>
              <a:t>your own text.</a:t>
            </a:r>
          </a:p>
        </p:txBody>
      </p:sp>
      <p:sp>
        <p:nvSpPr>
          <p:cNvPr id="24583" name="Text Box 13"/>
          <p:cNvSpPr txBox="1">
            <a:spLocks noChangeArrowheads="1"/>
          </p:cNvSpPr>
          <p:nvPr/>
        </p:nvSpPr>
        <p:spPr bwMode="gray">
          <a:xfrm>
            <a:off x="323850" y="1992313"/>
            <a:ext cx="2325688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600" noProof="1">
                <a:solidFill>
                  <a:srgbClr val="080808"/>
                </a:solidFill>
              </a:rPr>
              <a:t>All phrases can be replaced with your </a:t>
            </a:r>
            <a:br>
              <a:rPr lang="es-AR" sz="1600" noProof="1">
                <a:solidFill>
                  <a:srgbClr val="080808"/>
                </a:solidFill>
              </a:rPr>
            </a:br>
            <a:r>
              <a:rPr lang="es-AR" sz="1600" noProof="1">
                <a:solidFill>
                  <a:srgbClr val="080808"/>
                </a:solidFill>
              </a:rPr>
              <a:t>own text.</a:t>
            </a:r>
          </a:p>
        </p:txBody>
      </p:sp>
      <p:sp>
        <p:nvSpPr>
          <p:cNvPr id="33" name="Textfeld 7"/>
          <p:cNvSpPr txBox="1">
            <a:spLocks noChangeArrowheads="1"/>
          </p:cNvSpPr>
          <p:nvPr/>
        </p:nvSpPr>
        <p:spPr bwMode="gray">
          <a:xfrm>
            <a:off x="155575" y="174625"/>
            <a:ext cx="8978900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6000" b="1" kern="0" dirty="0">
                <a:solidFill>
                  <a:srgbClr val="6B9B1A"/>
                </a:solidFill>
                <a:latin typeface="Arial"/>
                <a:cs typeface="+mn-cs"/>
              </a:rPr>
              <a:t>LEAF</a:t>
            </a:r>
            <a:r>
              <a:rPr lang="de-DE" sz="60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  <a:cs typeface="+mn-cs"/>
              </a:rPr>
              <a:t>CHART</a:t>
            </a:r>
          </a:p>
        </p:txBody>
      </p:sp>
      <p:grpSp>
        <p:nvGrpSpPr>
          <p:cNvPr id="24585" name="Group 11"/>
          <p:cNvGrpSpPr>
            <a:grpSpLocks/>
          </p:cNvGrpSpPr>
          <p:nvPr/>
        </p:nvGrpSpPr>
        <p:grpSpPr bwMode="auto">
          <a:xfrm>
            <a:off x="2446338" y="1536700"/>
            <a:ext cx="4302125" cy="4270375"/>
            <a:chOff x="1541" y="968"/>
            <a:chExt cx="2710" cy="2690"/>
          </a:xfrm>
        </p:grpSpPr>
        <p:sp>
          <p:nvSpPr>
            <p:cNvPr id="24592" name="Freeform 35"/>
            <p:cNvSpPr>
              <a:spLocks/>
            </p:cNvSpPr>
            <p:nvPr/>
          </p:nvSpPr>
          <p:spPr bwMode="gray">
            <a:xfrm>
              <a:off x="2754" y="968"/>
              <a:ext cx="1497" cy="1497"/>
            </a:xfrm>
            <a:custGeom>
              <a:avLst/>
              <a:gdLst>
                <a:gd name="T0" fmla="*/ 2147483647 w 1016"/>
                <a:gd name="T1" fmla="*/ 0 h 1016"/>
                <a:gd name="T2" fmla="*/ 0 w 1016"/>
                <a:gd name="T3" fmla="*/ 2147483647 h 1016"/>
                <a:gd name="T4" fmla="*/ 0 w 1016"/>
                <a:gd name="T5" fmla="*/ 2147483647 h 1016"/>
                <a:gd name="T6" fmla="*/ 2147483647 w 1016"/>
                <a:gd name="T7" fmla="*/ 2147483647 h 1016"/>
                <a:gd name="T8" fmla="*/ 2147483647 w 1016"/>
                <a:gd name="T9" fmla="*/ 2147483647 h 1016"/>
                <a:gd name="T10" fmla="*/ 2147483647 w 1016"/>
                <a:gd name="T11" fmla="*/ 0 h 10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16"/>
                <a:gd name="T19" fmla="*/ 0 h 1016"/>
                <a:gd name="T20" fmla="*/ 1016 w 1016"/>
                <a:gd name="T21" fmla="*/ 1016 h 10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16" h="1016">
                  <a:moveTo>
                    <a:pt x="508" y="0"/>
                  </a:moveTo>
                  <a:cubicBezTo>
                    <a:pt x="227" y="0"/>
                    <a:pt x="0" y="227"/>
                    <a:pt x="0" y="508"/>
                  </a:cubicBezTo>
                  <a:cubicBezTo>
                    <a:pt x="0" y="1016"/>
                    <a:pt x="0" y="1016"/>
                    <a:pt x="0" y="1016"/>
                  </a:cubicBezTo>
                  <a:cubicBezTo>
                    <a:pt x="508" y="1016"/>
                    <a:pt x="508" y="1016"/>
                    <a:pt x="508" y="1016"/>
                  </a:cubicBezTo>
                  <a:cubicBezTo>
                    <a:pt x="789" y="1016"/>
                    <a:pt x="1016" y="789"/>
                    <a:pt x="1016" y="508"/>
                  </a:cubicBezTo>
                  <a:cubicBezTo>
                    <a:pt x="1016" y="227"/>
                    <a:pt x="789" y="0"/>
                    <a:pt x="508" y="0"/>
                  </a:cubicBezTo>
                  <a:close/>
                </a:path>
              </a:pathLst>
            </a:custGeom>
            <a:solidFill>
              <a:srgbClr val="4C7013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4593" name="Freeform 36"/>
            <p:cNvSpPr>
              <a:spLocks/>
            </p:cNvSpPr>
            <p:nvPr/>
          </p:nvSpPr>
          <p:spPr bwMode="gray">
            <a:xfrm rot="5400000">
              <a:off x="2753" y="2581"/>
              <a:ext cx="1077" cy="1077"/>
            </a:xfrm>
            <a:custGeom>
              <a:avLst/>
              <a:gdLst>
                <a:gd name="T0" fmla="*/ 2147483647 w 1016"/>
                <a:gd name="T1" fmla="*/ 0 h 1016"/>
                <a:gd name="T2" fmla="*/ 0 w 1016"/>
                <a:gd name="T3" fmla="*/ 2147483647 h 1016"/>
                <a:gd name="T4" fmla="*/ 0 w 1016"/>
                <a:gd name="T5" fmla="*/ 2147483647 h 1016"/>
                <a:gd name="T6" fmla="*/ 2147483647 w 1016"/>
                <a:gd name="T7" fmla="*/ 2147483647 h 1016"/>
                <a:gd name="T8" fmla="*/ 2147483647 w 1016"/>
                <a:gd name="T9" fmla="*/ 2147483647 h 1016"/>
                <a:gd name="T10" fmla="*/ 2147483647 w 1016"/>
                <a:gd name="T11" fmla="*/ 0 h 10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16"/>
                <a:gd name="T19" fmla="*/ 0 h 1016"/>
                <a:gd name="T20" fmla="*/ 1016 w 1016"/>
                <a:gd name="T21" fmla="*/ 1016 h 10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16" h="1016">
                  <a:moveTo>
                    <a:pt x="508" y="0"/>
                  </a:moveTo>
                  <a:cubicBezTo>
                    <a:pt x="227" y="0"/>
                    <a:pt x="0" y="227"/>
                    <a:pt x="0" y="508"/>
                  </a:cubicBezTo>
                  <a:cubicBezTo>
                    <a:pt x="0" y="1016"/>
                    <a:pt x="0" y="1016"/>
                    <a:pt x="0" y="1016"/>
                  </a:cubicBezTo>
                  <a:cubicBezTo>
                    <a:pt x="508" y="1016"/>
                    <a:pt x="508" y="1016"/>
                    <a:pt x="508" y="1016"/>
                  </a:cubicBezTo>
                  <a:cubicBezTo>
                    <a:pt x="789" y="1016"/>
                    <a:pt x="1016" y="789"/>
                    <a:pt x="1016" y="508"/>
                  </a:cubicBezTo>
                  <a:cubicBezTo>
                    <a:pt x="1016" y="227"/>
                    <a:pt x="789" y="0"/>
                    <a:pt x="508" y="0"/>
                  </a:cubicBezTo>
                  <a:close/>
                </a:path>
              </a:pathLst>
            </a:custGeom>
            <a:solidFill>
              <a:srgbClr val="6B9B1A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4594" name="Freeform 37"/>
            <p:cNvSpPr>
              <a:spLocks/>
            </p:cNvSpPr>
            <p:nvPr/>
          </p:nvSpPr>
          <p:spPr bwMode="gray">
            <a:xfrm rot="10800000">
              <a:off x="1544" y="2574"/>
              <a:ext cx="1077" cy="1077"/>
            </a:xfrm>
            <a:custGeom>
              <a:avLst/>
              <a:gdLst>
                <a:gd name="T0" fmla="*/ 2147483647 w 1016"/>
                <a:gd name="T1" fmla="*/ 0 h 1016"/>
                <a:gd name="T2" fmla="*/ 0 w 1016"/>
                <a:gd name="T3" fmla="*/ 2147483647 h 1016"/>
                <a:gd name="T4" fmla="*/ 0 w 1016"/>
                <a:gd name="T5" fmla="*/ 2147483647 h 1016"/>
                <a:gd name="T6" fmla="*/ 2147483647 w 1016"/>
                <a:gd name="T7" fmla="*/ 2147483647 h 1016"/>
                <a:gd name="T8" fmla="*/ 2147483647 w 1016"/>
                <a:gd name="T9" fmla="*/ 2147483647 h 1016"/>
                <a:gd name="T10" fmla="*/ 2147483647 w 1016"/>
                <a:gd name="T11" fmla="*/ 0 h 10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16"/>
                <a:gd name="T19" fmla="*/ 0 h 1016"/>
                <a:gd name="T20" fmla="*/ 1016 w 1016"/>
                <a:gd name="T21" fmla="*/ 1016 h 10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16" h="1016">
                  <a:moveTo>
                    <a:pt x="508" y="0"/>
                  </a:moveTo>
                  <a:cubicBezTo>
                    <a:pt x="227" y="0"/>
                    <a:pt x="0" y="227"/>
                    <a:pt x="0" y="508"/>
                  </a:cubicBezTo>
                  <a:cubicBezTo>
                    <a:pt x="0" y="1016"/>
                    <a:pt x="0" y="1016"/>
                    <a:pt x="0" y="1016"/>
                  </a:cubicBezTo>
                  <a:cubicBezTo>
                    <a:pt x="508" y="1016"/>
                    <a:pt x="508" y="1016"/>
                    <a:pt x="508" y="1016"/>
                  </a:cubicBezTo>
                  <a:cubicBezTo>
                    <a:pt x="789" y="1016"/>
                    <a:pt x="1016" y="789"/>
                    <a:pt x="1016" y="508"/>
                  </a:cubicBezTo>
                  <a:cubicBezTo>
                    <a:pt x="1016" y="227"/>
                    <a:pt x="789" y="0"/>
                    <a:pt x="508" y="0"/>
                  </a:cubicBezTo>
                  <a:close/>
                </a:path>
              </a:pathLst>
            </a:custGeom>
            <a:solidFill>
              <a:srgbClr val="90BA45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4595" name="Freeform 38"/>
            <p:cNvSpPr>
              <a:spLocks/>
            </p:cNvSpPr>
            <p:nvPr/>
          </p:nvSpPr>
          <p:spPr bwMode="gray">
            <a:xfrm rot="-5400000">
              <a:off x="1541" y="1397"/>
              <a:ext cx="1077" cy="1077"/>
            </a:xfrm>
            <a:custGeom>
              <a:avLst/>
              <a:gdLst>
                <a:gd name="T0" fmla="*/ 2147483647 w 1016"/>
                <a:gd name="T1" fmla="*/ 0 h 1016"/>
                <a:gd name="T2" fmla="*/ 0 w 1016"/>
                <a:gd name="T3" fmla="*/ 2147483647 h 1016"/>
                <a:gd name="T4" fmla="*/ 0 w 1016"/>
                <a:gd name="T5" fmla="*/ 2147483647 h 1016"/>
                <a:gd name="T6" fmla="*/ 2147483647 w 1016"/>
                <a:gd name="T7" fmla="*/ 2147483647 h 1016"/>
                <a:gd name="T8" fmla="*/ 2147483647 w 1016"/>
                <a:gd name="T9" fmla="*/ 2147483647 h 1016"/>
                <a:gd name="T10" fmla="*/ 2147483647 w 1016"/>
                <a:gd name="T11" fmla="*/ 0 h 10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16"/>
                <a:gd name="T19" fmla="*/ 0 h 1016"/>
                <a:gd name="T20" fmla="*/ 1016 w 1016"/>
                <a:gd name="T21" fmla="*/ 1016 h 10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16" h="1016">
                  <a:moveTo>
                    <a:pt x="508" y="0"/>
                  </a:moveTo>
                  <a:cubicBezTo>
                    <a:pt x="227" y="0"/>
                    <a:pt x="0" y="227"/>
                    <a:pt x="0" y="508"/>
                  </a:cubicBezTo>
                  <a:cubicBezTo>
                    <a:pt x="0" y="1016"/>
                    <a:pt x="0" y="1016"/>
                    <a:pt x="0" y="1016"/>
                  </a:cubicBezTo>
                  <a:cubicBezTo>
                    <a:pt x="508" y="1016"/>
                    <a:pt x="508" y="1016"/>
                    <a:pt x="508" y="1016"/>
                  </a:cubicBezTo>
                  <a:cubicBezTo>
                    <a:pt x="789" y="1016"/>
                    <a:pt x="1016" y="789"/>
                    <a:pt x="1016" y="508"/>
                  </a:cubicBezTo>
                  <a:cubicBezTo>
                    <a:pt x="1016" y="227"/>
                    <a:pt x="789" y="0"/>
                    <a:pt x="508" y="0"/>
                  </a:cubicBezTo>
                  <a:close/>
                </a:path>
              </a:pathLst>
            </a:custGeom>
            <a:solidFill>
              <a:srgbClr val="B2CF7D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</p:grpSp>
      <p:grpSp>
        <p:nvGrpSpPr>
          <p:cNvPr id="24586" name="Group 16"/>
          <p:cNvGrpSpPr>
            <a:grpSpLocks/>
          </p:cNvGrpSpPr>
          <p:nvPr/>
        </p:nvGrpSpPr>
        <p:grpSpPr bwMode="auto">
          <a:xfrm>
            <a:off x="2606675" y="3052763"/>
            <a:ext cx="3316288" cy="1860550"/>
            <a:chOff x="1642" y="1923"/>
            <a:chExt cx="2089" cy="1172"/>
          </a:xfrm>
        </p:grpSpPr>
        <p:sp>
          <p:nvSpPr>
            <p:cNvPr id="24588" name="Text Box 19"/>
            <p:cNvSpPr txBox="1">
              <a:spLocks noChangeArrowheads="1"/>
            </p:cNvSpPr>
            <p:nvPr/>
          </p:nvSpPr>
          <p:spPr bwMode="gray">
            <a:xfrm>
              <a:off x="2844" y="1926"/>
              <a:ext cx="884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  <p:sp>
          <p:nvSpPr>
            <p:cNvPr id="24589" name="Text Box 19"/>
            <p:cNvSpPr txBox="1">
              <a:spLocks noChangeArrowheads="1"/>
            </p:cNvSpPr>
            <p:nvPr/>
          </p:nvSpPr>
          <p:spPr bwMode="gray">
            <a:xfrm>
              <a:off x="2847" y="2631"/>
              <a:ext cx="884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  <p:sp>
          <p:nvSpPr>
            <p:cNvPr id="24590" name="Text Box 19"/>
            <p:cNvSpPr txBox="1">
              <a:spLocks noChangeArrowheads="1"/>
            </p:cNvSpPr>
            <p:nvPr/>
          </p:nvSpPr>
          <p:spPr bwMode="gray">
            <a:xfrm>
              <a:off x="1642" y="2633"/>
              <a:ext cx="884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r"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  <p:sp>
          <p:nvSpPr>
            <p:cNvPr id="24591" name="Text Box 19"/>
            <p:cNvSpPr txBox="1">
              <a:spLocks noChangeArrowheads="1"/>
            </p:cNvSpPr>
            <p:nvPr/>
          </p:nvSpPr>
          <p:spPr bwMode="gray">
            <a:xfrm>
              <a:off x="1642" y="1923"/>
              <a:ext cx="884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r" eaLnBrk="1" hangingPunct="1">
                <a:spcAft>
                  <a:spcPct val="40000"/>
                </a:spcAft>
              </a:pPr>
              <a:r>
                <a:rPr lang="es-AR" sz="1600" noProof="1"/>
                <a:t>This is a placeholder text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084747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602" name="Group 10"/>
          <p:cNvGrpSpPr>
            <a:grpSpLocks/>
          </p:cNvGrpSpPr>
          <p:nvPr/>
        </p:nvGrpSpPr>
        <p:grpSpPr bwMode="auto">
          <a:xfrm>
            <a:off x="0" y="0"/>
            <a:ext cx="9144000" cy="5948363"/>
            <a:chOff x="0" y="0"/>
            <a:chExt cx="5760" cy="3747"/>
          </a:xfrm>
        </p:grpSpPr>
        <p:sp>
          <p:nvSpPr>
            <p:cNvPr id="25620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25621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25622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25623" name="Rectangle 5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</p:grpSp>
      <p:sp>
        <p:nvSpPr>
          <p:cNvPr id="28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kern="0" noProof="1">
                <a:solidFill>
                  <a:schemeClr val="bg1"/>
                </a:solidFill>
                <a:cs typeface="+mn-cs"/>
              </a:rPr>
              <a:t>Placeholder for your own sub headline</a:t>
            </a:r>
          </a:p>
        </p:txBody>
      </p:sp>
      <p:sp>
        <p:nvSpPr>
          <p:cNvPr id="25604" name="Rectangle 40"/>
          <p:cNvSpPr txBox="1">
            <a:spLocks noChangeArrowheads="1"/>
          </p:cNvSpPr>
          <p:nvPr/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sz="3000" b="1">
                <a:solidFill>
                  <a:srgbClr val="FFFFFF"/>
                </a:solidFill>
              </a:rPr>
              <a:t>Leaf Chart</a:t>
            </a:r>
          </a:p>
        </p:txBody>
      </p:sp>
      <p:sp>
        <p:nvSpPr>
          <p:cNvPr id="25605" name="Text Box 13"/>
          <p:cNvSpPr txBox="1">
            <a:spLocks noChangeArrowheads="1"/>
          </p:cNvSpPr>
          <p:nvPr/>
        </p:nvSpPr>
        <p:spPr bwMode="gray">
          <a:xfrm>
            <a:off x="6570663" y="1992313"/>
            <a:ext cx="2254250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ct val="40000"/>
              </a:spcAft>
            </a:pPr>
            <a:r>
              <a:rPr lang="es-AR" sz="1600" noProof="1">
                <a:solidFill>
                  <a:schemeClr val="bg1"/>
                </a:solidFill>
              </a:rPr>
              <a:t>All phrases can be replaced with your </a:t>
            </a:r>
            <a:br>
              <a:rPr lang="es-AR" sz="1600" noProof="1">
                <a:solidFill>
                  <a:schemeClr val="bg1"/>
                </a:solidFill>
              </a:rPr>
            </a:br>
            <a:r>
              <a:rPr lang="es-AR" sz="1600" noProof="1">
                <a:solidFill>
                  <a:schemeClr val="bg1"/>
                </a:solidFill>
              </a:rPr>
              <a:t>own text.</a:t>
            </a:r>
          </a:p>
        </p:txBody>
      </p:sp>
      <p:sp>
        <p:nvSpPr>
          <p:cNvPr id="25606" name="Text Box 13"/>
          <p:cNvSpPr txBox="1">
            <a:spLocks noChangeArrowheads="1"/>
          </p:cNvSpPr>
          <p:nvPr/>
        </p:nvSpPr>
        <p:spPr bwMode="gray">
          <a:xfrm>
            <a:off x="306388" y="4492625"/>
            <a:ext cx="2208212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600" noProof="1">
                <a:solidFill>
                  <a:srgbClr val="080808"/>
                </a:solidFill>
              </a:rPr>
              <a:t>All phrases can be replaced with your </a:t>
            </a:r>
            <a:br>
              <a:rPr lang="es-AR" sz="1600" noProof="1">
                <a:solidFill>
                  <a:srgbClr val="080808"/>
                </a:solidFill>
              </a:rPr>
            </a:br>
            <a:r>
              <a:rPr lang="es-AR" sz="1600" noProof="1">
                <a:solidFill>
                  <a:srgbClr val="080808"/>
                </a:solidFill>
              </a:rPr>
              <a:t>own text.</a:t>
            </a:r>
          </a:p>
        </p:txBody>
      </p:sp>
      <p:sp>
        <p:nvSpPr>
          <p:cNvPr id="25607" name="Text Box 13"/>
          <p:cNvSpPr txBox="1">
            <a:spLocks noChangeArrowheads="1"/>
          </p:cNvSpPr>
          <p:nvPr/>
        </p:nvSpPr>
        <p:spPr bwMode="gray">
          <a:xfrm>
            <a:off x="6434138" y="4492625"/>
            <a:ext cx="2390775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ct val="40000"/>
              </a:spcAft>
            </a:pPr>
            <a:r>
              <a:rPr lang="es-AR" sz="1600" noProof="1">
                <a:solidFill>
                  <a:srgbClr val="080808"/>
                </a:solidFill>
              </a:rPr>
              <a:t>All phrases can be replaced with </a:t>
            </a:r>
            <a:br>
              <a:rPr lang="es-AR" sz="1600" noProof="1">
                <a:solidFill>
                  <a:srgbClr val="080808"/>
                </a:solidFill>
              </a:rPr>
            </a:br>
            <a:r>
              <a:rPr lang="es-AR" sz="1600" noProof="1">
                <a:solidFill>
                  <a:srgbClr val="080808"/>
                </a:solidFill>
              </a:rPr>
              <a:t>your own text.</a:t>
            </a:r>
          </a:p>
        </p:txBody>
      </p:sp>
      <p:sp>
        <p:nvSpPr>
          <p:cNvPr id="25608" name="Text Box 13"/>
          <p:cNvSpPr txBox="1">
            <a:spLocks noChangeArrowheads="1"/>
          </p:cNvSpPr>
          <p:nvPr/>
        </p:nvSpPr>
        <p:spPr bwMode="gray">
          <a:xfrm>
            <a:off x="323850" y="1992313"/>
            <a:ext cx="2325688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600" noProof="1">
                <a:solidFill>
                  <a:schemeClr val="bg1"/>
                </a:solidFill>
              </a:rPr>
              <a:t>All phrases can be replaced with your </a:t>
            </a:r>
            <a:br>
              <a:rPr lang="es-AR" sz="1600" noProof="1">
                <a:solidFill>
                  <a:schemeClr val="bg1"/>
                </a:solidFill>
              </a:rPr>
            </a:br>
            <a:r>
              <a:rPr lang="es-AR" sz="1600" noProof="1">
                <a:solidFill>
                  <a:schemeClr val="bg1"/>
                </a:solidFill>
              </a:rPr>
              <a:t>own text.</a:t>
            </a:r>
          </a:p>
        </p:txBody>
      </p:sp>
      <p:grpSp>
        <p:nvGrpSpPr>
          <p:cNvPr id="25609" name="Group 13"/>
          <p:cNvGrpSpPr>
            <a:grpSpLocks/>
          </p:cNvGrpSpPr>
          <p:nvPr/>
        </p:nvGrpSpPr>
        <p:grpSpPr bwMode="auto">
          <a:xfrm>
            <a:off x="2446338" y="1536700"/>
            <a:ext cx="4302125" cy="4270375"/>
            <a:chOff x="1541" y="968"/>
            <a:chExt cx="2710" cy="2690"/>
          </a:xfrm>
        </p:grpSpPr>
        <p:sp>
          <p:nvSpPr>
            <p:cNvPr id="25616" name="Freeform 35"/>
            <p:cNvSpPr>
              <a:spLocks/>
            </p:cNvSpPr>
            <p:nvPr/>
          </p:nvSpPr>
          <p:spPr bwMode="gray">
            <a:xfrm>
              <a:off x="2754" y="968"/>
              <a:ext cx="1497" cy="1497"/>
            </a:xfrm>
            <a:custGeom>
              <a:avLst/>
              <a:gdLst>
                <a:gd name="T0" fmla="*/ 2147483647 w 1016"/>
                <a:gd name="T1" fmla="*/ 0 h 1016"/>
                <a:gd name="T2" fmla="*/ 0 w 1016"/>
                <a:gd name="T3" fmla="*/ 2147483647 h 1016"/>
                <a:gd name="T4" fmla="*/ 0 w 1016"/>
                <a:gd name="T5" fmla="*/ 2147483647 h 1016"/>
                <a:gd name="T6" fmla="*/ 2147483647 w 1016"/>
                <a:gd name="T7" fmla="*/ 2147483647 h 1016"/>
                <a:gd name="T8" fmla="*/ 2147483647 w 1016"/>
                <a:gd name="T9" fmla="*/ 2147483647 h 1016"/>
                <a:gd name="T10" fmla="*/ 2147483647 w 1016"/>
                <a:gd name="T11" fmla="*/ 0 h 10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16"/>
                <a:gd name="T19" fmla="*/ 0 h 1016"/>
                <a:gd name="T20" fmla="*/ 1016 w 1016"/>
                <a:gd name="T21" fmla="*/ 1016 h 10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16" h="1016">
                  <a:moveTo>
                    <a:pt x="508" y="0"/>
                  </a:moveTo>
                  <a:cubicBezTo>
                    <a:pt x="227" y="0"/>
                    <a:pt x="0" y="227"/>
                    <a:pt x="0" y="508"/>
                  </a:cubicBezTo>
                  <a:cubicBezTo>
                    <a:pt x="0" y="1016"/>
                    <a:pt x="0" y="1016"/>
                    <a:pt x="0" y="1016"/>
                  </a:cubicBezTo>
                  <a:cubicBezTo>
                    <a:pt x="508" y="1016"/>
                    <a:pt x="508" y="1016"/>
                    <a:pt x="508" y="1016"/>
                  </a:cubicBezTo>
                  <a:cubicBezTo>
                    <a:pt x="789" y="1016"/>
                    <a:pt x="1016" y="789"/>
                    <a:pt x="1016" y="508"/>
                  </a:cubicBezTo>
                  <a:cubicBezTo>
                    <a:pt x="1016" y="227"/>
                    <a:pt x="789" y="0"/>
                    <a:pt x="508" y="0"/>
                  </a:cubicBezTo>
                  <a:close/>
                </a:path>
              </a:pathLst>
            </a:custGeom>
            <a:solidFill>
              <a:srgbClr val="00407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5617" name="Freeform 36"/>
            <p:cNvSpPr>
              <a:spLocks/>
            </p:cNvSpPr>
            <p:nvPr/>
          </p:nvSpPr>
          <p:spPr bwMode="gray">
            <a:xfrm rot="5400000">
              <a:off x="2753" y="2581"/>
              <a:ext cx="1077" cy="1077"/>
            </a:xfrm>
            <a:custGeom>
              <a:avLst/>
              <a:gdLst>
                <a:gd name="T0" fmla="*/ 2147483647 w 1016"/>
                <a:gd name="T1" fmla="*/ 0 h 1016"/>
                <a:gd name="T2" fmla="*/ 0 w 1016"/>
                <a:gd name="T3" fmla="*/ 2147483647 h 1016"/>
                <a:gd name="T4" fmla="*/ 0 w 1016"/>
                <a:gd name="T5" fmla="*/ 2147483647 h 1016"/>
                <a:gd name="T6" fmla="*/ 2147483647 w 1016"/>
                <a:gd name="T7" fmla="*/ 2147483647 h 1016"/>
                <a:gd name="T8" fmla="*/ 2147483647 w 1016"/>
                <a:gd name="T9" fmla="*/ 2147483647 h 1016"/>
                <a:gd name="T10" fmla="*/ 2147483647 w 1016"/>
                <a:gd name="T11" fmla="*/ 0 h 10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16"/>
                <a:gd name="T19" fmla="*/ 0 h 1016"/>
                <a:gd name="T20" fmla="*/ 1016 w 1016"/>
                <a:gd name="T21" fmla="*/ 1016 h 10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16" h="1016">
                  <a:moveTo>
                    <a:pt x="508" y="0"/>
                  </a:moveTo>
                  <a:cubicBezTo>
                    <a:pt x="227" y="0"/>
                    <a:pt x="0" y="227"/>
                    <a:pt x="0" y="508"/>
                  </a:cubicBezTo>
                  <a:cubicBezTo>
                    <a:pt x="0" y="1016"/>
                    <a:pt x="0" y="1016"/>
                    <a:pt x="0" y="1016"/>
                  </a:cubicBezTo>
                  <a:cubicBezTo>
                    <a:pt x="508" y="1016"/>
                    <a:pt x="508" y="1016"/>
                    <a:pt x="508" y="1016"/>
                  </a:cubicBezTo>
                  <a:cubicBezTo>
                    <a:pt x="789" y="1016"/>
                    <a:pt x="1016" y="789"/>
                    <a:pt x="1016" y="508"/>
                  </a:cubicBezTo>
                  <a:cubicBezTo>
                    <a:pt x="1016" y="227"/>
                    <a:pt x="789" y="0"/>
                    <a:pt x="508" y="0"/>
                  </a:cubicBezTo>
                  <a:close/>
                </a:path>
              </a:pathLst>
            </a:custGeom>
            <a:solidFill>
              <a:srgbClr val="0061B2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5618" name="Freeform 37"/>
            <p:cNvSpPr>
              <a:spLocks/>
            </p:cNvSpPr>
            <p:nvPr/>
          </p:nvSpPr>
          <p:spPr bwMode="gray">
            <a:xfrm rot="10800000">
              <a:off x="1544" y="2574"/>
              <a:ext cx="1077" cy="1077"/>
            </a:xfrm>
            <a:custGeom>
              <a:avLst/>
              <a:gdLst>
                <a:gd name="T0" fmla="*/ 2147483647 w 1016"/>
                <a:gd name="T1" fmla="*/ 0 h 1016"/>
                <a:gd name="T2" fmla="*/ 0 w 1016"/>
                <a:gd name="T3" fmla="*/ 2147483647 h 1016"/>
                <a:gd name="T4" fmla="*/ 0 w 1016"/>
                <a:gd name="T5" fmla="*/ 2147483647 h 1016"/>
                <a:gd name="T6" fmla="*/ 2147483647 w 1016"/>
                <a:gd name="T7" fmla="*/ 2147483647 h 1016"/>
                <a:gd name="T8" fmla="*/ 2147483647 w 1016"/>
                <a:gd name="T9" fmla="*/ 2147483647 h 1016"/>
                <a:gd name="T10" fmla="*/ 2147483647 w 1016"/>
                <a:gd name="T11" fmla="*/ 0 h 10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16"/>
                <a:gd name="T19" fmla="*/ 0 h 1016"/>
                <a:gd name="T20" fmla="*/ 1016 w 1016"/>
                <a:gd name="T21" fmla="*/ 1016 h 10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16" h="1016">
                  <a:moveTo>
                    <a:pt x="508" y="0"/>
                  </a:moveTo>
                  <a:cubicBezTo>
                    <a:pt x="227" y="0"/>
                    <a:pt x="0" y="227"/>
                    <a:pt x="0" y="508"/>
                  </a:cubicBezTo>
                  <a:cubicBezTo>
                    <a:pt x="0" y="1016"/>
                    <a:pt x="0" y="1016"/>
                    <a:pt x="0" y="1016"/>
                  </a:cubicBezTo>
                  <a:cubicBezTo>
                    <a:pt x="508" y="1016"/>
                    <a:pt x="508" y="1016"/>
                    <a:pt x="508" y="1016"/>
                  </a:cubicBezTo>
                  <a:cubicBezTo>
                    <a:pt x="789" y="1016"/>
                    <a:pt x="1016" y="789"/>
                    <a:pt x="1016" y="508"/>
                  </a:cubicBezTo>
                  <a:cubicBezTo>
                    <a:pt x="1016" y="227"/>
                    <a:pt x="789" y="0"/>
                    <a:pt x="508" y="0"/>
                  </a:cubicBezTo>
                  <a:close/>
                </a:path>
              </a:pathLst>
            </a:custGeom>
            <a:solidFill>
              <a:srgbClr val="2A79D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5619" name="Freeform 38"/>
            <p:cNvSpPr>
              <a:spLocks/>
            </p:cNvSpPr>
            <p:nvPr/>
          </p:nvSpPr>
          <p:spPr bwMode="gray">
            <a:xfrm rot="-5400000">
              <a:off x="1541" y="1397"/>
              <a:ext cx="1077" cy="1077"/>
            </a:xfrm>
            <a:custGeom>
              <a:avLst/>
              <a:gdLst>
                <a:gd name="T0" fmla="*/ 2147483647 w 1016"/>
                <a:gd name="T1" fmla="*/ 0 h 1016"/>
                <a:gd name="T2" fmla="*/ 0 w 1016"/>
                <a:gd name="T3" fmla="*/ 2147483647 h 1016"/>
                <a:gd name="T4" fmla="*/ 0 w 1016"/>
                <a:gd name="T5" fmla="*/ 2147483647 h 1016"/>
                <a:gd name="T6" fmla="*/ 2147483647 w 1016"/>
                <a:gd name="T7" fmla="*/ 2147483647 h 1016"/>
                <a:gd name="T8" fmla="*/ 2147483647 w 1016"/>
                <a:gd name="T9" fmla="*/ 2147483647 h 1016"/>
                <a:gd name="T10" fmla="*/ 2147483647 w 1016"/>
                <a:gd name="T11" fmla="*/ 0 h 10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16"/>
                <a:gd name="T19" fmla="*/ 0 h 1016"/>
                <a:gd name="T20" fmla="*/ 1016 w 1016"/>
                <a:gd name="T21" fmla="*/ 1016 h 10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16" h="1016">
                  <a:moveTo>
                    <a:pt x="508" y="0"/>
                  </a:moveTo>
                  <a:cubicBezTo>
                    <a:pt x="227" y="0"/>
                    <a:pt x="0" y="227"/>
                    <a:pt x="0" y="508"/>
                  </a:cubicBezTo>
                  <a:cubicBezTo>
                    <a:pt x="0" y="1016"/>
                    <a:pt x="0" y="1016"/>
                    <a:pt x="0" y="1016"/>
                  </a:cubicBezTo>
                  <a:cubicBezTo>
                    <a:pt x="508" y="1016"/>
                    <a:pt x="508" y="1016"/>
                    <a:pt x="508" y="1016"/>
                  </a:cubicBezTo>
                  <a:cubicBezTo>
                    <a:pt x="789" y="1016"/>
                    <a:pt x="1016" y="789"/>
                    <a:pt x="1016" y="508"/>
                  </a:cubicBezTo>
                  <a:cubicBezTo>
                    <a:pt x="1016" y="227"/>
                    <a:pt x="789" y="0"/>
                    <a:pt x="508" y="0"/>
                  </a:cubicBezTo>
                  <a:close/>
                </a:path>
              </a:pathLst>
            </a:custGeom>
            <a:solidFill>
              <a:srgbClr val="69A2E1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</p:grpSp>
      <p:grpSp>
        <p:nvGrpSpPr>
          <p:cNvPr id="25610" name="Group 18"/>
          <p:cNvGrpSpPr>
            <a:grpSpLocks/>
          </p:cNvGrpSpPr>
          <p:nvPr/>
        </p:nvGrpSpPr>
        <p:grpSpPr bwMode="auto">
          <a:xfrm>
            <a:off x="2606675" y="3052763"/>
            <a:ext cx="3316288" cy="1860550"/>
            <a:chOff x="1642" y="1923"/>
            <a:chExt cx="2089" cy="1172"/>
          </a:xfrm>
        </p:grpSpPr>
        <p:sp>
          <p:nvSpPr>
            <p:cNvPr id="25612" name="Text Box 19"/>
            <p:cNvSpPr txBox="1">
              <a:spLocks noChangeArrowheads="1"/>
            </p:cNvSpPr>
            <p:nvPr/>
          </p:nvSpPr>
          <p:spPr bwMode="gray">
            <a:xfrm>
              <a:off x="2844" y="1926"/>
              <a:ext cx="884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  <p:sp>
          <p:nvSpPr>
            <p:cNvPr id="25613" name="Text Box 19"/>
            <p:cNvSpPr txBox="1">
              <a:spLocks noChangeArrowheads="1"/>
            </p:cNvSpPr>
            <p:nvPr/>
          </p:nvSpPr>
          <p:spPr bwMode="gray">
            <a:xfrm>
              <a:off x="2847" y="2631"/>
              <a:ext cx="884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  <p:sp>
          <p:nvSpPr>
            <p:cNvPr id="25614" name="Text Box 19"/>
            <p:cNvSpPr txBox="1">
              <a:spLocks noChangeArrowheads="1"/>
            </p:cNvSpPr>
            <p:nvPr/>
          </p:nvSpPr>
          <p:spPr bwMode="gray">
            <a:xfrm>
              <a:off x="1642" y="2633"/>
              <a:ext cx="884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r" eaLnBrk="1" hangingPunct="1">
                <a:spcAft>
                  <a:spcPct val="40000"/>
                </a:spcAft>
              </a:pPr>
              <a:r>
                <a:rPr lang="es-AR" sz="1600" noProof="1">
                  <a:solidFill>
                    <a:schemeClr val="bg1"/>
                  </a:solidFill>
                </a:rPr>
                <a:t>This is a placeholder text. </a:t>
              </a:r>
            </a:p>
          </p:txBody>
        </p:sp>
        <p:sp>
          <p:nvSpPr>
            <p:cNvPr id="25615" name="Text Box 19"/>
            <p:cNvSpPr txBox="1">
              <a:spLocks noChangeArrowheads="1"/>
            </p:cNvSpPr>
            <p:nvPr/>
          </p:nvSpPr>
          <p:spPr bwMode="gray">
            <a:xfrm>
              <a:off x="1642" y="1923"/>
              <a:ext cx="884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r" eaLnBrk="1" hangingPunct="1">
                <a:spcAft>
                  <a:spcPct val="40000"/>
                </a:spcAft>
              </a:pPr>
              <a:r>
                <a:rPr lang="es-AR" sz="1600" noProof="1"/>
                <a:t>This is a placeholder text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11063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626" name="Group 60"/>
          <p:cNvGrpSpPr>
            <a:grpSpLocks/>
          </p:cNvGrpSpPr>
          <p:nvPr/>
        </p:nvGrpSpPr>
        <p:grpSpPr bwMode="auto">
          <a:xfrm>
            <a:off x="0" y="3284538"/>
            <a:ext cx="9134475" cy="1676400"/>
            <a:chOff x="0" y="2086"/>
            <a:chExt cx="5760" cy="1056"/>
          </a:xfrm>
        </p:grpSpPr>
        <p:sp>
          <p:nvSpPr>
            <p:cNvPr id="26639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latin typeface="Calibri" panose="020F0502020204030204" pitchFamily="34" charset="0"/>
              </a:endParaRPr>
            </a:p>
          </p:txBody>
        </p:sp>
        <p:sp>
          <p:nvSpPr>
            <p:cNvPr id="26640" name="Rectangle 62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latin typeface="Calibri" panose="020F0502020204030204" pitchFamily="34" charset="0"/>
              </a:endParaRPr>
            </a:p>
          </p:txBody>
        </p:sp>
      </p:grpSp>
      <p:sp>
        <p:nvSpPr>
          <p:cNvPr id="26627" name="Text Box 19"/>
          <p:cNvSpPr txBox="1">
            <a:spLocks noChangeArrowheads="1"/>
          </p:cNvSpPr>
          <p:nvPr/>
        </p:nvSpPr>
        <p:spPr bwMode="gray">
          <a:xfrm>
            <a:off x="312738" y="1858963"/>
            <a:ext cx="2705100" cy="97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600" noProof="1">
                <a:solidFill>
                  <a:srgbClr val="080808"/>
                </a:solidFill>
              </a:rPr>
              <a:t>This is placeholder text. </a:t>
            </a:r>
            <a:br>
              <a:rPr lang="es-AR" sz="1600" noProof="1">
                <a:solidFill>
                  <a:srgbClr val="080808"/>
                </a:solidFill>
              </a:rPr>
            </a:br>
            <a:r>
              <a:rPr lang="es-AR" sz="1600" noProof="1">
                <a:solidFill>
                  <a:srgbClr val="080808"/>
                </a:solidFill>
              </a:rPr>
              <a:t>All phrases can be </a:t>
            </a:r>
            <a:br>
              <a:rPr lang="es-AR" sz="1600" noProof="1">
                <a:solidFill>
                  <a:srgbClr val="080808"/>
                </a:solidFill>
              </a:rPr>
            </a:br>
            <a:r>
              <a:rPr lang="es-AR" sz="1600" noProof="1">
                <a:solidFill>
                  <a:srgbClr val="080808"/>
                </a:solidFill>
              </a:rPr>
              <a:t>replaced with your </a:t>
            </a:r>
            <a:br>
              <a:rPr lang="es-AR" sz="1600" noProof="1">
                <a:solidFill>
                  <a:srgbClr val="080808"/>
                </a:solidFill>
              </a:rPr>
            </a:br>
            <a:r>
              <a:rPr lang="es-AR" sz="1600" noProof="1">
                <a:solidFill>
                  <a:srgbClr val="080808"/>
                </a:solidFill>
              </a:rPr>
              <a:t>own text.</a:t>
            </a:r>
          </a:p>
        </p:txBody>
      </p:sp>
      <p:sp>
        <p:nvSpPr>
          <p:cNvPr id="26628" name="Text Box 13"/>
          <p:cNvSpPr txBox="1">
            <a:spLocks noChangeArrowheads="1"/>
          </p:cNvSpPr>
          <p:nvPr/>
        </p:nvSpPr>
        <p:spPr bwMode="gray">
          <a:xfrm>
            <a:off x="6364288" y="1858963"/>
            <a:ext cx="2459037" cy="122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ct val="40000"/>
              </a:spcAft>
            </a:pPr>
            <a:r>
              <a:rPr lang="es-AR" sz="1600" noProof="1">
                <a:solidFill>
                  <a:srgbClr val="080808"/>
                </a:solidFill>
              </a:rPr>
              <a:t>The text demonstrates how your own text will look when you replace the placeholder with </a:t>
            </a:r>
            <a:br>
              <a:rPr lang="es-AR" sz="1600" noProof="1">
                <a:solidFill>
                  <a:srgbClr val="080808"/>
                </a:solidFill>
              </a:rPr>
            </a:br>
            <a:r>
              <a:rPr lang="es-AR" sz="1600" noProof="1">
                <a:solidFill>
                  <a:srgbClr val="080808"/>
                </a:solidFill>
              </a:rPr>
              <a:t>your own text.</a:t>
            </a:r>
          </a:p>
        </p:txBody>
      </p:sp>
      <p:grpSp>
        <p:nvGrpSpPr>
          <p:cNvPr id="26629" name="Group 7"/>
          <p:cNvGrpSpPr>
            <a:grpSpLocks/>
          </p:cNvGrpSpPr>
          <p:nvPr/>
        </p:nvGrpSpPr>
        <p:grpSpPr bwMode="auto">
          <a:xfrm>
            <a:off x="2852738" y="1897063"/>
            <a:ext cx="3471862" cy="3552825"/>
            <a:chOff x="1797" y="1195"/>
            <a:chExt cx="2187" cy="2238"/>
          </a:xfrm>
        </p:grpSpPr>
        <p:grpSp>
          <p:nvGrpSpPr>
            <p:cNvPr id="26635" name="Group 3"/>
            <p:cNvGrpSpPr>
              <a:grpSpLocks/>
            </p:cNvGrpSpPr>
            <p:nvPr/>
          </p:nvGrpSpPr>
          <p:grpSpPr bwMode="auto">
            <a:xfrm rot="356676">
              <a:off x="1797" y="1195"/>
              <a:ext cx="2027" cy="2208"/>
              <a:chOff x="1820" y="1338"/>
              <a:chExt cx="1302" cy="1412"/>
            </a:xfrm>
          </p:grpSpPr>
          <p:sp>
            <p:nvSpPr>
              <p:cNvPr id="26637" name="Freeform 4"/>
              <p:cNvSpPr>
                <a:spLocks/>
              </p:cNvSpPr>
              <p:nvPr/>
            </p:nvSpPr>
            <p:spPr bwMode="gray">
              <a:xfrm>
                <a:off x="2149" y="1338"/>
                <a:ext cx="973" cy="1412"/>
              </a:xfrm>
              <a:custGeom>
                <a:avLst/>
                <a:gdLst>
                  <a:gd name="T0" fmla="*/ 0 w 704"/>
                  <a:gd name="T1" fmla="*/ 1104918031 h 1021"/>
                  <a:gd name="T2" fmla="*/ 1093861140 w 704"/>
                  <a:gd name="T3" fmla="*/ 2147483647 h 1021"/>
                  <a:gd name="T4" fmla="*/ 1656756839 w 704"/>
                  <a:gd name="T5" fmla="*/ 1896083602 h 1021"/>
                  <a:gd name="T6" fmla="*/ 870695717 w 704"/>
                  <a:gd name="T7" fmla="*/ 1158244074 h 1021"/>
                  <a:gd name="T8" fmla="*/ 1058980392 w 704"/>
                  <a:gd name="T9" fmla="*/ 0 h 1021"/>
                  <a:gd name="T10" fmla="*/ 0 w 704"/>
                  <a:gd name="T11" fmla="*/ 1104918031 h 102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04"/>
                  <a:gd name="T19" fmla="*/ 0 h 1021"/>
                  <a:gd name="T20" fmla="*/ 704 w 704"/>
                  <a:gd name="T21" fmla="*/ 1021 h 102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04" h="1021">
                    <a:moveTo>
                      <a:pt x="0" y="266"/>
                    </a:moveTo>
                    <a:cubicBezTo>
                      <a:pt x="0" y="412"/>
                      <a:pt x="126" y="1021"/>
                      <a:pt x="271" y="1021"/>
                    </a:cubicBezTo>
                    <a:cubicBezTo>
                      <a:pt x="704" y="955"/>
                      <a:pt x="650" y="533"/>
                      <a:pt x="411" y="457"/>
                    </a:cubicBezTo>
                    <a:cubicBezTo>
                      <a:pt x="258" y="409"/>
                      <a:pt x="212" y="360"/>
                      <a:pt x="216" y="279"/>
                    </a:cubicBezTo>
                    <a:cubicBezTo>
                      <a:pt x="224" y="133"/>
                      <a:pt x="408" y="0"/>
                      <a:pt x="263" y="0"/>
                    </a:cubicBezTo>
                    <a:cubicBezTo>
                      <a:pt x="118" y="0"/>
                      <a:pt x="0" y="119"/>
                      <a:pt x="0" y="266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000000"/>
                  </a:gs>
                  <a:gs pos="50000">
                    <a:srgbClr val="595959"/>
                  </a:gs>
                  <a:gs pos="100000">
                    <a:srgbClr val="000000"/>
                  </a:gs>
                </a:gsLst>
                <a:lin ang="5400000" scaled="1"/>
              </a:gra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s-AR"/>
              </a:p>
            </p:txBody>
          </p:sp>
          <p:sp>
            <p:nvSpPr>
              <p:cNvPr id="26638" name="Freeform 5"/>
              <p:cNvSpPr>
                <a:spLocks/>
              </p:cNvSpPr>
              <p:nvPr/>
            </p:nvSpPr>
            <p:spPr bwMode="gray">
              <a:xfrm>
                <a:off x="1819" y="1339"/>
                <a:ext cx="1053" cy="1409"/>
              </a:xfrm>
              <a:custGeom>
                <a:avLst/>
                <a:gdLst>
                  <a:gd name="T0" fmla="*/ 836117901 w 762"/>
                  <a:gd name="T1" fmla="*/ 851265272 h 1020"/>
                  <a:gd name="T2" fmla="*/ 557195700 w 762"/>
                  <a:gd name="T3" fmla="*/ 566814073 h 1020"/>
                  <a:gd name="T4" fmla="*/ 278809468 w 762"/>
                  <a:gd name="T5" fmla="*/ 281557758 h 1020"/>
                  <a:gd name="T6" fmla="*/ 556644449 w 762"/>
                  <a:gd name="T7" fmla="*/ 0 h 1020"/>
                  <a:gd name="T8" fmla="*/ 16475520 w 762"/>
                  <a:gd name="T9" fmla="*/ 430675385 h 1020"/>
                  <a:gd name="T10" fmla="*/ 0 w 762"/>
                  <a:gd name="T11" fmla="*/ 567463225 h 1020"/>
                  <a:gd name="T12" fmla="*/ 557891521 w 762"/>
                  <a:gd name="T13" fmla="*/ 1132933106 h 1020"/>
                  <a:gd name="T14" fmla="*/ 836117901 w 762"/>
                  <a:gd name="T15" fmla="*/ 851265272 h 10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62"/>
                  <a:gd name="T25" fmla="*/ 0 h 1020"/>
                  <a:gd name="T26" fmla="*/ 762 w 762"/>
                  <a:gd name="T27" fmla="*/ 1020 h 10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62" h="1020">
                    <a:moveTo>
                      <a:pt x="762" y="766"/>
                    </a:moveTo>
                    <a:cubicBezTo>
                      <a:pt x="762" y="624"/>
                      <a:pt x="648" y="510"/>
                      <a:pt x="508" y="510"/>
                    </a:cubicBezTo>
                    <a:cubicBezTo>
                      <a:pt x="368" y="510"/>
                      <a:pt x="254" y="396"/>
                      <a:pt x="254" y="254"/>
                    </a:cubicBezTo>
                    <a:cubicBezTo>
                      <a:pt x="254" y="114"/>
                      <a:pt x="367" y="1"/>
                      <a:pt x="507" y="0"/>
                    </a:cubicBezTo>
                    <a:cubicBezTo>
                      <a:pt x="269" y="2"/>
                      <a:pt x="69" y="166"/>
                      <a:pt x="15" y="388"/>
                    </a:cubicBezTo>
                    <a:cubicBezTo>
                      <a:pt x="5" y="427"/>
                      <a:pt x="0" y="468"/>
                      <a:pt x="0" y="511"/>
                    </a:cubicBezTo>
                    <a:cubicBezTo>
                      <a:pt x="0" y="792"/>
                      <a:pt x="228" y="1020"/>
                      <a:pt x="509" y="1020"/>
                    </a:cubicBezTo>
                    <a:cubicBezTo>
                      <a:pt x="649" y="1020"/>
                      <a:pt x="762" y="906"/>
                      <a:pt x="762" y="766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DDDDDD"/>
                  </a:gs>
                  <a:gs pos="100000">
                    <a:srgbClr val="5F5F5F"/>
                  </a:gs>
                </a:gsLst>
                <a:lin ang="5400000" scaled="1"/>
              </a:gradFill>
              <a:ln w="19050">
                <a:solidFill>
                  <a:srgbClr val="F2F2F2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s-AR"/>
              </a:p>
            </p:txBody>
          </p:sp>
        </p:grpSp>
        <p:sp>
          <p:nvSpPr>
            <p:cNvPr id="26636" name="Freeform 45"/>
            <p:cNvSpPr>
              <a:spLocks/>
            </p:cNvSpPr>
            <p:nvPr/>
          </p:nvSpPr>
          <p:spPr bwMode="gray">
            <a:xfrm rot="357883">
              <a:off x="2336" y="1234"/>
              <a:ext cx="1648" cy="2199"/>
            </a:xfrm>
            <a:custGeom>
              <a:avLst/>
              <a:gdLst>
                <a:gd name="T0" fmla="*/ 2147483647 w 1021"/>
                <a:gd name="T1" fmla="*/ 0 h 1354"/>
                <a:gd name="T2" fmla="*/ 2147483647 w 1021"/>
                <a:gd name="T3" fmla="*/ 0 h 1354"/>
                <a:gd name="T4" fmla="*/ 0 w 1021"/>
                <a:gd name="T5" fmla="*/ 2147483647 h 1354"/>
                <a:gd name="T6" fmla="*/ 2147483647 w 1021"/>
                <a:gd name="T7" fmla="*/ 2147483647 h 1354"/>
                <a:gd name="T8" fmla="*/ 2147483647 w 1021"/>
                <a:gd name="T9" fmla="*/ 2147483647 h 1354"/>
                <a:gd name="T10" fmla="*/ 2147483647 w 1021"/>
                <a:gd name="T11" fmla="*/ 2147483647 h 1354"/>
                <a:gd name="T12" fmla="*/ 2147483647 w 1021"/>
                <a:gd name="T13" fmla="*/ 2147483647 h 1354"/>
                <a:gd name="T14" fmla="*/ 2147483647 w 1021"/>
                <a:gd name="T15" fmla="*/ 2147483647 h 1354"/>
                <a:gd name="T16" fmla="*/ 2147483647 w 1021"/>
                <a:gd name="T17" fmla="*/ 0 h 13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21"/>
                <a:gd name="T28" fmla="*/ 0 h 1354"/>
                <a:gd name="T29" fmla="*/ 1021 w 1021"/>
                <a:gd name="T30" fmla="*/ 1354 h 13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21" h="1354">
                  <a:moveTo>
                    <a:pt x="341" y="0"/>
                  </a:moveTo>
                  <a:cubicBezTo>
                    <a:pt x="340" y="0"/>
                    <a:pt x="337" y="0"/>
                    <a:pt x="336" y="0"/>
                  </a:cubicBezTo>
                  <a:cubicBezTo>
                    <a:pt x="151" y="1"/>
                    <a:pt x="0" y="151"/>
                    <a:pt x="0" y="337"/>
                  </a:cubicBezTo>
                  <a:cubicBezTo>
                    <a:pt x="0" y="526"/>
                    <a:pt x="152" y="677"/>
                    <a:pt x="339" y="677"/>
                  </a:cubicBezTo>
                  <a:cubicBezTo>
                    <a:pt x="525" y="677"/>
                    <a:pt x="677" y="828"/>
                    <a:pt x="677" y="1017"/>
                  </a:cubicBezTo>
                  <a:cubicBezTo>
                    <a:pt x="677" y="1203"/>
                    <a:pt x="525" y="1354"/>
                    <a:pt x="340" y="1354"/>
                  </a:cubicBezTo>
                  <a:cubicBezTo>
                    <a:pt x="340" y="1354"/>
                    <a:pt x="340" y="1354"/>
                    <a:pt x="341" y="1354"/>
                  </a:cubicBezTo>
                  <a:cubicBezTo>
                    <a:pt x="716" y="1354"/>
                    <a:pt x="1021" y="1051"/>
                    <a:pt x="1021" y="677"/>
                  </a:cubicBezTo>
                  <a:cubicBezTo>
                    <a:pt x="1021" y="304"/>
                    <a:pt x="716" y="0"/>
                    <a:pt x="341" y="0"/>
                  </a:cubicBezTo>
                </a:path>
              </a:pathLst>
            </a:custGeom>
            <a:gradFill rotWithShape="1">
              <a:gsLst>
                <a:gs pos="0">
                  <a:srgbClr val="91BA44"/>
                </a:gs>
                <a:gs pos="100000">
                  <a:srgbClr val="4B7013"/>
                </a:gs>
              </a:gsLst>
              <a:lin ang="54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</p:grpSp>
      <p:sp>
        <p:nvSpPr>
          <p:cNvPr id="26630" name="Textfeld 28"/>
          <p:cNvSpPr txBox="1">
            <a:spLocks noChangeArrowheads="1"/>
          </p:cNvSpPr>
          <p:nvPr/>
        </p:nvSpPr>
        <p:spPr bwMode="gray">
          <a:xfrm>
            <a:off x="4321175" y="2689225"/>
            <a:ext cx="143986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de-DE" sz="2400" b="1">
                <a:solidFill>
                  <a:schemeClr val="bg1"/>
                </a:solidFill>
              </a:rPr>
              <a:t>Services</a:t>
            </a:r>
          </a:p>
        </p:txBody>
      </p:sp>
      <p:sp>
        <p:nvSpPr>
          <p:cNvPr id="26631" name="Textfeld 29"/>
          <p:cNvSpPr txBox="1">
            <a:spLocks noChangeArrowheads="1"/>
          </p:cNvSpPr>
          <p:nvPr/>
        </p:nvSpPr>
        <p:spPr bwMode="gray">
          <a:xfrm>
            <a:off x="3406775" y="4073525"/>
            <a:ext cx="15049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de-DE" sz="2400" b="1">
                <a:solidFill>
                  <a:schemeClr val="bg1"/>
                </a:solidFill>
              </a:rPr>
              <a:t>Products</a:t>
            </a:r>
          </a:p>
        </p:txBody>
      </p:sp>
      <p:sp>
        <p:nvSpPr>
          <p:cNvPr id="31" name="Textfeld 7"/>
          <p:cNvSpPr txBox="1">
            <a:spLocks noChangeArrowheads="1"/>
          </p:cNvSpPr>
          <p:nvPr/>
        </p:nvSpPr>
        <p:spPr bwMode="gray">
          <a:xfrm>
            <a:off x="155575" y="174625"/>
            <a:ext cx="8988425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6000" b="1" kern="0" dirty="0">
                <a:solidFill>
                  <a:srgbClr val="6B9B1A"/>
                </a:solidFill>
                <a:latin typeface="Arial"/>
                <a:cs typeface="+mn-cs"/>
              </a:rPr>
              <a:t>YING</a:t>
            </a:r>
            <a:r>
              <a:rPr lang="de-DE" sz="60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  <a:cs typeface="+mn-cs"/>
              </a:rPr>
              <a:t>YANG</a:t>
            </a:r>
          </a:p>
        </p:txBody>
      </p:sp>
      <p:pic>
        <p:nvPicPr>
          <p:cNvPr id="26633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16100" y="5572125"/>
            <a:ext cx="522287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16686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650" name="Group 10"/>
          <p:cNvGrpSpPr>
            <a:grpSpLocks/>
          </p:cNvGrpSpPr>
          <p:nvPr/>
        </p:nvGrpSpPr>
        <p:grpSpPr bwMode="auto">
          <a:xfrm>
            <a:off x="0" y="0"/>
            <a:ext cx="9144000" cy="5948363"/>
            <a:chOff x="0" y="0"/>
            <a:chExt cx="5760" cy="3747"/>
          </a:xfrm>
        </p:grpSpPr>
        <p:sp>
          <p:nvSpPr>
            <p:cNvPr id="27661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27662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27663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  <p:sp>
          <p:nvSpPr>
            <p:cNvPr id="27664" name="Rectangle 5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es-AR">
                <a:solidFill>
                  <a:schemeClr val="bg1"/>
                </a:solidFill>
              </a:endParaRPr>
            </a:p>
          </p:txBody>
        </p:sp>
      </p:grpSp>
      <p:sp>
        <p:nvSpPr>
          <p:cNvPr id="28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kern="0" noProof="1">
                <a:solidFill>
                  <a:schemeClr val="bg1"/>
                </a:solidFill>
                <a:cs typeface="+mn-cs"/>
              </a:rPr>
              <a:t>Placeholder for your own sub headline</a:t>
            </a:r>
          </a:p>
        </p:txBody>
      </p:sp>
      <p:sp>
        <p:nvSpPr>
          <p:cNvPr id="29" name="Rectangle 40"/>
          <p:cNvSpPr txBox="1">
            <a:spLocks noChangeArrowheads="1"/>
          </p:cNvSpPr>
          <p:nvPr/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>
              <a:lnSpc>
                <a:spcPct val="90000"/>
              </a:lnSpc>
              <a:defRPr/>
            </a:pPr>
            <a:r>
              <a:rPr lang="de-DE" sz="3000" b="1" kern="0" dirty="0">
                <a:solidFill>
                  <a:srgbClr val="FFFFFF"/>
                </a:solidFill>
                <a:latin typeface="Arial"/>
                <a:cs typeface="Arial"/>
              </a:rPr>
              <a:t>Ying Yang</a:t>
            </a:r>
          </a:p>
        </p:txBody>
      </p:sp>
      <p:sp>
        <p:nvSpPr>
          <p:cNvPr id="27653" name="Text Box 19"/>
          <p:cNvSpPr txBox="1">
            <a:spLocks noChangeArrowheads="1"/>
          </p:cNvSpPr>
          <p:nvPr/>
        </p:nvSpPr>
        <p:spPr bwMode="gray">
          <a:xfrm>
            <a:off x="312738" y="1858963"/>
            <a:ext cx="2705100" cy="97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40000"/>
              </a:spcAft>
            </a:pPr>
            <a:r>
              <a:rPr lang="es-AR" sz="1600" noProof="1">
                <a:solidFill>
                  <a:schemeClr val="bg1"/>
                </a:solidFill>
              </a:rPr>
              <a:t>This is placeholder text. </a:t>
            </a:r>
            <a:br>
              <a:rPr lang="es-AR" sz="1600" noProof="1">
                <a:solidFill>
                  <a:schemeClr val="bg1"/>
                </a:solidFill>
              </a:rPr>
            </a:br>
            <a:r>
              <a:rPr lang="es-AR" sz="1600" noProof="1">
                <a:solidFill>
                  <a:schemeClr val="bg1"/>
                </a:solidFill>
              </a:rPr>
              <a:t>All phrases can be </a:t>
            </a:r>
            <a:br>
              <a:rPr lang="es-AR" sz="1600" noProof="1">
                <a:solidFill>
                  <a:schemeClr val="bg1"/>
                </a:solidFill>
              </a:rPr>
            </a:br>
            <a:r>
              <a:rPr lang="es-AR" sz="1600" noProof="1">
                <a:solidFill>
                  <a:schemeClr val="bg1"/>
                </a:solidFill>
              </a:rPr>
              <a:t>replaced with your </a:t>
            </a:r>
            <a:br>
              <a:rPr lang="es-AR" sz="1600" noProof="1">
                <a:solidFill>
                  <a:schemeClr val="bg1"/>
                </a:solidFill>
              </a:rPr>
            </a:br>
            <a:r>
              <a:rPr lang="es-AR" sz="1600" noProof="1">
                <a:solidFill>
                  <a:schemeClr val="bg1"/>
                </a:solidFill>
              </a:rPr>
              <a:t>own text.</a:t>
            </a:r>
          </a:p>
        </p:txBody>
      </p:sp>
      <p:sp>
        <p:nvSpPr>
          <p:cNvPr id="27654" name="Text Box 13"/>
          <p:cNvSpPr txBox="1">
            <a:spLocks noChangeArrowheads="1"/>
          </p:cNvSpPr>
          <p:nvPr/>
        </p:nvSpPr>
        <p:spPr bwMode="gray">
          <a:xfrm>
            <a:off x="6364288" y="1858963"/>
            <a:ext cx="2459037" cy="122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Aft>
                <a:spcPct val="40000"/>
              </a:spcAft>
            </a:pPr>
            <a:r>
              <a:rPr lang="es-AR" sz="1600" noProof="1">
                <a:solidFill>
                  <a:schemeClr val="bg1"/>
                </a:solidFill>
              </a:rPr>
              <a:t>The text demonstrates how your own text will look when you replace the placeholder with </a:t>
            </a:r>
            <a:br>
              <a:rPr lang="es-AR" sz="1600" noProof="1">
                <a:solidFill>
                  <a:schemeClr val="bg1"/>
                </a:solidFill>
              </a:rPr>
            </a:br>
            <a:r>
              <a:rPr lang="es-AR" sz="1600" noProof="1">
                <a:solidFill>
                  <a:schemeClr val="bg1"/>
                </a:solidFill>
              </a:rPr>
              <a:t>your own text.</a:t>
            </a:r>
          </a:p>
        </p:txBody>
      </p:sp>
      <p:grpSp>
        <p:nvGrpSpPr>
          <p:cNvPr id="27655" name="Group 3"/>
          <p:cNvGrpSpPr>
            <a:grpSpLocks/>
          </p:cNvGrpSpPr>
          <p:nvPr/>
        </p:nvGrpSpPr>
        <p:grpSpPr bwMode="auto">
          <a:xfrm rot="356676">
            <a:off x="2190750" y="1912938"/>
            <a:ext cx="3217863" cy="3508375"/>
            <a:chOff x="1820" y="1338"/>
            <a:chExt cx="1302" cy="1413"/>
          </a:xfrm>
        </p:grpSpPr>
        <p:sp>
          <p:nvSpPr>
            <p:cNvPr id="27659" name="Freeform 4"/>
            <p:cNvSpPr>
              <a:spLocks/>
            </p:cNvSpPr>
            <p:nvPr/>
          </p:nvSpPr>
          <p:spPr bwMode="gray">
            <a:xfrm>
              <a:off x="2149" y="1338"/>
              <a:ext cx="973" cy="1412"/>
            </a:xfrm>
            <a:custGeom>
              <a:avLst/>
              <a:gdLst>
                <a:gd name="T0" fmla="*/ 0 w 704"/>
                <a:gd name="T1" fmla="*/ 1104918031 h 1021"/>
                <a:gd name="T2" fmla="*/ 1093861140 w 704"/>
                <a:gd name="T3" fmla="*/ 2147483647 h 1021"/>
                <a:gd name="T4" fmla="*/ 1656756839 w 704"/>
                <a:gd name="T5" fmla="*/ 1896083602 h 1021"/>
                <a:gd name="T6" fmla="*/ 870695717 w 704"/>
                <a:gd name="T7" fmla="*/ 1158244074 h 1021"/>
                <a:gd name="T8" fmla="*/ 1058980392 w 704"/>
                <a:gd name="T9" fmla="*/ 0 h 1021"/>
                <a:gd name="T10" fmla="*/ 0 w 704"/>
                <a:gd name="T11" fmla="*/ 1104918031 h 102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04"/>
                <a:gd name="T19" fmla="*/ 0 h 1021"/>
                <a:gd name="T20" fmla="*/ 704 w 704"/>
                <a:gd name="T21" fmla="*/ 1021 h 102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04" h="1021">
                  <a:moveTo>
                    <a:pt x="0" y="266"/>
                  </a:moveTo>
                  <a:cubicBezTo>
                    <a:pt x="0" y="412"/>
                    <a:pt x="126" y="1021"/>
                    <a:pt x="271" y="1021"/>
                  </a:cubicBezTo>
                  <a:cubicBezTo>
                    <a:pt x="704" y="955"/>
                    <a:pt x="650" y="533"/>
                    <a:pt x="411" y="457"/>
                  </a:cubicBezTo>
                  <a:cubicBezTo>
                    <a:pt x="258" y="409"/>
                    <a:pt x="212" y="360"/>
                    <a:pt x="216" y="279"/>
                  </a:cubicBezTo>
                  <a:cubicBezTo>
                    <a:pt x="224" y="133"/>
                    <a:pt x="408" y="0"/>
                    <a:pt x="263" y="0"/>
                  </a:cubicBezTo>
                  <a:cubicBezTo>
                    <a:pt x="118" y="0"/>
                    <a:pt x="0" y="119"/>
                    <a:pt x="0" y="266"/>
                  </a:cubicBezTo>
                  <a:close/>
                </a:path>
              </a:pathLst>
            </a:custGeom>
            <a:gradFill rotWithShape="1">
              <a:gsLst>
                <a:gs pos="0">
                  <a:srgbClr val="000000"/>
                </a:gs>
                <a:gs pos="50000">
                  <a:srgbClr val="595959"/>
                </a:gs>
                <a:gs pos="100000">
                  <a:srgbClr val="000000"/>
                </a:gs>
              </a:gsLst>
              <a:lin ang="2700000" scaled="1"/>
            </a:gra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7660" name="Freeform 5"/>
            <p:cNvSpPr>
              <a:spLocks/>
            </p:cNvSpPr>
            <p:nvPr/>
          </p:nvSpPr>
          <p:spPr bwMode="gray">
            <a:xfrm>
              <a:off x="1820" y="1341"/>
              <a:ext cx="1053" cy="1410"/>
            </a:xfrm>
            <a:custGeom>
              <a:avLst/>
              <a:gdLst>
                <a:gd name="T0" fmla="*/ 2147483647 w 762"/>
                <a:gd name="T1" fmla="*/ 2147483647 h 1020"/>
                <a:gd name="T2" fmla="*/ 2031893959 w 762"/>
                <a:gd name="T3" fmla="*/ 2074149490 h 1020"/>
                <a:gd name="T4" fmla="*/ 1016717786 w 762"/>
                <a:gd name="T5" fmla="*/ 1030309029 h 1020"/>
                <a:gd name="T6" fmla="*/ 2029882159 w 762"/>
                <a:gd name="T7" fmla="*/ 0 h 1020"/>
                <a:gd name="T8" fmla="*/ 60080325 w 762"/>
                <a:gd name="T9" fmla="*/ 1575976382 h 1020"/>
                <a:gd name="T10" fmla="*/ 0 w 762"/>
                <a:gd name="T11" fmla="*/ 2076525774 h 1020"/>
                <a:gd name="T12" fmla="*/ 2034431339 w 762"/>
                <a:gd name="T13" fmla="*/ 2147483647 h 1020"/>
                <a:gd name="T14" fmla="*/ 2147483647 w 762"/>
                <a:gd name="T15" fmla="*/ 2147483647 h 10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62"/>
                <a:gd name="T25" fmla="*/ 0 h 1020"/>
                <a:gd name="T26" fmla="*/ 762 w 762"/>
                <a:gd name="T27" fmla="*/ 1020 h 102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62" h="1020">
                  <a:moveTo>
                    <a:pt x="762" y="766"/>
                  </a:moveTo>
                  <a:cubicBezTo>
                    <a:pt x="762" y="624"/>
                    <a:pt x="648" y="510"/>
                    <a:pt x="508" y="510"/>
                  </a:cubicBezTo>
                  <a:cubicBezTo>
                    <a:pt x="368" y="510"/>
                    <a:pt x="254" y="396"/>
                    <a:pt x="254" y="254"/>
                  </a:cubicBezTo>
                  <a:cubicBezTo>
                    <a:pt x="254" y="114"/>
                    <a:pt x="367" y="1"/>
                    <a:pt x="507" y="0"/>
                  </a:cubicBezTo>
                  <a:cubicBezTo>
                    <a:pt x="269" y="2"/>
                    <a:pt x="69" y="166"/>
                    <a:pt x="15" y="388"/>
                  </a:cubicBezTo>
                  <a:cubicBezTo>
                    <a:pt x="5" y="427"/>
                    <a:pt x="0" y="468"/>
                    <a:pt x="0" y="511"/>
                  </a:cubicBezTo>
                  <a:cubicBezTo>
                    <a:pt x="0" y="792"/>
                    <a:pt x="228" y="1020"/>
                    <a:pt x="509" y="1020"/>
                  </a:cubicBezTo>
                  <a:cubicBezTo>
                    <a:pt x="649" y="1020"/>
                    <a:pt x="762" y="906"/>
                    <a:pt x="762" y="766"/>
                  </a:cubicBezTo>
                  <a:close/>
                </a:path>
              </a:pathLst>
            </a:custGeom>
            <a:gradFill rotWithShape="1">
              <a:gsLst>
                <a:gs pos="0">
                  <a:srgbClr val="DDDDDD"/>
                </a:gs>
                <a:gs pos="100000">
                  <a:srgbClr val="5F5F5F"/>
                </a:gs>
              </a:gsLst>
              <a:lin ang="5400000" scaled="1"/>
            </a:gra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</p:grpSp>
      <p:sp>
        <p:nvSpPr>
          <p:cNvPr id="27656" name="Freeform 45"/>
          <p:cNvSpPr>
            <a:spLocks/>
          </p:cNvSpPr>
          <p:nvPr/>
        </p:nvSpPr>
        <p:spPr bwMode="gray">
          <a:xfrm rot="357883">
            <a:off x="4518025" y="1966913"/>
            <a:ext cx="2616200" cy="3500437"/>
          </a:xfrm>
          <a:custGeom>
            <a:avLst/>
            <a:gdLst>
              <a:gd name="T0" fmla="*/ 2147483647 w 1021"/>
              <a:gd name="T1" fmla="*/ 0 h 1354"/>
              <a:gd name="T2" fmla="*/ 2147483647 w 1021"/>
              <a:gd name="T3" fmla="*/ 0 h 1354"/>
              <a:gd name="T4" fmla="*/ 0 w 1021"/>
              <a:gd name="T5" fmla="*/ 2147483647 h 1354"/>
              <a:gd name="T6" fmla="*/ 2147483647 w 1021"/>
              <a:gd name="T7" fmla="*/ 2147483647 h 1354"/>
              <a:gd name="T8" fmla="*/ 2147483647 w 1021"/>
              <a:gd name="T9" fmla="*/ 2147483647 h 1354"/>
              <a:gd name="T10" fmla="*/ 2147483647 w 1021"/>
              <a:gd name="T11" fmla="*/ 2147483647 h 1354"/>
              <a:gd name="T12" fmla="*/ 2147483647 w 1021"/>
              <a:gd name="T13" fmla="*/ 2147483647 h 1354"/>
              <a:gd name="T14" fmla="*/ 2147483647 w 1021"/>
              <a:gd name="T15" fmla="*/ 2147483647 h 1354"/>
              <a:gd name="T16" fmla="*/ 2147483647 w 1021"/>
              <a:gd name="T17" fmla="*/ 0 h 135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021"/>
              <a:gd name="T28" fmla="*/ 0 h 1354"/>
              <a:gd name="T29" fmla="*/ 1021 w 1021"/>
              <a:gd name="T30" fmla="*/ 1354 h 135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021" h="1354">
                <a:moveTo>
                  <a:pt x="341" y="0"/>
                </a:moveTo>
                <a:cubicBezTo>
                  <a:pt x="340" y="0"/>
                  <a:pt x="337" y="0"/>
                  <a:pt x="336" y="0"/>
                </a:cubicBezTo>
                <a:cubicBezTo>
                  <a:pt x="151" y="1"/>
                  <a:pt x="0" y="151"/>
                  <a:pt x="0" y="337"/>
                </a:cubicBezTo>
                <a:cubicBezTo>
                  <a:pt x="0" y="526"/>
                  <a:pt x="152" y="677"/>
                  <a:pt x="339" y="677"/>
                </a:cubicBezTo>
                <a:cubicBezTo>
                  <a:pt x="525" y="677"/>
                  <a:pt x="677" y="828"/>
                  <a:pt x="677" y="1017"/>
                </a:cubicBezTo>
                <a:cubicBezTo>
                  <a:pt x="677" y="1203"/>
                  <a:pt x="525" y="1354"/>
                  <a:pt x="340" y="1354"/>
                </a:cubicBezTo>
                <a:cubicBezTo>
                  <a:pt x="340" y="1354"/>
                  <a:pt x="340" y="1354"/>
                  <a:pt x="341" y="1354"/>
                </a:cubicBezTo>
                <a:cubicBezTo>
                  <a:pt x="716" y="1354"/>
                  <a:pt x="1021" y="1051"/>
                  <a:pt x="1021" y="677"/>
                </a:cubicBezTo>
                <a:cubicBezTo>
                  <a:pt x="1021" y="304"/>
                  <a:pt x="716" y="0"/>
                  <a:pt x="341" y="0"/>
                </a:cubicBezTo>
              </a:path>
            </a:pathLst>
          </a:custGeom>
          <a:gradFill rotWithShape="1">
            <a:gsLst>
              <a:gs pos="0">
                <a:srgbClr val="69A2E1"/>
              </a:gs>
              <a:gs pos="100000">
                <a:srgbClr val="0061B2"/>
              </a:gs>
            </a:gsLst>
            <a:lin ang="5400000" scaled="1"/>
          </a:gra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endParaRPr lang="es-AR"/>
          </a:p>
        </p:txBody>
      </p:sp>
      <p:pic>
        <p:nvPicPr>
          <p:cNvPr id="27657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16100" y="5572125"/>
            <a:ext cx="522287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75153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71" name="Group 44"/>
          <p:cNvGrpSpPr>
            <a:grpSpLocks/>
          </p:cNvGrpSpPr>
          <p:nvPr/>
        </p:nvGrpSpPr>
        <p:grpSpPr bwMode="auto">
          <a:xfrm>
            <a:off x="4891087" y="3203973"/>
            <a:ext cx="1462088" cy="1012031"/>
            <a:chOff x="1879215" y="2756822"/>
            <a:chExt cx="1950366" cy="1348700"/>
          </a:xfrm>
        </p:grpSpPr>
        <p:grpSp>
          <p:nvGrpSpPr>
            <p:cNvPr id="310352" name="Group 24"/>
            <p:cNvGrpSpPr>
              <a:grpSpLocks/>
            </p:cNvGrpSpPr>
            <p:nvPr/>
          </p:nvGrpSpPr>
          <p:grpSpPr bwMode="auto">
            <a:xfrm>
              <a:off x="1879215" y="2756822"/>
              <a:ext cx="1950366" cy="1348700"/>
              <a:chOff x="2041140" y="2216424"/>
              <a:chExt cx="1950366" cy="1348700"/>
            </a:xfrm>
          </p:grpSpPr>
          <p:sp>
            <p:nvSpPr>
              <p:cNvPr id="48" name="Ellipse 59"/>
              <p:cNvSpPr/>
              <p:nvPr/>
            </p:nvSpPr>
            <p:spPr bwMode="auto">
              <a:xfrm>
                <a:off x="2041140" y="3171846"/>
                <a:ext cx="1950366" cy="393278"/>
              </a:xfrm>
              <a:prstGeom prst="ellipse">
                <a:avLst/>
              </a:prstGeom>
              <a:gradFill flip="none" rotWithShape="1">
                <a:gsLst>
                  <a:gs pos="24000">
                    <a:sysClr val="windowText" lastClr="000000">
                      <a:alpha val="22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da-DK" sz="1350">
                  <a:solidFill>
                    <a:srgbClr val="FFFFFF"/>
                  </a:solidFill>
                  <a:latin typeface="Calibri" pitchFamily="-65" charset="0"/>
                  <a:ea typeface="ＭＳ Ｐゴシック" pitchFamily="-65" charset="-128"/>
                </a:endParaRPr>
              </a:p>
            </p:txBody>
          </p:sp>
          <p:sp>
            <p:nvSpPr>
              <p:cNvPr id="49" name="Ellipse 44"/>
              <p:cNvSpPr/>
              <p:nvPr/>
            </p:nvSpPr>
            <p:spPr bwMode="auto">
              <a:xfrm rot="21052097">
                <a:off x="2398784" y="2216424"/>
                <a:ext cx="1206258" cy="1203845"/>
              </a:xfrm>
              <a:prstGeom prst="ellipse">
                <a:avLst/>
              </a:prstGeom>
              <a:gradFill flip="none" rotWithShape="1">
                <a:gsLst>
                  <a:gs pos="0">
                    <a:srgbClr val="A6F77D"/>
                  </a:gs>
                  <a:gs pos="100000">
                    <a:srgbClr val="72D816"/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solidFill>
                  <a:srgbClr val="4F950F"/>
                </a:solidFill>
                <a:prstDash val="solid"/>
              </a:ln>
              <a:effectLst>
                <a:innerShdw blurRad="190500" dist="114300" dir="5640000">
                  <a:srgbClr val="000000">
                    <a:alpha val="37000"/>
                  </a:srgbClr>
                </a:inn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da-DK" sz="1350">
                  <a:solidFill>
                    <a:srgbClr val="FFFFFF"/>
                  </a:solidFill>
                  <a:latin typeface="Calibri" pitchFamily="-65" charset="0"/>
                  <a:ea typeface="ＭＳ Ｐゴシック" pitchFamily="-65" charset="-128"/>
                </a:endParaRPr>
              </a:p>
            </p:txBody>
          </p:sp>
          <p:sp>
            <p:nvSpPr>
              <p:cNvPr id="310360" name="Ellipse 45"/>
              <p:cNvSpPr>
                <a:spLocks noChangeArrowheads="1"/>
              </p:cNvSpPr>
              <p:nvPr/>
            </p:nvSpPr>
            <p:spPr bwMode="auto">
              <a:xfrm>
                <a:off x="2570120" y="2242671"/>
                <a:ext cx="876250" cy="652142"/>
              </a:xfrm>
              <a:prstGeom prst="ellipse">
                <a:avLst/>
              </a:prstGeom>
              <a:gradFill rotWithShape="1">
                <a:gsLst>
                  <a:gs pos="0">
                    <a:srgbClr val="FFFCF9">
                      <a:alpha val="76999"/>
                    </a:srgbClr>
                  </a:gs>
                  <a:gs pos="100000">
                    <a:srgbClr val="FFFFFF">
                      <a:alpha val="0"/>
                    </a:srgbClr>
                  </a:gs>
                </a:gsLst>
                <a:lin ang="540000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>
                  <a:spcBef>
                    <a:spcPct val="0"/>
                  </a:spcBef>
                  <a:buFontTx/>
                  <a:buNone/>
                </a:pPr>
                <a:endParaRPr lang="da-DK" sz="135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Måne 63"/>
              <p:cNvSpPr/>
              <p:nvPr/>
            </p:nvSpPr>
            <p:spPr bwMode="auto">
              <a:xfrm rot="16552097">
                <a:off x="2707413" y="2545790"/>
                <a:ext cx="529974" cy="1170987"/>
              </a:xfrm>
              <a:prstGeom prst="moon">
                <a:avLst>
                  <a:gd name="adj" fmla="val 18952"/>
                </a:avLst>
              </a:prstGeom>
              <a:gradFill flip="none" rotWithShape="1">
                <a:gsLst>
                  <a:gs pos="24000">
                    <a:sysClr val="windowText" lastClr="000000">
                      <a:alpha val="24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da-DK" sz="1350">
                  <a:solidFill>
                    <a:srgbClr val="FFFFFF"/>
                  </a:solidFill>
                  <a:latin typeface="Calibri" pitchFamily="-65" charset="0"/>
                  <a:ea typeface="ＭＳ Ｐゴシック" pitchFamily="-65" charset="-128"/>
                </a:endParaRPr>
              </a:p>
            </p:txBody>
          </p:sp>
        </p:grpSp>
        <p:sp>
          <p:nvSpPr>
            <p:cNvPr id="310353" name="TextBox 46"/>
            <p:cNvSpPr txBox="1">
              <a:spLocks noChangeArrowheads="1"/>
            </p:cNvSpPr>
            <p:nvPr/>
          </p:nvSpPr>
          <p:spPr bwMode="auto">
            <a:xfrm>
              <a:off x="2599337" y="2855569"/>
              <a:ext cx="422276" cy="7998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n-US" sz="3300" b="1" dirty="0" smtClean="0"/>
                <a:t>2</a:t>
              </a:r>
              <a:endParaRPr lang="en-US" sz="3300" b="1" dirty="0"/>
            </a:p>
          </p:txBody>
        </p:sp>
      </p:grpSp>
      <p:grpSp>
        <p:nvGrpSpPr>
          <p:cNvPr id="2072" name="Group 51"/>
          <p:cNvGrpSpPr>
            <a:grpSpLocks/>
          </p:cNvGrpSpPr>
          <p:nvPr/>
        </p:nvGrpSpPr>
        <p:grpSpPr bwMode="auto">
          <a:xfrm>
            <a:off x="4462462" y="4532710"/>
            <a:ext cx="1463279" cy="1010840"/>
            <a:chOff x="4401030" y="2756822"/>
            <a:chExt cx="1950366" cy="1348700"/>
          </a:xfrm>
        </p:grpSpPr>
        <p:grpSp>
          <p:nvGrpSpPr>
            <p:cNvPr id="310340" name="Group 30"/>
            <p:cNvGrpSpPr>
              <a:grpSpLocks/>
            </p:cNvGrpSpPr>
            <p:nvPr/>
          </p:nvGrpSpPr>
          <p:grpSpPr bwMode="auto">
            <a:xfrm>
              <a:off x="4401030" y="2756822"/>
              <a:ext cx="1950366" cy="1348700"/>
              <a:chOff x="3669915" y="2216424"/>
              <a:chExt cx="1950366" cy="1348700"/>
            </a:xfrm>
          </p:grpSpPr>
          <p:sp>
            <p:nvSpPr>
              <p:cNvPr id="55" name="Ellipse 59"/>
              <p:cNvSpPr/>
              <p:nvPr/>
            </p:nvSpPr>
            <p:spPr bwMode="auto">
              <a:xfrm>
                <a:off x="3669915" y="3171846"/>
                <a:ext cx="1950366" cy="393278"/>
              </a:xfrm>
              <a:prstGeom prst="ellipse">
                <a:avLst/>
              </a:prstGeom>
              <a:gradFill flip="none" rotWithShape="1">
                <a:gsLst>
                  <a:gs pos="24000">
                    <a:sysClr val="windowText" lastClr="000000">
                      <a:alpha val="22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da-DK" sz="1350">
                  <a:solidFill>
                    <a:srgbClr val="FFFFFF"/>
                  </a:solidFill>
                  <a:latin typeface="Calibri" pitchFamily="-65" charset="0"/>
                  <a:ea typeface="ＭＳ Ｐゴシック" pitchFamily="-65" charset="-128"/>
                </a:endParaRPr>
              </a:p>
            </p:txBody>
          </p:sp>
          <p:sp>
            <p:nvSpPr>
              <p:cNvPr id="56" name="Ellipse 44"/>
              <p:cNvSpPr/>
              <p:nvPr/>
            </p:nvSpPr>
            <p:spPr bwMode="auto">
              <a:xfrm rot="21052097">
                <a:off x="4027559" y="2216424"/>
                <a:ext cx="1206258" cy="1203845"/>
              </a:xfrm>
              <a:prstGeom prst="ellipse">
                <a:avLst/>
              </a:prstGeom>
              <a:gradFill flip="none" rotWithShape="1">
                <a:gsLst>
                  <a:gs pos="0">
                    <a:srgbClr val="FFCC00"/>
                  </a:gs>
                  <a:gs pos="100000">
                    <a:srgbClr val="FF9900"/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solidFill>
                  <a:srgbClr val="CC6600"/>
                </a:solidFill>
                <a:prstDash val="solid"/>
              </a:ln>
              <a:effectLst>
                <a:innerShdw blurRad="190500" dist="114300" dir="5640000">
                  <a:srgbClr val="000000">
                    <a:alpha val="37000"/>
                  </a:srgbClr>
                </a:inn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da-DK" sz="1350">
                  <a:solidFill>
                    <a:srgbClr val="FFFFFF"/>
                  </a:solidFill>
                  <a:latin typeface="Calibri" pitchFamily="-65" charset="0"/>
                  <a:ea typeface="ＭＳ Ｐゴシック" pitchFamily="-65" charset="-128"/>
                </a:endParaRPr>
              </a:p>
            </p:txBody>
          </p:sp>
          <p:sp>
            <p:nvSpPr>
              <p:cNvPr id="310348" name="Ellipse 45"/>
              <p:cNvSpPr>
                <a:spLocks noChangeArrowheads="1"/>
              </p:cNvSpPr>
              <p:nvPr/>
            </p:nvSpPr>
            <p:spPr bwMode="auto">
              <a:xfrm>
                <a:off x="4198895" y="2242671"/>
                <a:ext cx="876250" cy="652142"/>
              </a:xfrm>
              <a:prstGeom prst="ellipse">
                <a:avLst/>
              </a:prstGeom>
              <a:gradFill rotWithShape="1">
                <a:gsLst>
                  <a:gs pos="0">
                    <a:srgbClr val="FFFCF9">
                      <a:alpha val="76999"/>
                    </a:srgbClr>
                  </a:gs>
                  <a:gs pos="100000">
                    <a:srgbClr val="FFFFFF">
                      <a:alpha val="0"/>
                    </a:srgbClr>
                  </a:gs>
                </a:gsLst>
                <a:lin ang="540000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>
                  <a:spcBef>
                    <a:spcPct val="0"/>
                  </a:spcBef>
                  <a:buFontTx/>
                  <a:buNone/>
                </a:pPr>
                <a:endParaRPr lang="da-DK" sz="135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Måne 63"/>
              <p:cNvSpPr/>
              <p:nvPr/>
            </p:nvSpPr>
            <p:spPr bwMode="auto">
              <a:xfrm rot="16552097">
                <a:off x="4336188" y="2545790"/>
                <a:ext cx="529974" cy="1170987"/>
              </a:xfrm>
              <a:prstGeom prst="moon">
                <a:avLst>
                  <a:gd name="adj" fmla="val 18952"/>
                </a:avLst>
              </a:prstGeom>
              <a:gradFill flip="none" rotWithShape="1">
                <a:gsLst>
                  <a:gs pos="24000">
                    <a:sysClr val="windowText" lastClr="000000">
                      <a:alpha val="24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da-DK" sz="1350">
                  <a:solidFill>
                    <a:srgbClr val="FFFFFF"/>
                  </a:solidFill>
                  <a:latin typeface="Calibri" pitchFamily="-65" charset="0"/>
                  <a:ea typeface="ＭＳ Ｐゴシック" pitchFamily="-65" charset="-128"/>
                </a:endParaRPr>
              </a:p>
            </p:txBody>
          </p:sp>
        </p:grpSp>
        <p:sp>
          <p:nvSpPr>
            <p:cNvPr id="310341" name="TextBox 53"/>
            <p:cNvSpPr txBox="1">
              <a:spLocks noChangeArrowheads="1"/>
            </p:cNvSpPr>
            <p:nvPr/>
          </p:nvSpPr>
          <p:spPr bwMode="auto">
            <a:xfrm>
              <a:off x="5121151" y="2794142"/>
              <a:ext cx="422274" cy="8007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n-US" sz="3300" b="1" dirty="0" smtClean="0"/>
                <a:t>3</a:t>
              </a:r>
              <a:endParaRPr lang="en-US" sz="3300" b="1" dirty="0"/>
            </a:p>
          </p:txBody>
        </p:sp>
      </p:grpSp>
      <p:grpSp>
        <p:nvGrpSpPr>
          <p:cNvPr id="2073" name="Group 58"/>
          <p:cNvGrpSpPr>
            <a:grpSpLocks/>
          </p:cNvGrpSpPr>
          <p:nvPr/>
        </p:nvGrpSpPr>
        <p:grpSpPr bwMode="auto">
          <a:xfrm>
            <a:off x="3082528" y="4524375"/>
            <a:ext cx="1462088" cy="1010841"/>
            <a:chOff x="745260" y="884314"/>
            <a:chExt cx="1950366" cy="1348700"/>
          </a:xfrm>
        </p:grpSpPr>
        <p:sp>
          <p:nvSpPr>
            <p:cNvPr id="60" name="Ellipse 59"/>
            <p:cNvSpPr/>
            <p:nvPr/>
          </p:nvSpPr>
          <p:spPr bwMode="auto">
            <a:xfrm>
              <a:off x="745260" y="1839736"/>
              <a:ext cx="1950366" cy="393278"/>
            </a:xfrm>
            <a:prstGeom prst="ellipse">
              <a:avLst/>
            </a:prstGeom>
            <a:gradFill flip="none" rotWithShape="1">
              <a:gsLst>
                <a:gs pos="24000">
                  <a:sysClr val="windowText" lastClr="000000">
                    <a:alpha val="22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da-DK" sz="1350">
                <a:solidFill>
                  <a:srgbClr val="FFFFFF"/>
                </a:solidFill>
                <a:latin typeface="Calibri" pitchFamily="-65" charset="0"/>
                <a:ea typeface="ＭＳ Ｐゴシック" pitchFamily="-65" charset="-128"/>
              </a:endParaRPr>
            </a:p>
          </p:txBody>
        </p:sp>
        <p:sp>
          <p:nvSpPr>
            <p:cNvPr id="61" name="Ellipse 44"/>
            <p:cNvSpPr/>
            <p:nvPr/>
          </p:nvSpPr>
          <p:spPr bwMode="auto">
            <a:xfrm rot="21052097">
              <a:off x="1102904" y="884314"/>
              <a:ext cx="1206258" cy="1203845"/>
            </a:xfrm>
            <a:prstGeom prst="ellipse">
              <a:avLst/>
            </a:prstGeom>
            <a:gradFill flip="none" rotWithShape="1">
              <a:gsLst>
                <a:gs pos="0">
                  <a:srgbClr val="00FFFF"/>
                </a:gs>
                <a:gs pos="100000">
                  <a:srgbClr val="009999"/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solidFill>
                <a:schemeClr val="accent5">
                  <a:lumMod val="50000"/>
                </a:schemeClr>
              </a:solidFill>
              <a:prstDash val="solid"/>
            </a:ln>
            <a:effectLst>
              <a:innerShdw blurRad="190500" dist="114300" dir="5640000">
                <a:srgbClr val="000000">
                  <a:alpha val="37000"/>
                </a:srgbClr>
              </a:innerShdw>
            </a:effectLst>
          </p:spPr>
          <p:txBody>
            <a:bodyPr anchor="ctr"/>
            <a:lstStyle/>
            <a:p>
              <a:pPr algn="ctr">
                <a:defRPr/>
              </a:pPr>
              <a:endParaRPr lang="da-DK" sz="1350">
                <a:solidFill>
                  <a:srgbClr val="FFFFFF"/>
                </a:solidFill>
                <a:latin typeface="Calibri" pitchFamily="-65" charset="0"/>
                <a:ea typeface="ＭＳ Ｐゴシック" pitchFamily="-65" charset="-128"/>
              </a:endParaRPr>
            </a:p>
          </p:txBody>
        </p:sp>
        <p:sp>
          <p:nvSpPr>
            <p:cNvPr id="310335" name="Ellipse 45"/>
            <p:cNvSpPr>
              <a:spLocks noChangeArrowheads="1"/>
            </p:cNvSpPr>
            <p:nvPr/>
          </p:nvSpPr>
          <p:spPr bwMode="auto">
            <a:xfrm>
              <a:off x="1274240" y="910561"/>
              <a:ext cx="876250" cy="652142"/>
            </a:xfrm>
            <a:prstGeom prst="ellipse">
              <a:avLst/>
            </a:prstGeom>
            <a:gradFill rotWithShape="1">
              <a:gsLst>
                <a:gs pos="0">
                  <a:srgbClr val="FFFCF9">
                    <a:alpha val="76999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54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endParaRPr lang="da-DK" sz="1350">
                <a:solidFill>
                  <a:srgbClr val="FFFFFF"/>
                </a:solidFill>
              </a:endParaRPr>
            </a:p>
          </p:txBody>
        </p:sp>
        <p:sp>
          <p:nvSpPr>
            <p:cNvPr id="63" name="Måne 63"/>
            <p:cNvSpPr/>
            <p:nvPr/>
          </p:nvSpPr>
          <p:spPr bwMode="auto">
            <a:xfrm rot="16552097">
              <a:off x="1411533" y="1213680"/>
              <a:ext cx="529974" cy="1170987"/>
            </a:xfrm>
            <a:prstGeom prst="moon">
              <a:avLst>
                <a:gd name="adj" fmla="val 18952"/>
              </a:avLst>
            </a:prstGeom>
            <a:gradFill flip="none" rotWithShape="1">
              <a:gsLst>
                <a:gs pos="24000">
                  <a:sysClr val="windowText" lastClr="000000">
                    <a:alpha val="24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da-DK" sz="1350">
                <a:solidFill>
                  <a:srgbClr val="FFFFFF"/>
                </a:solidFill>
                <a:latin typeface="Calibri" pitchFamily="-65" charset="0"/>
                <a:ea typeface="ＭＳ Ｐゴシック" pitchFamily="-65" charset="-128"/>
              </a:endParaRPr>
            </a:p>
          </p:txBody>
        </p:sp>
        <p:sp>
          <p:nvSpPr>
            <p:cNvPr id="310339" name="TextBox 63"/>
            <p:cNvSpPr txBox="1">
              <a:spLocks noChangeArrowheads="1"/>
            </p:cNvSpPr>
            <p:nvPr/>
          </p:nvSpPr>
          <p:spPr bwMode="auto">
            <a:xfrm>
              <a:off x="1422380" y="945852"/>
              <a:ext cx="422276" cy="8007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n-US" sz="3300" b="1" dirty="0" smtClean="0"/>
                <a:t>4</a:t>
              </a:r>
              <a:endParaRPr lang="en-US" sz="3300" b="1" dirty="0"/>
            </a:p>
          </p:txBody>
        </p:sp>
      </p:grpSp>
      <p:grpSp>
        <p:nvGrpSpPr>
          <p:cNvPr id="2074" name="Group 64"/>
          <p:cNvGrpSpPr>
            <a:grpSpLocks/>
          </p:cNvGrpSpPr>
          <p:nvPr/>
        </p:nvGrpSpPr>
        <p:grpSpPr bwMode="auto">
          <a:xfrm>
            <a:off x="2618185" y="3202782"/>
            <a:ext cx="1462088" cy="1012031"/>
            <a:chOff x="5077633" y="1046239"/>
            <a:chExt cx="1950366" cy="1348700"/>
          </a:xfrm>
        </p:grpSpPr>
        <p:grpSp>
          <p:nvGrpSpPr>
            <p:cNvPr id="310317" name="Group 42"/>
            <p:cNvGrpSpPr>
              <a:grpSpLocks/>
            </p:cNvGrpSpPr>
            <p:nvPr/>
          </p:nvGrpSpPr>
          <p:grpSpPr bwMode="auto">
            <a:xfrm>
              <a:off x="5077633" y="1046239"/>
              <a:ext cx="1950366" cy="1348700"/>
              <a:chOff x="6984615" y="2243138"/>
              <a:chExt cx="1950366" cy="1348700"/>
            </a:xfrm>
          </p:grpSpPr>
          <p:sp>
            <p:nvSpPr>
              <p:cNvPr id="68" name="Ellipse 59"/>
              <p:cNvSpPr/>
              <p:nvPr/>
            </p:nvSpPr>
            <p:spPr bwMode="auto">
              <a:xfrm>
                <a:off x="6984615" y="3198560"/>
                <a:ext cx="1950366" cy="393278"/>
              </a:xfrm>
              <a:prstGeom prst="ellipse">
                <a:avLst/>
              </a:prstGeom>
              <a:gradFill flip="none" rotWithShape="1">
                <a:gsLst>
                  <a:gs pos="24000">
                    <a:sysClr val="windowText" lastClr="000000">
                      <a:alpha val="22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da-DK" sz="1350">
                  <a:solidFill>
                    <a:srgbClr val="FFFFFF"/>
                  </a:solidFill>
                  <a:latin typeface="Calibri" pitchFamily="-65" charset="0"/>
                  <a:ea typeface="ＭＳ Ｐゴシック" pitchFamily="-65" charset="-128"/>
                </a:endParaRPr>
              </a:p>
            </p:txBody>
          </p:sp>
          <p:sp>
            <p:nvSpPr>
              <p:cNvPr id="69" name="Ellipse 44"/>
              <p:cNvSpPr/>
              <p:nvPr/>
            </p:nvSpPr>
            <p:spPr bwMode="auto">
              <a:xfrm rot="21052097">
                <a:off x="7399409" y="2243138"/>
                <a:ext cx="1206258" cy="1203845"/>
              </a:xfrm>
              <a:prstGeom prst="ellipse">
                <a:avLst/>
              </a:prstGeom>
              <a:gradFill flip="none" rotWithShape="1">
                <a:gsLst>
                  <a:gs pos="0">
                    <a:srgbClr val="DDDDDD"/>
                  </a:gs>
                  <a:gs pos="100000">
                    <a:srgbClr val="969696"/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:ln>
              <a:effectLst>
                <a:innerShdw blurRad="190500" dist="114300" dir="5640000">
                  <a:srgbClr val="000000">
                    <a:alpha val="37000"/>
                  </a:srgbClr>
                </a:inn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da-DK" sz="1350">
                  <a:solidFill>
                    <a:srgbClr val="FFFFFF"/>
                  </a:solidFill>
                  <a:latin typeface="Calibri" pitchFamily="-65" charset="0"/>
                  <a:ea typeface="ＭＳ Ｐゴシック" pitchFamily="-65" charset="-128"/>
                </a:endParaRPr>
              </a:p>
            </p:txBody>
          </p:sp>
          <p:sp>
            <p:nvSpPr>
              <p:cNvPr id="310325" name="Ellipse 45"/>
              <p:cNvSpPr>
                <a:spLocks noChangeArrowheads="1"/>
              </p:cNvSpPr>
              <p:nvPr/>
            </p:nvSpPr>
            <p:spPr bwMode="auto">
              <a:xfrm>
                <a:off x="7513595" y="2269385"/>
                <a:ext cx="876250" cy="652142"/>
              </a:xfrm>
              <a:prstGeom prst="ellipse">
                <a:avLst/>
              </a:prstGeom>
              <a:gradFill rotWithShape="1">
                <a:gsLst>
                  <a:gs pos="0">
                    <a:srgbClr val="FFFCF9">
                      <a:alpha val="76999"/>
                    </a:srgbClr>
                  </a:gs>
                  <a:gs pos="100000">
                    <a:srgbClr val="FFFFFF">
                      <a:alpha val="0"/>
                    </a:srgbClr>
                  </a:gs>
                </a:gsLst>
                <a:lin ang="540000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>
                  <a:spcBef>
                    <a:spcPct val="0"/>
                  </a:spcBef>
                  <a:buFontTx/>
                  <a:buNone/>
                </a:pPr>
                <a:endParaRPr lang="da-DK" sz="135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Måne 63"/>
              <p:cNvSpPr/>
              <p:nvPr/>
            </p:nvSpPr>
            <p:spPr bwMode="auto">
              <a:xfrm rot="16552097">
                <a:off x="7650888" y="2572504"/>
                <a:ext cx="529974" cy="1170987"/>
              </a:xfrm>
              <a:prstGeom prst="moon">
                <a:avLst>
                  <a:gd name="adj" fmla="val 18952"/>
                </a:avLst>
              </a:prstGeom>
              <a:gradFill flip="none" rotWithShape="1">
                <a:gsLst>
                  <a:gs pos="24000">
                    <a:sysClr val="windowText" lastClr="000000">
                      <a:alpha val="24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da-DK" sz="1350">
                  <a:solidFill>
                    <a:srgbClr val="FFFFFF"/>
                  </a:solidFill>
                  <a:latin typeface="Calibri" pitchFamily="-65" charset="0"/>
                  <a:ea typeface="ＭＳ Ｐゴシック" pitchFamily="-65" charset="-128"/>
                </a:endParaRPr>
              </a:p>
            </p:txBody>
          </p:sp>
        </p:grpSp>
        <p:sp>
          <p:nvSpPr>
            <p:cNvPr id="310318" name="TextBox 66"/>
            <p:cNvSpPr txBox="1">
              <a:spLocks noChangeArrowheads="1"/>
            </p:cNvSpPr>
            <p:nvPr/>
          </p:nvSpPr>
          <p:spPr bwMode="auto">
            <a:xfrm>
              <a:off x="5857171" y="1222695"/>
              <a:ext cx="422276" cy="7998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n-US" sz="3300" b="1" dirty="0" smtClean="0"/>
                <a:t>5</a:t>
              </a:r>
              <a:endParaRPr lang="en-US" sz="3300" b="1" dirty="0"/>
            </a:p>
          </p:txBody>
        </p:sp>
      </p:grpSp>
      <p:grpSp>
        <p:nvGrpSpPr>
          <p:cNvPr id="310278" name="Group 76"/>
          <p:cNvGrpSpPr>
            <a:grpSpLocks/>
          </p:cNvGrpSpPr>
          <p:nvPr/>
        </p:nvGrpSpPr>
        <p:grpSpPr bwMode="auto">
          <a:xfrm>
            <a:off x="3429000" y="3084910"/>
            <a:ext cx="2114550" cy="2035969"/>
            <a:chOff x="2892770" y="2335389"/>
            <a:chExt cx="2819331" cy="2714545"/>
          </a:xfrm>
        </p:grpSpPr>
        <p:sp>
          <p:nvSpPr>
            <p:cNvPr id="310312" name="Right Arrow 71"/>
            <p:cNvSpPr>
              <a:spLocks noChangeArrowheads="1"/>
            </p:cNvSpPr>
            <p:nvPr/>
          </p:nvSpPr>
          <p:spPr bwMode="auto">
            <a:xfrm rot="-2095968">
              <a:off x="3394245" y="2359111"/>
              <a:ext cx="285778" cy="403262"/>
            </a:xfrm>
            <a:prstGeom prst="rightArrow">
              <a:avLst>
                <a:gd name="adj1" fmla="val 50000"/>
                <a:gd name="adj2" fmla="val 50000"/>
              </a:avLst>
            </a:prstGeom>
            <a:gradFill rotWithShape="1">
              <a:gsLst>
                <a:gs pos="0">
                  <a:srgbClr val="595959"/>
                </a:gs>
                <a:gs pos="100000">
                  <a:srgbClr val="262626"/>
                </a:gs>
              </a:gsLst>
              <a:lin ang="5400000" scaled="1"/>
            </a:gradFill>
            <a:ln w="9525">
              <a:solidFill>
                <a:srgbClr val="0D0D0D"/>
              </a:solidFill>
              <a:miter lim="800000"/>
              <a:headEnd/>
              <a:tailEnd/>
            </a:ln>
            <a:effectLst>
              <a:outerShdw dist="23000" dir="5400000" rotWithShape="0">
                <a:srgbClr val="808080">
                  <a:alpha val="34998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sz="105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10313" name="Right Arrow 72"/>
            <p:cNvSpPr>
              <a:spLocks noChangeArrowheads="1"/>
            </p:cNvSpPr>
            <p:nvPr/>
          </p:nvSpPr>
          <p:spPr bwMode="auto">
            <a:xfrm rot="2267406">
              <a:off x="4899340" y="2335297"/>
              <a:ext cx="285778" cy="403262"/>
            </a:xfrm>
            <a:prstGeom prst="rightArrow">
              <a:avLst>
                <a:gd name="adj1" fmla="val 50000"/>
                <a:gd name="adj2" fmla="val 50000"/>
              </a:avLst>
            </a:prstGeom>
            <a:gradFill rotWithShape="1">
              <a:gsLst>
                <a:gs pos="0">
                  <a:srgbClr val="595959"/>
                </a:gs>
                <a:gs pos="100000">
                  <a:srgbClr val="262626"/>
                </a:gs>
              </a:gsLst>
              <a:lin ang="5400000" scaled="1"/>
            </a:gradFill>
            <a:ln w="9525">
              <a:solidFill>
                <a:srgbClr val="0D0D0D"/>
              </a:solidFill>
              <a:miter lim="800000"/>
              <a:headEnd/>
              <a:tailEnd/>
            </a:ln>
            <a:effectLst>
              <a:outerShdw dist="23000" dir="5400000" rotWithShape="0">
                <a:srgbClr val="808080">
                  <a:alpha val="34998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sz="105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10314" name="Right Arrow 73"/>
            <p:cNvSpPr>
              <a:spLocks noChangeArrowheads="1"/>
            </p:cNvSpPr>
            <p:nvPr/>
          </p:nvSpPr>
          <p:spPr bwMode="auto">
            <a:xfrm rot="6437788">
              <a:off x="5367699" y="3749888"/>
              <a:ext cx="285776" cy="403264"/>
            </a:xfrm>
            <a:prstGeom prst="rightArrow">
              <a:avLst>
                <a:gd name="adj1" fmla="val 50000"/>
                <a:gd name="adj2" fmla="val 50000"/>
              </a:avLst>
            </a:prstGeom>
            <a:gradFill rotWithShape="1">
              <a:gsLst>
                <a:gs pos="0">
                  <a:srgbClr val="595959"/>
                </a:gs>
                <a:gs pos="100000">
                  <a:srgbClr val="262626"/>
                </a:gs>
              </a:gsLst>
              <a:lin ang="5400000" scaled="1"/>
            </a:gradFill>
            <a:ln w="9525">
              <a:solidFill>
                <a:srgbClr val="0D0D0D"/>
              </a:solidFill>
              <a:miter lim="800000"/>
              <a:headEnd/>
              <a:tailEnd/>
            </a:ln>
            <a:effectLst>
              <a:outerShdw dist="23000" dir="5400000" rotWithShape="0">
                <a:srgbClr val="808080">
                  <a:alpha val="34998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sz="105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10315" name="Right Arrow 74"/>
            <p:cNvSpPr>
              <a:spLocks noChangeArrowheads="1"/>
            </p:cNvSpPr>
            <p:nvPr/>
          </p:nvSpPr>
          <p:spPr bwMode="auto">
            <a:xfrm rot="10800000">
              <a:off x="4167432" y="4646910"/>
              <a:ext cx="285778" cy="403262"/>
            </a:xfrm>
            <a:prstGeom prst="rightArrow">
              <a:avLst>
                <a:gd name="adj1" fmla="val 50000"/>
                <a:gd name="adj2" fmla="val 50000"/>
              </a:avLst>
            </a:prstGeom>
            <a:gradFill rotWithShape="1">
              <a:gsLst>
                <a:gs pos="0">
                  <a:srgbClr val="595959"/>
                </a:gs>
                <a:gs pos="100000">
                  <a:srgbClr val="262626"/>
                </a:gs>
              </a:gsLst>
              <a:lin ang="5400000" scaled="1"/>
            </a:gradFill>
            <a:ln w="9525">
              <a:solidFill>
                <a:srgbClr val="0D0D0D"/>
              </a:solidFill>
              <a:miter lim="800000"/>
              <a:headEnd/>
              <a:tailEnd/>
            </a:ln>
            <a:effectLst>
              <a:outerShdw dist="23000" dir="5400000" rotWithShape="0">
                <a:srgbClr val="808080">
                  <a:alpha val="34998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sz="105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10316" name="Right Arrow 75"/>
            <p:cNvSpPr>
              <a:spLocks noChangeArrowheads="1"/>
            </p:cNvSpPr>
            <p:nvPr/>
          </p:nvSpPr>
          <p:spPr bwMode="auto">
            <a:xfrm rot="-6391603">
              <a:off x="2951290" y="3780053"/>
              <a:ext cx="285776" cy="403264"/>
            </a:xfrm>
            <a:prstGeom prst="rightArrow">
              <a:avLst>
                <a:gd name="adj1" fmla="val 50000"/>
                <a:gd name="adj2" fmla="val 50000"/>
              </a:avLst>
            </a:prstGeom>
            <a:gradFill rotWithShape="1">
              <a:gsLst>
                <a:gs pos="0">
                  <a:srgbClr val="595959"/>
                </a:gs>
                <a:gs pos="100000">
                  <a:srgbClr val="262626"/>
                </a:gs>
              </a:gsLst>
              <a:lin ang="5400000" scaled="1"/>
            </a:gradFill>
            <a:ln w="9525">
              <a:solidFill>
                <a:srgbClr val="0D0D0D"/>
              </a:solidFill>
              <a:miter lim="800000"/>
              <a:headEnd/>
              <a:tailEnd/>
            </a:ln>
            <a:effectLst>
              <a:outerShdw dist="23000" dir="5400000" rotWithShape="0">
                <a:srgbClr val="808080">
                  <a:alpha val="34998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sz="105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</p:grpSp>
      <p:sp>
        <p:nvSpPr>
          <p:cNvPr id="50" name="Line 33"/>
          <p:cNvSpPr>
            <a:spLocks noChangeShapeType="1"/>
          </p:cNvSpPr>
          <p:nvPr/>
        </p:nvSpPr>
        <p:spPr bwMode="auto">
          <a:xfrm rot="5400000" flipH="1" flipV="1">
            <a:off x="2814638" y="5129213"/>
            <a:ext cx="398859" cy="701278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a-DK" sz="1350" kern="0">
              <a:solidFill>
                <a:sysClr val="windowText" lastClr="000000"/>
              </a:solidFill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53" name="Line 33"/>
          <p:cNvSpPr>
            <a:spLocks noChangeShapeType="1"/>
          </p:cNvSpPr>
          <p:nvPr/>
        </p:nvSpPr>
        <p:spPr bwMode="auto">
          <a:xfrm rot="5400000" flipV="1">
            <a:off x="2617590" y="2911674"/>
            <a:ext cx="355997" cy="440531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a-DK" sz="1350" kern="0">
              <a:solidFill>
                <a:sysClr val="windowText" lastClr="000000"/>
              </a:solidFill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57" name="Line 33"/>
          <p:cNvSpPr>
            <a:spLocks noChangeShapeType="1"/>
          </p:cNvSpPr>
          <p:nvPr/>
        </p:nvSpPr>
        <p:spPr bwMode="auto">
          <a:xfrm rot="5400000">
            <a:off x="6004322" y="2911078"/>
            <a:ext cx="639366" cy="389335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a-DK" sz="1350" kern="0">
              <a:solidFill>
                <a:sysClr val="windowText" lastClr="000000"/>
              </a:solidFill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62" name="Line 33"/>
          <p:cNvSpPr>
            <a:spLocks noChangeShapeType="1"/>
          </p:cNvSpPr>
          <p:nvPr/>
        </p:nvSpPr>
        <p:spPr bwMode="auto">
          <a:xfrm rot="5400000" flipV="1">
            <a:off x="5743575" y="5062538"/>
            <a:ext cx="322660" cy="279797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a-DK" sz="1350" kern="0">
              <a:solidFill>
                <a:sysClr val="windowText" lastClr="000000"/>
              </a:solidFill>
              <a:ea typeface="ＭＳ Ｐゴシック" pitchFamily="-65" charset="-128"/>
              <a:cs typeface="ＭＳ Ｐゴシック" pitchFamily="-65" charset="-128"/>
            </a:endParaRPr>
          </a:p>
        </p:txBody>
      </p:sp>
      <p:grpSp>
        <p:nvGrpSpPr>
          <p:cNvPr id="310283" name="Group 36"/>
          <p:cNvGrpSpPr>
            <a:grpSpLocks/>
          </p:cNvGrpSpPr>
          <p:nvPr/>
        </p:nvGrpSpPr>
        <p:grpSpPr bwMode="auto">
          <a:xfrm>
            <a:off x="3763566" y="2381250"/>
            <a:ext cx="1462088" cy="1010841"/>
            <a:chOff x="3284445" y="3929064"/>
            <a:chExt cx="1950366" cy="1348699"/>
          </a:xfrm>
        </p:grpSpPr>
        <p:grpSp>
          <p:nvGrpSpPr>
            <p:cNvPr id="310299" name="Gruppe 199"/>
            <p:cNvGrpSpPr>
              <a:grpSpLocks/>
            </p:cNvGrpSpPr>
            <p:nvPr/>
          </p:nvGrpSpPr>
          <p:grpSpPr bwMode="auto">
            <a:xfrm>
              <a:off x="3284445" y="3929064"/>
              <a:ext cx="1950366" cy="1348699"/>
              <a:chOff x="2636520" y="2831704"/>
              <a:chExt cx="1919605" cy="1330208"/>
            </a:xfrm>
          </p:grpSpPr>
          <p:sp>
            <p:nvSpPr>
              <p:cNvPr id="40" name="Ellipse 59"/>
              <p:cNvSpPr/>
              <p:nvPr/>
            </p:nvSpPr>
            <p:spPr bwMode="auto">
              <a:xfrm>
                <a:off x="2636520" y="3774026"/>
                <a:ext cx="1919605" cy="387886"/>
              </a:xfrm>
              <a:prstGeom prst="ellipse">
                <a:avLst/>
              </a:prstGeom>
              <a:gradFill flip="none" rotWithShape="1">
                <a:gsLst>
                  <a:gs pos="24000">
                    <a:sysClr val="windowText" lastClr="000000">
                      <a:alpha val="22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da-DK" sz="1350">
                  <a:solidFill>
                    <a:srgbClr val="FFFFFF"/>
                  </a:solidFill>
                  <a:latin typeface="Calibri" pitchFamily="-65" charset="0"/>
                  <a:ea typeface="ＭＳ Ｐゴシック" pitchFamily="-65" charset="-128"/>
                </a:endParaRPr>
              </a:p>
            </p:txBody>
          </p:sp>
          <p:grpSp>
            <p:nvGrpSpPr>
              <p:cNvPr id="310304" name="Gruppe 91"/>
              <p:cNvGrpSpPr>
                <a:grpSpLocks/>
              </p:cNvGrpSpPr>
              <p:nvPr/>
            </p:nvGrpSpPr>
            <p:grpSpPr bwMode="auto">
              <a:xfrm>
                <a:off x="2976833" y="2831704"/>
                <a:ext cx="1198924" cy="1187339"/>
                <a:chOff x="1071835" y="2920232"/>
                <a:chExt cx="1427572" cy="1413777"/>
              </a:xfrm>
            </p:grpSpPr>
            <p:sp>
              <p:nvSpPr>
                <p:cNvPr id="42" name="Ellipse 44"/>
                <p:cNvSpPr/>
                <p:nvPr/>
              </p:nvSpPr>
              <p:spPr bwMode="auto">
                <a:xfrm rot="21052097">
                  <a:off x="1085755" y="2920232"/>
                  <a:ext cx="1413652" cy="1413777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75F5FF"/>
                    </a:gs>
                    <a:gs pos="100000">
                      <a:srgbClr val="2090CE"/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solidFill>
                    <a:srgbClr val="0081BE">
                      <a:lumMod val="75000"/>
                    </a:srgbClr>
                  </a:solidFill>
                  <a:prstDash val="solid"/>
                </a:ln>
                <a:effectLst>
                  <a:innerShdw blurRad="190500" dist="114300" dir="5640000">
                    <a:srgbClr val="000000">
                      <a:alpha val="37000"/>
                    </a:srgbClr>
                  </a:innerShdw>
                </a:effectLst>
              </p:spPr>
              <p:txBody>
                <a:bodyPr anchor="ctr"/>
                <a:lstStyle/>
                <a:p>
                  <a:pPr algn="ctr">
                    <a:defRPr/>
                  </a:pPr>
                  <a:endParaRPr lang="da-DK" sz="1350">
                    <a:solidFill>
                      <a:srgbClr val="FFFFFF"/>
                    </a:solidFill>
                    <a:latin typeface="Calibri" pitchFamily="-65" charset="0"/>
                    <a:ea typeface="ＭＳ Ｐゴシック" pitchFamily="-65" charset="-128"/>
                  </a:endParaRPr>
                </a:p>
              </p:txBody>
            </p:sp>
            <p:sp>
              <p:nvSpPr>
                <p:cNvPr id="310308" name="Ellipse 45"/>
                <p:cNvSpPr>
                  <a:spLocks noChangeArrowheads="1"/>
                </p:cNvSpPr>
                <p:nvPr/>
              </p:nvSpPr>
              <p:spPr bwMode="auto">
                <a:xfrm>
                  <a:off x="1286549" y="2951056"/>
                  <a:ext cx="1026905" cy="76586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FFFCF9">
                        <a:alpha val="76999"/>
                      </a:srgbClr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32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8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Font typeface="Arial" panose="020B0604020202020204" pitchFamily="34" charset="0"/>
                    <a:buChar char="–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»"/>
                    <a:defRPr sz="20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9pPr>
                </a:lstStyle>
                <a:p>
                  <a:pPr algn="ctr">
                    <a:spcBef>
                      <a:spcPct val="0"/>
                    </a:spcBef>
                    <a:buFontTx/>
                    <a:buNone/>
                  </a:pPr>
                  <a:endParaRPr lang="da-DK" sz="135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44" name="Måne 63"/>
                <p:cNvSpPr/>
                <p:nvPr/>
              </p:nvSpPr>
              <p:spPr bwMode="auto">
                <a:xfrm rot="16552097">
                  <a:off x="1446797" y="3308471"/>
                  <a:ext cx="622393" cy="1372317"/>
                </a:xfrm>
                <a:prstGeom prst="moon">
                  <a:avLst>
                    <a:gd name="adj" fmla="val 18952"/>
                  </a:avLst>
                </a:prstGeom>
                <a:gradFill flip="none" rotWithShape="1">
                  <a:gsLst>
                    <a:gs pos="24000">
                      <a:sysClr val="windowText" lastClr="000000">
                        <a:alpha val="24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da-DK" sz="1350">
                    <a:solidFill>
                      <a:srgbClr val="FFFFFF"/>
                    </a:solidFill>
                    <a:latin typeface="Calibri" pitchFamily="-65" charset="0"/>
                    <a:ea typeface="ＭＳ Ｐゴシック" pitchFamily="-65" charset="-128"/>
                  </a:endParaRPr>
                </a:p>
              </p:txBody>
            </p:sp>
          </p:grpSp>
        </p:grpSp>
        <p:sp>
          <p:nvSpPr>
            <p:cNvPr id="310300" name="TextBox 38"/>
            <p:cNvSpPr txBox="1">
              <a:spLocks noChangeArrowheads="1"/>
            </p:cNvSpPr>
            <p:nvPr/>
          </p:nvSpPr>
          <p:spPr bwMode="auto">
            <a:xfrm>
              <a:off x="3983960" y="3965998"/>
              <a:ext cx="422276" cy="8007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n-US" sz="3300" b="1" dirty="0" smtClean="0"/>
                <a:t>1</a:t>
              </a:r>
              <a:endParaRPr lang="en-US" sz="3300" b="1" dirty="0"/>
            </a:p>
          </p:txBody>
        </p:sp>
      </p:grpSp>
      <p:sp>
        <p:nvSpPr>
          <p:cNvPr id="65" name="Line 33"/>
          <p:cNvSpPr>
            <a:spLocks noChangeShapeType="1"/>
          </p:cNvSpPr>
          <p:nvPr/>
        </p:nvSpPr>
        <p:spPr bwMode="auto">
          <a:xfrm rot="5400000">
            <a:off x="4255889" y="2108002"/>
            <a:ext cx="415529" cy="0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a-DK" sz="1350" kern="0">
              <a:solidFill>
                <a:sysClr val="windowText" lastClr="000000"/>
              </a:solidFill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310285" name="Rektangel 63"/>
          <p:cNvSpPr>
            <a:spLocks noChangeArrowheads="1"/>
          </p:cNvSpPr>
          <p:nvPr/>
        </p:nvSpPr>
        <p:spPr bwMode="auto">
          <a:xfrm>
            <a:off x="3645117" y="899287"/>
            <a:ext cx="2640806" cy="470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01688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01688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01688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01688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Tx/>
              <a:buNone/>
            </a:pPr>
            <a:r>
              <a:rPr lang="es-AR" sz="1200" b="1" noProof="1" smtClean="0">
                <a:solidFill>
                  <a:srgbClr val="080808"/>
                </a:solidFill>
                <a:latin typeface="Blogger Sans Light" panose="02000506030000020004" pitchFamily="50" charset="0"/>
              </a:rPr>
              <a:t>X</a:t>
            </a:r>
            <a:endParaRPr lang="es-AR" sz="1200" b="1" noProof="1">
              <a:solidFill>
                <a:srgbClr val="080808"/>
              </a:solidFill>
              <a:latin typeface="Blogger Sans Light" panose="02000506030000020004" pitchFamily="50" charset="0"/>
            </a:endParaRPr>
          </a:p>
          <a:p>
            <a:pPr>
              <a:buFontTx/>
              <a:buNone/>
            </a:pPr>
            <a:r>
              <a:rPr lang="es-AR" sz="1050" noProof="1" smtClean="0">
                <a:solidFill>
                  <a:srgbClr val="080808"/>
                </a:solidFill>
                <a:latin typeface="Blogger Sans Light" panose="02000506030000020004" pitchFamily="50" charset="0"/>
              </a:rPr>
              <a:t>¿XXXX</a:t>
            </a:r>
            <a:endParaRPr lang="es-AR" sz="1050" noProof="1">
              <a:solidFill>
                <a:srgbClr val="080808"/>
              </a:solidFill>
              <a:latin typeface="Blogger Sans Light" panose="02000506030000020004" pitchFamily="50" charset="0"/>
            </a:endParaRPr>
          </a:p>
        </p:txBody>
      </p:sp>
      <p:sp>
        <p:nvSpPr>
          <p:cNvPr id="310286" name="Rektangel 63"/>
          <p:cNvSpPr>
            <a:spLocks noChangeArrowheads="1"/>
          </p:cNvSpPr>
          <p:nvPr/>
        </p:nvSpPr>
        <p:spPr bwMode="auto">
          <a:xfrm>
            <a:off x="4228422" y="2876769"/>
            <a:ext cx="595313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01688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01688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01688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01688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Tx/>
              <a:buNone/>
            </a:pPr>
            <a:r>
              <a:rPr lang="es-AR" sz="1050" noProof="1">
                <a:solidFill>
                  <a:srgbClr val="080808"/>
                </a:solidFill>
                <a:latin typeface="Delicious" pitchFamily="50" charset="0"/>
              </a:rPr>
              <a:t>Equipo</a:t>
            </a:r>
          </a:p>
        </p:txBody>
      </p:sp>
      <p:sp>
        <p:nvSpPr>
          <p:cNvPr id="64" name="Rektangel 63"/>
          <p:cNvSpPr>
            <a:spLocks noChangeArrowheads="1"/>
          </p:cNvSpPr>
          <p:nvPr/>
        </p:nvSpPr>
        <p:spPr bwMode="auto">
          <a:xfrm>
            <a:off x="5313878" y="3749623"/>
            <a:ext cx="730926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801688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01688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01688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01688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01688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Tx/>
              <a:buNone/>
            </a:pPr>
            <a:r>
              <a:rPr lang="es-AR" sz="1050" noProof="1">
                <a:solidFill>
                  <a:srgbClr val="080808"/>
                </a:solidFill>
                <a:latin typeface="Delicious" pitchFamily="50" charset="0"/>
              </a:rPr>
              <a:t>Clientes</a:t>
            </a:r>
          </a:p>
        </p:txBody>
      </p:sp>
      <p:sp>
        <p:nvSpPr>
          <p:cNvPr id="66" name="Rektangel 63"/>
          <p:cNvSpPr>
            <a:spLocks noChangeArrowheads="1"/>
          </p:cNvSpPr>
          <p:nvPr/>
        </p:nvSpPr>
        <p:spPr bwMode="auto">
          <a:xfrm>
            <a:off x="5392342" y="2088357"/>
            <a:ext cx="2640806" cy="858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01688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01688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01688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01688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Tx/>
              <a:buNone/>
            </a:pPr>
            <a:r>
              <a:rPr lang="es-AR" sz="1200" b="1" noProof="1" smtClean="0">
                <a:solidFill>
                  <a:srgbClr val="080808"/>
                </a:solidFill>
                <a:latin typeface="Blogger Sans Light" panose="02000506030000020004" pitchFamily="50" charset="0"/>
              </a:rPr>
              <a:t>XXXX</a:t>
            </a:r>
            <a:endParaRPr lang="es-AR" sz="1200" b="1" noProof="1">
              <a:solidFill>
                <a:srgbClr val="080808"/>
              </a:solidFill>
              <a:latin typeface="Blogger Sans Light" panose="02000506030000020004" pitchFamily="50" charset="0"/>
            </a:endParaRPr>
          </a:p>
          <a:p>
            <a:pPr>
              <a:buFontTx/>
              <a:buNone/>
            </a:pPr>
            <a:r>
              <a:rPr lang="es-AR" sz="1050" noProof="1" smtClean="0">
                <a:solidFill>
                  <a:srgbClr val="080808"/>
                </a:solidFill>
                <a:latin typeface="Blogger Sans Light" panose="02000506030000020004" pitchFamily="50" charset="0"/>
              </a:rPr>
              <a:t>X</a:t>
            </a:r>
            <a:endParaRPr lang="es-AR" sz="1050" noProof="1">
              <a:solidFill>
                <a:srgbClr val="080808"/>
              </a:solidFill>
              <a:latin typeface="Blogger Sans Light" panose="02000506030000020004" pitchFamily="50" charset="0"/>
            </a:endParaRPr>
          </a:p>
          <a:p>
            <a:pPr>
              <a:buFontTx/>
              <a:buNone/>
            </a:pPr>
            <a:r>
              <a:rPr lang="es-AR" sz="1050" noProof="1" smtClean="0">
                <a:solidFill>
                  <a:srgbClr val="080808"/>
                </a:solidFill>
                <a:latin typeface="Blogger Sans Light" panose="02000506030000020004" pitchFamily="50" charset="0"/>
              </a:rPr>
              <a:t>¿X</a:t>
            </a:r>
            <a:endParaRPr lang="es-AR" sz="1050" noProof="1">
              <a:solidFill>
                <a:srgbClr val="080808"/>
              </a:solidFill>
              <a:latin typeface="Blogger Sans Light" panose="02000506030000020004" pitchFamily="50" charset="0"/>
            </a:endParaRPr>
          </a:p>
          <a:p>
            <a:pPr>
              <a:buFontTx/>
              <a:buNone/>
            </a:pPr>
            <a:r>
              <a:rPr lang="es-AR" sz="1050" noProof="1">
                <a:solidFill>
                  <a:srgbClr val="080808"/>
                </a:solidFill>
                <a:latin typeface="Blogger Sans Light" panose="02000506030000020004" pitchFamily="50" charset="0"/>
              </a:rPr>
              <a:t> </a:t>
            </a:r>
          </a:p>
        </p:txBody>
      </p:sp>
      <p:sp>
        <p:nvSpPr>
          <p:cNvPr id="67" name="Rektangel 63"/>
          <p:cNvSpPr>
            <a:spLocks noChangeArrowheads="1"/>
          </p:cNvSpPr>
          <p:nvPr/>
        </p:nvSpPr>
        <p:spPr bwMode="auto">
          <a:xfrm>
            <a:off x="3082529" y="3779044"/>
            <a:ext cx="654844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01688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01688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01688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01688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Tx/>
              <a:buNone/>
            </a:pPr>
            <a:r>
              <a:rPr lang="es-AR" sz="1050" noProof="1">
                <a:solidFill>
                  <a:srgbClr val="080808"/>
                </a:solidFill>
                <a:latin typeface="Delicious" pitchFamily="50" charset="0"/>
              </a:rPr>
              <a:t>Procesos</a:t>
            </a:r>
          </a:p>
        </p:txBody>
      </p:sp>
      <p:sp>
        <p:nvSpPr>
          <p:cNvPr id="70" name="Rektangel 63"/>
          <p:cNvSpPr>
            <a:spLocks noChangeArrowheads="1"/>
          </p:cNvSpPr>
          <p:nvPr/>
        </p:nvSpPr>
        <p:spPr bwMode="auto">
          <a:xfrm>
            <a:off x="1160860" y="1951435"/>
            <a:ext cx="2640806" cy="470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01688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01688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01688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01688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Tx/>
              <a:buNone/>
            </a:pPr>
            <a:r>
              <a:rPr lang="es-AR" sz="1200" b="1" noProof="1" smtClean="0">
                <a:solidFill>
                  <a:srgbClr val="080808"/>
                </a:solidFill>
                <a:latin typeface="Blogger Sans Light" panose="02000506030000020004" pitchFamily="50" charset="0"/>
              </a:rPr>
              <a:t>XXXX</a:t>
            </a:r>
            <a:endParaRPr lang="es-AR" sz="1050" noProof="1">
              <a:solidFill>
                <a:srgbClr val="080808"/>
              </a:solidFill>
              <a:latin typeface="Blogger Sans Light" panose="02000506030000020004" pitchFamily="50" charset="0"/>
            </a:endParaRPr>
          </a:p>
          <a:p>
            <a:pPr>
              <a:buFontTx/>
              <a:buNone/>
            </a:pPr>
            <a:r>
              <a:rPr lang="es-AR" sz="1050" noProof="1" smtClean="0">
                <a:solidFill>
                  <a:srgbClr val="080808"/>
                </a:solidFill>
                <a:latin typeface="Blogger Sans Light" panose="02000506030000020004" pitchFamily="50" charset="0"/>
              </a:rPr>
              <a:t>X</a:t>
            </a:r>
            <a:endParaRPr lang="es-AR" sz="1050" noProof="1">
              <a:solidFill>
                <a:srgbClr val="080808"/>
              </a:solidFill>
              <a:latin typeface="Blogger Sans Light" panose="02000506030000020004" pitchFamily="50" charset="0"/>
            </a:endParaRPr>
          </a:p>
        </p:txBody>
      </p:sp>
      <p:sp>
        <p:nvSpPr>
          <p:cNvPr id="77" name="Rektangel 63"/>
          <p:cNvSpPr>
            <a:spLocks noChangeArrowheads="1"/>
          </p:cNvSpPr>
          <p:nvPr/>
        </p:nvSpPr>
        <p:spPr bwMode="auto">
          <a:xfrm>
            <a:off x="3544835" y="5036519"/>
            <a:ext cx="654844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01688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01688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01688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01688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Tx/>
              <a:buNone/>
            </a:pPr>
            <a:r>
              <a:rPr lang="es-AR" sz="1050" noProof="1">
                <a:solidFill>
                  <a:srgbClr val="080808"/>
                </a:solidFill>
                <a:latin typeface="Delicious" pitchFamily="50" charset="0"/>
              </a:rPr>
              <a:t>Ventas</a:t>
            </a:r>
          </a:p>
        </p:txBody>
      </p:sp>
      <p:sp>
        <p:nvSpPr>
          <p:cNvPr id="78" name="Rektangel 63"/>
          <p:cNvSpPr>
            <a:spLocks noChangeArrowheads="1"/>
          </p:cNvSpPr>
          <p:nvPr/>
        </p:nvSpPr>
        <p:spPr bwMode="auto">
          <a:xfrm>
            <a:off x="1160860" y="4383882"/>
            <a:ext cx="2402681" cy="858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01688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01688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01688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01688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Tx/>
              <a:buNone/>
            </a:pPr>
            <a:r>
              <a:rPr lang="es-AR" sz="1200" b="1" noProof="1" smtClean="0">
                <a:solidFill>
                  <a:srgbClr val="080808"/>
                </a:solidFill>
                <a:latin typeface="Blogger Sans Light" panose="02000506030000020004" pitchFamily="50" charset="0"/>
              </a:rPr>
              <a:t>XXXXX</a:t>
            </a:r>
            <a:endParaRPr lang="es-AR" sz="1050" noProof="1">
              <a:solidFill>
                <a:srgbClr val="080808"/>
              </a:solidFill>
              <a:latin typeface="Blogger Sans Light" panose="02000506030000020004" pitchFamily="50" charset="0"/>
            </a:endParaRPr>
          </a:p>
          <a:p>
            <a:pPr>
              <a:buFontTx/>
              <a:buNone/>
            </a:pPr>
            <a:r>
              <a:rPr lang="es-AR" sz="1050" noProof="1" smtClean="0">
                <a:solidFill>
                  <a:srgbClr val="080808"/>
                </a:solidFill>
                <a:latin typeface="Blogger Sans Light" panose="02000506030000020004" pitchFamily="50" charset="0"/>
              </a:rPr>
              <a:t>XXXX</a:t>
            </a:r>
            <a:endParaRPr lang="es-AR" sz="1050" noProof="1">
              <a:solidFill>
                <a:srgbClr val="080808"/>
              </a:solidFill>
              <a:latin typeface="Blogger Sans Light" panose="02000506030000020004" pitchFamily="50" charset="0"/>
            </a:endParaRPr>
          </a:p>
          <a:p>
            <a:pPr>
              <a:buFontTx/>
              <a:buNone/>
            </a:pPr>
            <a:r>
              <a:rPr lang="es-AR" sz="1050" noProof="1" smtClean="0">
                <a:solidFill>
                  <a:srgbClr val="080808"/>
                </a:solidFill>
                <a:latin typeface="Blogger Sans Light" panose="02000506030000020004" pitchFamily="50" charset="0"/>
              </a:rPr>
              <a:t>XXXXX</a:t>
            </a:r>
            <a:endParaRPr lang="es-AR" sz="1050" noProof="1">
              <a:solidFill>
                <a:srgbClr val="080808"/>
              </a:solidFill>
              <a:latin typeface="Blogger Sans Light" panose="02000506030000020004" pitchFamily="50" charset="0"/>
            </a:endParaRPr>
          </a:p>
          <a:p>
            <a:pPr>
              <a:buFontTx/>
              <a:buNone/>
            </a:pPr>
            <a:r>
              <a:rPr lang="es-AR" sz="1050" noProof="1">
                <a:solidFill>
                  <a:srgbClr val="080808"/>
                </a:solidFill>
                <a:latin typeface="Blogger Sans Light" panose="02000506030000020004" pitchFamily="50" charset="0"/>
              </a:rPr>
              <a:t> </a:t>
            </a:r>
          </a:p>
        </p:txBody>
      </p:sp>
      <p:sp>
        <p:nvSpPr>
          <p:cNvPr id="79" name="Rektangel 63"/>
          <p:cNvSpPr>
            <a:spLocks noChangeArrowheads="1"/>
          </p:cNvSpPr>
          <p:nvPr/>
        </p:nvSpPr>
        <p:spPr bwMode="auto">
          <a:xfrm>
            <a:off x="6142435" y="4711304"/>
            <a:ext cx="1739503" cy="470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01688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01688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01688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01688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buFontTx/>
              <a:buNone/>
            </a:pPr>
            <a:r>
              <a:rPr lang="es-AR" sz="1200" b="1" noProof="1" smtClean="0">
                <a:solidFill>
                  <a:srgbClr val="080808"/>
                </a:solidFill>
                <a:latin typeface="Blogger Sans Light" panose="02000506030000020004" pitchFamily="50" charset="0"/>
              </a:rPr>
              <a:t>X</a:t>
            </a:r>
            <a:endParaRPr lang="es-AR" sz="1200" b="1" noProof="1">
              <a:solidFill>
                <a:srgbClr val="080808"/>
              </a:solidFill>
              <a:latin typeface="Blogger Sans Light" panose="02000506030000020004" pitchFamily="50" charset="0"/>
            </a:endParaRPr>
          </a:p>
          <a:p>
            <a:pPr algn="r">
              <a:buFontTx/>
              <a:buNone/>
            </a:pPr>
            <a:r>
              <a:rPr lang="es-AR" sz="1050" noProof="1" smtClean="0">
                <a:solidFill>
                  <a:srgbClr val="080808"/>
                </a:solidFill>
                <a:latin typeface="Blogger Sans Light" panose="02000506030000020004" pitchFamily="50" charset="0"/>
              </a:rPr>
              <a:t>¿XXXXX</a:t>
            </a:r>
            <a:endParaRPr lang="es-AR" sz="1050" noProof="1">
              <a:solidFill>
                <a:srgbClr val="080808"/>
              </a:solidFill>
              <a:latin typeface="Blogger Sans Light" panose="02000506030000020004" pitchFamily="50" charset="0"/>
            </a:endParaRPr>
          </a:p>
        </p:txBody>
      </p:sp>
      <p:sp>
        <p:nvSpPr>
          <p:cNvPr id="80" name="Rektangel 63"/>
          <p:cNvSpPr>
            <a:spLocks noChangeArrowheads="1"/>
          </p:cNvSpPr>
          <p:nvPr/>
        </p:nvSpPr>
        <p:spPr bwMode="auto">
          <a:xfrm>
            <a:off x="4798350" y="5029200"/>
            <a:ext cx="916650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801688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01688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01688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01688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01688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Tx/>
              <a:buNone/>
            </a:pPr>
            <a:r>
              <a:rPr lang="es-AR" sz="1050" noProof="1">
                <a:solidFill>
                  <a:srgbClr val="080808"/>
                </a:solidFill>
                <a:latin typeface="Delicious" pitchFamily="50" charset="0"/>
              </a:rPr>
              <a:t>Indicadores</a:t>
            </a:r>
          </a:p>
        </p:txBody>
      </p:sp>
      <p:sp>
        <p:nvSpPr>
          <p:cNvPr id="81" name="Line 33"/>
          <p:cNvSpPr>
            <a:spLocks noChangeShapeType="1"/>
          </p:cNvSpPr>
          <p:nvPr/>
        </p:nvSpPr>
        <p:spPr bwMode="auto">
          <a:xfrm rot="5400000" flipH="1">
            <a:off x="2311004" y="5326856"/>
            <a:ext cx="398859" cy="305991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a-DK" sz="1350" kern="0">
              <a:solidFill>
                <a:sysClr val="windowText" lastClr="000000"/>
              </a:solidFill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82" name="Line 33"/>
          <p:cNvSpPr>
            <a:spLocks noChangeShapeType="1"/>
          </p:cNvSpPr>
          <p:nvPr/>
        </p:nvSpPr>
        <p:spPr bwMode="auto">
          <a:xfrm rot="5400000">
            <a:off x="5988844" y="5011342"/>
            <a:ext cx="408385" cy="296465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a-DK" sz="1350" kern="0">
              <a:solidFill>
                <a:sysClr val="windowText" lastClr="000000"/>
              </a:solidFill>
              <a:ea typeface="ＭＳ Ｐゴシック" pitchFamily="-65" charset="-128"/>
              <a:cs typeface="ＭＳ Ｐゴシック" pitchFamily="-65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09101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0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 nodeType="clickPar">
                      <p:stCondLst>
                        <p:cond delay="indefinite"/>
                      </p:stCondLst>
                      <p:childTnLst>
                        <p:par>
                          <p:cTn id="4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0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6" grpId="0"/>
      <p:bldP spid="67" grpId="0"/>
      <p:bldP spid="70" grpId="0"/>
      <p:bldP spid="77" grpId="0"/>
      <p:bldP spid="78" grpId="0"/>
      <p:bldP spid="79" grpId="0"/>
      <p:bldP spid="80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586" name="Freeform 8"/>
          <p:cNvSpPr>
            <a:spLocks noChangeAspect="1"/>
          </p:cNvSpPr>
          <p:nvPr/>
        </p:nvSpPr>
        <p:spPr bwMode="auto">
          <a:xfrm>
            <a:off x="5920979" y="1560910"/>
            <a:ext cx="0" cy="5953"/>
          </a:xfrm>
          <a:custGeom>
            <a:avLst/>
            <a:gdLst>
              <a:gd name="T0" fmla="*/ 0 h 2"/>
              <a:gd name="T1" fmla="*/ 2147483646 h 2"/>
              <a:gd name="T2" fmla="*/ 0 h 2"/>
              <a:gd name="T3" fmla="*/ 0 60000 65536"/>
              <a:gd name="T4" fmla="*/ 0 60000 65536"/>
              <a:gd name="T5" fmla="*/ 0 60000 65536"/>
            </a:gdLst>
            <a:ahLst/>
            <a:cxnLst>
              <a:cxn ang="T3">
                <a:pos x="0" y="T0"/>
              </a:cxn>
              <a:cxn ang="T4">
                <a:pos x="0" y="T1"/>
              </a:cxn>
              <a:cxn ang="T5">
                <a:pos x="0" y="T2"/>
              </a:cxn>
            </a:cxnLst>
            <a:rect l="0" t="0" r="r" b="b"/>
            <a:pathLst>
              <a:path h="2">
                <a:moveTo>
                  <a:pt x="0" y="0"/>
                </a:moveTo>
                <a:cubicBezTo>
                  <a:pt x="0" y="0"/>
                  <a:pt x="0" y="1"/>
                  <a:pt x="0" y="2"/>
                </a:cubicBezTo>
                <a:cubicBezTo>
                  <a:pt x="0" y="1"/>
                  <a:pt x="0" y="0"/>
                  <a:pt x="0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s-AR" sz="1350"/>
          </a:p>
        </p:txBody>
      </p:sp>
      <p:sp>
        <p:nvSpPr>
          <p:cNvPr id="323587" name="Freeform 17"/>
          <p:cNvSpPr>
            <a:spLocks noChangeAspect="1"/>
          </p:cNvSpPr>
          <p:nvPr/>
        </p:nvSpPr>
        <p:spPr bwMode="auto">
          <a:xfrm>
            <a:off x="1393032" y="4008835"/>
            <a:ext cx="1460897" cy="341709"/>
          </a:xfrm>
          <a:custGeom>
            <a:avLst/>
            <a:gdLst>
              <a:gd name="T0" fmla="*/ 2147483646 w 917"/>
              <a:gd name="T1" fmla="*/ 2147483646 h 215"/>
              <a:gd name="T2" fmla="*/ 2147483646 w 917"/>
              <a:gd name="T3" fmla="*/ 2147483646 h 215"/>
              <a:gd name="T4" fmla="*/ 2147483646 w 917"/>
              <a:gd name="T5" fmla="*/ 2147483646 h 215"/>
              <a:gd name="T6" fmla="*/ 2147483646 w 917"/>
              <a:gd name="T7" fmla="*/ 2147483646 h 215"/>
              <a:gd name="T8" fmla="*/ 2147483646 w 917"/>
              <a:gd name="T9" fmla="*/ 2147483646 h 215"/>
              <a:gd name="T10" fmla="*/ 2147483646 w 917"/>
              <a:gd name="T11" fmla="*/ 2147483646 h 215"/>
              <a:gd name="T12" fmla="*/ 2147483646 w 917"/>
              <a:gd name="T13" fmla="*/ 2147483646 h 215"/>
              <a:gd name="T14" fmla="*/ 2147483646 w 917"/>
              <a:gd name="T15" fmla="*/ 2147483646 h 215"/>
              <a:gd name="T16" fmla="*/ 2147483646 w 917"/>
              <a:gd name="T17" fmla="*/ 2147483646 h 215"/>
              <a:gd name="T18" fmla="*/ 2147483646 w 917"/>
              <a:gd name="T19" fmla="*/ 2147483646 h 215"/>
              <a:gd name="T20" fmla="*/ 2147483646 w 917"/>
              <a:gd name="T21" fmla="*/ 2147483646 h 215"/>
              <a:gd name="T22" fmla="*/ 2147483646 w 917"/>
              <a:gd name="T23" fmla="*/ 2147483646 h 215"/>
              <a:gd name="T24" fmla="*/ 2147483646 w 917"/>
              <a:gd name="T25" fmla="*/ 2147483646 h 215"/>
              <a:gd name="T26" fmla="*/ 2147483646 w 917"/>
              <a:gd name="T27" fmla="*/ 2147483646 h 215"/>
              <a:gd name="T28" fmla="*/ 2147483646 w 917"/>
              <a:gd name="T29" fmla="*/ 2147483646 h 215"/>
              <a:gd name="T30" fmla="*/ 2147483646 w 917"/>
              <a:gd name="T31" fmla="*/ 2147483646 h 215"/>
              <a:gd name="T32" fmla="*/ 2147483646 w 917"/>
              <a:gd name="T33" fmla="*/ 2147483646 h 215"/>
              <a:gd name="T34" fmla="*/ 2147483646 w 917"/>
              <a:gd name="T35" fmla="*/ 2147483646 h 215"/>
              <a:gd name="T36" fmla="*/ 2147483646 w 917"/>
              <a:gd name="T37" fmla="*/ 2147483646 h 215"/>
              <a:gd name="T38" fmla="*/ 2147483646 w 917"/>
              <a:gd name="T39" fmla="*/ 2147483646 h 215"/>
              <a:gd name="T40" fmla="*/ 2147483646 w 917"/>
              <a:gd name="T41" fmla="*/ 2147483646 h 215"/>
              <a:gd name="T42" fmla="*/ 2147483646 w 917"/>
              <a:gd name="T43" fmla="*/ 2147483646 h 215"/>
              <a:gd name="T44" fmla="*/ 2147483646 w 917"/>
              <a:gd name="T45" fmla="*/ 2147483646 h 21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917" h="215">
                <a:moveTo>
                  <a:pt x="912" y="163"/>
                </a:moveTo>
                <a:cubicBezTo>
                  <a:pt x="887" y="123"/>
                  <a:pt x="870" y="78"/>
                  <a:pt x="860" y="32"/>
                </a:cubicBezTo>
                <a:cubicBezTo>
                  <a:pt x="857" y="18"/>
                  <a:pt x="840" y="7"/>
                  <a:pt x="827" y="3"/>
                </a:cubicBezTo>
                <a:cubicBezTo>
                  <a:pt x="817" y="0"/>
                  <a:pt x="802" y="1"/>
                  <a:pt x="805" y="15"/>
                </a:cubicBezTo>
                <a:cubicBezTo>
                  <a:pt x="812" y="47"/>
                  <a:pt x="823" y="79"/>
                  <a:pt x="836" y="109"/>
                </a:cubicBezTo>
                <a:cubicBezTo>
                  <a:pt x="833" y="107"/>
                  <a:pt x="831" y="105"/>
                  <a:pt x="828" y="104"/>
                </a:cubicBezTo>
                <a:cubicBezTo>
                  <a:pt x="781" y="80"/>
                  <a:pt x="729" y="66"/>
                  <a:pt x="678" y="54"/>
                </a:cubicBezTo>
                <a:cubicBezTo>
                  <a:pt x="602" y="35"/>
                  <a:pt x="526" y="22"/>
                  <a:pt x="448" y="14"/>
                </a:cubicBezTo>
                <a:cubicBezTo>
                  <a:pt x="369" y="5"/>
                  <a:pt x="287" y="3"/>
                  <a:pt x="207" y="13"/>
                </a:cubicBezTo>
                <a:cubicBezTo>
                  <a:pt x="143" y="21"/>
                  <a:pt x="74" y="38"/>
                  <a:pt x="22" y="80"/>
                </a:cubicBezTo>
                <a:cubicBezTo>
                  <a:pt x="21" y="80"/>
                  <a:pt x="20" y="81"/>
                  <a:pt x="19" y="82"/>
                </a:cubicBezTo>
                <a:cubicBezTo>
                  <a:pt x="0" y="98"/>
                  <a:pt x="50" y="137"/>
                  <a:pt x="66" y="123"/>
                </a:cubicBezTo>
                <a:cubicBezTo>
                  <a:pt x="114" y="82"/>
                  <a:pt x="178" y="66"/>
                  <a:pt x="240" y="58"/>
                </a:cubicBezTo>
                <a:cubicBezTo>
                  <a:pt x="315" y="47"/>
                  <a:pt x="392" y="50"/>
                  <a:pt x="468" y="57"/>
                </a:cubicBezTo>
                <a:cubicBezTo>
                  <a:pt x="541" y="64"/>
                  <a:pt x="614" y="77"/>
                  <a:pt x="685" y="94"/>
                </a:cubicBezTo>
                <a:cubicBezTo>
                  <a:pt x="714" y="101"/>
                  <a:pt x="742" y="109"/>
                  <a:pt x="770" y="118"/>
                </a:cubicBezTo>
                <a:cubicBezTo>
                  <a:pt x="795" y="126"/>
                  <a:pt x="806" y="129"/>
                  <a:pt x="825" y="139"/>
                </a:cubicBezTo>
                <a:cubicBezTo>
                  <a:pt x="828" y="140"/>
                  <a:pt x="833" y="142"/>
                  <a:pt x="838" y="143"/>
                </a:cubicBezTo>
                <a:cubicBezTo>
                  <a:pt x="806" y="150"/>
                  <a:pt x="774" y="159"/>
                  <a:pt x="743" y="169"/>
                </a:cubicBezTo>
                <a:cubicBezTo>
                  <a:pt x="730" y="173"/>
                  <a:pt x="746" y="194"/>
                  <a:pt x="751" y="198"/>
                </a:cubicBezTo>
                <a:cubicBezTo>
                  <a:pt x="761" y="207"/>
                  <a:pt x="776" y="215"/>
                  <a:pt x="790" y="210"/>
                </a:cubicBezTo>
                <a:cubicBezTo>
                  <a:pt x="827" y="198"/>
                  <a:pt x="866" y="189"/>
                  <a:pt x="905" y="182"/>
                </a:cubicBezTo>
                <a:cubicBezTo>
                  <a:pt x="915" y="180"/>
                  <a:pt x="917" y="171"/>
                  <a:pt x="912" y="163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s-AR" sz="1350"/>
          </a:p>
        </p:txBody>
      </p:sp>
      <p:sp>
        <p:nvSpPr>
          <p:cNvPr id="323588" name="Freeform 18"/>
          <p:cNvSpPr>
            <a:spLocks noChangeAspect="1" noEditPoints="1"/>
          </p:cNvSpPr>
          <p:nvPr/>
        </p:nvSpPr>
        <p:spPr bwMode="auto">
          <a:xfrm>
            <a:off x="6347223" y="3577829"/>
            <a:ext cx="1563290" cy="483394"/>
          </a:xfrm>
          <a:custGeom>
            <a:avLst/>
            <a:gdLst>
              <a:gd name="T0" fmla="*/ 2147483646 w 578"/>
              <a:gd name="T1" fmla="*/ 2147483646 h 179"/>
              <a:gd name="T2" fmla="*/ 2147483646 w 578"/>
              <a:gd name="T3" fmla="*/ 2147483646 h 179"/>
              <a:gd name="T4" fmla="*/ 2147483646 w 578"/>
              <a:gd name="T5" fmla="*/ 2147483646 h 179"/>
              <a:gd name="T6" fmla="*/ 2147483646 w 578"/>
              <a:gd name="T7" fmla="*/ 2147483646 h 179"/>
              <a:gd name="T8" fmla="*/ 2147483646 w 578"/>
              <a:gd name="T9" fmla="*/ 2147483646 h 179"/>
              <a:gd name="T10" fmla="*/ 2147483646 w 578"/>
              <a:gd name="T11" fmla="*/ 2147483646 h 179"/>
              <a:gd name="T12" fmla="*/ 2147483646 w 578"/>
              <a:gd name="T13" fmla="*/ 2147483646 h 179"/>
              <a:gd name="T14" fmla="*/ 2147483646 w 578"/>
              <a:gd name="T15" fmla="*/ 2147483646 h 179"/>
              <a:gd name="T16" fmla="*/ 2147483646 w 578"/>
              <a:gd name="T17" fmla="*/ 2147483646 h 179"/>
              <a:gd name="T18" fmla="*/ 2147483646 w 578"/>
              <a:gd name="T19" fmla="*/ 2147483646 h 179"/>
              <a:gd name="T20" fmla="*/ 2147483646 w 578"/>
              <a:gd name="T21" fmla="*/ 2147483646 h 179"/>
              <a:gd name="T22" fmla="*/ 2147483646 w 578"/>
              <a:gd name="T23" fmla="*/ 2147483646 h 179"/>
              <a:gd name="T24" fmla="*/ 2147483646 w 578"/>
              <a:gd name="T25" fmla="*/ 2147483646 h 179"/>
              <a:gd name="T26" fmla="*/ 2147483646 w 578"/>
              <a:gd name="T27" fmla="*/ 2147483646 h 179"/>
              <a:gd name="T28" fmla="*/ 2147483646 w 578"/>
              <a:gd name="T29" fmla="*/ 2147483646 h 179"/>
              <a:gd name="T30" fmla="*/ 2147483646 w 578"/>
              <a:gd name="T31" fmla="*/ 2147483646 h 179"/>
              <a:gd name="T32" fmla="*/ 2147483646 w 578"/>
              <a:gd name="T33" fmla="*/ 2147483646 h 179"/>
              <a:gd name="T34" fmla="*/ 2147483646 w 578"/>
              <a:gd name="T35" fmla="*/ 2147483646 h 179"/>
              <a:gd name="T36" fmla="*/ 2147483646 w 578"/>
              <a:gd name="T37" fmla="*/ 2147483646 h 179"/>
              <a:gd name="T38" fmla="*/ 2147483646 w 578"/>
              <a:gd name="T39" fmla="*/ 2147483646 h 179"/>
              <a:gd name="T40" fmla="*/ 2147483646 w 578"/>
              <a:gd name="T41" fmla="*/ 2147483646 h 179"/>
              <a:gd name="T42" fmla="*/ 2147483646 w 578"/>
              <a:gd name="T43" fmla="*/ 2147483646 h 179"/>
              <a:gd name="T44" fmla="*/ 2147483646 w 578"/>
              <a:gd name="T45" fmla="*/ 2147483646 h 179"/>
              <a:gd name="T46" fmla="*/ 2147483646 w 578"/>
              <a:gd name="T47" fmla="*/ 2147483646 h 179"/>
              <a:gd name="T48" fmla="*/ 2147483646 w 578"/>
              <a:gd name="T49" fmla="*/ 2147483646 h 179"/>
              <a:gd name="T50" fmla="*/ 2147483646 w 578"/>
              <a:gd name="T51" fmla="*/ 2147483646 h 179"/>
              <a:gd name="T52" fmla="*/ 2147483646 w 578"/>
              <a:gd name="T53" fmla="*/ 2147483646 h 179"/>
              <a:gd name="T54" fmla="*/ 2147483646 w 578"/>
              <a:gd name="T55" fmla="*/ 2147483646 h 179"/>
              <a:gd name="T56" fmla="*/ 2147483646 w 578"/>
              <a:gd name="T57" fmla="*/ 2147483646 h 179"/>
              <a:gd name="T58" fmla="*/ 2147483646 w 578"/>
              <a:gd name="T59" fmla="*/ 2147483646 h 179"/>
              <a:gd name="T60" fmla="*/ 2147483646 w 578"/>
              <a:gd name="T61" fmla="*/ 2147483646 h 179"/>
              <a:gd name="T62" fmla="*/ 2147483646 w 578"/>
              <a:gd name="T63" fmla="*/ 2147483646 h 179"/>
              <a:gd name="T64" fmla="*/ 2147483646 w 578"/>
              <a:gd name="T65" fmla="*/ 2147483646 h 179"/>
              <a:gd name="T66" fmla="*/ 2147483646 w 578"/>
              <a:gd name="T67" fmla="*/ 2147483646 h 179"/>
              <a:gd name="T68" fmla="*/ 2147483646 w 578"/>
              <a:gd name="T69" fmla="*/ 2147483646 h 179"/>
              <a:gd name="T70" fmla="*/ 2147483646 w 578"/>
              <a:gd name="T71" fmla="*/ 2147483646 h 179"/>
              <a:gd name="T72" fmla="*/ 2147483646 w 578"/>
              <a:gd name="T73" fmla="*/ 2147483646 h 179"/>
              <a:gd name="T74" fmla="*/ 2147483646 w 578"/>
              <a:gd name="T75" fmla="*/ 2147483646 h 179"/>
              <a:gd name="T76" fmla="*/ 2147483646 w 578"/>
              <a:gd name="T77" fmla="*/ 2147483646 h 179"/>
              <a:gd name="T78" fmla="*/ 2147483646 w 578"/>
              <a:gd name="T79" fmla="*/ 2147483646 h 179"/>
              <a:gd name="T80" fmla="*/ 2147483646 w 578"/>
              <a:gd name="T81" fmla="*/ 2147483646 h 179"/>
              <a:gd name="T82" fmla="*/ 2147483646 w 578"/>
              <a:gd name="T83" fmla="*/ 2147483646 h 179"/>
              <a:gd name="T84" fmla="*/ 2147483646 w 578"/>
              <a:gd name="T85" fmla="*/ 2147483646 h 179"/>
              <a:gd name="T86" fmla="*/ 2147483646 w 578"/>
              <a:gd name="T87" fmla="*/ 2147483646 h 179"/>
              <a:gd name="T88" fmla="*/ 2147483646 w 578"/>
              <a:gd name="T89" fmla="*/ 2147483646 h 179"/>
              <a:gd name="T90" fmla="*/ 2147483646 w 578"/>
              <a:gd name="T91" fmla="*/ 2147483646 h 179"/>
              <a:gd name="T92" fmla="*/ 2147483646 w 578"/>
              <a:gd name="T93" fmla="*/ 2147483646 h 179"/>
              <a:gd name="T94" fmla="*/ 2147483646 w 578"/>
              <a:gd name="T95" fmla="*/ 2147483646 h 179"/>
              <a:gd name="T96" fmla="*/ 2147483646 w 578"/>
              <a:gd name="T97" fmla="*/ 2147483646 h 179"/>
              <a:gd name="T98" fmla="*/ 2147483646 w 578"/>
              <a:gd name="T99" fmla="*/ 2147483646 h 179"/>
              <a:gd name="T100" fmla="*/ 2147483646 w 578"/>
              <a:gd name="T101" fmla="*/ 2147483646 h 179"/>
              <a:gd name="T102" fmla="*/ 2147483646 w 578"/>
              <a:gd name="T103" fmla="*/ 2147483646 h 179"/>
              <a:gd name="T104" fmla="*/ 2147483646 w 578"/>
              <a:gd name="T105" fmla="*/ 2147483646 h 179"/>
              <a:gd name="T106" fmla="*/ 2147483646 w 578"/>
              <a:gd name="T107" fmla="*/ 2147483646 h 179"/>
              <a:gd name="T108" fmla="*/ 2147483646 w 578"/>
              <a:gd name="T109" fmla="*/ 2147483646 h 179"/>
              <a:gd name="T110" fmla="*/ 2147483646 w 578"/>
              <a:gd name="T111" fmla="*/ 2147483646 h 179"/>
              <a:gd name="T112" fmla="*/ 2147483646 w 578"/>
              <a:gd name="T113" fmla="*/ 2147483646 h 179"/>
              <a:gd name="T114" fmla="*/ 2147483646 w 578"/>
              <a:gd name="T115" fmla="*/ 2147483646 h 179"/>
              <a:gd name="T116" fmla="*/ 2147483646 w 578"/>
              <a:gd name="T117" fmla="*/ 2147483646 h 179"/>
              <a:gd name="T118" fmla="*/ 2147483646 w 578"/>
              <a:gd name="T119" fmla="*/ 2147483646 h 179"/>
              <a:gd name="T120" fmla="*/ 2147483646 w 578"/>
              <a:gd name="T121" fmla="*/ 2147483646 h 17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578" h="179">
                <a:moveTo>
                  <a:pt x="484" y="109"/>
                </a:moveTo>
                <a:cubicBezTo>
                  <a:pt x="484" y="110"/>
                  <a:pt x="484" y="110"/>
                  <a:pt x="484" y="110"/>
                </a:cubicBezTo>
                <a:cubicBezTo>
                  <a:pt x="483" y="110"/>
                  <a:pt x="483" y="110"/>
                  <a:pt x="484" y="109"/>
                </a:cubicBezTo>
                <a:close/>
                <a:moveTo>
                  <a:pt x="484" y="110"/>
                </a:moveTo>
                <a:cubicBezTo>
                  <a:pt x="486" y="114"/>
                  <a:pt x="491" y="116"/>
                  <a:pt x="494" y="118"/>
                </a:cubicBezTo>
                <a:cubicBezTo>
                  <a:pt x="496" y="111"/>
                  <a:pt x="487" y="111"/>
                  <a:pt x="484" y="110"/>
                </a:cubicBezTo>
                <a:close/>
                <a:moveTo>
                  <a:pt x="491" y="102"/>
                </a:moveTo>
                <a:cubicBezTo>
                  <a:pt x="488" y="99"/>
                  <a:pt x="488" y="99"/>
                  <a:pt x="488" y="99"/>
                </a:cubicBezTo>
                <a:cubicBezTo>
                  <a:pt x="489" y="100"/>
                  <a:pt x="488" y="103"/>
                  <a:pt x="491" y="102"/>
                </a:cubicBezTo>
                <a:close/>
                <a:moveTo>
                  <a:pt x="484" y="104"/>
                </a:moveTo>
                <a:cubicBezTo>
                  <a:pt x="485" y="108"/>
                  <a:pt x="485" y="108"/>
                  <a:pt x="485" y="108"/>
                </a:cubicBezTo>
                <a:cubicBezTo>
                  <a:pt x="486" y="105"/>
                  <a:pt x="486" y="105"/>
                  <a:pt x="486" y="105"/>
                </a:cubicBezTo>
                <a:lnTo>
                  <a:pt x="484" y="104"/>
                </a:lnTo>
                <a:close/>
                <a:moveTo>
                  <a:pt x="277" y="97"/>
                </a:moveTo>
                <a:cubicBezTo>
                  <a:pt x="277" y="96"/>
                  <a:pt x="277" y="94"/>
                  <a:pt x="277" y="93"/>
                </a:cubicBezTo>
                <a:lnTo>
                  <a:pt x="277" y="97"/>
                </a:lnTo>
                <a:close/>
                <a:moveTo>
                  <a:pt x="266" y="80"/>
                </a:moveTo>
                <a:cubicBezTo>
                  <a:pt x="267" y="80"/>
                  <a:pt x="267" y="81"/>
                  <a:pt x="268" y="81"/>
                </a:cubicBezTo>
                <a:cubicBezTo>
                  <a:pt x="267" y="80"/>
                  <a:pt x="267" y="80"/>
                  <a:pt x="266" y="80"/>
                </a:cubicBezTo>
                <a:close/>
                <a:moveTo>
                  <a:pt x="284" y="93"/>
                </a:moveTo>
                <a:cubicBezTo>
                  <a:pt x="286" y="93"/>
                  <a:pt x="286" y="93"/>
                  <a:pt x="286" y="93"/>
                </a:cubicBezTo>
                <a:cubicBezTo>
                  <a:pt x="285" y="93"/>
                  <a:pt x="284" y="93"/>
                  <a:pt x="284" y="93"/>
                </a:cubicBezTo>
                <a:close/>
                <a:moveTo>
                  <a:pt x="394" y="100"/>
                </a:moveTo>
                <a:cubicBezTo>
                  <a:pt x="393" y="99"/>
                  <a:pt x="391" y="97"/>
                  <a:pt x="390" y="95"/>
                </a:cubicBezTo>
                <a:cubicBezTo>
                  <a:pt x="391" y="97"/>
                  <a:pt x="390" y="101"/>
                  <a:pt x="394" y="100"/>
                </a:cubicBezTo>
                <a:close/>
                <a:moveTo>
                  <a:pt x="225" y="44"/>
                </a:moveTo>
                <a:cubicBezTo>
                  <a:pt x="225" y="42"/>
                  <a:pt x="225" y="42"/>
                  <a:pt x="225" y="42"/>
                </a:cubicBezTo>
                <a:cubicBezTo>
                  <a:pt x="224" y="42"/>
                  <a:pt x="224" y="43"/>
                  <a:pt x="225" y="44"/>
                </a:cubicBezTo>
                <a:close/>
                <a:moveTo>
                  <a:pt x="267" y="49"/>
                </a:moveTo>
                <a:cubicBezTo>
                  <a:pt x="267" y="49"/>
                  <a:pt x="267" y="49"/>
                  <a:pt x="267" y="49"/>
                </a:cubicBezTo>
                <a:cubicBezTo>
                  <a:pt x="267" y="48"/>
                  <a:pt x="268" y="48"/>
                  <a:pt x="268" y="46"/>
                </a:cubicBezTo>
                <a:lnTo>
                  <a:pt x="267" y="49"/>
                </a:lnTo>
                <a:close/>
                <a:moveTo>
                  <a:pt x="294" y="90"/>
                </a:moveTo>
                <a:cubicBezTo>
                  <a:pt x="293" y="89"/>
                  <a:pt x="293" y="89"/>
                  <a:pt x="293" y="89"/>
                </a:cubicBezTo>
                <a:cubicBezTo>
                  <a:pt x="292" y="89"/>
                  <a:pt x="292" y="89"/>
                  <a:pt x="292" y="89"/>
                </a:cubicBezTo>
                <a:cubicBezTo>
                  <a:pt x="293" y="90"/>
                  <a:pt x="293" y="90"/>
                  <a:pt x="294" y="90"/>
                </a:cubicBezTo>
                <a:close/>
                <a:moveTo>
                  <a:pt x="210" y="34"/>
                </a:moveTo>
                <a:cubicBezTo>
                  <a:pt x="210" y="36"/>
                  <a:pt x="211" y="38"/>
                  <a:pt x="212" y="39"/>
                </a:cubicBezTo>
                <a:cubicBezTo>
                  <a:pt x="212" y="37"/>
                  <a:pt x="211" y="35"/>
                  <a:pt x="210" y="34"/>
                </a:cubicBezTo>
                <a:close/>
                <a:moveTo>
                  <a:pt x="266" y="80"/>
                </a:moveTo>
                <a:cubicBezTo>
                  <a:pt x="266" y="80"/>
                  <a:pt x="266" y="80"/>
                  <a:pt x="266" y="80"/>
                </a:cubicBezTo>
                <a:cubicBezTo>
                  <a:pt x="266" y="80"/>
                  <a:pt x="266" y="80"/>
                  <a:pt x="266" y="80"/>
                </a:cubicBezTo>
                <a:cubicBezTo>
                  <a:pt x="266" y="80"/>
                  <a:pt x="266" y="80"/>
                  <a:pt x="266" y="80"/>
                </a:cubicBezTo>
                <a:close/>
                <a:moveTo>
                  <a:pt x="279" y="48"/>
                </a:moveTo>
                <a:cubicBezTo>
                  <a:pt x="280" y="49"/>
                  <a:pt x="281" y="49"/>
                  <a:pt x="281" y="49"/>
                </a:cubicBezTo>
                <a:cubicBezTo>
                  <a:pt x="281" y="48"/>
                  <a:pt x="280" y="48"/>
                  <a:pt x="279" y="48"/>
                </a:cubicBezTo>
                <a:close/>
                <a:moveTo>
                  <a:pt x="389" y="93"/>
                </a:moveTo>
                <a:cubicBezTo>
                  <a:pt x="390" y="95"/>
                  <a:pt x="390" y="95"/>
                  <a:pt x="390" y="95"/>
                </a:cubicBezTo>
                <a:cubicBezTo>
                  <a:pt x="390" y="94"/>
                  <a:pt x="390" y="93"/>
                  <a:pt x="389" y="93"/>
                </a:cubicBezTo>
                <a:close/>
                <a:moveTo>
                  <a:pt x="471" y="106"/>
                </a:moveTo>
                <a:cubicBezTo>
                  <a:pt x="471" y="108"/>
                  <a:pt x="470" y="109"/>
                  <a:pt x="472" y="110"/>
                </a:cubicBezTo>
                <a:cubicBezTo>
                  <a:pt x="472" y="108"/>
                  <a:pt x="471" y="107"/>
                  <a:pt x="471" y="106"/>
                </a:cubicBezTo>
                <a:close/>
                <a:moveTo>
                  <a:pt x="5" y="110"/>
                </a:moveTo>
                <a:cubicBezTo>
                  <a:pt x="5" y="110"/>
                  <a:pt x="5" y="110"/>
                  <a:pt x="5" y="110"/>
                </a:cubicBezTo>
                <a:cubicBezTo>
                  <a:pt x="5" y="110"/>
                  <a:pt x="5" y="110"/>
                  <a:pt x="5" y="110"/>
                </a:cubicBezTo>
                <a:close/>
                <a:moveTo>
                  <a:pt x="52" y="103"/>
                </a:moveTo>
                <a:cubicBezTo>
                  <a:pt x="51" y="102"/>
                  <a:pt x="51" y="102"/>
                  <a:pt x="51" y="101"/>
                </a:cubicBezTo>
                <a:cubicBezTo>
                  <a:pt x="51" y="103"/>
                  <a:pt x="51" y="104"/>
                  <a:pt x="52" y="103"/>
                </a:cubicBezTo>
                <a:close/>
                <a:moveTo>
                  <a:pt x="87" y="38"/>
                </a:moveTo>
                <a:cubicBezTo>
                  <a:pt x="96" y="43"/>
                  <a:pt x="96" y="43"/>
                  <a:pt x="96" y="43"/>
                </a:cubicBezTo>
                <a:cubicBezTo>
                  <a:pt x="96" y="41"/>
                  <a:pt x="100" y="39"/>
                  <a:pt x="97" y="37"/>
                </a:cubicBezTo>
                <a:cubicBezTo>
                  <a:pt x="101" y="41"/>
                  <a:pt x="101" y="41"/>
                  <a:pt x="101" y="41"/>
                </a:cubicBezTo>
                <a:cubicBezTo>
                  <a:pt x="101" y="38"/>
                  <a:pt x="101" y="38"/>
                  <a:pt x="101" y="38"/>
                </a:cubicBezTo>
                <a:cubicBezTo>
                  <a:pt x="115" y="31"/>
                  <a:pt x="128" y="52"/>
                  <a:pt x="141" y="38"/>
                </a:cubicBezTo>
                <a:cubicBezTo>
                  <a:pt x="141" y="37"/>
                  <a:pt x="141" y="37"/>
                  <a:pt x="141" y="37"/>
                </a:cubicBezTo>
                <a:cubicBezTo>
                  <a:pt x="150" y="43"/>
                  <a:pt x="150" y="43"/>
                  <a:pt x="150" y="43"/>
                </a:cubicBezTo>
                <a:cubicBezTo>
                  <a:pt x="151" y="43"/>
                  <a:pt x="151" y="37"/>
                  <a:pt x="154" y="35"/>
                </a:cubicBezTo>
                <a:cubicBezTo>
                  <a:pt x="153" y="41"/>
                  <a:pt x="159" y="36"/>
                  <a:pt x="160" y="41"/>
                </a:cubicBezTo>
                <a:cubicBezTo>
                  <a:pt x="162" y="38"/>
                  <a:pt x="160" y="37"/>
                  <a:pt x="159" y="35"/>
                </a:cubicBezTo>
                <a:cubicBezTo>
                  <a:pt x="167" y="29"/>
                  <a:pt x="174" y="38"/>
                  <a:pt x="182" y="34"/>
                </a:cubicBezTo>
                <a:cubicBezTo>
                  <a:pt x="174" y="42"/>
                  <a:pt x="174" y="40"/>
                  <a:pt x="168" y="43"/>
                </a:cubicBezTo>
                <a:cubicBezTo>
                  <a:pt x="175" y="46"/>
                  <a:pt x="176" y="40"/>
                  <a:pt x="184" y="42"/>
                </a:cubicBezTo>
                <a:cubicBezTo>
                  <a:pt x="180" y="40"/>
                  <a:pt x="180" y="40"/>
                  <a:pt x="180" y="40"/>
                </a:cubicBezTo>
                <a:cubicBezTo>
                  <a:pt x="184" y="31"/>
                  <a:pt x="192" y="44"/>
                  <a:pt x="193" y="35"/>
                </a:cubicBezTo>
                <a:cubicBezTo>
                  <a:pt x="197" y="36"/>
                  <a:pt x="201" y="45"/>
                  <a:pt x="206" y="44"/>
                </a:cubicBezTo>
                <a:cubicBezTo>
                  <a:pt x="204" y="36"/>
                  <a:pt x="204" y="36"/>
                  <a:pt x="204" y="36"/>
                </a:cubicBezTo>
                <a:cubicBezTo>
                  <a:pt x="209" y="35"/>
                  <a:pt x="209" y="35"/>
                  <a:pt x="209" y="35"/>
                </a:cubicBezTo>
                <a:cubicBezTo>
                  <a:pt x="209" y="41"/>
                  <a:pt x="209" y="41"/>
                  <a:pt x="209" y="41"/>
                </a:cubicBezTo>
                <a:cubicBezTo>
                  <a:pt x="211" y="41"/>
                  <a:pt x="211" y="40"/>
                  <a:pt x="212" y="39"/>
                </a:cubicBezTo>
                <a:cubicBezTo>
                  <a:pt x="215" y="45"/>
                  <a:pt x="220" y="42"/>
                  <a:pt x="224" y="47"/>
                </a:cubicBezTo>
                <a:cubicBezTo>
                  <a:pt x="225" y="44"/>
                  <a:pt x="225" y="44"/>
                  <a:pt x="225" y="44"/>
                </a:cubicBezTo>
                <a:cubicBezTo>
                  <a:pt x="225" y="45"/>
                  <a:pt x="226" y="45"/>
                  <a:pt x="226" y="46"/>
                </a:cubicBezTo>
                <a:cubicBezTo>
                  <a:pt x="227" y="41"/>
                  <a:pt x="230" y="43"/>
                  <a:pt x="231" y="39"/>
                </a:cubicBezTo>
                <a:cubicBezTo>
                  <a:pt x="229" y="37"/>
                  <a:pt x="226" y="35"/>
                  <a:pt x="226" y="38"/>
                </a:cubicBezTo>
                <a:cubicBezTo>
                  <a:pt x="222" y="32"/>
                  <a:pt x="231" y="35"/>
                  <a:pt x="233" y="35"/>
                </a:cubicBezTo>
                <a:cubicBezTo>
                  <a:pt x="230" y="37"/>
                  <a:pt x="234" y="38"/>
                  <a:pt x="235" y="39"/>
                </a:cubicBezTo>
                <a:cubicBezTo>
                  <a:pt x="236" y="39"/>
                  <a:pt x="235" y="38"/>
                  <a:pt x="235" y="37"/>
                </a:cubicBezTo>
                <a:cubicBezTo>
                  <a:pt x="240" y="34"/>
                  <a:pt x="241" y="48"/>
                  <a:pt x="244" y="39"/>
                </a:cubicBezTo>
                <a:cubicBezTo>
                  <a:pt x="245" y="44"/>
                  <a:pt x="245" y="44"/>
                  <a:pt x="245" y="44"/>
                </a:cubicBezTo>
                <a:cubicBezTo>
                  <a:pt x="249" y="40"/>
                  <a:pt x="249" y="40"/>
                  <a:pt x="249" y="40"/>
                </a:cubicBezTo>
                <a:cubicBezTo>
                  <a:pt x="249" y="50"/>
                  <a:pt x="254" y="41"/>
                  <a:pt x="254" y="51"/>
                </a:cubicBezTo>
                <a:cubicBezTo>
                  <a:pt x="258" y="51"/>
                  <a:pt x="254" y="45"/>
                  <a:pt x="255" y="46"/>
                </a:cubicBezTo>
                <a:cubicBezTo>
                  <a:pt x="259" y="44"/>
                  <a:pt x="266" y="54"/>
                  <a:pt x="267" y="49"/>
                </a:cubicBezTo>
                <a:cubicBezTo>
                  <a:pt x="270" y="53"/>
                  <a:pt x="274" y="51"/>
                  <a:pt x="277" y="53"/>
                </a:cubicBezTo>
                <a:cubicBezTo>
                  <a:pt x="277" y="48"/>
                  <a:pt x="277" y="48"/>
                  <a:pt x="277" y="48"/>
                </a:cubicBezTo>
                <a:cubicBezTo>
                  <a:pt x="279" y="50"/>
                  <a:pt x="280" y="52"/>
                  <a:pt x="282" y="51"/>
                </a:cubicBezTo>
                <a:cubicBezTo>
                  <a:pt x="282" y="51"/>
                  <a:pt x="282" y="50"/>
                  <a:pt x="281" y="49"/>
                </a:cubicBezTo>
                <a:cubicBezTo>
                  <a:pt x="287" y="52"/>
                  <a:pt x="291" y="53"/>
                  <a:pt x="296" y="53"/>
                </a:cubicBezTo>
                <a:cubicBezTo>
                  <a:pt x="296" y="50"/>
                  <a:pt x="296" y="49"/>
                  <a:pt x="293" y="47"/>
                </a:cubicBezTo>
                <a:cubicBezTo>
                  <a:pt x="298" y="43"/>
                  <a:pt x="305" y="54"/>
                  <a:pt x="311" y="53"/>
                </a:cubicBezTo>
                <a:cubicBezTo>
                  <a:pt x="311" y="50"/>
                  <a:pt x="311" y="50"/>
                  <a:pt x="311" y="50"/>
                </a:cubicBezTo>
                <a:cubicBezTo>
                  <a:pt x="314" y="54"/>
                  <a:pt x="314" y="54"/>
                  <a:pt x="314" y="54"/>
                </a:cubicBezTo>
                <a:cubicBezTo>
                  <a:pt x="314" y="53"/>
                  <a:pt x="314" y="51"/>
                  <a:pt x="315" y="50"/>
                </a:cubicBezTo>
                <a:cubicBezTo>
                  <a:pt x="321" y="49"/>
                  <a:pt x="329" y="50"/>
                  <a:pt x="331" y="59"/>
                </a:cubicBezTo>
                <a:cubicBezTo>
                  <a:pt x="330" y="57"/>
                  <a:pt x="335" y="54"/>
                  <a:pt x="331" y="50"/>
                </a:cubicBezTo>
                <a:cubicBezTo>
                  <a:pt x="337" y="57"/>
                  <a:pt x="345" y="56"/>
                  <a:pt x="352" y="59"/>
                </a:cubicBezTo>
                <a:cubicBezTo>
                  <a:pt x="352" y="59"/>
                  <a:pt x="352" y="59"/>
                  <a:pt x="352" y="59"/>
                </a:cubicBezTo>
                <a:cubicBezTo>
                  <a:pt x="355" y="62"/>
                  <a:pt x="355" y="62"/>
                  <a:pt x="355" y="62"/>
                </a:cubicBezTo>
                <a:cubicBezTo>
                  <a:pt x="355" y="61"/>
                  <a:pt x="355" y="61"/>
                  <a:pt x="355" y="61"/>
                </a:cubicBezTo>
                <a:cubicBezTo>
                  <a:pt x="353" y="59"/>
                  <a:pt x="353" y="59"/>
                  <a:pt x="353" y="59"/>
                </a:cubicBezTo>
                <a:cubicBezTo>
                  <a:pt x="356" y="60"/>
                  <a:pt x="359" y="62"/>
                  <a:pt x="360" y="65"/>
                </a:cubicBezTo>
                <a:cubicBezTo>
                  <a:pt x="361" y="63"/>
                  <a:pt x="362" y="60"/>
                  <a:pt x="364" y="58"/>
                </a:cubicBezTo>
                <a:cubicBezTo>
                  <a:pt x="364" y="64"/>
                  <a:pt x="373" y="54"/>
                  <a:pt x="376" y="61"/>
                </a:cubicBezTo>
                <a:cubicBezTo>
                  <a:pt x="377" y="60"/>
                  <a:pt x="375" y="60"/>
                  <a:pt x="376" y="58"/>
                </a:cubicBezTo>
                <a:cubicBezTo>
                  <a:pt x="385" y="60"/>
                  <a:pt x="397" y="69"/>
                  <a:pt x="408" y="67"/>
                </a:cubicBezTo>
                <a:cubicBezTo>
                  <a:pt x="407" y="77"/>
                  <a:pt x="416" y="76"/>
                  <a:pt x="420" y="83"/>
                </a:cubicBezTo>
                <a:cubicBezTo>
                  <a:pt x="423" y="77"/>
                  <a:pt x="418" y="79"/>
                  <a:pt x="417" y="74"/>
                </a:cubicBezTo>
                <a:cubicBezTo>
                  <a:pt x="420" y="76"/>
                  <a:pt x="420" y="66"/>
                  <a:pt x="424" y="72"/>
                </a:cubicBezTo>
                <a:cubicBezTo>
                  <a:pt x="424" y="71"/>
                  <a:pt x="425" y="71"/>
                  <a:pt x="423" y="70"/>
                </a:cubicBezTo>
                <a:cubicBezTo>
                  <a:pt x="427" y="71"/>
                  <a:pt x="421" y="78"/>
                  <a:pt x="426" y="77"/>
                </a:cubicBezTo>
                <a:cubicBezTo>
                  <a:pt x="428" y="73"/>
                  <a:pt x="428" y="73"/>
                  <a:pt x="428" y="73"/>
                </a:cubicBezTo>
                <a:cubicBezTo>
                  <a:pt x="429" y="79"/>
                  <a:pt x="429" y="79"/>
                  <a:pt x="429" y="79"/>
                </a:cubicBezTo>
                <a:cubicBezTo>
                  <a:pt x="440" y="79"/>
                  <a:pt x="447" y="84"/>
                  <a:pt x="457" y="82"/>
                </a:cubicBezTo>
                <a:cubicBezTo>
                  <a:pt x="457" y="83"/>
                  <a:pt x="457" y="85"/>
                  <a:pt x="455" y="86"/>
                </a:cubicBezTo>
                <a:cubicBezTo>
                  <a:pt x="459" y="87"/>
                  <a:pt x="461" y="96"/>
                  <a:pt x="467" y="93"/>
                </a:cubicBezTo>
                <a:cubicBezTo>
                  <a:pt x="467" y="91"/>
                  <a:pt x="467" y="91"/>
                  <a:pt x="467" y="91"/>
                </a:cubicBezTo>
                <a:cubicBezTo>
                  <a:pt x="475" y="89"/>
                  <a:pt x="472" y="98"/>
                  <a:pt x="479" y="103"/>
                </a:cubicBezTo>
                <a:cubicBezTo>
                  <a:pt x="478" y="102"/>
                  <a:pt x="474" y="98"/>
                  <a:pt x="472" y="102"/>
                </a:cubicBezTo>
                <a:cubicBezTo>
                  <a:pt x="472" y="106"/>
                  <a:pt x="476" y="107"/>
                  <a:pt x="478" y="105"/>
                </a:cubicBezTo>
                <a:cubicBezTo>
                  <a:pt x="476" y="110"/>
                  <a:pt x="476" y="110"/>
                  <a:pt x="476" y="110"/>
                </a:cubicBezTo>
                <a:cubicBezTo>
                  <a:pt x="476" y="106"/>
                  <a:pt x="473" y="106"/>
                  <a:pt x="471" y="103"/>
                </a:cubicBezTo>
                <a:cubicBezTo>
                  <a:pt x="471" y="104"/>
                  <a:pt x="471" y="105"/>
                  <a:pt x="471" y="106"/>
                </a:cubicBezTo>
                <a:cubicBezTo>
                  <a:pt x="470" y="104"/>
                  <a:pt x="467" y="103"/>
                  <a:pt x="464" y="100"/>
                </a:cubicBezTo>
                <a:cubicBezTo>
                  <a:pt x="469" y="101"/>
                  <a:pt x="469" y="101"/>
                  <a:pt x="469" y="101"/>
                </a:cubicBezTo>
                <a:cubicBezTo>
                  <a:pt x="469" y="95"/>
                  <a:pt x="462" y="99"/>
                  <a:pt x="461" y="97"/>
                </a:cubicBezTo>
                <a:cubicBezTo>
                  <a:pt x="459" y="102"/>
                  <a:pt x="462" y="102"/>
                  <a:pt x="458" y="105"/>
                </a:cubicBezTo>
                <a:cubicBezTo>
                  <a:pt x="451" y="105"/>
                  <a:pt x="456" y="99"/>
                  <a:pt x="451" y="92"/>
                </a:cubicBezTo>
                <a:cubicBezTo>
                  <a:pt x="452" y="90"/>
                  <a:pt x="452" y="90"/>
                  <a:pt x="452" y="90"/>
                </a:cubicBezTo>
                <a:cubicBezTo>
                  <a:pt x="450" y="89"/>
                  <a:pt x="450" y="83"/>
                  <a:pt x="446" y="86"/>
                </a:cubicBezTo>
                <a:cubicBezTo>
                  <a:pt x="445" y="90"/>
                  <a:pt x="448" y="90"/>
                  <a:pt x="448" y="92"/>
                </a:cubicBezTo>
                <a:cubicBezTo>
                  <a:pt x="447" y="94"/>
                  <a:pt x="446" y="85"/>
                  <a:pt x="443" y="88"/>
                </a:cubicBezTo>
                <a:cubicBezTo>
                  <a:pt x="444" y="94"/>
                  <a:pt x="448" y="97"/>
                  <a:pt x="452" y="98"/>
                </a:cubicBezTo>
                <a:cubicBezTo>
                  <a:pt x="451" y="99"/>
                  <a:pt x="450" y="101"/>
                  <a:pt x="450" y="103"/>
                </a:cubicBezTo>
                <a:cubicBezTo>
                  <a:pt x="441" y="96"/>
                  <a:pt x="431" y="87"/>
                  <a:pt x="420" y="88"/>
                </a:cubicBezTo>
                <a:cubicBezTo>
                  <a:pt x="424" y="96"/>
                  <a:pt x="418" y="87"/>
                  <a:pt x="417" y="95"/>
                </a:cubicBezTo>
                <a:cubicBezTo>
                  <a:pt x="418" y="90"/>
                  <a:pt x="414" y="94"/>
                  <a:pt x="411" y="91"/>
                </a:cubicBezTo>
                <a:cubicBezTo>
                  <a:pt x="409" y="96"/>
                  <a:pt x="416" y="96"/>
                  <a:pt x="413" y="100"/>
                </a:cubicBezTo>
                <a:cubicBezTo>
                  <a:pt x="408" y="97"/>
                  <a:pt x="402" y="86"/>
                  <a:pt x="395" y="86"/>
                </a:cubicBezTo>
                <a:cubicBezTo>
                  <a:pt x="395" y="89"/>
                  <a:pt x="397" y="89"/>
                  <a:pt x="397" y="90"/>
                </a:cubicBezTo>
                <a:cubicBezTo>
                  <a:pt x="392" y="88"/>
                  <a:pt x="388" y="74"/>
                  <a:pt x="383" y="82"/>
                </a:cubicBezTo>
                <a:cubicBezTo>
                  <a:pt x="385" y="86"/>
                  <a:pt x="387" y="89"/>
                  <a:pt x="389" y="93"/>
                </a:cubicBezTo>
                <a:cubicBezTo>
                  <a:pt x="389" y="93"/>
                  <a:pt x="388" y="93"/>
                  <a:pt x="386" y="94"/>
                </a:cubicBezTo>
                <a:cubicBezTo>
                  <a:pt x="387" y="99"/>
                  <a:pt x="387" y="99"/>
                  <a:pt x="387" y="99"/>
                </a:cubicBezTo>
                <a:cubicBezTo>
                  <a:pt x="381" y="99"/>
                  <a:pt x="384" y="89"/>
                  <a:pt x="382" y="84"/>
                </a:cubicBezTo>
                <a:cubicBezTo>
                  <a:pt x="378" y="89"/>
                  <a:pt x="378" y="89"/>
                  <a:pt x="378" y="89"/>
                </a:cubicBezTo>
                <a:cubicBezTo>
                  <a:pt x="371" y="91"/>
                  <a:pt x="365" y="87"/>
                  <a:pt x="362" y="79"/>
                </a:cubicBezTo>
                <a:cubicBezTo>
                  <a:pt x="361" y="79"/>
                  <a:pt x="356" y="78"/>
                  <a:pt x="358" y="83"/>
                </a:cubicBezTo>
                <a:cubicBezTo>
                  <a:pt x="360" y="91"/>
                  <a:pt x="361" y="96"/>
                  <a:pt x="367" y="97"/>
                </a:cubicBezTo>
                <a:cubicBezTo>
                  <a:pt x="369" y="92"/>
                  <a:pt x="363" y="91"/>
                  <a:pt x="365" y="91"/>
                </a:cubicBezTo>
                <a:cubicBezTo>
                  <a:pt x="367" y="92"/>
                  <a:pt x="373" y="89"/>
                  <a:pt x="374" y="94"/>
                </a:cubicBezTo>
                <a:cubicBezTo>
                  <a:pt x="367" y="92"/>
                  <a:pt x="367" y="92"/>
                  <a:pt x="367" y="92"/>
                </a:cubicBezTo>
                <a:cubicBezTo>
                  <a:pt x="366" y="99"/>
                  <a:pt x="370" y="93"/>
                  <a:pt x="371" y="97"/>
                </a:cubicBezTo>
                <a:cubicBezTo>
                  <a:pt x="368" y="102"/>
                  <a:pt x="365" y="95"/>
                  <a:pt x="362" y="98"/>
                </a:cubicBezTo>
                <a:cubicBezTo>
                  <a:pt x="362" y="98"/>
                  <a:pt x="362" y="98"/>
                  <a:pt x="362" y="98"/>
                </a:cubicBezTo>
                <a:cubicBezTo>
                  <a:pt x="357" y="96"/>
                  <a:pt x="358" y="98"/>
                  <a:pt x="353" y="94"/>
                </a:cubicBezTo>
                <a:cubicBezTo>
                  <a:pt x="353" y="87"/>
                  <a:pt x="355" y="90"/>
                  <a:pt x="358" y="88"/>
                </a:cubicBezTo>
                <a:cubicBezTo>
                  <a:pt x="349" y="87"/>
                  <a:pt x="338" y="73"/>
                  <a:pt x="328" y="83"/>
                </a:cubicBezTo>
                <a:cubicBezTo>
                  <a:pt x="333" y="90"/>
                  <a:pt x="333" y="90"/>
                  <a:pt x="333" y="90"/>
                </a:cubicBezTo>
                <a:cubicBezTo>
                  <a:pt x="330" y="91"/>
                  <a:pt x="324" y="84"/>
                  <a:pt x="324" y="92"/>
                </a:cubicBezTo>
                <a:cubicBezTo>
                  <a:pt x="328" y="90"/>
                  <a:pt x="326" y="95"/>
                  <a:pt x="328" y="97"/>
                </a:cubicBezTo>
                <a:cubicBezTo>
                  <a:pt x="328" y="96"/>
                  <a:pt x="328" y="96"/>
                  <a:pt x="328" y="96"/>
                </a:cubicBezTo>
                <a:cubicBezTo>
                  <a:pt x="328" y="96"/>
                  <a:pt x="330" y="98"/>
                  <a:pt x="329" y="99"/>
                </a:cubicBezTo>
                <a:cubicBezTo>
                  <a:pt x="326" y="94"/>
                  <a:pt x="322" y="92"/>
                  <a:pt x="319" y="89"/>
                </a:cubicBezTo>
                <a:cubicBezTo>
                  <a:pt x="320" y="91"/>
                  <a:pt x="317" y="93"/>
                  <a:pt x="316" y="94"/>
                </a:cubicBezTo>
                <a:cubicBezTo>
                  <a:pt x="313" y="93"/>
                  <a:pt x="317" y="91"/>
                  <a:pt x="317" y="88"/>
                </a:cubicBezTo>
                <a:cubicBezTo>
                  <a:pt x="315" y="88"/>
                  <a:pt x="313" y="83"/>
                  <a:pt x="311" y="87"/>
                </a:cubicBezTo>
                <a:cubicBezTo>
                  <a:pt x="309" y="91"/>
                  <a:pt x="314" y="91"/>
                  <a:pt x="314" y="95"/>
                </a:cubicBezTo>
                <a:cubicBezTo>
                  <a:pt x="306" y="88"/>
                  <a:pt x="306" y="88"/>
                  <a:pt x="306" y="88"/>
                </a:cubicBezTo>
                <a:cubicBezTo>
                  <a:pt x="306" y="89"/>
                  <a:pt x="306" y="89"/>
                  <a:pt x="306" y="89"/>
                </a:cubicBezTo>
                <a:cubicBezTo>
                  <a:pt x="305" y="87"/>
                  <a:pt x="304" y="86"/>
                  <a:pt x="303" y="87"/>
                </a:cubicBezTo>
                <a:cubicBezTo>
                  <a:pt x="302" y="90"/>
                  <a:pt x="304" y="91"/>
                  <a:pt x="305" y="90"/>
                </a:cubicBezTo>
                <a:cubicBezTo>
                  <a:pt x="300" y="94"/>
                  <a:pt x="297" y="80"/>
                  <a:pt x="293" y="89"/>
                </a:cubicBezTo>
                <a:cubicBezTo>
                  <a:pt x="290" y="86"/>
                  <a:pt x="290" y="86"/>
                  <a:pt x="290" y="86"/>
                </a:cubicBezTo>
                <a:cubicBezTo>
                  <a:pt x="290" y="87"/>
                  <a:pt x="289" y="88"/>
                  <a:pt x="290" y="88"/>
                </a:cubicBezTo>
                <a:cubicBezTo>
                  <a:pt x="287" y="85"/>
                  <a:pt x="287" y="85"/>
                  <a:pt x="287" y="85"/>
                </a:cubicBezTo>
                <a:cubicBezTo>
                  <a:pt x="282" y="82"/>
                  <a:pt x="285" y="92"/>
                  <a:pt x="284" y="93"/>
                </a:cubicBezTo>
                <a:cubicBezTo>
                  <a:pt x="284" y="93"/>
                  <a:pt x="284" y="93"/>
                  <a:pt x="284" y="93"/>
                </a:cubicBezTo>
                <a:cubicBezTo>
                  <a:pt x="282" y="94"/>
                  <a:pt x="281" y="97"/>
                  <a:pt x="282" y="97"/>
                </a:cubicBezTo>
                <a:cubicBezTo>
                  <a:pt x="277" y="93"/>
                  <a:pt x="277" y="93"/>
                  <a:pt x="277" y="93"/>
                </a:cubicBezTo>
                <a:cubicBezTo>
                  <a:pt x="277" y="93"/>
                  <a:pt x="277" y="93"/>
                  <a:pt x="277" y="93"/>
                </a:cubicBezTo>
                <a:cubicBezTo>
                  <a:pt x="275" y="88"/>
                  <a:pt x="268" y="86"/>
                  <a:pt x="268" y="76"/>
                </a:cubicBezTo>
                <a:cubicBezTo>
                  <a:pt x="267" y="77"/>
                  <a:pt x="265" y="79"/>
                  <a:pt x="266" y="80"/>
                </a:cubicBezTo>
                <a:cubicBezTo>
                  <a:pt x="262" y="79"/>
                  <a:pt x="267" y="88"/>
                  <a:pt x="260" y="86"/>
                </a:cubicBezTo>
                <a:cubicBezTo>
                  <a:pt x="260" y="88"/>
                  <a:pt x="261" y="88"/>
                  <a:pt x="262" y="88"/>
                </a:cubicBezTo>
                <a:cubicBezTo>
                  <a:pt x="260" y="88"/>
                  <a:pt x="260" y="88"/>
                  <a:pt x="259" y="87"/>
                </a:cubicBezTo>
                <a:cubicBezTo>
                  <a:pt x="259" y="88"/>
                  <a:pt x="259" y="89"/>
                  <a:pt x="259" y="90"/>
                </a:cubicBezTo>
                <a:cubicBezTo>
                  <a:pt x="259" y="87"/>
                  <a:pt x="256" y="87"/>
                  <a:pt x="255" y="88"/>
                </a:cubicBezTo>
                <a:cubicBezTo>
                  <a:pt x="257" y="94"/>
                  <a:pt x="257" y="94"/>
                  <a:pt x="257" y="94"/>
                </a:cubicBezTo>
                <a:cubicBezTo>
                  <a:pt x="255" y="91"/>
                  <a:pt x="254" y="91"/>
                  <a:pt x="252" y="91"/>
                </a:cubicBezTo>
                <a:cubicBezTo>
                  <a:pt x="253" y="95"/>
                  <a:pt x="253" y="95"/>
                  <a:pt x="253" y="95"/>
                </a:cubicBezTo>
                <a:cubicBezTo>
                  <a:pt x="249" y="94"/>
                  <a:pt x="253" y="87"/>
                  <a:pt x="248" y="90"/>
                </a:cubicBezTo>
                <a:cubicBezTo>
                  <a:pt x="253" y="87"/>
                  <a:pt x="253" y="87"/>
                  <a:pt x="253" y="87"/>
                </a:cubicBezTo>
                <a:cubicBezTo>
                  <a:pt x="247" y="85"/>
                  <a:pt x="250" y="77"/>
                  <a:pt x="247" y="74"/>
                </a:cubicBezTo>
                <a:cubicBezTo>
                  <a:pt x="242" y="67"/>
                  <a:pt x="234" y="78"/>
                  <a:pt x="230" y="66"/>
                </a:cubicBezTo>
                <a:cubicBezTo>
                  <a:pt x="229" y="70"/>
                  <a:pt x="230" y="71"/>
                  <a:pt x="228" y="75"/>
                </a:cubicBezTo>
                <a:cubicBezTo>
                  <a:pt x="232" y="77"/>
                  <a:pt x="234" y="78"/>
                  <a:pt x="235" y="84"/>
                </a:cubicBezTo>
                <a:cubicBezTo>
                  <a:pt x="242" y="90"/>
                  <a:pt x="237" y="69"/>
                  <a:pt x="245" y="78"/>
                </a:cubicBezTo>
                <a:cubicBezTo>
                  <a:pt x="244" y="84"/>
                  <a:pt x="242" y="84"/>
                  <a:pt x="240" y="81"/>
                </a:cubicBezTo>
                <a:cubicBezTo>
                  <a:pt x="240" y="85"/>
                  <a:pt x="242" y="88"/>
                  <a:pt x="244" y="91"/>
                </a:cubicBezTo>
                <a:cubicBezTo>
                  <a:pt x="239" y="88"/>
                  <a:pt x="233" y="93"/>
                  <a:pt x="230" y="93"/>
                </a:cubicBezTo>
                <a:cubicBezTo>
                  <a:pt x="229" y="90"/>
                  <a:pt x="225" y="87"/>
                  <a:pt x="224" y="88"/>
                </a:cubicBezTo>
                <a:cubicBezTo>
                  <a:pt x="224" y="85"/>
                  <a:pt x="217" y="82"/>
                  <a:pt x="220" y="76"/>
                </a:cubicBezTo>
                <a:cubicBezTo>
                  <a:pt x="215" y="74"/>
                  <a:pt x="216" y="85"/>
                  <a:pt x="212" y="77"/>
                </a:cubicBezTo>
                <a:cubicBezTo>
                  <a:pt x="214" y="83"/>
                  <a:pt x="209" y="81"/>
                  <a:pt x="211" y="86"/>
                </a:cubicBezTo>
                <a:cubicBezTo>
                  <a:pt x="212" y="81"/>
                  <a:pt x="217" y="90"/>
                  <a:pt x="220" y="93"/>
                </a:cubicBezTo>
                <a:cubicBezTo>
                  <a:pt x="213" y="96"/>
                  <a:pt x="213" y="96"/>
                  <a:pt x="213" y="96"/>
                </a:cubicBezTo>
                <a:cubicBezTo>
                  <a:pt x="214" y="95"/>
                  <a:pt x="212" y="91"/>
                  <a:pt x="211" y="90"/>
                </a:cubicBezTo>
                <a:cubicBezTo>
                  <a:pt x="210" y="95"/>
                  <a:pt x="210" y="95"/>
                  <a:pt x="210" y="95"/>
                </a:cubicBezTo>
                <a:cubicBezTo>
                  <a:pt x="209" y="83"/>
                  <a:pt x="198" y="104"/>
                  <a:pt x="195" y="90"/>
                </a:cubicBezTo>
                <a:cubicBezTo>
                  <a:pt x="197" y="91"/>
                  <a:pt x="199" y="87"/>
                  <a:pt x="200" y="93"/>
                </a:cubicBezTo>
                <a:cubicBezTo>
                  <a:pt x="204" y="89"/>
                  <a:pt x="199" y="84"/>
                  <a:pt x="201" y="80"/>
                </a:cubicBezTo>
                <a:cubicBezTo>
                  <a:pt x="194" y="75"/>
                  <a:pt x="185" y="83"/>
                  <a:pt x="178" y="74"/>
                </a:cubicBezTo>
                <a:cubicBezTo>
                  <a:pt x="179" y="78"/>
                  <a:pt x="183" y="78"/>
                  <a:pt x="183" y="82"/>
                </a:cubicBezTo>
                <a:cubicBezTo>
                  <a:pt x="178" y="85"/>
                  <a:pt x="172" y="74"/>
                  <a:pt x="166" y="70"/>
                </a:cubicBezTo>
                <a:cubicBezTo>
                  <a:pt x="167" y="76"/>
                  <a:pt x="167" y="76"/>
                  <a:pt x="167" y="76"/>
                </a:cubicBezTo>
                <a:cubicBezTo>
                  <a:pt x="162" y="71"/>
                  <a:pt x="165" y="79"/>
                  <a:pt x="160" y="77"/>
                </a:cubicBezTo>
                <a:cubicBezTo>
                  <a:pt x="160" y="76"/>
                  <a:pt x="161" y="74"/>
                  <a:pt x="159" y="74"/>
                </a:cubicBezTo>
                <a:cubicBezTo>
                  <a:pt x="155" y="75"/>
                  <a:pt x="159" y="79"/>
                  <a:pt x="156" y="81"/>
                </a:cubicBezTo>
                <a:cubicBezTo>
                  <a:pt x="150" y="71"/>
                  <a:pt x="154" y="87"/>
                  <a:pt x="147" y="82"/>
                </a:cubicBezTo>
                <a:cubicBezTo>
                  <a:pt x="148" y="85"/>
                  <a:pt x="148" y="85"/>
                  <a:pt x="148" y="85"/>
                </a:cubicBezTo>
                <a:cubicBezTo>
                  <a:pt x="142" y="81"/>
                  <a:pt x="136" y="90"/>
                  <a:pt x="130" y="92"/>
                </a:cubicBezTo>
                <a:cubicBezTo>
                  <a:pt x="131" y="90"/>
                  <a:pt x="135" y="91"/>
                  <a:pt x="134" y="85"/>
                </a:cubicBezTo>
                <a:cubicBezTo>
                  <a:pt x="127" y="84"/>
                  <a:pt x="127" y="84"/>
                  <a:pt x="127" y="84"/>
                </a:cubicBezTo>
                <a:cubicBezTo>
                  <a:pt x="126" y="86"/>
                  <a:pt x="123" y="86"/>
                  <a:pt x="126" y="89"/>
                </a:cubicBezTo>
                <a:cubicBezTo>
                  <a:pt x="127" y="90"/>
                  <a:pt x="127" y="89"/>
                  <a:pt x="128" y="88"/>
                </a:cubicBezTo>
                <a:cubicBezTo>
                  <a:pt x="127" y="91"/>
                  <a:pt x="127" y="91"/>
                  <a:pt x="127" y="91"/>
                </a:cubicBezTo>
                <a:cubicBezTo>
                  <a:pt x="120" y="89"/>
                  <a:pt x="127" y="83"/>
                  <a:pt x="127" y="77"/>
                </a:cubicBezTo>
                <a:cubicBezTo>
                  <a:pt x="123" y="79"/>
                  <a:pt x="122" y="74"/>
                  <a:pt x="119" y="74"/>
                </a:cubicBezTo>
                <a:cubicBezTo>
                  <a:pt x="118" y="80"/>
                  <a:pt x="124" y="80"/>
                  <a:pt x="122" y="86"/>
                </a:cubicBezTo>
                <a:cubicBezTo>
                  <a:pt x="120" y="89"/>
                  <a:pt x="113" y="85"/>
                  <a:pt x="110" y="80"/>
                </a:cubicBezTo>
                <a:cubicBezTo>
                  <a:pt x="107" y="93"/>
                  <a:pt x="96" y="84"/>
                  <a:pt x="97" y="94"/>
                </a:cubicBezTo>
                <a:cubicBezTo>
                  <a:pt x="97" y="93"/>
                  <a:pt x="96" y="90"/>
                  <a:pt x="94" y="91"/>
                </a:cubicBezTo>
                <a:cubicBezTo>
                  <a:pt x="95" y="94"/>
                  <a:pt x="95" y="94"/>
                  <a:pt x="95" y="94"/>
                </a:cubicBezTo>
                <a:cubicBezTo>
                  <a:pt x="91" y="99"/>
                  <a:pt x="90" y="85"/>
                  <a:pt x="87" y="88"/>
                </a:cubicBezTo>
                <a:cubicBezTo>
                  <a:pt x="87" y="90"/>
                  <a:pt x="88" y="90"/>
                  <a:pt x="89" y="93"/>
                </a:cubicBezTo>
                <a:cubicBezTo>
                  <a:pt x="83" y="96"/>
                  <a:pt x="77" y="82"/>
                  <a:pt x="71" y="89"/>
                </a:cubicBezTo>
                <a:cubicBezTo>
                  <a:pt x="72" y="90"/>
                  <a:pt x="72" y="91"/>
                  <a:pt x="73" y="90"/>
                </a:cubicBezTo>
                <a:cubicBezTo>
                  <a:pt x="73" y="91"/>
                  <a:pt x="72" y="91"/>
                  <a:pt x="69" y="89"/>
                </a:cubicBezTo>
                <a:cubicBezTo>
                  <a:pt x="71" y="85"/>
                  <a:pt x="71" y="85"/>
                  <a:pt x="71" y="85"/>
                </a:cubicBezTo>
                <a:cubicBezTo>
                  <a:pt x="66" y="74"/>
                  <a:pt x="63" y="92"/>
                  <a:pt x="57" y="89"/>
                </a:cubicBezTo>
                <a:cubicBezTo>
                  <a:pt x="58" y="91"/>
                  <a:pt x="62" y="91"/>
                  <a:pt x="60" y="94"/>
                </a:cubicBezTo>
                <a:cubicBezTo>
                  <a:pt x="57" y="95"/>
                  <a:pt x="55" y="83"/>
                  <a:pt x="52" y="89"/>
                </a:cubicBezTo>
                <a:cubicBezTo>
                  <a:pt x="54" y="90"/>
                  <a:pt x="55" y="96"/>
                  <a:pt x="57" y="97"/>
                </a:cubicBezTo>
                <a:cubicBezTo>
                  <a:pt x="54" y="98"/>
                  <a:pt x="53" y="102"/>
                  <a:pt x="51" y="98"/>
                </a:cubicBezTo>
                <a:cubicBezTo>
                  <a:pt x="50" y="98"/>
                  <a:pt x="50" y="100"/>
                  <a:pt x="51" y="101"/>
                </a:cubicBezTo>
                <a:cubicBezTo>
                  <a:pt x="48" y="98"/>
                  <a:pt x="46" y="101"/>
                  <a:pt x="45" y="103"/>
                </a:cubicBezTo>
                <a:cubicBezTo>
                  <a:pt x="45" y="105"/>
                  <a:pt x="45" y="105"/>
                  <a:pt x="45" y="105"/>
                </a:cubicBezTo>
                <a:cubicBezTo>
                  <a:pt x="40" y="94"/>
                  <a:pt x="40" y="105"/>
                  <a:pt x="36" y="106"/>
                </a:cubicBezTo>
                <a:cubicBezTo>
                  <a:pt x="37" y="109"/>
                  <a:pt x="37" y="109"/>
                  <a:pt x="37" y="109"/>
                </a:cubicBezTo>
                <a:cubicBezTo>
                  <a:pt x="35" y="108"/>
                  <a:pt x="32" y="105"/>
                  <a:pt x="30" y="110"/>
                </a:cubicBezTo>
                <a:cubicBezTo>
                  <a:pt x="33" y="114"/>
                  <a:pt x="33" y="114"/>
                  <a:pt x="33" y="114"/>
                </a:cubicBezTo>
                <a:cubicBezTo>
                  <a:pt x="29" y="111"/>
                  <a:pt x="27" y="119"/>
                  <a:pt x="24" y="114"/>
                </a:cubicBezTo>
                <a:cubicBezTo>
                  <a:pt x="23" y="115"/>
                  <a:pt x="28" y="120"/>
                  <a:pt x="25" y="121"/>
                </a:cubicBezTo>
                <a:cubicBezTo>
                  <a:pt x="23" y="119"/>
                  <a:pt x="20" y="118"/>
                  <a:pt x="20" y="122"/>
                </a:cubicBezTo>
                <a:cubicBezTo>
                  <a:pt x="21" y="123"/>
                  <a:pt x="22" y="125"/>
                  <a:pt x="22" y="123"/>
                </a:cubicBezTo>
                <a:cubicBezTo>
                  <a:pt x="23" y="123"/>
                  <a:pt x="22" y="122"/>
                  <a:pt x="22" y="121"/>
                </a:cubicBezTo>
                <a:cubicBezTo>
                  <a:pt x="24" y="124"/>
                  <a:pt x="24" y="124"/>
                  <a:pt x="24" y="124"/>
                </a:cubicBezTo>
                <a:cubicBezTo>
                  <a:pt x="23" y="127"/>
                  <a:pt x="21" y="122"/>
                  <a:pt x="19" y="125"/>
                </a:cubicBezTo>
                <a:cubicBezTo>
                  <a:pt x="20" y="127"/>
                  <a:pt x="22" y="128"/>
                  <a:pt x="23" y="130"/>
                </a:cubicBezTo>
                <a:cubicBezTo>
                  <a:pt x="19" y="128"/>
                  <a:pt x="16" y="127"/>
                  <a:pt x="13" y="126"/>
                </a:cubicBezTo>
                <a:cubicBezTo>
                  <a:pt x="12" y="124"/>
                  <a:pt x="12" y="122"/>
                  <a:pt x="9" y="120"/>
                </a:cubicBezTo>
                <a:cubicBezTo>
                  <a:pt x="9" y="119"/>
                  <a:pt x="10" y="118"/>
                  <a:pt x="11" y="117"/>
                </a:cubicBezTo>
                <a:cubicBezTo>
                  <a:pt x="10" y="112"/>
                  <a:pt x="6" y="113"/>
                  <a:pt x="5" y="113"/>
                </a:cubicBezTo>
                <a:cubicBezTo>
                  <a:pt x="5" y="112"/>
                  <a:pt x="6" y="112"/>
                  <a:pt x="6" y="111"/>
                </a:cubicBezTo>
                <a:cubicBezTo>
                  <a:pt x="6" y="111"/>
                  <a:pt x="6" y="110"/>
                  <a:pt x="5" y="110"/>
                </a:cubicBezTo>
                <a:cubicBezTo>
                  <a:pt x="7" y="109"/>
                  <a:pt x="7" y="109"/>
                  <a:pt x="7" y="109"/>
                </a:cubicBezTo>
                <a:cubicBezTo>
                  <a:pt x="3" y="108"/>
                  <a:pt x="3" y="105"/>
                  <a:pt x="4" y="103"/>
                </a:cubicBezTo>
                <a:cubicBezTo>
                  <a:pt x="4" y="100"/>
                  <a:pt x="4" y="98"/>
                  <a:pt x="0" y="97"/>
                </a:cubicBezTo>
                <a:cubicBezTo>
                  <a:pt x="2" y="97"/>
                  <a:pt x="5" y="99"/>
                  <a:pt x="7" y="101"/>
                </a:cubicBezTo>
                <a:cubicBezTo>
                  <a:pt x="10" y="101"/>
                  <a:pt x="8" y="98"/>
                  <a:pt x="9" y="96"/>
                </a:cubicBezTo>
                <a:cubicBezTo>
                  <a:pt x="7" y="95"/>
                  <a:pt x="5" y="94"/>
                  <a:pt x="3" y="94"/>
                </a:cubicBezTo>
                <a:cubicBezTo>
                  <a:pt x="10" y="92"/>
                  <a:pt x="0" y="89"/>
                  <a:pt x="3" y="84"/>
                </a:cubicBezTo>
                <a:cubicBezTo>
                  <a:pt x="7" y="84"/>
                  <a:pt x="8" y="81"/>
                  <a:pt x="9" y="77"/>
                </a:cubicBezTo>
                <a:cubicBezTo>
                  <a:pt x="10" y="73"/>
                  <a:pt x="11" y="69"/>
                  <a:pt x="13" y="68"/>
                </a:cubicBezTo>
                <a:cubicBezTo>
                  <a:pt x="20" y="67"/>
                  <a:pt x="12" y="74"/>
                  <a:pt x="17" y="76"/>
                </a:cubicBezTo>
                <a:cubicBezTo>
                  <a:pt x="21" y="75"/>
                  <a:pt x="18" y="72"/>
                  <a:pt x="20" y="70"/>
                </a:cubicBezTo>
                <a:cubicBezTo>
                  <a:pt x="23" y="76"/>
                  <a:pt x="23" y="76"/>
                  <a:pt x="23" y="76"/>
                </a:cubicBezTo>
                <a:cubicBezTo>
                  <a:pt x="27" y="76"/>
                  <a:pt x="21" y="70"/>
                  <a:pt x="24" y="72"/>
                </a:cubicBezTo>
                <a:cubicBezTo>
                  <a:pt x="26" y="67"/>
                  <a:pt x="23" y="70"/>
                  <a:pt x="20" y="65"/>
                </a:cubicBezTo>
                <a:cubicBezTo>
                  <a:pt x="22" y="66"/>
                  <a:pt x="26" y="68"/>
                  <a:pt x="27" y="65"/>
                </a:cubicBezTo>
                <a:cubicBezTo>
                  <a:pt x="26" y="63"/>
                  <a:pt x="22" y="64"/>
                  <a:pt x="24" y="62"/>
                </a:cubicBezTo>
                <a:cubicBezTo>
                  <a:pt x="35" y="63"/>
                  <a:pt x="36" y="55"/>
                  <a:pt x="46" y="54"/>
                </a:cubicBezTo>
                <a:cubicBezTo>
                  <a:pt x="44" y="51"/>
                  <a:pt x="44" y="51"/>
                  <a:pt x="44" y="51"/>
                </a:cubicBezTo>
                <a:cubicBezTo>
                  <a:pt x="45" y="52"/>
                  <a:pt x="46" y="53"/>
                  <a:pt x="47" y="52"/>
                </a:cubicBezTo>
                <a:cubicBezTo>
                  <a:pt x="46" y="50"/>
                  <a:pt x="46" y="50"/>
                  <a:pt x="46" y="50"/>
                </a:cubicBezTo>
                <a:cubicBezTo>
                  <a:pt x="48" y="49"/>
                  <a:pt x="58" y="52"/>
                  <a:pt x="63" y="50"/>
                </a:cubicBezTo>
                <a:cubicBezTo>
                  <a:pt x="60" y="47"/>
                  <a:pt x="60" y="47"/>
                  <a:pt x="60" y="47"/>
                </a:cubicBezTo>
                <a:cubicBezTo>
                  <a:pt x="66" y="51"/>
                  <a:pt x="66" y="51"/>
                  <a:pt x="66" y="51"/>
                </a:cubicBezTo>
                <a:cubicBezTo>
                  <a:pt x="64" y="45"/>
                  <a:pt x="64" y="45"/>
                  <a:pt x="64" y="45"/>
                </a:cubicBezTo>
                <a:cubicBezTo>
                  <a:pt x="67" y="50"/>
                  <a:pt x="73" y="46"/>
                  <a:pt x="78" y="47"/>
                </a:cubicBezTo>
                <a:cubicBezTo>
                  <a:pt x="78" y="43"/>
                  <a:pt x="78" y="43"/>
                  <a:pt x="78" y="43"/>
                </a:cubicBezTo>
                <a:cubicBezTo>
                  <a:pt x="81" y="45"/>
                  <a:pt x="81" y="45"/>
                  <a:pt x="81" y="45"/>
                </a:cubicBezTo>
                <a:cubicBezTo>
                  <a:pt x="80" y="42"/>
                  <a:pt x="80" y="42"/>
                  <a:pt x="80" y="42"/>
                </a:cubicBezTo>
                <a:cubicBezTo>
                  <a:pt x="83" y="42"/>
                  <a:pt x="87" y="48"/>
                  <a:pt x="90" y="45"/>
                </a:cubicBezTo>
                <a:cubicBezTo>
                  <a:pt x="88" y="46"/>
                  <a:pt x="87" y="40"/>
                  <a:pt x="87" y="38"/>
                </a:cubicBezTo>
                <a:close/>
                <a:moveTo>
                  <a:pt x="211" y="42"/>
                </a:moveTo>
                <a:cubicBezTo>
                  <a:pt x="212" y="42"/>
                  <a:pt x="212" y="42"/>
                  <a:pt x="212" y="42"/>
                </a:cubicBezTo>
                <a:cubicBezTo>
                  <a:pt x="212" y="42"/>
                  <a:pt x="211" y="42"/>
                  <a:pt x="211" y="42"/>
                </a:cubicBezTo>
                <a:cubicBezTo>
                  <a:pt x="209" y="42"/>
                  <a:pt x="209" y="42"/>
                  <a:pt x="209" y="42"/>
                </a:cubicBezTo>
                <a:cubicBezTo>
                  <a:pt x="209" y="45"/>
                  <a:pt x="210" y="43"/>
                  <a:pt x="211" y="42"/>
                </a:cubicBezTo>
                <a:close/>
                <a:moveTo>
                  <a:pt x="403" y="71"/>
                </a:moveTo>
                <a:cubicBezTo>
                  <a:pt x="400" y="69"/>
                  <a:pt x="400" y="69"/>
                  <a:pt x="400" y="69"/>
                </a:cubicBezTo>
                <a:cubicBezTo>
                  <a:pt x="401" y="69"/>
                  <a:pt x="403" y="71"/>
                  <a:pt x="402" y="69"/>
                </a:cubicBezTo>
                <a:cubicBezTo>
                  <a:pt x="403" y="69"/>
                  <a:pt x="404" y="69"/>
                  <a:pt x="403" y="71"/>
                </a:cubicBezTo>
                <a:close/>
                <a:moveTo>
                  <a:pt x="206" y="78"/>
                </a:moveTo>
                <a:cubicBezTo>
                  <a:pt x="208" y="81"/>
                  <a:pt x="208" y="81"/>
                  <a:pt x="208" y="81"/>
                </a:cubicBezTo>
                <a:cubicBezTo>
                  <a:pt x="209" y="78"/>
                  <a:pt x="209" y="78"/>
                  <a:pt x="209" y="78"/>
                </a:cubicBezTo>
                <a:lnTo>
                  <a:pt x="206" y="78"/>
                </a:lnTo>
                <a:close/>
                <a:moveTo>
                  <a:pt x="179" y="79"/>
                </a:moveTo>
                <a:cubicBezTo>
                  <a:pt x="182" y="81"/>
                  <a:pt x="182" y="81"/>
                  <a:pt x="182" y="81"/>
                </a:cubicBezTo>
                <a:cubicBezTo>
                  <a:pt x="182" y="80"/>
                  <a:pt x="182" y="80"/>
                  <a:pt x="182" y="80"/>
                </a:cubicBezTo>
                <a:cubicBezTo>
                  <a:pt x="179" y="78"/>
                  <a:pt x="179" y="78"/>
                  <a:pt x="179" y="78"/>
                </a:cubicBezTo>
                <a:lnTo>
                  <a:pt x="179" y="79"/>
                </a:lnTo>
                <a:close/>
                <a:moveTo>
                  <a:pt x="140" y="47"/>
                </a:moveTo>
                <a:cubicBezTo>
                  <a:pt x="142" y="53"/>
                  <a:pt x="143" y="47"/>
                  <a:pt x="146" y="49"/>
                </a:cubicBezTo>
                <a:cubicBezTo>
                  <a:pt x="146" y="50"/>
                  <a:pt x="146" y="50"/>
                  <a:pt x="146" y="50"/>
                </a:cubicBezTo>
                <a:cubicBezTo>
                  <a:pt x="146" y="50"/>
                  <a:pt x="146" y="49"/>
                  <a:pt x="146" y="49"/>
                </a:cubicBezTo>
                <a:cubicBezTo>
                  <a:pt x="144" y="47"/>
                  <a:pt x="142" y="41"/>
                  <a:pt x="140" y="47"/>
                </a:cubicBezTo>
                <a:close/>
                <a:moveTo>
                  <a:pt x="204" y="49"/>
                </a:moveTo>
                <a:cubicBezTo>
                  <a:pt x="204" y="46"/>
                  <a:pt x="200" y="45"/>
                  <a:pt x="199" y="42"/>
                </a:cubicBezTo>
                <a:cubicBezTo>
                  <a:pt x="198" y="43"/>
                  <a:pt x="200" y="46"/>
                  <a:pt x="200" y="49"/>
                </a:cubicBezTo>
                <a:cubicBezTo>
                  <a:pt x="200" y="49"/>
                  <a:pt x="199" y="49"/>
                  <a:pt x="198" y="48"/>
                </a:cubicBezTo>
                <a:cubicBezTo>
                  <a:pt x="199" y="56"/>
                  <a:pt x="201" y="45"/>
                  <a:pt x="204" y="49"/>
                </a:cubicBezTo>
                <a:close/>
                <a:moveTo>
                  <a:pt x="270" y="55"/>
                </a:moveTo>
                <a:cubicBezTo>
                  <a:pt x="268" y="52"/>
                  <a:pt x="268" y="52"/>
                  <a:pt x="268" y="52"/>
                </a:cubicBezTo>
                <a:cubicBezTo>
                  <a:pt x="269" y="52"/>
                  <a:pt x="269" y="52"/>
                  <a:pt x="269" y="52"/>
                </a:cubicBezTo>
                <a:lnTo>
                  <a:pt x="270" y="55"/>
                </a:lnTo>
                <a:close/>
                <a:moveTo>
                  <a:pt x="284" y="53"/>
                </a:moveTo>
                <a:cubicBezTo>
                  <a:pt x="287" y="53"/>
                  <a:pt x="290" y="58"/>
                  <a:pt x="289" y="62"/>
                </a:cubicBezTo>
                <a:cubicBezTo>
                  <a:pt x="286" y="61"/>
                  <a:pt x="282" y="61"/>
                  <a:pt x="281" y="56"/>
                </a:cubicBezTo>
                <a:cubicBezTo>
                  <a:pt x="282" y="59"/>
                  <a:pt x="281" y="49"/>
                  <a:pt x="284" y="53"/>
                </a:cubicBezTo>
                <a:close/>
                <a:moveTo>
                  <a:pt x="170" y="56"/>
                </a:moveTo>
                <a:cubicBezTo>
                  <a:pt x="172" y="57"/>
                  <a:pt x="175" y="66"/>
                  <a:pt x="178" y="61"/>
                </a:cubicBezTo>
                <a:cubicBezTo>
                  <a:pt x="175" y="59"/>
                  <a:pt x="175" y="59"/>
                  <a:pt x="175" y="59"/>
                </a:cubicBezTo>
                <a:cubicBezTo>
                  <a:pt x="176" y="59"/>
                  <a:pt x="176" y="59"/>
                  <a:pt x="176" y="59"/>
                </a:cubicBezTo>
                <a:cubicBezTo>
                  <a:pt x="175" y="55"/>
                  <a:pt x="175" y="55"/>
                  <a:pt x="175" y="55"/>
                </a:cubicBezTo>
                <a:cubicBezTo>
                  <a:pt x="176" y="64"/>
                  <a:pt x="171" y="56"/>
                  <a:pt x="170" y="56"/>
                </a:cubicBezTo>
                <a:close/>
                <a:moveTo>
                  <a:pt x="310" y="61"/>
                </a:moveTo>
                <a:cubicBezTo>
                  <a:pt x="311" y="62"/>
                  <a:pt x="315" y="65"/>
                  <a:pt x="314" y="71"/>
                </a:cubicBezTo>
                <a:cubicBezTo>
                  <a:pt x="315" y="68"/>
                  <a:pt x="311" y="64"/>
                  <a:pt x="308" y="61"/>
                </a:cubicBezTo>
                <a:cubicBezTo>
                  <a:pt x="309" y="61"/>
                  <a:pt x="309" y="62"/>
                  <a:pt x="310" y="61"/>
                </a:cubicBezTo>
                <a:close/>
                <a:moveTo>
                  <a:pt x="308" y="68"/>
                </a:moveTo>
                <a:cubicBezTo>
                  <a:pt x="307" y="68"/>
                  <a:pt x="307" y="72"/>
                  <a:pt x="305" y="69"/>
                </a:cubicBezTo>
                <a:cubicBezTo>
                  <a:pt x="305" y="66"/>
                  <a:pt x="305" y="58"/>
                  <a:pt x="301" y="60"/>
                </a:cubicBezTo>
                <a:cubicBezTo>
                  <a:pt x="303" y="66"/>
                  <a:pt x="303" y="69"/>
                  <a:pt x="307" y="72"/>
                </a:cubicBezTo>
                <a:lnTo>
                  <a:pt x="308" y="68"/>
                </a:lnTo>
                <a:close/>
                <a:moveTo>
                  <a:pt x="303" y="55"/>
                </a:moveTo>
                <a:cubicBezTo>
                  <a:pt x="297" y="57"/>
                  <a:pt x="297" y="57"/>
                  <a:pt x="297" y="57"/>
                </a:cubicBezTo>
                <a:cubicBezTo>
                  <a:pt x="300" y="65"/>
                  <a:pt x="301" y="58"/>
                  <a:pt x="303" y="55"/>
                </a:cubicBezTo>
                <a:cubicBezTo>
                  <a:pt x="304" y="54"/>
                  <a:pt x="304" y="54"/>
                  <a:pt x="304" y="54"/>
                </a:cubicBezTo>
                <a:cubicBezTo>
                  <a:pt x="304" y="54"/>
                  <a:pt x="303" y="55"/>
                  <a:pt x="303" y="55"/>
                </a:cubicBezTo>
                <a:close/>
                <a:moveTo>
                  <a:pt x="339" y="60"/>
                </a:moveTo>
                <a:cubicBezTo>
                  <a:pt x="337" y="58"/>
                  <a:pt x="337" y="58"/>
                  <a:pt x="337" y="58"/>
                </a:cubicBezTo>
                <a:cubicBezTo>
                  <a:pt x="338" y="57"/>
                  <a:pt x="338" y="56"/>
                  <a:pt x="336" y="56"/>
                </a:cubicBezTo>
                <a:cubicBezTo>
                  <a:pt x="337" y="58"/>
                  <a:pt x="337" y="58"/>
                  <a:pt x="337" y="58"/>
                </a:cubicBezTo>
                <a:cubicBezTo>
                  <a:pt x="337" y="60"/>
                  <a:pt x="335" y="62"/>
                  <a:pt x="339" y="60"/>
                </a:cubicBezTo>
                <a:close/>
                <a:moveTo>
                  <a:pt x="307" y="56"/>
                </a:moveTo>
                <a:cubicBezTo>
                  <a:pt x="312" y="57"/>
                  <a:pt x="312" y="57"/>
                  <a:pt x="312" y="57"/>
                </a:cubicBezTo>
                <a:cubicBezTo>
                  <a:pt x="310" y="58"/>
                  <a:pt x="307" y="59"/>
                  <a:pt x="307" y="56"/>
                </a:cubicBezTo>
                <a:close/>
                <a:moveTo>
                  <a:pt x="329" y="64"/>
                </a:moveTo>
                <a:cubicBezTo>
                  <a:pt x="329" y="64"/>
                  <a:pt x="334" y="63"/>
                  <a:pt x="336" y="63"/>
                </a:cubicBezTo>
                <a:cubicBezTo>
                  <a:pt x="335" y="61"/>
                  <a:pt x="330" y="60"/>
                  <a:pt x="329" y="64"/>
                </a:cubicBezTo>
                <a:close/>
                <a:moveTo>
                  <a:pt x="435" y="84"/>
                </a:moveTo>
                <a:cubicBezTo>
                  <a:pt x="433" y="88"/>
                  <a:pt x="433" y="88"/>
                  <a:pt x="433" y="88"/>
                </a:cubicBezTo>
                <a:cubicBezTo>
                  <a:pt x="436" y="89"/>
                  <a:pt x="436" y="89"/>
                  <a:pt x="436" y="89"/>
                </a:cubicBezTo>
                <a:lnTo>
                  <a:pt x="435" y="84"/>
                </a:lnTo>
                <a:close/>
                <a:moveTo>
                  <a:pt x="404" y="83"/>
                </a:moveTo>
                <a:cubicBezTo>
                  <a:pt x="403" y="83"/>
                  <a:pt x="403" y="83"/>
                  <a:pt x="403" y="83"/>
                </a:cubicBezTo>
                <a:cubicBezTo>
                  <a:pt x="401" y="85"/>
                  <a:pt x="401" y="85"/>
                  <a:pt x="401" y="85"/>
                </a:cubicBezTo>
                <a:lnTo>
                  <a:pt x="404" y="83"/>
                </a:lnTo>
                <a:close/>
                <a:moveTo>
                  <a:pt x="369" y="81"/>
                </a:moveTo>
                <a:cubicBezTo>
                  <a:pt x="370" y="81"/>
                  <a:pt x="370" y="81"/>
                  <a:pt x="370" y="80"/>
                </a:cubicBezTo>
                <a:cubicBezTo>
                  <a:pt x="373" y="78"/>
                  <a:pt x="380" y="77"/>
                  <a:pt x="383" y="78"/>
                </a:cubicBezTo>
                <a:cubicBezTo>
                  <a:pt x="385" y="76"/>
                  <a:pt x="381" y="71"/>
                  <a:pt x="380" y="69"/>
                </a:cubicBezTo>
                <a:cubicBezTo>
                  <a:pt x="380" y="85"/>
                  <a:pt x="376" y="68"/>
                  <a:pt x="372" y="73"/>
                </a:cubicBezTo>
                <a:cubicBezTo>
                  <a:pt x="373" y="74"/>
                  <a:pt x="375" y="74"/>
                  <a:pt x="375" y="77"/>
                </a:cubicBezTo>
                <a:cubicBezTo>
                  <a:pt x="374" y="78"/>
                  <a:pt x="372" y="78"/>
                  <a:pt x="371" y="77"/>
                </a:cubicBezTo>
                <a:cubicBezTo>
                  <a:pt x="371" y="76"/>
                  <a:pt x="370" y="75"/>
                  <a:pt x="370" y="75"/>
                </a:cubicBezTo>
                <a:cubicBezTo>
                  <a:pt x="370" y="76"/>
                  <a:pt x="370" y="76"/>
                  <a:pt x="371" y="77"/>
                </a:cubicBezTo>
                <a:cubicBezTo>
                  <a:pt x="371" y="78"/>
                  <a:pt x="371" y="79"/>
                  <a:pt x="370" y="80"/>
                </a:cubicBezTo>
                <a:cubicBezTo>
                  <a:pt x="370" y="80"/>
                  <a:pt x="369" y="81"/>
                  <a:pt x="369" y="81"/>
                </a:cubicBezTo>
                <a:close/>
                <a:moveTo>
                  <a:pt x="326" y="77"/>
                </a:moveTo>
                <a:cubicBezTo>
                  <a:pt x="326" y="75"/>
                  <a:pt x="328" y="74"/>
                  <a:pt x="325" y="72"/>
                </a:cubicBezTo>
                <a:cubicBezTo>
                  <a:pt x="325" y="74"/>
                  <a:pt x="325" y="75"/>
                  <a:pt x="326" y="77"/>
                </a:cubicBezTo>
                <a:cubicBezTo>
                  <a:pt x="326" y="77"/>
                  <a:pt x="327" y="78"/>
                  <a:pt x="328" y="78"/>
                </a:cubicBezTo>
                <a:cubicBezTo>
                  <a:pt x="327" y="78"/>
                  <a:pt x="327" y="77"/>
                  <a:pt x="326" y="77"/>
                </a:cubicBezTo>
                <a:close/>
                <a:moveTo>
                  <a:pt x="328" y="85"/>
                </a:moveTo>
                <a:cubicBezTo>
                  <a:pt x="322" y="78"/>
                  <a:pt x="322" y="78"/>
                  <a:pt x="322" y="78"/>
                </a:cubicBezTo>
                <a:cubicBezTo>
                  <a:pt x="324" y="82"/>
                  <a:pt x="324" y="82"/>
                  <a:pt x="324" y="82"/>
                </a:cubicBezTo>
                <a:cubicBezTo>
                  <a:pt x="321" y="78"/>
                  <a:pt x="321" y="78"/>
                  <a:pt x="321" y="78"/>
                </a:cubicBezTo>
                <a:cubicBezTo>
                  <a:pt x="321" y="82"/>
                  <a:pt x="324" y="88"/>
                  <a:pt x="328" y="85"/>
                </a:cubicBezTo>
                <a:close/>
                <a:moveTo>
                  <a:pt x="313" y="79"/>
                </a:moveTo>
                <a:cubicBezTo>
                  <a:pt x="319" y="82"/>
                  <a:pt x="319" y="82"/>
                  <a:pt x="319" y="82"/>
                </a:cubicBezTo>
                <a:cubicBezTo>
                  <a:pt x="319" y="81"/>
                  <a:pt x="319" y="81"/>
                  <a:pt x="319" y="81"/>
                </a:cubicBezTo>
                <a:cubicBezTo>
                  <a:pt x="319" y="81"/>
                  <a:pt x="319" y="81"/>
                  <a:pt x="319" y="81"/>
                </a:cubicBezTo>
                <a:cubicBezTo>
                  <a:pt x="318" y="78"/>
                  <a:pt x="318" y="78"/>
                  <a:pt x="318" y="78"/>
                </a:cubicBezTo>
                <a:cubicBezTo>
                  <a:pt x="319" y="81"/>
                  <a:pt x="319" y="81"/>
                  <a:pt x="319" y="81"/>
                </a:cubicBezTo>
                <a:lnTo>
                  <a:pt x="313" y="79"/>
                </a:lnTo>
                <a:close/>
                <a:moveTo>
                  <a:pt x="260" y="69"/>
                </a:moveTo>
                <a:cubicBezTo>
                  <a:pt x="257" y="69"/>
                  <a:pt x="257" y="69"/>
                  <a:pt x="257" y="69"/>
                </a:cubicBezTo>
                <a:cubicBezTo>
                  <a:pt x="257" y="69"/>
                  <a:pt x="260" y="73"/>
                  <a:pt x="263" y="72"/>
                </a:cubicBezTo>
                <a:cubicBezTo>
                  <a:pt x="259" y="82"/>
                  <a:pt x="262" y="70"/>
                  <a:pt x="256" y="74"/>
                </a:cubicBezTo>
                <a:cubicBezTo>
                  <a:pt x="263" y="74"/>
                  <a:pt x="260" y="81"/>
                  <a:pt x="259" y="85"/>
                </a:cubicBezTo>
                <a:cubicBezTo>
                  <a:pt x="258" y="79"/>
                  <a:pt x="250" y="82"/>
                  <a:pt x="253" y="70"/>
                </a:cubicBezTo>
                <a:cubicBezTo>
                  <a:pt x="255" y="72"/>
                  <a:pt x="258" y="61"/>
                  <a:pt x="260" y="69"/>
                </a:cubicBezTo>
                <a:close/>
                <a:moveTo>
                  <a:pt x="219" y="71"/>
                </a:moveTo>
                <a:cubicBezTo>
                  <a:pt x="215" y="70"/>
                  <a:pt x="215" y="70"/>
                  <a:pt x="215" y="70"/>
                </a:cubicBezTo>
                <a:cubicBezTo>
                  <a:pt x="219" y="71"/>
                  <a:pt x="219" y="71"/>
                  <a:pt x="219" y="71"/>
                </a:cubicBezTo>
                <a:close/>
                <a:moveTo>
                  <a:pt x="113" y="80"/>
                </a:moveTo>
                <a:cubicBezTo>
                  <a:pt x="114" y="86"/>
                  <a:pt x="119" y="80"/>
                  <a:pt x="119" y="77"/>
                </a:cubicBezTo>
                <a:cubicBezTo>
                  <a:pt x="118" y="79"/>
                  <a:pt x="115" y="79"/>
                  <a:pt x="113" y="80"/>
                </a:cubicBezTo>
                <a:close/>
                <a:moveTo>
                  <a:pt x="74" y="84"/>
                </a:moveTo>
                <a:cubicBezTo>
                  <a:pt x="76" y="83"/>
                  <a:pt x="80" y="89"/>
                  <a:pt x="80" y="83"/>
                </a:cubicBezTo>
                <a:cubicBezTo>
                  <a:pt x="75" y="81"/>
                  <a:pt x="75" y="81"/>
                  <a:pt x="75" y="81"/>
                </a:cubicBezTo>
                <a:cubicBezTo>
                  <a:pt x="75" y="83"/>
                  <a:pt x="73" y="81"/>
                  <a:pt x="74" y="84"/>
                </a:cubicBezTo>
                <a:close/>
                <a:moveTo>
                  <a:pt x="47" y="91"/>
                </a:moveTo>
                <a:cubicBezTo>
                  <a:pt x="44" y="85"/>
                  <a:pt x="44" y="85"/>
                  <a:pt x="44" y="85"/>
                </a:cubicBezTo>
                <a:cubicBezTo>
                  <a:pt x="46" y="86"/>
                  <a:pt x="46" y="86"/>
                  <a:pt x="46" y="86"/>
                </a:cubicBezTo>
                <a:lnTo>
                  <a:pt x="47" y="91"/>
                </a:lnTo>
                <a:close/>
                <a:moveTo>
                  <a:pt x="53" y="97"/>
                </a:moveTo>
                <a:cubicBezTo>
                  <a:pt x="53" y="98"/>
                  <a:pt x="49" y="97"/>
                  <a:pt x="50" y="94"/>
                </a:cubicBezTo>
                <a:lnTo>
                  <a:pt x="53" y="97"/>
                </a:lnTo>
                <a:close/>
                <a:moveTo>
                  <a:pt x="25" y="100"/>
                </a:moveTo>
                <a:cubicBezTo>
                  <a:pt x="28" y="105"/>
                  <a:pt x="28" y="105"/>
                  <a:pt x="28" y="105"/>
                </a:cubicBezTo>
                <a:cubicBezTo>
                  <a:pt x="26" y="106"/>
                  <a:pt x="26" y="106"/>
                  <a:pt x="26" y="106"/>
                </a:cubicBezTo>
                <a:lnTo>
                  <a:pt x="25" y="100"/>
                </a:lnTo>
                <a:close/>
                <a:moveTo>
                  <a:pt x="25" y="95"/>
                </a:moveTo>
                <a:cubicBezTo>
                  <a:pt x="26" y="96"/>
                  <a:pt x="27" y="97"/>
                  <a:pt x="27" y="98"/>
                </a:cubicBezTo>
                <a:cubicBezTo>
                  <a:pt x="28" y="99"/>
                  <a:pt x="30" y="99"/>
                  <a:pt x="31" y="97"/>
                </a:cubicBezTo>
                <a:cubicBezTo>
                  <a:pt x="30" y="95"/>
                  <a:pt x="30" y="97"/>
                  <a:pt x="29" y="96"/>
                </a:cubicBezTo>
                <a:cubicBezTo>
                  <a:pt x="29" y="96"/>
                  <a:pt x="30" y="94"/>
                  <a:pt x="31" y="94"/>
                </a:cubicBezTo>
                <a:cubicBezTo>
                  <a:pt x="31" y="100"/>
                  <a:pt x="32" y="99"/>
                  <a:pt x="33" y="104"/>
                </a:cubicBezTo>
                <a:cubicBezTo>
                  <a:pt x="30" y="108"/>
                  <a:pt x="29" y="102"/>
                  <a:pt x="27" y="98"/>
                </a:cubicBezTo>
                <a:cubicBezTo>
                  <a:pt x="26" y="97"/>
                  <a:pt x="26" y="96"/>
                  <a:pt x="25" y="95"/>
                </a:cubicBezTo>
                <a:close/>
                <a:moveTo>
                  <a:pt x="39" y="89"/>
                </a:moveTo>
                <a:cubicBezTo>
                  <a:pt x="39" y="90"/>
                  <a:pt x="39" y="91"/>
                  <a:pt x="39" y="92"/>
                </a:cubicBezTo>
                <a:cubicBezTo>
                  <a:pt x="37" y="94"/>
                  <a:pt x="35" y="96"/>
                  <a:pt x="39" y="101"/>
                </a:cubicBezTo>
                <a:cubicBezTo>
                  <a:pt x="41" y="99"/>
                  <a:pt x="41" y="99"/>
                  <a:pt x="41" y="99"/>
                </a:cubicBezTo>
                <a:cubicBezTo>
                  <a:pt x="40" y="100"/>
                  <a:pt x="40" y="99"/>
                  <a:pt x="39" y="98"/>
                </a:cubicBezTo>
                <a:cubicBezTo>
                  <a:pt x="41" y="95"/>
                  <a:pt x="43" y="99"/>
                  <a:pt x="44" y="99"/>
                </a:cubicBezTo>
                <a:cubicBezTo>
                  <a:pt x="43" y="97"/>
                  <a:pt x="40" y="96"/>
                  <a:pt x="39" y="92"/>
                </a:cubicBezTo>
                <a:cubicBezTo>
                  <a:pt x="40" y="91"/>
                  <a:pt x="40" y="91"/>
                  <a:pt x="41" y="90"/>
                </a:cubicBezTo>
                <a:cubicBezTo>
                  <a:pt x="42" y="90"/>
                  <a:pt x="42" y="91"/>
                  <a:pt x="42" y="89"/>
                </a:cubicBezTo>
                <a:cubicBezTo>
                  <a:pt x="42" y="88"/>
                  <a:pt x="42" y="88"/>
                  <a:pt x="42" y="88"/>
                </a:cubicBezTo>
                <a:cubicBezTo>
                  <a:pt x="42" y="89"/>
                  <a:pt x="41" y="89"/>
                  <a:pt x="41" y="90"/>
                </a:cubicBezTo>
                <a:cubicBezTo>
                  <a:pt x="40" y="89"/>
                  <a:pt x="40" y="88"/>
                  <a:pt x="39" y="89"/>
                </a:cubicBezTo>
                <a:close/>
                <a:moveTo>
                  <a:pt x="22" y="92"/>
                </a:moveTo>
                <a:cubicBezTo>
                  <a:pt x="21" y="91"/>
                  <a:pt x="21" y="89"/>
                  <a:pt x="20" y="88"/>
                </a:cubicBezTo>
                <a:cubicBezTo>
                  <a:pt x="18" y="87"/>
                  <a:pt x="18" y="87"/>
                  <a:pt x="18" y="87"/>
                </a:cubicBezTo>
                <a:cubicBezTo>
                  <a:pt x="17" y="90"/>
                  <a:pt x="20" y="92"/>
                  <a:pt x="22" y="92"/>
                </a:cubicBezTo>
                <a:close/>
                <a:moveTo>
                  <a:pt x="102" y="77"/>
                </a:moveTo>
                <a:cubicBezTo>
                  <a:pt x="103" y="78"/>
                  <a:pt x="107" y="77"/>
                  <a:pt x="107" y="81"/>
                </a:cubicBezTo>
                <a:cubicBezTo>
                  <a:pt x="108" y="75"/>
                  <a:pt x="108" y="75"/>
                  <a:pt x="108" y="75"/>
                </a:cubicBezTo>
                <a:cubicBezTo>
                  <a:pt x="106" y="76"/>
                  <a:pt x="103" y="72"/>
                  <a:pt x="104" y="71"/>
                </a:cubicBezTo>
                <a:cubicBezTo>
                  <a:pt x="103" y="74"/>
                  <a:pt x="101" y="72"/>
                  <a:pt x="102" y="77"/>
                </a:cubicBezTo>
                <a:close/>
                <a:moveTo>
                  <a:pt x="213" y="71"/>
                </a:moveTo>
                <a:cubicBezTo>
                  <a:pt x="211" y="69"/>
                  <a:pt x="206" y="74"/>
                  <a:pt x="205" y="67"/>
                </a:cubicBezTo>
                <a:cubicBezTo>
                  <a:pt x="203" y="74"/>
                  <a:pt x="210" y="73"/>
                  <a:pt x="213" y="71"/>
                </a:cubicBezTo>
                <a:close/>
                <a:moveTo>
                  <a:pt x="213" y="63"/>
                </a:moveTo>
                <a:cubicBezTo>
                  <a:pt x="214" y="64"/>
                  <a:pt x="214" y="64"/>
                  <a:pt x="215" y="64"/>
                </a:cubicBezTo>
                <a:cubicBezTo>
                  <a:pt x="216" y="65"/>
                  <a:pt x="216" y="71"/>
                  <a:pt x="219" y="68"/>
                </a:cubicBezTo>
                <a:cubicBezTo>
                  <a:pt x="218" y="66"/>
                  <a:pt x="217" y="68"/>
                  <a:pt x="216" y="67"/>
                </a:cubicBezTo>
                <a:cubicBezTo>
                  <a:pt x="217" y="63"/>
                  <a:pt x="216" y="64"/>
                  <a:pt x="215" y="64"/>
                </a:cubicBezTo>
                <a:cubicBezTo>
                  <a:pt x="214" y="63"/>
                  <a:pt x="214" y="63"/>
                  <a:pt x="213" y="63"/>
                </a:cubicBezTo>
                <a:close/>
                <a:moveTo>
                  <a:pt x="150" y="60"/>
                </a:moveTo>
                <a:cubicBezTo>
                  <a:pt x="153" y="59"/>
                  <a:pt x="153" y="59"/>
                  <a:pt x="153" y="59"/>
                </a:cubicBezTo>
                <a:cubicBezTo>
                  <a:pt x="155" y="64"/>
                  <a:pt x="155" y="64"/>
                  <a:pt x="155" y="64"/>
                </a:cubicBezTo>
                <a:lnTo>
                  <a:pt x="150" y="60"/>
                </a:lnTo>
                <a:close/>
                <a:moveTo>
                  <a:pt x="119" y="56"/>
                </a:moveTo>
                <a:cubicBezTo>
                  <a:pt x="122" y="57"/>
                  <a:pt x="122" y="57"/>
                  <a:pt x="122" y="57"/>
                </a:cubicBezTo>
                <a:cubicBezTo>
                  <a:pt x="121" y="58"/>
                  <a:pt x="121" y="58"/>
                  <a:pt x="121" y="58"/>
                </a:cubicBezTo>
                <a:cubicBezTo>
                  <a:pt x="121" y="59"/>
                  <a:pt x="121" y="61"/>
                  <a:pt x="122" y="62"/>
                </a:cubicBezTo>
                <a:cubicBezTo>
                  <a:pt x="122" y="62"/>
                  <a:pt x="123" y="62"/>
                  <a:pt x="123" y="63"/>
                </a:cubicBezTo>
                <a:cubicBezTo>
                  <a:pt x="123" y="63"/>
                  <a:pt x="122" y="62"/>
                  <a:pt x="122" y="62"/>
                </a:cubicBezTo>
                <a:cubicBezTo>
                  <a:pt x="120" y="62"/>
                  <a:pt x="117" y="63"/>
                  <a:pt x="117" y="59"/>
                </a:cubicBezTo>
                <a:cubicBezTo>
                  <a:pt x="118" y="60"/>
                  <a:pt x="121" y="60"/>
                  <a:pt x="121" y="57"/>
                </a:cubicBezTo>
                <a:lnTo>
                  <a:pt x="119" y="56"/>
                </a:lnTo>
                <a:close/>
                <a:moveTo>
                  <a:pt x="56" y="61"/>
                </a:moveTo>
                <a:cubicBezTo>
                  <a:pt x="58" y="62"/>
                  <a:pt x="58" y="63"/>
                  <a:pt x="60" y="59"/>
                </a:cubicBezTo>
                <a:cubicBezTo>
                  <a:pt x="58" y="59"/>
                  <a:pt x="56" y="59"/>
                  <a:pt x="56" y="61"/>
                </a:cubicBezTo>
                <a:close/>
                <a:moveTo>
                  <a:pt x="135" y="50"/>
                </a:moveTo>
                <a:cubicBezTo>
                  <a:pt x="135" y="53"/>
                  <a:pt x="138" y="52"/>
                  <a:pt x="137" y="56"/>
                </a:cubicBezTo>
                <a:cubicBezTo>
                  <a:pt x="136" y="57"/>
                  <a:pt x="136" y="57"/>
                  <a:pt x="136" y="57"/>
                </a:cubicBezTo>
                <a:cubicBezTo>
                  <a:pt x="138" y="55"/>
                  <a:pt x="138" y="64"/>
                  <a:pt x="141" y="60"/>
                </a:cubicBezTo>
                <a:cubicBezTo>
                  <a:pt x="139" y="60"/>
                  <a:pt x="139" y="60"/>
                  <a:pt x="139" y="60"/>
                </a:cubicBezTo>
                <a:cubicBezTo>
                  <a:pt x="141" y="58"/>
                  <a:pt x="135" y="54"/>
                  <a:pt x="139" y="52"/>
                </a:cubicBezTo>
                <a:cubicBezTo>
                  <a:pt x="140" y="51"/>
                  <a:pt x="136" y="49"/>
                  <a:pt x="135" y="50"/>
                </a:cubicBezTo>
                <a:close/>
                <a:moveTo>
                  <a:pt x="50" y="54"/>
                </a:moveTo>
                <a:cubicBezTo>
                  <a:pt x="52" y="54"/>
                  <a:pt x="53" y="62"/>
                  <a:pt x="56" y="58"/>
                </a:cubicBezTo>
                <a:cubicBezTo>
                  <a:pt x="53" y="57"/>
                  <a:pt x="52" y="50"/>
                  <a:pt x="50" y="54"/>
                </a:cubicBezTo>
                <a:close/>
                <a:moveTo>
                  <a:pt x="112" y="41"/>
                </a:moveTo>
                <a:cubicBezTo>
                  <a:pt x="112" y="40"/>
                  <a:pt x="112" y="40"/>
                  <a:pt x="112" y="40"/>
                </a:cubicBezTo>
                <a:cubicBezTo>
                  <a:pt x="115" y="42"/>
                  <a:pt x="115" y="42"/>
                  <a:pt x="115" y="42"/>
                </a:cubicBezTo>
                <a:cubicBezTo>
                  <a:pt x="115" y="43"/>
                  <a:pt x="115" y="43"/>
                  <a:pt x="115" y="43"/>
                </a:cubicBezTo>
                <a:lnTo>
                  <a:pt x="112" y="41"/>
                </a:lnTo>
                <a:close/>
                <a:moveTo>
                  <a:pt x="57" y="97"/>
                </a:moveTo>
                <a:cubicBezTo>
                  <a:pt x="57" y="97"/>
                  <a:pt x="58" y="97"/>
                  <a:pt x="58" y="97"/>
                </a:cubicBezTo>
                <a:cubicBezTo>
                  <a:pt x="58" y="97"/>
                  <a:pt x="57" y="97"/>
                  <a:pt x="57" y="97"/>
                </a:cubicBezTo>
                <a:close/>
                <a:moveTo>
                  <a:pt x="224" y="88"/>
                </a:moveTo>
                <a:cubicBezTo>
                  <a:pt x="223" y="89"/>
                  <a:pt x="223" y="89"/>
                  <a:pt x="223" y="90"/>
                </a:cubicBezTo>
                <a:cubicBezTo>
                  <a:pt x="224" y="90"/>
                  <a:pt x="224" y="89"/>
                  <a:pt x="224" y="88"/>
                </a:cubicBezTo>
                <a:close/>
                <a:moveTo>
                  <a:pt x="230" y="93"/>
                </a:moveTo>
                <a:cubicBezTo>
                  <a:pt x="230" y="93"/>
                  <a:pt x="230" y="93"/>
                  <a:pt x="230" y="93"/>
                </a:cubicBezTo>
                <a:cubicBezTo>
                  <a:pt x="230" y="93"/>
                  <a:pt x="230" y="93"/>
                  <a:pt x="230" y="93"/>
                </a:cubicBezTo>
                <a:close/>
                <a:moveTo>
                  <a:pt x="465" y="113"/>
                </a:moveTo>
                <a:cubicBezTo>
                  <a:pt x="467" y="114"/>
                  <a:pt x="468" y="119"/>
                  <a:pt x="468" y="114"/>
                </a:cubicBezTo>
                <a:cubicBezTo>
                  <a:pt x="468" y="111"/>
                  <a:pt x="467" y="114"/>
                  <a:pt x="465" y="113"/>
                </a:cubicBezTo>
                <a:close/>
                <a:moveTo>
                  <a:pt x="464" y="107"/>
                </a:moveTo>
                <a:cubicBezTo>
                  <a:pt x="463" y="106"/>
                  <a:pt x="462" y="105"/>
                  <a:pt x="462" y="103"/>
                </a:cubicBezTo>
                <a:cubicBezTo>
                  <a:pt x="462" y="106"/>
                  <a:pt x="463" y="106"/>
                  <a:pt x="464" y="107"/>
                </a:cubicBezTo>
                <a:close/>
                <a:moveTo>
                  <a:pt x="464" y="107"/>
                </a:moveTo>
                <a:cubicBezTo>
                  <a:pt x="465" y="107"/>
                  <a:pt x="466" y="108"/>
                  <a:pt x="468" y="107"/>
                </a:cubicBezTo>
                <a:cubicBezTo>
                  <a:pt x="467" y="105"/>
                  <a:pt x="465" y="107"/>
                  <a:pt x="464" y="107"/>
                </a:cubicBezTo>
                <a:close/>
                <a:moveTo>
                  <a:pt x="441" y="108"/>
                </a:moveTo>
                <a:cubicBezTo>
                  <a:pt x="441" y="105"/>
                  <a:pt x="434" y="101"/>
                  <a:pt x="441" y="100"/>
                </a:cubicBezTo>
                <a:cubicBezTo>
                  <a:pt x="441" y="100"/>
                  <a:pt x="438" y="100"/>
                  <a:pt x="437" y="97"/>
                </a:cubicBezTo>
                <a:cubicBezTo>
                  <a:pt x="438" y="102"/>
                  <a:pt x="437" y="106"/>
                  <a:pt x="441" y="108"/>
                </a:cubicBezTo>
                <a:close/>
                <a:moveTo>
                  <a:pt x="431" y="94"/>
                </a:moveTo>
                <a:cubicBezTo>
                  <a:pt x="431" y="94"/>
                  <a:pt x="430" y="94"/>
                  <a:pt x="429" y="94"/>
                </a:cubicBezTo>
                <a:cubicBezTo>
                  <a:pt x="430" y="94"/>
                  <a:pt x="430" y="94"/>
                  <a:pt x="431" y="94"/>
                </a:cubicBezTo>
                <a:close/>
                <a:moveTo>
                  <a:pt x="429" y="94"/>
                </a:moveTo>
                <a:cubicBezTo>
                  <a:pt x="428" y="93"/>
                  <a:pt x="427" y="87"/>
                  <a:pt x="424" y="89"/>
                </a:cubicBezTo>
                <a:cubicBezTo>
                  <a:pt x="425" y="92"/>
                  <a:pt x="425" y="95"/>
                  <a:pt x="426" y="96"/>
                </a:cubicBezTo>
                <a:cubicBezTo>
                  <a:pt x="426" y="93"/>
                  <a:pt x="428" y="94"/>
                  <a:pt x="429" y="94"/>
                </a:cubicBezTo>
                <a:close/>
                <a:moveTo>
                  <a:pt x="357" y="102"/>
                </a:moveTo>
                <a:cubicBezTo>
                  <a:pt x="360" y="103"/>
                  <a:pt x="360" y="103"/>
                  <a:pt x="360" y="103"/>
                </a:cubicBezTo>
                <a:cubicBezTo>
                  <a:pt x="361" y="101"/>
                  <a:pt x="359" y="101"/>
                  <a:pt x="359" y="100"/>
                </a:cubicBezTo>
                <a:cubicBezTo>
                  <a:pt x="358" y="101"/>
                  <a:pt x="356" y="101"/>
                  <a:pt x="357" y="102"/>
                </a:cubicBezTo>
                <a:close/>
                <a:moveTo>
                  <a:pt x="345" y="87"/>
                </a:moveTo>
                <a:cubicBezTo>
                  <a:pt x="344" y="93"/>
                  <a:pt x="344" y="93"/>
                  <a:pt x="344" y="93"/>
                </a:cubicBezTo>
                <a:cubicBezTo>
                  <a:pt x="345" y="94"/>
                  <a:pt x="344" y="89"/>
                  <a:pt x="347" y="90"/>
                </a:cubicBezTo>
                <a:lnTo>
                  <a:pt x="345" y="87"/>
                </a:lnTo>
                <a:close/>
                <a:moveTo>
                  <a:pt x="352" y="59"/>
                </a:moveTo>
                <a:cubicBezTo>
                  <a:pt x="353" y="59"/>
                  <a:pt x="353" y="59"/>
                  <a:pt x="353" y="59"/>
                </a:cubicBezTo>
                <a:cubicBezTo>
                  <a:pt x="353" y="59"/>
                  <a:pt x="353" y="59"/>
                  <a:pt x="353" y="59"/>
                </a:cubicBezTo>
                <a:lnTo>
                  <a:pt x="352" y="59"/>
                </a:lnTo>
                <a:close/>
                <a:moveTo>
                  <a:pt x="334" y="102"/>
                </a:moveTo>
                <a:cubicBezTo>
                  <a:pt x="333" y="94"/>
                  <a:pt x="333" y="94"/>
                  <a:pt x="333" y="94"/>
                </a:cubicBezTo>
                <a:cubicBezTo>
                  <a:pt x="332" y="94"/>
                  <a:pt x="332" y="100"/>
                  <a:pt x="334" y="102"/>
                </a:cubicBezTo>
                <a:close/>
                <a:moveTo>
                  <a:pt x="318" y="98"/>
                </a:moveTo>
                <a:cubicBezTo>
                  <a:pt x="323" y="100"/>
                  <a:pt x="323" y="100"/>
                  <a:pt x="323" y="100"/>
                </a:cubicBezTo>
                <a:cubicBezTo>
                  <a:pt x="322" y="98"/>
                  <a:pt x="322" y="98"/>
                  <a:pt x="322" y="98"/>
                </a:cubicBezTo>
                <a:lnTo>
                  <a:pt x="318" y="98"/>
                </a:lnTo>
                <a:close/>
                <a:moveTo>
                  <a:pt x="305" y="93"/>
                </a:moveTo>
                <a:cubicBezTo>
                  <a:pt x="308" y="95"/>
                  <a:pt x="308" y="95"/>
                  <a:pt x="308" y="95"/>
                </a:cubicBezTo>
                <a:cubicBezTo>
                  <a:pt x="309" y="94"/>
                  <a:pt x="309" y="94"/>
                  <a:pt x="309" y="94"/>
                </a:cubicBezTo>
                <a:lnTo>
                  <a:pt x="305" y="93"/>
                </a:lnTo>
                <a:close/>
                <a:moveTo>
                  <a:pt x="173" y="79"/>
                </a:moveTo>
                <a:cubicBezTo>
                  <a:pt x="171" y="80"/>
                  <a:pt x="165" y="78"/>
                  <a:pt x="166" y="84"/>
                </a:cubicBezTo>
                <a:cubicBezTo>
                  <a:pt x="168" y="76"/>
                  <a:pt x="172" y="86"/>
                  <a:pt x="173" y="79"/>
                </a:cubicBezTo>
                <a:close/>
                <a:moveTo>
                  <a:pt x="68" y="94"/>
                </a:moveTo>
                <a:cubicBezTo>
                  <a:pt x="63" y="93"/>
                  <a:pt x="63" y="93"/>
                  <a:pt x="63" y="93"/>
                </a:cubicBezTo>
                <a:cubicBezTo>
                  <a:pt x="67" y="94"/>
                  <a:pt x="64" y="97"/>
                  <a:pt x="68" y="94"/>
                </a:cubicBezTo>
                <a:close/>
                <a:moveTo>
                  <a:pt x="424" y="167"/>
                </a:moveTo>
                <a:cubicBezTo>
                  <a:pt x="425" y="167"/>
                  <a:pt x="425" y="167"/>
                  <a:pt x="425" y="167"/>
                </a:cubicBezTo>
                <a:cubicBezTo>
                  <a:pt x="425" y="167"/>
                  <a:pt x="425" y="167"/>
                  <a:pt x="424" y="167"/>
                </a:cubicBezTo>
                <a:close/>
                <a:moveTo>
                  <a:pt x="424" y="167"/>
                </a:moveTo>
                <a:cubicBezTo>
                  <a:pt x="422" y="165"/>
                  <a:pt x="419" y="166"/>
                  <a:pt x="418" y="167"/>
                </a:cubicBezTo>
                <a:cubicBezTo>
                  <a:pt x="421" y="173"/>
                  <a:pt x="423" y="168"/>
                  <a:pt x="424" y="167"/>
                </a:cubicBezTo>
                <a:close/>
                <a:moveTo>
                  <a:pt x="427" y="177"/>
                </a:moveTo>
                <a:cubicBezTo>
                  <a:pt x="430" y="178"/>
                  <a:pt x="430" y="178"/>
                  <a:pt x="430" y="178"/>
                </a:cubicBezTo>
                <a:cubicBezTo>
                  <a:pt x="429" y="178"/>
                  <a:pt x="427" y="174"/>
                  <a:pt x="427" y="177"/>
                </a:cubicBezTo>
                <a:close/>
                <a:moveTo>
                  <a:pt x="428" y="171"/>
                </a:moveTo>
                <a:cubicBezTo>
                  <a:pt x="426" y="170"/>
                  <a:pt x="426" y="170"/>
                  <a:pt x="426" y="170"/>
                </a:cubicBezTo>
                <a:cubicBezTo>
                  <a:pt x="427" y="172"/>
                  <a:pt x="427" y="172"/>
                  <a:pt x="427" y="172"/>
                </a:cubicBezTo>
                <a:lnTo>
                  <a:pt x="428" y="171"/>
                </a:lnTo>
                <a:close/>
                <a:moveTo>
                  <a:pt x="495" y="116"/>
                </a:moveTo>
                <a:cubicBezTo>
                  <a:pt x="498" y="117"/>
                  <a:pt x="499" y="118"/>
                  <a:pt x="501" y="118"/>
                </a:cubicBezTo>
                <a:lnTo>
                  <a:pt x="495" y="116"/>
                </a:lnTo>
                <a:close/>
                <a:moveTo>
                  <a:pt x="523" y="125"/>
                </a:moveTo>
                <a:cubicBezTo>
                  <a:pt x="523" y="125"/>
                  <a:pt x="523" y="125"/>
                  <a:pt x="523" y="125"/>
                </a:cubicBezTo>
                <a:cubicBezTo>
                  <a:pt x="523" y="124"/>
                  <a:pt x="523" y="124"/>
                  <a:pt x="523" y="124"/>
                </a:cubicBezTo>
                <a:cubicBezTo>
                  <a:pt x="523" y="124"/>
                  <a:pt x="523" y="124"/>
                  <a:pt x="522" y="124"/>
                </a:cubicBezTo>
                <a:cubicBezTo>
                  <a:pt x="522" y="124"/>
                  <a:pt x="522" y="124"/>
                  <a:pt x="522" y="124"/>
                </a:cubicBezTo>
                <a:cubicBezTo>
                  <a:pt x="522" y="124"/>
                  <a:pt x="522" y="124"/>
                  <a:pt x="522" y="124"/>
                </a:cubicBezTo>
                <a:lnTo>
                  <a:pt x="523" y="125"/>
                </a:lnTo>
                <a:close/>
                <a:moveTo>
                  <a:pt x="500" y="119"/>
                </a:moveTo>
                <a:cubicBezTo>
                  <a:pt x="500" y="120"/>
                  <a:pt x="500" y="120"/>
                  <a:pt x="500" y="120"/>
                </a:cubicBezTo>
                <a:cubicBezTo>
                  <a:pt x="501" y="120"/>
                  <a:pt x="501" y="120"/>
                  <a:pt x="500" y="119"/>
                </a:cubicBezTo>
                <a:close/>
                <a:moveTo>
                  <a:pt x="466" y="136"/>
                </a:moveTo>
                <a:cubicBezTo>
                  <a:pt x="466" y="137"/>
                  <a:pt x="468" y="139"/>
                  <a:pt x="469" y="140"/>
                </a:cubicBezTo>
                <a:cubicBezTo>
                  <a:pt x="468" y="138"/>
                  <a:pt x="466" y="134"/>
                  <a:pt x="466" y="136"/>
                </a:cubicBezTo>
                <a:close/>
                <a:moveTo>
                  <a:pt x="557" y="113"/>
                </a:moveTo>
                <a:cubicBezTo>
                  <a:pt x="560" y="114"/>
                  <a:pt x="560" y="114"/>
                  <a:pt x="560" y="114"/>
                </a:cubicBezTo>
                <a:cubicBezTo>
                  <a:pt x="560" y="113"/>
                  <a:pt x="558" y="113"/>
                  <a:pt x="557" y="113"/>
                </a:cubicBezTo>
                <a:close/>
                <a:moveTo>
                  <a:pt x="575" y="142"/>
                </a:moveTo>
                <a:cubicBezTo>
                  <a:pt x="574" y="142"/>
                  <a:pt x="574" y="142"/>
                  <a:pt x="574" y="142"/>
                </a:cubicBezTo>
                <a:cubicBezTo>
                  <a:pt x="575" y="143"/>
                  <a:pt x="576" y="143"/>
                  <a:pt x="578" y="144"/>
                </a:cubicBezTo>
                <a:lnTo>
                  <a:pt x="575" y="142"/>
                </a:lnTo>
                <a:close/>
                <a:moveTo>
                  <a:pt x="502" y="122"/>
                </a:moveTo>
                <a:cubicBezTo>
                  <a:pt x="504" y="123"/>
                  <a:pt x="504" y="123"/>
                  <a:pt x="504" y="123"/>
                </a:cubicBezTo>
                <a:cubicBezTo>
                  <a:pt x="504" y="123"/>
                  <a:pt x="504" y="123"/>
                  <a:pt x="504" y="123"/>
                </a:cubicBezTo>
                <a:cubicBezTo>
                  <a:pt x="502" y="122"/>
                  <a:pt x="502" y="122"/>
                  <a:pt x="502" y="122"/>
                </a:cubicBezTo>
                <a:close/>
                <a:moveTo>
                  <a:pt x="560" y="102"/>
                </a:moveTo>
                <a:cubicBezTo>
                  <a:pt x="558" y="102"/>
                  <a:pt x="557" y="103"/>
                  <a:pt x="556" y="103"/>
                </a:cubicBezTo>
                <a:cubicBezTo>
                  <a:pt x="558" y="103"/>
                  <a:pt x="560" y="103"/>
                  <a:pt x="560" y="102"/>
                </a:cubicBezTo>
                <a:close/>
                <a:moveTo>
                  <a:pt x="523" y="124"/>
                </a:moveTo>
                <a:cubicBezTo>
                  <a:pt x="523" y="124"/>
                  <a:pt x="523" y="124"/>
                  <a:pt x="523" y="124"/>
                </a:cubicBezTo>
                <a:cubicBezTo>
                  <a:pt x="523" y="124"/>
                  <a:pt x="523" y="124"/>
                  <a:pt x="523" y="124"/>
                </a:cubicBezTo>
                <a:cubicBezTo>
                  <a:pt x="523" y="124"/>
                  <a:pt x="523" y="124"/>
                  <a:pt x="523" y="124"/>
                </a:cubicBezTo>
                <a:close/>
                <a:moveTo>
                  <a:pt x="567" y="146"/>
                </a:moveTo>
                <a:cubicBezTo>
                  <a:pt x="566" y="146"/>
                  <a:pt x="565" y="146"/>
                  <a:pt x="564" y="146"/>
                </a:cubicBezTo>
                <a:cubicBezTo>
                  <a:pt x="565" y="147"/>
                  <a:pt x="567" y="147"/>
                  <a:pt x="567" y="146"/>
                </a:cubicBezTo>
                <a:close/>
                <a:moveTo>
                  <a:pt x="470" y="141"/>
                </a:moveTo>
                <a:cubicBezTo>
                  <a:pt x="469" y="140"/>
                  <a:pt x="469" y="140"/>
                  <a:pt x="469" y="140"/>
                </a:cubicBezTo>
                <a:cubicBezTo>
                  <a:pt x="470" y="141"/>
                  <a:pt x="470" y="141"/>
                  <a:pt x="470" y="141"/>
                </a:cubicBezTo>
                <a:close/>
                <a:moveTo>
                  <a:pt x="431" y="163"/>
                </a:moveTo>
                <a:cubicBezTo>
                  <a:pt x="430" y="162"/>
                  <a:pt x="429" y="160"/>
                  <a:pt x="429" y="161"/>
                </a:cubicBezTo>
                <a:cubicBezTo>
                  <a:pt x="430" y="162"/>
                  <a:pt x="430" y="163"/>
                  <a:pt x="431" y="163"/>
                </a:cubicBezTo>
                <a:close/>
                <a:moveTo>
                  <a:pt x="458" y="4"/>
                </a:moveTo>
                <a:cubicBezTo>
                  <a:pt x="458" y="5"/>
                  <a:pt x="458" y="5"/>
                  <a:pt x="458" y="5"/>
                </a:cubicBezTo>
                <a:cubicBezTo>
                  <a:pt x="458" y="4"/>
                  <a:pt x="458" y="4"/>
                  <a:pt x="458" y="4"/>
                </a:cubicBezTo>
                <a:close/>
                <a:moveTo>
                  <a:pt x="461" y="34"/>
                </a:moveTo>
                <a:cubicBezTo>
                  <a:pt x="461" y="33"/>
                  <a:pt x="462" y="33"/>
                  <a:pt x="462" y="33"/>
                </a:cubicBezTo>
                <a:cubicBezTo>
                  <a:pt x="461" y="33"/>
                  <a:pt x="460" y="34"/>
                  <a:pt x="461" y="34"/>
                </a:cubicBezTo>
                <a:close/>
                <a:moveTo>
                  <a:pt x="524" y="32"/>
                </a:moveTo>
                <a:cubicBezTo>
                  <a:pt x="520" y="39"/>
                  <a:pt x="520" y="39"/>
                  <a:pt x="520" y="39"/>
                </a:cubicBezTo>
                <a:cubicBezTo>
                  <a:pt x="523" y="38"/>
                  <a:pt x="524" y="39"/>
                  <a:pt x="526" y="37"/>
                </a:cubicBezTo>
                <a:cubicBezTo>
                  <a:pt x="523" y="40"/>
                  <a:pt x="523" y="40"/>
                  <a:pt x="523" y="40"/>
                </a:cubicBezTo>
                <a:cubicBezTo>
                  <a:pt x="526" y="39"/>
                  <a:pt x="526" y="39"/>
                  <a:pt x="526" y="39"/>
                </a:cubicBezTo>
                <a:cubicBezTo>
                  <a:pt x="533" y="42"/>
                  <a:pt x="517" y="57"/>
                  <a:pt x="531" y="58"/>
                </a:cubicBezTo>
                <a:cubicBezTo>
                  <a:pt x="532" y="57"/>
                  <a:pt x="532" y="57"/>
                  <a:pt x="532" y="57"/>
                </a:cubicBezTo>
                <a:cubicBezTo>
                  <a:pt x="528" y="64"/>
                  <a:pt x="528" y="64"/>
                  <a:pt x="528" y="64"/>
                </a:cubicBezTo>
                <a:cubicBezTo>
                  <a:pt x="529" y="64"/>
                  <a:pt x="534" y="62"/>
                  <a:pt x="536" y="62"/>
                </a:cubicBezTo>
                <a:cubicBezTo>
                  <a:pt x="531" y="64"/>
                  <a:pt x="536" y="64"/>
                  <a:pt x="532" y="67"/>
                </a:cubicBezTo>
                <a:cubicBezTo>
                  <a:pt x="535" y="67"/>
                  <a:pt x="536" y="65"/>
                  <a:pt x="537" y="64"/>
                </a:cubicBezTo>
                <a:cubicBezTo>
                  <a:pt x="541" y="64"/>
                  <a:pt x="541" y="66"/>
                  <a:pt x="541" y="68"/>
                </a:cubicBezTo>
                <a:cubicBezTo>
                  <a:pt x="541" y="69"/>
                  <a:pt x="540" y="69"/>
                  <a:pt x="541" y="69"/>
                </a:cubicBezTo>
                <a:cubicBezTo>
                  <a:pt x="541" y="71"/>
                  <a:pt x="541" y="71"/>
                  <a:pt x="541" y="71"/>
                </a:cubicBezTo>
                <a:cubicBezTo>
                  <a:pt x="541" y="72"/>
                  <a:pt x="541" y="72"/>
                  <a:pt x="542" y="73"/>
                </a:cubicBezTo>
                <a:cubicBezTo>
                  <a:pt x="542" y="75"/>
                  <a:pt x="544" y="77"/>
                  <a:pt x="546" y="78"/>
                </a:cubicBezTo>
                <a:cubicBezTo>
                  <a:pt x="540" y="76"/>
                  <a:pt x="538" y="75"/>
                  <a:pt x="536" y="74"/>
                </a:cubicBezTo>
                <a:cubicBezTo>
                  <a:pt x="535" y="73"/>
                  <a:pt x="535" y="73"/>
                  <a:pt x="534" y="72"/>
                </a:cubicBezTo>
                <a:cubicBezTo>
                  <a:pt x="533" y="72"/>
                  <a:pt x="533" y="72"/>
                  <a:pt x="532" y="72"/>
                </a:cubicBezTo>
                <a:cubicBezTo>
                  <a:pt x="531" y="73"/>
                  <a:pt x="531" y="73"/>
                  <a:pt x="532" y="74"/>
                </a:cubicBezTo>
                <a:cubicBezTo>
                  <a:pt x="533" y="75"/>
                  <a:pt x="533" y="76"/>
                  <a:pt x="534" y="76"/>
                </a:cubicBezTo>
                <a:cubicBezTo>
                  <a:pt x="536" y="77"/>
                  <a:pt x="538" y="79"/>
                  <a:pt x="538" y="82"/>
                </a:cubicBezTo>
                <a:cubicBezTo>
                  <a:pt x="539" y="78"/>
                  <a:pt x="539" y="78"/>
                  <a:pt x="539" y="78"/>
                </a:cubicBezTo>
                <a:cubicBezTo>
                  <a:pt x="544" y="78"/>
                  <a:pt x="544" y="81"/>
                  <a:pt x="545" y="83"/>
                </a:cubicBezTo>
                <a:cubicBezTo>
                  <a:pt x="545" y="86"/>
                  <a:pt x="545" y="88"/>
                  <a:pt x="550" y="87"/>
                </a:cubicBezTo>
                <a:cubicBezTo>
                  <a:pt x="550" y="89"/>
                  <a:pt x="549" y="91"/>
                  <a:pt x="548" y="94"/>
                </a:cubicBezTo>
                <a:cubicBezTo>
                  <a:pt x="546" y="96"/>
                  <a:pt x="545" y="98"/>
                  <a:pt x="548" y="99"/>
                </a:cubicBezTo>
                <a:cubicBezTo>
                  <a:pt x="550" y="99"/>
                  <a:pt x="553" y="98"/>
                  <a:pt x="555" y="97"/>
                </a:cubicBezTo>
                <a:cubicBezTo>
                  <a:pt x="558" y="101"/>
                  <a:pt x="558" y="101"/>
                  <a:pt x="558" y="101"/>
                </a:cubicBezTo>
                <a:cubicBezTo>
                  <a:pt x="552" y="101"/>
                  <a:pt x="552" y="101"/>
                  <a:pt x="552" y="101"/>
                </a:cubicBezTo>
                <a:cubicBezTo>
                  <a:pt x="553" y="103"/>
                  <a:pt x="554" y="103"/>
                  <a:pt x="556" y="103"/>
                </a:cubicBezTo>
                <a:cubicBezTo>
                  <a:pt x="553" y="105"/>
                  <a:pt x="554" y="106"/>
                  <a:pt x="554" y="108"/>
                </a:cubicBezTo>
                <a:cubicBezTo>
                  <a:pt x="555" y="109"/>
                  <a:pt x="556" y="111"/>
                  <a:pt x="554" y="113"/>
                </a:cubicBezTo>
                <a:cubicBezTo>
                  <a:pt x="557" y="113"/>
                  <a:pt x="557" y="113"/>
                  <a:pt x="557" y="113"/>
                </a:cubicBezTo>
                <a:cubicBezTo>
                  <a:pt x="557" y="114"/>
                  <a:pt x="556" y="114"/>
                  <a:pt x="555" y="114"/>
                </a:cubicBezTo>
                <a:cubicBezTo>
                  <a:pt x="562" y="115"/>
                  <a:pt x="562" y="118"/>
                  <a:pt x="568" y="119"/>
                </a:cubicBezTo>
                <a:cubicBezTo>
                  <a:pt x="569" y="118"/>
                  <a:pt x="570" y="115"/>
                  <a:pt x="566" y="115"/>
                </a:cubicBezTo>
                <a:cubicBezTo>
                  <a:pt x="571" y="112"/>
                  <a:pt x="573" y="119"/>
                  <a:pt x="575" y="121"/>
                </a:cubicBezTo>
                <a:cubicBezTo>
                  <a:pt x="570" y="119"/>
                  <a:pt x="571" y="121"/>
                  <a:pt x="570" y="122"/>
                </a:cubicBezTo>
                <a:cubicBezTo>
                  <a:pt x="572" y="123"/>
                  <a:pt x="572" y="122"/>
                  <a:pt x="573" y="123"/>
                </a:cubicBezTo>
                <a:cubicBezTo>
                  <a:pt x="577" y="125"/>
                  <a:pt x="574" y="126"/>
                  <a:pt x="572" y="126"/>
                </a:cubicBezTo>
                <a:cubicBezTo>
                  <a:pt x="570" y="127"/>
                  <a:pt x="569" y="127"/>
                  <a:pt x="577" y="130"/>
                </a:cubicBezTo>
                <a:cubicBezTo>
                  <a:pt x="570" y="129"/>
                  <a:pt x="570" y="129"/>
                  <a:pt x="570" y="129"/>
                </a:cubicBezTo>
                <a:cubicBezTo>
                  <a:pt x="578" y="133"/>
                  <a:pt x="578" y="133"/>
                  <a:pt x="578" y="133"/>
                </a:cubicBezTo>
                <a:cubicBezTo>
                  <a:pt x="570" y="131"/>
                  <a:pt x="570" y="132"/>
                  <a:pt x="571" y="133"/>
                </a:cubicBezTo>
                <a:cubicBezTo>
                  <a:pt x="571" y="134"/>
                  <a:pt x="572" y="135"/>
                  <a:pt x="564" y="133"/>
                </a:cubicBezTo>
                <a:cubicBezTo>
                  <a:pt x="566" y="135"/>
                  <a:pt x="574" y="135"/>
                  <a:pt x="573" y="136"/>
                </a:cubicBezTo>
                <a:cubicBezTo>
                  <a:pt x="577" y="139"/>
                  <a:pt x="570" y="139"/>
                  <a:pt x="572" y="141"/>
                </a:cubicBezTo>
                <a:cubicBezTo>
                  <a:pt x="572" y="141"/>
                  <a:pt x="572" y="142"/>
                  <a:pt x="574" y="142"/>
                </a:cubicBezTo>
                <a:cubicBezTo>
                  <a:pt x="573" y="142"/>
                  <a:pt x="572" y="142"/>
                  <a:pt x="571" y="142"/>
                </a:cubicBezTo>
                <a:cubicBezTo>
                  <a:pt x="570" y="142"/>
                  <a:pt x="570" y="142"/>
                  <a:pt x="570" y="142"/>
                </a:cubicBezTo>
                <a:cubicBezTo>
                  <a:pt x="568" y="142"/>
                  <a:pt x="568" y="142"/>
                  <a:pt x="567" y="142"/>
                </a:cubicBezTo>
                <a:cubicBezTo>
                  <a:pt x="565" y="143"/>
                  <a:pt x="564" y="143"/>
                  <a:pt x="561" y="143"/>
                </a:cubicBezTo>
                <a:cubicBezTo>
                  <a:pt x="568" y="146"/>
                  <a:pt x="568" y="146"/>
                  <a:pt x="568" y="146"/>
                </a:cubicBezTo>
                <a:cubicBezTo>
                  <a:pt x="565" y="145"/>
                  <a:pt x="561" y="144"/>
                  <a:pt x="561" y="145"/>
                </a:cubicBezTo>
                <a:cubicBezTo>
                  <a:pt x="561" y="145"/>
                  <a:pt x="563" y="146"/>
                  <a:pt x="564" y="146"/>
                </a:cubicBezTo>
                <a:cubicBezTo>
                  <a:pt x="555" y="146"/>
                  <a:pt x="552" y="146"/>
                  <a:pt x="548" y="147"/>
                </a:cubicBezTo>
                <a:cubicBezTo>
                  <a:pt x="552" y="149"/>
                  <a:pt x="554" y="151"/>
                  <a:pt x="558" y="151"/>
                </a:cubicBezTo>
                <a:cubicBezTo>
                  <a:pt x="558" y="153"/>
                  <a:pt x="554" y="152"/>
                  <a:pt x="549" y="152"/>
                </a:cubicBezTo>
                <a:cubicBezTo>
                  <a:pt x="545" y="151"/>
                  <a:pt x="540" y="151"/>
                  <a:pt x="538" y="152"/>
                </a:cubicBezTo>
                <a:cubicBezTo>
                  <a:pt x="541" y="154"/>
                  <a:pt x="541" y="154"/>
                  <a:pt x="541" y="154"/>
                </a:cubicBezTo>
                <a:cubicBezTo>
                  <a:pt x="534" y="152"/>
                  <a:pt x="534" y="152"/>
                  <a:pt x="534" y="152"/>
                </a:cubicBezTo>
                <a:cubicBezTo>
                  <a:pt x="536" y="153"/>
                  <a:pt x="537" y="154"/>
                  <a:pt x="539" y="155"/>
                </a:cubicBezTo>
                <a:cubicBezTo>
                  <a:pt x="535" y="157"/>
                  <a:pt x="527" y="159"/>
                  <a:pt x="518" y="153"/>
                </a:cubicBezTo>
                <a:cubicBezTo>
                  <a:pt x="521" y="154"/>
                  <a:pt x="520" y="158"/>
                  <a:pt x="526" y="160"/>
                </a:cubicBezTo>
                <a:cubicBezTo>
                  <a:pt x="521" y="158"/>
                  <a:pt x="517" y="158"/>
                  <a:pt x="514" y="159"/>
                </a:cubicBezTo>
                <a:cubicBezTo>
                  <a:pt x="510" y="159"/>
                  <a:pt x="507" y="160"/>
                  <a:pt x="504" y="160"/>
                </a:cubicBezTo>
                <a:cubicBezTo>
                  <a:pt x="504" y="160"/>
                  <a:pt x="504" y="160"/>
                  <a:pt x="504" y="160"/>
                </a:cubicBezTo>
                <a:cubicBezTo>
                  <a:pt x="501" y="158"/>
                  <a:pt x="501" y="158"/>
                  <a:pt x="501" y="158"/>
                </a:cubicBezTo>
                <a:cubicBezTo>
                  <a:pt x="501" y="159"/>
                  <a:pt x="501" y="159"/>
                  <a:pt x="501" y="159"/>
                </a:cubicBezTo>
                <a:cubicBezTo>
                  <a:pt x="503" y="160"/>
                  <a:pt x="503" y="160"/>
                  <a:pt x="503" y="160"/>
                </a:cubicBezTo>
                <a:cubicBezTo>
                  <a:pt x="501" y="160"/>
                  <a:pt x="498" y="159"/>
                  <a:pt x="496" y="158"/>
                </a:cubicBezTo>
                <a:cubicBezTo>
                  <a:pt x="496" y="159"/>
                  <a:pt x="497" y="163"/>
                  <a:pt x="496" y="165"/>
                </a:cubicBezTo>
                <a:cubicBezTo>
                  <a:pt x="495" y="162"/>
                  <a:pt x="494" y="164"/>
                  <a:pt x="493" y="166"/>
                </a:cubicBezTo>
                <a:cubicBezTo>
                  <a:pt x="492" y="167"/>
                  <a:pt x="491" y="169"/>
                  <a:pt x="489" y="166"/>
                </a:cubicBezTo>
                <a:cubicBezTo>
                  <a:pt x="489" y="167"/>
                  <a:pt x="490" y="167"/>
                  <a:pt x="490" y="169"/>
                </a:cubicBezTo>
                <a:cubicBezTo>
                  <a:pt x="485" y="169"/>
                  <a:pt x="477" y="165"/>
                  <a:pt x="473" y="171"/>
                </a:cubicBezTo>
                <a:cubicBezTo>
                  <a:pt x="469" y="161"/>
                  <a:pt x="466" y="165"/>
                  <a:pt x="461" y="162"/>
                </a:cubicBezTo>
                <a:cubicBezTo>
                  <a:pt x="463" y="168"/>
                  <a:pt x="464" y="164"/>
                  <a:pt x="466" y="168"/>
                </a:cubicBezTo>
                <a:cubicBezTo>
                  <a:pt x="464" y="167"/>
                  <a:pt x="469" y="176"/>
                  <a:pt x="464" y="172"/>
                </a:cubicBezTo>
                <a:cubicBezTo>
                  <a:pt x="465" y="173"/>
                  <a:pt x="465" y="174"/>
                  <a:pt x="465" y="173"/>
                </a:cubicBezTo>
                <a:cubicBezTo>
                  <a:pt x="464" y="174"/>
                  <a:pt x="463" y="166"/>
                  <a:pt x="461" y="169"/>
                </a:cubicBezTo>
                <a:cubicBezTo>
                  <a:pt x="463" y="173"/>
                  <a:pt x="463" y="173"/>
                  <a:pt x="463" y="173"/>
                </a:cubicBezTo>
                <a:cubicBezTo>
                  <a:pt x="459" y="168"/>
                  <a:pt x="459" y="168"/>
                  <a:pt x="459" y="168"/>
                </a:cubicBezTo>
                <a:cubicBezTo>
                  <a:pt x="455" y="172"/>
                  <a:pt x="450" y="171"/>
                  <a:pt x="448" y="177"/>
                </a:cubicBezTo>
                <a:cubicBezTo>
                  <a:pt x="447" y="176"/>
                  <a:pt x="446" y="174"/>
                  <a:pt x="446" y="172"/>
                </a:cubicBezTo>
                <a:cubicBezTo>
                  <a:pt x="445" y="173"/>
                  <a:pt x="440" y="167"/>
                  <a:pt x="439" y="172"/>
                </a:cubicBezTo>
                <a:cubicBezTo>
                  <a:pt x="440" y="174"/>
                  <a:pt x="440" y="174"/>
                  <a:pt x="440" y="174"/>
                </a:cubicBezTo>
                <a:cubicBezTo>
                  <a:pt x="438" y="179"/>
                  <a:pt x="435" y="170"/>
                  <a:pt x="430" y="170"/>
                </a:cubicBezTo>
                <a:cubicBezTo>
                  <a:pt x="431" y="170"/>
                  <a:pt x="434" y="172"/>
                  <a:pt x="432" y="167"/>
                </a:cubicBezTo>
                <a:cubicBezTo>
                  <a:pt x="431" y="164"/>
                  <a:pt x="429" y="165"/>
                  <a:pt x="429" y="168"/>
                </a:cubicBezTo>
                <a:cubicBezTo>
                  <a:pt x="427" y="162"/>
                  <a:pt x="427" y="162"/>
                  <a:pt x="427" y="162"/>
                </a:cubicBezTo>
                <a:cubicBezTo>
                  <a:pt x="429" y="165"/>
                  <a:pt x="431" y="164"/>
                  <a:pt x="432" y="166"/>
                </a:cubicBezTo>
                <a:cubicBezTo>
                  <a:pt x="432" y="165"/>
                  <a:pt x="431" y="164"/>
                  <a:pt x="431" y="163"/>
                </a:cubicBezTo>
                <a:cubicBezTo>
                  <a:pt x="433" y="164"/>
                  <a:pt x="434" y="164"/>
                  <a:pt x="436" y="165"/>
                </a:cubicBezTo>
                <a:cubicBezTo>
                  <a:pt x="434" y="166"/>
                  <a:pt x="434" y="166"/>
                  <a:pt x="434" y="166"/>
                </a:cubicBezTo>
                <a:cubicBezTo>
                  <a:pt x="437" y="171"/>
                  <a:pt x="438" y="164"/>
                  <a:pt x="439" y="166"/>
                </a:cubicBezTo>
                <a:cubicBezTo>
                  <a:pt x="437" y="161"/>
                  <a:pt x="436" y="162"/>
                  <a:pt x="436" y="158"/>
                </a:cubicBezTo>
                <a:cubicBezTo>
                  <a:pt x="439" y="154"/>
                  <a:pt x="440" y="162"/>
                  <a:pt x="445" y="166"/>
                </a:cubicBezTo>
                <a:cubicBezTo>
                  <a:pt x="445" y="167"/>
                  <a:pt x="445" y="167"/>
                  <a:pt x="445" y="167"/>
                </a:cubicBezTo>
                <a:cubicBezTo>
                  <a:pt x="447" y="168"/>
                  <a:pt x="450" y="173"/>
                  <a:pt x="450" y="168"/>
                </a:cubicBezTo>
                <a:cubicBezTo>
                  <a:pt x="448" y="165"/>
                  <a:pt x="447" y="165"/>
                  <a:pt x="446" y="164"/>
                </a:cubicBezTo>
                <a:cubicBezTo>
                  <a:pt x="445" y="162"/>
                  <a:pt x="450" y="169"/>
                  <a:pt x="450" y="165"/>
                </a:cubicBezTo>
                <a:cubicBezTo>
                  <a:pt x="447" y="161"/>
                  <a:pt x="444" y="160"/>
                  <a:pt x="442" y="161"/>
                </a:cubicBezTo>
                <a:cubicBezTo>
                  <a:pt x="442" y="159"/>
                  <a:pt x="441" y="158"/>
                  <a:pt x="440" y="156"/>
                </a:cubicBezTo>
                <a:cubicBezTo>
                  <a:pt x="447" y="158"/>
                  <a:pt x="455" y="162"/>
                  <a:pt x="459" y="157"/>
                </a:cubicBezTo>
                <a:cubicBezTo>
                  <a:pt x="454" y="151"/>
                  <a:pt x="460" y="156"/>
                  <a:pt x="457" y="150"/>
                </a:cubicBezTo>
                <a:cubicBezTo>
                  <a:pt x="459" y="154"/>
                  <a:pt x="459" y="149"/>
                  <a:pt x="462" y="151"/>
                </a:cubicBezTo>
                <a:cubicBezTo>
                  <a:pt x="460" y="145"/>
                  <a:pt x="457" y="148"/>
                  <a:pt x="457" y="144"/>
                </a:cubicBezTo>
                <a:cubicBezTo>
                  <a:pt x="460" y="144"/>
                  <a:pt x="468" y="152"/>
                  <a:pt x="471" y="149"/>
                </a:cubicBezTo>
                <a:cubicBezTo>
                  <a:pt x="470" y="147"/>
                  <a:pt x="469" y="147"/>
                  <a:pt x="468" y="146"/>
                </a:cubicBezTo>
                <a:cubicBezTo>
                  <a:pt x="471" y="147"/>
                  <a:pt x="478" y="158"/>
                  <a:pt x="477" y="149"/>
                </a:cubicBezTo>
                <a:cubicBezTo>
                  <a:pt x="475" y="147"/>
                  <a:pt x="473" y="144"/>
                  <a:pt x="470" y="141"/>
                </a:cubicBezTo>
                <a:cubicBezTo>
                  <a:pt x="471" y="141"/>
                  <a:pt x="471" y="141"/>
                  <a:pt x="471" y="139"/>
                </a:cubicBezTo>
                <a:cubicBezTo>
                  <a:pt x="469" y="135"/>
                  <a:pt x="469" y="135"/>
                  <a:pt x="469" y="135"/>
                </a:cubicBezTo>
                <a:cubicBezTo>
                  <a:pt x="471" y="133"/>
                  <a:pt x="474" y="143"/>
                  <a:pt x="477" y="147"/>
                </a:cubicBezTo>
                <a:cubicBezTo>
                  <a:pt x="477" y="141"/>
                  <a:pt x="477" y="141"/>
                  <a:pt x="477" y="141"/>
                </a:cubicBezTo>
                <a:cubicBezTo>
                  <a:pt x="478" y="139"/>
                  <a:pt x="480" y="139"/>
                  <a:pt x="482" y="139"/>
                </a:cubicBezTo>
                <a:cubicBezTo>
                  <a:pt x="484" y="140"/>
                  <a:pt x="486" y="143"/>
                  <a:pt x="488" y="146"/>
                </a:cubicBezTo>
                <a:cubicBezTo>
                  <a:pt x="489" y="145"/>
                  <a:pt x="491" y="145"/>
                  <a:pt x="488" y="140"/>
                </a:cubicBezTo>
                <a:cubicBezTo>
                  <a:pt x="486" y="137"/>
                  <a:pt x="484" y="135"/>
                  <a:pt x="483" y="133"/>
                </a:cubicBezTo>
                <a:cubicBezTo>
                  <a:pt x="482" y="131"/>
                  <a:pt x="481" y="130"/>
                  <a:pt x="479" y="131"/>
                </a:cubicBezTo>
                <a:cubicBezTo>
                  <a:pt x="480" y="135"/>
                  <a:pt x="483" y="135"/>
                  <a:pt x="482" y="136"/>
                </a:cubicBezTo>
                <a:cubicBezTo>
                  <a:pt x="481" y="135"/>
                  <a:pt x="480" y="140"/>
                  <a:pt x="477" y="136"/>
                </a:cubicBezTo>
                <a:cubicBezTo>
                  <a:pt x="481" y="135"/>
                  <a:pt x="481" y="135"/>
                  <a:pt x="481" y="135"/>
                </a:cubicBezTo>
                <a:cubicBezTo>
                  <a:pt x="478" y="128"/>
                  <a:pt x="479" y="135"/>
                  <a:pt x="477" y="132"/>
                </a:cubicBezTo>
                <a:cubicBezTo>
                  <a:pt x="477" y="129"/>
                  <a:pt x="478" y="129"/>
                  <a:pt x="479" y="129"/>
                </a:cubicBezTo>
                <a:cubicBezTo>
                  <a:pt x="479" y="129"/>
                  <a:pt x="480" y="129"/>
                  <a:pt x="480" y="129"/>
                </a:cubicBezTo>
                <a:cubicBezTo>
                  <a:pt x="480" y="129"/>
                  <a:pt x="481" y="129"/>
                  <a:pt x="481" y="128"/>
                </a:cubicBezTo>
                <a:cubicBezTo>
                  <a:pt x="480" y="128"/>
                  <a:pt x="480" y="128"/>
                  <a:pt x="480" y="128"/>
                </a:cubicBezTo>
                <a:cubicBezTo>
                  <a:pt x="482" y="129"/>
                  <a:pt x="481" y="127"/>
                  <a:pt x="485" y="130"/>
                </a:cubicBezTo>
                <a:cubicBezTo>
                  <a:pt x="488" y="136"/>
                  <a:pt x="486" y="134"/>
                  <a:pt x="486" y="136"/>
                </a:cubicBezTo>
                <a:cubicBezTo>
                  <a:pt x="488" y="136"/>
                  <a:pt x="491" y="138"/>
                  <a:pt x="495" y="139"/>
                </a:cubicBezTo>
                <a:cubicBezTo>
                  <a:pt x="499" y="139"/>
                  <a:pt x="502" y="139"/>
                  <a:pt x="499" y="133"/>
                </a:cubicBezTo>
                <a:cubicBezTo>
                  <a:pt x="497" y="132"/>
                  <a:pt x="495" y="131"/>
                  <a:pt x="493" y="129"/>
                </a:cubicBezTo>
                <a:cubicBezTo>
                  <a:pt x="493" y="128"/>
                  <a:pt x="500" y="132"/>
                  <a:pt x="493" y="126"/>
                </a:cubicBezTo>
                <a:cubicBezTo>
                  <a:pt x="494" y="128"/>
                  <a:pt x="490" y="124"/>
                  <a:pt x="489" y="123"/>
                </a:cubicBezTo>
                <a:cubicBezTo>
                  <a:pt x="489" y="123"/>
                  <a:pt x="489" y="123"/>
                  <a:pt x="489" y="123"/>
                </a:cubicBezTo>
                <a:cubicBezTo>
                  <a:pt x="489" y="123"/>
                  <a:pt x="488" y="122"/>
                  <a:pt x="487" y="121"/>
                </a:cubicBezTo>
                <a:cubicBezTo>
                  <a:pt x="491" y="125"/>
                  <a:pt x="494" y="126"/>
                  <a:pt x="497" y="127"/>
                </a:cubicBezTo>
                <a:cubicBezTo>
                  <a:pt x="495" y="126"/>
                  <a:pt x="494" y="124"/>
                  <a:pt x="493" y="123"/>
                </a:cubicBezTo>
                <a:cubicBezTo>
                  <a:pt x="495" y="123"/>
                  <a:pt x="496" y="125"/>
                  <a:pt x="498" y="127"/>
                </a:cubicBezTo>
                <a:cubicBezTo>
                  <a:pt x="499" y="128"/>
                  <a:pt x="505" y="131"/>
                  <a:pt x="501" y="127"/>
                </a:cubicBezTo>
                <a:cubicBezTo>
                  <a:pt x="498" y="124"/>
                  <a:pt x="496" y="125"/>
                  <a:pt x="493" y="122"/>
                </a:cubicBezTo>
                <a:cubicBezTo>
                  <a:pt x="496" y="123"/>
                  <a:pt x="499" y="125"/>
                  <a:pt x="502" y="126"/>
                </a:cubicBezTo>
                <a:cubicBezTo>
                  <a:pt x="501" y="125"/>
                  <a:pt x="501" y="125"/>
                  <a:pt x="501" y="125"/>
                </a:cubicBezTo>
                <a:cubicBezTo>
                  <a:pt x="502" y="126"/>
                  <a:pt x="504" y="127"/>
                  <a:pt x="503" y="126"/>
                </a:cubicBezTo>
                <a:cubicBezTo>
                  <a:pt x="500" y="124"/>
                  <a:pt x="499" y="123"/>
                  <a:pt x="499" y="124"/>
                </a:cubicBezTo>
                <a:cubicBezTo>
                  <a:pt x="497" y="122"/>
                  <a:pt x="501" y="124"/>
                  <a:pt x="504" y="125"/>
                </a:cubicBezTo>
                <a:cubicBezTo>
                  <a:pt x="506" y="126"/>
                  <a:pt x="509" y="126"/>
                  <a:pt x="504" y="123"/>
                </a:cubicBezTo>
                <a:cubicBezTo>
                  <a:pt x="508" y="125"/>
                  <a:pt x="508" y="125"/>
                  <a:pt x="508" y="125"/>
                </a:cubicBezTo>
                <a:cubicBezTo>
                  <a:pt x="507" y="124"/>
                  <a:pt x="506" y="123"/>
                  <a:pt x="505" y="123"/>
                </a:cubicBezTo>
                <a:cubicBezTo>
                  <a:pt x="510" y="125"/>
                  <a:pt x="510" y="125"/>
                  <a:pt x="510" y="125"/>
                </a:cubicBezTo>
                <a:cubicBezTo>
                  <a:pt x="515" y="126"/>
                  <a:pt x="502" y="120"/>
                  <a:pt x="500" y="119"/>
                </a:cubicBezTo>
                <a:cubicBezTo>
                  <a:pt x="500" y="119"/>
                  <a:pt x="500" y="119"/>
                  <a:pt x="500" y="119"/>
                </a:cubicBezTo>
                <a:cubicBezTo>
                  <a:pt x="499" y="119"/>
                  <a:pt x="496" y="117"/>
                  <a:pt x="495" y="116"/>
                </a:cubicBezTo>
                <a:cubicBezTo>
                  <a:pt x="497" y="117"/>
                  <a:pt x="499" y="118"/>
                  <a:pt x="501" y="118"/>
                </a:cubicBezTo>
                <a:cubicBezTo>
                  <a:pt x="501" y="118"/>
                  <a:pt x="501" y="118"/>
                  <a:pt x="501" y="118"/>
                </a:cubicBezTo>
                <a:cubicBezTo>
                  <a:pt x="509" y="122"/>
                  <a:pt x="514" y="122"/>
                  <a:pt x="529" y="127"/>
                </a:cubicBezTo>
                <a:cubicBezTo>
                  <a:pt x="529" y="127"/>
                  <a:pt x="528" y="127"/>
                  <a:pt x="528" y="126"/>
                </a:cubicBezTo>
                <a:cubicBezTo>
                  <a:pt x="526" y="126"/>
                  <a:pt x="526" y="126"/>
                  <a:pt x="526" y="126"/>
                </a:cubicBezTo>
                <a:cubicBezTo>
                  <a:pt x="525" y="125"/>
                  <a:pt x="524" y="125"/>
                  <a:pt x="523" y="124"/>
                </a:cubicBezTo>
                <a:cubicBezTo>
                  <a:pt x="523" y="124"/>
                  <a:pt x="522" y="124"/>
                  <a:pt x="521" y="123"/>
                </a:cubicBezTo>
                <a:cubicBezTo>
                  <a:pt x="518" y="122"/>
                  <a:pt x="511" y="120"/>
                  <a:pt x="512" y="119"/>
                </a:cubicBezTo>
                <a:cubicBezTo>
                  <a:pt x="509" y="118"/>
                  <a:pt x="510" y="119"/>
                  <a:pt x="509" y="119"/>
                </a:cubicBezTo>
                <a:cubicBezTo>
                  <a:pt x="509" y="118"/>
                  <a:pt x="509" y="118"/>
                  <a:pt x="511" y="119"/>
                </a:cubicBezTo>
                <a:cubicBezTo>
                  <a:pt x="505" y="117"/>
                  <a:pt x="505" y="117"/>
                  <a:pt x="505" y="117"/>
                </a:cubicBezTo>
                <a:cubicBezTo>
                  <a:pt x="511" y="119"/>
                  <a:pt x="509" y="117"/>
                  <a:pt x="508" y="117"/>
                </a:cubicBezTo>
                <a:cubicBezTo>
                  <a:pt x="499" y="114"/>
                  <a:pt x="499" y="114"/>
                  <a:pt x="499" y="114"/>
                </a:cubicBezTo>
                <a:cubicBezTo>
                  <a:pt x="503" y="116"/>
                  <a:pt x="504" y="116"/>
                  <a:pt x="502" y="115"/>
                </a:cubicBezTo>
                <a:cubicBezTo>
                  <a:pt x="497" y="113"/>
                  <a:pt x="497" y="113"/>
                  <a:pt x="497" y="113"/>
                </a:cubicBezTo>
                <a:cubicBezTo>
                  <a:pt x="498" y="113"/>
                  <a:pt x="509" y="117"/>
                  <a:pt x="503" y="114"/>
                </a:cubicBezTo>
                <a:cubicBezTo>
                  <a:pt x="505" y="115"/>
                  <a:pt x="507" y="116"/>
                  <a:pt x="509" y="117"/>
                </a:cubicBezTo>
                <a:cubicBezTo>
                  <a:pt x="510" y="116"/>
                  <a:pt x="521" y="119"/>
                  <a:pt x="526" y="120"/>
                </a:cubicBezTo>
                <a:cubicBezTo>
                  <a:pt x="529" y="120"/>
                  <a:pt x="526" y="118"/>
                  <a:pt x="525" y="116"/>
                </a:cubicBezTo>
                <a:cubicBezTo>
                  <a:pt x="523" y="115"/>
                  <a:pt x="523" y="114"/>
                  <a:pt x="531" y="114"/>
                </a:cubicBezTo>
                <a:cubicBezTo>
                  <a:pt x="528" y="113"/>
                  <a:pt x="526" y="113"/>
                  <a:pt x="524" y="113"/>
                </a:cubicBezTo>
                <a:cubicBezTo>
                  <a:pt x="522" y="112"/>
                  <a:pt x="521" y="112"/>
                  <a:pt x="518" y="112"/>
                </a:cubicBezTo>
                <a:cubicBezTo>
                  <a:pt x="517" y="113"/>
                  <a:pt x="516" y="113"/>
                  <a:pt x="509" y="112"/>
                </a:cubicBezTo>
                <a:cubicBezTo>
                  <a:pt x="502" y="113"/>
                  <a:pt x="529" y="117"/>
                  <a:pt x="519" y="117"/>
                </a:cubicBezTo>
                <a:cubicBezTo>
                  <a:pt x="511" y="115"/>
                  <a:pt x="511" y="115"/>
                  <a:pt x="514" y="115"/>
                </a:cubicBezTo>
                <a:cubicBezTo>
                  <a:pt x="508" y="113"/>
                  <a:pt x="504" y="113"/>
                  <a:pt x="502" y="113"/>
                </a:cubicBezTo>
                <a:cubicBezTo>
                  <a:pt x="503" y="113"/>
                  <a:pt x="501" y="112"/>
                  <a:pt x="500" y="111"/>
                </a:cubicBezTo>
                <a:cubicBezTo>
                  <a:pt x="498" y="110"/>
                  <a:pt x="496" y="110"/>
                  <a:pt x="496" y="109"/>
                </a:cubicBezTo>
                <a:cubicBezTo>
                  <a:pt x="499" y="110"/>
                  <a:pt x="502" y="109"/>
                  <a:pt x="501" y="109"/>
                </a:cubicBezTo>
                <a:cubicBezTo>
                  <a:pt x="505" y="109"/>
                  <a:pt x="506" y="107"/>
                  <a:pt x="515" y="108"/>
                </a:cubicBezTo>
                <a:cubicBezTo>
                  <a:pt x="516" y="106"/>
                  <a:pt x="503" y="107"/>
                  <a:pt x="511" y="105"/>
                </a:cubicBezTo>
                <a:cubicBezTo>
                  <a:pt x="505" y="106"/>
                  <a:pt x="506" y="104"/>
                  <a:pt x="501" y="105"/>
                </a:cubicBezTo>
                <a:cubicBezTo>
                  <a:pt x="504" y="105"/>
                  <a:pt x="503" y="106"/>
                  <a:pt x="501" y="106"/>
                </a:cubicBezTo>
                <a:cubicBezTo>
                  <a:pt x="499" y="107"/>
                  <a:pt x="496" y="107"/>
                  <a:pt x="494" y="107"/>
                </a:cubicBezTo>
                <a:cubicBezTo>
                  <a:pt x="493" y="107"/>
                  <a:pt x="491" y="106"/>
                  <a:pt x="490" y="106"/>
                </a:cubicBezTo>
                <a:cubicBezTo>
                  <a:pt x="492" y="106"/>
                  <a:pt x="495" y="106"/>
                  <a:pt x="496" y="105"/>
                </a:cubicBezTo>
                <a:cubicBezTo>
                  <a:pt x="491" y="105"/>
                  <a:pt x="491" y="105"/>
                  <a:pt x="491" y="105"/>
                </a:cubicBezTo>
                <a:cubicBezTo>
                  <a:pt x="497" y="105"/>
                  <a:pt x="494" y="104"/>
                  <a:pt x="492" y="104"/>
                </a:cubicBezTo>
                <a:cubicBezTo>
                  <a:pt x="489" y="103"/>
                  <a:pt x="487" y="103"/>
                  <a:pt x="494" y="101"/>
                </a:cubicBezTo>
                <a:cubicBezTo>
                  <a:pt x="494" y="102"/>
                  <a:pt x="498" y="102"/>
                  <a:pt x="492" y="103"/>
                </a:cubicBezTo>
                <a:cubicBezTo>
                  <a:pt x="494" y="103"/>
                  <a:pt x="496" y="103"/>
                  <a:pt x="499" y="102"/>
                </a:cubicBezTo>
                <a:cubicBezTo>
                  <a:pt x="501" y="102"/>
                  <a:pt x="503" y="101"/>
                  <a:pt x="506" y="101"/>
                </a:cubicBezTo>
                <a:cubicBezTo>
                  <a:pt x="508" y="100"/>
                  <a:pt x="506" y="98"/>
                  <a:pt x="505" y="97"/>
                </a:cubicBezTo>
                <a:cubicBezTo>
                  <a:pt x="504" y="95"/>
                  <a:pt x="503" y="94"/>
                  <a:pt x="506" y="91"/>
                </a:cubicBezTo>
                <a:cubicBezTo>
                  <a:pt x="503" y="93"/>
                  <a:pt x="504" y="94"/>
                  <a:pt x="500" y="96"/>
                </a:cubicBezTo>
                <a:cubicBezTo>
                  <a:pt x="498" y="95"/>
                  <a:pt x="500" y="94"/>
                  <a:pt x="502" y="91"/>
                </a:cubicBezTo>
                <a:cubicBezTo>
                  <a:pt x="504" y="89"/>
                  <a:pt x="506" y="85"/>
                  <a:pt x="507" y="83"/>
                </a:cubicBezTo>
                <a:cubicBezTo>
                  <a:pt x="502" y="86"/>
                  <a:pt x="502" y="86"/>
                  <a:pt x="502" y="86"/>
                </a:cubicBezTo>
                <a:cubicBezTo>
                  <a:pt x="506" y="82"/>
                  <a:pt x="500" y="87"/>
                  <a:pt x="500" y="83"/>
                </a:cubicBezTo>
                <a:cubicBezTo>
                  <a:pt x="501" y="83"/>
                  <a:pt x="503" y="82"/>
                  <a:pt x="503" y="82"/>
                </a:cubicBezTo>
                <a:cubicBezTo>
                  <a:pt x="501" y="80"/>
                  <a:pt x="498" y="84"/>
                  <a:pt x="496" y="83"/>
                </a:cubicBezTo>
                <a:cubicBezTo>
                  <a:pt x="503" y="76"/>
                  <a:pt x="489" y="85"/>
                  <a:pt x="492" y="79"/>
                </a:cubicBezTo>
                <a:cubicBezTo>
                  <a:pt x="490" y="80"/>
                  <a:pt x="490" y="80"/>
                  <a:pt x="490" y="80"/>
                </a:cubicBezTo>
                <a:cubicBezTo>
                  <a:pt x="493" y="76"/>
                  <a:pt x="483" y="77"/>
                  <a:pt x="481" y="74"/>
                </a:cubicBezTo>
                <a:cubicBezTo>
                  <a:pt x="482" y="74"/>
                  <a:pt x="482" y="77"/>
                  <a:pt x="487" y="74"/>
                </a:cubicBezTo>
                <a:cubicBezTo>
                  <a:pt x="487" y="69"/>
                  <a:pt x="487" y="69"/>
                  <a:pt x="487" y="69"/>
                </a:cubicBezTo>
                <a:cubicBezTo>
                  <a:pt x="485" y="70"/>
                  <a:pt x="484" y="69"/>
                  <a:pt x="482" y="71"/>
                </a:cubicBezTo>
                <a:cubicBezTo>
                  <a:pt x="481" y="72"/>
                  <a:pt x="483" y="72"/>
                  <a:pt x="483" y="72"/>
                </a:cubicBezTo>
                <a:cubicBezTo>
                  <a:pt x="480" y="73"/>
                  <a:pt x="480" y="73"/>
                  <a:pt x="480" y="73"/>
                </a:cubicBezTo>
                <a:cubicBezTo>
                  <a:pt x="481" y="68"/>
                  <a:pt x="488" y="69"/>
                  <a:pt x="493" y="67"/>
                </a:cubicBezTo>
                <a:cubicBezTo>
                  <a:pt x="491" y="66"/>
                  <a:pt x="495" y="63"/>
                  <a:pt x="495" y="62"/>
                </a:cubicBezTo>
                <a:cubicBezTo>
                  <a:pt x="489" y="63"/>
                  <a:pt x="490" y="66"/>
                  <a:pt x="484" y="68"/>
                </a:cubicBezTo>
                <a:cubicBezTo>
                  <a:pt x="481" y="68"/>
                  <a:pt x="483" y="62"/>
                  <a:pt x="488" y="59"/>
                </a:cubicBezTo>
                <a:cubicBezTo>
                  <a:pt x="475" y="63"/>
                  <a:pt x="482" y="53"/>
                  <a:pt x="473" y="57"/>
                </a:cubicBezTo>
                <a:cubicBezTo>
                  <a:pt x="474" y="57"/>
                  <a:pt x="477" y="55"/>
                  <a:pt x="475" y="55"/>
                </a:cubicBezTo>
                <a:cubicBezTo>
                  <a:pt x="473" y="56"/>
                  <a:pt x="473" y="56"/>
                  <a:pt x="473" y="56"/>
                </a:cubicBezTo>
                <a:cubicBezTo>
                  <a:pt x="468" y="55"/>
                  <a:pt x="480" y="50"/>
                  <a:pt x="477" y="49"/>
                </a:cubicBezTo>
                <a:cubicBezTo>
                  <a:pt x="476" y="50"/>
                  <a:pt x="475" y="51"/>
                  <a:pt x="473" y="52"/>
                </a:cubicBezTo>
                <a:cubicBezTo>
                  <a:pt x="470" y="50"/>
                  <a:pt x="482" y="42"/>
                  <a:pt x="475" y="41"/>
                </a:cubicBezTo>
                <a:cubicBezTo>
                  <a:pt x="475" y="42"/>
                  <a:pt x="474" y="42"/>
                  <a:pt x="474" y="42"/>
                </a:cubicBezTo>
                <a:cubicBezTo>
                  <a:pt x="473" y="43"/>
                  <a:pt x="473" y="42"/>
                  <a:pt x="475" y="40"/>
                </a:cubicBezTo>
                <a:cubicBezTo>
                  <a:pt x="479" y="40"/>
                  <a:pt x="479" y="40"/>
                  <a:pt x="479" y="40"/>
                </a:cubicBezTo>
                <a:cubicBezTo>
                  <a:pt x="489" y="34"/>
                  <a:pt x="472" y="37"/>
                  <a:pt x="474" y="33"/>
                </a:cubicBezTo>
                <a:cubicBezTo>
                  <a:pt x="472" y="34"/>
                  <a:pt x="473" y="36"/>
                  <a:pt x="469" y="36"/>
                </a:cubicBezTo>
                <a:cubicBezTo>
                  <a:pt x="468" y="35"/>
                  <a:pt x="480" y="30"/>
                  <a:pt x="474" y="30"/>
                </a:cubicBezTo>
                <a:cubicBezTo>
                  <a:pt x="473" y="32"/>
                  <a:pt x="467" y="34"/>
                  <a:pt x="467" y="35"/>
                </a:cubicBezTo>
                <a:cubicBezTo>
                  <a:pt x="465" y="34"/>
                  <a:pt x="462" y="34"/>
                  <a:pt x="466" y="32"/>
                </a:cubicBezTo>
                <a:cubicBezTo>
                  <a:pt x="465" y="32"/>
                  <a:pt x="463" y="32"/>
                  <a:pt x="462" y="33"/>
                </a:cubicBezTo>
                <a:cubicBezTo>
                  <a:pt x="465" y="31"/>
                  <a:pt x="462" y="30"/>
                  <a:pt x="461" y="29"/>
                </a:cubicBezTo>
                <a:cubicBezTo>
                  <a:pt x="459" y="30"/>
                  <a:pt x="459" y="30"/>
                  <a:pt x="459" y="30"/>
                </a:cubicBezTo>
                <a:cubicBezTo>
                  <a:pt x="469" y="24"/>
                  <a:pt x="458" y="27"/>
                  <a:pt x="458" y="25"/>
                </a:cubicBezTo>
                <a:cubicBezTo>
                  <a:pt x="455" y="26"/>
                  <a:pt x="455" y="26"/>
                  <a:pt x="455" y="26"/>
                </a:cubicBezTo>
                <a:cubicBezTo>
                  <a:pt x="456" y="25"/>
                  <a:pt x="459" y="22"/>
                  <a:pt x="454" y="22"/>
                </a:cubicBezTo>
                <a:cubicBezTo>
                  <a:pt x="451" y="24"/>
                  <a:pt x="451" y="24"/>
                  <a:pt x="451" y="24"/>
                </a:cubicBezTo>
                <a:cubicBezTo>
                  <a:pt x="453" y="22"/>
                  <a:pt x="446" y="21"/>
                  <a:pt x="451" y="18"/>
                </a:cubicBezTo>
                <a:cubicBezTo>
                  <a:pt x="450" y="18"/>
                  <a:pt x="445" y="22"/>
                  <a:pt x="444" y="20"/>
                </a:cubicBezTo>
                <a:cubicBezTo>
                  <a:pt x="446" y="18"/>
                  <a:pt x="447" y="16"/>
                  <a:pt x="444" y="16"/>
                </a:cubicBezTo>
                <a:cubicBezTo>
                  <a:pt x="442" y="17"/>
                  <a:pt x="440" y="18"/>
                  <a:pt x="442" y="18"/>
                </a:cubicBezTo>
                <a:cubicBezTo>
                  <a:pt x="443" y="18"/>
                  <a:pt x="443" y="18"/>
                  <a:pt x="444" y="17"/>
                </a:cubicBezTo>
                <a:cubicBezTo>
                  <a:pt x="441" y="19"/>
                  <a:pt x="441" y="19"/>
                  <a:pt x="441" y="19"/>
                </a:cubicBezTo>
                <a:cubicBezTo>
                  <a:pt x="438" y="18"/>
                  <a:pt x="443" y="17"/>
                  <a:pt x="441" y="15"/>
                </a:cubicBezTo>
                <a:cubicBezTo>
                  <a:pt x="439" y="16"/>
                  <a:pt x="438" y="17"/>
                  <a:pt x="436" y="18"/>
                </a:cubicBezTo>
                <a:cubicBezTo>
                  <a:pt x="437" y="15"/>
                  <a:pt x="439" y="12"/>
                  <a:pt x="440" y="8"/>
                </a:cubicBezTo>
                <a:cubicBezTo>
                  <a:pt x="443" y="7"/>
                  <a:pt x="444" y="8"/>
                  <a:pt x="448" y="6"/>
                </a:cubicBezTo>
                <a:cubicBezTo>
                  <a:pt x="448" y="7"/>
                  <a:pt x="449" y="7"/>
                  <a:pt x="450" y="8"/>
                </a:cubicBezTo>
                <a:cubicBezTo>
                  <a:pt x="455" y="8"/>
                  <a:pt x="454" y="5"/>
                  <a:pt x="455" y="3"/>
                </a:cubicBezTo>
                <a:cubicBezTo>
                  <a:pt x="456" y="5"/>
                  <a:pt x="456" y="5"/>
                  <a:pt x="456" y="5"/>
                </a:cubicBezTo>
                <a:cubicBezTo>
                  <a:pt x="457" y="5"/>
                  <a:pt x="458" y="5"/>
                  <a:pt x="458" y="5"/>
                </a:cubicBezTo>
                <a:cubicBezTo>
                  <a:pt x="458" y="6"/>
                  <a:pt x="458" y="6"/>
                  <a:pt x="458" y="6"/>
                </a:cubicBezTo>
                <a:cubicBezTo>
                  <a:pt x="463" y="0"/>
                  <a:pt x="468" y="6"/>
                  <a:pt x="471" y="1"/>
                </a:cubicBezTo>
                <a:cubicBezTo>
                  <a:pt x="471" y="2"/>
                  <a:pt x="468" y="4"/>
                  <a:pt x="466" y="6"/>
                </a:cubicBezTo>
                <a:cubicBezTo>
                  <a:pt x="465" y="8"/>
                  <a:pt x="468" y="6"/>
                  <a:pt x="470" y="6"/>
                </a:cubicBezTo>
                <a:cubicBezTo>
                  <a:pt x="474" y="2"/>
                  <a:pt x="474" y="2"/>
                  <a:pt x="474" y="2"/>
                </a:cubicBezTo>
                <a:cubicBezTo>
                  <a:pt x="473" y="7"/>
                  <a:pt x="478" y="0"/>
                  <a:pt x="482" y="2"/>
                </a:cubicBezTo>
                <a:cubicBezTo>
                  <a:pt x="480" y="6"/>
                  <a:pt x="495" y="3"/>
                  <a:pt x="496" y="4"/>
                </a:cubicBezTo>
                <a:cubicBezTo>
                  <a:pt x="496" y="7"/>
                  <a:pt x="490" y="5"/>
                  <a:pt x="488" y="8"/>
                </a:cubicBezTo>
                <a:cubicBezTo>
                  <a:pt x="488" y="9"/>
                  <a:pt x="491" y="7"/>
                  <a:pt x="493" y="8"/>
                </a:cubicBezTo>
                <a:cubicBezTo>
                  <a:pt x="487" y="11"/>
                  <a:pt x="487" y="11"/>
                  <a:pt x="487" y="11"/>
                </a:cubicBezTo>
                <a:cubicBezTo>
                  <a:pt x="487" y="13"/>
                  <a:pt x="493" y="9"/>
                  <a:pt x="491" y="11"/>
                </a:cubicBezTo>
                <a:cubicBezTo>
                  <a:pt x="495" y="11"/>
                  <a:pt x="493" y="9"/>
                  <a:pt x="498" y="7"/>
                </a:cubicBezTo>
                <a:cubicBezTo>
                  <a:pt x="497" y="8"/>
                  <a:pt x="495" y="11"/>
                  <a:pt x="498" y="10"/>
                </a:cubicBezTo>
                <a:cubicBezTo>
                  <a:pt x="499" y="10"/>
                  <a:pt x="499" y="8"/>
                  <a:pt x="500" y="9"/>
                </a:cubicBezTo>
                <a:cubicBezTo>
                  <a:pt x="499" y="14"/>
                  <a:pt x="506" y="13"/>
                  <a:pt x="507" y="17"/>
                </a:cubicBezTo>
                <a:cubicBezTo>
                  <a:pt x="510" y="16"/>
                  <a:pt x="510" y="16"/>
                  <a:pt x="510" y="16"/>
                </a:cubicBezTo>
                <a:cubicBezTo>
                  <a:pt x="509" y="16"/>
                  <a:pt x="508" y="17"/>
                  <a:pt x="509" y="17"/>
                </a:cubicBezTo>
                <a:cubicBezTo>
                  <a:pt x="511" y="16"/>
                  <a:pt x="511" y="16"/>
                  <a:pt x="511" y="16"/>
                </a:cubicBezTo>
                <a:cubicBezTo>
                  <a:pt x="511" y="17"/>
                  <a:pt x="509" y="23"/>
                  <a:pt x="511" y="25"/>
                </a:cubicBezTo>
                <a:cubicBezTo>
                  <a:pt x="514" y="22"/>
                  <a:pt x="514" y="22"/>
                  <a:pt x="514" y="22"/>
                </a:cubicBezTo>
                <a:cubicBezTo>
                  <a:pt x="511" y="26"/>
                  <a:pt x="511" y="26"/>
                  <a:pt x="511" y="26"/>
                </a:cubicBezTo>
                <a:cubicBezTo>
                  <a:pt x="516" y="24"/>
                  <a:pt x="516" y="24"/>
                  <a:pt x="516" y="24"/>
                </a:cubicBezTo>
                <a:cubicBezTo>
                  <a:pt x="511" y="27"/>
                  <a:pt x="516" y="28"/>
                  <a:pt x="515" y="31"/>
                </a:cubicBezTo>
                <a:cubicBezTo>
                  <a:pt x="519" y="30"/>
                  <a:pt x="519" y="30"/>
                  <a:pt x="519" y="30"/>
                </a:cubicBezTo>
                <a:cubicBezTo>
                  <a:pt x="517" y="32"/>
                  <a:pt x="517" y="32"/>
                  <a:pt x="517" y="32"/>
                </a:cubicBezTo>
                <a:cubicBezTo>
                  <a:pt x="519" y="30"/>
                  <a:pt x="519" y="30"/>
                  <a:pt x="519" y="30"/>
                </a:cubicBezTo>
                <a:cubicBezTo>
                  <a:pt x="520" y="32"/>
                  <a:pt x="515" y="36"/>
                  <a:pt x="518" y="36"/>
                </a:cubicBezTo>
                <a:cubicBezTo>
                  <a:pt x="517" y="36"/>
                  <a:pt x="522" y="33"/>
                  <a:pt x="524" y="32"/>
                </a:cubicBezTo>
                <a:close/>
                <a:moveTo>
                  <a:pt x="552" y="103"/>
                </a:moveTo>
                <a:cubicBezTo>
                  <a:pt x="552" y="104"/>
                  <a:pt x="552" y="104"/>
                  <a:pt x="552" y="104"/>
                </a:cubicBezTo>
                <a:cubicBezTo>
                  <a:pt x="553" y="103"/>
                  <a:pt x="552" y="103"/>
                  <a:pt x="552" y="103"/>
                </a:cubicBezTo>
                <a:cubicBezTo>
                  <a:pt x="551" y="101"/>
                  <a:pt x="551" y="101"/>
                  <a:pt x="551" y="101"/>
                </a:cubicBezTo>
                <a:cubicBezTo>
                  <a:pt x="547" y="102"/>
                  <a:pt x="550" y="102"/>
                  <a:pt x="552" y="103"/>
                </a:cubicBezTo>
                <a:close/>
                <a:moveTo>
                  <a:pt x="473" y="166"/>
                </a:moveTo>
                <a:cubicBezTo>
                  <a:pt x="475" y="166"/>
                  <a:pt x="475" y="166"/>
                  <a:pt x="475" y="166"/>
                </a:cubicBezTo>
                <a:cubicBezTo>
                  <a:pt x="475" y="167"/>
                  <a:pt x="473" y="165"/>
                  <a:pt x="475" y="168"/>
                </a:cubicBezTo>
                <a:cubicBezTo>
                  <a:pt x="474" y="167"/>
                  <a:pt x="474" y="168"/>
                  <a:pt x="473" y="166"/>
                </a:cubicBezTo>
                <a:close/>
                <a:moveTo>
                  <a:pt x="509" y="103"/>
                </a:moveTo>
                <a:cubicBezTo>
                  <a:pt x="506" y="104"/>
                  <a:pt x="506" y="104"/>
                  <a:pt x="506" y="104"/>
                </a:cubicBezTo>
                <a:cubicBezTo>
                  <a:pt x="510" y="104"/>
                  <a:pt x="510" y="104"/>
                  <a:pt x="510" y="104"/>
                </a:cubicBezTo>
                <a:lnTo>
                  <a:pt x="509" y="103"/>
                </a:lnTo>
                <a:close/>
                <a:moveTo>
                  <a:pt x="502" y="93"/>
                </a:moveTo>
                <a:cubicBezTo>
                  <a:pt x="502" y="94"/>
                  <a:pt x="502" y="94"/>
                  <a:pt x="501" y="95"/>
                </a:cubicBezTo>
                <a:cubicBezTo>
                  <a:pt x="502" y="95"/>
                  <a:pt x="502" y="95"/>
                  <a:pt x="502" y="95"/>
                </a:cubicBezTo>
                <a:cubicBezTo>
                  <a:pt x="502" y="94"/>
                  <a:pt x="503" y="93"/>
                  <a:pt x="503" y="93"/>
                </a:cubicBezTo>
                <a:lnTo>
                  <a:pt x="502" y="93"/>
                </a:lnTo>
                <a:close/>
                <a:moveTo>
                  <a:pt x="523" y="61"/>
                </a:moveTo>
                <a:cubicBezTo>
                  <a:pt x="518" y="65"/>
                  <a:pt x="524" y="62"/>
                  <a:pt x="522" y="64"/>
                </a:cubicBezTo>
                <a:cubicBezTo>
                  <a:pt x="522" y="64"/>
                  <a:pt x="521" y="65"/>
                  <a:pt x="521" y="65"/>
                </a:cubicBezTo>
                <a:cubicBezTo>
                  <a:pt x="522" y="65"/>
                  <a:pt x="522" y="64"/>
                  <a:pt x="522" y="64"/>
                </a:cubicBezTo>
                <a:cubicBezTo>
                  <a:pt x="524" y="63"/>
                  <a:pt x="528" y="59"/>
                  <a:pt x="523" y="61"/>
                </a:cubicBezTo>
                <a:close/>
                <a:moveTo>
                  <a:pt x="540" y="98"/>
                </a:moveTo>
                <a:cubicBezTo>
                  <a:pt x="544" y="98"/>
                  <a:pt x="543" y="95"/>
                  <a:pt x="545" y="94"/>
                </a:cubicBezTo>
                <a:cubicBezTo>
                  <a:pt x="544" y="93"/>
                  <a:pt x="541" y="95"/>
                  <a:pt x="539" y="96"/>
                </a:cubicBezTo>
                <a:cubicBezTo>
                  <a:pt x="539" y="95"/>
                  <a:pt x="539" y="95"/>
                  <a:pt x="539" y="94"/>
                </a:cubicBezTo>
                <a:cubicBezTo>
                  <a:pt x="531" y="96"/>
                  <a:pt x="543" y="96"/>
                  <a:pt x="540" y="98"/>
                </a:cubicBezTo>
                <a:close/>
                <a:moveTo>
                  <a:pt x="562" y="140"/>
                </a:moveTo>
                <a:cubicBezTo>
                  <a:pt x="565" y="140"/>
                  <a:pt x="565" y="140"/>
                  <a:pt x="565" y="140"/>
                </a:cubicBezTo>
                <a:cubicBezTo>
                  <a:pt x="568" y="141"/>
                  <a:pt x="568" y="141"/>
                  <a:pt x="568" y="141"/>
                </a:cubicBezTo>
                <a:cubicBezTo>
                  <a:pt x="569" y="141"/>
                  <a:pt x="569" y="141"/>
                  <a:pt x="569" y="141"/>
                </a:cubicBezTo>
                <a:lnTo>
                  <a:pt x="562" y="140"/>
                </a:lnTo>
                <a:close/>
                <a:moveTo>
                  <a:pt x="556" y="144"/>
                </a:moveTo>
                <a:cubicBezTo>
                  <a:pt x="554" y="145"/>
                  <a:pt x="546" y="143"/>
                  <a:pt x="541" y="140"/>
                </a:cubicBezTo>
                <a:cubicBezTo>
                  <a:pt x="544" y="140"/>
                  <a:pt x="545" y="139"/>
                  <a:pt x="553" y="142"/>
                </a:cubicBezTo>
                <a:cubicBezTo>
                  <a:pt x="548" y="140"/>
                  <a:pt x="564" y="146"/>
                  <a:pt x="556" y="144"/>
                </a:cubicBezTo>
                <a:close/>
                <a:moveTo>
                  <a:pt x="521" y="78"/>
                </a:moveTo>
                <a:cubicBezTo>
                  <a:pt x="520" y="80"/>
                  <a:pt x="513" y="85"/>
                  <a:pt x="519" y="86"/>
                </a:cubicBezTo>
                <a:cubicBezTo>
                  <a:pt x="520" y="83"/>
                  <a:pt x="520" y="83"/>
                  <a:pt x="520" y="83"/>
                </a:cubicBezTo>
                <a:cubicBezTo>
                  <a:pt x="520" y="83"/>
                  <a:pt x="520" y="83"/>
                  <a:pt x="520" y="83"/>
                </a:cubicBezTo>
                <a:cubicBezTo>
                  <a:pt x="523" y="81"/>
                  <a:pt x="523" y="81"/>
                  <a:pt x="523" y="81"/>
                </a:cubicBezTo>
                <a:cubicBezTo>
                  <a:pt x="515" y="86"/>
                  <a:pt x="521" y="79"/>
                  <a:pt x="521" y="78"/>
                </a:cubicBezTo>
                <a:close/>
                <a:moveTo>
                  <a:pt x="529" y="145"/>
                </a:moveTo>
                <a:cubicBezTo>
                  <a:pt x="528" y="146"/>
                  <a:pt x="522" y="144"/>
                  <a:pt x="516" y="140"/>
                </a:cubicBezTo>
                <a:cubicBezTo>
                  <a:pt x="519" y="142"/>
                  <a:pt x="526" y="144"/>
                  <a:pt x="531" y="146"/>
                </a:cubicBezTo>
                <a:cubicBezTo>
                  <a:pt x="530" y="145"/>
                  <a:pt x="529" y="145"/>
                  <a:pt x="529" y="145"/>
                </a:cubicBezTo>
                <a:close/>
                <a:moveTo>
                  <a:pt x="523" y="141"/>
                </a:moveTo>
                <a:cubicBezTo>
                  <a:pt x="523" y="140"/>
                  <a:pt x="518" y="137"/>
                  <a:pt x="523" y="139"/>
                </a:cubicBezTo>
                <a:cubicBezTo>
                  <a:pt x="526" y="141"/>
                  <a:pt x="536" y="147"/>
                  <a:pt x="536" y="144"/>
                </a:cubicBezTo>
                <a:cubicBezTo>
                  <a:pt x="527" y="140"/>
                  <a:pt x="524" y="138"/>
                  <a:pt x="518" y="137"/>
                </a:cubicBezTo>
                <a:lnTo>
                  <a:pt x="523" y="141"/>
                </a:lnTo>
                <a:close/>
                <a:moveTo>
                  <a:pt x="541" y="148"/>
                </a:moveTo>
                <a:cubicBezTo>
                  <a:pt x="541" y="147"/>
                  <a:pt x="541" y="146"/>
                  <a:pt x="541" y="145"/>
                </a:cubicBezTo>
                <a:cubicBezTo>
                  <a:pt x="531" y="141"/>
                  <a:pt x="539" y="146"/>
                  <a:pt x="541" y="148"/>
                </a:cubicBezTo>
                <a:cubicBezTo>
                  <a:pt x="541" y="149"/>
                  <a:pt x="541" y="149"/>
                  <a:pt x="541" y="149"/>
                </a:cubicBezTo>
                <a:cubicBezTo>
                  <a:pt x="541" y="149"/>
                  <a:pt x="541" y="148"/>
                  <a:pt x="541" y="148"/>
                </a:cubicBezTo>
                <a:close/>
                <a:moveTo>
                  <a:pt x="513" y="155"/>
                </a:moveTo>
                <a:cubicBezTo>
                  <a:pt x="515" y="156"/>
                  <a:pt x="515" y="156"/>
                  <a:pt x="515" y="156"/>
                </a:cubicBezTo>
                <a:cubicBezTo>
                  <a:pt x="516" y="157"/>
                  <a:pt x="517" y="158"/>
                  <a:pt x="518" y="157"/>
                </a:cubicBezTo>
                <a:cubicBezTo>
                  <a:pt x="515" y="156"/>
                  <a:pt x="515" y="156"/>
                  <a:pt x="515" y="156"/>
                </a:cubicBezTo>
                <a:cubicBezTo>
                  <a:pt x="514" y="154"/>
                  <a:pt x="514" y="152"/>
                  <a:pt x="513" y="155"/>
                </a:cubicBezTo>
                <a:close/>
                <a:moveTo>
                  <a:pt x="537" y="149"/>
                </a:moveTo>
                <a:cubicBezTo>
                  <a:pt x="533" y="149"/>
                  <a:pt x="533" y="149"/>
                  <a:pt x="533" y="149"/>
                </a:cubicBezTo>
                <a:cubicBezTo>
                  <a:pt x="533" y="148"/>
                  <a:pt x="533" y="146"/>
                  <a:pt x="537" y="149"/>
                </a:cubicBezTo>
                <a:close/>
                <a:moveTo>
                  <a:pt x="516" y="149"/>
                </a:moveTo>
                <a:cubicBezTo>
                  <a:pt x="516" y="149"/>
                  <a:pt x="513" y="150"/>
                  <a:pt x="512" y="151"/>
                </a:cubicBezTo>
                <a:cubicBezTo>
                  <a:pt x="514" y="152"/>
                  <a:pt x="518" y="152"/>
                  <a:pt x="516" y="149"/>
                </a:cubicBezTo>
                <a:close/>
                <a:moveTo>
                  <a:pt x="455" y="166"/>
                </a:moveTo>
                <a:cubicBezTo>
                  <a:pt x="454" y="162"/>
                  <a:pt x="454" y="162"/>
                  <a:pt x="454" y="162"/>
                </a:cubicBezTo>
                <a:cubicBezTo>
                  <a:pt x="452" y="162"/>
                  <a:pt x="452" y="162"/>
                  <a:pt x="452" y="162"/>
                </a:cubicBezTo>
                <a:lnTo>
                  <a:pt x="455" y="166"/>
                </a:lnTo>
                <a:close/>
                <a:moveTo>
                  <a:pt x="468" y="155"/>
                </a:moveTo>
                <a:cubicBezTo>
                  <a:pt x="469" y="155"/>
                  <a:pt x="469" y="155"/>
                  <a:pt x="469" y="155"/>
                </a:cubicBezTo>
                <a:cubicBezTo>
                  <a:pt x="468" y="153"/>
                  <a:pt x="468" y="153"/>
                  <a:pt x="468" y="153"/>
                </a:cubicBezTo>
                <a:lnTo>
                  <a:pt x="468" y="155"/>
                </a:lnTo>
                <a:close/>
                <a:moveTo>
                  <a:pt x="484" y="145"/>
                </a:moveTo>
                <a:cubicBezTo>
                  <a:pt x="484" y="146"/>
                  <a:pt x="484" y="146"/>
                  <a:pt x="484" y="147"/>
                </a:cubicBezTo>
                <a:cubicBezTo>
                  <a:pt x="484" y="150"/>
                  <a:pt x="481" y="153"/>
                  <a:pt x="479" y="152"/>
                </a:cubicBezTo>
                <a:cubicBezTo>
                  <a:pt x="479" y="155"/>
                  <a:pt x="483" y="158"/>
                  <a:pt x="484" y="160"/>
                </a:cubicBezTo>
                <a:cubicBezTo>
                  <a:pt x="478" y="146"/>
                  <a:pt x="486" y="160"/>
                  <a:pt x="486" y="154"/>
                </a:cubicBezTo>
                <a:cubicBezTo>
                  <a:pt x="485" y="153"/>
                  <a:pt x="484" y="154"/>
                  <a:pt x="483" y="152"/>
                </a:cubicBezTo>
                <a:cubicBezTo>
                  <a:pt x="483" y="150"/>
                  <a:pt x="484" y="149"/>
                  <a:pt x="485" y="150"/>
                </a:cubicBezTo>
                <a:cubicBezTo>
                  <a:pt x="486" y="151"/>
                  <a:pt x="486" y="152"/>
                  <a:pt x="486" y="152"/>
                </a:cubicBezTo>
                <a:cubicBezTo>
                  <a:pt x="486" y="151"/>
                  <a:pt x="485" y="150"/>
                  <a:pt x="485" y="150"/>
                </a:cubicBezTo>
                <a:cubicBezTo>
                  <a:pt x="485" y="149"/>
                  <a:pt x="484" y="148"/>
                  <a:pt x="484" y="147"/>
                </a:cubicBezTo>
                <a:cubicBezTo>
                  <a:pt x="484" y="146"/>
                  <a:pt x="484" y="146"/>
                  <a:pt x="484" y="145"/>
                </a:cubicBezTo>
                <a:close/>
                <a:moveTo>
                  <a:pt x="506" y="138"/>
                </a:moveTo>
                <a:cubicBezTo>
                  <a:pt x="507" y="139"/>
                  <a:pt x="508" y="141"/>
                  <a:pt x="510" y="142"/>
                </a:cubicBezTo>
                <a:cubicBezTo>
                  <a:pt x="509" y="140"/>
                  <a:pt x="507" y="139"/>
                  <a:pt x="506" y="138"/>
                </a:cubicBezTo>
                <a:cubicBezTo>
                  <a:pt x="505" y="138"/>
                  <a:pt x="504" y="137"/>
                  <a:pt x="504" y="137"/>
                </a:cubicBezTo>
                <a:cubicBezTo>
                  <a:pt x="504" y="137"/>
                  <a:pt x="505" y="138"/>
                  <a:pt x="506" y="138"/>
                </a:cubicBezTo>
                <a:close/>
                <a:moveTo>
                  <a:pt x="498" y="132"/>
                </a:moveTo>
                <a:cubicBezTo>
                  <a:pt x="501" y="133"/>
                  <a:pt x="503" y="135"/>
                  <a:pt x="506" y="136"/>
                </a:cubicBezTo>
                <a:cubicBezTo>
                  <a:pt x="502" y="134"/>
                  <a:pt x="502" y="134"/>
                  <a:pt x="502" y="134"/>
                </a:cubicBezTo>
                <a:cubicBezTo>
                  <a:pt x="504" y="134"/>
                  <a:pt x="505" y="135"/>
                  <a:pt x="506" y="135"/>
                </a:cubicBezTo>
                <a:cubicBezTo>
                  <a:pt x="502" y="132"/>
                  <a:pt x="497" y="129"/>
                  <a:pt x="498" y="132"/>
                </a:cubicBezTo>
                <a:close/>
                <a:moveTo>
                  <a:pt x="508" y="133"/>
                </a:moveTo>
                <a:cubicBezTo>
                  <a:pt x="504" y="132"/>
                  <a:pt x="504" y="132"/>
                  <a:pt x="504" y="132"/>
                </a:cubicBezTo>
                <a:cubicBezTo>
                  <a:pt x="504" y="133"/>
                  <a:pt x="504" y="133"/>
                  <a:pt x="504" y="133"/>
                </a:cubicBezTo>
                <a:cubicBezTo>
                  <a:pt x="504" y="133"/>
                  <a:pt x="504" y="133"/>
                  <a:pt x="504" y="133"/>
                </a:cubicBezTo>
                <a:cubicBezTo>
                  <a:pt x="508" y="136"/>
                  <a:pt x="508" y="136"/>
                  <a:pt x="508" y="136"/>
                </a:cubicBezTo>
                <a:cubicBezTo>
                  <a:pt x="504" y="133"/>
                  <a:pt x="504" y="133"/>
                  <a:pt x="504" y="133"/>
                </a:cubicBezTo>
                <a:lnTo>
                  <a:pt x="508" y="133"/>
                </a:lnTo>
                <a:close/>
                <a:moveTo>
                  <a:pt x="539" y="127"/>
                </a:moveTo>
                <a:cubicBezTo>
                  <a:pt x="542" y="128"/>
                  <a:pt x="544" y="129"/>
                  <a:pt x="538" y="128"/>
                </a:cubicBezTo>
                <a:cubicBezTo>
                  <a:pt x="536" y="126"/>
                  <a:pt x="536" y="126"/>
                  <a:pt x="536" y="126"/>
                </a:cubicBezTo>
                <a:cubicBezTo>
                  <a:pt x="536" y="126"/>
                  <a:pt x="532" y="126"/>
                  <a:pt x="534" y="127"/>
                </a:cubicBezTo>
                <a:cubicBezTo>
                  <a:pt x="517" y="121"/>
                  <a:pt x="536" y="128"/>
                  <a:pt x="528" y="123"/>
                </a:cubicBezTo>
                <a:cubicBezTo>
                  <a:pt x="530" y="126"/>
                  <a:pt x="520" y="122"/>
                  <a:pt x="514" y="120"/>
                </a:cubicBezTo>
                <a:cubicBezTo>
                  <a:pt x="518" y="121"/>
                  <a:pt x="518" y="120"/>
                  <a:pt x="520" y="120"/>
                </a:cubicBezTo>
                <a:cubicBezTo>
                  <a:pt x="521" y="120"/>
                  <a:pt x="522" y="120"/>
                  <a:pt x="524" y="121"/>
                </a:cubicBezTo>
                <a:cubicBezTo>
                  <a:pt x="525" y="121"/>
                  <a:pt x="526" y="121"/>
                  <a:pt x="528" y="122"/>
                </a:cubicBezTo>
                <a:cubicBezTo>
                  <a:pt x="529" y="122"/>
                  <a:pt x="531" y="123"/>
                  <a:pt x="534" y="124"/>
                </a:cubicBezTo>
                <a:cubicBezTo>
                  <a:pt x="532" y="124"/>
                  <a:pt x="536" y="125"/>
                  <a:pt x="539" y="127"/>
                </a:cubicBezTo>
                <a:close/>
                <a:moveTo>
                  <a:pt x="520" y="108"/>
                </a:moveTo>
                <a:cubicBezTo>
                  <a:pt x="520" y="106"/>
                  <a:pt x="520" y="106"/>
                  <a:pt x="520" y="106"/>
                </a:cubicBezTo>
                <a:cubicBezTo>
                  <a:pt x="521" y="108"/>
                  <a:pt x="521" y="108"/>
                  <a:pt x="521" y="108"/>
                </a:cubicBezTo>
                <a:lnTo>
                  <a:pt x="520" y="108"/>
                </a:lnTo>
                <a:close/>
                <a:moveTo>
                  <a:pt x="488" y="61"/>
                </a:moveTo>
                <a:cubicBezTo>
                  <a:pt x="483" y="63"/>
                  <a:pt x="489" y="64"/>
                  <a:pt x="492" y="62"/>
                </a:cubicBezTo>
                <a:cubicBezTo>
                  <a:pt x="490" y="63"/>
                  <a:pt x="489" y="61"/>
                  <a:pt x="488" y="61"/>
                </a:cubicBezTo>
                <a:close/>
                <a:moveTo>
                  <a:pt x="480" y="41"/>
                </a:moveTo>
                <a:cubicBezTo>
                  <a:pt x="481" y="42"/>
                  <a:pt x="476" y="46"/>
                  <a:pt x="482" y="44"/>
                </a:cubicBezTo>
                <a:cubicBezTo>
                  <a:pt x="483" y="41"/>
                  <a:pt x="483" y="41"/>
                  <a:pt x="483" y="41"/>
                </a:cubicBezTo>
                <a:cubicBezTo>
                  <a:pt x="481" y="41"/>
                  <a:pt x="483" y="40"/>
                  <a:pt x="480" y="41"/>
                </a:cubicBezTo>
                <a:close/>
                <a:moveTo>
                  <a:pt x="472" y="28"/>
                </a:moveTo>
                <a:cubicBezTo>
                  <a:pt x="478" y="25"/>
                  <a:pt x="478" y="25"/>
                  <a:pt x="478" y="25"/>
                </a:cubicBezTo>
                <a:cubicBezTo>
                  <a:pt x="477" y="26"/>
                  <a:pt x="477" y="26"/>
                  <a:pt x="477" y="26"/>
                </a:cubicBezTo>
                <a:lnTo>
                  <a:pt x="472" y="28"/>
                </a:lnTo>
                <a:close/>
                <a:moveTo>
                  <a:pt x="466" y="33"/>
                </a:moveTo>
                <a:cubicBezTo>
                  <a:pt x="466" y="33"/>
                  <a:pt x="466" y="31"/>
                  <a:pt x="469" y="30"/>
                </a:cubicBezTo>
                <a:lnTo>
                  <a:pt x="466" y="33"/>
                </a:lnTo>
                <a:close/>
                <a:moveTo>
                  <a:pt x="465" y="16"/>
                </a:moveTo>
                <a:cubicBezTo>
                  <a:pt x="459" y="19"/>
                  <a:pt x="459" y="19"/>
                  <a:pt x="459" y="19"/>
                </a:cubicBezTo>
                <a:cubicBezTo>
                  <a:pt x="459" y="19"/>
                  <a:pt x="459" y="19"/>
                  <a:pt x="459" y="19"/>
                </a:cubicBezTo>
                <a:lnTo>
                  <a:pt x="465" y="16"/>
                </a:lnTo>
                <a:close/>
                <a:moveTo>
                  <a:pt x="469" y="16"/>
                </a:moveTo>
                <a:cubicBezTo>
                  <a:pt x="468" y="17"/>
                  <a:pt x="467" y="17"/>
                  <a:pt x="466" y="18"/>
                </a:cubicBezTo>
                <a:cubicBezTo>
                  <a:pt x="464" y="19"/>
                  <a:pt x="464" y="20"/>
                  <a:pt x="466" y="20"/>
                </a:cubicBezTo>
                <a:cubicBezTo>
                  <a:pt x="469" y="19"/>
                  <a:pt x="467" y="19"/>
                  <a:pt x="467" y="18"/>
                </a:cubicBezTo>
                <a:cubicBezTo>
                  <a:pt x="468" y="18"/>
                  <a:pt x="470" y="18"/>
                  <a:pt x="469" y="20"/>
                </a:cubicBezTo>
                <a:cubicBezTo>
                  <a:pt x="464" y="21"/>
                  <a:pt x="464" y="21"/>
                  <a:pt x="460" y="23"/>
                </a:cubicBezTo>
                <a:cubicBezTo>
                  <a:pt x="456" y="21"/>
                  <a:pt x="462" y="19"/>
                  <a:pt x="466" y="18"/>
                </a:cubicBezTo>
                <a:cubicBezTo>
                  <a:pt x="466" y="17"/>
                  <a:pt x="468" y="17"/>
                  <a:pt x="469" y="16"/>
                </a:cubicBezTo>
                <a:close/>
                <a:moveTo>
                  <a:pt x="474" y="23"/>
                </a:moveTo>
                <a:cubicBezTo>
                  <a:pt x="473" y="23"/>
                  <a:pt x="472" y="23"/>
                  <a:pt x="471" y="24"/>
                </a:cubicBezTo>
                <a:cubicBezTo>
                  <a:pt x="469" y="23"/>
                  <a:pt x="467" y="22"/>
                  <a:pt x="463" y="25"/>
                </a:cubicBezTo>
                <a:cubicBezTo>
                  <a:pt x="464" y="26"/>
                  <a:pt x="464" y="26"/>
                  <a:pt x="464" y="26"/>
                </a:cubicBezTo>
                <a:cubicBezTo>
                  <a:pt x="464" y="26"/>
                  <a:pt x="464" y="26"/>
                  <a:pt x="465" y="25"/>
                </a:cubicBezTo>
                <a:cubicBezTo>
                  <a:pt x="468" y="25"/>
                  <a:pt x="465" y="27"/>
                  <a:pt x="464" y="28"/>
                </a:cubicBezTo>
                <a:cubicBezTo>
                  <a:pt x="466" y="27"/>
                  <a:pt x="468" y="25"/>
                  <a:pt x="471" y="24"/>
                </a:cubicBezTo>
                <a:cubicBezTo>
                  <a:pt x="472" y="24"/>
                  <a:pt x="472" y="24"/>
                  <a:pt x="473" y="24"/>
                </a:cubicBezTo>
                <a:cubicBezTo>
                  <a:pt x="473" y="25"/>
                  <a:pt x="472" y="25"/>
                  <a:pt x="474" y="25"/>
                </a:cubicBezTo>
                <a:cubicBezTo>
                  <a:pt x="475" y="24"/>
                  <a:pt x="475" y="24"/>
                  <a:pt x="475" y="24"/>
                </a:cubicBezTo>
                <a:cubicBezTo>
                  <a:pt x="474" y="24"/>
                  <a:pt x="474" y="24"/>
                  <a:pt x="473" y="24"/>
                </a:cubicBezTo>
                <a:cubicBezTo>
                  <a:pt x="474" y="24"/>
                  <a:pt x="474" y="23"/>
                  <a:pt x="474" y="23"/>
                </a:cubicBezTo>
                <a:close/>
                <a:moveTo>
                  <a:pt x="472" y="13"/>
                </a:moveTo>
                <a:cubicBezTo>
                  <a:pt x="473" y="13"/>
                  <a:pt x="475" y="13"/>
                  <a:pt x="476" y="12"/>
                </a:cubicBezTo>
                <a:cubicBezTo>
                  <a:pt x="477" y="11"/>
                  <a:pt x="477" y="11"/>
                  <a:pt x="477" y="11"/>
                </a:cubicBezTo>
                <a:cubicBezTo>
                  <a:pt x="474" y="10"/>
                  <a:pt x="472" y="12"/>
                  <a:pt x="472" y="13"/>
                </a:cubicBezTo>
                <a:close/>
                <a:moveTo>
                  <a:pt x="489" y="54"/>
                </a:moveTo>
                <a:cubicBezTo>
                  <a:pt x="489" y="54"/>
                  <a:pt x="490" y="56"/>
                  <a:pt x="487" y="58"/>
                </a:cubicBezTo>
                <a:cubicBezTo>
                  <a:pt x="492" y="56"/>
                  <a:pt x="492" y="56"/>
                  <a:pt x="492" y="56"/>
                </a:cubicBezTo>
                <a:cubicBezTo>
                  <a:pt x="491" y="55"/>
                  <a:pt x="494" y="53"/>
                  <a:pt x="496" y="53"/>
                </a:cubicBezTo>
                <a:cubicBezTo>
                  <a:pt x="492" y="53"/>
                  <a:pt x="494" y="51"/>
                  <a:pt x="489" y="54"/>
                </a:cubicBezTo>
                <a:close/>
                <a:moveTo>
                  <a:pt x="518" y="105"/>
                </a:moveTo>
                <a:cubicBezTo>
                  <a:pt x="520" y="104"/>
                  <a:pt x="514" y="102"/>
                  <a:pt x="521" y="101"/>
                </a:cubicBezTo>
                <a:cubicBezTo>
                  <a:pt x="512" y="101"/>
                  <a:pt x="516" y="104"/>
                  <a:pt x="518" y="105"/>
                </a:cubicBezTo>
                <a:close/>
                <a:moveTo>
                  <a:pt x="528" y="105"/>
                </a:moveTo>
                <a:cubicBezTo>
                  <a:pt x="528" y="106"/>
                  <a:pt x="528" y="106"/>
                  <a:pt x="528" y="106"/>
                </a:cubicBezTo>
                <a:cubicBezTo>
                  <a:pt x="527" y="107"/>
                  <a:pt x="520" y="107"/>
                  <a:pt x="524" y="108"/>
                </a:cubicBezTo>
                <a:cubicBezTo>
                  <a:pt x="526" y="108"/>
                  <a:pt x="523" y="107"/>
                  <a:pt x="525" y="107"/>
                </a:cubicBezTo>
                <a:cubicBezTo>
                  <a:pt x="529" y="107"/>
                  <a:pt x="528" y="107"/>
                  <a:pt x="528" y="106"/>
                </a:cubicBezTo>
                <a:cubicBezTo>
                  <a:pt x="528" y="106"/>
                  <a:pt x="528" y="106"/>
                  <a:pt x="528" y="105"/>
                </a:cubicBezTo>
                <a:close/>
                <a:moveTo>
                  <a:pt x="513" y="71"/>
                </a:moveTo>
                <a:cubicBezTo>
                  <a:pt x="514" y="72"/>
                  <a:pt x="514" y="72"/>
                  <a:pt x="514" y="72"/>
                </a:cubicBezTo>
                <a:cubicBezTo>
                  <a:pt x="510" y="75"/>
                  <a:pt x="510" y="75"/>
                  <a:pt x="510" y="75"/>
                </a:cubicBezTo>
                <a:lnTo>
                  <a:pt x="513" y="71"/>
                </a:lnTo>
                <a:close/>
                <a:moveTo>
                  <a:pt x="511" y="55"/>
                </a:moveTo>
                <a:cubicBezTo>
                  <a:pt x="511" y="56"/>
                  <a:pt x="511" y="56"/>
                  <a:pt x="511" y="56"/>
                </a:cubicBezTo>
                <a:cubicBezTo>
                  <a:pt x="510" y="56"/>
                  <a:pt x="510" y="56"/>
                  <a:pt x="510" y="56"/>
                </a:cubicBezTo>
                <a:cubicBezTo>
                  <a:pt x="509" y="57"/>
                  <a:pt x="507" y="57"/>
                  <a:pt x="506" y="58"/>
                </a:cubicBezTo>
                <a:cubicBezTo>
                  <a:pt x="506" y="58"/>
                  <a:pt x="506" y="59"/>
                  <a:pt x="506" y="59"/>
                </a:cubicBezTo>
                <a:cubicBezTo>
                  <a:pt x="506" y="59"/>
                  <a:pt x="506" y="58"/>
                  <a:pt x="506" y="58"/>
                </a:cubicBezTo>
                <a:cubicBezTo>
                  <a:pt x="506" y="57"/>
                  <a:pt x="505" y="56"/>
                  <a:pt x="509" y="54"/>
                </a:cubicBezTo>
                <a:cubicBezTo>
                  <a:pt x="507" y="55"/>
                  <a:pt x="508" y="57"/>
                  <a:pt x="511" y="56"/>
                </a:cubicBezTo>
                <a:lnTo>
                  <a:pt x="511" y="55"/>
                </a:lnTo>
                <a:close/>
                <a:moveTo>
                  <a:pt x="501" y="25"/>
                </a:moveTo>
                <a:cubicBezTo>
                  <a:pt x="500" y="26"/>
                  <a:pt x="499" y="26"/>
                  <a:pt x="502" y="26"/>
                </a:cubicBezTo>
                <a:cubicBezTo>
                  <a:pt x="503" y="25"/>
                  <a:pt x="502" y="24"/>
                  <a:pt x="501" y="25"/>
                </a:cubicBezTo>
                <a:close/>
                <a:moveTo>
                  <a:pt x="519" y="60"/>
                </a:moveTo>
                <a:cubicBezTo>
                  <a:pt x="516" y="61"/>
                  <a:pt x="518" y="62"/>
                  <a:pt x="514" y="63"/>
                </a:cubicBezTo>
                <a:cubicBezTo>
                  <a:pt x="513" y="63"/>
                  <a:pt x="513" y="63"/>
                  <a:pt x="513" y="63"/>
                </a:cubicBezTo>
                <a:cubicBezTo>
                  <a:pt x="515" y="63"/>
                  <a:pt x="507" y="67"/>
                  <a:pt x="512" y="66"/>
                </a:cubicBezTo>
                <a:cubicBezTo>
                  <a:pt x="511" y="66"/>
                  <a:pt x="511" y="66"/>
                  <a:pt x="511" y="66"/>
                </a:cubicBezTo>
                <a:cubicBezTo>
                  <a:pt x="513" y="66"/>
                  <a:pt x="515" y="62"/>
                  <a:pt x="518" y="62"/>
                </a:cubicBezTo>
                <a:cubicBezTo>
                  <a:pt x="519" y="63"/>
                  <a:pt x="521" y="60"/>
                  <a:pt x="519" y="60"/>
                </a:cubicBezTo>
                <a:close/>
                <a:moveTo>
                  <a:pt x="507" y="19"/>
                </a:moveTo>
                <a:cubicBezTo>
                  <a:pt x="507" y="21"/>
                  <a:pt x="500" y="23"/>
                  <a:pt x="504" y="24"/>
                </a:cubicBezTo>
                <a:cubicBezTo>
                  <a:pt x="504" y="22"/>
                  <a:pt x="511" y="19"/>
                  <a:pt x="507" y="19"/>
                </a:cubicBezTo>
                <a:close/>
                <a:moveTo>
                  <a:pt x="524" y="45"/>
                </a:moveTo>
                <a:cubicBezTo>
                  <a:pt x="525" y="45"/>
                  <a:pt x="525" y="45"/>
                  <a:pt x="525" y="45"/>
                </a:cubicBezTo>
                <a:cubicBezTo>
                  <a:pt x="524" y="47"/>
                  <a:pt x="524" y="47"/>
                  <a:pt x="524" y="47"/>
                </a:cubicBezTo>
                <a:cubicBezTo>
                  <a:pt x="523" y="47"/>
                  <a:pt x="523" y="47"/>
                  <a:pt x="523" y="47"/>
                </a:cubicBezTo>
                <a:lnTo>
                  <a:pt x="524" y="45"/>
                </a:lnTo>
                <a:close/>
                <a:moveTo>
                  <a:pt x="467" y="35"/>
                </a:moveTo>
                <a:cubicBezTo>
                  <a:pt x="466" y="35"/>
                  <a:pt x="466" y="36"/>
                  <a:pt x="467" y="36"/>
                </a:cubicBezTo>
                <a:cubicBezTo>
                  <a:pt x="467" y="36"/>
                  <a:pt x="467" y="35"/>
                  <a:pt x="467" y="35"/>
                </a:cubicBezTo>
                <a:close/>
                <a:moveTo>
                  <a:pt x="501" y="109"/>
                </a:moveTo>
                <a:cubicBezTo>
                  <a:pt x="500" y="108"/>
                  <a:pt x="499" y="108"/>
                  <a:pt x="498" y="108"/>
                </a:cubicBezTo>
                <a:cubicBezTo>
                  <a:pt x="499" y="108"/>
                  <a:pt x="500" y="108"/>
                  <a:pt x="501" y="109"/>
                </a:cubicBezTo>
                <a:close/>
                <a:moveTo>
                  <a:pt x="496" y="109"/>
                </a:moveTo>
                <a:cubicBezTo>
                  <a:pt x="496" y="109"/>
                  <a:pt x="496" y="109"/>
                  <a:pt x="496" y="109"/>
                </a:cubicBezTo>
                <a:cubicBezTo>
                  <a:pt x="496" y="109"/>
                  <a:pt x="496" y="109"/>
                  <a:pt x="496" y="109"/>
                </a:cubicBezTo>
                <a:close/>
                <a:moveTo>
                  <a:pt x="429" y="155"/>
                </a:moveTo>
                <a:cubicBezTo>
                  <a:pt x="428" y="155"/>
                  <a:pt x="425" y="152"/>
                  <a:pt x="428" y="156"/>
                </a:cubicBezTo>
                <a:cubicBezTo>
                  <a:pt x="429" y="158"/>
                  <a:pt x="428" y="155"/>
                  <a:pt x="429" y="155"/>
                </a:cubicBezTo>
                <a:close/>
                <a:moveTo>
                  <a:pt x="433" y="159"/>
                </a:moveTo>
                <a:cubicBezTo>
                  <a:pt x="434" y="159"/>
                  <a:pt x="435" y="160"/>
                  <a:pt x="436" y="161"/>
                </a:cubicBezTo>
                <a:cubicBezTo>
                  <a:pt x="434" y="159"/>
                  <a:pt x="434" y="159"/>
                  <a:pt x="433" y="159"/>
                </a:cubicBezTo>
                <a:close/>
                <a:moveTo>
                  <a:pt x="433" y="159"/>
                </a:moveTo>
                <a:cubicBezTo>
                  <a:pt x="432" y="159"/>
                  <a:pt x="432" y="160"/>
                  <a:pt x="431" y="161"/>
                </a:cubicBezTo>
                <a:cubicBezTo>
                  <a:pt x="433" y="162"/>
                  <a:pt x="433" y="160"/>
                  <a:pt x="433" y="159"/>
                </a:cubicBezTo>
                <a:close/>
                <a:moveTo>
                  <a:pt x="442" y="148"/>
                </a:moveTo>
                <a:cubicBezTo>
                  <a:pt x="443" y="150"/>
                  <a:pt x="447" y="151"/>
                  <a:pt x="445" y="155"/>
                </a:cubicBezTo>
                <a:cubicBezTo>
                  <a:pt x="445" y="155"/>
                  <a:pt x="446" y="153"/>
                  <a:pt x="448" y="155"/>
                </a:cubicBezTo>
                <a:cubicBezTo>
                  <a:pt x="445" y="151"/>
                  <a:pt x="444" y="148"/>
                  <a:pt x="442" y="148"/>
                </a:cubicBezTo>
                <a:close/>
                <a:moveTo>
                  <a:pt x="452" y="156"/>
                </a:moveTo>
                <a:cubicBezTo>
                  <a:pt x="452" y="155"/>
                  <a:pt x="452" y="155"/>
                  <a:pt x="453" y="155"/>
                </a:cubicBezTo>
                <a:cubicBezTo>
                  <a:pt x="452" y="155"/>
                  <a:pt x="452" y="155"/>
                  <a:pt x="452" y="156"/>
                </a:cubicBezTo>
                <a:close/>
                <a:moveTo>
                  <a:pt x="453" y="155"/>
                </a:moveTo>
                <a:cubicBezTo>
                  <a:pt x="454" y="155"/>
                  <a:pt x="457" y="160"/>
                  <a:pt x="457" y="157"/>
                </a:cubicBezTo>
                <a:cubicBezTo>
                  <a:pt x="456" y="155"/>
                  <a:pt x="454" y="152"/>
                  <a:pt x="453" y="152"/>
                </a:cubicBezTo>
                <a:cubicBezTo>
                  <a:pt x="454" y="155"/>
                  <a:pt x="453" y="155"/>
                  <a:pt x="453" y="155"/>
                </a:cubicBezTo>
                <a:close/>
                <a:moveTo>
                  <a:pt x="480" y="123"/>
                </a:moveTo>
                <a:cubicBezTo>
                  <a:pt x="479" y="124"/>
                  <a:pt x="479" y="124"/>
                  <a:pt x="479" y="124"/>
                </a:cubicBezTo>
                <a:cubicBezTo>
                  <a:pt x="480" y="125"/>
                  <a:pt x="480" y="125"/>
                  <a:pt x="480" y="125"/>
                </a:cubicBezTo>
                <a:cubicBezTo>
                  <a:pt x="480" y="125"/>
                  <a:pt x="481" y="124"/>
                  <a:pt x="480" y="123"/>
                </a:cubicBezTo>
                <a:close/>
                <a:moveTo>
                  <a:pt x="491" y="134"/>
                </a:moveTo>
                <a:cubicBezTo>
                  <a:pt x="488" y="129"/>
                  <a:pt x="488" y="129"/>
                  <a:pt x="488" y="129"/>
                </a:cubicBezTo>
                <a:cubicBezTo>
                  <a:pt x="487" y="128"/>
                  <a:pt x="490" y="132"/>
                  <a:pt x="489" y="132"/>
                </a:cubicBezTo>
                <a:cubicBezTo>
                  <a:pt x="489" y="133"/>
                  <a:pt x="490" y="134"/>
                  <a:pt x="491" y="134"/>
                </a:cubicBezTo>
                <a:close/>
                <a:moveTo>
                  <a:pt x="504" y="160"/>
                </a:moveTo>
                <a:cubicBezTo>
                  <a:pt x="504" y="160"/>
                  <a:pt x="504" y="160"/>
                  <a:pt x="503" y="160"/>
                </a:cubicBezTo>
                <a:cubicBezTo>
                  <a:pt x="504" y="160"/>
                  <a:pt x="504" y="160"/>
                  <a:pt x="504" y="160"/>
                </a:cubicBezTo>
                <a:close/>
                <a:moveTo>
                  <a:pt x="484" y="120"/>
                </a:moveTo>
                <a:cubicBezTo>
                  <a:pt x="486" y="122"/>
                  <a:pt x="487" y="124"/>
                  <a:pt x="489" y="125"/>
                </a:cubicBezTo>
                <a:cubicBezTo>
                  <a:pt x="490" y="126"/>
                  <a:pt x="486" y="121"/>
                  <a:pt x="484" y="120"/>
                </a:cubicBezTo>
                <a:close/>
                <a:moveTo>
                  <a:pt x="489" y="120"/>
                </a:moveTo>
                <a:cubicBezTo>
                  <a:pt x="488" y="120"/>
                  <a:pt x="487" y="120"/>
                  <a:pt x="486" y="119"/>
                </a:cubicBezTo>
                <a:cubicBezTo>
                  <a:pt x="488" y="121"/>
                  <a:pt x="488" y="121"/>
                  <a:pt x="488" y="121"/>
                </a:cubicBezTo>
                <a:lnTo>
                  <a:pt x="489" y="120"/>
                </a:lnTo>
                <a:close/>
                <a:moveTo>
                  <a:pt x="496" y="122"/>
                </a:moveTo>
                <a:cubicBezTo>
                  <a:pt x="494" y="121"/>
                  <a:pt x="494" y="121"/>
                  <a:pt x="494" y="121"/>
                </a:cubicBezTo>
                <a:cubicBezTo>
                  <a:pt x="495" y="122"/>
                  <a:pt x="495" y="122"/>
                  <a:pt x="495" y="122"/>
                </a:cubicBezTo>
                <a:lnTo>
                  <a:pt x="496" y="122"/>
                </a:lnTo>
                <a:close/>
                <a:moveTo>
                  <a:pt x="501" y="90"/>
                </a:moveTo>
                <a:cubicBezTo>
                  <a:pt x="500" y="90"/>
                  <a:pt x="500" y="86"/>
                  <a:pt x="495" y="89"/>
                </a:cubicBezTo>
                <a:cubicBezTo>
                  <a:pt x="502" y="87"/>
                  <a:pt x="495" y="93"/>
                  <a:pt x="501" y="90"/>
                </a:cubicBezTo>
                <a:close/>
                <a:moveTo>
                  <a:pt x="470" y="41"/>
                </a:moveTo>
                <a:cubicBezTo>
                  <a:pt x="471" y="38"/>
                  <a:pt x="471" y="38"/>
                  <a:pt x="471" y="38"/>
                </a:cubicBezTo>
                <a:cubicBezTo>
                  <a:pt x="470" y="40"/>
                  <a:pt x="467" y="40"/>
                  <a:pt x="470" y="41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s-AR" sz="1350"/>
          </a:p>
        </p:txBody>
      </p:sp>
      <p:sp>
        <p:nvSpPr>
          <p:cNvPr id="16" name="Freeform 19"/>
          <p:cNvSpPr>
            <a:spLocks noChangeAspect="1" noEditPoints="1"/>
          </p:cNvSpPr>
          <p:nvPr/>
        </p:nvSpPr>
        <p:spPr bwMode="auto">
          <a:xfrm>
            <a:off x="6527007" y="4686300"/>
            <a:ext cx="1383506" cy="557213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17" name="Freeform 20"/>
          <p:cNvSpPr>
            <a:spLocks noChangeAspect="1" noEditPoints="1"/>
          </p:cNvSpPr>
          <p:nvPr/>
        </p:nvSpPr>
        <p:spPr bwMode="auto">
          <a:xfrm>
            <a:off x="5224463" y="971550"/>
            <a:ext cx="1394222" cy="642938"/>
          </a:xfrm>
          <a:custGeom>
            <a:avLst/>
            <a:gdLst>
              <a:gd name="T0" fmla="*/ 18 w 875"/>
              <a:gd name="T1" fmla="*/ 272 h 404"/>
              <a:gd name="T2" fmla="*/ 141 w 875"/>
              <a:gd name="T3" fmla="*/ 134 h 404"/>
              <a:gd name="T4" fmla="*/ 290 w 875"/>
              <a:gd name="T5" fmla="*/ 22 h 404"/>
              <a:gd name="T6" fmla="*/ 745 w 875"/>
              <a:gd name="T7" fmla="*/ 199 h 404"/>
              <a:gd name="T8" fmla="*/ 86 w 875"/>
              <a:gd name="T9" fmla="*/ 224 h 404"/>
              <a:gd name="T10" fmla="*/ 147 w 875"/>
              <a:gd name="T11" fmla="*/ 112 h 404"/>
              <a:gd name="T12" fmla="*/ 857 w 875"/>
              <a:gd name="T13" fmla="*/ 244 h 404"/>
              <a:gd name="T14" fmla="*/ 874 w 875"/>
              <a:gd name="T15" fmla="*/ 265 h 404"/>
              <a:gd name="T16" fmla="*/ 832 w 875"/>
              <a:gd name="T17" fmla="*/ 297 h 404"/>
              <a:gd name="T18" fmla="*/ 833 w 875"/>
              <a:gd name="T19" fmla="*/ 343 h 404"/>
              <a:gd name="T20" fmla="*/ 717 w 875"/>
              <a:gd name="T21" fmla="*/ 346 h 404"/>
              <a:gd name="T22" fmla="*/ 860 w 875"/>
              <a:gd name="T23" fmla="*/ 284 h 404"/>
              <a:gd name="T24" fmla="*/ 850 w 875"/>
              <a:gd name="T25" fmla="*/ 300 h 404"/>
              <a:gd name="T26" fmla="*/ 856 w 875"/>
              <a:gd name="T27" fmla="*/ 300 h 404"/>
              <a:gd name="T28" fmla="*/ 832 w 875"/>
              <a:gd name="T29" fmla="*/ 340 h 404"/>
              <a:gd name="T30" fmla="*/ 818 w 875"/>
              <a:gd name="T31" fmla="*/ 380 h 404"/>
              <a:gd name="T32" fmla="*/ 761 w 875"/>
              <a:gd name="T33" fmla="*/ 364 h 404"/>
              <a:gd name="T34" fmla="*/ 715 w 875"/>
              <a:gd name="T35" fmla="*/ 342 h 404"/>
              <a:gd name="T36" fmla="*/ 705 w 875"/>
              <a:gd name="T37" fmla="*/ 316 h 404"/>
              <a:gd name="T38" fmla="*/ 787 w 875"/>
              <a:gd name="T39" fmla="*/ 329 h 404"/>
              <a:gd name="T40" fmla="*/ 643 w 875"/>
              <a:gd name="T41" fmla="*/ 136 h 404"/>
              <a:gd name="T42" fmla="*/ 59 w 875"/>
              <a:gd name="T43" fmla="*/ 267 h 404"/>
              <a:gd name="T44" fmla="*/ 317 w 875"/>
              <a:gd name="T45" fmla="*/ 56 h 404"/>
              <a:gd name="T46" fmla="*/ 21 w 875"/>
              <a:gd name="T47" fmla="*/ 307 h 404"/>
              <a:gd name="T48" fmla="*/ 66 w 875"/>
              <a:gd name="T49" fmla="*/ 219 h 404"/>
              <a:gd name="T50" fmla="*/ 208 w 875"/>
              <a:gd name="T51" fmla="*/ 86 h 404"/>
              <a:gd name="T52" fmla="*/ 29 w 875"/>
              <a:gd name="T53" fmla="*/ 259 h 404"/>
              <a:gd name="T54" fmla="*/ 31 w 875"/>
              <a:gd name="T55" fmla="*/ 239 h 404"/>
              <a:gd name="T56" fmla="*/ 156 w 875"/>
              <a:gd name="T57" fmla="*/ 104 h 404"/>
              <a:gd name="T58" fmla="*/ 74 w 875"/>
              <a:gd name="T59" fmla="*/ 173 h 404"/>
              <a:gd name="T60" fmla="*/ 229 w 875"/>
              <a:gd name="T61" fmla="*/ 49 h 404"/>
              <a:gd name="T62" fmla="*/ 362 w 875"/>
              <a:gd name="T63" fmla="*/ 4 h 404"/>
              <a:gd name="T64" fmla="*/ 558 w 875"/>
              <a:gd name="T65" fmla="*/ 31 h 404"/>
              <a:gd name="T66" fmla="*/ 729 w 875"/>
              <a:gd name="T67" fmla="*/ 179 h 404"/>
              <a:gd name="T68" fmla="*/ 819 w 875"/>
              <a:gd name="T69" fmla="*/ 271 h 404"/>
              <a:gd name="T70" fmla="*/ 820 w 875"/>
              <a:gd name="T71" fmla="*/ 279 h 404"/>
              <a:gd name="T72" fmla="*/ 849 w 875"/>
              <a:gd name="T73" fmla="*/ 252 h 404"/>
              <a:gd name="T74" fmla="*/ 847 w 875"/>
              <a:gd name="T75" fmla="*/ 269 h 404"/>
              <a:gd name="T76" fmla="*/ 826 w 875"/>
              <a:gd name="T77" fmla="*/ 309 h 404"/>
              <a:gd name="T78" fmla="*/ 860 w 875"/>
              <a:gd name="T79" fmla="*/ 266 h 404"/>
              <a:gd name="T80" fmla="*/ 862 w 875"/>
              <a:gd name="T81" fmla="*/ 266 h 404"/>
              <a:gd name="T82" fmla="*/ 833 w 875"/>
              <a:gd name="T83" fmla="*/ 266 h 404"/>
              <a:gd name="T84" fmla="*/ 99 w 875"/>
              <a:gd name="T85" fmla="*/ 149 h 404"/>
              <a:gd name="T86" fmla="*/ 44 w 875"/>
              <a:gd name="T87" fmla="*/ 227 h 404"/>
              <a:gd name="T88" fmla="*/ 67 w 875"/>
              <a:gd name="T89" fmla="*/ 201 h 404"/>
              <a:gd name="T90" fmla="*/ 149 w 875"/>
              <a:gd name="T91" fmla="*/ 126 h 404"/>
              <a:gd name="T92" fmla="*/ 69 w 875"/>
              <a:gd name="T93" fmla="*/ 228 h 404"/>
              <a:gd name="T94" fmla="*/ 132 w 875"/>
              <a:gd name="T95" fmla="*/ 151 h 404"/>
              <a:gd name="T96" fmla="*/ 225 w 875"/>
              <a:gd name="T97" fmla="*/ 62 h 404"/>
              <a:gd name="T98" fmla="*/ 333 w 875"/>
              <a:gd name="T99" fmla="*/ 10 h 404"/>
              <a:gd name="T100" fmla="*/ 165 w 875"/>
              <a:gd name="T101" fmla="*/ 142 h 404"/>
              <a:gd name="T102" fmla="*/ 670 w 875"/>
              <a:gd name="T103" fmla="*/ 163 h 404"/>
              <a:gd name="T104" fmla="*/ 710 w 875"/>
              <a:gd name="T105" fmla="*/ 321 h 404"/>
              <a:gd name="T106" fmla="*/ 790 w 875"/>
              <a:gd name="T107" fmla="*/ 340 h 404"/>
              <a:gd name="T108" fmla="*/ 819 w 875"/>
              <a:gd name="T109" fmla="*/ 373 h 404"/>
              <a:gd name="T110" fmla="*/ 844 w 875"/>
              <a:gd name="T111" fmla="*/ 312 h 404"/>
              <a:gd name="T112" fmla="*/ 821 w 875"/>
              <a:gd name="T113" fmla="*/ 366 h 404"/>
              <a:gd name="T114" fmla="*/ 836 w 875"/>
              <a:gd name="T115" fmla="*/ 322 h 404"/>
              <a:gd name="T116" fmla="*/ 844 w 875"/>
              <a:gd name="T117" fmla="*/ 298 h 404"/>
              <a:gd name="T118" fmla="*/ 861 w 875"/>
              <a:gd name="T119" fmla="*/ 277 h 404"/>
              <a:gd name="T120" fmla="*/ 871 w 875"/>
              <a:gd name="T121" fmla="*/ 267 h 404"/>
              <a:gd name="T122" fmla="*/ 870 w 875"/>
              <a:gd name="T123" fmla="*/ 280 h 404"/>
              <a:gd name="T124" fmla="*/ 832 w 875"/>
              <a:gd name="T125" fmla="*/ 344 h 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75" h="404">
                <a:moveTo>
                  <a:pt x="9" y="328"/>
                </a:moveTo>
                <a:cubicBezTo>
                  <a:pt x="9" y="327"/>
                  <a:pt x="10" y="326"/>
                  <a:pt x="11" y="325"/>
                </a:cubicBezTo>
                <a:cubicBezTo>
                  <a:pt x="10" y="326"/>
                  <a:pt x="10" y="327"/>
                  <a:pt x="9" y="328"/>
                </a:cubicBezTo>
                <a:close/>
                <a:moveTo>
                  <a:pt x="11" y="322"/>
                </a:moveTo>
                <a:cubicBezTo>
                  <a:pt x="10" y="323"/>
                  <a:pt x="9" y="323"/>
                  <a:pt x="9" y="325"/>
                </a:cubicBezTo>
                <a:cubicBezTo>
                  <a:pt x="10" y="324"/>
                  <a:pt x="11" y="323"/>
                  <a:pt x="11" y="322"/>
                </a:cubicBezTo>
                <a:close/>
                <a:moveTo>
                  <a:pt x="15" y="319"/>
                </a:moveTo>
                <a:cubicBezTo>
                  <a:pt x="15" y="318"/>
                  <a:pt x="15" y="318"/>
                  <a:pt x="16" y="316"/>
                </a:cubicBezTo>
                <a:cubicBezTo>
                  <a:pt x="15" y="317"/>
                  <a:pt x="15" y="317"/>
                  <a:pt x="15" y="317"/>
                </a:cubicBezTo>
                <a:cubicBezTo>
                  <a:pt x="14" y="318"/>
                  <a:pt x="15" y="318"/>
                  <a:pt x="15" y="319"/>
                </a:cubicBezTo>
                <a:close/>
                <a:moveTo>
                  <a:pt x="38" y="297"/>
                </a:moveTo>
                <a:cubicBezTo>
                  <a:pt x="38" y="296"/>
                  <a:pt x="38" y="296"/>
                  <a:pt x="38" y="295"/>
                </a:cubicBezTo>
                <a:cubicBezTo>
                  <a:pt x="38" y="296"/>
                  <a:pt x="37" y="297"/>
                  <a:pt x="37" y="298"/>
                </a:cubicBezTo>
                <a:lnTo>
                  <a:pt x="38" y="297"/>
                </a:lnTo>
                <a:close/>
                <a:moveTo>
                  <a:pt x="12" y="319"/>
                </a:moveTo>
                <a:cubicBezTo>
                  <a:pt x="12" y="319"/>
                  <a:pt x="12" y="319"/>
                  <a:pt x="12" y="320"/>
                </a:cubicBezTo>
                <a:cubicBezTo>
                  <a:pt x="12" y="320"/>
                  <a:pt x="13" y="319"/>
                  <a:pt x="13" y="318"/>
                </a:cubicBezTo>
                <a:cubicBezTo>
                  <a:pt x="13" y="318"/>
                  <a:pt x="13" y="318"/>
                  <a:pt x="12" y="319"/>
                </a:cubicBezTo>
                <a:close/>
                <a:moveTo>
                  <a:pt x="39" y="293"/>
                </a:moveTo>
                <a:cubicBezTo>
                  <a:pt x="39" y="294"/>
                  <a:pt x="39" y="294"/>
                  <a:pt x="39" y="294"/>
                </a:cubicBezTo>
                <a:cubicBezTo>
                  <a:pt x="40" y="293"/>
                  <a:pt x="40" y="293"/>
                  <a:pt x="41" y="293"/>
                </a:cubicBezTo>
                <a:cubicBezTo>
                  <a:pt x="41" y="292"/>
                  <a:pt x="40" y="292"/>
                  <a:pt x="39" y="293"/>
                </a:cubicBezTo>
                <a:close/>
                <a:moveTo>
                  <a:pt x="25" y="302"/>
                </a:moveTo>
                <a:cubicBezTo>
                  <a:pt x="24" y="302"/>
                  <a:pt x="24" y="303"/>
                  <a:pt x="24" y="304"/>
                </a:cubicBezTo>
                <a:cubicBezTo>
                  <a:pt x="24" y="304"/>
                  <a:pt x="25" y="302"/>
                  <a:pt x="25" y="302"/>
                </a:cubicBezTo>
                <a:close/>
                <a:moveTo>
                  <a:pt x="49" y="277"/>
                </a:moveTo>
                <a:cubicBezTo>
                  <a:pt x="49" y="278"/>
                  <a:pt x="49" y="278"/>
                  <a:pt x="48" y="280"/>
                </a:cubicBezTo>
                <a:cubicBezTo>
                  <a:pt x="48" y="280"/>
                  <a:pt x="48" y="280"/>
                  <a:pt x="48" y="280"/>
                </a:cubicBezTo>
                <a:cubicBezTo>
                  <a:pt x="47" y="281"/>
                  <a:pt x="47" y="281"/>
                  <a:pt x="46" y="282"/>
                </a:cubicBezTo>
                <a:cubicBezTo>
                  <a:pt x="46" y="283"/>
                  <a:pt x="46" y="284"/>
                  <a:pt x="46" y="284"/>
                </a:cubicBezTo>
                <a:cubicBezTo>
                  <a:pt x="46" y="284"/>
                  <a:pt x="47" y="283"/>
                  <a:pt x="47" y="283"/>
                </a:cubicBezTo>
                <a:cubicBezTo>
                  <a:pt x="47" y="283"/>
                  <a:pt x="47" y="282"/>
                  <a:pt x="47" y="281"/>
                </a:cubicBezTo>
                <a:cubicBezTo>
                  <a:pt x="48" y="281"/>
                  <a:pt x="49" y="280"/>
                  <a:pt x="50" y="279"/>
                </a:cubicBezTo>
                <a:cubicBezTo>
                  <a:pt x="49" y="279"/>
                  <a:pt x="50" y="277"/>
                  <a:pt x="51" y="275"/>
                </a:cubicBezTo>
                <a:cubicBezTo>
                  <a:pt x="50" y="276"/>
                  <a:pt x="50" y="277"/>
                  <a:pt x="49" y="277"/>
                </a:cubicBezTo>
                <a:close/>
                <a:moveTo>
                  <a:pt x="26" y="300"/>
                </a:moveTo>
                <a:cubicBezTo>
                  <a:pt x="27" y="299"/>
                  <a:pt x="27" y="299"/>
                  <a:pt x="27" y="299"/>
                </a:cubicBezTo>
                <a:cubicBezTo>
                  <a:pt x="27" y="299"/>
                  <a:pt x="27" y="299"/>
                  <a:pt x="27" y="298"/>
                </a:cubicBezTo>
                <a:cubicBezTo>
                  <a:pt x="27" y="298"/>
                  <a:pt x="26" y="299"/>
                  <a:pt x="26" y="300"/>
                </a:cubicBezTo>
                <a:close/>
                <a:moveTo>
                  <a:pt x="25" y="295"/>
                </a:moveTo>
                <a:cubicBezTo>
                  <a:pt x="26" y="294"/>
                  <a:pt x="26" y="293"/>
                  <a:pt x="26" y="292"/>
                </a:cubicBezTo>
                <a:cubicBezTo>
                  <a:pt x="26" y="293"/>
                  <a:pt x="25" y="295"/>
                  <a:pt x="25" y="295"/>
                </a:cubicBezTo>
                <a:close/>
                <a:moveTo>
                  <a:pt x="62" y="263"/>
                </a:moveTo>
                <a:cubicBezTo>
                  <a:pt x="63" y="262"/>
                  <a:pt x="64" y="261"/>
                  <a:pt x="64" y="260"/>
                </a:cubicBezTo>
                <a:cubicBezTo>
                  <a:pt x="63" y="261"/>
                  <a:pt x="63" y="262"/>
                  <a:pt x="62" y="263"/>
                </a:cubicBezTo>
                <a:close/>
                <a:moveTo>
                  <a:pt x="32" y="284"/>
                </a:moveTo>
                <a:cubicBezTo>
                  <a:pt x="31" y="285"/>
                  <a:pt x="31" y="285"/>
                  <a:pt x="30" y="286"/>
                </a:cubicBezTo>
                <a:cubicBezTo>
                  <a:pt x="31" y="286"/>
                  <a:pt x="32" y="285"/>
                  <a:pt x="32" y="284"/>
                </a:cubicBezTo>
                <a:close/>
                <a:moveTo>
                  <a:pt x="54" y="260"/>
                </a:moveTo>
                <a:cubicBezTo>
                  <a:pt x="55" y="261"/>
                  <a:pt x="53" y="262"/>
                  <a:pt x="54" y="262"/>
                </a:cubicBezTo>
                <a:cubicBezTo>
                  <a:pt x="55" y="261"/>
                  <a:pt x="54" y="261"/>
                  <a:pt x="55" y="259"/>
                </a:cubicBezTo>
                <a:cubicBezTo>
                  <a:pt x="55" y="259"/>
                  <a:pt x="55" y="260"/>
                  <a:pt x="54" y="260"/>
                </a:cubicBezTo>
                <a:close/>
                <a:moveTo>
                  <a:pt x="33" y="278"/>
                </a:moveTo>
                <a:cubicBezTo>
                  <a:pt x="33" y="279"/>
                  <a:pt x="34" y="277"/>
                  <a:pt x="35" y="276"/>
                </a:cubicBezTo>
                <a:cubicBezTo>
                  <a:pt x="35" y="275"/>
                  <a:pt x="33" y="277"/>
                  <a:pt x="33" y="278"/>
                </a:cubicBezTo>
                <a:close/>
                <a:moveTo>
                  <a:pt x="43" y="264"/>
                </a:moveTo>
                <a:cubicBezTo>
                  <a:pt x="42" y="265"/>
                  <a:pt x="41" y="266"/>
                  <a:pt x="41" y="267"/>
                </a:cubicBezTo>
                <a:cubicBezTo>
                  <a:pt x="40" y="268"/>
                  <a:pt x="42" y="265"/>
                  <a:pt x="41" y="267"/>
                </a:cubicBezTo>
                <a:cubicBezTo>
                  <a:pt x="42" y="266"/>
                  <a:pt x="43" y="265"/>
                  <a:pt x="43" y="264"/>
                </a:cubicBezTo>
                <a:close/>
                <a:moveTo>
                  <a:pt x="73" y="242"/>
                </a:moveTo>
                <a:cubicBezTo>
                  <a:pt x="73" y="241"/>
                  <a:pt x="72" y="243"/>
                  <a:pt x="72" y="244"/>
                </a:cubicBezTo>
                <a:cubicBezTo>
                  <a:pt x="72" y="245"/>
                  <a:pt x="73" y="242"/>
                  <a:pt x="73" y="242"/>
                </a:cubicBezTo>
                <a:close/>
                <a:moveTo>
                  <a:pt x="71" y="240"/>
                </a:moveTo>
                <a:cubicBezTo>
                  <a:pt x="70" y="241"/>
                  <a:pt x="70" y="242"/>
                  <a:pt x="70" y="242"/>
                </a:cubicBezTo>
                <a:cubicBezTo>
                  <a:pt x="69" y="243"/>
                  <a:pt x="70" y="243"/>
                  <a:pt x="70" y="243"/>
                </a:cubicBezTo>
                <a:cubicBezTo>
                  <a:pt x="70" y="241"/>
                  <a:pt x="72" y="241"/>
                  <a:pt x="71" y="240"/>
                </a:cubicBezTo>
                <a:close/>
                <a:moveTo>
                  <a:pt x="89" y="227"/>
                </a:moveTo>
                <a:cubicBezTo>
                  <a:pt x="88" y="228"/>
                  <a:pt x="88" y="229"/>
                  <a:pt x="87" y="230"/>
                </a:cubicBezTo>
                <a:cubicBezTo>
                  <a:pt x="88" y="229"/>
                  <a:pt x="89" y="228"/>
                  <a:pt x="89" y="227"/>
                </a:cubicBezTo>
                <a:close/>
                <a:moveTo>
                  <a:pt x="32" y="268"/>
                </a:moveTo>
                <a:cubicBezTo>
                  <a:pt x="32" y="270"/>
                  <a:pt x="32" y="270"/>
                  <a:pt x="32" y="270"/>
                </a:cubicBezTo>
                <a:cubicBezTo>
                  <a:pt x="33" y="269"/>
                  <a:pt x="33" y="268"/>
                  <a:pt x="33" y="268"/>
                </a:cubicBezTo>
                <a:cubicBezTo>
                  <a:pt x="34" y="267"/>
                  <a:pt x="33" y="267"/>
                  <a:pt x="32" y="268"/>
                </a:cubicBezTo>
                <a:close/>
                <a:moveTo>
                  <a:pt x="39" y="264"/>
                </a:moveTo>
                <a:cubicBezTo>
                  <a:pt x="40" y="263"/>
                  <a:pt x="40" y="262"/>
                  <a:pt x="41" y="262"/>
                </a:cubicBezTo>
                <a:cubicBezTo>
                  <a:pt x="41" y="261"/>
                  <a:pt x="39" y="263"/>
                  <a:pt x="39" y="264"/>
                </a:cubicBezTo>
                <a:close/>
                <a:moveTo>
                  <a:pt x="36" y="263"/>
                </a:moveTo>
                <a:cubicBezTo>
                  <a:pt x="35" y="264"/>
                  <a:pt x="37" y="262"/>
                  <a:pt x="36" y="264"/>
                </a:cubicBezTo>
                <a:cubicBezTo>
                  <a:pt x="36" y="264"/>
                  <a:pt x="36" y="263"/>
                  <a:pt x="36" y="263"/>
                </a:cubicBezTo>
                <a:cubicBezTo>
                  <a:pt x="38" y="261"/>
                  <a:pt x="39" y="259"/>
                  <a:pt x="41" y="257"/>
                </a:cubicBezTo>
                <a:cubicBezTo>
                  <a:pt x="41" y="255"/>
                  <a:pt x="41" y="256"/>
                  <a:pt x="41" y="255"/>
                </a:cubicBezTo>
                <a:cubicBezTo>
                  <a:pt x="40" y="256"/>
                  <a:pt x="40" y="256"/>
                  <a:pt x="40" y="257"/>
                </a:cubicBezTo>
                <a:cubicBezTo>
                  <a:pt x="39" y="258"/>
                  <a:pt x="39" y="257"/>
                  <a:pt x="38" y="258"/>
                </a:cubicBezTo>
                <a:cubicBezTo>
                  <a:pt x="39" y="259"/>
                  <a:pt x="38" y="260"/>
                  <a:pt x="38" y="261"/>
                </a:cubicBezTo>
                <a:cubicBezTo>
                  <a:pt x="37" y="262"/>
                  <a:pt x="36" y="262"/>
                  <a:pt x="36" y="263"/>
                </a:cubicBezTo>
                <a:close/>
                <a:moveTo>
                  <a:pt x="81" y="228"/>
                </a:moveTo>
                <a:cubicBezTo>
                  <a:pt x="80" y="229"/>
                  <a:pt x="81" y="229"/>
                  <a:pt x="81" y="229"/>
                </a:cubicBezTo>
                <a:cubicBezTo>
                  <a:pt x="81" y="229"/>
                  <a:pt x="82" y="228"/>
                  <a:pt x="82" y="227"/>
                </a:cubicBezTo>
                <a:cubicBezTo>
                  <a:pt x="83" y="227"/>
                  <a:pt x="82" y="228"/>
                  <a:pt x="81" y="228"/>
                </a:cubicBezTo>
                <a:cubicBezTo>
                  <a:pt x="80" y="229"/>
                  <a:pt x="81" y="227"/>
                  <a:pt x="82" y="227"/>
                </a:cubicBezTo>
                <a:cubicBezTo>
                  <a:pt x="82" y="226"/>
                  <a:pt x="81" y="228"/>
                  <a:pt x="81" y="228"/>
                </a:cubicBezTo>
                <a:close/>
                <a:moveTo>
                  <a:pt x="16" y="278"/>
                </a:moveTo>
                <a:cubicBezTo>
                  <a:pt x="17" y="277"/>
                  <a:pt x="18" y="276"/>
                  <a:pt x="18" y="275"/>
                </a:cubicBezTo>
                <a:cubicBezTo>
                  <a:pt x="17" y="276"/>
                  <a:pt x="16" y="276"/>
                  <a:pt x="16" y="278"/>
                </a:cubicBezTo>
                <a:close/>
                <a:moveTo>
                  <a:pt x="16" y="275"/>
                </a:moveTo>
                <a:cubicBezTo>
                  <a:pt x="16" y="276"/>
                  <a:pt x="16" y="277"/>
                  <a:pt x="15" y="277"/>
                </a:cubicBezTo>
                <a:cubicBezTo>
                  <a:pt x="15" y="278"/>
                  <a:pt x="16" y="276"/>
                  <a:pt x="16" y="275"/>
                </a:cubicBezTo>
                <a:close/>
                <a:moveTo>
                  <a:pt x="17" y="274"/>
                </a:moveTo>
                <a:cubicBezTo>
                  <a:pt x="17" y="274"/>
                  <a:pt x="18" y="274"/>
                  <a:pt x="18" y="274"/>
                </a:cubicBezTo>
                <a:cubicBezTo>
                  <a:pt x="18" y="273"/>
                  <a:pt x="18" y="273"/>
                  <a:pt x="18" y="272"/>
                </a:cubicBezTo>
                <a:cubicBezTo>
                  <a:pt x="18" y="273"/>
                  <a:pt x="18" y="273"/>
                  <a:pt x="17" y="274"/>
                </a:cubicBezTo>
                <a:close/>
                <a:moveTo>
                  <a:pt x="83" y="225"/>
                </a:moveTo>
                <a:cubicBezTo>
                  <a:pt x="84" y="226"/>
                  <a:pt x="85" y="223"/>
                  <a:pt x="86" y="223"/>
                </a:cubicBezTo>
                <a:cubicBezTo>
                  <a:pt x="86" y="222"/>
                  <a:pt x="84" y="224"/>
                  <a:pt x="83" y="225"/>
                </a:cubicBezTo>
                <a:close/>
                <a:moveTo>
                  <a:pt x="8" y="276"/>
                </a:moveTo>
                <a:cubicBezTo>
                  <a:pt x="7" y="277"/>
                  <a:pt x="6" y="279"/>
                  <a:pt x="6" y="280"/>
                </a:cubicBezTo>
                <a:cubicBezTo>
                  <a:pt x="7" y="279"/>
                  <a:pt x="7" y="278"/>
                  <a:pt x="8" y="276"/>
                </a:cubicBezTo>
                <a:close/>
                <a:moveTo>
                  <a:pt x="91" y="216"/>
                </a:moveTo>
                <a:cubicBezTo>
                  <a:pt x="91" y="216"/>
                  <a:pt x="90" y="217"/>
                  <a:pt x="89" y="218"/>
                </a:cubicBezTo>
                <a:cubicBezTo>
                  <a:pt x="90" y="218"/>
                  <a:pt x="91" y="217"/>
                  <a:pt x="91" y="216"/>
                </a:cubicBezTo>
                <a:close/>
                <a:moveTo>
                  <a:pt x="33" y="255"/>
                </a:moveTo>
                <a:cubicBezTo>
                  <a:pt x="33" y="257"/>
                  <a:pt x="32" y="257"/>
                  <a:pt x="31" y="258"/>
                </a:cubicBezTo>
                <a:cubicBezTo>
                  <a:pt x="32" y="258"/>
                  <a:pt x="34" y="254"/>
                  <a:pt x="33" y="255"/>
                </a:cubicBezTo>
                <a:close/>
                <a:moveTo>
                  <a:pt x="50" y="243"/>
                </a:moveTo>
                <a:cubicBezTo>
                  <a:pt x="50" y="244"/>
                  <a:pt x="52" y="241"/>
                  <a:pt x="52" y="240"/>
                </a:cubicBezTo>
                <a:cubicBezTo>
                  <a:pt x="52" y="240"/>
                  <a:pt x="52" y="240"/>
                  <a:pt x="52" y="239"/>
                </a:cubicBezTo>
                <a:cubicBezTo>
                  <a:pt x="51" y="240"/>
                  <a:pt x="51" y="242"/>
                  <a:pt x="50" y="243"/>
                </a:cubicBezTo>
                <a:close/>
                <a:moveTo>
                  <a:pt x="18" y="267"/>
                </a:moveTo>
                <a:cubicBezTo>
                  <a:pt x="19" y="266"/>
                  <a:pt x="20" y="265"/>
                  <a:pt x="21" y="263"/>
                </a:cubicBezTo>
                <a:cubicBezTo>
                  <a:pt x="20" y="264"/>
                  <a:pt x="19" y="265"/>
                  <a:pt x="18" y="267"/>
                </a:cubicBezTo>
                <a:close/>
                <a:moveTo>
                  <a:pt x="96" y="211"/>
                </a:moveTo>
                <a:cubicBezTo>
                  <a:pt x="97" y="209"/>
                  <a:pt x="99" y="208"/>
                  <a:pt x="99" y="206"/>
                </a:cubicBezTo>
                <a:cubicBezTo>
                  <a:pt x="98" y="208"/>
                  <a:pt x="96" y="209"/>
                  <a:pt x="95" y="211"/>
                </a:cubicBezTo>
                <a:cubicBezTo>
                  <a:pt x="96" y="211"/>
                  <a:pt x="96" y="211"/>
                  <a:pt x="96" y="211"/>
                </a:cubicBezTo>
                <a:close/>
                <a:moveTo>
                  <a:pt x="41" y="244"/>
                </a:moveTo>
                <a:cubicBezTo>
                  <a:pt x="41" y="244"/>
                  <a:pt x="40" y="245"/>
                  <a:pt x="40" y="245"/>
                </a:cubicBezTo>
                <a:cubicBezTo>
                  <a:pt x="40" y="245"/>
                  <a:pt x="40" y="246"/>
                  <a:pt x="40" y="246"/>
                </a:cubicBezTo>
                <a:cubicBezTo>
                  <a:pt x="41" y="246"/>
                  <a:pt x="41" y="245"/>
                  <a:pt x="41" y="244"/>
                </a:cubicBezTo>
                <a:close/>
                <a:moveTo>
                  <a:pt x="101" y="204"/>
                </a:moveTo>
                <a:cubicBezTo>
                  <a:pt x="100" y="205"/>
                  <a:pt x="100" y="205"/>
                  <a:pt x="100" y="206"/>
                </a:cubicBezTo>
                <a:cubicBezTo>
                  <a:pt x="100" y="206"/>
                  <a:pt x="101" y="205"/>
                  <a:pt x="101" y="205"/>
                </a:cubicBezTo>
                <a:cubicBezTo>
                  <a:pt x="100" y="205"/>
                  <a:pt x="102" y="204"/>
                  <a:pt x="102" y="203"/>
                </a:cubicBezTo>
                <a:cubicBezTo>
                  <a:pt x="101" y="203"/>
                  <a:pt x="101" y="204"/>
                  <a:pt x="101" y="204"/>
                </a:cubicBezTo>
                <a:close/>
                <a:moveTo>
                  <a:pt x="106" y="200"/>
                </a:moveTo>
                <a:cubicBezTo>
                  <a:pt x="104" y="201"/>
                  <a:pt x="105" y="199"/>
                  <a:pt x="104" y="200"/>
                </a:cubicBezTo>
                <a:cubicBezTo>
                  <a:pt x="105" y="201"/>
                  <a:pt x="103" y="202"/>
                  <a:pt x="103" y="203"/>
                </a:cubicBezTo>
                <a:cubicBezTo>
                  <a:pt x="104" y="201"/>
                  <a:pt x="105" y="202"/>
                  <a:pt x="106" y="200"/>
                </a:cubicBezTo>
                <a:close/>
                <a:moveTo>
                  <a:pt x="37" y="240"/>
                </a:moveTo>
                <a:cubicBezTo>
                  <a:pt x="37" y="241"/>
                  <a:pt x="37" y="241"/>
                  <a:pt x="37" y="242"/>
                </a:cubicBezTo>
                <a:cubicBezTo>
                  <a:pt x="38" y="241"/>
                  <a:pt x="39" y="239"/>
                  <a:pt x="37" y="240"/>
                </a:cubicBezTo>
                <a:close/>
                <a:moveTo>
                  <a:pt x="110" y="195"/>
                </a:moveTo>
                <a:cubicBezTo>
                  <a:pt x="111" y="194"/>
                  <a:pt x="111" y="193"/>
                  <a:pt x="112" y="192"/>
                </a:cubicBezTo>
                <a:cubicBezTo>
                  <a:pt x="113" y="191"/>
                  <a:pt x="113" y="192"/>
                  <a:pt x="112" y="193"/>
                </a:cubicBezTo>
                <a:cubicBezTo>
                  <a:pt x="114" y="192"/>
                  <a:pt x="113" y="191"/>
                  <a:pt x="115" y="189"/>
                </a:cubicBezTo>
                <a:cubicBezTo>
                  <a:pt x="115" y="189"/>
                  <a:pt x="115" y="189"/>
                  <a:pt x="114" y="190"/>
                </a:cubicBezTo>
                <a:cubicBezTo>
                  <a:pt x="113" y="191"/>
                  <a:pt x="114" y="189"/>
                  <a:pt x="115" y="189"/>
                </a:cubicBezTo>
                <a:cubicBezTo>
                  <a:pt x="113" y="191"/>
                  <a:pt x="111" y="192"/>
                  <a:pt x="110" y="195"/>
                </a:cubicBezTo>
                <a:close/>
                <a:moveTo>
                  <a:pt x="80" y="205"/>
                </a:moveTo>
                <a:cubicBezTo>
                  <a:pt x="79" y="207"/>
                  <a:pt x="78" y="208"/>
                  <a:pt x="78" y="209"/>
                </a:cubicBezTo>
                <a:cubicBezTo>
                  <a:pt x="79" y="208"/>
                  <a:pt x="80" y="206"/>
                  <a:pt x="80" y="205"/>
                </a:cubicBezTo>
                <a:close/>
                <a:moveTo>
                  <a:pt x="60" y="219"/>
                </a:moveTo>
                <a:cubicBezTo>
                  <a:pt x="59" y="219"/>
                  <a:pt x="59" y="220"/>
                  <a:pt x="59" y="220"/>
                </a:cubicBezTo>
                <a:cubicBezTo>
                  <a:pt x="60" y="219"/>
                  <a:pt x="59" y="220"/>
                  <a:pt x="60" y="220"/>
                </a:cubicBezTo>
                <a:cubicBezTo>
                  <a:pt x="60" y="219"/>
                  <a:pt x="60" y="219"/>
                  <a:pt x="60" y="219"/>
                </a:cubicBezTo>
                <a:close/>
                <a:moveTo>
                  <a:pt x="79" y="197"/>
                </a:moveTo>
                <a:cubicBezTo>
                  <a:pt x="80" y="196"/>
                  <a:pt x="81" y="195"/>
                  <a:pt x="81" y="193"/>
                </a:cubicBezTo>
                <a:cubicBezTo>
                  <a:pt x="81" y="195"/>
                  <a:pt x="79" y="196"/>
                  <a:pt x="79" y="197"/>
                </a:cubicBezTo>
                <a:close/>
                <a:moveTo>
                  <a:pt x="57" y="203"/>
                </a:moveTo>
                <a:cubicBezTo>
                  <a:pt x="57" y="203"/>
                  <a:pt x="57" y="204"/>
                  <a:pt x="56" y="204"/>
                </a:cubicBezTo>
                <a:cubicBezTo>
                  <a:pt x="57" y="204"/>
                  <a:pt x="57" y="203"/>
                  <a:pt x="58" y="203"/>
                </a:cubicBezTo>
                <a:cubicBezTo>
                  <a:pt x="59" y="201"/>
                  <a:pt x="57" y="204"/>
                  <a:pt x="57" y="203"/>
                </a:cubicBezTo>
                <a:close/>
                <a:moveTo>
                  <a:pt x="41" y="214"/>
                </a:moveTo>
                <a:cubicBezTo>
                  <a:pt x="42" y="213"/>
                  <a:pt x="43" y="212"/>
                  <a:pt x="43" y="211"/>
                </a:cubicBezTo>
                <a:cubicBezTo>
                  <a:pt x="43" y="212"/>
                  <a:pt x="41" y="214"/>
                  <a:pt x="41" y="214"/>
                </a:cubicBezTo>
                <a:close/>
                <a:moveTo>
                  <a:pt x="104" y="173"/>
                </a:moveTo>
                <a:cubicBezTo>
                  <a:pt x="105" y="173"/>
                  <a:pt x="105" y="173"/>
                  <a:pt x="105" y="173"/>
                </a:cubicBezTo>
                <a:cubicBezTo>
                  <a:pt x="105" y="172"/>
                  <a:pt x="105" y="172"/>
                  <a:pt x="105" y="172"/>
                </a:cubicBezTo>
                <a:cubicBezTo>
                  <a:pt x="105" y="171"/>
                  <a:pt x="104" y="173"/>
                  <a:pt x="104" y="173"/>
                </a:cubicBezTo>
                <a:close/>
                <a:moveTo>
                  <a:pt x="63" y="190"/>
                </a:moveTo>
                <a:cubicBezTo>
                  <a:pt x="63" y="191"/>
                  <a:pt x="62" y="192"/>
                  <a:pt x="62" y="192"/>
                </a:cubicBezTo>
                <a:cubicBezTo>
                  <a:pt x="62" y="193"/>
                  <a:pt x="60" y="194"/>
                  <a:pt x="60" y="196"/>
                </a:cubicBezTo>
                <a:cubicBezTo>
                  <a:pt x="61" y="195"/>
                  <a:pt x="61" y="194"/>
                  <a:pt x="63" y="193"/>
                </a:cubicBezTo>
                <a:cubicBezTo>
                  <a:pt x="63" y="192"/>
                  <a:pt x="62" y="193"/>
                  <a:pt x="62" y="193"/>
                </a:cubicBezTo>
                <a:cubicBezTo>
                  <a:pt x="62" y="192"/>
                  <a:pt x="64" y="191"/>
                  <a:pt x="63" y="190"/>
                </a:cubicBezTo>
                <a:close/>
                <a:moveTo>
                  <a:pt x="108" y="165"/>
                </a:moveTo>
                <a:cubicBezTo>
                  <a:pt x="108" y="164"/>
                  <a:pt x="107" y="165"/>
                  <a:pt x="106" y="166"/>
                </a:cubicBezTo>
                <a:cubicBezTo>
                  <a:pt x="105" y="167"/>
                  <a:pt x="107" y="165"/>
                  <a:pt x="106" y="167"/>
                </a:cubicBezTo>
                <a:cubicBezTo>
                  <a:pt x="107" y="166"/>
                  <a:pt x="107" y="166"/>
                  <a:pt x="108" y="165"/>
                </a:cubicBezTo>
                <a:close/>
                <a:moveTo>
                  <a:pt x="75" y="176"/>
                </a:moveTo>
                <a:cubicBezTo>
                  <a:pt x="74" y="178"/>
                  <a:pt x="73" y="179"/>
                  <a:pt x="72" y="180"/>
                </a:cubicBezTo>
                <a:cubicBezTo>
                  <a:pt x="72" y="180"/>
                  <a:pt x="75" y="177"/>
                  <a:pt x="75" y="176"/>
                </a:cubicBezTo>
                <a:close/>
                <a:moveTo>
                  <a:pt x="69" y="177"/>
                </a:moveTo>
                <a:cubicBezTo>
                  <a:pt x="69" y="178"/>
                  <a:pt x="68" y="178"/>
                  <a:pt x="67" y="180"/>
                </a:cubicBezTo>
                <a:cubicBezTo>
                  <a:pt x="68" y="179"/>
                  <a:pt x="69" y="178"/>
                  <a:pt x="69" y="177"/>
                </a:cubicBezTo>
                <a:close/>
                <a:moveTo>
                  <a:pt x="84" y="168"/>
                </a:moveTo>
                <a:cubicBezTo>
                  <a:pt x="85" y="168"/>
                  <a:pt x="86" y="167"/>
                  <a:pt x="87" y="166"/>
                </a:cubicBezTo>
                <a:cubicBezTo>
                  <a:pt x="86" y="167"/>
                  <a:pt x="85" y="167"/>
                  <a:pt x="84" y="168"/>
                </a:cubicBezTo>
                <a:close/>
                <a:moveTo>
                  <a:pt x="94" y="159"/>
                </a:moveTo>
                <a:cubicBezTo>
                  <a:pt x="93" y="160"/>
                  <a:pt x="93" y="160"/>
                  <a:pt x="93" y="160"/>
                </a:cubicBezTo>
                <a:cubicBezTo>
                  <a:pt x="94" y="160"/>
                  <a:pt x="94" y="159"/>
                  <a:pt x="95" y="158"/>
                </a:cubicBezTo>
                <a:cubicBezTo>
                  <a:pt x="95" y="158"/>
                  <a:pt x="94" y="158"/>
                  <a:pt x="94" y="159"/>
                </a:cubicBezTo>
                <a:close/>
                <a:moveTo>
                  <a:pt x="96" y="156"/>
                </a:moveTo>
                <a:cubicBezTo>
                  <a:pt x="97" y="156"/>
                  <a:pt x="98" y="155"/>
                  <a:pt x="98" y="154"/>
                </a:cubicBezTo>
                <a:cubicBezTo>
                  <a:pt x="99" y="154"/>
                  <a:pt x="97" y="155"/>
                  <a:pt x="96" y="156"/>
                </a:cubicBezTo>
                <a:close/>
                <a:moveTo>
                  <a:pt x="141" y="134"/>
                </a:moveTo>
                <a:cubicBezTo>
                  <a:pt x="141" y="134"/>
                  <a:pt x="141" y="134"/>
                  <a:pt x="141" y="134"/>
                </a:cubicBezTo>
                <a:cubicBezTo>
                  <a:pt x="141" y="133"/>
                  <a:pt x="142" y="133"/>
                  <a:pt x="142" y="133"/>
                </a:cubicBezTo>
                <a:cubicBezTo>
                  <a:pt x="143" y="133"/>
                  <a:pt x="142" y="132"/>
                  <a:pt x="143" y="132"/>
                </a:cubicBezTo>
                <a:cubicBezTo>
                  <a:pt x="144" y="130"/>
                  <a:pt x="142" y="133"/>
                  <a:pt x="142" y="132"/>
                </a:cubicBezTo>
                <a:cubicBezTo>
                  <a:pt x="141" y="132"/>
                  <a:pt x="139" y="135"/>
                  <a:pt x="141" y="134"/>
                </a:cubicBezTo>
                <a:close/>
                <a:moveTo>
                  <a:pt x="146" y="129"/>
                </a:moveTo>
                <a:cubicBezTo>
                  <a:pt x="145" y="129"/>
                  <a:pt x="145" y="129"/>
                  <a:pt x="145" y="129"/>
                </a:cubicBezTo>
                <a:cubicBezTo>
                  <a:pt x="144" y="130"/>
                  <a:pt x="144" y="130"/>
                  <a:pt x="143" y="131"/>
                </a:cubicBezTo>
                <a:cubicBezTo>
                  <a:pt x="144" y="131"/>
                  <a:pt x="144" y="130"/>
                  <a:pt x="144" y="130"/>
                </a:cubicBezTo>
                <a:cubicBezTo>
                  <a:pt x="145" y="130"/>
                  <a:pt x="145" y="130"/>
                  <a:pt x="145" y="130"/>
                </a:cubicBezTo>
                <a:cubicBezTo>
                  <a:pt x="146" y="130"/>
                  <a:pt x="146" y="129"/>
                  <a:pt x="146" y="129"/>
                </a:cubicBezTo>
                <a:close/>
                <a:moveTo>
                  <a:pt x="152" y="126"/>
                </a:moveTo>
                <a:cubicBezTo>
                  <a:pt x="151" y="126"/>
                  <a:pt x="151" y="127"/>
                  <a:pt x="150" y="128"/>
                </a:cubicBezTo>
                <a:cubicBezTo>
                  <a:pt x="151" y="127"/>
                  <a:pt x="152" y="127"/>
                  <a:pt x="152" y="126"/>
                </a:cubicBezTo>
                <a:close/>
                <a:moveTo>
                  <a:pt x="110" y="144"/>
                </a:moveTo>
                <a:cubicBezTo>
                  <a:pt x="112" y="143"/>
                  <a:pt x="111" y="142"/>
                  <a:pt x="110" y="142"/>
                </a:cubicBezTo>
                <a:cubicBezTo>
                  <a:pt x="109" y="144"/>
                  <a:pt x="110" y="143"/>
                  <a:pt x="110" y="144"/>
                </a:cubicBezTo>
                <a:close/>
                <a:moveTo>
                  <a:pt x="108" y="145"/>
                </a:moveTo>
                <a:cubicBezTo>
                  <a:pt x="109" y="143"/>
                  <a:pt x="111" y="142"/>
                  <a:pt x="111" y="141"/>
                </a:cubicBezTo>
                <a:cubicBezTo>
                  <a:pt x="110" y="142"/>
                  <a:pt x="108" y="143"/>
                  <a:pt x="108" y="145"/>
                </a:cubicBezTo>
                <a:close/>
                <a:moveTo>
                  <a:pt x="112" y="142"/>
                </a:moveTo>
                <a:cubicBezTo>
                  <a:pt x="113" y="141"/>
                  <a:pt x="114" y="140"/>
                  <a:pt x="114" y="139"/>
                </a:cubicBezTo>
                <a:cubicBezTo>
                  <a:pt x="113" y="140"/>
                  <a:pt x="113" y="141"/>
                  <a:pt x="112" y="142"/>
                </a:cubicBezTo>
                <a:cubicBezTo>
                  <a:pt x="112" y="142"/>
                  <a:pt x="112" y="141"/>
                  <a:pt x="112" y="142"/>
                </a:cubicBezTo>
                <a:close/>
                <a:moveTo>
                  <a:pt x="118" y="137"/>
                </a:moveTo>
                <a:cubicBezTo>
                  <a:pt x="117" y="139"/>
                  <a:pt x="117" y="139"/>
                  <a:pt x="117" y="139"/>
                </a:cubicBezTo>
                <a:cubicBezTo>
                  <a:pt x="119" y="137"/>
                  <a:pt x="120" y="137"/>
                  <a:pt x="118" y="137"/>
                </a:cubicBezTo>
                <a:close/>
                <a:moveTo>
                  <a:pt x="158" y="121"/>
                </a:moveTo>
                <a:cubicBezTo>
                  <a:pt x="159" y="121"/>
                  <a:pt x="160" y="120"/>
                  <a:pt x="160" y="119"/>
                </a:cubicBezTo>
                <a:cubicBezTo>
                  <a:pt x="159" y="120"/>
                  <a:pt x="158" y="120"/>
                  <a:pt x="158" y="121"/>
                </a:cubicBezTo>
                <a:close/>
                <a:moveTo>
                  <a:pt x="171" y="112"/>
                </a:moveTo>
                <a:cubicBezTo>
                  <a:pt x="173" y="109"/>
                  <a:pt x="176" y="108"/>
                  <a:pt x="177" y="106"/>
                </a:cubicBezTo>
                <a:cubicBezTo>
                  <a:pt x="175" y="108"/>
                  <a:pt x="173" y="109"/>
                  <a:pt x="171" y="111"/>
                </a:cubicBezTo>
                <a:cubicBezTo>
                  <a:pt x="171" y="111"/>
                  <a:pt x="171" y="111"/>
                  <a:pt x="171" y="110"/>
                </a:cubicBezTo>
                <a:cubicBezTo>
                  <a:pt x="169" y="111"/>
                  <a:pt x="170" y="112"/>
                  <a:pt x="171" y="112"/>
                </a:cubicBezTo>
                <a:close/>
                <a:moveTo>
                  <a:pt x="133" y="123"/>
                </a:moveTo>
                <a:cubicBezTo>
                  <a:pt x="132" y="122"/>
                  <a:pt x="131" y="125"/>
                  <a:pt x="132" y="125"/>
                </a:cubicBezTo>
                <a:cubicBezTo>
                  <a:pt x="133" y="124"/>
                  <a:pt x="132" y="123"/>
                  <a:pt x="133" y="123"/>
                </a:cubicBezTo>
                <a:close/>
                <a:moveTo>
                  <a:pt x="133" y="123"/>
                </a:moveTo>
                <a:cubicBezTo>
                  <a:pt x="134" y="123"/>
                  <a:pt x="134" y="122"/>
                  <a:pt x="135" y="121"/>
                </a:cubicBezTo>
                <a:cubicBezTo>
                  <a:pt x="134" y="121"/>
                  <a:pt x="133" y="122"/>
                  <a:pt x="133" y="123"/>
                </a:cubicBezTo>
                <a:close/>
                <a:moveTo>
                  <a:pt x="185" y="101"/>
                </a:moveTo>
                <a:cubicBezTo>
                  <a:pt x="184" y="101"/>
                  <a:pt x="183" y="101"/>
                  <a:pt x="183" y="102"/>
                </a:cubicBezTo>
                <a:cubicBezTo>
                  <a:pt x="184" y="102"/>
                  <a:pt x="184" y="102"/>
                  <a:pt x="184" y="102"/>
                </a:cubicBezTo>
                <a:cubicBezTo>
                  <a:pt x="185" y="101"/>
                  <a:pt x="184" y="101"/>
                  <a:pt x="185" y="101"/>
                </a:cubicBezTo>
                <a:close/>
                <a:moveTo>
                  <a:pt x="152" y="111"/>
                </a:moveTo>
                <a:cubicBezTo>
                  <a:pt x="152" y="110"/>
                  <a:pt x="151" y="110"/>
                  <a:pt x="152" y="109"/>
                </a:cubicBezTo>
                <a:cubicBezTo>
                  <a:pt x="151" y="110"/>
                  <a:pt x="150" y="112"/>
                  <a:pt x="152" y="111"/>
                </a:cubicBezTo>
                <a:close/>
                <a:moveTo>
                  <a:pt x="187" y="71"/>
                </a:moveTo>
                <a:cubicBezTo>
                  <a:pt x="186" y="72"/>
                  <a:pt x="186" y="73"/>
                  <a:pt x="185" y="74"/>
                </a:cubicBezTo>
                <a:cubicBezTo>
                  <a:pt x="187" y="73"/>
                  <a:pt x="187" y="72"/>
                  <a:pt x="187" y="71"/>
                </a:cubicBezTo>
                <a:close/>
                <a:moveTo>
                  <a:pt x="215" y="55"/>
                </a:moveTo>
                <a:cubicBezTo>
                  <a:pt x="216" y="55"/>
                  <a:pt x="216" y="54"/>
                  <a:pt x="217" y="54"/>
                </a:cubicBezTo>
                <a:cubicBezTo>
                  <a:pt x="218" y="54"/>
                  <a:pt x="216" y="55"/>
                  <a:pt x="216" y="55"/>
                </a:cubicBezTo>
                <a:cubicBezTo>
                  <a:pt x="217" y="55"/>
                  <a:pt x="218" y="54"/>
                  <a:pt x="219" y="53"/>
                </a:cubicBezTo>
                <a:cubicBezTo>
                  <a:pt x="218" y="54"/>
                  <a:pt x="218" y="54"/>
                  <a:pt x="217" y="53"/>
                </a:cubicBezTo>
                <a:cubicBezTo>
                  <a:pt x="218" y="52"/>
                  <a:pt x="220" y="52"/>
                  <a:pt x="221" y="51"/>
                </a:cubicBezTo>
                <a:cubicBezTo>
                  <a:pt x="220" y="51"/>
                  <a:pt x="220" y="52"/>
                  <a:pt x="219" y="52"/>
                </a:cubicBezTo>
                <a:cubicBezTo>
                  <a:pt x="217" y="53"/>
                  <a:pt x="216" y="54"/>
                  <a:pt x="215" y="54"/>
                </a:cubicBezTo>
                <a:cubicBezTo>
                  <a:pt x="215" y="55"/>
                  <a:pt x="216" y="54"/>
                  <a:pt x="215" y="55"/>
                </a:cubicBezTo>
                <a:close/>
                <a:moveTo>
                  <a:pt x="229" y="47"/>
                </a:moveTo>
                <a:cubicBezTo>
                  <a:pt x="228" y="47"/>
                  <a:pt x="227" y="49"/>
                  <a:pt x="227" y="48"/>
                </a:cubicBezTo>
                <a:cubicBezTo>
                  <a:pt x="226" y="48"/>
                  <a:pt x="226" y="49"/>
                  <a:pt x="226" y="49"/>
                </a:cubicBezTo>
                <a:cubicBezTo>
                  <a:pt x="228" y="49"/>
                  <a:pt x="228" y="49"/>
                  <a:pt x="228" y="49"/>
                </a:cubicBezTo>
                <a:cubicBezTo>
                  <a:pt x="229" y="48"/>
                  <a:pt x="229" y="48"/>
                  <a:pt x="229" y="47"/>
                </a:cubicBezTo>
                <a:close/>
                <a:moveTo>
                  <a:pt x="231" y="47"/>
                </a:moveTo>
                <a:cubicBezTo>
                  <a:pt x="231" y="47"/>
                  <a:pt x="232" y="46"/>
                  <a:pt x="233" y="45"/>
                </a:cubicBezTo>
                <a:cubicBezTo>
                  <a:pt x="232" y="45"/>
                  <a:pt x="232" y="45"/>
                  <a:pt x="232" y="45"/>
                </a:cubicBezTo>
                <a:cubicBezTo>
                  <a:pt x="231" y="46"/>
                  <a:pt x="231" y="46"/>
                  <a:pt x="231" y="46"/>
                </a:cubicBezTo>
                <a:cubicBezTo>
                  <a:pt x="231" y="46"/>
                  <a:pt x="231" y="46"/>
                  <a:pt x="230" y="47"/>
                </a:cubicBezTo>
                <a:cubicBezTo>
                  <a:pt x="231" y="47"/>
                  <a:pt x="230" y="47"/>
                  <a:pt x="231" y="47"/>
                </a:cubicBezTo>
                <a:close/>
                <a:moveTo>
                  <a:pt x="236" y="45"/>
                </a:moveTo>
                <a:cubicBezTo>
                  <a:pt x="237" y="44"/>
                  <a:pt x="238" y="44"/>
                  <a:pt x="239" y="43"/>
                </a:cubicBezTo>
                <a:cubicBezTo>
                  <a:pt x="238" y="43"/>
                  <a:pt x="237" y="45"/>
                  <a:pt x="235" y="45"/>
                </a:cubicBezTo>
                <a:cubicBezTo>
                  <a:pt x="235" y="45"/>
                  <a:pt x="236" y="45"/>
                  <a:pt x="236" y="45"/>
                </a:cubicBezTo>
                <a:close/>
                <a:moveTo>
                  <a:pt x="241" y="42"/>
                </a:moveTo>
                <a:cubicBezTo>
                  <a:pt x="241" y="42"/>
                  <a:pt x="242" y="42"/>
                  <a:pt x="242" y="41"/>
                </a:cubicBezTo>
                <a:cubicBezTo>
                  <a:pt x="242" y="41"/>
                  <a:pt x="241" y="41"/>
                  <a:pt x="241" y="41"/>
                </a:cubicBezTo>
                <a:cubicBezTo>
                  <a:pt x="240" y="42"/>
                  <a:pt x="240" y="42"/>
                  <a:pt x="241" y="42"/>
                </a:cubicBezTo>
                <a:close/>
                <a:moveTo>
                  <a:pt x="243" y="41"/>
                </a:moveTo>
                <a:cubicBezTo>
                  <a:pt x="244" y="41"/>
                  <a:pt x="243" y="41"/>
                  <a:pt x="244" y="41"/>
                </a:cubicBezTo>
                <a:cubicBezTo>
                  <a:pt x="244" y="40"/>
                  <a:pt x="243" y="40"/>
                  <a:pt x="243" y="40"/>
                </a:cubicBezTo>
                <a:cubicBezTo>
                  <a:pt x="242" y="41"/>
                  <a:pt x="242" y="41"/>
                  <a:pt x="242" y="41"/>
                </a:cubicBezTo>
                <a:cubicBezTo>
                  <a:pt x="243" y="41"/>
                  <a:pt x="242" y="41"/>
                  <a:pt x="243" y="41"/>
                </a:cubicBezTo>
                <a:close/>
                <a:moveTo>
                  <a:pt x="247" y="38"/>
                </a:moveTo>
                <a:cubicBezTo>
                  <a:pt x="246" y="39"/>
                  <a:pt x="244" y="39"/>
                  <a:pt x="243" y="39"/>
                </a:cubicBezTo>
                <a:cubicBezTo>
                  <a:pt x="243" y="40"/>
                  <a:pt x="246" y="39"/>
                  <a:pt x="247" y="38"/>
                </a:cubicBezTo>
                <a:close/>
                <a:moveTo>
                  <a:pt x="262" y="32"/>
                </a:moveTo>
                <a:cubicBezTo>
                  <a:pt x="263" y="32"/>
                  <a:pt x="264" y="31"/>
                  <a:pt x="264" y="31"/>
                </a:cubicBezTo>
                <a:cubicBezTo>
                  <a:pt x="263" y="31"/>
                  <a:pt x="263" y="32"/>
                  <a:pt x="262" y="31"/>
                </a:cubicBezTo>
                <a:cubicBezTo>
                  <a:pt x="261" y="32"/>
                  <a:pt x="261" y="33"/>
                  <a:pt x="262" y="32"/>
                </a:cubicBezTo>
                <a:close/>
                <a:moveTo>
                  <a:pt x="273" y="27"/>
                </a:moveTo>
                <a:cubicBezTo>
                  <a:pt x="272" y="28"/>
                  <a:pt x="272" y="28"/>
                  <a:pt x="272" y="28"/>
                </a:cubicBezTo>
                <a:cubicBezTo>
                  <a:pt x="273" y="28"/>
                  <a:pt x="274" y="27"/>
                  <a:pt x="275" y="27"/>
                </a:cubicBezTo>
                <a:lnTo>
                  <a:pt x="273" y="27"/>
                </a:lnTo>
                <a:close/>
                <a:moveTo>
                  <a:pt x="281" y="24"/>
                </a:moveTo>
                <a:cubicBezTo>
                  <a:pt x="280" y="24"/>
                  <a:pt x="281" y="24"/>
                  <a:pt x="280" y="25"/>
                </a:cubicBezTo>
                <a:cubicBezTo>
                  <a:pt x="280" y="25"/>
                  <a:pt x="279" y="25"/>
                  <a:pt x="278" y="26"/>
                </a:cubicBezTo>
                <a:cubicBezTo>
                  <a:pt x="280" y="25"/>
                  <a:pt x="281" y="25"/>
                  <a:pt x="282" y="24"/>
                </a:cubicBezTo>
                <a:cubicBezTo>
                  <a:pt x="283" y="24"/>
                  <a:pt x="280" y="25"/>
                  <a:pt x="281" y="24"/>
                </a:cubicBezTo>
                <a:close/>
                <a:moveTo>
                  <a:pt x="282" y="23"/>
                </a:moveTo>
                <a:cubicBezTo>
                  <a:pt x="283" y="23"/>
                  <a:pt x="284" y="22"/>
                  <a:pt x="285" y="22"/>
                </a:cubicBezTo>
                <a:cubicBezTo>
                  <a:pt x="284" y="22"/>
                  <a:pt x="283" y="22"/>
                  <a:pt x="282" y="22"/>
                </a:cubicBezTo>
                <a:cubicBezTo>
                  <a:pt x="282" y="23"/>
                  <a:pt x="283" y="22"/>
                  <a:pt x="282" y="23"/>
                </a:cubicBezTo>
                <a:close/>
                <a:moveTo>
                  <a:pt x="290" y="22"/>
                </a:moveTo>
                <a:cubicBezTo>
                  <a:pt x="292" y="21"/>
                  <a:pt x="294" y="20"/>
                  <a:pt x="296" y="20"/>
                </a:cubicBezTo>
                <a:cubicBezTo>
                  <a:pt x="297" y="19"/>
                  <a:pt x="294" y="20"/>
                  <a:pt x="293" y="20"/>
                </a:cubicBezTo>
                <a:cubicBezTo>
                  <a:pt x="292" y="20"/>
                  <a:pt x="293" y="20"/>
                  <a:pt x="291" y="21"/>
                </a:cubicBezTo>
                <a:cubicBezTo>
                  <a:pt x="289" y="21"/>
                  <a:pt x="289" y="21"/>
                  <a:pt x="288" y="21"/>
                </a:cubicBezTo>
                <a:cubicBezTo>
                  <a:pt x="288" y="22"/>
                  <a:pt x="288" y="22"/>
                  <a:pt x="290" y="22"/>
                </a:cubicBezTo>
                <a:close/>
                <a:moveTo>
                  <a:pt x="290" y="20"/>
                </a:moveTo>
                <a:cubicBezTo>
                  <a:pt x="292" y="20"/>
                  <a:pt x="293" y="19"/>
                  <a:pt x="295" y="19"/>
                </a:cubicBezTo>
                <a:cubicBezTo>
                  <a:pt x="294" y="19"/>
                  <a:pt x="291" y="19"/>
                  <a:pt x="290" y="20"/>
                </a:cubicBezTo>
                <a:close/>
                <a:moveTo>
                  <a:pt x="297" y="17"/>
                </a:moveTo>
                <a:cubicBezTo>
                  <a:pt x="298" y="17"/>
                  <a:pt x="298" y="17"/>
                  <a:pt x="299" y="17"/>
                </a:cubicBezTo>
                <a:cubicBezTo>
                  <a:pt x="300" y="17"/>
                  <a:pt x="298" y="17"/>
                  <a:pt x="299" y="16"/>
                </a:cubicBezTo>
                <a:cubicBezTo>
                  <a:pt x="298" y="16"/>
                  <a:pt x="298" y="17"/>
                  <a:pt x="297" y="17"/>
                </a:cubicBezTo>
                <a:cubicBezTo>
                  <a:pt x="298" y="17"/>
                  <a:pt x="298" y="17"/>
                  <a:pt x="297" y="17"/>
                </a:cubicBezTo>
                <a:close/>
                <a:moveTo>
                  <a:pt x="308" y="13"/>
                </a:moveTo>
                <a:cubicBezTo>
                  <a:pt x="308" y="14"/>
                  <a:pt x="308" y="14"/>
                  <a:pt x="307" y="14"/>
                </a:cubicBezTo>
                <a:cubicBezTo>
                  <a:pt x="307" y="14"/>
                  <a:pt x="308" y="14"/>
                  <a:pt x="309" y="14"/>
                </a:cubicBezTo>
                <a:cubicBezTo>
                  <a:pt x="308" y="14"/>
                  <a:pt x="309" y="13"/>
                  <a:pt x="308" y="13"/>
                </a:cubicBezTo>
                <a:close/>
                <a:moveTo>
                  <a:pt x="431" y="1"/>
                </a:moveTo>
                <a:cubicBezTo>
                  <a:pt x="430" y="1"/>
                  <a:pt x="429" y="0"/>
                  <a:pt x="427" y="0"/>
                </a:cubicBezTo>
                <a:cubicBezTo>
                  <a:pt x="426" y="0"/>
                  <a:pt x="427" y="1"/>
                  <a:pt x="426" y="1"/>
                </a:cubicBezTo>
                <a:cubicBezTo>
                  <a:pt x="428" y="1"/>
                  <a:pt x="430" y="1"/>
                  <a:pt x="431" y="1"/>
                </a:cubicBezTo>
                <a:close/>
                <a:moveTo>
                  <a:pt x="460" y="2"/>
                </a:moveTo>
                <a:cubicBezTo>
                  <a:pt x="461" y="2"/>
                  <a:pt x="462" y="2"/>
                  <a:pt x="463" y="2"/>
                </a:cubicBezTo>
                <a:cubicBezTo>
                  <a:pt x="463" y="2"/>
                  <a:pt x="461" y="1"/>
                  <a:pt x="460" y="2"/>
                </a:cubicBezTo>
                <a:close/>
                <a:moveTo>
                  <a:pt x="500" y="10"/>
                </a:moveTo>
                <a:cubicBezTo>
                  <a:pt x="498" y="9"/>
                  <a:pt x="497" y="9"/>
                  <a:pt x="495" y="9"/>
                </a:cubicBezTo>
                <a:cubicBezTo>
                  <a:pt x="495" y="9"/>
                  <a:pt x="498" y="10"/>
                  <a:pt x="500" y="10"/>
                </a:cubicBezTo>
                <a:close/>
                <a:moveTo>
                  <a:pt x="512" y="13"/>
                </a:moveTo>
                <a:cubicBezTo>
                  <a:pt x="514" y="13"/>
                  <a:pt x="517" y="14"/>
                  <a:pt x="517" y="14"/>
                </a:cubicBezTo>
                <a:cubicBezTo>
                  <a:pt x="516" y="13"/>
                  <a:pt x="513" y="13"/>
                  <a:pt x="512" y="13"/>
                </a:cubicBezTo>
                <a:close/>
                <a:moveTo>
                  <a:pt x="545" y="23"/>
                </a:moveTo>
                <a:cubicBezTo>
                  <a:pt x="546" y="24"/>
                  <a:pt x="547" y="24"/>
                  <a:pt x="548" y="25"/>
                </a:cubicBezTo>
                <a:cubicBezTo>
                  <a:pt x="549" y="25"/>
                  <a:pt x="546" y="23"/>
                  <a:pt x="545" y="23"/>
                </a:cubicBezTo>
                <a:close/>
                <a:moveTo>
                  <a:pt x="578" y="40"/>
                </a:moveTo>
                <a:cubicBezTo>
                  <a:pt x="578" y="40"/>
                  <a:pt x="577" y="39"/>
                  <a:pt x="576" y="39"/>
                </a:cubicBezTo>
                <a:cubicBezTo>
                  <a:pt x="577" y="40"/>
                  <a:pt x="576" y="40"/>
                  <a:pt x="577" y="40"/>
                </a:cubicBezTo>
                <a:cubicBezTo>
                  <a:pt x="577" y="40"/>
                  <a:pt x="578" y="40"/>
                  <a:pt x="578" y="40"/>
                </a:cubicBezTo>
                <a:close/>
                <a:moveTo>
                  <a:pt x="642" y="137"/>
                </a:moveTo>
                <a:cubicBezTo>
                  <a:pt x="644" y="139"/>
                  <a:pt x="646" y="140"/>
                  <a:pt x="648" y="142"/>
                </a:cubicBezTo>
                <a:cubicBezTo>
                  <a:pt x="647" y="141"/>
                  <a:pt x="644" y="138"/>
                  <a:pt x="642" y="137"/>
                </a:cubicBezTo>
                <a:close/>
                <a:moveTo>
                  <a:pt x="650" y="144"/>
                </a:moveTo>
                <a:cubicBezTo>
                  <a:pt x="650" y="143"/>
                  <a:pt x="649" y="143"/>
                  <a:pt x="648" y="142"/>
                </a:cubicBezTo>
                <a:cubicBezTo>
                  <a:pt x="649" y="143"/>
                  <a:pt x="649" y="144"/>
                  <a:pt x="650" y="144"/>
                </a:cubicBezTo>
                <a:close/>
                <a:moveTo>
                  <a:pt x="633" y="74"/>
                </a:moveTo>
                <a:cubicBezTo>
                  <a:pt x="635" y="75"/>
                  <a:pt x="635" y="76"/>
                  <a:pt x="637" y="77"/>
                </a:cubicBezTo>
                <a:cubicBezTo>
                  <a:pt x="636" y="75"/>
                  <a:pt x="634" y="74"/>
                  <a:pt x="632" y="73"/>
                </a:cubicBezTo>
                <a:cubicBezTo>
                  <a:pt x="633" y="74"/>
                  <a:pt x="632" y="74"/>
                  <a:pt x="633" y="74"/>
                </a:cubicBezTo>
                <a:cubicBezTo>
                  <a:pt x="633" y="74"/>
                  <a:pt x="633" y="74"/>
                  <a:pt x="633" y="74"/>
                </a:cubicBezTo>
                <a:close/>
                <a:moveTo>
                  <a:pt x="640" y="83"/>
                </a:moveTo>
                <a:cubicBezTo>
                  <a:pt x="640" y="82"/>
                  <a:pt x="642" y="83"/>
                  <a:pt x="641" y="82"/>
                </a:cubicBezTo>
                <a:cubicBezTo>
                  <a:pt x="640" y="81"/>
                  <a:pt x="640" y="82"/>
                  <a:pt x="640" y="83"/>
                </a:cubicBezTo>
                <a:close/>
                <a:moveTo>
                  <a:pt x="641" y="81"/>
                </a:moveTo>
                <a:cubicBezTo>
                  <a:pt x="641" y="80"/>
                  <a:pt x="640" y="80"/>
                  <a:pt x="639" y="79"/>
                </a:cubicBezTo>
                <a:cubicBezTo>
                  <a:pt x="639" y="79"/>
                  <a:pt x="639" y="80"/>
                  <a:pt x="640" y="80"/>
                </a:cubicBezTo>
                <a:cubicBezTo>
                  <a:pt x="641" y="81"/>
                  <a:pt x="641" y="81"/>
                  <a:pt x="641" y="81"/>
                </a:cubicBezTo>
                <a:close/>
                <a:moveTo>
                  <a:pt x="701" y="139"/>
                </a:moveTo>
                <a:cubicBezTo>
                  <a:pt x="700" y="138"/>
                  <a:pt x="700" y="138"/>
                  <a:pt x="699" y="137"/>
                </a:cubicBezTo>
                <a:cubicBezTo>
                  <a:pt x="699" y="138"/>
                  <a:pt x="699" y="137"/>
                  <a:pt x="699" y="137"/>
                </a:cubicBezTo>
                <a:cubicBezTo>
                  <a:pt x="699" y="138"/>
                  <a:pt x="700" y="138"/>
                  <a:pt x="701" y="139"/>
                </a:cubicBezTo>
                <a:close/>
                <a:moveTo>
                  <a:pt x="705" y="142"/>
                </a:moveTo>
                <a:cubicBezTo>
                  <a:pt x="704" y="141"/>
                  <a:pt x="704" y="140"/>
                  <a:pt x="703" y="141"/>
                </a:cubicBezTo>
                <a:cubicBezTo>
                  <a:pt x="704" y="141"/>
                  <a:pt x="705" y="142"/>
                  <a:pt x="705" y="142"/>
                </a:cubicBezTo>
                <a:close/>
                <a:moveTo>
                  <a:pt x="714" y="155"/>
                </a:moveTo>
                <a:cubicBezTo>
                  <a:pt x="712" y="151"/>
                  <a:pt x="709" y="149"/>
                  <a:pt x="706" y="146"/>
                </a:cubicBezTo>
                <a:cubicBezTo>
                  <a:pt x="708" y="148"/>
                  <a:pt x="710" y="151"/>
                  <a:pt x="712" y="153"/>
                </a:cubicBezTo>
                <a:cubicBezTo>
                  <a:pt x="712" y="152"/>
                  <a:pt x="713" y="154"/>
                  <a:pt x="714" y="155"/>
                </a:cubicBezTo>
                <a:close/>
                <a:moveTo>
                  <a:pt x="713" y="154"/>
                </a:moveTo>
                <a:cubicBezTo>
                  <a:pt x="713" y="155"/>
                  <a:pt x="715" y="156"/>
                  <a:pt x="715" y="157"/>
                </a:cubicBezTo>
                <a:cubicBezTo>
                  <a:pt x="715" y="156"/>
                  <a:pt x="714" y="155"/>
                  <a:pt x="713" y="154"/>
                </a:cubicBezTo>
                <a:close/>
                <a:moveTo>
                  <a:pt x="716" y="158"/>
                </a:moveTo>
                <a:cubicBezTo>
                  <a:pt x="717" y="159"/>
                  <a:pt x="718" y="161"/>
                  <a:pt x="719" y="162"/>
                </a:cubicBezTo>
                <a:cubicBezTo>
                  <a:pt x="719" y="161"/>
                  <a:pt x="717" y="159"/>
                  <a:pt x="716" y="158"/>
                </a:cubicBezTo>
                <a:close/>
                <a:moveTo>
                  <a:pt x="718" y="162"/>
                </a:moveTo>
                <a:cubicBezTo>
                  <a:pt x="719" y="163"/>
                  <a:pt x="719" y="164"/>
                  <a:pt x="719" y="165"/>
                </a:cubicBezTo>
                <a:cubicBezTo>
                  <a:pt x="720" y="165"/>
                  <a:pt x="721" y="166"/>
                  <a:pt x="721" y="165"/>
                </a:cubicBezTo>
                <a:cubicBezTo>
                  <a:pt x="720" y="165"/>
                  <a:pt x="719" y="163"/>
                  <a:pt x="718" y="162"/>
                </a:cubicBezTo>
                <a:close/>
                <a:moveTo>
                  <a:pt x="726" y="163"/>
                </a:moveTo>
                <a:cubicBezTo>
                  <a:pt x="726" y="162"/>
                  <a:pt x="726" y="162"/>
                  <a:pt x="725" y="161"/>
                </a:cubicBezTo>
                <a:cubicBezTo>
                  <a:pt x="725" y="161"/>
                  <a:pt x="725" y="161"/>
                  <a:pt x="725" y="161"/>
                </a:cubicBezTo>
                <a:cubicBezTo>
                  <a:pt x="724" y="161"/>
                  <a:pt x="725" y="163"/>
                  <a:pt x="726" y="163"/>
                </a:cubicBezTo>
                <a:close/>
                <a:moveTo>
                  <a:pt x="731" y="178"/>
                </a:moveTo>
                <a:cubicBezTo>
                  <a:pt x="730" y="176"/>
                  <a:pt x="731" y="179"/>
                  <a:pt x="732" y="178"/>
                </a:cubicBezTo>
                <a:cubicBezTo>
                  <a:pt x="732" y="177"/>
                  <a:pt x="730" y="177"/>
                  <a:pt x="730" y="176"/>
                </a:cubicBezTo>
                <a:cubicBezTo>
                  <a:pt x="730" y="176"/>
                  <a:pt x="730" y="178"/>
                  <a:pt x="730" y="176"/>
                </a:cubicBezTo>
                <a:cubicBezTo>
                  <a:pt x="729" y="176"/>
                  <a:pt x="729" y="176"/>
                  <a:pt x="729" y="176"/>
                </a:cubicBezTo>
                <a:cubicBezTo>
                  <a:pt x="730" y="177"/>
                  <a:pt x="730" y="177"/>
                  <a:pt x="730" y="177"/>
                </a:cubicBezTo>
                <a:cubicBezTo>
                  <a:pt x="730" y="178"/>
                  <a:pt x="732" y="181"/>
                  <a:pt x="734" y="182"/>
                </a:cubicBezTo>
                <a:cubicBezTo>
                  <a:pt x="734" y="182"/>
                  <a:pt x="734" y="182"/>
                  <a:pt x="734" y="182"/>
                </a:cubicBezTo>
                <a:cubicBezTo>
                  <a:pt x="733" y="181"/>
                  <a:pt x="732" y="179"/>
                  <a:pt x="731" y="178"/>
                </a:cubicBezTo>
                <a:close/>
                <a:moveTo>
                  <a:pt x="728" y="166"/>
                </a:moveTo>
                <a:cubicBezTo>
                  <a:pt x="729" y="168"/>
                  <a:pt x="731" y="170"/>
                  <a:pt x="732" y="171"/>
                </a:cubicBezTo>
                <a:cubicBezTo>
                  <a:pt x="731" y="169"/>
                  <a:pt x="730" y="168"/>
                  <a:pt x="728" y="166"/>
                </a:cubicBezTo>
                <a:close/>
                <a:moveTo>
                  <a:pt x="737" y="187"/>
                </a:moveTo>
                <a:cubicBezTo>
                  <a:pt x="737" y="186"/>
                  <a:pt x="736" y="185"/>
                  <a:pt x="735" y="184"/>
                </a:cubicBezTo>
                <a:cubicBezTo>
                  <a:pt x="735" y="185"/>
                  <a:pt x="735" y="185"/>
                  <a:pt x="735" y="187"/>
                </a:cubicBezTo>
                <a:cubicBezTo>
                  <a:pt x="736" y="186"/>
                  <a:pt x="736" y="186"/>
                  <a:pt x="737" y="187"/>
                </a:cubicBezTo>
                <a:close/>
                <a:moveTo>
                  <a:pt x="737" y="186"/>
                </a:moveTo>
                <a:cubicBezTo>
                  <a:pt x="737" y="187"/>
                  <a:pt x="738" y="188"/>
                  <a:pt x="739" y="190"/>
                </a:cubicBezTo>
                <a:cubicBezTo>
                  <a:pt x="738" y="188"/>
                  <a:pt x="738" y="187"/>
                  <a:pt x="737" y="186"/>
                </a:cubicBezTo>
                <a:close/>
                <a:moveTo>
                  <a:pt x="745" y="199"/>
                </a:moveTo>
                <a:cubicBezTo>
                  <a:pt x="744" y="197"/>
                  <a:pt x="742" y="195"/>
                  <a:pt x="741" y="193"/>
                </a:cubicBezTo>
                <a:cubicBezTo>
                  <a:pt x="740" y="193"/>
                  <a:pt x="744" y="197"/>
                  <a:pt x="744" y="199"/>
                </a:cubicBezTo>
                <a:cubicBezTo>
                  <a:pt x="745" y="199"/>
                  <a:pt x="744" y="198"/>
                  <a:pt x="745" y="199"/>
                </a:cubicBezTo>
                <a:close/>
                <a:moveTo>
                  <a:pt x="741" y="192"/>
                </a:moveTo>
                <a:cubicBezTo>
                  <a:pt x="742" y="194"/>
                  <a:pt x="744" y="196"/>
                  <a:pt x="745" y="198"/>
                </a:cubicBezTo>
                <a:cubicBezTo>
                  <a:pt x="745" y="196"/>
                  <a:pt x="743" y="194"/>
                  <a:pt x="741" y="192"/>
                </a:cubicBezTo>
                <a:close/>
                <a:moveTo>
                  <a:pt x="745" y="196"/>
                </a:moveTo>
                <a:cubicBezTo>
                  <a:pt x="745" y="196"/>
                  <a:pt x="747" y="198"/>
                  <a:pt x="747" y="199"/>
                </a:cubicBezTo>
                <a:cubicBezTo>
                  <a:pt x="747" y="198"/>
                  <a:pt x="746" y="197"/>
                  <a:pt x="745" y="196"/>
                </a:cubicBezTo>
                <a:close/>
                <a:moveTo>
                  <a:pt x="749" y="203"/>
                </a:moveTo>
                <a:cubicBezTo>
                  <a:pt x="747" y="201"/>
                  <a:pt x="747" y="199"/>
                  <a:pt x="746" y="198"/>
                </a:cubicBezTo>
                <a:cubicBezTo>
                  <a:pt x="746" y="199"/>
                  <a:pt x="747" y="201"/>
                  <a:pt x="749" y="203"/>
                </a:cubicBezTo>
                <a:close/>
                <a:moveTo>
                  <a:pt x="750" y="207"/>
                </a:moveTo>
                <a:cubicBezTo>
                  <a:pt x="749" y="205"/>
                  <a:pt x="751" y="207"/>
                  <a:pt x="751" y="208"/>
                </a:cubicBezTo>
                <a:cubicBezTo>
                  <a:pt x="751" y="209"/>
                  <a:pt x="750" y="208"/>
                  <a:pt x="750" y="207"/>
                </a:cubicBezTo>
                <a:cubicBezTo>
                  <a:pt x="749" y="208"/>
                  <a:pt x="751" y="208"/>
                  <a:pt x="751" y="209"/>
                </a:cubicBezTo>
                <a:cubicBezTo>
                  <a:pt x="752" y="210"/>
                  <a:pt x="755" y="213"/>
                  <a:pt x="756" y="215"/>
                </a:cubicBezTo>
                <a:cubicBezTo>
                  <a:pt x="757" y="215"/>
                  <a:pt x="754" y="211"/>
                  <a:pt x="753" y="211"/>
                </a:cubicBezTo>
                <a:cubicBezTo>
                  <a:pt x="754" y="211"/>
                  <a:pt x="752" y="209"/>
                  <a:pt x="753" y="209"/>
                </a:cubicBezTo>
                <a:cubicBezTo>
                  <a:pt x="751" y="207"/>
                  <a:pt x="749" y="206"/>
                  <a:pt x="747" y="203"/>
                </a:cubicBezTo>
                <a:cubicBezTo>
                  <a:pt x="747" y="204"/>
                  <a:pt x="748" y="206"/>
                  <a:pt x="750" y="207"/>
                </a:cubicBezTo>
                <a:close/>
                <a:moveTo>
                  <a:pt x="755" y="215"/>
                </a:moveTo>
                <a:cubicBezTo>
                  <a:pt x="755" y="214"/>
                  <a:pt x="755" y="215"/>
                  <a:pt x="755" y="216"/>
                </a:cubicBezTo>
                <a:cubicBezTo>
                  <a:pt x="755" y="217"/>
                  <a:pt x="756" y="217"/>
                  <a:pt x="757" y="218"/>
                </a:cubicBezTo>
                <a:cubicBezTo>
                  <a:pt x="757" y="218"/>
                  <a:pt x="757" y="218"/>
                  <a:pt x="757" y="218"/>
                </a:cubicBezTo>
                <a:cubicBezTo>
                  <a:pt x="757" y="216"/>
                  <a:pt x="757" y="216"/>
                  <a:pt x="757" y="216"/>
                </a:cubicBezTo>
                <a:cubicBezTo>
                  <a:pt x="756" y="216"/>
                  <a:pt x="756" y="217"/>
                  <a:pt x="755" y="215"/>
                </a:cubicBezTo>
                <a:close/>
                <a:moveTo>
                  <a:pt x="756" y="219"/>
                </a:moveTo>
                <a:cubicBezTo>
                  <a:pt x="756" y="220"/>
                  <a:pt x="758" y="222"/>
                  <a:pt x="757" y="220"/>
                </a:cubicBezTo>
                <a:cubicBezTo>
                  <a:pt x="757" y="219"/>
                  <a:pt x="757" y="219"/>
                  <a:pt x="756" y="219"/>
                </a:cubicBezTo>
                <a:close/>
                <a:moveTo>
                  <a:pt x="760" y="223"/>
                </a:moveTo>
                <a:cubicBezTo>
                  <a:pt x="760" y="222"/>
                  <a:pt x="759" y="221"/>
                  <a:pt x="758" y="220"/>
                </a:cubicBezTo>
                <a:cubicBezTo>
                  <a:pt x="757" y="220"/>
                  <a:pt x="759" y="222"/>
                  <a:pt x="759" y="222"/>
                </a:cubicBezTo>
                <a:cubicBezTo>
                  <a:pt x="759" y="222"/>
                  <a:pt x="759" y="222"/>
                  <a:pt x="760" y="223"/>
                </a:cubicBezTo>
                <a:close/>
                <a:moveTo>
                  <a:pt x="6" y="330"/>
                </a:moveTo>
                <a:cubicBezTo>
                  <a:pt x="5" y="330"/>
                  <a:pt x="5" y="331"/>
                  <a:pt x="5" y="332"/>
                </a:cubicBezTo>
                <a:cubicBezTo>
                  <a:pt x="3" y="334"/>
                  <a:pt x="2" y="337"/>
                  <a:pt x="1" y="338"/>
                </a:cubicBezTo>
                <a:cubicBezTo>
                  <a:pt x="1" y="339"/>
                  <a:pt x="3" y="337"/>
                  <a:pt x="3" y="336"/>
                </a:cubicBezTo>
                <a:cubicBezTo>
                  <a:pt x="3" y="338"/>
                  <a:pt x="2" y="338"/>
                  <a:pt x="2" y="340"/>
                </a:cubicBezTo>
                <a:cubicBezTo>
                  <a:pt x="1" y="340"/>
                  <a:pt x="2" y="339"/>
                  <a:pt x="1" y="340"/>
                </a:cubicBezTo>
                <a:cubicBezTo>
                  <a:pt x="1" y="340"/>
                  <a:pt x="0" y="341"/>
                  <a:pt x="0" y="341"/>
                </a:cubicBezTo>
                <a:cubicBezTo>
                  <a:pt x="1" y="339"/>
                  <a:pt x="2" y="343"/>
                  <a:pt x="1" y="340"/>
                </a:cubicBezTo>
                <a:cubicBezTo>
                  <a:pt x="3" y="338"/>
                  <a:pt x="4" y="335"/>
                  <a:pt x="6" y="333"/>
                </a:cubicBezTo>
                <a:cubicBezTo>
                  <a:pt x="6" y="331"/>
                  <a:pt x="6" y="331"/>
                  <a:pt x="7" y="331"/>
                </a:cubicBezTo>
                <a:cubicBezTo>
                  <a:pt x="7" y="330"/>
                  <a:pt x="6" y="331"/>
                  <a:pt x="6" y="330"/>
                </a:cubicBezTo>
                <a:cubicBezTo>
                  <a:pt x="7" y="329"/>
                  <a:pt x="7" y="330"/>
                  <a:pt x="7" y="329"/>
                </a:cubicBezTo>
                <a:cubicBezTo>
                  <a:pt x="7" y="329"/>
                  <a:pt x="7" y="328"/>
                  <a:pt x="7" y="326"/>
                </a:cubicBezTo>
                <a:cubicBezTo>
                  <a:pt x="7" y="327"/>
                  <a:pt x="7" y="328"/>
                  <a:pt x="6" y="330"/>
                </a:cubicBezTo>
                <a:close/>
                <a:moveTo>
                  <a:pt x="19" y="313"/>
                </a:moveTo>
                <a:cubicBezTo>
                  <a:pt x="19" y="314"/>
                  <a:pt x="18" y="315"/>
                  <a:pt x="18" y="316"/>
                </a:cubicBezTo>
                <a:cubicBezTo>
                  <a:pt x="19" y="315"/>
                  <a:pt x="19" y="313"/>
                  <a:pt x="20" y="312"/>
                </a:cubicBezTo>
                <a:cubicBezTo>
                  <a:pt x="19" y="313"/>
                  <a:pt x="20" y="312"/>
                  <a:pt x="19" y="313"/>
                </a:cubicBezTo>
                <a:close/>
                <a:moveTo>
                  <a:pt x="150" y="113"/>
                </a:moveTo>
                <a:cubicBezTo>
                  <a:pt x="150" y="113"/>
                  <a:pt x="150" y="113"/>
                  <a:pt x="149" y="113"/>
                </a:cubicBezTo>
                <a:cubicBezTo>
                  <a:pt x="150" y="113"/>
                  <a:pt x="150" y="113"/>
                  <a:pt x="150" y="113"/>
                </a:cubicBezTo>
                <a:cubicBezTo>
                  <a:pt x="150" y="113"/>
                  <a:pt x="150" y="113"/>
                  <a:pt x="150" y="113"/>
                </a:cubicBezTo>
                <a:close/>
                <a:moveTo>
                  <a:pt x="83" y="234"/>
                </a:moveTo>
                <a:cubicBezTo>
                  <a:pt x="83" y="235"/>
                  <a:pt x="82" y="235"/>
                  <a:pt x="82" y="236"/>
                </a:cubicBezTo>
                <a:cubicBezTo>
                  <a:pt x="82" y="235"/>
                  <a:pt x="83" y="235"/>
                  <a:pt x="83" y="234"/>
                </a:cubicBezTo>
                <a:close/>
                <a:moveTo>
                  <a:pt x="72" y="249"/>
                </a:moveTo>
                <a:cubicBezTo>
                  <a:pt x="72" y="250"/>
                  <a:pt x="69" y="252"/>
                  <a:pt x="68" y="254"/>
                </a:cubicBezTo>
                <a:cubicBezTo>
                  <a:pt x="71" y="251"/>
                  <a:pt x="73" y="248"/>
                  <a:pt x="75" y="245"/>
                </a:cubicBezTo>
                <a:cubicBezTo>
                  <a:pt x="75" y="244"/>
                  <a:pt x="74" y="246"/>
                  <a:pt x="74" y="246"/>
                </a:cubicBezTo>
                <a:cubicBezTo>
                  <a:pt x="73" y="247"/>
                  <a:pt x="73" y="248"/>
                  <a:pt x="72" y="249"/>
                </a:cubicBezTo>
                <a:close/>
                <a:moveTo>
                  <a:pt x="150" y="113"/>
                </a:moveTo>
                <a:cubicBezTo>
                  <a:pt x="150" y="113"/>
                  <a:pt x="151" y="112"/>
                  <a:pt x="151" y="112"/>
                </a:cubicBezTo>
                <a:cubicBezTo>
                  <a:pt x="151" y="111"/>
                  <a:pt x="150" y="112"/>
                  <a:pt x="150" y="113"/>
                </a:cubicBezTo>
                <a:close/>
                <a:moveTo>
                  <a:pt x="165" y="89"/>
                </a:moveTo>
                <a:cubicBezTo>
                  <a:pt x="165" y="89"/>
                  <a:pt x="166" y="88"/>
                  <a:pt x="166" y="89"/>
                </a:cubicBezTo>
                <a:cubicBezTo>
                  <a:pt x="168" y="86"/>
                  <a:pt x="172" y="84"/>
                  <a:pt x="175" y="82"/>
                </a:cubicBezTo>
                <a:cubicBezTo>
                  <a:pt x="172" y="83"/>
                  <a:pt x="169" y="85"/>
                  <a:pt x="167" y="87"/>
                </a:cubicBezTo>
                <a:cubicBezTo>
                  <a:pt x="166" y="87"/>
                  <a:pt x="167" y="87"/>
                  <a:pt x="167" y="87"/>
                </a:cubicBezTo>
                <a:cubicBezTo>
                  <a:pt x="167" y="88"/>
                  <a:pt x="166" y="88"/>
                  <a:pt x="165" y="89"/>
                </a:cubicBezTo>
                <a:close/>
                <a:moveTo>
                  <a:pt x="46" y="284"/>
                </a:moveTo>
                <a:cubicBezTo>
                  <a:pt x="45" y="284"/>
                  <a:pt x="44" y="285"/>
                  <a:pt x="44" y="286"/>
                </a:cubicBezTo>
                <a:cubicBezTo>
                  <a:pt x="45" y="286"/>
                  <a:pt x="45" y="284"/>
                  <a:pt x="46" y="284"/>
                </a:cubicBezTo>
                <a:close/>
                <a:moveTo>
                  <a:pt x="75" y="235"/>
                </a:moveTo>
                <a:cubicBezTo>
                  <a:pt x="75" y="234"/>
                  <a:pt x="75" y="235"/>
                  <a:pt x="74" y="236"/>
                </a:cubicBezTo>
                <a:cubicBezTo>
                  <a:pt x="74" y="237"/>
                  <a:pt x="74" y="237"/>
                  <a:pt x="74" y="237"/>
                </a:cubicBezTo>
                <a:cubicBezTo>
                  <a:pt x="74" y="237"/>
                  <a:pt x="74" y="236"/>
                  <a:pt x="75" y="236"/>
                </a:cubicBezTo>
                <a:cubicBezTo>
                  <a:pt x="75" y="236"/>
                  <a:pt x="75" y="236"/>
                  <a:pt x="75" y="235"/>
                </a:cubicBezTo>
                <a:close/>
                <a:moveTo>
                  <a:pt x="35" y="265"/>
                </a:moveTo>
                <a:cubicBezTo>
                  <a:pt x="36" y="264"/>
                  <a:pt x="35" y="265"/>
                  <a:pt x="35" y="264"/>
                </a:cubicBezTo>
                <a:cubicBezTo>
                  <a:pt x="34" y="265"/>
                  <a:pt x="35" y="265"/>
                  <a:pt x="34" y="266"/>
                </a:cubicBezTo>
                <a:cubicBezTo>
                  <a:pt x="33" y="268"/>
                  <a:pt x="35" y="265"/>
                  <a:pt x="35" y="265"/>
                </a:cubicBezTo>
                <a:close/>
                <a:moveTo>
                  <a:pt x="52" y="251"/>
                </a:moveTo>
                <a:cubicBezTo>
                  <a:pt x="52" y="250"/>
                  <a:pt x="51" y="252"/>
                  <a:pt x="51" y="252"/>
                </a:cubicBezTo>
                <a:cubicBezTo>
                  <a:pt x="51" y="253"/>
                  <a:pt x="51" y="253"/>
                  <a:pt x="51" y="253"/>
                </a:cubicBezTo>
                <a:cubicBezTo>
                  <a:pt x="51" y="252"/>
                  <a:pt x="52" y="252"/>
                  <a:pt x="52" y="251"/>
                </a:cubicBezTo>
                <a:close/>
                <a:moveTo>
                  <a:pt x="47" y="254"/>
                </a:moveTo>
                <a:cubicBezTo>
                  <a:pt x="46" y="254"/>
                  <a:pt x="47" y="253"/>
                  <a:pt x="46" y="254"/>
                </a:cubicBezTo>
                <a:cubicBezTo>
                  <a:pt x="46" y="255"/>
                  <a:pt x="46" y="255"/>
                  <a:pt x="46" y="255"/>
                </a:cubicBezTo>
                <a:cubicBezTo>
                  <a:pt x="46" y="255"/>
                  <a:pt x="46" y="254"/>
                  <a:pt x="47" y="254"/>
                </a:cubicBezTo>
                <a:cubicBezTo>
                  <a:pt x="47" y="253"/>
                  <a:pt x="47" y="254"/>
                  <a:pt x="47" y="254"/>
                </a:cubicBezTo>
                <a:close/>
                <a:moveTo>
                  <a:pt x="86" y="226"/>
                </a:moveTo>
                <a:cubicBezTo>
                  <a:pt x="87" y="225"/>
                  <a:pt x="86" y="225"/>
                  <a:pt x="86" y="225"/>
                </a:cubicBezTo>
                <a:cubicBezTo>
                  <a:pt x="87" y="224"/>
                  <a:pt x="87" y="225"/>
                  <a:pt x="87" y="224"/>
                </a:cubicBezTo>
                <a:cubicBezTo>
                  <a:pt x="88" y="222"/>
                  <a:pt x="89" y="221"/>
                  <a:pt x="90" y="220"/>
                </a:cubicBezTo>
                <a:cubicBezTo>
                  <a:pt x="90" y="219"/>
                  <a:pt x="90" y="219"/>
                  <a:pt x="90" y="219"/>
                </a:cubicBezTo>
                <a:cubicBezTo>
                  <a:pt x="90" y="220"/>
                  <a:pt x="88" y="222"/>
                  <a:pt x="86" y="224"/>
                </a:cubicBezTo>
                <a:cubicBezTo>
                  <a:pt x="86" y="225"/>
                  <a:pt x="85" y="226"/>
                  <a:pt x="86" y="226"/>
                </a:cubicBezTo>
                <a:close/>
                <a:moveTo>
                  <a:pt x="43" y="255"/>
                </a:moveTo>
                <a:cubicBezTo>
                  <a:pt x="45" y="251"/>
                  <a:pt x="46" y="249"/>
                  <a:pt x="48" y="245"/>
                </a:cubicBezTo>
                <a:cubicBezTo>
                  <a:pt x="48" y="246"/>
                  <a:pt x="47" y="247"/>
                  <a:pt x="47" y="246"/>
                </a:cubicBezTo>
                <a:cubicBezTo>
                  <a:pt x="46" y="247"/>
                  <a:pt x="47" y="247"/>
                  <a:pt x="46" y="248"/>
                </a:cubicBezTo>
                <a:cubicBezTo>
                  <a:pt x="46" y="248"/>
                  <a:pt x="43" y="252"/>
                  <a:pt x="44" y="251"/>
                </a:cubicBezTo>
                <a:cubicBezTo>
                  <a:pt x="43" y="251"/>
                  <a:pt x="43" y="254"/>
                  <a:pt x="43" y="255"/>
                </a:cubicBezTo>
                <a:close/>
                <a:moveTo>
                  <a:pt x="103" y="210"/>
                </a:moveTo>
                <a:cubicBezTo>
                  <a:pt x="99" y="215"/>
                  <a:pt x="99" y="215"/>
                  <a:pt x="99" y="215"/>
                </a:cubicBezTo>
                <a:cubicBezTo>
                  <a:pt x="100" y="215"/>
                  <a:pt x="102" y="212"/>
                  <a:pt x="103" y="210"/>
                </a:cubicBezTo>
                <a:close/>
                <a:moveTo>
                  <a:pt x="5" y="281"/>
                </a:moveTo>
                <a:cubicBezTo>
                  <a:pt x="5" y="281"/>
                  <a:pt x="5" y="282"/>
                  <a:pt x="4" y="282"/>
                </a:cubicBezTo>
                <a:cubicBezTo>
                  <a:pt x="5" y="282"/>
                  <a:pt x="4" y="283"/>
                  <a:pt x="4" y="284"/>
                </a:cubicBezTo>
                <a:cubicBezTo>
                  <a:pt x="5" y="282"/>
                  <a:pt x="5" y="282"/>
                  <a:pt x="5" y="281"/>
                </a:cubicBezTo>
                <a:close/>
                <a:moveTo>
                  <a:pt x="48" y="248"/>
                </a:moveTo>
                <a:cubicBezTo>
                  <a:pt x="48" y="246"/>
                  <a:pt x="49" y="246"/>
                  <a:pt x="49" y="244"/>
                </a:cubicBezTo>
                <a:cubicBezTo>
                  <a:pt x="48" y="245"/>
                  <a:pt x="48" y="246"/>
                  <a:pt x="48" y="248"/>
                </a:cubicBezTo>
                <a:close/>
                <a:moveTo>
                  <a:pt x="94" y="213"/>
                </a:moveTo>
                <a:cubicBezTo>
                  <a:pt x="94" y="212"/>
                  <a:pt x="93" y="214"/>
                  <a:pt x="92" y="214"/>
                </a:cubicBezTo>
                <a:cubicBezTo>
                  <a:pt x="92" y="215"/>
                  <a:pt x="92" y="214"/>
                  <a:pt x="92" y="215"/>
                </a:cubicBezTo>
                <a:cubicBezTo>
                  <a:pt x="93" y="214"/>
                  <a:pt x="93" y="214"/>
                  <a:pt x="94" y="213"/>
                </a:cubicBezTo>
                <a:close/>
                <a:moveTo>
                  <a:pt x="25" y="257"/>
                </a:moveTo>
                <a:cubicBezTo>
                  <a:pt x="26" y="256"/>
                  <a:pt x="26" y="256"/>
                  <a:pt x="27" y="256"/>
                </a:cubicBezTo>
                <a:cubicBezTo>
                  <a:pt x="27" y="255"/>
                  <a:pt x="27" y="256"/>
                  <a:pt x="27" y="256"/>
                </a:cubicBezTo>
                <a:cubicBezTo>
                  <a:pt x="27" y="255"/>
                  <a:pt x="27" y="254"/>
                  <a:pt x="27" y="254"/>
                </a:cubicBezTo>
                <a:cubicBezTo>
                  <a:pt x="27" y="255"/>
                  <a:pt x="26" y="256"/>
                  <a:pt x="25" y="257"/>
                </a:cubicBezTo>
                <a:close/>
                <a:moveTo>
                  <a:pt x="55" y="226"/>
                </a:moveTo>
                <a:cubicBezTo>
                  <a:pt x="55" y="225"/>
                  <a:pt x="55" y="225"/>
                  <a:pt x="55" y="224"/>
                </a:cubicBezTo>
                <a:cubicBezTo>
                  <a:pt x="55" y="226"/>
                  <a:pt x="53" y="228"/>
                  <a:pt x="53" y="228"/>
                </a:cubicBezTo>
                <a:cubicBezTo>
                  <a:pt x="54" y="227"/>
                  <a:pt x="54" y="227"/>
                  <a:pt x="55" y="226"/>
                </a:cubicBezTo>
                <a:close/>
                <a:moveTo>
                  <a:pt x="117" y="186"/>
                </a:moveTo>
                <a:cubicBezTo>
                  <a:pt x="117" y="187"/>
                  <a:pt x="117" y="188"/>
                  <a:pt x="116" y="188"/>
                </a:cubicBezTo>
                <a:cubicBezTo>
                  <a:pt x="116" y="188"/>
                  <a:pt x="115" y="189"/>
                  <a:pt x="117" y="189"/>
                </a:cubicBezTo>
                <a:cubicBezTo>
                  <a:pt x="117" y="188"/>
                  <a:pt x="117" y="187"/>
                  <a:pt x="118" y="187"/>
                </a:cubicBezTo>
                <a:cubicBezTo>
                  <a:pt x="118" y="186"/>
                  <a:pt x="117" y="188"/>
                  <a:pt x="117" y="188"/>
                </a:cubicBezTo>
                <a:cubicBezTo>
                  <a:pt x="116" y="188"/>
                  <a:pt x="118" y="186"/>
                  <a:pt x="117" y="186"/>
                </a:cubicBezTo>
                <a:close/>
                <a:moveTo>
                  <a:pt x="121" y="184"/>
                </a:moveTo>
                <a:cubicBezTo>
                  <a:pt x="122" y="183"/>
                  <a:pt x="123" y="181"/>
                  <a:pt x="124" y="181"/>
                </a:cubicBezTo>
                <a:cubicBezTo>
                  <a:pt x="125" y="180"/>
                  <a:pt x="123" y="181"/>
                  <a:pt x="124" y="180"/>
                </a:cubicBezTo>
                <a:cubicBezTo>
                  <a:pt x="123" y="182"/>
                  <a:pt x="122" y="183"/>
                  <a:pt x="121" y="184"/>
                </a:cubicBezTo>
                <a:close/>
                <a:moveTo>
                  <a:pt x="126" y="177"/>
                </a:moveTo>
                <a:cubicBezTo>
                  <a:pt x="125" y="178"/>
                  <a:pt x="125" y="178"/>
                  <a:pt x="125" y="178"/>
                </a:cubicBezTo>
                <a:cubicBezTo>
                  <a:pt x="125" y="179"/>
                  <a:pt x="125" y="178"/>
                  <a:pt x="124" y="179"/>
                </a:cubicBezTo>
                <a:cubicBezTo>
                  <a:pt x="123" y="180"/>
                  <a:pt x="122" y="182"/>
                  <a:pt x="120" y="183"/>
                </a:cubicBezTo>
                <a:cubicBezTo>
                  <a:pt x="121" y="183"/>
                  <a:pt x="123" y="180"/>
                  <a:pt x="124" y="180"/>
                </a:cubicBezTo>
                <a:cubicBezTo>
                  <a:pt x="125" y="179"/>
                  <a:pt x="126" y="178"/>
                  <a:pt x="127" y="178"/>
                </a:cubicBezTo>
                <a:cubicBezTo>
                  <a:pt x="128" y="176"/>
                  <a:pt x="128" y="176"/>
                  <a:pt x="129" y="175"/>
                </a:cubicBezTo>
                <a:cubicBezTo>
                  <a:pt x="127" y="176"/>
                  <a:pt x="127" y="176"/>
                  <a:pt x="127" y="176"/>
                </a:cubicBezTo>
                <a:cubicBezTo>
                  <a:pt x="127" y="177"/>
                  <a:pt x="128" y="176"/>
                  <a:pt x="127" y="176"/>
                </a:cubicBezTo>
                <a:cubicBezTo>
                  <a:pt x="127" y="177"/>
                  <a:pt x="127" y="177"/>
                  <a:pt x="127" y="177"/>
                </a:cubicBezTo>
                <a:cubicBezTo>
                  <a:pt x="126" y="177"/>
                  <a:pt x="127" y="176"/>
                  <a:pt x="126" y="177"/>
                </a:cubicBezTo>
                <a:close/>
                <a:moveTo>
                  <a:pt x="37" y="219"/>
                </a:moveTo>
                <a:cubicBezTo>
                  <a:pt x="37" y="219"/>
                  <a:pt x="38" y="218"/>
                  <a:pt x="38" y="219"/>
                </a:cubicBezTo>
                <a:cubicBezTo>
                  <a:pt x="38" y="218"/>
                  <a:pt x="38" y="218"/>
                  <a:pt x="38" y="217"/>
                </a:cubicBezTo>
                <a:cubicBezTo>
                  <a:pt x="38" y="218"/>
                  <a:pt x="37" y="219"/>
                  <a:pt x="37" y="219"/>
                </a:cubicBezTo>
                <a:cubicBezTo>
                  <a:pt x="37" y="220"/>
                  <a:pt x="37" y="219"/>
                  <a:pt x="37" y="219"/>
                </a:cubicBezTo>
                <a:close/>
                <a:moveTo>
                  <a:pt x="61" y="191"/>
                </a:moveTo>
                <a:cubicBezTo>
                  <a:pt x="60" y="192"/>
                  <a:pt x="60" y="194"/>
                  <a:pt x="59" y="195"/>
                </a:cubicBezTo>
                <a:cubicBezTo>
                  <a:pt x="59" y="195"/>
                  <a:pt x="62" y="192"/>
                  <a:pt x="63" y="190"/>
                </a:cubicBezTo>
                <a:cubicBezTo>
                  <a:pt x="62" y="190"/>
                  <a:pt x="61" y="192"/>
                  <a:pt x="61" y="191"/>
                </a:cubicBezTo>
                <a:close/>
                <a:moveTo>
                  <a:pt x="71" y="181"/>
                </a:moveTo>
                <a:cubicBezTo>
                  <a:pt x="70" y="183"/>
                  <a:pt x="72" y="181"/>
                  <a:pt x="71" y="182"/>
                </a:cubicBezTo>
                <a:cubicBezTo>
                  <a:pt x="72" y="181"/>
                  <a:pt x="73" y="181"/>
                  <a:pt x="74" y="179"/>
                </a:cubicBezTo>
                <a:cubicBezTo>
                  <a:pt x="73" y="179"/>
                  <a:pt x="71" y="182"/>
                  <a:pt x="71" y="181"/>
                </a:cubicBezTo>
                <a:close/>
                <a:moveTo>
                  <a:pt x="127" y="146"/>
                </a:moveTo>
                <a:cubicBezTo>
                  <a:pt x="127" y="147"/>
                  <a:pt x="128" y="146"/>
                  <a:pt x="128" y="145"/>
                </a:cubicBezTo>
                <a:cubicBezTo>
                  <a:pt x="129" y="145"/>
                  <a:pt x="128" y="145"/>
                  <a:pt x="129" y="145"/>
                </a:cubicBezTo>
                <a:cubicBezTo>
                  <a:pt x="129" y="144"/>
                  <a:pt x="129" y="144"/>
                  <a:pt x="129" y="144"/>
                </a:cubicBezTo>
                <a:cubicBezTo>
                  <a:pt x="128" y="145"/>
                  <a:pt x="128" y="145"/>
                  <a:pt x="128" y="145"/>
                </a:cubicBezTo>
                <a:cubicBezTo>
                  <a:pt x="129" y="145"/>
                  <a:pt x="128" y="146"/>
                  <a:pt x="128" y="146"/>
                </a:cubicBezTo>
                <a:cubicBezTo>
                  <a:pt x="127" y="146"/>
                  <a:pt x="128" y="146"/>
                  <a:pt x="127" y="146"/>
                </a:cubicBezTo>
                <a:close/>
                <a:moveTo>
                  <a:pt x="98" y="153"/>
                </a:moveTo>
                <a:cubicBezTo>
                  <a:pt x="98" y="153"/>
                  <a:pt x="98" y="153"/>
                  <a:pt x="97" y="154"/>
                </a:cubicBezTo>
                <a:cubicBezTo>
                  <a:pt x="98" y="154"/>
                  <a:pt x="100" y="152"/>
                  <a:pt x="100" y="151"/>
                </a:cubicBezTo>
                <a:cubicBezTo>
                  <a:pt x="101" y="152"/>
                  <a:pt x="103" y="151"/>
                  <a:pt x="104" y="150"/>
                </a:cubicBezTo>
                <a:cubicBezTo>
                  <a:pt x="103" y="150"/>
                  <a:pt x="102" y="150"/>
                  <a:pt x="101" y="150"/>
                </a:cubicBezTo>
                <a:cubicBezTo>
                  <a:pt x="102" y="151"/>
                  <a:pt x="100" y="151"/>
                  <a:pt x="98" y="153"/>
                </a:cubicBezTo>
                <a:close/>
                <a:moveTo>
                  <a:pt x="107" y="148"/>
                </a:moveTo>
                <a:cubicBezTo>
                  <a:pt x="107" y="148"/>
                  <a:pt x="109" y="145"/>
                  <a:pt x="111" y="144"/>
                </a:cubicBezTo>
                <a:cubicBezTo>
                  <a:pt x="111" y="143"/>
                  <a:pt x="109" y="146"/>
                  <a:pt x="109" y="144"/>
                </a:cubicBezTo>
                <a:cubicBezTo>
                  <a:pt x="109" y="145"/>
                  <a:pt x="108" y="147"/>
                  <a:pt x="107" y="148"/>
                </a:cubicBezTo>
                <a:close/>
                <a:moveTo>
                  <a:pt x="106" y="146"/>
                </a:moveTo>
                <a:cubicBezTo>
                  <a:pt x="106" y="146"/>
                  <a:pt x="105" y="146"/>
                  <a:pt x="105" y="147"/>
                </a:cubicBezTo>
                <a:cubicBezTo>
                  <a:pt x="104" y="147"/>
                  <a:pt x="104" y="148"/>
                  <a:pt x="103" y="149"/>
                </a:cubicBezTo>
                <a:cubicBezTo>
                  <a:pt x="102" y="150"/>
                  <a:pt x="103" y="149"/>
                  <a:pt x="104" y="148"/>
                </a:cubicBezTo>
                <a:cubicBezTo>
                  <a:pt x="104" y="148"/>
                  <a:pt x="104" y="148"/>
                  <a:pt x="104" y="148"/>
                </a:cubicBezTo>
                <a:cubicBezTo>
                  <a:pt x="105" y="148"/>
                  <a:pt x="105" y="148"/>
                  <a:pt x="106" y="147"/>
                </a:cubicBezTo>
                <a:cubicBezTo>
                  <a:pt x="105" y="148"/>
                  <a:pt x="104" y="147"/>
                  <a:pt x="106" y="146"/>
                </a:cubicBezTo>
                <a:close/>
                <a:moveTo>
                  <a:pt x="116" y="137"/>
                </a:moveTo>
                <a:cubicBezTo>
                  <a:pt x="115" y="137"/>
                  <a:pt x="115" y="138"/>
                  <a:pt x="114" y="138"/>
                </a:cubicBezTo>
                <a:cubicBezTo>
                  <a:pt x="114" y="139"/>
                  <a:pt x="115" y="138"/>
                  <a:pt x="114" y="139"/>
                </a:cubicBezTo>
                <a:cubicBezTo>
                  <a:pt x="115" y="138"/>
                  <a:pt x="115" y="138"/>
                  <a:pt x="116" y="137"/>
                </a:cubicBezTo>
                <a:close/>
                <a:moveTo>
                  <a:pt x="124" y="124"/>
                </a:moveTo>
                <a:cubicBezTo>
                  <a:pt x="125" y="123"/>
                  <a:pt x="125" y="123"/>
                  <a:pt x="125" y="123"/>
                </a:cubicBezTo>
                <a:cubicBezTo>
                  <a:pt x="124" y="123"/>
                  <a:pt x="124" y="123"/>
                  <a:pt x="125" y="122"/>
                </a:cubicBezTo>
                <a:cubicBezTo>
                  <a:pt x="126" y="121"/>
                  <a:pt x="124" y="122"/>
                  <a:pt x="124" y="122"/>
                </a:cubicBezTo>
                <a:cubicBezTo>
                  <a:pt x="124" y="123"/>
                  <a:pt x="124" y="123"/>
                  <a:pt x="123" y="124"/>
                </a:cubicBezTo>
                <a:cubicBezTo>
                  <a:pt x="124" y="123"/>
                  <a:pt x="123" y="125"/>
                  <a:pt x="124" y="124"/>
                </a:cubicBezTo>
                <a:close/>
                <a:moveTo>
                  <a:pt x="148" y="111"/>
                </a:moveTo>
                <a:cubicBezTo>
                  <a:pt x="148" y="112"/>
                  <a:pt x="148" y="112"/>
                  <a:pt x="147" y="112"/>
                </a:cubicBezTo>
                <a:cubicBezTo>
                  <a:pt x="147" y="113"/>
                  <a:pt x="148" y="113"/>
                  <a:pt x="148" y="112"/>
                </a:cubicBezTo>
                <a:cubicBezTo>
                  <a:pt x="148" y="112"/>
                  <a:pt x="148" y="113"/>
                  <a:pt x="148" y="113"/>
                </a:cubicBezTo>
                <a:cubicBezTo>
                  <a:pt x="149" y="113"/>
                  <a:pt x="149" y="111"/>
                  <a:pt x="148" y="111"/>
                </a:cubicBezTo>
                <a:close/>
                <a:moveTo>
                  <a:pt x="188" y="98"/>
                </a:moveTo>
                <a:cubicBezTo>
                  <a:pt x="187" y="99"/>
                  <a:pt x="186" y="100"/>
                  <a:pt x="185" y="100"/>
                </a:cubicBezTo>
                <a:cubicBezTo>
                  <a:pt x="185" y="100"/>
                  <a:pt x="186" y="100"/>
                  <a:pt x="185" y="101"/>
                </a:cubicBezTo>
                <a:cubicBezTo>
                  <a:pt x="186" y="100"/>
                  <a:pt x="186" y="100"/>
                  <a:pt x="186" y="100"/>
                </a:cubicBezTo>
                <a:cubicBezTo>
                  <a:pt x="186" y="99"/>
                  <a:pt x="188" y="100"/>
                  <a:pt x="188" y="98"/>
                </a:cubicBezTo>
                <a:close/>
                <a:moveTo>
                  <a:pt x="156" y="94"/>
                </a:moveTo>
                <a:cubicBezTo>
                  <a:pt x="156" y="94"/>
                  <a:pt x="152" y="97"/>
                  <a:pt x="152" y="98"/>
                </a:cubicBezTo>
                <a:cubicBezTo>
                  <a:pt x="150" y="98"/>
                  <a:pt x="149" y="99"/>
                  <a:pt x="148" y="100"/>
                </a:cubicBezTo>
                <a:cubicBezTo>
                  <a:pt x="150" y="100"/>
                  <a:pt x="151" y="98"/>
                  <a:pt x="153" y="98"/>
                </a:cubicBezTo>
                <a:cubicBezTo>
                  <a:pt x="153" y="97"/>
                  <a:pt x="155" y="96"/>
                  <a:pt x="156" y="94"/>
                </a:cubicBezTo>
                <a:close/>
                <a:moveTo>
                  <a:pt x="158" y="93"/>
                </a:moveTo>
                <a:cubicBezTo>
                  <a:pt x="157" y="94"/>
                  <a:pt x="156" y="94"/>
                  <a:pt x="156" y="96"/>
                </a:cubicBezTo>
                <a:cubicBezTo>
                  <a:pt x="157" y="95"/>
                  <a:pt x="158" y="93"/>
                  <a:pt x="160" y="92"/>
                </a:cubicBezTo>
                <a:cubicBezTo>
                  <a:pt x="160" y="91"/>
                  <a:pt x="165" y="89"/>
                  <a:pt x="166" y="87"/>
                </a:cubicBezTo>
                <a:cubicBezTo>
                  <a:pt x="166" y="87"/>
                  <a:pt x="166" y="87"/>
                  <a:pt x="166" y="87"/>
                </a:cubicBezTo>
                <a:cubicBezTo>
                  <a:pt x="165" y="88"/>
                  <a:pt x="164" y="89"/>
                  <a:pt x="162" y="89"/>
                </a:cubicBezTo>
                <a:cubicBezTo>
                  <a:pt x="161" y="91"/>
                  <a:pt x="159" y="92"/>
                  <a:pt x="157" y="94"/>
                </a:cubicBezTo>
                <a:cubicBezTo>
                  <a:pt x="157" y="94"/>
                  <a:pt x="158" y="93"/>
                  <a:pt x="158" y="93"/>
                </a:cubicBezTo>
                <a:close/>
                <a:moveTo>
                  <a:pt x="160" y="90"/>
                </a:moveTo>
                <a:cubicBezTo>
                  <a:pt x="157" y="92"/>
                  <a:pt x="154" y="95"/>
                  <a:pt x="151" y="96"/>
                </a:cubicBezTo>
                <a:cubicBezTo>
                  <a:pt x="152" y="96"/>
                  <a:pt x="159" y="91"/>
                  <a:pt x="160" y="90"/>
                </a:cubicBezTo>
                <a:close/>
                <a:moveTo>
                  <a:pt x="173" y="81"/>
                </a:moveTo>
                <a:cubicBezTo>
                  <a:pt x="174" y="80"/>
                  <a:pt x="175" y="80"/>
                  <a:pt x="176" y="79"/>
                </a:cubicBezTo>
                <a:cubicBezTo>
                  <a:pt x="176" y="79"/>
                  <a:pt x="174" y="80"/>
                  <a:pt x="173" y="81"/>
                </a:cubicBezTo>
                <a:close/>
                <a:moveTo>
                  <a:pt x="190" y="69"/>
                </a:moveTo>
                <a:cubicBezTo>
                  <a:pt x="191" y="69"/>
                  <a:pt x="190" y="70"/>
                  <a:pt x="189" y="71"/>
                </a:cubicBezTo>
                <a:cubicBezTo>
                  <a:pt x="191" y="70"/>
                  <a:pt x="195" y="67"/>
                  <a:pt x="198" y="65"/>
                </a:cubicBezTo>
                <a:cubicBezTo>
                  <a:pt x="196" y="66"/>
                  <a:pt x="195" y="67"/>
                  <a:pt x="195" y="67"/>
                </a:cubicBezTo>
                <a:cubicBezTo>
                  <a:pt x="195" y="68"/>
                  <a:pt x="192" y="68"/>
                  <a:pt x="191" y="69"/>
                </a:cubicBezTo>
                <a:cubicBezTo>
                  <a:pt x="190" y="70"/>
                  <a:pt x="192" y="68"/>
                  <a:pt x="190" y="69"/>
                </a:cubicBezTo>
                <a:close/>
                <a:moveTo>
                  <a:pt x="191" y="68"/>
                </a:moveTo>
                <a:cubicBezTo>
                  <a:pt x="191" y="67"/>
                  <a:pt x="190" y="69"/>
                  <a:pt x="189" y="69"/>
                </a:cubicBezTo>
                <a:cubicBezTo>
                  <a:pt x="189" y="70"/>
                  <a:pt x="189" y="70"/>
                  <a:pt x="187" y="70"/>
                </a:cubicBezTo>
                <a:cubicBezTo>
                  <a:pt x="188" y="71"/>
                  <a:pt x="190" y="69"/>
                  <a:pt x="191" y="68"/>
                </a:cubicBezTo>
                <a:close/>
                <a:moveTo>
                  <a:pt x="198" y="65"/>
                </a:moveTo>
                <a:cubicBezTo>
                  <a:pt x="201" y="64"/>
                  <a:pt x="203" y="63"/>
                  <a:pt x="205" y="62"/>
                </a:cubicBezTo>
                <a:cubicBezTo>
                  <a:pt x="203" y="61"/>
                  <a:pt x="200" y="64"/>
                  <a:pt x="198" y="65"/>
                </a:cubicBezTo>
                <a:close/>
                <a:moveTo>
                  <a:pt x="235" y="46"/>
                </a:moveTo>
                <a:cubicBezTo>
                  <a:pt x="234" y="46"/>
                  <a:pt x="234" y="46"/>
                  <a:pt x="234" y="46"/>
                </a:cubicBezTo>
                <a:cubicBezTo>
                  <a:pt x="233" y="47"/>
                  <a:pt x="232" y="47"/>
                  <a:pt x="231" y="47"/>
                </a:cubicBezTo>
                <a:cubicBezTo>
                  <a:pt x="232" y="47"/>
                  <a:pt x="233" y="46"/>
                  <a:pt x="235" y="46"/>
                </a:cubicBezTo>
                <a:close/>
                <a:moveTo>
                  <a:pt x="249" y="37"/>
                </a:moveTo>
                <a:cubicBezTo>
                  <a:pt x="247" y="39"/>
                  <a:pt x="247" y="39"/>
                  <a:pt x="247" y="39"/>
                </a:cubicBezTo>
                <a:cubicBezTo>
                  <a:pt x="248" y="38"/>
                  <a:pt x="248" y="37"/>
                  <a:pt x="250" y="37"/>
                </a:cubicBezTo>
                <a:cubicBezTo>
                  <a:pt x="251" y="36"/>
                  <a:pt x="249" y="37"/>
                  <a:pt x="249" y="37"/>
                </a:cubicBezTo>
                <a:close/>
                <a:moveTo>
                  <a:pt x="271" y="29"/>
                </a:moveTo>
                <a:cubicBezTo>
                  <a:pt x="271" y="28"/>
                  <a:pt x="271" y="28"/>
                  <a:pt x="271" y="28"/>
                </a:cubicBezTo>
                <a:cubicBezTo>
                  <a:pt x="270" y="28"/>
                  <a:pt x="269" y="29"/>
                  <a:pt x="267" y="29"/>
                </a:cubicBezTo>
                <a:cubicBezTo>
                  <a:pt x="268" y="30"/>
                  <a:pt x="269" y="28"/>
                  <a:pt x="271" y="29"/>
                </a:cubicBezTo>
                <a:close/>
                <a:moveTo>
                  <a:pt x="299" y="18"/>
                </a:moveTo>
                <a:cubicBezTo>
                  <a:pt x="299" y="18"/>
                  <a:pt x="298" y="18"/>
                  <a:pt x="298" y="19"/>
                </a:cubicBezTo>
                <a:cubicBezTo>
                  <a:pt x="300" y="18"/>
                  <a:pt x="301" y="18"/>
                  <a:pt x="302" y="18"/>
                </a:cubicBezTo>
                <a:cubicBezTo>
                  <a:pt x="303" y="16"/>
                  <a:pt x="305" y="16"/>
                  <a:pt x="307" y="16"/>
                </a:cubicBezTo>
                <a:cubicBezTo>
                  <a:pt x="308" y="15"/>
                  <a:pt x="306" y="15"/>
                  <a:pt x="307" y="15"/>
                </a:cubicBezTo>
                <a:cubicBezTo>
                  <a:pt x="305" y="16"/>
                  <a:pt x="303" y="16"/>
                  <a:pt x="302" y="17"/>
                </a:cubicBezTo>
                <a:cubicBezTo>
                  <a:pt x="301" y="17"/>
                  <a:pt x="301" y="17"/>
                  <a:pt x="300" y="17"/>
                </a:cubicBezTo>
                <a:cubicBezTo>
                  <a:pt x="301" y="17"/>
                  <a:pt x="299" y="18"/>
                  <a:pt x="298" y="18"/>
                </a:cubicBezTo>
                <a:cubicBezTo>
                  <a:pt x="297" y="18"/>
                  <a:pt x="298" y="18"/>
                  <a:pt x="299" y="18"/>
                </a:cubicBezTo>
                <a:close/>
                <a:moveTo>
                  <a:pt x="358" y="4"/>
                </a:moveTo>
                <a:cubicBezTo>
                  <a:pt x="357" y="4"/>
                  <a:pt x="355" y="4"/>
                  <a:pt x="354" y="5"/>
                </a:cubicBezTo>
                <a:cubicBezTo>
                  <a:pt x="355" y="5"/>
                  <a:pt x="357" y="4"/>
                  <a:pt x="359" y="4"/>
                </a:cubicBezTo>
                <a:cubicBezTo>
                  <a:pt x="359" y="4"/>
                  <a:pt x="358" y="4"/>
                  <a:pt x="358" y="4"/>
                </a:cubicBezTo>
                <a:close/>
                <a:moveTo>
                  <a:pt x="395" y="0"/>
                </a:moveTo>
                <a:cubicBezTo>
                  <a:pt x="393" y="0"/>
                  <a:pt x="392" y="0"/>
                  <a:pt x="390" y="0"/>
                </a:cubicBezTo>
                <a:cubicBezTo>
                  <a:pt x="390" y="0"/>
                  <a:pt x="394" y="0"/>
                  <a:pt x="395" y="0"/>
                </a:cubicBezTo>
                <a:close/>
                <a:moveTo>
                  <a:pt x="425" y="1"/>
                </a:moveTo>
                <a:cubicBezTo>
                  <a:pt x="425" y="1"/>
                  <a:pt x="423" y="1"/>
                  <a:pt x="425" y="1"/>
                </a:cubicBezTo>
                <a:cubicBezTo>
                  <a:pt x="425" y="1"/>
                  <a:pt x="425" y="1"/>
                  <a:pt x="426" y="0"/>
                </a:cubicBezTo>
                <a:cubicBezTo>
                  <a:pt x="425" y="0"/>
                  <a:pt x="424" y="0"/>
                  <a:pt x="423" y="1"/>
                </a:cubicBezTo>
                <a:cubicBezTo>
                  <a:pt x="423" y="1"/>
                  <a:pt x="424" y="1"/>
                  <a:pt x="425" y="1"/>
                </a:cubicBezTo>
                <a:close/>
                <a:moveTo>
                  <a:pt x="559" y="30"/>
                </a:moveTo>
                <a:cubicBezTo>
                  <a:pt x="559" y="30"/>
                  <a:pt x="559" y="30"/>
                  <a:pt x="559" y="30"/>
                </a:cubicBezTo>
                <a:cubicBezTo>
                  <a:pt x="559" y="29"/>
                  <a:pt x="559" y="29"/>
                  <a:pt x="559" y="29"/>
                </a:cubicBezTo>
                <a:cubicBezTo>
                  <a:pt x="558" y="29"/>
                  <a:pt x="557" y="29"/>
                  <a:pt x="556" y="28"/>
                </a:cubicBezTo>
                <a:cubicBezTo>
                  <a:pt x="556" y="29"/>
                  <a:pt x="558" y="29"/>
                  <a:pt x="559" y="30"/>
                </a:cubicBezTo>
                <a:close/>
                <a:moveTo>
                  <a:pt x="628" y="123"/>
                </a:moveTo>
                <a:cubicBezTo>
                  <a:pt x="629" y="125"/>
                  <a:pt x="630" y="126"/>
                  <a:pt x="631" y="127"/>
                </a:cubicBezTo>
                <a:cubicBezTo>
                  <a:pt x="632" y="127"/>
                  <a:pt x="634" y="129"/>
                  <a:pt x="635" y="130"/>
                </a:cubicBezTo>
                <a:cubicBezTo>
                  <a:pt x="635" y="130"/>
                  <a:pt x="635" y="130"/>
                  <a:pt x="635" y="130"/>
                </a:cubicBezTo>
                <a:cubicBezTo>
                  <a:pt x="635" y="130"/>
                  <a:pt x="635" y="130"/>
                  <a:pt x="636" y="130"/>
                </a:cubicBezTo>
                <a:cubicBezTo>
                  <a:pt x="633" y="128"/>
                  <a:pt x="630" y="125"/>
                  <a:pt x="628" y="123"/>
                </a:cubicBezTo>
                <a:close/>
                <a:moveTo>
                  <a:pt x="716" y="155"/>
                </a:moveTo>
                <a:cubicBezTo>
                  <a:pt x="716" y="155"/>
                  <a:pt x="715" y="154"/>
                  <a:pt x="715" y="154"/>
                </a:cubicBezTo>
                <a:cubicBezTo>
                  <a:pt x="715" y="154"/>
                  <a:pt x="715" y="154"/>
                  <a:pt x="715" y="154"/>
                </a:cubicBezTo>
                <a:cubicBezTo>
                  <a:pt x="715" y="155"/>
                  <a:pt x="713" y="153"/>
                  <a:pt x="714" y="154"/>
                </a:cubicBezTo>
                <a:cubicBezTo>
                  <a:pt x="715" y="156"/>
                  <a:pt x="714" y="154"/>
                  <a:pt x="716" y="155"/>
                </a:cubicBezTo>
                <a:close/>
                <a:moveTo>
                  <a:pt x="724" y="169"/>
                </a:moveTo>
                <a:cubicBezTo>
                  <a:pt x="725" y="169"/>
                  <a:pt x="723" y="167"/>
                  <a:pt x="723" y="167"/>
                </a:cubicBezTo>
                <a:cubicBezTo>
                  <a:pt x="723" y="168"/>
                  <a:pt x="723" y="168"/>
                  <a:pt x="722" y="168"/>
                </a:cubicBezTo>
                <a:cubicBezTo>
                  <a:pt x="723" y="169"/>
                  <a:pt x="723" y="167"/>
                  <a:pt x="724" y="169"/>
                </a:cubicBezTo>
                <a:close/>
                <a:moveTo>
                  <a:pt x="859" y="242"/>
                </a:moveTo>
                <a:cubicBezTo>
                  <a:pt x="859" y="242"/>
                  <a:pt x="859" y="242"/>
                  <a:pt x="859" y="243"/>
                </a:cubicBezTo>
                <a:cubicBezTo>
                  <a:pt x="859" y="242"/>
                  <a:pt x="859" y="243"/>
                  <a:pt x="859" y="242"/>
                </a:cubicBezTo>
                <a:close/>
                <a:moveTo>
                  <a:pt x="859" y="244"/>
                </a:moveTo>
                <a:cubicBezTo>
                  <a:pt x="859" y="244"/>
                  <a:pt x="860" y="244"/>
                  <a:pt x="860" y="243"/>
                </a:cubicBezTo>
                <a:cubicBezTo>
                  <a:pt x="860" y="244"/>
                  <a:pt x="859" y="243"/>
                  <a:pt x="859" y="244"/>
                </a:cubicBezTo>
                <a:close/>
                <a:moveTo>
                  <a:pt x="857" y="244"/>
                </a:moveTo>
                <a:cubicBezTo>
                  <a:pt x="857" y="244"/>
                  <a:pt x="857" y="244"/>
                  <a:pt x="857" y="244"/>
                </a:cubicBezTo>
                <a:cubicBezTo>
                  <a:pt x="857" y="244"/>
                  <a:pt x="857" y="244"/>
                  <a:pt x="857" y="244"/>
                </a:cubicBezTo>
                <a:cubicBezTo>
                  <a:pt x="857" y="244"/>
                  <a:pt x="857" y="244"/>
                  <a:pt x="857" y="244"/>
                </a:cubicBezTo>
                <a:close/>
                <a:moveTo>
                  <a:pt x="844" y="244"/>
                </a:moveTo>
                <a:cubicBezTo>
                  <a:pt x="844" y="244"/>
                  <a:pt x="844" y="244"/>
                  <a:pt x="844" y="244"/>
                </a:cubicBezTo>
                <a:cubicBezTo>
                  <a:pt x="844" y="245"/>
                  <a:pt x="844" y="245"/>
                  <a:pt x="844" y="245"/>
                </a:cubicBezTo>
                <a:cubicBezTo>
                  <a:pt x="844" y="245"/>
                  <a:pt x="845" y="245"/>
                  <a:pt x="844" y="244"/>
                </a:cubicBezTo>
                <a:close/>
                <a:moveTo>
                  <a:pt x="859" y="245"/>
                </a:moveTo>
                <a:cubicBezTo>
                  <a:pt x="859" y="245"/>
                  <a:pt x="859" y="244"/>
                  <a:pt x="859" y="244"/>
                </a:cubicBezTo>
                <a:cubicBezTo>
                  <a:pt x="859" y="244"/>
                  <a:pt x="858" y="244"/>
                  <a:pt x="858" y="245"/>
                </a:cubicBezTo>
                <a:cubicBezTo>
                  <a:pt x="859" y="245"/>
                  <a:pt x="858" y="245"/>
                  <a:pt x="859" y="245"/>
                </a:cubicBezTo>
                <a:close/>
                <a:moveTo>
                  <a:pt x="844" y="245"/>
                </a:moveTo>
                <a:cubicBezTo>
                  <a:pt x="843" y="245"/>
                  <a:pt x="843" y="245"/>
                  <a:pt x="843" y="245"/>
                </a:cubicBezTo>
                <a:cubicBezTo>
                  <a:pt x="843" y="246"/>
                  <a:pt x="843" y="246"/>
                  <a:pt x="844" y="246"/>
                </a:cubicBezTo>
                <a:lnTo>
                  <a:pt x="844" y="245"/>
                </a:lnTo>
                <a:close/>
                <a:moveTo>
                  <a:pt x="853" y="247"/>
                </a:moveTo>
                <a:cubicBezTo>
                  <a:pt x="853" y="246"/>
                  <a:pt x="853" y="247"/>
                  <a:pt x="853" y="247"/>
                </a:cubicBezTo>
                <a:cubicBezTo>
                  <a:pt x="854" y="247"/>
                  <a:pt x="853" y="247"/>
                  <a:pt x="853" y="247"/>
                </a:cubicBezTo>
                <a:close/>
                <a:moveTo>
                  <a:pt x="840" y="250"/>
                </a:moveTo>
                <a:cubicBezTo>
                  <a:pt x="840" y="249"/>
                  <a:pt x="840" y="249"/>
                  <a:pt x="841" y="249"/>
                </a:cubicBezTo>
                <a:cubicBezTo>
                  <a:pt x="840" y="249"/>
                  <a:pt x="841" y="249"/>
                  <a:pt x="841" y="248"/>
                </a:cubicBezTo>
                <a:cubicBezTo>
                  <a:pt x="841" y="249"/>
                  <a:pt x="841" y="249"/>
                  <a:pt x="841" y="249"/>
                </a:cubicBezTo>
                <a:cubicBezTo>
                  <a:pt x="841" y="248"/>
                  <a:pt x="841" y="248"/>
                  <a:pt x="841" y="248"/>
                </a:cubicBezTo>
                <a:cubicBezTo>
                  <a:pt x="841" y="248"/>
                  <a:pt x="841" y="247"/>
                  <a:pt x="841" y="247"/>
                </a:cubicBezTo>
                <a:cubicBezTo>
                  <a:pt x="841" y="247"/>
                  <a:pt x="841" y="248"/>
                  <a:pt x="841" y="247"/>
                </a:cubicBezTo>
                <a:cubicBezTo>
                  <a:pt x="840" y="247"/>
                  <a:pt x="841" y="248"/>
                  <a:pt x="841" y="248"/>
                </a:cubicBezTo>
                <a:cubicBezTo>
                  <a:pt x="840" y="248"/>
                  <a:pt x="840" y="248"/>
                  <a:pt x="840" y="248"/>
                </a:cubicBezTo>
                <a:cubicBezTo>
                  <a:pt x="840" y="249"/>
                  <a:pt x="840" y="249"/>
                  <a:pt x="840" y="250"/>
                </a:cubicBezTo>
                <a:close/>
                <a:moveTo>
                  <a:pt x="852" y="248"/>
                </a:moveTo>
                <a:cubicBezTo>
                  <a:pt x="852" y="248"/>
                  <a:pt x="853" y="248"/>
                  <a:pt x="853" y="247"/>
                </a:cubicBezTo>
                <a:cubicBezTo>
                  <a:pt x="852" y="247"/>
                  <a:pt x="852" y="247"/>
                  <a:pt x="852" y="247"/>
                </a:cubicBezTo>
                <a:cubicBezTo>
                  <a:pt x="852" y="247"/>
                  <a:pt x="852" y="248"/>
                  <a:pt x="852" y="248"/>
                </a:cubicBezTo>
                <a:close/>
                <a:moveTo>
                  <a:pt x="855" y="250"/>
                </a:moveTo>
                <a:cubicBezTo>
                  <a:pt x="854" y="250"/>
                  <a:pt x="854" y="250"/>
                  <a:pt x="854" y="251"/>
                </a:cubicBezTo>
                <a:cubicBezTo>
                  <a:pt x="855" y="251"/>
                  <a:pt x="855" y="250"/>
                  <a:pt x="855" y="250"/>
                </a:cubicBezTo>
                <a:close/>
                <a:moveTo>
                  <a:pt x="835" y="252"/>
                </a:moveTo>
                <a:cubicBezTo>
                  <a:pt x="834" y="252"/>
                  <a:pt x="834" y="252"/>
                  <a:pt x="835" y="252"/>
                </a:cubicBezTo>
                <a:cubicBezTo>
                  <a:pt x="835" y="252"/>
                  <a:pt x="835" y="252"/>
                  <a:pt x="835" y="252"/>
                </a:cubicBezTo>
                <a:close/>
                <a:moveTo>
                  <a:pt x="852" y="252"/>
                </a:moveTo>
                <a:cubicBezTo>
                  <a:pt x="853" y="252"/>
                  <a:pt x="853" y="252"/>
                  <a:pt x="853" y="252"/>
                </a:cubicBezTo>
                <a:cubicBezTo>
                  <a:pt x="853" y="252"/>
                  <a:pt x="852" y="252"/>
                  <a:pt x="852" y="252"/>
                </a:cubicBezTo>
                <a:close/>
                <a:moveTo>
                  <a:pt x="842" y="255"/>
                </a:moveTo>
                <a:cubicBezTo>
                  <a:pt x="841" y="255"/>
                  <a:pt x="842" y="255"/>
                  <a:pt x="842" y="256"/>
                </a:cubicBezTo>
                <a:cubicBezTo>
                  <a:pt x="842" y="256"/>
                  <a:pt x="842" y="256"/>
                  <a:pt x="842" y="256"/>
                </a:cubicBezTo>
                <a:cubicBezTo>
                  <a:pt x="842" y="255"/>
                  <a:pt x="842" y="255"/>
                  <a:pt x="842" y="255"/>
                </a:cubicBezTo>
                <a:close/>
                <a:moveTo>
                  <a:pt x="854" y="255"/>
                </a:moveTo>
                <a:cubicBezTo>
                  <a:pt x="853" y="254"/>
                  <a:pt x="853" y="255"/>
                  <a:pt x="853" y="255"/>
                </a:cubicBezTo>
                <a:cubicBezTo>
                  <a:pt x="853" y="255"/>
                  <a:pt x="853" y="255"/>
                  <a:pt x="854" y="255"/>
                </a:cubicBezTo>
                <a:close/>
                <a:moveTo>
                  <a:pt x="850" y="257"/>
                </a:moveTo>
                <a:cubicBezTo>
                  <a:pt x="850" y="257"/>
                  <a:pt x="850" y="257"/>
                  <a:pt x="850" y="258"/>
                </a:cubicBezTo>
                <a:cubicBezTo>
                  <a:pt x="850" y="257"/>
                  <a:pt x="850" y="257"/>
                  <a:pt x="851" y="257"/>
                </a:cubicBezTo>
                <a:cubicBezTo>
                  <a:pt x="851" y="257"/>
                  <a:pt x="850" y="257"/>
                  <a:pt x="850" y="257"/>
                </a:cubicBezTo>
                <a:close/>
                <a:moveTo>
                  <a:pt x="834" y="258"/>
                </a:moveTo>
                <a:cubicBezTo>
                  <a:pt x="834" y="258"/>
                  <a:pt x="834" y="258"/>
                  <a:pt x="834" y="258"/>
                </a:cubicBezTo>
                <a:cubicBezTo>
                  <a:pt x="834" y="257"/>
                  <a:pt x="834" y="258"/>
                  <a:pt x="834" y="258"/>
                </a:cubicBezTo>
                <a:close/>
                <a:moveTo>
                  <a:pt x="836" y="259"/>
                </a:moveTo>
                <a:cubicBezTo>
                  <a:pt x="836" y="259"/>
                  <a:pt x="836" y="259"/>
                  <a:pt x="837" y="259"/>
                </a:cubicBezTo>
                <a:cubicBezTo>
                  <a:pt x="836" y="259"/>
                  <a:pt x="836" y="259"/>
                  <a:pt x="836" y="259"/>
                </a:cubicBezTo>
                <a:cubicBezTo>
                  <a:pt x="836" y="259"/>
                  <a:pt x="836" y="259"/>
                  <a:pt x="836" y="259"/>
                </a:cubicBezTo>
                <a:close/>
                <a:moveTo>
                  <a:pt x="828" y="260"/>
                </a:moveTo>
                <a:cubicBezTo>
                  <a:pt x="827" y="260"/>
                  <a:pt x="827" y="260"/>
                  <a:pt x="827" y="261"/>
                </a:cubicBezTo>
                <a:cubicBezTo>
                  <a:pt x="827" y="260"/>
                  <a:pt x="828" y="260"/>
                  <a:pt x="828" y="260"/>
                </a:cubicBezTo>
                <a:close/>
                <a:moveTo>
                  <a:pt x="857" y="259"/>
                </a:moveTo>
                <a:cubicBezTo>
                  <a:pt x="857" y="259"/>
                  <a:pt x="857" y="259"/>
                  <a:pt x="857" y="259"/>
                </a:cubicBezTo>
                <a:cubicBezTo>
                  <a:pt x="856" y="259"/>
                  <a:pt x="856" y="259"/>
                  <a:pt x="856" y="259"/>
                </a:cubicBezTo>
                <a:cubicBezTo>
                  <a:pt x="856" y="259"/>
                  <a:pt x="857" y="259"/>
                  <a:pt x="857" y="259"/>
                </a:cubicBezTo>
                <a:close/>
                <a:moveTo>
                  <a:pt x="853" y="259"/>
                </a:moveTo>
                <a:cubicBezTo>
                  <a:pt x="853" y="259"/>
                  <a:pt x="853" y="259"/>
                  <a:pt x="852" y="259"/>
                </a:cubicBezTo>
                <a:cubicBezTo>
                  <a:pt x="853" y="259"/>
                  <a:pt x="853" y="259"/>
                  <a:pt x="853" y="259"/>
                </a:cubicBezTo>
                <a:close/>
                <a:moveTo>
                  <a:pt x="855" y="260"/>
                </a:moveTo>
                <a:cubicBezTo>
                  <a:pt x="855" y="260"/>
                  <a:pt x="855" y="260"/>
                  <a:pt x="855" y="260"/>
                </a:cubicBezTo>
                <a:cubicBezTo>
                  <a:pt x="855" y="260"/>
                  <a:pt x="855" y="261"/>
                  <a:pt x="854" y="261"/>
                </a:cubicBezTo>
                <a:cubicBezTo>
                  <a:pt x="854" y="262"/>
                  <a:pt x="854" y="262"/>
                  <a:pt x="855" y="262"/>
                </a:cubicBezTo>
                <a:cubicBezTo>
                  <a:pt x="855" y="262"/>
                  <a:pt x="854" y="262"/>
                  <a:pt x="855" y="262"/>
                </a:cubicBezTo>
                <a:cubicBezTo>
                  <a:pt x="855" y="261"/>
                  <a:pt x="855" y="262"/>
                  <a:pt x="855" y="262"/>
                </a:cubicBezTo>
                <a:cubicBezTo>
                  <a:pt x="855" y="261"/>
                  <a:pt x="855" y="261"/>
                  <a:pt x="855" y="261"/>
                </a:cubicBezTo>
                <a:cubicBezTo>
                  <a:pt x="856" y="261"/>
                  <a:pt x="856" y="260"/>
                  <a:pt x="856" y="260"/>
                </a:cubicBezTo>
                <a:cubicBezTo>
                  <a:pt x="856" y="260"/>
                  <a:pt x="855" y="260"/>
                  <a:pt x="855" y="260"/>
                </a:cubicBezTo>
                <a:close/>
                <a:moveTo>
                  <a:pt x="834" y="263"/>
                </a:moveTo>
                <a:cubicBezTo>
                  <a:pt x="834" y="262"/>
                  <a:pt x="833" y="262"/>
                  <a:pt x="833" y="262"/>
                </a:cubicBezTo>
                <a:cubicBezTo>
                  <a:pt x="833" y="262"/>
                  <a:pt x="832" y="262"/>
                  <a:pt x="832" y="262"/>
                </a:cubicBezTo>
                <a:cubicBezTo>
                  <a:pt x="832" y="263"/>
                  <a:pt x="833" y="262"/>
                  <a:pt x="833" y="262"/>
                </a:cubicBezTo>
                <a:cubicBezTo>
                  <a:pt x="833" y="262"/>
                  <a:pt x="833" y="263"/>
                  <a:pt x="833" y="263"/>
                </a:cubicBezTo>
                <a:cubicBezTo>
                  <a:pt x="833" y="263"/>
                  <a:pt x="833" y="262"/>
                  <a:pt x="834" y="263"/>
                </a:cubicBezTo>
                <a:close/>
                <a:moveTo>
                  <a:pt x="867" y="261"/>
                </a:moveTo>
                <a:cubicBezTo>
                  <a:pt x="867" y="261"/>
                  <a:pt x="866" y="261"/>
                  <a:pt x="866" y="261"/>
                </a:cubicBezTo>
                <a:cubicBezTo>
                  <a:pt x="867" y="261"/>
                  <a:pt x="867" y="261"/>
                  <a:pt x="867" y="261"/>
                </a:cubicBezTo>
                <a:close/>
                <a:moveTo>
                  <a:pt x="868" y="261"/>
                </a:moveTo>
                <a:cubicBezTo>
                  <a:pt x="868" y="261"/>
                  <a:pt x="867" y="261"/>
                  <a:pt x="867" y="262"/>
                </a:cubicBezTo>
                <a:cubicBezTo>
                  <a:pt x="868" y="262"/>
                  <a:pt x="868" y="261"/>
                  <a:pt x="868" y="261"/>
                </a:cubicBezTo>
                <a:close/>
                <a:moveTo>
                  <a:pt x="867" y="262"/>
                </a:moveTo>
                <a:cubicBezTo>
                  <a:pt x="867" y="262"/>
                  <a:pt x="867" y="262"/>
                  <a:pt x="867" y="262"/>
                </a:cubicBezTo>
                <a:cubicBezTo>
                  <a:pt x="867" y="262"/>
                  <a:pt x="867" y="262"/>
                  <a:pt x="866" y="262"/>
                </a:cubicBezTo>
                <a:cubicBezTo>
                  <a:pt x="867" y="262"/>
                  <a:pt x="867" y="262"/>
                  <a:pt x="867" y="262"/>
                </a:cubicBezTo>
                <a:close/>
                <a:moveTo>
                  <a:pt x="832" y="264"/>
                </a:moveTo>
                <a:cubicBezTo>
                  <a:pt x="832" y="264"/>
                  <a:pt x="832" y="263"/>
                  <a:pt x="833" y="263"/>
                </a:cubicBezTo>
                <a:cubicBezTo>
                  <a:pt x="832" y="263"/>
                  <a:pt x="832" y="264"/>
                  <a:pt x="832" y="264"/>
                </a:cubicBezTo>
                <a:close/>
                <a:moveTo>
                  <a:pt x="874" y="265"/>
                </a:moveTo>
                <a:cubicBezTo>
                  <a:pt x="874" y="264"/>
                  <a:pt x="874" y="264"/>
                  <a:pt x="874" y="263"/>
                </a:cubicBezTo>
                <a:cubicBezTo>
                  <a:pt x="874" y="264"/>
                  <a:pt x="874" y="264"/>
                  <a:pt x="874" y="265"/>
                </a:cubicBezTo>
                <a:close/>
                <a:moveTo>
                  <a:pt x="831" y="265"/>
                </a:moveTo>
                <a:cubicBezTo>
                  <a:pt x="831" y="265"/>
                  <a:pt x="830" y="265"/>
                  <a:pt x="830" y="265"/>
                </a:cubicBezTo>
                <a:cubicBezTo>
                  <a:pt x="831" y="266"/>
                  <a:pt x="831" y="266"/>
                  <a:pt x="831" y="265"/>
                </a:cubicBezTo>
                <a:close/>
                <a:moveTo>
                  <a:pt x="861" y="265"/>
                </a:moveTo>
                <a:cubicBezTo>
                  <a:pt x="861" y="264"/>
                  <a:pt x="861" y="264"/>
                  <a:pt x="861" y="264"/>
                </a:cubicBezTo>
                <a:cubicBezTo>
                  <a:pt x="860" y="264"/>
                  <a:pt x="860" y="265"/>
                  <a:pt x="861" y="265"/>
                </a:cubicBezTo>
                <a:close/>
                <a:moveTo>
                  <a:pt x="851" y="265"/>
                </a:moveTo>
                <a:cubicBezTo>
                  <a:pt x="851" y="265"/>
                  <a:pt x="851" y="266"/>
                  <a:pt x="851" y="266"/>
                </a:cubicBezTo>
                <a:cubicBezTo>
                  <a:pt x="852" y="266"/>
                  <a:pt x="851" y="265"/>
                  <a:pt x="852" y="265"/>
                </a:cubicBezTo>
                <a:cubicBezTo>
                  <a:pt x="851" y="264"/>
                  <a:pt x="851" y="265"/>
                  <a:pt x="851" y="265"/>
                </a:cubicBezTo>
                <a:close/>
                <a:moveTo>
                  <a:pt x="869" y="265"/>
                </a:moveTo>
                <a:cubicBezTo>
                  <a:pt x="868" y="265"/>
                  <a:pt x="868" y="265"/>
                  <a:pt x="868" y="266"/>
                </a:cubicBezTo>
                <a:cubicBezTo>
                  <a:pt x="868" y="265"/>
                  <a:pt x="869" y="265"/>
                  <a:pt x="869" y="265"/>
                </a:cubicBezTo>
                <a:close/>
                <a:moveTo>
                  <a:pt x="829" y="267"/>
                </a:moveTo>
                <a:cubicBezTo>
                  <a:pt x="829" y="267"/>
                  <a:pt x="828" y="267"/>
                  <a:pt x="828" y="268"/>
                </a:cubicBezTo>
                <a:cubicBezTo>
                  <a:pt x="829" y="267"/>
                  <a:pt x="830" y="268"/>
                  <a:pt x="829" y="267"/>
                </a:cubicBezTo>
                <a:cubicBezTo>
                  <a:pt x="829" y="267"/>
                  <a:pt x="829" y="267"/>
                  <a:pt x="829" y="267"/>
                </a:cubicBezTo>
                <a:close/>
                <a:moveTo>
                  <a:pt x="858" y="267"/>
                </a:moveTo>
                <a:cubicBezTo>
                  <a:pt x="858" y="267"/>
                  <a:pt x="859" y="267"/>
                  <a:pt x="859" y="267"/>
                </a:cubicBezTo>
                <a:cubicBezTo>
                  <a:pt x="859" y="267"/>
                  <a:pt x="859" y="267"/>
                  <a:pt x="858" y="266"/>
                </a:cubicBezTo>
                <a:cubicBezTo>
                  <a:pt x="858" y="266"/>
                  <a:pt x="858" y="267"/>
                  <a:pt x="858" y="267"/>
                </a:cubicBezTo>
                <a:close/>
                <a:moveTo>
                  <a:pt x="828" y="268"/>
                </a:moveTo>
                <a:cubicBezTo>
                  <a:pt x="828" y="268"/>
                  <a:pt x="828" y="268"/>
                  <a:pt x="828" y="268"/>
                </a:cubicBezTo>
                <a:cubicBezTo>
                  <a:pt x="828" y="269"/>
                  <a:pt x="827" y="269"/>
                  <a:pt x="828" y="269"/>
                </a:cubicBezTo>
                <a:cubicBezTo>
                  <a:pt x="828" y="269"/>
                  <a:pt x="828" y="269"/>
                  <a:pt x="828" y="269"/>
                </a:cubicBezTo>
                <a:cubicBezTo>
                  <a:pt x="828" y="268"/>
                  <a:pt x="828" y="268"/>
                  <a:pt x="828" y="268"/>
                </a:cubicBezTo>
                <a:close/>
                <a:moveTo>
                  <a:pt x="827" y="269"/>
                </a:moveTo>
                <a:cubicBezTo>
                  <a:pt x="827" y="269"/>
                  <a:pt x="826" y="269"/>
                  <a:pt x="826" y="270"/>
                </a:cubicBezTo>
                <a:cubicBezTo>
                  <a:pt x="827" y="269"/>
                  <a:pt x="827" y="270"/>
                  <a:pt x="827" y="270"/>
                </a:cubicBezTo>
                <a:cubicBezTo>
                  <a:pt x="827" y="269"/>
                  <a:pt x="828" y="269"/>
                  <a:pt x="827" y="269"/>
                </a:cubicBezTo>
                <a:close/>
                <a:moveTo>
                  <a:pt x="863" y="270"/>
                </a:moveTo>
                <a:cubicBezTo>
                  <a:pt x="863" y="270"/>
                  <a:pt x="863" y="270"/>
                  <a:pt x="862" y="269"/>
                </a:cubicBezTo>
                <a:cubicBezTo>
                  <a:pt x="862" y="270"/>
                  <a:pt x="862" y="270"/>
                  <a:pt x="863" y="270"/>
                </a:cubicBezTo>
                <a:close/>
                <a:moveTo>
                  <a:pt x="826" y="271"/>
                </a:moveTo>
                <a:cubicBezTo>
                  <a:pt x="825" y="271"/>
                  <a:pt x="825" y="272"/>
                  <a:pt x="825" y="272"/>
                </a:cubicBezTo>
                <a:cubicBezTo>
                  <a:pt x="825" y="272"/>
                  <a:pt x="825" y="272"/>
                  <a:pt x="825" y="271"/>
                </a:cubicBezTo>
                <a:cubicBezTo>
                  <a:pt x="824" y="272"/>
                  <a:pt x="825" y="272"/>
                  <a:pt x="824" y="273"/>
                </a:cubicBezTo>
                <a:cubicBezTo>
                  <a:pt x="825" y="273"/>
                  <a:pt x="825" y="273"/>
                  <a:pt x="825" y="273"/>
                </a:cubicBezTo>
                <a:cubicBezTo>
                  <a:pt x="825" y="272"/>
                  <a:pt x="825" y="273"/>
                  <a:pt x="825" y="273"/>
                </a:cubicBezTo>
                <a:cubicBezTo>
                  <a:pt x="825" y="272"/>
                  <a:pt x="826" y="272"/>
                  <a:pt x="826" y="271"/>
                </a:cubicBezTo>
                <a:close/>
                <a:moveTo>
                  <a:pt x="844" y="272"/>
                </a:moveTo>
                <a:cubicBezTo>
                  <a:pt x="843" y="273"/>
                  <a:pt x="843" y="273"/>
                  <a:pt x="844" y="274"/>
                </a:cubicBezTo>
                <a:cubicBezTo>
                  <a:pt x="844" y="273"/>
                  <a:pt x="844" y="273"/>
                  <a:pt x="844" y="272"/>
                </a:cubicBezTo>
                <a:close/>
                <a:moveTo>
                  <a:pt x="853" y="272"/>
                </a:moveTo>
                <a:cubicBezTo>
                  <a:pt x="853" y="273"/>
                  <a:pt x="853" y="273"/>
                  <a:pt x="853" y="273"/>
                </a:cubicBezTo>
                <a:cubicBezTo>
                  <a:pt x="854" y="273"/>
                  <a:pt x="853" y="273"/>
                  <a:pt x="853" y="272"/>
                </a:cubicBezTo>
                <a:cubicBezTo>
                  <a:pt x="853" y="273"/>
                  <a:pt x="853" y="272"/>
                  <a:pt x="853" y="272"/>
                </a:cubicBezTo>
                <a:close/>
                <a:moveTo>
                  <a:pt x="848" y="279"/>
                </a:moveTo>
                <a:cubicBezTo>
                  <a:pt x="848" y="278"/>
                  <a:pt x="848" y="278"/>
                  <a:pt x="848" y="278"/>
                </a:cubicBezTo>
                <a:cubicBezTo>
                  <a:pt x="848" y="278"/>
                  <a:pt x="847" y="278"/>
                  <a:pt x="848" y="279"/>
                </a:cubicBezTo>
                <a:close/>
                <a:moveTo>
                  <a:pt x="861" y="281"/>
                </a:moveTo>
                <a:cubicBezTo>
                  <a:pt x="861" y="281"/>
                  <a:pt x="862" y="281"/>
                  <a:pt x="862" y="281"/>
                </a:cubicBezTo>
                <a:cubicBezTo>
                  <a:pt x="862" y="281"/>
                  <a:pt x="862" y="281"/>
                  <a:pt x="862" y="281"/>
                </a:cubicBezTo>
                <a:cubicBezTo>
                  <a:pt x="862" y="281"/>
                  <a:pt x="862" y="281"/>
                  <a:pt x="861" y="281"/>
                </a:cubicBezTo>
                <a:close/>
                <a:moveTo>
                  <a:pt x="869" y="281"/>
                </a:moveTo>
                <a:cubicBezTo>
                  <a:pt x="869" y="281"/>
                  <a:pt x="870" y="281"/>
                  <a:pt x="869" y="280"/>
                </a:cubicBezTo>
                <a:cubicBezTo>
                  <a:pt x="869" y="281"/>
                  <a:pt x="869" y="281"/>
                  <a:pt x="869" y="281"/>
                </a:cubicBezTo>
                <a:close/>
                <a:moveTo>
                  <a:pt x="841" y="283"/>
                </a:moveTo>
                <a:cubicBezTo>
                  <a:pt x="840" y="283"/>
                  <a:pt x="840" y="283"/>
                  <a:pt x="840" y="283"/>
                </a:cubicBezTo>
                <a:cubicBezTo>
                  <a:pt x="840" y="283"/>
                  <a:pt x="840" y="283"/>
                  <a:pt x="840" y="283"/>
                </a:cubicBezTo>
                <a:cubicBezTo>
                  <a:pt x="840" y="284"/>
                  <a:pt x="841" y="283"/>
                  <a:pt x="841" y="283"/>
                </a:cubicBezTo>
                <a:close/>
                <a:moveTo>
                  <a:pt x="863" y="285"/>
                </a:moveTo>
                <a:cubicBezTo>
                  <a:pt x="863" y="285"/>
                  <a:pt x="862" y="284"/>
                  <a:pt x="863" y="285"/>
                </a:cubicBezTo>
                <a:cubicBezTo>
                  <a:pt x="862" y="284"/>
                  <a:pt x="863" y="284"/>
                  <a:pt x="863" y="283"/>
                </a:cubicBezTo>
                <a:cubicBezTo>
                  <a:pt x="862" y="284"/>
                  <a:pt x="863" y="284"/>
                  <a:pt x="862" y="284"/>
                </a:cubicBezTo>
                <a:cubicBezTo>
                  <a:pt x="862" y="284"/>
                  <a:pt x="862" y="284"/>
                  <a:pt x="863" y="284"/>
                </a:cubicBezTo>
                <a:cubicBezTo>
                  <a:pt x="863" y="285"/>
                  <a:pt x="862" y="285"/>
                  <a:pt x="863" y="285"/>
                </a:cubicBezTo>
                <a:close/>
                <a:moveTo>
                  <a:pt x="842" y="286"/>
                </a:moveTo>
                <a:cubicBezTo>
                  <a:pt x="842" y="286"/>
                  <a:pt x="842" y="286"/>
                  <a:pt x="842" y="286"/>
                </a:cubicBezTo>
                <a:cubicBezTo>
                  <a:pt x="842" y="286"/>
                  <a:pt x="842" y="286"/>
                  <a:pt x="842" y="286"/>
                </a:cubicBezTo>
                <a:cubicBezTo>
                  <a:pt x="842" y="286"/>
                  <a:pt x="842" y="286"/>
                  <a:pt x="842" y="286"/>
                </a:cubicBezTo>
                <a:close/>
                <a:moveTo>
                  <a:pt x="860" y="288"/>
                </a:moveTo>
                <a:cubicBezTo>
                  <a:pt x="860" y="288"/>
                  <a:pt x="860" y="288"/>
                  <a:pt x="861" y="287"/>
                </a:cubicBezTo>
                <a:cubicBezTo>
                  <a:pt x="860" y="287"/>
                  <a:pt x="860" y="288"/>
                  <a:pt x="860" y="288"/>
                </a:cubicBezTo>
                <a:close/>
                <a:moveTo>
                  <a:pt x="864" y="290"/>
                </a:moveTo>
                <a:cubicBezTo>
                  <a:pt x="864" y="289"/>
                  <a:pt x="865" y="289"/>
                  <a:pt x="865" y="289"/>
                </a:cubicBezTo>
                <a:cubicBezTo>
                  <a:pt x="864" y="289"/>
                  <a:pt x="864" y="289"/>
                  <a:pt x="864" y="290"/>
                </a:cubicBezTo>
                <a:close/>
                <a:moveTo>
                  <a:pt x="857" y="290"/>
                </a:moveTo>
                <a:cubicBezTo>
                  <a:pt x="857" y="290"/>
                  <a:pt x="856" y="290"/>
                  <a:pt x="857" y="290"/>
                </a:cubicBezTo>
                <a:cubicBezTo>
                  <a:pt x="857" y="290"/>
                  <a:pt x="857" y="290"/>
                  <a:pt x="857" y="290"/>
                </a:cubicBezTo>
                <a:close/>
                <a:moveTo>
                  <a:pt x="855" y="292"/>
                </a:moveTo>
                <a:cubicBezTo>
                  <a:pt x="854" y="292"/>
                  <a:pt x="855" y="292"/>
                  <a:pt x="854" y="292"/>
                </a:cubicBezTo>
                <a:cubicBezTo>
                  <a:pt x="854" y="292"/>
                  <a:pt x="855" y="292"/>
                  <a:pt x="855" y="292"/>
                </a:cubicBezTo>
                <a:close/>
                <a:moveTo>
                  <a:pt x="854" y="293"/>
                </a:moveTo>
                <a:cubicBezTo>
                  <a:pt x="854" y="293"/>
                  <a:pt x="854" y="293"/>
                  <a:pt x="854" y="293"/>
                </a:cubicBezTo>
                <a:cubicBezTo>
                  <a:pt x="854" y="294"/>
                  <a:pt x="855" y="293"/>
                  <a:pt x="854" y="293"/>
                </a:cubicBezTo>
                <a:close/>
                <a:moveTo>
                  <a:pt x="835" y="296"/>
                </a:moveTo>
                <a:cubicBezTo>
                  <a:pt x="835" y="296"/>
                  <a:pt x="836" y="295"/>
                  <a:pt x="835" y="295"/>
                </a:cubicBezTo>
                <a:cubicBezTo>
                  <a:pt x="835" y="295"/>
                  <a:pt x="835" y="295"/>
                  <a:pt x="835" y="295"/>
                </a:cubicBezTo>
                <a:cubicBezTo>
                  <a:pt x="835" y="295"/>
                  <a:pt x="835" y="295"/>
                  <a:pt x="835" y="295"/>
                </a:cubicBezTo>
                <a:cubicBezTo>
                  <a:pt x="835" y="296"/>
                  <a:pt x="835" y="296"/>
                  <a:pt x="835" y="296"/>
                </a:cubicBezTo>
                <a:cubicBezTo>
                  <a:pt x="835" y="296"/>
                  <a:pt x="835" y="296"/>
                  <a:pt x="835" y="296"/>
                </a:cubicBezTo>
                <a:close/>
                <a:moveTo>
                  <a:pt x="834" y="296"/>
                </a:moveTo>
                <a:cubicBezTo>
                  <a:pt x="834" y="296"/>
                  <a:pt x="834" y="297"/>
                  <a:pt x="834" y="297"/>
                </a:cubicBezTo>
                <a:cubicBezTo>
                  <a:pt x="835" y="297"/>
                  <a:pt x="835" y="297"/>
                  <a:pt x="835" y="297"/>
                </a:cubicBezTo>
                <a:cubicBezTo>
                  <a:pt x="835" y="296"/>
                  <a:pt x="835" y="296"/>
                  <a:pt x="835" y="296"/>
                </a:cubicBezTo>
                <a:cubicBezTo>
                  <a:pt x="835" y="296"/>
                  <a:pt x="835" y="296"/>
                  <a:pt x="835" y="296"/>
                </a:cubicBezTo>
                <a:cubicBezTo>
                  <a:pt x="835" y="296"/>
                  <a:pt x="835" y="296"/>
                  <a:pt x="834" y="296"/>
                </a:cubicBezTo>
                <a:close/>
                <a:moveTo>
                  <a:pt x="832" y="297"/>
                </a:moveTo>
                <a:cubicBezTo>
                  <a:pt x="833" y="297"/>
                  <a:pt x="832" y="297"/>
                  <a:pt x="832" y="297"/>
                </a:cubicBezTo>
                <a:cubicBezTo>
                  <a:pt x="832" y="297"/>
                  <a:pt x="832" y="297"/>
                  <a:pt x="832" y="297"/>
                </a:cubicBezTo>
                <a:close/>
                <a:moveTo>
                  <a:pt x="851" y="296"/>
                </a:moveTo>
                <a:cubicBezTo>
                  <a:pt x="851" y="296"/>
                  <a:pt x="851" y="296"/>
                  <a:pt x="852" y="296"/>
                </a:cubicBezTo>
                <a:cubicBezTo>
                  <a:pt x="852" y="296"/>
                  <a:pt x="851" y="296"/>
                  <a:pt x="851" y="296"/>
                </a:cubicBezTo>
                <a:close/>
                <a:moveTo>
                  <a:pt x="852" y="297"/>
                </a:moveTo>
                <a:cubicBezTo>
                  <a:pt x="852" y="297"/>
                  <a:pt x="853" y="297"/>
                  <a:pt x="852" y="296"/>
                </a:cubicBezTo>
                <a:cubicBezTo>
                  <a:pt x="852" y="296"/>
                  <a:pt x="851" y="297"/>
                  <a:pt x="852" y="297"/>
                </a:cubicBezTo>
                <a:close/>
                <a:moveTo>
                  <a:pt x="851" y="296"/>
                </a:moveTo>
                <a:cubicBezTo>
                  <a:pt x="851" y="297"/>
                  <a:pt x="850" y="297"/>
                  <a:pt x="850" y="297"/>
                </a:cubicBezTo>
                <a:cubicBezTo>
                  <a:pt x="851" y="297"/>
                  <a:pt x="851" y="297"/>
                  <a:pt x="851" y="297"/>
                </a:cubicBezTo>
                <a:cubicBezTo>
                  <a:pt x="851" y="296"/>
                  <a:pt x="851" y="297"/>
                  <a:pt x="851" y="296"/>
                </a:cubicBezTo>
                <a:close/>
                <a:moveTo>
                  <a:pt x="848" y="297"/>
                </a:moveTo>
                <a:cubicBezTo>
                  <a:pt x="848" y="297"/>
                  <a:pt x="848" y="297"/>
                  <a:pt x="849" y="297"/>
                </a:cubicBezTo>
                <a:cubicBezTo>
                  <a:pt x="849" y="297"/>
                  <a:pt x="848" y="297"/>
                  <a:pt x="848" y="297"/>
                </a:cubicBezTo>
                <a:close/>
                <a:moveTo>
                  <a:pt x="831" y="300"/>
                </a:moveTo>
                <a:cubicBezTo>
                  <a:pt x="831" y="299"/>
                  <a:pt x="831" y="299"/>
                  <a:pt x="831" y="299"/>
                </a:cubicBezTo>
                <a:cubicBezTo>
                  <a:pt x="831" y="299"/>
                  <a:pt x="831" y="299"/>
                  <a:pt x="831" y="300"/>
                </a:cubicBezTo>
                <a:close/>
                <a:moveTo>
                  <a:pt x="828" y="304"/>
                </a:moveTo>
                <a:cubicBezTo>
                  <a:pt x="828" y="303"/>
                  <a:pt x="829" y="303"/>
                  <a:pt x="829" y="302"/>
                </a:cubicBezTo>
                <a:cubicBezTo>
                  <a:pt x="829" y="302"/>
                  <a:pt x="829" y="302"/>
                  <a:pt x="829" y="303"/>
                </a:cubicBezTo>
                <a:cubicBezTo>
                  <a:pt x="830" y="302"/>
                  <a:pt x="829" y="302"/>
                  <a:pt x="828" y="302"/>
                </a:cubicBezTo>
                <a:cubicBezTo>
                  <a:pt x="828" y="303"/>
                  <a:pt x="828" y="303"/>
                  <a:pt x="828" y="304"/>
                </a:cubicBezTo>
                <a:close/>
                <a:moveTo>
                  <a:pt x="847" y="301"/>
                </a:moveTo>
                <a:cubicBezTo>
                  <a:pt x="846" y="301"/>
                  <a:pt x="847" y="302"/>
                  <a:pt x="847" y="302"/>
                </a:cubicBezTo>
                <a:cubicBezTo>
                  <a:pt x="848" y="302"/>
                  <a:pt x="847" y="301"/>
                  <a:pt x="847" y="301"/>
                </a:cubicBezTo>
                <a:close/>
                <a:moveTo>
                  <a:pt x="847" y="302"/>
                </a:moveTo>
                <a:cubicBezTo>
                  <a:pt x="847" y="302"/>
                  <a:pt x="847" y="302"/>
                  <a:pt x="847" y="302"/>
                </a:cubicBezTo>
                <a:cubicBezTo>
                  <a:pt x="847" y="302"/>
                  <a:pt x="846" y="302"/>
                  <a:pt x="847" y="302"/>
                </a:cubicBezTo>
                <a:close/>
                <a:moveTo>
                  <a:pt x="827" y="306"/>
                </a:moveTo>
                <a:cubicBezTo>
                  <a:pt x="827" y="306"/>
                  <a:pt x="827" y="306"/>
                  <a:pt x="827" y="306"/>
                </a:cubicBezTo>
                <a:cubicBezTo>
                  <a:pt x="827" y="306"/>
                  <a:pt x="827" y="306"/>
                  <a:pt x="827" y="306"/>
                </a:cubicBezTo>
                <a:cubicBezTo>
                  <a:pt x="827" y="306"/>
                  <a:pt x="827" y="306"/>
                  <a:pt x="827" y="306"/>
                </a:cubicBezTo>
                <a:close/>
                <a:moveTo>
                  <a:pt x="842" y="305"/>
                </a:moveTo>
                <a:cubicBezTo>
                  <a:pt x="842" y="305"/>
                  <a:pt x="842" y="305"/>
                  <a:pt x="842" y="305"/>
                </a:cubicBezTo>
                <a:cubicBezTo>
                  <a:pt x="842" y="305"/>
                  <a:pt x="842" y="304"/>
                  <a:pt x="842" y="305"/>
                </a:cubicBezTo>
                <a:close/>
                <a:moveTo>
                  <a:pt x="845" y="319"/>
                </a:moveTo>
                <a:cubicBezTo>
                  <a:pt x="844" y="319"/>
                  <a:pt x="845" y="320"/>
                  <a:pt x="845" y="320"/>
                </a:cubicBezTo>
                <a:cubicBezTo>
                  <a:pt x="845" y="320"/>
                  <a:pt x="845" y="319"/>
                  <a:pt x="845" y="319"/>
                </a:cubicBezTo>
                <a:close/>
                <a:moveTo>
                  <a:pt x="842" y="326"/>
                </a:moveTo>
                <a:cubicBezTo>
                  <a:pt x="841" y="326"/>
                  <a:pt x="841" y="326"/>
                  <a:pt x="841" y="326"/>
                </a:cubicBezTo>
                <a:cubicBezTo>
                  <a:pt x="840" y="326"/>
                  <a:pt x="841" y="326"/>
                  <a:pt x="841" y="326"/>
                </a:cubicBezTo>
                <a:cubicBezTo>
                  <a:pt x="840" y="326"/>
                  <a:pt x="840" y="326"/>
                  <a:pt x="840" y="326"/>
                </a:cubicBezTo>
                <a:cubicBezTo>
                  <a:pt x="840" y="326"/>
                  <a:pt x="840" y="326"/>
                  <a:pt x="840" y="327"/>
                </a:cubicBezTo>
                <a:cubicBezTo>
                  <a:pt x="841" y="326"/>
                  <a:pt x="841" y="326"/>
                  <a:pt x="841" y="327"/>
                </a:cubicBezTo>
                <a:cubicBezTo>
                  <a:pt x="841" y="327"/>
                  <a:pt x="840" y="327"/>
                  <a:pt x="841" y="328"/>
                </a:cubicBezTo>
                <a:cubicBezTo>
                  <a:pt x="841" y="327"/>
                  <a:pt x="841" y="327"/>
                  <a:pt x="841" y="327"/>
                </a:cubicBezTo>
                <a:cubicBezTo>
                  <a:pt x="841" y="327"/>
                  <a:pt x="841" y="326"/>
                  <a:pt x="842" y="326"/>
                </a:cubicBezTo>
                <a:close/>
                <a:moveTo>
                  <a:pt x="840" y="328"/>
                </a:moveTo>
                <a:cubicBezTo>
                  <a:pt x="839" y="328"/>
                  <a:pt x="839" y="328"/>
                  <a:pt x="839" y="328"/>
                </a:cubicBezTo>
                <a:cubicBezTo>
                  <a:pt x="839" y="329"/>
                  <a:pt x="839" y="329"/>
                  <a:pt x="839" y="329"/>
                </a:cubicBezTo>
                <a:cubicBezTo>
                  <a:pt x="840" y="329"/>
                  <a:pt x="839" y="328"/>
                  <a:pt x="840" y="329"/>
                </a:cubicBezTo>
                <a:cubicBezTo>
                  <a:pt x="840" y="329"/>
                  <a:pt x="840" y="328"/>
                  <a:pt x="840" y="328"/>
                </a:cubicBezTo>
                <a:close/>
                <a:moveTo>
                  <a:pt x="839" y="329"/>
                </a:moveTo>
                <a:cubicBezTo>
                  <a:pt x="839" y="329"/>
                  <a:pt x="839" y="329"/>
                  <a:pt x="839" y="329"/>
                </a:cubicBezTo>
                <a:cubicBezTo>
                  <a:pt x="839" y="329"/>
                  <a:pt x="839" y="330"/>
                  <a:pt x="839" y="330"/>
                </a:cubicBezTo>
                <a:cubicBezTo>
                  <a:pt x="840" y="330"/>
                  <a:pt x="840" y="330"/>
                  <a:pt x="840" y="330"/>
                </a:cubicBezTo>
                <a:cubicBezTo>
                  <a:pt x="839" y="330"/>
                  <a:pt x="839" y="330"/>
                  <a:pt x="840" y="330"/>
                </a:cubicBezTo>
                <a:cubicBezTo>
                  <a:pt x="839" y="329"/>
                  <a:pt x="839" y="330"/>
                  <a:pt x="839" y="329"/>
                </a:cubicBezTo>
                <a:close/>
                <a:moveTo>
                  <a:pt x="838" y="330"/>
                </a:moveTo>
                <a:cubicBezTo>
                  <a:pt x="838" y="330"/>
                  <a:pt x="837" y="331"/>
                  <a:pt x="838" y="331"/>
                </a:cubicBezTo>
                <a:cubicBezTo>
                  <a:pt x="838" y="331"/>
                  <a:pt x="838" y="330"/>
                  <a:pt x="838" y="330"/>
                </a:cubicBezTo>
                <a:cubicBezTo>
                  <a:pt x="838" y="330"/>
                  <a:pt x="838" y="330"/>
                  <a:pt x="838" y="330"/>
                </a:cubicBezTo>
                <a:close/>
                <a:moveTo>
                  <a:pt x="837" y="331"/>
                </a:moveTo>
                <a:cubicBezTo>
                  <a:pt x="837" y="331"/>
                  <a:pt x="837" y="331"/>
                  <a:pt x="837" y="332"/>
                </a:cubicBezTo>
                <a:cubicBezTo>
                  <a:pt x="837" y="332"/>
                  <a:pt x="838" y="332"/>
                  <a:pt x="838" y="332"/>
                </a:cubicBezTo>
                <a:cubicBezTo>
                  <a:pt x="838" y="331"/>
                  <a:pt x="838" y="331"/>
                  <a:pt x="837" y="331"/>
                </a:cubicBezTo>
                <a:close/>
                <a:moveTo>
                  <a:pt x="837" y="332"/>
                </a:moveTo>
                <a:cubicBezTo>
                  <a:pt x="837" y="332"/>
                  <a:pt x="838" y="332"/>
                  <a:pt x="838" y="332"/>
                </a:cubicBezTo>
                <a:cubicBezTo>
                  <a:pt x="838" y="332"/>
                  <a:pt x="838" y="332"/>
                  <a:pt x="838" y="332"/>
                </a:cubicBezTo>
                <a:cubicBezTo>
                  <a:pt x="837" y="332"/>
                  <a:pt x="837" y="332"/>
                  <a:pt x="837" y="332"/>
                </a:cubicBezTo>
                <a:cubicBezTo>
                  <a:pt x="837" y="332"/>
                  <a:pt x="837" y="332"/>
                  <a:pt x="837" y="332"/>
                </a:cubicBezTo>
                <a:close/>
                <a:moveTo>
                  <a:pt x="837" y="333"/>
                </a:moveTo>
                <a:cubicBezTo>
                  <a:pt x="838" y="333"/>
                  <a:pt x="838" y="333"/>
                  <a:pt x="838" y="332"/>
                </a:cubicBezTo>
                <a:cubicBezTo>
                  <a:pt x="838" y="332"/>
                  <a:pt x="837" y="333"/>
                  <a:pt x="837" y="333"/>
                </a:cubicBezTo>
                <a:close/>
                <a:moveTo>
                  <a:pt x="835" y="336"/>
                </a:moveTo>
                <a:cubicBezTo>
                  <a:pt x="835" y="336"/>
                  <a:pt x="835" y="336"/>
                  <a:pt x="835" y="337"/>
                </a:cubicBezTo>
                <a:cubicBezTo>
                  <a:pt x="836" y="337"/>
                  <a:pt x="835" y="336"/>
                  <a:pt x="836" y="336"/>
                </a:cubicBezTo>
                <a:cubicBezTo>
                  <a:pt x="836" y="336"/>
                  <a:pt x="835" y="336"/>
                  <a:pt x="835" y="336"/>
                </a:cubicBezTo>
                <a:close/>
                <a:moveTo>
                  <a:pt x="834" y="338"/>
                </a:moveTo>
                <a:cubicBezTo>
                  <a:pt x="834" y="338"/>
                  <a:pt x="834" y="339"/>
                  <a:pt x="834" y="339"/>
                </a:cubicBezTo>
                <a:cubicBezTo>
                  <a:pt x="834" y="339"/>
                  <a:pt x="834" y="339"/>
                  <a:pt x="834" y="339"/>
                </a:cubicBezTo>
                <a:lnTo>
                  <a:pt x="834" y="338"/>
                </a:lnTo>
                <a:close/>
                <a:moveTo>
                  <a:pt x="833" y="340"/>
                </a:moveTo>
                <a:cubicBezTo>
                  <a:pt x="833" y="340"/>
                  <a:pt x="833" y="340"/>
                  <a:pt x="833" y="340"/>
                </a:cubicBezTo>
                <a:cubicBezTo>
                  <a:pt x="833" y="341"/>
                  <a:pt x="834" y="340"/>
                  <a:pt x="834" y="340"/>
                </a:cubicBezTo>
                <a:cubicBezTo>
                  <a:pt x="834" y="340"/>
                  <a:pt x="834" y="340"/>
                  <a:pt x="833" y="340"/>
                </a:cubicBezTo>
                <a:cubicBezTo>
                  <a:pt x="833" y="340"/>
                  <a:pt x="834" y="340"/>
                  <a:pt x="833" y="340"/>
                </a:cubicBezTo>
                <a:close/>
                <a:moveTo>
                  <a:pt x="834" y="341"/>
                </a:moveTo>
                <a:cubicBezTo>
                  <a:pt x="834" y="342"/>
                  <a:pt x="835" y="341"/>
                  <a:pt x="835" y="341"/>
                </a:cubicBezTo>
                <a:cubicBezTo>
                  <a:pt x="835" y="341"/>
                  <a:pt x="834" y="341"/>
                  <a:pt x="834" y="341"/>
                </a:cubicBezTo>
                <a:cubicBezTo>
                  <a:pt x="834" y="341"/>
                  <a:pt x="834" y="341"/>
                  <a:pt x="834" y="341"/>
                </a:cubicBezTo>
                <a:close/>
                <a:moveTo>
                  <a:pt x="831" y="343"/>
                </a:moveTo>
                <a:cubicBezTo>
                  <a:pt x="832" y="344"/>
                  <a:pt x="832" y="343"/>
                  <a:pt x="833" y="343"/>
                </a:cubicBezTo>
                <a:cubicBezTo>
                  <a:pt x="832" y="343"/>
                  <a:pt x="832" y="343"/>
                  <a:pt x="832" y="342"/>
                </a:cubicBezTo>
                <a:cubicBezTo>
                  <a:pt x="833" y="342"/>
                  <a:pt x="833" y="342"/>
                  <a:pt x="833" y="342"/>
                </a:cubicBezTo>
                <a:cubicBezTo>
                  <a:pt x="833" y="342"/>
                  <a:pt x="832" y="342"/>
                  <a:pt x="832" y="342"/>
                </a:cubicBezTo>
                <a:cubicBezTo>
                  <a:pt x="832" y="343"/>
                  <a:pt x="831" y="343"/>
                  <a:pt x="831" y="343"/>
                </a:cubicBezTo>
                <a:close/>
                <a:moveTo>
                  <a:pt x="833" y="343"/>
                </a:moveTo>
                <a:cubicBezTo>
                  <a:pt x="833" y="343"/>
                  <a:pt x="833" y="343"/>
                  <a:pt x="833" y="343"/>
                </a:cubicBezTo>
                <a:cubicBezTo>
                  <a:pt x="833" y="343"/>
                  <a:pt x="834" y="343"/>
                  <a:pt x="833" y="343"/>
                </a:cubicBezTo>
                <a:close/>
                <a:moveTo>
                  <a:pt x="833" y="344"/>
                </a:moveTo>
                <a:cubicBezTo>
                  <a:pt x="833" y="344"/>
                  <a:pt x="833" y="344"/>
                  <a:pt x="832" y="344"/>
                </a:cubicBezTo>
                <a:cubicBezTo>
                  <a:pt x="833" y="345"/>
                  <a:pt x="833" y="345"/>
                  <a:pt x="833" y="345"/>
                </a:cubicBezTo>
                <a:cubicBezTo>
                  <a:pt x="833" y="345"/>
                  <a:pt x="833" y="345"/>
                  <a:pt x="833" y="344"/>
                </a:cubicBezTo>
                <a:cubicBezTo>
                  <a:pt x="833" y="345"/>
                  <a:pt x="833" y="345"/>
                  <a:pt x="833" y="344"/>
                </a:cubicBezTo>
                <a:close/>
                <a:moveTo>
                  <a:pt x="832" y="346"/>
                </a:moveTo>
                <a:cubicBezTo>
                  <a:pt x="832" y="346"/>
                  <a:pt x="832" y="347"/>
                  <a:pt x="831" y="347"/>
                </a:cubicBezTo>
                <a:cubicBezTo>
                  <a:pt x="832" y="347"/>
                  <a:pt x="832" y="347"/>
                  <a:pt x="832" y="347"/>
                </a:cubicBezTo>
                <a:cubicBezTo>
                  <a:pt x="832" y="347"/>
                  <a:pt x="832" y="347"/>
                  <a:pt x="832" y="346"/>
                </a:cubicBezTo>
                <a:close/>
                <a:moveTo>
                  <a:pt x="813" y="393"/>
                </a:moveTo>
                <a:cubicBezTo>
                  <a:pt x="814" y="393"/>
                  <a:pt x="814" y="393"/>
                  <a:pt x="814" y="392"/>
                </a:cubicBezTo>
                <a:cubicBezTo>
                  <a:pt x="814" y="391"/>
                  <a:pt x="814" y="391"/>
                  <a:pt x="814" y="391"/>
                </a:cubicBezTo>
                <a:cubicBezTo>
                  <a:pt x="813" y="391"/>
                  <a:pt x="813" y="392"/>
                  <a:pt x="813" y="393"/>
                </a:cubicBezTo>
                <a:close/>
                <a:moveTo>
                  <a:pt x="809" y="403"/>
                </a:moveTo>
                <a:cubicBezTo>
                  <a:pt x="809" y="403"/>
                  <a:pt x="810" y="404"/>
                  <a:pt x="810" y="404"/>
                </a:cubicBezTo>
                <a:cubicBezTo>
                  <a:pt x="810" y="403"/>
                  <a:pt x="810" y="403"/>
                  <a:pt x="809" y="403"/>
                </a:cubicBezTo>
                <a:close/>
                <a:moveTo>
                  <a:pt x="797" y="392"/>
                </a:moveTo>
                <a:cubicBezTo>
                  <a:pt x="797" y="393"/>
                  <a:pt x="798" y="393"/>
                  <a:pt x="798" y="393"/>
                </a:cubicBezTo>
                <a:cubicBezTo>
                  <a:pt x="798" y="393"/>
                  <a:pt x="797" y="392"/>
                  <a:pt x="797" y="392"/>
                </a:cubicBezTo>
                <a:close/>
                <a:moveTo>
                  <a:pt x="791" y="388"/>
                </a:moveTo>
                <a:cubicBezTo>
                  <a:pt x="792" y="389"/>
                  <a:pt x="793" y="389"/>
                  <a:pt x="793" y="389"/>
                </a:cubicBezTo>
                <a:cubicBezTo>
                  <a:pt x="792" y="389"/>
                  <a:pt x="791" y="388"/>
                  <a:pt x="791" y="388"/>
                </a:cubicBezTo>
                <a:close/>
                <a:moveTo>
                  <a:pt x="781" y="380"/>
                </a:moveTo>
                <a:cubicBezTo>
                  <a:pt x="781" y="381"/>
                  <a:pt x="782" y="382"/>
                  <a:pt x="782" y="381"/>
                </a:cubicBezTo>
                <a:cubicBezTo>
                  <a:pt x="782" y="381"/>
                  <a:pt x="781" y="381"/>
                  <a:pt x="781" y="380"/>
                </a:cubicBezTo>
                <a:close/>
                <a:moveTo>
                  <a:pt x="771" y="372"/>
                </a:moveTo>
                <a:cubicBezTo>
                  <a:pt x="771" y="372"/>
                  <a:pt x="771" y="372"/>
                  <a:pt x="771" y="372"/>
                </a:cubicBezTo>
                <a:cubicBezTo>
                  <a:pt x="771" y="372"/>
                  <a:pt x="771" y="371"/>
                  <a:pt x="771" y="371"/>
                </a:cubicBezTo>
                <a:cubicBezTo>
                  <a:pt x="771" y="371"/>
                  <a:pt x="771" y="371"/>
                  <a:pt x="771" y="372"/>
                </a:cubicBezTo>
                <a:close/>
                <a:moveTo>
                  <a:pt x="765" y="320"/>
                </a:moveTo>
                <a:cubicBezTo>
                  <a:pt x="765" y="321"/>
                  <a:pt x="766" y="321"/>
                  <a:pt x="767" y="321"/>
                </a:cubicBezTo>
                <a:cubicBezTo>
                  <a:pt x="766" y="320"/>
                  <a:pt x="765" y="321"/>
                  <a:pt x="765" y="320"/>
                </a:cubicBezTo>
                <a:close/>
                <a:moveTo>
                  <a:pt x="764" y="320"/>
                </a:moveTo>
                <a:cubicBezTo>
                  <a:pt x="764" y="320"/>
                  <a:pt x="764" y="320"/>
                  <a:pt x="765" y="320"/>
                </a:cubicBezTo>
                <a:cubicBezTo>
                  <a:pt x="765" y="320"/>
                  <a:pt x="764" y="320"/>
                  <a:pt x="764" y="320"/>
                </a:cubicBezTo>
                <a:close/>
                <a:moveTo>
                  <a:pt x="753" y="361"/>
                </a:moveTo>
                <a:cubicBezTo>
                  <a:pt x="753" y="361"/>
                  <a:pt x="753" y="362"/>
                  <a:pt x="754" y="362"/>
                </a:cubicBezTo>
                <a:cubicBezTo>
                  <a:pt x="754" y="361"/>
                  <a:pt x="754" y="361"/>
                  <a:pt x="754" y="361"/>
                </a:cubicBezTo>
                <a:cubicBezTo>
                  <a:pt x="754" y="361"/>
                  <a:pt x="754" y="361"/>
                  <a:pt x="754" y="362"/>
                </a:cubicBezTo>
                <a:cubicBezTo>
                  <a:pt x="753" y="361"/>
                  <a:pt x="753" y="361"/>
                  <a:pt x="753" y="361"/>
                </a:cubicBezTo>
                <a:close/>
                <a:moveTo>
                  <a:pt x="753" y="358"/>
                </a:moveTo>
                <a:cubicBezTo>
                  <a:pt x="753" y="358"/>
                  <a:pt x="752" y="358"/>
                  <a:pt x="752" y="359"/>
                </a:cubicBezTo>
                <a:cubicBezTo>
                  <a:pt x="753" y="359"/>
                  <a:pt x="753" y="359"/>
                  <a:pt x="753" y="358"/>
                </a:cubicBezTo>
                <a:close/>
                <a:moveTo>
                  <a:pt x="752" y="360"/>
                </a:moveTo>
                <a:cubicBezTo>
                  <a:pt x="752" y="360"/>
                  <a:pt x="752" y="360"/>
                  <a:pt x="752" y="360"/>
                </a:cubicBezTo>
                <a:cubicBezTo>
                  <a:pt x="752" y="360"/>
                  <a:pt x="752" y="360"/>
                  <a:pt x="752" y="360"/>
                </a:cubicBezTo>
                <a:cubicBezTo>
                  <a:pt x="752" y="360"/>
                  <a:pt x="752" y="360"/>
                  <a:pt x="752" y="360"/>
                </a:cubicBezTo>
                <a:close/>
                <a:moveTo>
                  <a:pt x="735" y="351"/>
                </a:moveTo>
                <a:cubicBezTo>
                  <a:pt x="735" y="351"/>
                  <a:pt x="735" y="351"/>
                  <a:pt x="735" y="351"/>
                </a:cubicBezTo>
                <a:cubicBezTo>
                  <a:pt x="735" y="351"/>
                  <a:pt x="735" y="351"/>
                  <a:pt x="735" y="351"/>
                </a:cubicBezTo>
                <a:cubicBezTo>
                  <a:pt x="735" y="351"/>
                  <a:pt x="735" y="351"/>
                  <a:pt x="735" y="351"/>
                </a:cubicBezTo>
                <a:close/>
                <a:moveTo>
                  <a:pt x="733" y="352"/>
                </a:moveTo>
                <a:cubicBezTo>
                  <a:pt x="733" y="352"/>
                  <a:pt x="733" y="352"/>
                  <a:pt x="734" y="351"/>
                </a:cubicBezTo>
                <a:cubicBezTo>
                  <a:pt x="734" y="351"/>
                  <a:pt x="733" y="352"/>
                  <a:pt x="733" y="352"/>
                </a:cubicBezTo>
                <a:close/>
                <a:moveTo>
                  <a:pt x="731" y="349"/>
                </a:moveTo>
                <a:cubicBezTo>
                  <a:pt x="731" y="349"/>
                  <a:pt x="731" y="349"/>
                  <a:pt x="730" y="349"/>
                </a:cubicBezTo>
                <a:cubicBezTo>
                  <a:pt x="731" y="350"/>
                  <a:pt x="732" y="350"/>
                  <a:pt x="733" y="350"/>
                </a:cubicBezTo>
                <a:cubicBezTo>
                  <a:pt x="733" y="349"/>
                  <a:pt x="732" y="349"/>
                  <a:pt x="731" y="349"/>
                </a:cubicBezTo>
                <a:close/>
                <a:moveTo>
                  <a:pt x="730" y="349"/>
                </a:moveTo>
                <a:cubicBezTo>
                  <a:pt x="730" y="349"/>
                  <a:pt x="730" y="349"/>
                  <a:pt x="731" y="349"/>
                </a:cubicBezTo>
                <a:cubicBezTo>
                  <a:pt x="731" y="348"/>
                  <a:pt x="730" y="349"/>
                  <a:pt x="730" y="349"/>
                </a:cubicBezTo>
                <a:close/>
                <a:moveTo>
                  <a:pt x="729" y="348"/>
                </a:moveTo>
                <a:cubicBezTo>
                  <a:pt x="729" y="348"/>
                  <a:pt x="729" y="349"/>
                  <a:pt x="730" y="348"/>
                </a:cubicBezTo>
                <a:cubicBezTo>
                  <a:pt x="729" y="348"/>
                  <a:pt x="729" y="348"/>
                  <a:pt x="729" y="348"/>
                </a:cubicBezTo>
                <a:close/>
                <a:moveTo>
                  <a:pt x="729" y="346"/>
                </a:moveTo>
                <a:cubicBezTo>
                  <a:pt x="729" y="347"/>
                  <a:pt x="728" y="347"/>
                  <a:pt x="728" y="347"/>
                </a:cubicBezTo>
                <a:cubicBezTo>
                  <a:pt x="729" y="347"/>
                  <a:pt x="729" y="347"/>
                  <a:pt x="729" y="347"/>
                </a:cubicBezTo>
                <a:cubicBezTo>
                  <a:pt x="729" y="347"/>
                  <a:pt x="729" y="347"/>
                  <a:pt x="729" y="346"/>
                </a:cubicBezTo>
                <a:close/>
                <a:moveTo>
                  <a:pt x="725" y="352"/>
                </a:moveTo>
                <a:cubicBezTo>
                  <a:pt x="725" y="352"/>
                  <a:pt x="725" y="352"/>
                  <a:pt x="725" y="352"/>
                </a:cubicBezTo>
                <a:cubicBezTo>
                  <a:pt x="725" y="352"/>
                  <a:pt x="725" y="352"/>
                  <a:pt x="725" y="352"/>
                </a:cubicBezTo>
                <a:cubicBezTo>
                  <a:pt x="726" y="352"/>
                  <a:pt x="725" y="352"/>
                  <a:pt x="725" y="352"/>
                </a:cubicBezTo>
                <a:close/>
                <a:moveTo>
                  <a:pt x="725" y="346"/>
                </a:moveTo>
                <a:cubicBezTo>
                  <a:pt x="724" y="346"/>
                  <a:pt x="724" y="345"/>
                  <a:pt x="723" y="346"/>
                </a:cubicBezTo>
                <a:cubicBezTo>
                  <a:pt x="723" y="346"/>
                  <a:pt x="723" y="346"/>
                  <a:pt x="723" y="346"/>
                </a:cubicBezTo>
                <a:cubicBezTo>
                  <a:pt x="724" y="346"/>
                  <a:pt x="724" y="346"/>
                  <a:pt x="724" y="346"/>
                </a:cubicBezTo>
                <a:cubicBezTo>
                  <a:pt x="724" y="347"/>
                  <a:pt x="724" y="346"/>
                  <a:pt x="724" y="347"/>
                </a:cubicBezTo>
                <a:cubicBezTo>
                  <a:pt x="724" y="347"/>
                  <a:pt x="724" y="346"/>
                  <a:pt x="724" y="347"/>
                </a:cubicBezTo>
                <a:cubicBezTo>
                  <a:pt x="725" y="347"/>
                  <a:pt x="725" y="346"/>
                  <a:pt x="725" y="346"/>
                </a:cubicBezTo>
                <a:cubicBezTo>
                  <a:pt x="725" y="346"/>
                  <a:pt x="725" y="346"/>
                  <a:pt x="725" y="346"/>
                </a:cubicBezTo>
                <a:close/>
                <a:moveTo>
                  <a:pt x="724" y="351"/>
                </a:moveTo>
                <a:cubicBezTo>
                  <a:pt x="724" y="351"/>
                  <a:pt x="723" y="351"/>
                  <a:pt x="723" y="351"/>
                </a:cubicBezTo>
                <a:cubicBezTo>
                  <a:pt x="723" y="351"/>
                  <a:pt x="724" y="351"/>
                  <a:pt x="724" y="351"/>
                </a:cubicBezTo>
                <a:close/>
                <a:moveTo>
                  <a:pt x="723" y="345"/>
                </a:moveTo>
                <a:cubicBezTo>
                  <a:pt x="723" y="345"/>
                  <a:pt x="722" y="345"/>
                  <a:pt x="722" y="345"/>
                </a:cubicBezTo>
                <a:cubicBezTo>
                  <a:pt x="722" y="346"/>
                  <a:pt x="722" y="346"/>
                  <a:pt x="723" y="346"/>
                </a:cubicBezTo>
                <a:cubicBezTo>
                  <a:pt x="723" y="346"/>
                  <a:pt x="723" y="345"/>
                  <a:pt x="723" y="345"/>
                </a:cubicBezTo>
                <a:close/>
                <a:moveTo>
                  <a:pt x="721" y="346"/>
                </a:moveTo>
                <a:cubicBezTo>
                  <a:pt x="721" y="346"/>
                  <a:pt x="721" y="346"/>
                  <a:pt x="722" y="346"/>
                </a:cubicBezTo>
                <a:cubicBezTo>
                  <a:pt x="722" y="346"/>
                  <a:pt x="721" y="346"/>
                  <a:pt x="721" y="346"/>
                </a:cubicBezTo>
                <a:close/>
                <a:moveTo>
                  <a:pt x="719" y="344"/>
                </a:moveTo>
                <a:cubicBezTo>
                  <a:pt x="719" y="344"/>
                  <a:pt x="719" y="344"/>
                  <a:pt x="719" y="344"/>
                </a:cubicBezTo>
                <a:cubicBezTo>
                  <a:pt x="719" y="345"/>
                  <a:pt x="720" y="344"/>
                  <a:pt x="720" y="345"/>
                </a:cubicBezTo>
                <a:cubicBezTo>
                  <a:pt x="721" y="344"/>
                  <a:pt x="719" y="345"/>
                  <a:pt x="719" y="344"/>
                </a:cubicBezTo>
                <a:close/>
                <a:moveTo>
                  <a:pt x="718" y="345"/>
                </a:moveTo>
                <a:cubicBezTo>
                  <a:pt x="719" y="346"/>
                  <a:pt x="720" y="345"/>
                  <a:pt x="720" y="345"/>
                </a:cubicBezTo>
                <a:cubicBezTo>
                  <a:pt x="720" y="345"/>
                  <a:pt x="719" y="345"/>
                  <a:pt x="718" y="345"/>
                </a:cubicBezTo>
                <a:close/>
                <a:moveTo>
                  <a:pt x="717" y="346"/>
                </a:moveTo>
                <a:cubicBezTo>
                  <a:pt x="717" y="346"/>
                  <a:pt x="718" y="346"/>
                  <a:pt x="718" y="346"/>
                </a:cubicBezTo>
                <a:cubicBezTo>
                  <a:pt x="718" y="346"/>
                  <a:pt x="718" y="346"/>
                  <a:pt x="717" y="346"/>
                </a:cubicBezTo>
                <a:close/>
                <a:moveTo>
                  <a:pt x="717" y="345"/>
                </a:moveTo>
                <a:cubicBezTo>
                  <a:pt x="718" y="345"/>
                  <a:pt x="718" y="346"/>
                  <a:pt x="718" y="345"/>
                </a:cubicBezTo>
                <a:cubicBezTo>
                  <a:pt x="718" y="345"/>
                  <a:pt x="718" y="344"/>
                  <a:pt x="717" y="345"/>
                </a:cubicBezTo>
                <a:close/>
                <a:moveTo>
                  <a:pt x="718" y="344"/>
                </a:moveTo>
                <a:cubicBezTo>
                  <a:pt x="718" y="343"/>
                  <a:pt x="717" y="343"/>
                  <a:pt x="717" y="343"/>
                </a:cubicBezTo>
                <a:cubicBezTo>
                  <a:pt x="717" y="344"/>
                  <a:pt x="716" y="344"/>
                  <a:pt x="716" y="344"/>
                </a:cubicBezTo>
                <a:cubicBezTo>
                  <a:pt x="716" y="343"/>
                  <a:pt x="717" y="343"/>
                  <a:pt x="717" y="343"/>
                </a:cubicBezTo>
                <a:cubicBezTo>
                  <a:pt x="717" y="343"/>
                  <a:pt x="716" y="343"/>
                  <a:pt x="716" y="343"/>
                </a:cubicBezTo>
                <a:cubicBezTo>
                  <a:pt x="716" y="344"/>
                  <a:pt x="714" y="344"/>
                  <a:pt x="714" y="344"/>
                </a:cubicBezTo>
                <a:cubicBezTo>
                  <a:pt x="713" y="345"/>
                  <a:pt x="715" y="344"/>
                  <a:pt x="715" y="344"/>
                </a:cubicBezTo>
                <a:cubicBezTo>
                  <a:pt x="715" y="344"/>
                  <a:pt x="716" y="344"/>
                  <a:pt x="715" y="345"/>
                </a:cubicBezTo>
                <a:cubicBezTo>
                  <a:pt x="716" y="344"/>
                  <a:pt x="717" y="344"/>
                  <a:pt x="718" y="344"/>
                </a:cubicBezTo>
                <a:close/>
                <a:moveTo>
                  <a:pt x="714" y="343"/>
                </a:moveTo>
                <a:cubicBezTo>
                  <a:pt x="715" y="343"/>
                  <a:pt x="714" y="343"/>
                  <a:pt x="715" y="343"/>
                </a:cubicBezTo>
                <a:cubicBezTo>
                  <a:pt x="714" y="343"/>
                  <a:pt x="714" y="343"/>
                  <a:pt x="714" y="343"/>
                </a:cubicBezTo>
                <a:cubicBezTo>
                  <a:pt x="714" y="343"/>
                  <a:pt x="714" y="343"/>
                  <a:pt x="713" y="343"/>
                </a:cubicBezTo>
                <a:cubicBezTo>
                  <a:pt x="713" y="343"/>
                  <a:pt x="714" y="343"/>
                  <a:pt x="714" y="343"/>
                </a:cubicBezTo>
                <a:cubicBezTo>
                  <a:pt x="714" y="343"/>
                  <a:pt x="714" y="343"/>
                  <a:pt x="714" y="343"/>
                </a:cubicBezTo>
                <a:close/>
                <a:moveTo>
                  <a:pt x="713" y="342"/>
                </a:moveTo>
                <a:cubicBezTo>
                  <a:pt x="714" y="342"/>
                  <a:pt x="714" y="342"/>
                  <a:pt x="714" y="342"/>
                </a:cubicBezTo>
                <a:cubicBezTo>
                  <a:pt x="714" y="342"/>
                  <a:pt x="713" y="342"/>
                  <a:pt x="713" y="342"/>
                </a:cubicBezTo>
                <a:close/>
                <a:moveTo>
                  <a:pt x="713" y="342"/>
                </a:moveTo>
                <a:cubicBezTo>
                  <a:pt x="713" y="342"/>
                  <a:pt x="713" y="342"/>
                  <a:pt x="712" y="342"/>
                </a:cubicBezTo>
                <a:cubicBezTo>
                  <a:pt x="712" y="343"/>
                  <a:pt x="713" y="343"/>
                  <a:pt x="713" y="343"/>
                </a:cubicBezTo>
                <a:cubicBezTo>
                  <a:pt x="713" y="342"/>
                  <a:pt x="713" y="342"/>
                  <a:pt x="713" y="342"/>
                </a:cubicBezTo>
                <a:close/>
                <a:moveTo>
                  <a:pt x="861" y="242"/>
                </a:moveTo>
                <a:cubicBezTo>
                  <a:pt x="862" y="243"/>
                  <a:pt x="861" y="242"/>
                  <a:pt x="862" y="242"/>
                </a:cubicBezTo>
                <a:cubicBezTo>
                  <a:pt x="863" y="242"/>
                  <a:pt x="863" y="241"/>
                  <a:pt x="863" y="241"/>
                </a:cubicBezTo>
                <a:cubicBezTo>
                  <a:pt x="863" y="241"/>
                  <a:pt x="862" y="241"/>
                  <a:pt x="862" y="241"/>
                </a:cubicBezTo>
                <a:cubicBezTo>
                  <a:pt x="862" y="241"/>
                  <a:pt x="863" y="241"/>
                  <a:pt x="863" y="240"/>
                </a:cubicBezTo>
                <a:cubicBezTo>
                  <a:pt x="863" y="240"/>
                  <a:pt x="863" y="241"/>
                  <a:pt x="863" y="241"/>
                </a:cubicBezTo>
                <a:cubicBezTo>
                  <a:pt x="863" y="240"/>
                  <a:pt x="863" y="240"/>
                  <a:pt x="863" y="240"/>
                </a:cubicBezTo>
                <a:cubicBezTo>
                  <a:pt x="863" y="241"/>
                  <a:pt x="862" y="239"/>
                  <a:pt x="863" y="240"/>
                </a:cubicBezTo>
                <a:cubicBezTo>
                  <a:pt x="862" y="241"/>
                  <a:pt x="862" y="241"/>
                  <a:pt x="861" y="241"/>
                </a:cubicBezTo>
                <a:cubicBezTo>
                  <a:pt x="861" y="242"/>
                  <a:pt x="861" y="242"/>
                  <a:pt x="861" y="242"/>
                </a:cubicBezTo>
                <a:cubicBezTo>
                  <a:pt x="861" y="242"/>
                  <a:pt x="861" y="242"/>
                  <a:pt x="861" y="242"/>
                </a:cubicBezTo>
                <a:cubicBezTo>
                  <a:pt x="861" y="243"/>
                  <a:pt x="861" y="242"/>
                  <a:pt x="860" y="242"/>
                </a:cubicBezTo>
                <a:cubicBezTo>
                  <a:pt x="861" y="243"/>
                  <a:pt x="860" y="243"/>
                  <a:pt x="861" y="243"/>
                </a:cubicBezTo>
                <a:cubicBezTo>
                  <a:pt x="861" y="243"/>
                  <a:pt x="861" y="243"/>
                  <a:pt x="861" y="242"/>
                </a:cubicBezTo>
                <a:close/>
                <a:moveTo>
                  <a:pt x="855" y="243"/>
                </a:moveTo>
                <a:cubicBezTo>
                  <a:pt x="854" y="244"/>
                  <a:pt x="854" y="244"/>
                  <a:pt x="854" y="245"/>
                </a:cubicBezTo>
                <a:cubicBezTo>
                  <a:pt x="855" y="244"/>
                  <a:pt x="855" y="245"/>
                  <a:pt x="855" y="245"/>
                </a:cubicBezTo>
                <a:cubicBezTo>
                  <a:pt x="854" y="244"/>
                  <a:pt x="855" y="244"/>
                  <a:pt x="855" y="243"/>
                </a:cubicBezTo>
                <a:close/>
                <a:moveTo>
                  <a:pt x="829" y="258"/>
                </a:moveTo>
                <a:cubicBezTo>
                  <a:pt x="829" y="259"/>
                  <a:pt x="829" y="259"/>
                  <a:pt x="829" y="259"/>
                </a:cubicBezTo>
                <a:cubicBezTo>
                  <a:pt x="829" y="259"/>
                  <a:pt x="830" y="259"/>
                  <a:pt x="829" y="258"/>
                </a:cubicBezTo>
                <a:close/>
                <a:moveTo>
                  <a:pt x="873" y="266"/>
                </a:moveTo>
                <a:cubicBezTo>
                  <a:pt x="873" y="266"/>
                  <a:pt x="874" y="266"/>
                  <a:pt x="873" y="266"/>
                </a:cubicBezTo>
                <a:cubicBezTo>
                  <a:pt x="873" y="266"/>
                  <a:pt x="873" y="267"/>
                  <a:pt x="873" y="267"/>
                </a:cubicBezTo>
                <a:cubicBezTo>
                  <a:pt x="873" y="267"/>
                  <a:pt x="873" y="267"/>
                  <a:pt x="872" y="267"/>
                </a:cubicBezTo>
                <a:cubicBezTo>
                  <a:pt x="872" y="268"/>
                  <a:pt x="872" y="268"/>
                  <a:pt x="872" y="268"/>
                </a:cubicBezTo>
                <a:cubicBezTo>
                  <a:pt x="871" y="268"/>
                  <a:pt x="872" y="268"/>
                  <a:pt x="872" y="268"/>
                </a:cubicBezTo>
                <a:cubicBezTo>
                  <a:pt x="872" y="267"/>
                  <a:pt x="872" y="267"/>
                  <a:pt x="871" y="267"/>
                </a:cubicBezTo>
                <a:cubicBezTo>
                  <a:pt x="871" y="267"/>
                  <a:pt x="871" y="267"/>
                  <a:pt x="871" y="267"/>
                </a:cubicBezTo>
                <a:cubicBezTo>
                  <a:pt x="871" y="267"/>
                  <a:pt x="871" y="268"/>
                  <a:pt x="871" y="268"/>
                </a:cubicBezTo>
                <a:cubicBezTo>
                  <a:pt x="871" y="268"/>
                  <a:pt x="871" y="267"/>
                  <a:pt x="870" y="268"/>
                </a:cubicBezTo>
                <a:cubicBezTo>
                  <a:pt x="871" y="268"/>
                  <a:pt x="871" y="268"/>
                  <a:pt x="870" y="269"/>
                </a:cubicBezTo>
                <a:cubicBezTo>
                  <a:pt x="871" y="269"/>
                  <a:pt x="871" y="269"/>
                  <a:pt x="871" y="269"/>
                </a:cubicBezTo>
                <a:cubicBezTo>
                  <a:pt x="871" y="270"/>
                  <a:pt x="871" y="270"/>
                  <a:pt x="870" y="270"/>
                </a:cubicBezTo>
                <a:cubicBezTo>
                  <a:pt x="870" y="270"/>
                  <a:pt x="870" y="270"/>
                  <a:pt x="870" y="270"/>
                </a:cubicBezTo>
                <a:cubicBezTo>
                  <a:pt x="870" y="270"/>
                  <a:pt x="869" y="270"/>
                  <a:pt x="869" y="271"/>
                </a:cubicBezTo>
                <a:cubicBezTo>
                  <a:pt x="869" y="270"/>
                  <a:pt x="868" y="271"/>
                  <a:pt x="868" y="271"/>
                </a:cubicBezTo>
                <a:cubicBezTo>
                  <a:pt x="868" y="271"/>
                  <a:pt x="868" y="271"/>
                  <a:pt x="867" y="271"/>
                </a:cubicBezTo>
                <a:cubicBezTo>
                  <a:pt x="868" y="271"/>
                  <a:pt x="867" y="271"/>
                  <a:pt x="868" y="272"/>
                </a:cubicBezTo>
                <a:cubicBezTo>
                  <a:pt x="867" y="272"/>
                  <a:pt x="867" y="272"/>
                  <a:pt x="867" y="272"/>
                </a:cubicBezTo>
                <a:cubicBezTo>
                  <a:pt x="867" y="272"/>
                  <a:pt x="867" y="272"/>
                  <a:pt x="867" y="272"/>
                </a:cubicBezTo>
                <a:cubicBezTo>
                  <a:pt x="867" y="272"/>
                  <a:pt x="867" y="272"/>
                  <a:pt x="867" y="272"/>
                </a:cubicBezTo>
                <a:cubicBezTo>
                  <a:pt x="866" y="272"/>
                  <a:pt x="866" y="272"/>
                  <a:pt x="866" y="272"/>
                </a:cubicBezTo>
                <a:cubicBezTo>
                  <a:pt x="866" y="273"/>
                  <a:pt x="866" y="273"/>
                  <a:pt x="866" y="273"/>
                </a:cubicBezTo>
                <a:cubicBezTo>
                  <a:pt x="866" y="273"/>
                  <a:pt x="866" y="273"/>
                  <a:pt x="867" y="273"/>
                </a:cubicBezTo>
                <a:cubicBezTo>
                  <a:pt x="867" y="273"/>
                  <a:pt x="866" y="273"/>
                  <a:pt x="866" y="274"/>
                </a:cubicBezTo>
                <a:cubicBezTo>
                  <a:pt x="866" y="273"/>
                  <a:pt x="867" y="273"/>
                  <a:pt x="867" y="273"/>
                </a:cubicBezTo>
                <a:cubicBezTo>
                  <a:pt x="867" y="273"/>
                  <a:pt x="867" y="273"/>
                  <a:pt x="867" y="272"/>
                </a:cubicBezTo>
                <a:cubicBezTo>
                  <a:pt x="867" y="272"/>
                  <a:pt x="867" y="273"/>
                  <a:pt x="868" y="272"/>
                </a:cubicBezTo>
                <a:cubicBezTo>
                  <a:pt x="868" y="273"/>
                  <a:pt x="868" y="273"/>
                  <a:pt x="868" y="273"/>
                </a:cubicBezTo>
                <a:cubicBezTo>
                  <a:pt x="867" y="273"/>
                  <a:pt x="866" y="274"/>
                  <a:pt x="867" y="274"/>
                </a:cubicBezTo>
                <a:cubicBezTo>
                  <a:pt x="867" y="274"/>
                  <a:pt x="866" y="274"/>
                  <a:pt x="867" y="275"/>
                </a:cubicBezTo>
                <a:cubicBezTo>
                  <a:pt x="866" y="275"/>
                  <a:pt x="866" y="274"/>
                  <a:pt x="866" y="274"/>
                </a:cubicBezTo>
                <a:cubicBezTo>
                  <a:pt x="866" y="274"/>
                  <a:pt x="865" y="274"/>
                  <a:pt x="865" y="275"/>
                </a:cubicBezTo>
                <a:cubicBezTo>
                  <a:pt x="866" y="275"/>
                  <a:pt x="866" y="274"/>
                  <a:pt x="866" y="275"/>
                </a:cubicBezTo>
                <a:cubicBezTo>
                  <a:pt x="866" y="275"/>
                  <a:pt x="865" y="275"/>
                  <a:pt x="866" y="275"/>
                </a:cubicBezTo>
                <a:cubicBezTo>
                  <a:pt x="866" y="276"/>
                  <a:pt x="866" y="275"/>
                  <a:pt x="866" y="276"/>
                </a:cubicBezTo>
                <a:cubicBezTo>
                  <a:pt x="866" y="276"/>
                  <a:pt x="867" y="276"/>
                  <a:pt x="867" y="276"/>
                </a:cubicBezTo>
                <a:cubicBezTo>
                  <a:pt x="866" y="276"/>
                  <a:pt x="867" y="277"/>
                  <a:pt x="867" y="277"/>
                </a:cubicBezTo>
                <a:cubicBezTo>
                  <a:pt x="866" y="277"/>
                  <a:pt x="866" y="276"/>
                  <a:pt x="866" y="276"/>
                </a:cubicBezTo>
                <a:cubicBezTo>
                  <a:pt x="866" y="277"/>
                  <a:pt x="866" y="277"/>
                  <a:pt x="865" y="277"/>
                </a:cubicBezTo>
                <a:cubicBezTo>
                  <a:pt x="865" y="277"/>
                  <a:pt x="866" y="277"/>
                  <a:pt x="865" y="277"/>
                </a:cubicBezTo>
                <a:cubicBezTo>
                  <a:pt x="865" y="277"/>
                  <a:pt x="865" y="277"/>
                  <a:pt x="864" y="277"/>
                </a:cubicBezTo>
                <a:cubicBezTo>
                  <a:pt x="865" y="277"/>
                  <a:pt x="864" y="277"/>
                  <a:pt x="864" y="277"/>
                </a:cubicBezTo>
                <a:cubicBezTo>
                  <a:pt x="864" y="278"/>
                  <a:pt x="864" y="278"/>
                  <a:pt x="864" y="278"/>
                </a:cubicBezTo>
                <a:cubicBezTo>
                  <a:pt x="864" y="278"/>
                  <a:pt x="863" y="278"/>
                  <a:pt x="863" y="278"/>
                </a:cubicBezTo>
                <a:cubicBezTo>
                  <a:pt x="863" y="279"/>
                  <a:pt x="862" y="279"/>
                  <a:pt x="863" y="279"/>
                </a:cubicBezTo>
                <a:cubicBezTo>
                  <a:pt x="863" y="279"/>
                  <a:pt x="862" y="279"/>
                  <a:pt x="862" y="279"/>
                </a:cubicBezTo>
                <a:cubicBezTo>
                  <a:pt x="863" y="280"/>
                  <a:pt x="864" y="278"/>
                  <a:pt x="865" y="279"/>
                </a:cubicBezTo>
                <a:cubicBezTo>
                  <a:pt x="864" y="279"/>
                  <a:pt x="864" y="279"/>
                  <a:pt x="863" y="280"/>
                </a:cubicBezTo>
                <a:cubicBezTo>
                  <a:pt x="864" y="280"/>
                  <a:pt x="864" y="281"/>
                  <a:pt x="865" y="281"/>
                </a:cubicBezTo>
                <a:cubicBezTo>
                  <a:pt x="864" y="281"/>
                  <a:pt x="865" y="282"/>
                  <a:pt x="864" y="283"/>
                </a:cubicBezTo>
                <a:cubicBezTo>
                  <a:pt x="864" y="282"/>
                  <a:pt x="864" y="282"/>
                  <a:pt x="864" y="282"/>
                </a:cubicBezTo>
                <a:cubicBezTo>
                  <a:pt x="863" y="282"/>
                  <a:pt x="862" y="282"/>
                  <a:pt x="862" y="283"/>
                </a:cubicBezTo>
                <a:cubicBezTo>
                  <a:pt x="861" y="283"/>
                  <a:pt x="862" y="284"/>
                  <a:pt x="860" y="284"/>
                </a:cubicBezTo>
                <a:cubicBezTo>
                  <a:pt x="860" y="285"/>
                  <a:pt x="860" y="285"/>
                  <a:pt x="860" y="285"/>
                </a:cubicBezTo>
                <a:cubicBezTo>
                  <a:pt x="859" y="285"/>
                  <a:pt x="859" y="285"/>
                  <a:pt x="859" y="285"/>
                </a:cubicBezTo>
                <a:cubicBezTo>
                  <a:pt x="859" y="286"/>
                  <a:pt x="858" y="286"/>
                  <a:pt x="857" y="287"/>
                </a:cubicBezTo>
                <a:cubicBezTo>
                  <a:pt x="858" y="287"/>
                  <a:pt x="858" y="287"/>
                  <a:pt x="858" y="287"/>
                </a:cubicBezTo>
                <a:cubicBezTo>
                  <a:pt x="858" y="287"/>
                  <a:pt x="858" y="287"/>
                  <a:pt x="858" y="287"/>
                </a:cubicBezTo>
                <a:cubicBezTo>
                  <a:pt x="858" y="287"/>
                  <a:pt x="857" y="287"/>
                  <a:pt x="857" y="287"/>
                </a:cubicBezTo>
                <a:cubicBezTo>
                  <a:pt x="857" y="287"/>
                  <a:pt x="856" y="288"/>
                  <a:pt x="856" y="288"/>
                </a:cubicBezTo>
                <a:cubicBezTo>
                  <a:pt x="856" y="288"/>
                  <a:pt x="856" y="287"/>
                  <a:pt x="856" y="287"/>
                </a:cubicBezTo>
                <a:cubicBezTo>
                  <a:pt x="856" y="287"/>
                  <a:pt x="856" y="288"/>
                  <a:pt x="855" y="288"/>
                </a:cubicBezTo>
                <a:cubicBezTo>
                  <a:pt x="856" y="288"/>
                  <a:pt x="856" y="288"/>
                  <a:pt x="856" y="289"/>
                </a:cubicBezTo>
                <a:cubicBezTo>
                  <a:pt x="856" y="288"/>
                  <a:pt x="854" y="288"/>
                  <a:pt x="854" y="289"/>
                </a:cubicBezTo>
                <a:cubicBezTo>
                  <a:pt x="855" y="289"/>
                  <a:pt x="855" y="289"/>
                  <a:pt x="855" y="289"/>
                </a:cubicBezTo>
                <a:cubicBezTo>
                  <a:pt x="855" y="290"/>
                  <a:pt x="855" y="290"/>
                  <a:pt x="855" y="291"/>
                </a:cubicBezTo>
                <a:cubicBezTo>
                  <a:pt x="854" y="291"/>
                  <a:pt x="854" y="292"/>
                  <a:pt x="853" y="292"/>
                </a:cubicBezTo>
                <a:cubicBezTo>
                  <a:pt x="853" y="292"/>
                  <a:pt x="853" y="292"/>
                  <a:pt x="853" y="292"/>
                </a:cubicBezTo>
                <a:cubicBezTo>
                  <a:pt x="853" y="292"/>
                  <a:pt x="853" y="292"/>
                  <a:pt x="853" y="293"/>
                </a:cubicBezTo>
                <a:cubicBezTo>
                  <a:pt x="853" y="293"/>
                  <a:pt x="853" y="294"/>
                  <a:pt x="852" y="294"/>
                </a:cubicBezTo>
                <a:cubicBezTo>
                  <a:pt x="852" y="293"/>
                  <a:pt x="853" y="293"/>
                  <a:pt x="852" y="293"/>
                </a:cubicBezTo>
                <a:cubicBezTo>
                  <a:pt x="852" y="293"/>
                  <a:pt x="851" y="295"/>
                  <a:pt x="851" y="294"/>
                </a:cubicBezTo>
                <a:cubicBezTo>
                  <a:pt x="851" y="294"/>
                  <a:pt x="851" y="295"/>
                  <a:pt x="850" y="296"/>
                </a:cubicBezTo>
                <a:cubicBezTo>
                  <a:pt x="849" y="296"/>
                  <a:pt x="849" y="296"/>
                  <a:pt x="849" y="296"/>
                </a:cubicBezTo>
                <a:cubicBezTo>
                  <a:pt x="848" y="296"/>
                  <a:pt x="849" y="295"/>
                  <a:pt x="848" y="295"/>
                </a:cubicBezTo>
                <a:cubicBezTo>
                  <a:pt x="848" y="295"/>
                  <a:pt x="848" y="295"/>
                  <a:pt x="848" y="296"/>
                </a:cubicBezTo>
                <a:cubicBezTo>
                  <a:pt x="848" y="296"/>
                  <a:pt x="848" y="296"/>
                  <a:pt x="849" y="296"/>
                </a:cubicBezTo>
                <a:cubicBezTo>
                  <a:pt x="848" y="296"/>
                  <a:pt x="848" y="296"/>
                  <a:pt x="848" y="296"/>
                </a:cubicBezTo>
                <a:cubicBezTo>
                  <a:pt x="847" y="296"/>
                  <a:pt x="848" y="296"/>
                  <a:pt x="848" y="297"/>
                </a:cubicBezTo>
                <a:cubicBezTo>
                  <a:pt x="848" y="296"/>
                  <a:pt x="847" y="296"/>
                  <a:pt x="847" y="296"/>
                </a:cubicBezTo>
                <a:cubicBezTo>
                  <a:pt x="847" y="297"/>
                  <a:pt x="847" y="297"/>
                  <a:pt x="848" y="297"/>
                </a:cubicBezTo>
                <a:cubicBezTo>
                  <a:pt x="847" y="297"/>
                  <a:pt x="848" y="297"/>
                  <a:pt x="847" y="297"/>
                </a:cubicBezTo>
                <a:cubicBezTo>
                  <a:pt x="847" y="297"/>
                  <a:pt x="847" y="297"/>
                  <a:pt x="847" y="297"/>
                </a:cubicBezTo>
                <a:cubicBezTo>
                  <a:pt x="846" y="297"/>
                  <a:pt x="847" y="298"/>
                  <a:pt x="847" y="298"/>
                </a:cubicBezTo>
                <a:cubicBezTo>
                  <a:pt x="847" y="298"/>
                  <a:pt x="848" y="297"/>
                  <a:pt x="848" y="298"/>
                </a:cubicBezTo>
                <a:cubicBezTo>
                  <a:pt x="848" y="298"/>
                  <a:pt x="847" y="299"/>
                  <a:pt x="847" y="299"/>
                </a:cubicBezTo>
                <a:cubicBezTo>
                  <a:pt x="847" y="299"/>
                  <a:pt x="847" y="299"/>
                  <a:pt x="847" y="300"/>
                </a:cubicBezTo>
                <a:cubicBezTo>
                  <a:pt x="847" y="300"/>
                  <a:pt x="847" y="299"/>
                  <a:pt x="846" y="299"/>
                </a:cubicBezTo>
                <a:cubicBezTo>
                  <a:pt x="846" y="300"/>
                  <a:pt x="845" y="299"/>
                  <a:pt x="845" y="300"/>
                </a:cubicBezTo>
                <a:cubicBezTo>
                  <a:pt x="846" y="300"/>
                  <a:pt x="846" y="299"/>
                  <a:pt x="847" y="300"/>
                </a:cubicBezTo>
                <a:cubicBezTo>
                  <a:pt x="846" y="300"/>
                  <a:pt x="846" y="300"/>
                  <a:pt x="846" y="300"/>
                </a:cubicBezTo>
                <a:cubicBezTo>
                  <a:pt x="846" y="301"/>
                  <a:pt x="846" y="301"/>
                  <a:pt x="846" y="301"/>
                </a:cubicBezTo>
                <a:cubicBezTo>
                  <a:pt x="845" y="301"/>
                  <a:pt x="845" y="302"/>
                  <a:pt x="845" y="302"/>
                </a:cubicBezTo>
                <a:cubicBezTo>
                  <a:pt x="845" y="301"/>
                  <a:pt x="845" y="302"/>
                  <a:pt x="845" y="302"/>
                </a:cubicBezTo>
                <a:cubicBezTo>
                  <a:pt x="845" y="301"/>
                  <a:pt x="845" y="301"/>
                  <a:pt x="844" y="301"/>
                </a:cubicBezTo>
                <a:cubicBezTo>
                  <a:pt x="845" y="302"/>
                  <a:pt x="845" y="303"/>
                  <a:pt x="844" y="303"/>
                </a:cubicBezTo>
                <a:cubicBezTo>
                  <a:pt x="844" y="303"/>
                  <a:pt x="844" y="303"/>
                  <a:pt x="843" y="303"/>
                </a:cubicBezTo>
                <a:cubicBezTo>
                  <a:pt x="843" y="303"/>
                  <a:pt x="843" y="303"/>
                  <a:pt x="843" y="304"/>
                </a:cubicBezTo>
                <a:cubicBezTo>
                  <a:pt x="843" y="304"/>
                  <a:pt x="843" y="303"/>
                  <a:pt x="842" y="303"/>
                </a:cubicBezTo>
                <a:cubicBezTo>
                  <a:pt x="842" y="304"/>
                  <a:pt x="842" y="304"/>
                  <a:pt x="842" y="304"/>
                </a:cubicBezTo>
                <a:cubicBezTo>
                  <a:pt x="842" y="304"/>
                  <a:pt x="842" y="304"/>
                  <a:pt x="842" y="304"/>
                </a:cubicBezTo>
                <a:cubicBezTo>
                  <a:pt x="842" y="303"/>
                  <a:pt x="843" y="303"/>
                  <a:pt x="843" y="302"/>
                </a:cubicBezTo>
                <a:cubicBezTo>
                  <a:pt x="843" y="302"/>
                  <a:pt x="843" y="302"/>
                  <a:pt x="842" y="302"/>
                </a:cubicBezTo>
                <a:cubicBezTo>
                  <a:pt x="842" y="302"/>
                  <a:pt x="840" y="303"/>
                  <a:pt x="841" y="305"/>
                </a:cubicBezTo>
                <a:cubicBezTo>
                  <a:pt x="841" y="305"/>
                  <a:pt x="841" y="304"/>
                  <a:pt x="840" y="305"/>
                </a:cubicBezTo>
                <a:cubicBezTo>
                  <a:pt x="841" y="305"/>
                  <a:pt x="840" y="305"/>
                  <a:pt x="840" y="305"/>
                </a:cubicBezTo>
                <a:cubicBezTo>
                  <a:pt x="841" y="306"/>
                  <a:pt x="840" y="306"/>
                  <a:pt x="841" y="306"/>
                </a:cubicBezTo>
                <a:cubicBezTo>
                  <a:pt x="841" y="306"/>
                  <a:pt x="841" y="306"/>
                  <a:pt x="841" y="305"/>
                </a:cubicBezTo>
                <a:cubicBezTo>
                  <a:pt x="841" y="305"/>
                  <a:pt x="841" y="305"/>
                  <a:pt x="841" y="305"/>
                </a:cubicBezTo>
                <a:cubicBezTo>
                  <a:pt x="841" y="305"/>
                  <a:pt x="841" y="305"/>
                  <a:pt x="841" y="305"/>
                </a:cubicBezTo>
                <a:cubicBezTo>
                  <a:pt x="841" y="305"/>
                  <a:pt x="842" y="305"/>
                  <a:pt x="842" y="306"/>
                </a:cubicBezTo>
                <a:cubicBezTo>
                  <a:pt x="842" y="306"/>
                  <a:pt x="842" y="305"/>
                  <a:pt x="841" y="306"/>
                </a:cubicBezTo>
                <a:cubicBezTo>
                  <a:pt x="842" y="306"/>
                  <a:pt x="840" y="306"/>
                  <a:pt x="841" y="307"/>
                </a:cubicBezTo>
                <a:cubicBezTo>
                  <a:pt x="841" y="307"/>
                  <a:pt x="841" y="307"/>
                  <a:pt x="841" y="307"/>
                </a:cubicBezTo>
                <a:cubicBezTo>
                  <a:pt x="841" y="307"/>
                  <a:pt x="840" y="307"/>
                  <a:pt x="840" y="307"/>
                </a:cubicBezTo>
                <a:cubicBezTo>
                  <a:pt x="841" y="308"/>
                  <a:pt x="841" y="307"/>
                  <a:pt x="841" y="308"/>
                </a:cubicBezTo>
                <a:cubicBezTo>
                  <a:pt x="841" y="308"/>
                  <a:pt x="840" y="308"/>
                  <a:pt x="840" y="308"/>
                </a:cubicBezTo>
                <a:cubicBezTo>
                  <a:pt x="841" y="308"/>
                  <a:pt x="840" y="309"/>
                  <a:pt x="840" y="309"/>
                </a:cubicBezTo>
                <a:cubicBezTo>
                  <a:pt x="840" y="308"/>
                  <a:pt x="841" y="308"/>
                  <a:pt x="841" y="308"/>
                </a:cubicBezTo>
                <a:cubicBezTo>
                  <a:pt x="841" y="308"/>
                  <a:pt x="841" y="309"/>
                  <a:pt x="841" y="309"/>
                </a:cubicBezTo>
                <a:cubicBezTo>
                  <a:pt x="841" y="309"/>
                  <a:pt x="841" y="309"/>
                  <a:pt x="840" y="309"/>
                </a:cubicBezTo>
                <a:cubicBezTo>
                  <a:pt x="840" y="309"/>
                  <a:pt x="840" y="309"/>
                  <a:pt x="840" y="309"/>
                </a:cubicBezTo>
                <a:cubicBezTo>
                  <a:pt x="841" y="309"/>
                  <a:pt x="841" y="310"/>
                  <a:pt x="841" y="310"/>
                </a:cubicBezTo>
                <a:cubicBezTo>
                  <a:pt x="841" y="309"/>
                  <a:pt x="842" y="309"/>
                  <a:pt x="841" y="309"/>
                </a:cubicBezTo>
                <a:cubicBezTo>
                  <a:pt x="842" y="309"/>
                  <a:pt x="842" y="309"/>
                  <a:pt x="842" y="309"/>
                </a:cubicBezTo>
                <a:cubicBezTo>
                  <a:pt x="842" y="308"/>
                  <a:pt x="842" y="307"/>
                  <a:pt x="843" y="307"/>
                </a:cubicBezTo>
                <a:cubicBezTo>
                  <a:pt x="843" y="307"/>
                  <a:pt x="843" y="308"/>
                  <a:pt x="843" y="308"/>
                </a:cubicBezTo>
                <a:cubicBezTo>
                  <a:pt x="843" y="307"/>
                  <a:pt x="843" y="307"/>
                  <a:pt x="843" y="307"/>
                </a:cubicBezTo>
                <a:cubicBezTo>
                  <a:pt x="843" y="307"/>
                  <a:pt x="843" y="307"/>
                  <a:pt x="844" y="307"/>
                </a:cubicBezTo>
                <a:cubicBezTo>
                  <a:pt x="843" y="307"/>
                  <a:pt x="844" y="307"/>
                  <a:pt x="843" y="306"/>
                </a:cubicBezTo>
                <a:cubicBezTo>
                  <a:pt x="844" y="306"/>
                  <a:pt x="843" y="307"/>
                  <a:pt x="844" y="307"/>
                </a:cubicBezTo>
                <a:cubicBezTo>
                  <a:pt x="844" y="306"/>
                  <a:pt x="844" y="306"/>
                  <a:pt x="843" y="306"/>
                </a:cubicBezTo>
                <a:cubicBezTo>
                  <a:pt x="844" y="306"/>
                  <a:pt x="844" y="306"/>
                  <a:pt x="844" y="305"/>
                </a:cubicBezTo>
                <a:cubicBezTo>
                  <a:pt x="844" y="305"/>
                  <a:pt x="844" y="305"/>
                  <a:pt x="844" y="305"/>
                </a:cubicBezTo>
                <a:cubicBezTo>
                  <a:pt x="844" y="305"/>
                  <a:pt x="845" y="306"/>
                  <a:pt x="845" y="305"/>
                </a:cubicBezTo>
                <a:cubicBezTo>
                  <a:pt x="845" y="305"/>
                  <a:pt x="844" y="305"/>
                  <a:pt x="844" y="305"/>
                </a:cubicBezTo>
                <a:cubicBezTo>
                  <a:pt x="844" y="304"/>
                  <a:pt x="844" y="304"/>
                  <a:pt x="845" y="304"/>
                </a:cubicBezTo>
                <a:cubicBezTo>
                  <a:pt x="845" y="304"/>
                  <a:pt x="845" y="304"/>
                  <a:pt x="845" y="305"/>
                </a:cubicBezTo>
                <a:cubicBezTo>
                  <a:pt x="845" y="304"/>
                  <a:pt x="845" y="303"/>
                  <a:pt x="846" y="304"/>
                </a:cubicBezTo>
                <a:cubicBezTo>
                  <a:pt x="846" y="303"/>
                  <a:pt x="847" y="303"/>
                  <a:pt x="847" y="303"/>
                </a:cubicBezTo>
                <a:cubicBezTo>
                  <a:pt x="847" y="303"/>
                  <a:pt x="846" y="303"/>
                  <a:pt x="846" y="303"/>
                </a:cubicBezTo>
                <a:cubicBezTo>
                  <a:pt x="846" y="304"/>
                  <a:pt x="846" y="304"/>
                  <a:pt x="846" y="304"/>
                </a:cubicBezTo>
                <a:cubicBezTo>
                  <a:pt x="845" y="303"/>
                  <a:pt x="845" y="303"/>
                  <a:pt x="845" y="303"/>
                </a:cubicBezTo>
                <a:cubicBezTo>
                  <a:pt x="846" y="303"/>
                  <a:pt x="846" y="303"/>
                  <a:pt x="847" y="302"/>
                </a:cubicBezTo>
                <a:cubicBezTo>
                  <a:pt x="847" y="303"/>
                  <a:pt x="847" y="303"/>
                  <a:pt x="847" y="303"/>
                </a:cubicBezTo>
                <a:cubicBezTo>
                  <a:pt x="847" y="302"/>
                  <a:pt x="848" y="302"/>
                  <a:pt x="848" y="302"/>
                </a:cubicBezTo>
                <a:cubicBezTo>
                  <a:pt x="848" y="301"/>
                  <a:pt x="848" y="301"/>
                  <a:pt x="847" y="301"/>
                </a:cubicBezTo>
                <a:cubicBezTo>
                  <a:pt x="848" y="301"/>
                  <a:pt x="848" y="301"/>
                  <a:pt x="847" y="301"/>
                </a:cubicBezTo>
                <a:cubicBezTo>
                  <a:pt x="848" y="301"/>
                  <a:pt x="848" y="300"/>
                  <a:pt x="849" y="301"/>
                </a:cubicBezTo>
                <a:cubicBezTo>
                  <a:pt x="849" y="301"/>
                  <a:pt x="848" y="300"/>
                  <a:pt x="848" y="300"/>
                </a:cubicBezTo>
                <a:cubicBezTo>
                  <a:pt x="849" y="300"/>
                  <a:pt x="848" y="299"/>
                  <a:pt x="849" y="300"/>
                </a:cubicBezTo>
                <a:cubicBezTo>
                  <a:pt x="849" y="299"/>
                  <a:pt x="849" y="299"/>
                  <a:pt x="850" y="299"/>
                </a:cubicBezTo>
                <a:cubicBezTo>
                  <a:pt x="850" y="299"/>
                  <a:pt x="849" y="299"/>
                  <a:pt x="850" y="300"/>
                </a:cubicBezTo>
                <a:cubicBezTo>
                  <a:pt x="850" y="300"/>
                  <a:pt x="850" y="299"/>
                  <a:pt x="850" y="299"/>
                </a:cubicBezTo>
                <a:cubicBezTo>
                  <a:pt x="850" y="299"/>
                  <a:pt x="850" y="299"/>
                  <a:pt x="850" y="299"/>
                </a:cubicBezTo>
                <a:cubicBezTo>
                  <a:pt x="851" y="299"/>
                  <a:pt x="851" y="300"/>
                  <a:pt x="851" y="300"/>
                </a:cubicBezTo>
                <a:cubicBezTo>
                  <a:pt x="850" y="300"/>
                  <a:pt x="850" y="300"/>
                  <a:pt x="850" y="300"/>
                </a:cubicBezTo>
                <a:cubicBezTo>
                  <a:pt x="850" y="300"/>
                  <a:pt x="850" y="300"/>
                  <a:pt x="850" y="300"/>
                </a:cubicBezTo>
                <a:cubicBezTo>
                  <a:pt x="851" y="300"/>
                  <a:pt x="851" y="300"/>
                  <a:pt x="851" y="299"/>
                </a:cubicBezTo>
                <a:cubicBezTo>
                  <a:pt x="851" y="299"/>
                  <a:pt x="852" y="298"/>
                  <a:pt x="852" y="298"/>
                </a:cubicBezTo>
                <a:cubicBezTo>
                  <a:pt x="851" y="298"/>
                  <a:pt x="851" y="297"/>
                  <a:pt x="851" y="297"/>
                </a:cubicBezTo>
                <a:cubicBezTo>
                  <a:pt x="852" y="298"/>
                  <a:pt x="851" y="297"/>
                  <a:pt x="851" y="297"/>
                </a:cubicBezTo>
                <a:cubicBezTo>
                  <a:pt x="852" y="297"/>
                  <a:pt x="851" y="298"/>
                  <a:pt x="852" y="298"/>
                </a:cubicBezTo>
                <a:cubicBezTo>
                  <a:pt x="852" y="297"/>
                  <a:pt x="853" y="297"/>
                  <a:pt x="853" y="296"/>
                </a:cubicBezTo>
                <a:cubicBezTo>
                  <a:pt x="854" y="296"/>
                  <a:pt x="854" y="295"/>
                  <a:pt x="855" y="295"/>
                </a:cubicBezTo>
                <a:cubicBezTo>
                  <a:pt x="855" y="295"/>
                  <a:pt x="855" y="295"/>
                  <a:pt x="855" y="295"/>
                </a:cubicBezTo>
                <a:cubicBezTo>
                  <a:pt x="855" y="295"/>
                  <a:pt x="856" y="296"/>
                  <a:pt x="856" y="295"/>
                </a:cubicBezTo>
                <a:cubicBezTo>
                  <a:pt x="856" y="295"/>
                  <a:pt x="855" y="295"/>
                  <a:pt x="855" y="295"/>
                </a:cubicBezTo>
                <a:cubicBezTo>
                  <a:pt x="855" y="294"/>
                  <a:pt x="856" y="294"/>
                  <a:pt x="856" y="293"/>
                </a:cubicBezTo>
                <a:cubicBezTo>
                  <a:pt x="855" y="293"/>
                  <a:pt x="855" y="294"/>
                  <a:pt x="855" y="293"/>
                </a:cubicBezTo>
                <a:cubicBezTo>
                  <a:pt x="855" y="293"/>
                  <a:pt x="855" y="293"/>
                  <a:pt x="855" y="293"/>
                </a:cubicBezTo>
                <a:cubicBezTo>
                  <a:pt x="855" y="293"/>
                  <a:pt x="856" y="293"/>
                  <a:pt x="856" y="293"/>
                </a:cubicBezTo>
                <a:cubicBezTo>
                  <a:pt x="855" y="293"/>
                  <a:pt x="855" y="293"/>
                  <a:pt x="855" y="293"/>
                </a:cubicBezTo>
                <a:cubicBezTo>
                  <a:pt x="856" y="293"/>
                  <a:pt x="855" y="293"/>
                  <a:pt x="856" y="293"/>
                </a:cubicBezTo>
                <a:cubicBezTo>
                  <a:pt x="856" y="293"/>
                  <a:pt x="857" y="293"/>
                  <a:pt x="857" y="292"/>
                </a:cubicBezTo>
                <a:cubicBezTo>
                  <a:pt x="857" y="293"/>
                  <a:pt x="858" y="293"/>
                  <a:pt x="858" y="293"/>
                </a:cubicBezTo>
                <a:cubicBezTo>
                  <a:pt x="858" y="293"/>
                  <a:pt x="857" y="293"/>
                  <a:pt x="858" y="293"/>
                </a:cubicBezTo>
                <a:cubicBezTo>
                  <a:pt x="858" y="293"/>
                  <a:pt x="859" y="293"/>
                  <a:pt x="858" y="292"/>
                </a:cubicBezTo>
                <a:cubicBezTo>
                  <a:pt x="858" y="292"/>
                  <a:pt x="858" y="292"/>
                  <a:pt x="858" y="292"/>
                </a:cubicBezTo>
                <a:cubicBezTo>
                  <a:pt x="857" y="292"/>
                  <a:pt x="858" y="293"/>
                  <a:pt x="857" y="293"/>
                </a:cubicBezTo>
                <a:cubicBezTo>
                  <a:pt x="857" y="292"/>
                  <a:pt x="857" y="292"/>
                  <a:pt x="857" y="292"/>
                </a:cubicBezTo>
                <a:cubicBezTo>
                  <a:pt x="858" y="291"/>
                  <a:pt x="859" y="291"/>
                  <a:pt x="858" y="290"/>
                </a:cubicBezTo>
                <a:cubicBezTo>
                  <a:pt x="859" y="290"/>
                  <a:pt x="859" y="290"/>
                  <a:pt x="859" y="290"/>
                </a:cubicBezTo>
                <a:cubicBezTo>
                  <a:pt x="859" y="290"/>
                  <a:pt x="859" y="290"/>
                  <a:pt x="859" y="290"/>
                </a:cubicBezTo>
                <a:cubicBezTo>
                  <a:pt x="859" y="290"/>
                  <a:pt x="859" y="290"/>
                  <a:pt x="859" y="289"/>
                </a:cubicBezTo>
                <a:cubicBezTo>
                  <a:pt x="860" y="289"/>
                  <a:pt x="861" y="289"/>
                  <a:pt x="860" y="288"/>
                </a:cubicBezTo>
                <a:cubicBezTo>
                  <a:pt x="861" y="288"/>
                  <a:pt x="861" y="288"/>
                  <a:pt x="861" y="288"/>
                </a:cubicBezTo>
                <a:cubicBezTo>
                  <a:pt x="861" y="288"/>
                  <a:pt x="861" y="288"/>
                  <a:pt x="861" y="288"/>
                </a:cubicBezTo>
                <a:cubicBezTo>
                  <a:pt x="861" y="288"/>
                  <a:pt x="861" y="288"/>
                  <a:pt x="862" y="288"/>
                </a:cubicBezTo>
                <a:cubicBezTo>
                  <a:pt x="862" y="287"/>
                  <a:pt x="862" y="287"/>
                  <a:pt x="862" y="287"/>
                </a:cubicBezTo>
                <a:cubicBezTo>
                  <a:pt x="862" y="287"/>
                  <a:pt x="862" y="287"/>
                  <a:pt x="862" y="287"/>
                </a:cubicBezTo>
                <a:cubicBezTo>
                  <a:pt x="862" y="287"/>
                  <a:pt x="863" y="287"/>
                  <a:pt x="863" y="287"/>
                </a:cubicBezTo>
                <a:cubicBezTo>
                  <a:pt x="863" y="287"/>
                  <a:pt x="863" y="287"/>
                  <a:pt x="863" y="287"/>
                </a:cubicBezTo>
                <a:cubicBezTo>
                  <a:pt x="863" y="287"/>
                  <a:pt x="863" y="287"/>
                  <a:pt x="862" y="287"/>
                </a:cubicBezTo>
                <a:cubicBezTo>
                  <a:pt x="862" y="287"/>
                  <a:pt x="863" y="286"/>
                  <a:pt x="862" y="286"/>
                </a:cubicBezTo>
                <a:cubicBezTo>
                  <a:pt x="863" y="287"/>
                  <a:pt x="863" y="286"/>
                  <a:pt x="864" y="286"/>
                </a:cubicBezTo>
                <a:cubicBezTo>
                  <a:pt x="864" y="285"/>
                  <a:pt x="864" y="285"/>
                  <a:pt x="865" y="284"/>
                </a:cubicBezTo>
                <a:cubicBezTo>
                  <a:pt x="865" y="284"/>
                  <a:pt x="865" y="284"/>
                  <a:pt x="866" y="284"/>
                </a:cubicBezTo>
                <a:cubicBezTo>
                  <a:pt x="866" y="284"/>
                  <a:pt x="866" y="283"/>
                  <a:pt x="867" y="283"/>
                </a:cubicBezTo>
                <a:cubicBezTo>
                  <a:pt x="866" y="282"/>
                  <a:pt x="868" y="282"/>
                  <a:pt x="868" y="282"/>
                </a:cubicBezTo>
                <a:cubicBezTo>
                  <a:pt x="868" y="282"/>
                  <a:pt x="868" y="283"/>
                  <a:pt x="868" y="283"/>
                </a:cubicBezTo>
                <a:cubicBezTo>
                  <a:pt x="868" y="283"/>
                  <a:pt x="869" y="282"/>
                  <a:pt x="869" y="282"/>
                </a:cubicBezTo>
                <a:cubicBezTo>
                  <a:pt x="868" y="282"/>
                  <a:pt x="868" y="282"/>
                  <a:pt x="868" y="282"/>
                </a:cubicBezTo>
                <a:cubicBezTo>
                  <a:pt x="869" y="282"/>
                  <a:pt x="868" y="281"/>
                  <a:pt x="869" y="281"/>
                </a:cubicBezTo>
                <a:cubicBezTo>
                  <a:pt x="869" y="282"/>
                  <a:pt x="869" y="283"/>
                  <a:pt x="869" y="283"/>
                </a:cubicBezTo>
                <a:cubicBezTo>
                  <a:pt x="869" y="283"/>
                  <a:pt x="868" y="283"/>
                  <a:pt x="868" y="284"/>
                </a:cubicBezTo>
                <a:cubicBezTo>
                  <a:pt x="868" y="284"/>
                  <a:pt x="868" y="284"/>
                  <a:pt x="867" y="284"/>
                </a:cubicBezTo>
                <a:cubicBezTo>
                  <a:pt x="867" y="284"/>
                  <a:pt x="868" y="284"/>
                  <a:pt x="867" y="284"/>
                </a:cubicBezTo>
                <a:cubicBezTo>
                  <a:pt x="867" y="284"/>
                  <a:pt x="866" y="285"/>
                  <a:pt x="867" y="286"/>
                </a:cubicBezTo>
                <a:cubicBezTo>
                  <a:pt x="866" y="286"/>
                  <a:pt x="866" y="285"/>
                  <a:pt x="866" y="285"/>
                </a:cubicBezTo>
                <a:cubicBezTo>
                  <a:pt x="866" y="286"/>
                  <a:pt x="865" y="286"/>
                  <a:pt x="865" y="286"/>
                </a:cubicBezTo>
                <a:cubicBezTo>
                  <a:pt x="865" y="286"/>
                  <a:pt x="865" y="286"/>
                  <a:pt x="865" y="285"/>
                </a:cubicBezTo>
                <a:cubicBezTo>
                  <a:pt x="866" y="286"/>
                  <a:pt x="866" y="285"/>
                  <a:pt x="865" y="285"/>
                </a:cubicBezTo>
                <a:cubicBezTo>
                  <a:pt x="865" y="285"/>
                  <a:pt x="865" y="285"/>
                  <a:pt x="864" y="286"/>
                </a:cubicBezTo>
                <a:cubicBezTo>
                  <a:pt x="864" y="286"/>
                  <a:pt x="864" y="286"/>
                  <a:pt x="864" y="286"/>
                </a:cubicBezTo>
                <a:cubicBezTo>
                  <a:pt x="865" y="286"/>
                  <a:pt x="865" y="286"/>
                  <a:pt x="865" y="286"/>
                </a:cubicBezTo>
                <a:cubicBezTo>
                  <a:pt x="865" y="286"/>
                  <a:pt x="865" y="286"/>
                  <a:pt x="865" y="287"/>
                </a:cubicBezTo>
                <a:cubicBezTo>
                  <a:pt x="864" y="287"/>
                  <a:pt x="865" y="288"/>
                  <a:pt x="865" y="288"/>
                </a:cubicBezTo>
                <a:cubicBezTo>
                  <a:pt x="864" y="288"/>
                  <a:pt x="865" y="287"/>
                  <a:pt x="864" y="287"/>
                </a:cubicBezTo>
                <a:cubicBezTo>
                  <a:pt x="864" y="288"/>
                  <a:pt x="864" y="288"/>
                  <a:pt x="864" y="288"/>
                </a:cubicBezTo>
                <a:cubicBezTo>
                  <a:pt x="863" y="289"/>
                  <a:pt x="863" y="288"/>
                  <a:pt x="863" y="288"/>
                </a:cubicBezTo>
                <a:cubicBezTo>
                  <a:pt x="863" y="289"/>
                  <a:pt x="863" y="289"/>
                  <a:pt x="863" y="289"/>
                </a:cubicBezTo>
                <a:cubicBezTo>
                  <a:pt x="863" y="289"/>
                  <a:pt x="862" y="288"/>
                  <a:pt x="862" y="288"/>
                </a:cubicBezTo>
                <a:cubicBezTo>
                  <a:pt x="862" y="288"/>
                  <a:pt x="862" y="289"/>
                  <a:pt x="862" y="289"/>
                </a:cubicBezTo>
                <a:cubicBezTo>
                  <a:pt x="862" y="289"/>
                  <a:pt x="862" y="289"/>
                  <a:pt x="862" y="289"/>
                </a:cubicBezTo>
                <a:cubicBezTo>
                  <a:pt x="862" y="290"/>
                  <a:pt x="862" y="290"/>
                  <a:pt x="862" y="290"/>
                </a:cubicBezTo>
                <a:cubicBezTo>
                  <a:pt x="862" y="290"/>
                  <a:pt x="862" y="290"/>
                  <a:pt x="862" y="290"/>
                </a:cubicBezTo>
                <a:cubicBezTo>
                  <a:pt x="862" y="290"/>
                  <a:pt x="862" y="290"/>
                  <a:pt x="861" y="290"/>
                </a:cubicBezTo>
                <a:cubicBezTo>
                  <a:pt x="861" y="290"/>
                  <a:pt x="862" y="291"/>
                  <a:pt x="861" y="291"/>
                </a:cubicBezTo>
                <a:cubicBezTo>
                  <a:pt x="861" y="291"/>
                  <a:pt x="861" y="291"/>
                  <a:pt x="861" y="290"/>
                </a:cubicBezTo>
                <a:cubicBezTo>
                  <a:pt x="860" y="291"/>
                  <a:pt x="861" y="292"/>
                  <a:pt x="861" y="292"/>
                </a:cubicBezTo>
                <a:cubicBezTo>
                  <a:pt x="861" y="292"/>
                  <a:pt x="861" y="292"/>
                  <a:pt x="860" y="292"/>
                </a:cubicBezTo>
                <a:cubicBezTo>
                  <a:pt x="860" y="291"/>
                  <a:pt x="861" y="291"/>
                  <a:pt x="860" y="291"/>
                </a:cubicBezTo>
                <a:cubicBezTo>
                  <a:pt x="859" y="291"/>
                  <a:pt x="860" y="292"/>
                  <a:pt x="860" y="292"/>
                </a:cubicBezTo>
                <a:cubicBezTo>
                  <a:pt x="860" y="292"/>
                  <a:pt x="860" y="292"/>
                  <a:pt x="860" y="292"/>
                </a:cubicBezTo>
                <a:cubicBezTo>
                  <a:pt x="860" y="293"/>
                  <a:pt x="860" y="293"/>
                  <a:pt x="860" y="293"/>
                </a:cubicBezTo>
                <a:cubicBezTo>
                  <a:pt x="860" y="293"/>
                  <a:pt x="860" y="292"/>
                  <a:pt x="860" y="293"/>
                </a:cubicBezTo>
                <a:cubicBezTo>
                  <a:pt x="860" y="293"/>
                  <a:pt x="860" y="293"/>
                  <a:pt x="860" y="293"/>
                </a:cubicBezTo>
                <a:cubicBezTo>
                  <a:pt x="861" y="293"/>
                  <a:pt x="861" y="292"/>
                  <a:pt x="862" y="291"/>
                </a:cubicBezTo>
                <a:cubicBezTo>
                  <a:pt x="862" y="292"/>
                  <a:pt x="860" y="293"/>
                  <a:pt x="861" y="294"/>
                </a:cubicBezTo>
                <a:cubicBezTo>
                  <a:pt x="861" y="294"/>
                  <a:pt x="861" y="294"/>
                  <a:pt x="860" y="294"/>
                </a:cubicBezTo>
                <a:cubicBezTo>
                  <a:pt x="860" y="294"/>
                  <a:pt x="860" y="294"/>
                  <a:pt x="860" y="294"/>
                </a:cubicBezTo>
                <a:cubicBezTo>
                  <a:pt x="860" y="294"/>
                  <a:pt x="859" y="295"/>
                  <a:pt x="859" y="295"/>
                </a:cubicBezTo>
                <a:cubicBezTo>
                  <a:pt x="859" y="295"/>
                  <a:pt x="859" y="295"/>
                  <a:pt x="859" y="295"/>
                </a:cubicBezTo>
                <a:cubicBezTo>
                  <a:pt x="859" y="295"/>
                  <a:pt x="858" y="295"/>
                  <a:pt x="858" y="295"/>
                </a:cubicBezTo>
                <a:cubicBezTo>
                  <a:pt x="859" y="295"/>
                  <a:pt x="859" y="295"/>
                  <a:pt x="859" y="295"/>
                </a:cubicBezTo>
                <a:cubicBezTo>
                  <a:pt x="859" y="296"/>
                  <a:pt x="859" y="296"/>
                  <a:pt x="859" y="297"/>
                </a:cubicBezTo>
                <a:cubicBezTo>
                  <a:pt x="859" y="297"/>
                  <a:pt x="860" y="297"/>
                  <a:pt x="859" y="297"/>
                </a:cubicBezTo>
                <a:cubicBezTo>
                  <a:pt x="859" y="298"/>
                  <a:pt x="858" y="299"/>
                  <a:pt x="857" y="299"/>
                </a:cubicBezTo>
                <a:cubicBezTo>
                  <a:pt x="857" y="299"/>
                  <a:pt x="857" y="299"/>
                  <a:pt x="857" y="299"/>
                </a:cubicBezTo>
                <a:cubicBezTo>
                  <a:pt x="857" y="299"/>
                  <a:pt x="857" y="299"/>
                  <a:pt x="857" y="299"/>
                </a:cubicBezTo>
                <a:cubicBezTo>
                  <a:pt x="857" y="299"/>
                  <a:pt x="857" y="300"/>
                  <a:pt x="857" y="300"/>
                </a:cubicBezTo>
                <a:cubicBezTo>
                  <a:pt x="857" y="300"/>
                  <a:pt x="857" y="300"/>
                  <a:pt x="856" y="300"/>
                </a:cubicBezTo>
                <a:cubicBezTo>
                  <a:pt x="857" y="300"/>
                  <a:pt x="857" y="300"/>
                  <a:pt x="857" y="300"/>
                </a:cubicBezTo>
                <a:cubicBezTo>
                  <a:pt x="856" y="300"/>
                  <a:pt x="856" y="300"/>
                  <a:pt x="856" y="300"/>
                </a:cubicBezTo>
                <a:cubicBezTo>
                  <a:pt x="856" y="300"/>
                  <a:pt x="856" y="300"/>
                  <a:pt x="857" y="300"/>
                </a:cubicBezTo>
                <a:cubicBezTo>
                  <a:pt x="856" y="301"/>
                  <a:pt x="855" y="301"/>
                  <a:pt x="856" y="302"/>
                </a:cubicBezTo>
                <a:cubicBezTo>
                  <a:pt x="855" y="302"/>
                  <a:pt x="855" y="301"/>
                  <a:pt x="855" y="301"/>
                </a:cubicBezTo>
                <a:cubicBezTo>
                  <a:pt x="856" y="303"/>
                  <a:pt x="855" y="303"/>
                  <a:pt x="854" y="303"/>
                </a:cubicBezTo>
                <a:cubicBezTo>
                  <a:pt x="854" y="303"/>
                  <a:pt x="854" y="303"/>
                  <a:pt x="854" y="303"/>
                </a:cubicBezTo>
                <a:cubicBezTo>
                  <a:pt x="854" y="303"/>
                  <a:pt x="853" y="302"/>
                  <a:pt x="853" y="302"/>
                </a:cubicBezTo>
                <a:cubicBezTo>
                  <a:pt x="853" y="302"/>
                  <a:pt x="853" y="302"/>
                  <a:pt x="853" y="302"/>
                </a:cubicBezTo>
                <a:cubicBezTo>
                  <a:pt x="853" y="303"/>
                  <a:pt x="853" y="303"/>
                  <a:pt x="853" y="303"/>
                </a:cubicBezTo>
                <a:cubicBezTo>
                  <a:pt x="853" y="303"/>
                  <a:pt x="853" y="303"/>
                  <a:pt x="853" y="303"/>
                </a:cubicBezTo>
                <a:cubicBezTo>
                  <a:pt x="852" y="303"/>
                  <a:pt x="852" y="303"/>
                  <a:pt x="852" y="303"/>
                </a:cubicBezTo>
                <a:cubicBezTo>
                  <a:pt x="853" y="304"/>
                  <a:pt x="852" y="305"/>
                  <a:pt x="852" y="306"/>
                </a:cubicBezTo>
                <a:cubicBezTo>
                  <a:pt x="852" y="305"/>
                  <a:pt x="852" y="305"/>
                  <a:pt x="851" y="305"/>
                </a:cubicBezTo>
                <a:cubicBezTo>
                  <a:pt x="851" y="306"/>
                  <a:pt x="851" y="306"/>
                  <a:pt x="852" y="306"/>
                </a:cubicBezTo>
                <a:cubicBezTo>
                  <a:pt x="851" y="306"/>
                  <a:pt x="852" y="307"/>
                  <a:pt x="851" y="307"/>
                </a:cubicBezTo>
                <a:cubicBezTo>
                  <a:pt x="851" y="306"/>
                  <a:pt x="851" y="306"/>
                  <a:pt x="851" y="306"/>
                </a:cubicBezTo>
                <a:cubicBezTo>
                  <a:pt x="851" y="306"/>
                  <a:pt x="851" y="306"/>
                  <a:pt x="851" y="306"/>
                </a:cubicBezTo>
                <a:cubicBezTo>
                  <a:pt x="851" y="306"/>
                  <a:pt x="851" y="306"/>
                  <a:pt x="851" y="307"/>
                </a:cubicBezTo>
                <a:cubicBezTo>
                  <a:pt x="850" y="307"/>
                  <a:pt x="851" y="307"/>
                  <a:pt x="851" y="307"/>
                </a:cubicBezTo>
                <a:cubicBezTo>
                  <a:pt x="850" y="308"/>
                  <a:pt x="850" y="310"/>
                  <a:pt x="848" y="310"/>
                </a:cubicBezTo>
                <a:cubicBezTo>
                  <a:pt x="848" y="311"/>
                  <a:pt x="848" y="311"/>
                  <a:pt x="848" y="311"/>
                </a:cubicBezTo>
                <a:cubicBezTo>
                  <a:pt x="847" y="311"/>
                  <a:pt x="848" y="311"/>
                  <a:pt x="848" y="312"/>
                </a:cubicBezTo>
                <a:cubicBezTo>
                  <a:pt x="848" y="312"/>
                  <a:pt x="847" y="312"/>
                  <a:pt x="848" y="313"/>
                </a:cubicBezTo>
                <a:cubicBezTo>
                  <a:pt x="847" y="313"/>
                  <a:pt x="847" y="312"/>
                  <a:pt x="847" y="312"/>
                </a:cubicBezTo>
                <a:cubicBezTo>
                  <a:pt x="846" y="313"/>
                  <a:pt x="847" y="313"/>
                  <a:pt x="846" y="313"/>
                </a:cubicBezTo>
                <a:cubicBezTo>
                  <a:pt x="847" y="313"/>
                  <a:pt x="846" y="313"/>
                  <a:pt x="846" y="313"/>
                </a:cubicBezTo>
                <a:cubicBezTo>
                  <a:pt x="846" y="313"/>
                  <a:pt x="846" y="313"/>
                  <a:pt x="846" y="313"/>
                </a:cubicBezTo>
                <a:cubicBezTo>
                  <a:pt x="845" y="315"/>
                  <a:pt x="844" y="316"/>
                  <a:pt x="844" y="317"/>
                </a:cubicBezTo>
                <a:cubicBezTo>
                  <a:pt x="844" y="317"/>
                  <a:pt x="844" y="316"/>
                  <a:pt x="845" y="316"/>
                </a:cubicBezTo>
                <a:cubicBezTo>
                  <a:pt x="845" y="316"/>
                  <a:pt x="845" y="317"/>
                  <a:pt x="845" y="317"/>
                </a:cubicBezTo>
                <a:cubicBezTo>
                  <a:pt x="845" y="317"/>
                  <a:pt x="846" y="316"/>
                  <a:pt x="845" y="316"/>
                </a:cubicBezTo>
                <a:cubicBezTo>
                  <a:pt x="845" y="316"/>
                  <a:pt x="846" y="316"/>
                  <a:pt x="846" y="317"/>
                </a:cubicBezTo>
                <a:cubicBezTo>
                  <a:pt x="845" y="317"/>
                  <a:pt x="844" y="317"/>
                  <a:pt x="845" y="318"/>
                </a:cubicBezTo>
                <a:cubicBezTo>
                  <a:pt x="845" y="318"/>
                  <a:pt x="845" y="318"/>
                  <a:pt x="845" y="318"/>
                </a:cubicBezTo>
                <a:cubicBezTo>
                  <a:pt x="844" y="318"/>
                  <a:pt x="845" y="318"/>
                  <a:pt x="844" y="318"/>
                </a:cubicBezTo>
                <a:cubicBezTo>
                  <a:pt x="844" y="318"/>
                  <a:pt x="844" y="318"/>
                  <a:pt x="844" y="319"/>
                </a:cubicBezTo>
                <a:cubicBezTo>
                  <a:pt x="844" y="319"/>
                  <a:pt x="844" y="319"/>
                  <a:pt x="844" y="319"/>
                </a:cubicBezTo>
                <a:cubicBezTo>
                  <a:pt x="844" y="319"/>
                  <a:pt x="844" y="318"/>
                  <a:pt x="844" y="318"/>
                </a:cubicBezTo>
                <a:cubicBezTo>
                  <a:pt x="844" y="318"/>
                  <a:pt x="844" y="318"/>
                  <a:pt x="844" y="317"/>
                </a:cubicBezTo>
                <a:cubicBezTo>
                  <a:pt x="843" y="318"/>
                  <a:pt x="843" y="317"/>
                  <a:pt x="843" y="317"/>
                </a:cubicBezTo>
                <a:cubicBezTo>
                  <a:pt x="843" y="317"/>
                  <a:pt x="843" y="317"/>
                  <a:pt x="843" y="318"/>
                </a:cubicBezTo>
                <a:cubicBezTo>
                  <a:pt x="844" y="318"/>
                  <a:pt x="844" y="319"/>
                  <a:pt x="844" y="320"/>
                </a:cubicBezTo>
                <a:cubicBezTo>
                  <a:pt x="843" y="320"/>
                  <a:pt x="843" y="320"/>
                  <a:pt x="843" y="320"/>
                </a:cubicBezTo>
                <a:cubicBezTo>
                  <a:pt x="844" y="321"/>
                  <a:pt x="843" y="321"/>
                  <a:pt x="842" y="321"/>
                </a:cubicBezTo>
                <a:cubicBezTo>
                  <a:pt x="842" y="321"/>
                  <a:pt x="842" y="321"/>
                  <a:pt x="842" y="321"/>
                </a:cubicBezTo>
                <a:cubicBezTo>
                  <a:pt x="842" y="321"/>
                  <a:pt x="843" y="322"/>
                  <a:pt x="842" y="322"/>
                </a:cubicBezTo>
                <a:cubicBezTo>
                  <a:pt x="842" y="321"/>
                  <a:pt x="842" y="322"/>
                  <a:pt x="842" y="322"/>
                </a:cubicBezTo>
                <a:cubicBezTo>
                  <a:pt x="842" y="322"/>
                  <a:pt x="841" y="322"/>
                  <a:pt x="841" y="322"/>
                </a:cubicBezTo>
                <a:cubicBezTo>
                  <a:pt x="841" y="322"/>
                  <a:pt x="841" y="323"/>
                  <a:pt x="841" y="323"/>
                </a:cubicBezTo>
                <a:cubicBezTo>
                  <a:pt x="841" y="322"/>
                  <a:pt x="841" y="322"/>
                  <a:pt x="842" y="323"/>
                </a:cubicBezTo>
                <a:cubicBezTo>
                  <a:pt x="841" y="323"/>
                  <a:pt x="841" y="323"/>
                  <a:pt x="842" y="323"/>
                </a:cubicBezTo>
                <a:cubicBezTo>
                  <a:pt x="841" y="324"/>
                  <a:pt x="841" y="323"/>
                  <a:pt x="841" y="323"/>
                </a:cubicBezTo>
                <a:cubicBezTo>
                  <a:pt x="841" y="324"/>
                  <a:pt x="841" y="324"/>
                  <a:pt x="841" y="324"/>
                </a:cubicBezTo>
                <a:cubicBezTo>
                  <a:pt x="841" y="324"/>
                  <a:pt x="841" y="324"/>
                  <a:pt x="841" y="324"/>
                </a:cubicBezTo>
                <a:cubicBezTo>
                  <a:pt x="841" y="324"/>
                  <a:pt x="842" y="324"/>
                  <a:pt x="842" y="323"/>
                </a:cubicBezTo>
                <a:cubicBezTo>
                  <a:pt x="842" y="324"/>
                  <a:pt x="842" y="324"/>
                  <a:pt x="842" y="324"/>
                </a:cubicBezTo>
                <a:cubicBezTo>
                  <a:pt x="842" y="324"/>
                  <a:pt x="842" y="324"/>
                  <a:pt x="842" y="324"/>
                </a:cubicBezTo>
                <a:cubicBezTo>
                  <a:pt x="843" y="325"/>
                  <a:pt x="843" y="324"/>
                  <a:pt x="843" y="324"/>
                </a:cubicBezTo>
                <a:cubicBezTo>
                  <a:pt x="843" y="325"/>
                  <a:pt x="842" y="325"/>
                  <a:pt x="842" y="325"/>
                </a:cubicBezTo>
                <a:cubicBezTo>
                  <a:pt x="842" y="325"/>
                  <a:pt x="841" y="325"/>
                  <a:pt x="840" y="325"/>
                </a:cubicBezTo>
                <a:cubicBezTo>
                  <a:pt x="840" y="325"/>
                  <a:pt x="840" y="325"/>
                  <a:pt x="840" y="325"/>
                </a:cubicBezTo>
                <a:cubicBezTo>
                  <a:pt x="840" y="325"/>
                  <a:pt x="839" y="325"/>
                  <a:pt x="839" y="326"/>
                </a:cubicBezTo>
                <a:cubicBezTo>
                  <a:pt x="839" y="326"/>
                  <a:pt x="840" y="326"/>
                  <a:pt x="839" y="326"/>
                </a:cubicBezTo>
                <a:cubicBezTo>
                  <a:pt x="839" y="326"/>
                  <a:pt x="839" y="326"/>
                  <a:pt x="839" y="326"/>
                </a:cubicBezTo>
                <a:cubicBezTo>
                  <a:pt x="839" y="326"/>
                  <a:pt x="839" y="326"/>
                  <a:pt x="839" y="326"/>
                </a:cubicBezTo>
                <a:cubicBezTo>
                  <a:pt x="839" y="327"/>
                  <a:pt x="839" y="327"/>
                  <a:pt x="839" y="327"/>
                </a:cubicBezTo>
                <a:cubicBezTo>
                  <a:pt x="839" y="327"/>
                  <a:pt x="840" y="326"/>
                  <a:pt x="840" y="327"/>
                </a:cubicBezTo>
                <a:cubicBezTo>
                  <a:pt x="840" y="327"/>
                  <a:pt x="839" y="327"/>
                  <a:pt x="840" y="327"/>
                </a:cubicBezTo>
                <a:cubicBezTo>
                  <a:pt x="840" y="327"/>
                  <a:pt x="840" y="327"/>
                  <a:pt x="840" y="327"/>
                </a:cubicBezTo>
                <a:cubicBezTo>
                  <a:pt x="840" y="327"/>
                  <a:pt x="840" y="327"/>
                  <a:pt x="840" y="328"/>
                </a:cubicBezTo>
                <a:cubicBezTo>
                  <a:pt x="840" y="328"/>
                  <a:pt x="840" y="328"/>
                  <a:pt x="839" y="327"/>
                </a:cubicBezTo>
                <a:cubicBezTo>
                  <a:pt x="839" y="328"/>
                  <a:pt x="839" y="328"/>
                  <a:pt x="839" y="328"/>
                </a:cubicBezTo>
                <a:cubicBezTo>
                  <a:pt x="839" y="328"/>
                  <a:pt x="838" y="328"/>
                  <a:pt x="838" y="328"/>
                </a:cubicBezTo>
                <a:cubicBezTo>
                  <a:pt x="838" y="329"/>
                  <a:pt x="839" y="328"/>
                  <a:pt x="839" y="329"/>
                </a:cubicBezTo>
                <a:cubicBezTo>
                  <a:pt x="838" y="329"/>
                  <a:pt x="838" y="328"/>
                  <a:pt x="838" y="328"/>
                </a:cubicBezTo>
                <a:cubicBezTo>
                  <a:pt x="837" y="329"/>
                  <a:pt x="837" y="329"/>
                  <a:pt x="837" y="330"/>
                </a:cubicBezTo>
                <a:cubicBezTo>
                  <a:pt x="837" y="330"/>
                  <a:pt x="837" y="331"/>
                  <a:pt x="837" y="331"/>
                </a:cubicBezTo>
                <a:cubicBezTo>
                  <a:pt x="837" y="331"/>
                  <a:pt x="836" y="330"/>
                  <a:pt x="836" y="331"/>
                </a:cubicBezTo>
                <a:cubicBezTo>
                  <a:pt x="836" y="331"/>
                  <a:pt x="837" y="332"/>
                  <a:pt x="837" y="332"/>
                </a:cubicBezTo>
                <a:cubicBezTo>
                  <a:pt x="836" y="332"/>
                  <a:pt x="836" y="332"/>
                  <a:pt x="836" y="332"/>
                </a:cubicBezTo>
                <a:cubicBezTo>
                  <a:pt x="835" y="332"/>
                  <a:pt x="836" y="332"/>
                  <a:pt x="836" y="332"/>
                </a:cubicBezTo>
                <a:cubicBezTo>
                  <a:pt x="835" y="332"/>
                  <a:pt x="835" y="333"/>
                  <a:pt x="835" y="333"/>
                </a:cubicBezTo>
                <a:cubicBezTo>
                  <a:pt x="836" y="333"/>
                  <a:pt x="835" y="332"/>
                  <a:pt x="836" y="333"/>
                </a:cubicBezTo>
                <a:cubicBezTo>
                  <a:pt x="836" y="333"/>
                  <a:pt x="835" y="334"/>
                  <a:pt x="835" y="335"/>
                </a:cubicBezTo>
                <a:cubicBezTo>
                  <a:pt x="834" y="335"/>
                  <a:pt x="833" y="335"/>
                  <a:pt x="834" y="336"/>
                </a:cubicBezTo>
                <a:cubicBezTo>
                  <a:pt x="834" y="336"/>
                  <a:pt x="833" y="336"/>
                  <a:pt x="833" y="336"/>
                </a:cubicBezTo>
                <a:cubicBezTo>
                  <a:pt x="834" y="336"/>
                  <a:pt x="834" y="336"/>
                  <a:pt x="834" y="336"/>
                </a:cubicBezTo>
                <a:cubicBezTo>
                  <a:pt x="834" y="337"/>
                  <a:pt x="834" y="337"/>
                  <a:pt x="834" y="337"/>
                </a:cubicBezTo>
                <a:cubicBezTo>
                  <a:pt x="833" y="337"/>
                  <a:pt x="834" y="338"/>
                  <a:pt x="833" y="338"/>
                </a:cubicBezTo>
                <a:cubicBezTo>
                  <a:pt x="834" y="338"/>
                  <a:pt x="834" y="337"/>
                  <a:pt x="833" y="337"/>
                </a:cubicBezTo>
                <a:cubicBezTo>
                  <a:pt x="833" y="338"/>
                  <a:pt x="833" y="338"/>
                  <a:pt x="833" y="338"/>
                </a:cubicBezTo>
                <a:cubicBezTo>
                  <a:pt x="833" y="338"/>
                  <a:pt x="833" y="338"/>
                  <a:pt x="833" y="339"/>
                </a:cubicBezTo>
                <a:cubicBezTo>
                  <a:pt x="833" y="339"/>
                  <a:pt x="833" y="338"/>
                  <a:pt x="832" y="339"/>
                </a:cubicBezTo>
                <a:cubicBezTo>
                  <a:pt x="832" y="339"/>
                  <a:pt x="833" y="339"/>
                  <a:pt x="832" y="339"/>
                </a:cubicBezTo>
                <a:cubicBezTo>
                  <a:pt x="832" y="339"/>
                  <a:pt x="833" y="338"/>
                  <a:pt x="832" y="338"/>
                </a:cubicBezTo>
                <a:cubicBezTo>
                  <a:pt x="832" y="338"/>
                  <a:pt x="831" y="339"/>
                  <a:pt x="832" y="339"/>
                </a:cubicBezTo>
                <a:cubicBezTo>
                  <a:pt x="831" y="339"/>
                  <a:pt x="831" y="339"/>
                  <a:pt x="831" y="339"/>
                </a:cubicBezTo>
                <a:cubicBezTo>
                  <a:pt x="831" y="340"/>
                  <a:pt x="831" y="340"/>
                  <a:pt x="831" y="340"/>
                </a:cubicBezTo>
                <a:cubicBezTo>
                  <a:pt x="832" y="340"/>
                  <a:pt x="831" y="340"/>
                  <a:pt x="832" y="340"/>
                </a:cubicBezTo>
                <a:cubicBezTo>
                  <a:pt x="832" y="340"/>
                  <a:pt x="831" y="341"/>
                  <a:pt x="832" y="341"/>
                </a:cubicBezTo>
                <a:cubicBezTo>
                  <a:pt x="831" y="341"/>
                  <a:pt x="831" y="341"/>
                  <a:pt x="831" y="341"/>
                </a:cubicBezTo>
                <a:cubicBezTo>
                  <a:pt x="832" y="341"/>
                  <a:pt x="831" y="340"/>
                  <a:pt x="831" y="340"/>
                </a:cubicBezTo>
                <a:cubicBezTo>
                  <a:pt x="831" y="341"/>
                  <a:pt x="830" y="341"/>
                  <a:pt x="831" y="341"/>
                </a:cubicBezTo>
                <a:cubicBezTo>
                  <a:pt x="831" y="341"/>
                  <a:pt x="831" y="341"/>
                  <a:pt x="831" y="341"/>
                </a:cubicBezTo>
                <a:cubicBezTo>
                  <a:pt x="832" y="342"/>
                  <a:pt x="831" y="342"/>
                  <a:pt x="831" y="342"/>
                </a:cubicBezTo>
                <a:cubicBezTo>
                  <a:pt x="831" y="342"/>
                  <a:pt x="831" y="342"/>
                  <a:pt x="831" y="342"/>
                </a:cubicBezTo>
                <a:cubicBezTo>
                  <a:pt x="831" y="343"/>
                  <a:pt x="830" y="344"/>
                  <a:pt x="830" y="344"/>
                </a:cubicBezTo>
                <a:cubicBezTo>
                  <a:pt x="830" y="344"/>
                  <a:pt x="830" y="344"/>
                  <a:pt x="830" y="344"/>
                </a:cubicBezTo>
                <a:cubicBezTo>
                  <a:pt x="829" y="344"/>
                  <a:pt x="830" y="344"/>
                  <a:pt x="830" y="345"/>
                </a:cubicBezTo>
                <a:cubicBezTo>
                  <a:pt x="830" y="345"/>
                  <a:pt x="830" y="344"/>
                  <a:pt x="829" y="344"/>
                </a:cubicBezTo>
                <a:cubicBezTo>
                  <a:pt x="829" y="345"/>
                  <a:pt x="829" y="345"/>
                  <a:pt x="830" y="345"/>
                </a:cubicBezTo>
                <a:cubicBezTo>
                  <a:pt x="830" y="345"/>
                  <a:pt x="830" y="345"/>
                  <a:pt x="830" y="345"/>
                </a:cubicBezTo>
                <a:cubicBezTo>
                  <a:pt x="830" y="345"/>
                  <a:pt x="831" y="345"/>
                  <a:pt x="831" y="345"/>
                </a:cubicBezTo>
                <a:cubicBezTo>
                  <a:pt x="831" y="345"/>
                  <a:pt x="831" y="345"/>
                  <a:pt x="831" y="345"/>
                </a:cubicBezTo>
                <a:cubicBezTo>
                  <a:pt x="830" y="346"/>
                  <a:pt x="830" y="346"/>
                  <a:pt x="830" y="347"/>
                </a:cubicBezTo>
                <a:cubicBezTo>
                  <a:pt x="830" y="348"/>
                  <a:pt x="830" y="347"/>
                  <a:pt x="831" y="347"/>
                </a:cubicBezTo>
                <a:cubicBezTo>
                  <a:pt x="830" y="348"/>
                  <a:pt x="830" y="347"/>
                  <a:pt x="830" y="348"/>
                </a:cubicBezTo>
                <a:cubicBezTo>
                  <a:pt x="829" y="346"/>
                  <a:pt x="830" y="346"/>
                  <a:pt x="830" y="345"/>
                </a:cubicBezTo>
                <a:cubicBezTo>
                  <a:pt x="830" y="345"/>
                  <a:pt x="830" y="345"/>
                  <a:pt x="829" y="346"/>
                </a:cubicBezTo>
                <a:cubicBezTo>
                  <a:pt x="829" y="345"/>
                  <a:pt x="829" y="345"/>
                  <a:pt x="828" y="345"/>
                </a:cubicBezTo>
                <a:cubicBezTo>
                  <a:pt x="829" y="345"/>
                  <a:pt x="828" y="344"/>
                  <a:pt x="828" y="344"/>
                </a:cubicBezTo>
                <a:cubicBezTo>
                  <a:pt x="828" y="344"/>
                  <a:pt x="828" y="344"/>
                  <a:pt x="828" y="344"/>
                </a:cubicBezTo>
                <a:cubicBezTo>
                  <a:pt x="828" y="345"/>
                  <a:pt x="828" y="345"/>
                  <a:pt x="828" y="345"/>
                </a:cubicBezTo>
                <a:cubicBezTo>
                  <a:pt x="828" y="345"/>
                  <a:pt x="828" y="346"/>
                  <a:pt x="828" y="347"/>
                </a:cubicBezTo>
                <a:cubicBezTo>
                  <a:pt x="829" y="346"/>
                  <a:pt x="828" y="346"/>
                  <a:pt x="829" y="346"/>
                </a:cubicBezTo>
                <a:cubicBezTo>
                  <a:pt x="829" y="346"/>
                  <a:pt x="829" y="346"/>
                  <a:pt x="829" y="346"/>
                </a:cubicBezTo>
                <a:cubicBezTo>
                  <a:pt x="829" y="348"/>
                  <a:pt x="826" y="351"/>
                  <a:pt x="828" y="352"/>
                </a:cubicBezTo>
                <a:cubicBezTo>
                  <a:pt x="827" y="352"/>
                  <a:pt x="828" y="351"/>
                  <a:pt x="828" y="351"/>
                </a:cubicBezTo>
                <a:cubicBezTo>
                  <a:pt x="828" y="352"/>
                  <a:pt x="827" y="352"/>
                  <a:pt x="828" y="352"/>
                </a:cubicBezTo>
                <a:cubicBezTo>
                  <a:pt x="828" y="352"/>
                  <a:pt x="828" y="351"/>
                  <a:pt x="828" y="350"/>
                </a:cubicBezTo>
                <a:cubicBezTo>
                  <a:pt x="829" y="350"/>
                  <a:pt x="828" y="349"/>
                  <a:pt x="829" y="348"/>
                </a:cubicBezTo>
                <a:cubicBezTo>
                  <a:pt x="829" y="349"/>
                  <a:pt x="829" y="349"/>
                  <a:pt x="829" y="349"/>
                </a:cubicBezTo>
                <a:cubicBezTo>
                  <a:pt x="829" y="349"/>
                  <a:pt x="829" y="350"/>
                  <a:pt x="829" y="350"/>
                </a:cubicBezTo>
                <a:cubicBezTo>
                  <a:pt x="829" y="350"/>
                  <a:pt x="830" y="350"/>
                  <a:pt x="829" y="351"/>
                </a:cubicBezTo>
                <a:cubicBezTo>
                  <a:pt x="829" y="351"/>
                  <a:pt x="829" y="350"/>
                  <a:pt x="828" y="350"/>
                </a:cubicBezTo>
                <a:cubicBezTo>
                  <a:pt x="829" y="351"/>
                  <a:pt x="829" y="352"/>
                  <a:pt x="829" y="352"/>
                </a:cubicBezTo>
                <a:cubicBezTo>
                  <a:pt x="830" y="352"/>
                  <a:pt x="829" y="351"/>
                  <a:pt x="830" y="351"/>
                </a:cubicBezTo>
                <a:cubicBezTo>
                  <a:pt x="830" y="351"/>
                  <a:pt x="830" y="352"/>
                  <a:pt x="830" y="352"/>
                </a:cubicBezTo>
                <a:cubicBezTo>
                  <a:pt x="829" y="352"/>
                  <a:pt x="829" y="353"/>
                  <a:pt x="828" y="353"/>
                </a:cubicBezTo>
                <a:cubicBezTo>
                  <a:pt x="828" y="353"/>
                  <a:pt x="828" y="356"/>
                  <a:pt x="827" y="356"/>
                </a:cubicBezTo>
                <a:cubicBezTo>
                  <a:pt x="827" y="356"/>
                  <a:pt x="828" y="356"/>
                  <a:pt x="828" y="356"/>
                </a:cubicBezTo>
                <a:cubicBezTo>
                  <a:pt x="828" y="356"/>
                  <a:pt x="827" y="357"/>
                  <a:pt x="827" y="357"/>
                </a:cubicBezTo>
                <a:cubicBezTo>
                  <a:pt x="827" y="357"/>
                  <a:pt x="827" y="357"/>
                  <a:pt x="827" y="356"/>
                </a:cubicBezTo>
                <a:cubicBezTo>
                  <a:pt x="827" y="356"/>
                  <a:pt x="827" y="355"/>
                  <a:pt x="828" y="354"/>
                </a:cubicBezTo>
                <a:cubicBezTo>
                  <a:pt x="827" y="354"/>
                  <a:pt x="827" y="354"/>
                  <a:pt x="827" y="354"/>
                </a:cubicBezTo>
                <a:cubicBezTo>
                  <a:pt x="827" y="355"/>
                  <a:pt x="826" y="356"/>
                  <a:pt x="826" y="357"/>
                </a:cubicBezTo>
                <a:cubicBezTo>
                  <a:pt x="827" y="357"/>
                  <a:pt x="827" y="357"/>
                  <a:pt x="827" y="357"/>
                </a:cubicBezTo>
                <a:cubicBezTo>
                  <a:pt x="827" y="358"/>
                  <a:pt x="826" y="359"/>
                  <a:pt x="827" y="360"/>
                </a:cubicBezTo>
                <a:cubicBezTo>
                  <a:pt x="826" y="360"/>
                  <a:pt x="825" y="360"/>
                  <a:pt x="826" y="361"/>
                </a:cubicBezTo>
                <a:cubicBezTo>
                  <a:pt x="826" y="361"/>
                  <a:pt x="825" y="361"/>
                  <a:pt x="825" y="361"/>
                </a:cubicBezTo>
                <a:cubicBezTo>
                  <a:pt x="825" y="360"/>
                  <a:pt x="826" y="361"/>
                  <a:pt x="825" y="360"/>
                </a:cubicBezTo>
                <a:cubicBezTo>
                  <a:pt x="824" y="361"/>
                  <a:pt x="825" y="359"/>
                  <a:pt x="825" y="359"/>
                </a:cubicBezTo>
                <a:cubicBezTo>
                  <a:pt x="825" y="360"/>
                  <a:pt x="825" y="360"/>
                  <a:pt x="825" y="361"/>
                </a:cubicBezTo>
                <a:cubicBezTo>
                  <a:pt x="825" y="361"/>
                  <a:pt x="825" y="362"/>
                  <a:pt x="825" y="362"/>
                </a:cubicBezTo>
                <a:cubicBezTo>
                  <a:pt x="825" y="362"/>
                  <a:pt x="824" y="362"/>
                  <a:pt x="825" y="363"/>
                </a:cubicBezTo>
                <a:cubicBezTo>
                  <a:pt x="824" y="363"/>
                  <a:pt x="824" y="363"/>
                  <a:pt x="824" y="363"/>
                </a:cubicBezTo>
                <a:cubicBezTo>
                  <a:pt x="823" y="363"/>
                  <a:pt x="824" y="361"/>
                  <a:pt x="824" y="362"/>
                </a:cubicBezTo>
                <a:cubicBezTo>
                  <a:pt x="825" y="360"/>
                  <a:pt x="824" y="358"/>
                  <a:pt x="825" y="357"/>
                </a:cubicBezTo>
                <a:cubicBezTo>
                  <a:pt x="824" y="357"/>
                  <a:pt x="825" y="358"/>
                  <a:pt x="824" y="358"/>
                </a:cubicBezTo>
                <a:cubicBezTo>
                  <a:pt x="824" y="359"/>
                  <a:pt x="824" y="359"/>
                  <a:pt x="824" y="359"/>
                </a:cubicBezTo>
                <a:cubicBezTo>
                  <a:pt x="824" y="360"/>
                  <a:pt x="824" y="360"/>
                  <a:pt x="824" y="359"/>
                </a:cubicBezTo>
                <a:cubicBezTo>
                  <a:pt x="824" y="360"/>
                  <a:pt x="823" y="360"/>
                  <a:pt x="824" y="360"/>
                </a:cubicBezTo>
                <a:cubicBezTo>
                  <a:pt x="823" y="361"/>
                  <a:pt x="823" y="359"/>
                  <a:pt x="823" y="359"/>
                </a:cubicBezTo>
                <a:cubicBezTo>
                  <a:pt x="823" y="360"/>
                  <a:pt x="822" y="360"/>
                  <a:pt x="822" y="361"/>
                </a:cubicBezTo>
                <a:cubicBezTo>
                  <a:pt x="822" y="361"/>
                  <a:pt x="823" y="361"/>
                  <a:pt x="823" y="361"/>
                </a:cubicBezTo>
                <a:cubicBezTo>
                  <a:pt x="823" y="361"/>
                  <a:pt x="823" y="361"/>
                  <a:pt x="823" y="360"/>
                </a:cubicBezTo>
                <a:cubicBezTo>
                  <a:pt x="823" y="360"/>
                  <a:pt x="824" y="361"/>
                  <a:pt x="823" y="361"/>
                </a:cubicBezTo>
                <a:cubicBezTo>
                  <a:pt x="823" y="361"/>
                  <a:pt x="823" y="360"/>
                  <a:pt x="823" y="361"/>
                </a:cubicBezTo>
                <a:cubicBezTo>
                  <a:pt x="823" y="361"/>
                  <a:pt x="823" y="361"/>
                  <a:pt x="823" y="362"/>
                </a:cubicBezTo>
                <a:cubicBezTo>
                  <a:pt x="823" y="362"/>
                  <a:pt x="822" y="363"/>
                  <a:pt x="823" y="363"/>
                </a:cubicBezTo>
                <a:cubicBezTo>
                  <a:pt x="823" y="363"/>
                  <a:pt x="823" y="362"/>
                  <a:pt x="823" y="362"/>
                </a:cubicBezTo>
                <a:cubicBezTo>
                  <a:pt x="824" y="363"/>
                  <a:pt x="823" y="363"/>
                  <a:pt x="824" y="363"/>
                </a:cubicBezTo>
                <a:cubicBezTo>
                  <a:pt x="823" y="363"/>
                  <a:pt x="822" y="365"/>
                  <a:pt x="823" y="366"/>
                </a:cubicBezTo>
                <a:cubicBezTo>
                  <a:pt x="822" y="366"/>
                  <a:pt x="822" y="366"/>
                  <a:pt x="822" y="366"/>
                </a:cubicBezTo>
                <a:cubicBezTo>
                  <a:pt x="822" y="367"/>
                  <a:pt x="822" y="367"/>
                  <a:pt x="822" y="367"/>
                </a:cubicBezTo>
                <a:cubicBezTo>
                  <a:pt x="822" y="367"/>
                  <a:pt x="822" y="368"/>
                  <a:pt x="822" y="368"/>
                </a:cubicBezTo>
                <a:cubicBezTo>
                  <a:pt x="822" y="368"/>
                  <a:pt x="822" y="369"/>
                  <a:pt x="822" y="369"/>
                </a:cubicBezTo>
                <a:cubicBezTo>
                  <a:pt x="822" y="368"/>
                  <a:pt x="821" y="367"/>
                  <a:pt x="821" y="366"/>
                </a:cubicBezTo>
                <a:cubicBezTo>
                  <a:pt x="821" y="366"/>
                  <a:pt x="821" y="366"/>
                  <a:pt x="821" y="366"/>
                </a:cubicBezTo>
                <a:cubicBezTo>
                  <a:pt x="821" y="366"/>
                  <a:pt x="821" y="366"/>
                  <a:pt x="821" y="366"/>
                </a:cubicBezTo>
                <a:cubicBezTo>
                  <a:pt x="821" y="366"/>
                  <a:pt x="821" y="365"/>
                  <a:pt x="821" y="365"/>
                </a:cubicBezTo>
                <a:cubicBezTo>
                  <a:pt x="821" y="366"/>
                  <a:pt x="821" y="366"/>
                  <a:pt x="821" y="366"/>
                </a:cubicBezTo>
                <a:cubicBezTo>
                  <a:pt x="821" y="366"/>
                  <a:pt x="821" y="366"/>
                  <a:pt x="821" y="366"/>
                </a:cubicBezTo>
                <a:cubicBezTo>
                  <a:pt x="821" y="366"/>
                  <a:pt x="821" y="367"/>
                  <a:pt x="821" y="367"/>
                </a:cubicBezTo>
                <a:cubicBezTo>
                  <a:pt x="820" y="367"/>
                  <a:pt x="820" y="367"/>
                  <a:pt x="820" y="367"/>
                </a:cubicBezTo>
                <a:cubicBezTo>
                  <a:pt x="820" y="368"/>
                  <a:pt x="819" y="368"/>
                  <a:pt x="819" y="368"/>
                </a:cubicBezTo>
                <a:cubicBezTo>
                  <a:pt x="819" y="369"/>
                  <a:pt x="820" y="369"/>
                  <a:pt x="820" y="369"/>
                </a:cubicBezTo>
                <a:cubicBezTo>
                  <a:pt x="820" y="369"/>
                  <a:pt x="820" y="368"/>
                  <a:pt x="820" y="369"/>
                </a:cubicBezTo>
                <a:cubicBezTo>
                  <a:pt x="820" y="369"/>
                  <a:pt x="820" y="370"/>
                  <a:pt x="820" y="370"/>
                </a:cubicBezTo>
                <a:cubicBezTo>
                  <a:pt x="820" y="369"/>
                  <a:pt x="820" y="369"/>
                  <a:pt x="821" y="369"/>
                </a:cubicBezTo>
                <a:cubicBezTo>
                  <a:pt x="821" y="371"/>
                  <a:pt x="820" y="371"/>
                  <a:pt x="821" y="372"/>
                </a:cubicBezTo>
                <a:cubicBezTo>
                  <a:pt x="821" y="372"/>
                  <a:pt x="820" y="371"/>
                  <a:pt x="820" y="371"/>
                </a:cubicBezTo>
                <a:cubicBezTo>
                  <a:pt x="820" y="372"/>
                  <a:pt x="820" y="373"/>
                  <a:pt x="820" y="374"/>
                </a:cubicBezTo>
                <a:cubicBezTo>
                  <a:pt x="819" y="374"/>
                  <a:pt x="820" y="375"/>
                  <a:pt x="820" y="376"/>
                </a:cubicBezTo>
                <a:cubicBezTo>
                  <a:pt x="820" y="376"/>
                  <a:pt x="819" y="376"/>
                  <a:pt x="819" y="377"/>
                </a:cubicBezTo>
                <a:cubicBezTo>
                  <a:pt x="819" y="377"/>
                  <a:pt x="819" y="377"/>
                  <a:pt x="819" y="377"/>
                </a:cubicBezTo>
                <a:cubicBezTo>
                  <a:pt x="819" y="378"/>
                  <a:pt x="818" y="379"/>
                  <a:pt x="818" y="380"/>
                </a:cubicBezTo>
                <a:cubicBezTo>
                  <a:pt x="818" y="379"/>
                  <a:pt x="818" y="379"/>
                  <a:pt x="818" y="379"/>
                </a:cubicBezTo>
                <a:cubicBezTo>
                  <a:pt x="817" y="379"/>
                  <a:pt x="818" y="380"/>
                  <a:pt x="818" y="380"/>
                </a:cubicBezTo>
                <a:cubicBezTo>
                  <a:pt x="818" y="380"/>
                  <a:pt x="818" y="380"/>
                  <a:pt x="817" y="380"/>
                </a:cubicBezTo>
                <a:cubicBezTo>
                  <a:pt x="818" y="381"/>
                  <a:pt x="817" y="380"/>
                  <a:pt x="817" y="380"/>
                </a:cubicBezTo>
                <a:cubicBezTo>
                  <a:pt x="817" y="381"/>
                  <a:pt x="817" y="381"/>
                  <a:pt x="818" y="381"/>
                </a:cubicBezTo>
                <a:cubicBezTo>
                  <a:pt x="817" y="382"/>
                  <a:pt x="817" y="384"/>
                  <a:pt x="817" y="384"/>
                </a:cubicBezTo>
                <a:cubicBezTo>
                  <a:pt x="817" y="384"/>
                  <a:pt x="817" y="383"/>
                  <a:pt x="817" y="383"/>
                </a:cubicBezTo>
                <a:cubicBezTo>
                  <a:pt x="817" y="385"/>
                  <a:pt x="817" y="385"/>
                  <a:pt x="816" y="384"/>
                </a:cubicBezTo>
                <a:cubicBezTo>
                  <a:pt x="816" y="386"/>
                  <a:pt x="816" y="388"/>
                  <a:pt x="815" y="387"/>
                </a:cubicBezTo>
                <a:cubicBezTo>
                  <a:pt x="815" y="388"/>
                  <a:pt x="815" y="388"/>
                  <a:pt x="815" y="389"/>
                </a:cubicBezTo>
                <a:cubicBezTo>
                  <a:pt x="815" y="389"/>
                  <a:pt x="815" y="389"/>
                  <a:pt x="815" y="390"/>
                </a:cubicBezTo>
                <a:cubicBezTo>
                  <a:pt x="815" y="390"/>
                  <a:pt x="815" y="390"/>
                  <a:pt x="815" y="391"/>
                </a:cubicBezTo>
                <a:cubicBezTo>
                  <a:pt x="814" y="390"/>
                  <a:pt x="815" y="389"/>
                  <a:pt x="815" y="389"/>
                </a:cubicBezTo>
                <a:cubicBezTo>
                  <a:pt x="814" y="389"/>
                  <a:pt x="814" y="387"/>
                  <a:pt x="814" y="387"/>
                </a:cubicBezTo>
                <a:cubicBezTo>
                  <a:pt x="814" y="387"/>
                  <a:pt x="814" y="387"/>
                  <a:pt x="814" y="389"/>
                </a:cubicBezTo>
                <a:cubicBezTo>
                  <a:pt x="814" y="389"/>
                  <a:pt x="813" y="389"/>
                  <a:pt x="813" y="391"/>
                </a:cubicBezTo>
                <a:cubicBezTo>
                  <a:pt x="813" y="391"/>
                  <a:pt x="813" y="390"/>
                  <a:pt x="813" y="391"/>
                </a:cubicBezTo>
                <a:cubicBezTo>
                  <a:pt x="813" y="391"/>
                  <a:pt x="813" y="391"/>
                  <a:pt x="813" y="391"/>
                </a:cubicBezTo>
                <a:cubicBezTo>
                  <a:pt x="812" y="391"/>
                  <a:pt x="812" y="395"/>
                  <a:pt x="811" y="395"/>
                </a:cubicBezTo>
                <a:cubicBezTo>
                  <a:pt x="812" y="396"/>
                  <a:pt x="812" y="395"/>
                  <a:pt x="812" y="396"/>
                </a:cubicBezTo>
                <a:cubicBezTo>
                  <a:pt x="812" y="395"/>
                  <a:pt x="813" y="396"/>
                  <a:pt x="812" y="395"/>
                </a:cubicBezTo>
                <a:cubicBezTo>
                  <a:pt x="812" y="395"/>
                  <a:pt x="812" y="395"/>
                  <a:pt x="812" y="395"/>
                </a:cubicBezTo>
                <a:cubicBezTo>
                  <a:pt x="812" y="393"/>
                  <a:pt x="813" y="393"/>
                  <a:pt x="813" y="392"/>
                </a:cubicBezTo>
                <a:cubicBezTo>
                  <a:pt x="813" y="393"/>
                  <a:pt x="813" y="393"/>
                  <a:pt x="813" y="393"/>
                </a:cubicBezTo>
                <a:cubicBezTo>
                  <a:pt x="814" y="394"/>
                  <a:pt x="813" y="394"/>
                  <a:pt x="813" y="394"/>
                </a:cubicBezTo>
                <a:cubicBezTo>
                  <a:pt x="813" y="395"/>
                  <a:pt x="813" y="397"/>
                  <a:pt x="813" y="397"/>
                </a:cubicBezTo>
                <a:cubicBezTo>
                  <a:pt x="813" y="397"/>
                  <a:pt x="812" y="396"/>
                  <a:pt x="812" y="396"/>
                </a:cubicBezTo>
                <a:cubicBezTo>
                  <a:pt x="812" y="396"/>
                  <a:pt x="812" y="397"/>
                  <a:pt x="812" y="398"/>
                </a:cubicBezTo>
                <a:cubicBezTo>
                  <a:pt x="812" y="398"/>
                  <a:pt x="812" y="398"/>
                  <a:pt x="812" y="398"/>
                </a:cubicBezTo>
                <a:cubicBezTo>
                  <a:pt x="812" y="399"/>
                  <a:pt x="812" y="401"/>
                  <a:pt x="811" y="402"/>
                </a:cubicBezTo>
                <a:cubicBezTo>
                  <a:pt x="811" y="402"/>
                  <a:pt x="811" y="401"/>
                  <a:pt x="811" y="401"/>
                </a:cubicBezTo>
                <a:cubicBezTo>
                  <a:pt x="811" y="402"/>
                  <a:pt x="811" y="402"/>
                  <a:pt x="811" y="402"/>
                </a:cubicBezTo>
                <a:cubicBezTo>
                  <a:pt x="811" y="402"/>
                  <a:pt x="811" y="402"/>
                  <a:pt x="811" y="402"/>
                </a:cubicBezTo>
                <a:cubicBezTo>
                  <a:pt x="811" y="402"/>
                  <a:pt x="811" y="402"/>
                  <a:pt x="810" y="401"/>
                </a:cubicBezTo>
                <a:cubicBezTo>
                  <a:pt x="810" y="402"/>
                  <a:pt x="810" y="401"/>
                  <a:pt x="810" y="401"/>
                </a:cubicBezTo>
                <a:cubicBezTo>
                  <a:pt x="810" y="402"/>
                  <a:pt x="810" y="402"/>
                  <a:pt x="810" y="402"/>
                </a:cubicBezTo>
                <a:cubicBezTo>
                  <a:pt x="810" y="402"/>
                  <a:pt x="810" y="402"/>
                  <a:pt x="809" y="401"/>
                </a:cubicBezTo>
                <a:cubicBezTo>
                  <a:pt x="810" y="401"/>
                  <a:pt x="810" y="401"/>
                  <a:pt x="809" y="401"/>
                </a:cubicBezTo>
                <a:cubicBezTo>
                  <a:pt x="809" y="401"/>
                  <a:pt x="809" y="400"/>
                  <a:pt x="809" y="401"/>
                </a:cubicBezTo>
                <a:cubicBezTo>
                  <a:pt x="809" y="401"/>
                  <a:pt x="809" y="402"/>
                  <a:pt x="809" y="402"/>
                </a:cubicBezTo>
                <a:cubicBezTo>
                  <a:pt x="808" y="400"/>
                  <a:pt x="808" y="401"/>
                  <a:pt x="807" y="400"/>
                </a:cubicBezTo>
                <a:cubicBezTo>
                  <a:pt x="807" y="400"/>
                  <a:pt x="807" y="400"/>
                  <a:pt x="807" y="399"/>
                </a:cubicBezTo>
                <a:cubicBezTo>
                  <a:pt x="806" y="397"/>
                  <a:pt x="804" y="397"/>
                  <a:pt x="802" y="394"/>
                </a:cubicBezTo>
                <a:cubicBezTo>
                  <a:pt x="802" y="394"/>
                  <a:pt x="802" y="395"/>
                  <a:pt x="802" y="395"/>
                </a:cubicBezTo>
                <a:cubicBezTo>
                  <a:pt x="801" y="394"/>
                  <a:pt x="802" y="395"/>
                  <a:pt x="801" y="394"/>
                </a:cubicBezTo>
                <a:cubicBezTo>
                  <a:pt x="801" y="393"/>
                  <a:pt x="802" y="394"/>
                  <a:pt x="801" y="394"/>
                </a:cubicBezTo>
                <a:cubicBezTo>
                  <a:pt x="801" y="394"/>
                  <a:pt x="801" y="394"/>
                  <a:pt x="801" y="393"/>
                </a:cubicBezTo>
                <a:cubicBezTo>
                  <a:pt x="800" y="393"/>
                  <a:pt x="800" y="392"/>
                  <a:pt x="799" y="392"/>
                </a:cubicBezTo>
                <a:cubicBezTo>
                  <a:pt x="799" y="393"/>
                  <a:pt x="800" y="393"/>
                  <a:pt x="799" y="393"/>
                </a:cubicBezTo>
                <a:cubicBezTo>
                  <a:pt x="799" y="393"/>
                  <a:pt x="799" y="393"/>
                  <a:pt x="799" y="393"/>
                </a:cubicBezTo>
                <a:cubicBezTo>
                  <a:pt x="798" y="392"/>
                  <a:pt x="798" y="392"/>
                  <a:pt x="797" y="391"/>
                </a:cubicBezTo>
                <a:cubicBezTo>
                  <a:pt x="797" y="391"/>
                  <a:pt x="798" y="392"/>
                  <a:pt x="798" y="392"/>
                </a:cubicBezTo>
                <a:cubicBezTo>
                  <a:pt x="798" y="391"/>
                  <a:pt x="798" y="391"/>
                  <a:pt x="798" y="391"/>
                </a:cubicBezTo>
                <a:cubicBezTo>
                  <a:pt x="797" y="391"/>
                  <a:pt x="796" y="390"/>
                  <a:pt x="796" y="389"/>
                </a:cubicBezTo>
                <a:cubicBezTo>
                  <a:pt x="796" y="390"/>
                  <a:pt x="797" y="391"/>
                  <a:pt x="797" y="391"/>
                </a:cubicBezTo>
                <a:cubicBezTo>
                  <a:pt x="797" y="391"/>
                  <a:pt x="797" y="391"/>
                  <a:pt x="797" y="392"/>
                </a:cubicBezTo>
                <a:cubicBezTo>
                  <a:pt x="796" y="390"/>
                  <a:pt x="797" y="391"/>
                  <a:pt x="796" y="391"/>
                </a:cubicBezTo>
                <a:cubicBezTo>
                  <a:pt x="796" y="390"/>
                  <a:pt x="795" y="389"/>
                  <a:pt x="795" y="389"/>
                </a:cubicBezTo>
                <a:cubicBezTo>
                  <a:pt x="795" y="390"/>
                  <a:pt x="795" y="390"/>
                  <a:pt x="795" y="390"/>
                </a:cubicBezTo>
                <a:cubicBezTo>
                  <a:pt x="795" y="390"/>
                  <a:pt x="795" y="390"/>
                  <a:pt x="794" y="389"/>
                </a:cubicBezTo>
                <a:cubicBezTo>
                  <a:pt x="794" y="389"/>
                  <a:pt x="794" y="389"/>
                  <a:pt x="793" y="388"/>
                </a:cubicBezTo>
                <a:cubicBezTo>
                  <a:pt x="793" y="388"/>
                  <a:pt x="792" y="387"/>
                  <a:pt x="791" y="387"/>
                </a:cubicBezTo>
                <a:cubicBezTo>
                  <a:pt x="790" y="386"/>
                  <a:pt x="791" y="387"/>
                  <a:pt x="790" y="387"/>
                </a:cubicBezTo>
                <a:cubicBezTo>
                  <a:pt x="790" y="386"/>
                  <a:pt x="790" y="386"/>
                  <a:pt x="790" y="385"/>
                </a:cubicBezTo>
                <a:cubicBezTo>
                  <a:pt x="789" y="386"/>
                  <a:pt x="788" y="384"/>
                  <a:pt x="787" y="385"/>
                </a:cubicBezTo>
                <a:cubicBezTo>
                  <a:pt x="787" y="384"/>
                  <a:pt x="786" y="385"/>
                  <a:pt x="786" y="384"/>
                </a:cubicBezTo>
                <a:cubicBezTo>
                  <a:pt x="787" y="383"/>
                  <a:pt x="784" y="382"/>
                  <a:pt x="783" y="382"/>
                </a:cubicBezTo>
                <a:cubicBezTo>
                  <a:pt x="783" y="381"/>
                  <a:pt x="784" y="382"/>
                  <a:pt x="784" y="382"/>
                </a:cubicBezTo>
                <a:cubicBezTo>
                  <a:pt x="784" y="381"/>
                  <a:pt x="784" y="381"/>
                  <a:pt x="783" y="380"/>
                </a:cubicBezTo>
                <a:cubicBezTo>
                  <a:pt x="783" y="381"/>
                  <a:pt x="783" y="381"/>
                  <a:pt x="783" y="380"/>
                </a:cubicBezTo>
                <a:cubicBezTo>
                  <a:pt x="783" y="381"/>
                  <a:pt x="783" y="381"/>
                  <a:pt x="782" y="381"/>
                </a:cubicBezTo>
                <a:cubicBezTo>
                  <a:pt x="782" y="380"/>
                  <a:pt x="783" y="381"/>
                  <a:pt x="783" y="380"/>
                </a:cubicBezTo>
                <a:cubicBezTo>
                  <a:pt x="782" y="379"/>
                  <a:pt x="782" y="379"/>
                  <a:pt x="782" y="378"/>
                </a:cubicBezTo>
                <a:cubicBezTo>
                  <a:pt x="782" y="379"/>
                  <a:pt x="782" y="379"/>
                  <a:pt x="781" y="379"/>
                </a:cubicBezTo>
                <a:cubicBezTo>
                  <a:pt x="781" y="379"/>
                  <a:pt x="780" y="378"/>
                  <a:pt x="780" y="377"/>
                </a:cubicBezTo>
                <a:cubicBezTo>
                  <a:pt x="780" y="378"/>
                  <a:pt x="781" y="379"/>
                  <a:pt x="781" y="380"/>
                </a:cubicBezTo>
                <a:cubicBezTo>
                  <a:pt x="780" y="379"/>
                  <a:pt x="780" y="377"/>
                  <a:pt x="779" y="378"/>
                </a:cubicBezTo>
                <a:cubicBezTo>
                  <a:pt x="780" y="379"/>
                  <a:pt x="779" y="379"/>
                  <a:pt x="780" y="381"/>
                </a:cubicBezTo>
                <a:cubicBezTo>
                  <a:pt x="780" y="380"/>
                  <a:pt x="779" y="380"/>
                  <a:pt x="779" y="379"/>
                </a:cubicBezTo>
                <a:cubicBezTo>
                  <a:pt x="779" y="379"/>
                  <a:pt x="779" y="379"/>
                  <a:pt x="779" y="379"/>
                </a:cubicBezTo>
                <a:cubicBezTo>
                  <a:pt x="779" y="378"/>
                  <a:pt x="779" y="378"/>
                  <a:pt x="778" y="377"/>
                </a:cubicBezTo>
                <a:cubicBezTo>
                  <a:pt x="778" y="377"/>
                  <a:pt x="779" y="377"/>
                  <a:pt x="778" y="376"/>
                </a:cubicBezTo>
                <a:cubicBezTo>
                  <a:pt x="778" y="376"/>
                  <a:pt x="778" y="376"/>
                  <a:pt x="778" y="376"/>
                </a:cubicBezTo>
                <a:cubicBezTo>
                  <a:pt x="778" y="376"/>
                  <a:pt x="778" y="376"/>
                  <a:pt x="778" y="376"/>
                </a:cubicBezTo>
                <a:cubicBezTo>
                  <a:pt x="777" y="376"/>
                  <a:pt x="777" y="375"/>
                  <a:pt x="776" y="376"/>
                </a:cubicBezTo>
                <a:cubicBezTo>
                  <a:pt x="776" y="375"/>
                  <a:pt x="775" y="374"/>
                  <a:pt x="775" y="375"/>
                </a:cubicBezTo>
                <a:cubicBezTo>
                  <a:pt x="775" y="374"/>
                  <a:pt x="775" y="374"/>
                  <a:pt x="775" y="374"/>
                </a:cubicBezTo>
                <a:cubicBezTo>
                  <a:pt x="774" y="375"/>
                  <a:pt x="774" y="374"/>
                  <a:pt x="774" y="374"/>
                </a:cubicBezTo>
                <a:cubicBezTo>
                  <a:pt x="773" y="373"/>
                  <a:pt x="774" y="373"/>
                  <a:pt x="773" y="373"/>
                </a:cubicBezTo>
                <a:cubicBezTo>
                  <a:pt x="773" y="373"/>
                  <a:pt x="772" y="373"/>
                  <a:pt x="772" y="372"/>
                </a:cubicBezTo>
                <a:cubicBezTo>
                  <a:pt x="772" y="372"/>
                  <a:pt x="773" y="373"/>
                  <a:pt x="773" y="372"/>
                </a:cubicBezTo>
                <a:cubicBezTo>
                  <a:pt x="772" y="372"/>
                  <a:pt x="772" y="371"/>
                  <a:pt x="772" y="371"/>
                </a:cubicBezTo>
                <a:cubicBezTo>
                  <a:pt x="771" y="371"/>
                  <a:pt x="771" y="371"/>
                  <a:pt x="770" y="371"/>
                </a:cubicBezTo>
                <a:cubicBezTo>
                  <a:pt x="770" y="370"/>
                  <a:pt x="768" y="371"/>
                  <a:pt x="767" y="369"/>
                </a:cubicBezTo>
                <a:cubicBezTo>
                  <a:pt x="767" y="369"/>
                  <a:pt x="767" y="369"/>
                  <a:pt x="767" y="369"/>
                </a:cubicBezTo>
                <a:cubicBezTo>
                  <a:pt x="766" y="368"/>
                  <a:pt x="767" y="368"/>
                  <a:pt x="766" y="367"/>
                </a:cubicBezTo>
                <a:cubicBezTo>
                  <a:pt x="766" y="367"/>
                  <a:pt x="766" y="368"/>
                  <a:pt x="766" y="368"/>
                </a:cubicBezTo>
                <a:cubicBezTo>
                  <a:pt x="765" y="368"/>
                  <a:pt x="765" y="367"/>
                  <a:pt x="764" y="367"/>
                </a:cubicBezTo>
                <a:cubicBezTo>
                  <a:pt x="764" y="366"/>
                  <a:pt x="764" y="367"/>
                  <a:pt x="764" y="367"/>
                </a:cubicBezTo>
                <a:cubicBezTo>
                  <a:pt x="764" y="366"/>
                  <a:pt x="763" y="365"/>
                  <a:pt x="762" y="366"/>
                </a:cubicBezTo>
                <a:cubicBezTo>
                  <a:pt x="762" y="365"/>
                  <a:pt x="762" y="365"/>
                  <a:pt x="761" y="365"/>
                </a:cubicBezTo>
                <a:cubicBezTo>
                  <a:pt x="761" y="364"/>
                  <a:pt x="761" y="364"/>
                  <a:pt x="761" y="364"/>
                </a:cubicBezTo>
                <a:cubicBezTo>
                  <a:pt x="760" y="364"/>
                  <a:pt x="761" y="363"/>
                  <a:pt x="760" y="364"/>
                </a:cubicBezTo>
                <a:cubicBezTo>
                  <a:pt x="760" y="364"/>
                  <a:pt x="760" y="364"/>
                  <a:pt x="760" y="364"/>
                </a:cubicBezTo>
                <a:cubicBezTo>
                  <a:pt x="760" y="364"/>
                  <a:pt x="760" y="364"/>
                  <a:pt x="760" y="363"/>
                </a:cubicBezTo>
                <a:cubicBezTo>
                  <a:pt x="760" y="363"/>
                  <a:pt x="760" y="363"/>
                  <a:pt x="760" y="363"/>
                </a:cubicBezTo>
                <a:cubicBezTo>
                  <a:pt x="760" y="363"/>
                  <a:pt x="760" y="363"/>
                  <a:pt x="759" y="363"/>
                </a:cubicBezTo>
                <a:cubicBezTo>
                  <a:pt x="759" y="363"/>
                  <a:pt x="760" y="363"/>
                  <a:pt x="760" y="363"/>
                </a:cubicBezTo>
                <a:cubicBezTo>
                  <a:pt x="759" y="363"/>
                  <a:pt x="759" y="363"/>
                  <a:pt x="759" y="364"/>
                </a:cubicBezTo>
                <a:cubicBezTo>
                  <a:pt x="759" y="363"/>
                  <a:pt x="759" y="364"/>
                  <a:pt x="759" y="363"/>
                </a:cubicBezTo>
                <a:cubicBezTo>
                  <a:pt x="759" y="363"/>
                  <a:pt x="759" y="363"/>
                  <a:pt x="759" y="363"/>
                </a:cubicBezTo>
                <a:cubicBezTo>
                  <a:pt x="759" y="363"/>
                  <a:pt x="759" y="363"/>
                  <a:pt x="759" y="363"/>
                </a:cubicBezTo>
                <a:cubicBezTo>
                  <a:pt x="759" y="362"/>
                  <a:pt x="759" y="362"/>
                  <a:pt x="758" y="362"/>
                </a:cubicBezTo>
                <a:cubicBezTo>
                  <a:pt x="758" y="363"/>
                  <a:pt x="759" y="362"/>
                  <a:pt x="759" y="363"/>
                </a:cubicBezTo>
                <a:cubicBezTo>
                  <a:pt x="758" y="363"/>
                  <a:pt x="758" y="362"/>
                  <a:pt x="757" y="363"/>
                </a:cubicBezTo>
                <a:cubicBezTo>
                  <a:pt x="758" y="363"/>
                  <a:pt x="757" y="363"/>
                  <a:pt x="758" y="362"/>
                </a:cubicBezTo>
                <a:cubicBezTo>
                  <a:pt x="758" y="362"/>
                  <a:pt x="758" y="362"/>
                  <a:pt x="758" y="362"/>
                </a:cubicBezTo>
                <a:cubicBezTo>
                  <a:pt x="758" y="362"/>
                  <a:pt x="758" y="361"/>
                  <a:pt x="757" y="361"/>
                </a:cubicBezTo>
                <a:cubicBezTo>
                  <a:pt x="758" y="361"/>
                  <a:pt x="758" y="362"/>
                  <a:pt x="757" y="362"/>
                </a:cubicBezTo>
                <a:cubicBezTo>
                  <a:pt x="757" y="362"/>
                  <a:pt x="757" y="362"/>
                  <a:pt x="756" y="362"/>
                </a:cubicBezTo>
                <a:cubicBezTo>
                  <a:pt x="756" y="361"/>
                  <a:pt x="755" y="362"/>
                  <a:pt x="755" y="361"/>
                </a:cubicBezTo>
                <a:cubicBezTo>
                  <a:pt x="755" y="361"/>
                  <a:pt x="755" y="361"/>
                  <a:pt x="754" y="361"/>
                </a:cubicBezTo>
                <a:cubicBezTo>
                  <a:pt x="755" y="360"/>
                  <a:pt x="754" y="361"/>
                  <a:pt x="754" y="360"/>
                </a:cubicBezTo>
                <a:cubicBezTo>
                  <a:pt x="754" y="360"/>
                  <a:pt x="754" y="360"/>
                  <a:pt x="755" y="360"/>
                </a:cubicBezTo>
                <a:cubicBezTo>
                  <a:pt x="754" y="359"/>
                  <a:pt x="755" y="360"/>
                  <a:pt x="755" y="360"/>
                </a:cubicBezTo>
                <a:cubicBezTo>
                  <a:pt x="755" y="359"/>
                  <a:pt x="755" y="359"/>
                  <a:pt x="755" y="359"/>
                </a:cubicBezTo>
                <a:cubicBezTo>
                  <a:pt x="754" y="360"/>
                  <a:pt x="754" y="359"/>
                  <a:pt x="753" y="360"/>
                </a:cubicBezTo>
                <a:cubicBezTo>
                  <a:pt x="753" y="359"/>
                  <a:pt x="753" y="359"/>
                  <a:pt x="754" y="359"/>
                </a:cubicBezTo>
                <a:cubicBezTo>
                  <a:pt x="754" y="359"/>
                  <a:pt x="754" y="359"/>
                  <a:pt x="754" y="359"/>
                </a:cubicBezTo>
                <a:cubicBezTo>
                  <a:pt x="754" y="359"/>
                  <a:pt x="753" y="359"/>
                  <a:pt x="753" y="358"/>
                </a:cubicBezTo>
                <a:cubicBezTo>
                  <a:pt x="753" y="358"/>
                  <a:pt x="752" y="358"/>
                  <a:pt x="752" y="357"/>
                </a:cubicBezTo>
                <a:cubicBezTo>
                  <a:pt x="752" y="357"/>
                  <a:pt x="751" y="358"/>
                  <a:pt x="751" y="357"/>
                </a:cubicBezTo>
                <a:cubicBezTo>
                  <a:pt x="751" y="357"/>
                  <a:pt x="751" y="357"/>
                  <a:pt x="752" y="357"/>
                </a:cubicBezTo>
                <a:cubicBezTo>
                  <a:pt x="751" y="357"/>
                  <a:pt x="750" y="356"/>
                  <a:pt x="750" y="356"/>
                </a:cubicBezTo>
                <a:cubicBezTo>
                  <a:pt x="749" y="357"/>
                  <a:pt x="750" y="356"/>
                  <a:pt x="750" y="356"/>
                </a:cubicBezTo>
                <a:cubicBezTo>
                  <a:pt x="749" y="357"/>
                  <a:pt x="749" y="357"/>
                  <a:pt x="749" y="357"/>
                </a:cubicBezTo>
                <a:cubicBezTo>
                  <a:pt x="749" y="356"/>
                  <a:pt x="749" y="356"/>
                  <a:pt x="749" y="356"/>
                </a:cubicBezTo>
                <a:cubicBezTo>
                  <a:pt x="748" y="356"/>
                  <a:pt x="748" y="356"/>
                  <a:pt x="747" y="356"/>
                </a:cubicBezTo>
                <a:cubicBezTo>
                  <a:pt x="747" y="355"/>
                  <a:pt x="748" y="355"/>
                  <a:pt x="747" y="355"/>
                </a:cubicBezTo>
                <a:cubicBezTo>
                  <a:pt x="747" y="355"/>
                  <a:pt x="748" y="356"/>
                  <a:pt x="747" y="356"/>
                </a:cubicBezTo>
                <a:cubicBezTo>
                  <a:pt x="747" y="356"/>
                  <a:pt x="747" y="354"/>
                  <a:pt x="746" y="354"/>
                </a:cubicBezTo>
                <a:cubicBezTo>
                  <a:pt x="746" y="355"/>
                  <a:pt x="746" y="355"/>
                  <a:pt x="746" y="355"/>
                </a:cubicBezTo>
                <a:cubicBezTo>
                  <a:pt x="746" y="354"/>
                  <a:pt x="746" y="354"/>
                  <a:pt x="746" y="354"/>
                </a:cubicBezTo>
                <a:cubicBezTo>
                  <a:pt x="745" y="354"/>
                  <a:pt x="745" y="354"/>
                  <a:pt x="745" y="354"/>
                </a:cubicBezTo>
                <a:cubicBezTo>
                  <a:pt x="745" y="354"/>
                  <a:pt x="745" y="354"/>
                  <a:pt x="745" y="354"/>
                </a:cubicBezTo>
                <a:cubicBezTo>
                  <a:pt x="744" y="354"/>
                  <a:pt x="745" y="354"/>
                  <a:pt x="745" y="354"/>
                </a:cubicBezTo>
                <a:cubicBezTo>
                  <a:pt x="744" y="354"/>
                  <a:pt x="744" y="354"/>
                  <a:pt x="744" y="353"/>
                </a:cubicBezTo>
                <a:cubicBezTo>
                  <a:pt x="743" y="353"/>
                  <a:pt x="743" y="354"/>
                  <a:pt x="743" y="354"/>
                </a:cubicBezTo>
                <a:cubicBezTo>
                  <a:pt x="743" y="353"/>
                  <a:pt x="743" y="353"/>
                  <a:pt x="742" y="353"/>
                </a:cubicBezTo>
                <a:cubicBezTo>
                  <a:pt x="743" y="353"/>
                  <a:pt x="743" y="353"/>
                  <a:pt x="743" y="353"/>
                </a:cubicBezTo>
                <a:cubicBezTo>
                  <a:pt x="742" y="352"/>
                  <a:pt x="741" y="352"/>
                  <a:pt x="739" y="351"/>
                </a:cubicBezTo>
                <a:cubicBezTo>
                  <a:pt x="739" y="351"/>
                  <a:pt x="739" y="351"/>
                  <a:pt x="739" y="351"/>
                </a:cubicBezTo>
                <a:cubicBezTo>
                  <a:pt x="739" y="351"/>
                  <a:pt x="739" y="351"/>
                  <a:pt x="739" y="351"/>
                </a:cubicBezTo>
                <a:cubicBezTo>
                  <a:pt x="739" y="351"/>
                  <a:pt x="739" y="351"/>
                  <a:pt x="739" y="350"/>
                </a:cubicBezTo>
                <a:cubicBezTo>
                  <a:pt x="739" y="350"/>
                  <a:pt x="739" y="350"/>
                  <a:pt x="738" y="350"/>
                </a:cubicBezTo>
                <a:cubicBezTo>
                  <a:pt x="738" y="350"/>
                  <a:pt x="738" y="350"/>
                  <a:pt x="738" y="349"/>
                </a:cubicBezTo>
                <a:cubicBezTo>
                  <a:pt x="737" y="350"/>
                  <a:pt x="737" y="349"/>
                  <a:pt x="737" y="349"/>
                </a:cubicBezTo>
                <a:cubicBezTo>
                  <a:pt x="737" y="349"/>
                  <a:pt x="737" y="349"/>
                  <a:pt x="737" y="349"/>
                </a:cubicBezTo>
                <a:cubicBezTo>
                  <a:pt x="737" y="349"/>
                  <a:pt x="737" y="349"/>
                  <a:pt x="737" y="350"/>
                </a:cubicBezTo>
                <a:cubicBezTo>
                  <a:pt x="737" y="350"/>
                  <a:pt x="736" y="350"/>
                  <a:pt x="736" y="350"/>
                </a:cubicBezTo>
                <a:cubicBezTo>
                  <a:pt x="736" y="349"/>
                  <a:pt x="736" y="350"/>
                  <a:pt x="736" y="349"/>
                </a:cubicBezTo>
                <a:cubicBezTo>
                  <a:pt x="735" y="349"/>
                  <a:pt x="733" y="349"/>
                  <a:pt x="732" y="348"/>
                </a:cubicBezTo>
                <a:cubicBezTo>
                  <a:pt x="732" y="349"/>
                  <a:pt x="732" y="348"/>
                  <a:pt x="732" y="348"/>
                </a:cubicBezTo>
                <a:cubicBezTo>
                  <a:pt x="732" y="347"/>
                  <a:pt x="733" y="348"/>
                  <a:pt x="733" y="348"/>
                </a:cubicBezTo>
                <a:cubicBezTo>
                  <a:pt x="732" y="347"/>
                  <a:pt x="732" y="347"/>
                  <a:pt x="731" y="347"/>
                </a:cubicBezTo>
                <a:cubicBezTo>
                  <a:pt x="731" y="346"/>
                  <a:pt x="731" y="346"/>
                  <a:pt x="731" y="347"/>
                </a:cubicBezTo>
                <a:cubicBezTo>
                  <a:pt x="731" y="346"/>
                  <a:pt x="732" y="347"/>
                  <a:pt x="732" y="346"/>
                </a:cubicBezTo>
                <a:cubicBezTo>
                  <a:pt x="732" y="346"/>
                  <a:pt x="731" y="346"/>
                  <a:pt x="730" y="346"/>
                </a:cubicBezTo>
                <a:cubicBezTo>
                  <a:pt x="730" y="346"/>
                  <a:pt x="730" y="346"/>
                  <a:pt x="730" y="346"/>
                </a:cubicBezTo>
                <a:cubicBezTo>
                  <a:pt x="729" y="346"/>
                  <a:pt x="728" y="345"/>
                  <a:pt x="726" y="346"/>
                </a:cubicBezTo>
                <a:cubicBezTo>
                  <a:pt x="726" y="346"/>
                  <a:pt x="727" y="345"/>
                  <a:pt x="727" y="345"/>
                </a:cubicBezTo>
                <a:cubicBezTo>
                  <a:pt x="727" y="345"/>
                  <a:pt x="727" y="346"/>
                  <a:pt x="727" y="346"/>
                </a:cubicBezTo>
                <a:cubicBezTo>
                  <a:pt x="727" y="346"/>
                  <a:pt x="727" y="346"/>
                  <a:pt x="727" y="345"/>
                </a:cubicBezTo>
                <a:cubicBezTo>
                  <a:pt x="727" y="345"/>
                  <a:pt x="727" y="345"/>
                  <a:pt x="727" y="345"/>
                </a:cubicBezTo>
                <a:cubicBezTo>
                  <a:pt x="726" y="345"/>
                  <a:pt x="726" y="345"/>
                  <a:pt x="726" y="345"/>
                </a:cubicBezTo>
                <a:cubicBezTo>
                  <a:pt x="726" y="345"/>
                  <a:pt x="726" y="345"/>
                  <a:pt x="726" y="345"/>
                </a:cubicBezTo>
                <a:cubicBezTo>
                  <a:pt x="726" y="345"/>
                  <a:pt x="726" y="345"/>
                  <a:pt x="726" y="345"/>
                </a:cubicBezTo>
                <a:cubicBezTo>
                  <a:pt x="726" y="345"/>
                  <a:pt x="726" y="345"/>
                  <a:pt x="726" y="345"/>
                </a:cubicBezTo>
                <a:cubicBezTo>
                  <a:pt x="726" y="345"/>
                  <a:pt x="726" y="346"/>
                  <a:pt x="726" y="346"/>
                </a:cubicBezTo>
                <a:cubicBezTo>
                  <a:pt x="726" y="346"/>
                  <a:pt x="727" y="346"/>
                  <a:pt x="726" y="346"/>
                </a:cubicBezTo>
                <a:cubicBezTo>
                  <a:pt x="726" y="346"/>
                  <a:pt x="726" y="346"/>
                  <a:pt x="726" y="346"/>
                </a:cubicBezTo>
                <a:cubicBezTo>
                  <a:pt x="725" y="345"/>
                  <a:pt x="725" y="346"/>
                  <a:pt x="724" y="346"/>
                </a:cubicBezTo>
                <a:cubicBezTo>
                  <a:pt x="725" y="345"/>
                  <a:pt x="726" y="345"/>
                  <a:pt x="726" y="344"/>
                </a:cubicBezTo>
                <a:cubicBezTo>
                  <a:pt x="725" y="344"/>
                  <a:pt x="724" y="344"/>
                  <a:pt x="724" y="344"/>
                </a:cubicBezTo>
                <a:cubicBezTo>
                  <a:pt x="724" y="343"/>
                  <a:pt x="724" y="344"/>
                  <a:pt x="723" y="343"/>
                </a:cubicBezTo>
                <a:cubicBezTo>
                  <a:pt x="723" y="344"/>
                  <a:pt x="722" y="344"/>
                  <a:pt x="722" y="343"/>
                </a:cubicBezTo>
                <a:cubicBezTo>
                  <a:pt x="722" y="343"/>
                  <a:pt x="723" y="343"/>
                  <a:pt x="723" y="343"/>
                </a:cubicBezTo>
                <a:cubicBezTo>
                  <a:pt x="723" y="343"/>
                  <a:pt x="722" y="343"/>
                  <a:pt x="722" y="343"/>
                </a:cubicBezTo>
                <a:cubicBezTo>
                  <a:pt x="722" y="343"/>
                  <a:pt x="722" y="343"/>
                  <a:pt x="722" y="343"/>
                </a:cubicBezTo>
                <a:cubicBezTo>
                  <a:pt x="721" y="343"/>
                  <a:pt x="721" y="343"/>
                  <a:pt x="721" y="343"/>
                </a:cubicBezTo>
                <a:cubicBezTo>
                  <a:pt x="721" y="342"/>
                  <a:pt x="719" y="344"/>
                  <a:pt x="719" y="342"/>
                </a:cubicBezTo>
                <a:cubicBezTo>
                  <a:pt x="719" y="342"/>
                  <a:pt x="719" y="342"/>
                  <a:pt x="718" y="342"/>
                </a:cubicBezTo>
                <a:cubicBezTo>
                  <a:pt x="719" y="342"/>
                  <a:pt x="719" y="341"/>
                  <a:pt x="720" y="341"/>
                </a:cubicBezTo>
                <a:cubicBezTo>
                  <a:pt x="719" y="340"/>
                  <a:pt x="718" y="340"/>
                  <a:pt x="717" y="341"/>
                </a:cubicBezTo>
                <a:cubicBezTo>
                  <a:pt x="716" y="340"/>
                  <a:pt x="715" y="340"/>
                  <a:pt x="714" y="340"/>
                </a:cubicBezTo>
                <a:cubicBezTo>
                  <a:pt x="714" y="342"/>
                  <a:pt x="717" y="340"/>
                  <a:pt x="717" y="341"/>
                </a:cubicBezTo>
                <a:cubicBezTo>
                  <a:pt x="717" y="341"/>
                  <a:pt x="717" y="341"/>
                  <a:pt x="717" y="341"/>
                </a:cubicBezTo>
                <a:cubicBezTo>
                  <a:pt x="717" y="341"/>
                  <a:pt x="717" y="341"/>
                  <a:pt x="717" y="342"/>
                </a:cubicBezTo>
                <a:cubicBezTo>
                  <a:pt x="718" y="342"/>
                  <a:pt x="719" y="341"/>
                  <a:pt x="719" y="341"/>
                </a:cubicBezTo>
                <a:cubicBezTo>
                  <a:pt x="719" y="342"/>
                  <a:pt x="717" y="342"/>
                  <a:pt x="716" y="342"/>
                </a:cubicBezTo>
                <a:cubicBezTo>
                  <a:pt x="717" y="342"/>
                  <a:pt x="717" y="342"/>
                  <a:pt x="717" y="342"/>
                </a:cubicBezTo>
                <a:cubicBezTo>
                  <a:pt x="716" y="342"/>
                  <a:pt x="716" y="342"/>
                  <a:pt x="715" y="342"/>
                </a:cubicBezTo>
                <a:cubicBezTo>
                  <a:pt x="715" y="342"/>
                  <a:pt x="714" y="342"/>
                  <a:pt x="714" y="341"/>
                </a:cubicBezTo>
                <a:cubicBezTo>
                  <a:pt x="713" y="342"/>
                  <a:pt x="713" y="341"/>
                  <a:pt x="712" y="342"/>
                </a:cubicBezTo>
                <a:cubicBezTo>
                  <a:pt x="712" y="341"/>
                  <a:pt x="713" y="342"/>
                  <a:pt x="713" y="341"/>
                </a:cubicBezTo>
                <a:cubicBezTo>
                  <a:pt x="712" y="341"/>
                  <a:pt x="712" y="341"/>
                  <a:pt x="713" y="340"/>
                </a:cubicBezTo>
                <a:cubicBezTo>
                  <a:pt x="711" y="341"/>
                  <a:pt x="711" y="341"/>
                  <a:pt x="711" y="341"/>
                </a:cubicBezTo>
                <a:cubicBezTo>
                  <a:pt x="711" y="340"/>
                  <a:pt x="711" y="340"/>
                  <a:pt x="711" y="340"/>
                </a:cubicBezTo>
                <a:cubicBezTo>
                  <a:pt x="711" y="341"/>
                  <a:pt x="711" y="341"/>
                  <a:pt x="711" y="341"/>
                </a:cubicBezTo>
                <a:cubicBezTo>
                  <a:pt x="711" y="341"/>
                  <a:pt x="710" y="341"/>
                  <a:pt x="710" y="341"/>
                </a:cubicBezTo>
                <a:cubicBezTo>
                  <a:pt x="710" y="341"/>
                  <a:pt x="710" y="341"/>
                  <a:pt x="710" y="341"/>
                </a:cubicBezTo>
                <a:cubicBezTo>
                  <a:pt x="710" y="341"/>
                  <a:pt x="710" y="340"/>
                  <a:pt x="710" y="340"/>
                </a:cubicBezTo>
                <a:cubicBezTo>
                  <a:pt x="708" y="341"/>
                  <a:pt x="708" y="341"/>
                  <a:pt x="708" y="341"/>
                </a:cubicBezTo>
                <a:cubicBezTo>
                  <a:pt x="709" y="340"/>
                  <a:pt x="707" y="341"/>
                  <a:pt x="707" y="340"/>
                </a:cubicBezTo>
                <a:cubicBezTo>
                  <a:pt x="708" y="340"/>
                  <a:pt x="708" y="340"/>
                  <a:pt x="708" y="340"/>
                </a:cubicBezTo>
                <a:cubicBezTo>
                  <a:pt x="708" y="340"/>
                  <a:pt x="708" y="340"/>
                  <a:pt x="709" y="340"/>
                </a:cubicBezTo>
                <a:cubicBezTo>
                  <a:pt x="709" y="340"/>
                  <a:pt x="709" y="340"/>
                  <a:pt x="709" y="340"/>
                </a:cubicBezTo>
                <a:cubicBezTo>
                  <a:pt x="708" y="340"/>
                  <a:pt x="708" y="340"/>
                  <a:pt x="708" y="340"/>
                </a:cubicBezTo>
                <a:cubicBezTo>
                  <a:pt x="708" y="339"/>
                  <a:pt x="708" y="340"/>
                  <a:pt x="707" y="339"/>
                </a:cubicBezTo>
                <a:cubicBezTo>
                  <a:pt x="708" y="339"/>
                  <a:pt x="709" y="340"/>
                  <a:pt x="710" y="338"/>
                </a:cubicBezTo>
                <a:cubicBezTo>
                  <a:pt x="709" y="338"/>
                  <a:pt x="707" y="339"/>
                  <a:pt x="708" y="337"/>
                </a:cubicBezTo>
                <a:cubicBezTo>
                  <a:pt x="708" y="337"/>
                  <a:pt x="708" y="337"/>
                  <a:pt x="707" y="337"/>
                </a:cubicBezTo>
                <a:cubicBezTo>
                  <a:pt x="707" y="338"/>
                  <a:pt x="707" y="338"/>
                  <a:pt x="707" y="338"/>
                </a:cubicBezTo>
                <a:cubicBezTo>
                  <a:pt x="706" y="337"/>
                  <a:pt x="705" y="337"/>
                  <a:pt x="704" y="336"/>
                </a:cubicBezTo>
                <a:cubicBezTo>
                  <a:pt x="704" y="336"/>
                  <a:pt x="704" y="337"/>
                  <a:pt x="704" y="337"/>
                </a:cubicBezTo>
                <a:cubicBezTo>
                  <a:pt x="704" y="336"/>
                  <a:pt x="703" y="337"/>
                  <a:pt x="703" y="336"/>
                </a:cubicBezTo>
                <a:cubicBezTo>
                  <a:pt x="704" y="336"/>
                  <a:pt x="704" y="336"/>
                  <a:pt x="704" y="336"/>
                </a:cubicBezTo>
                <a:cubicBezTo>
                  <a:pt x="703" y="336"/>
                  <a:pt x="703" y="335"/>
                  <a:pt x="703" y="335"/>
                </a:cubicBezTo>
                <a:cubicBezTo>
                  <a:pt x="702" y="335"/>
                  <a:pt x="703" y="335"/>
                  <a:pt x="703" y="334"/>
                </a:cubicBezTo>
                <a:cubicBezTo>
                  <a:pt x="703" y="335"/>
                  <a:pt x="702" y="335"/>
                  <a:pt x="702" y="335"/>
                </a:cubicBezTo>
                <a:cubicBezTo>
                  <a:pt x="702" y="334"/>
                  <a:pt x="702" y="334"/>
                  <a:pt x="702" y="334"/>
                </a:cubicBezTo>
                <a:cubicBezTo>
                  <a:pt x="702" y="334"/>
                  <a:pt x="702" y="334"/>
                  <a:pt x="702" y="334"/>
                </a:cubicBezTo>
                <a:cubicBezTo>
                  <a:pt x="702" y="334"/>
                  <a:pt x="702" y="333"/>
                  <a:pt x="702" y="333"/>
                </a:cubicBezTo>
                <a:cubicBezTo>
                  <a:pt x="702" y="333"/>
                  <a:pt x="701" y="333"/>
                  <a:pt x="701" y="333"/>
                </a:cubicBezTo>
                <a:cubicBezTo>
                  <a:pt x="701" y="332"/>
                  <a:pt x="701" y="332"/>
                  <a:pt x="701" y="332"/>
                </a:cubicBezTo>
                <a:cubicBezTo>
                  <a:pt x="701" y="332"/>
                  <a:pt x="701" y="332"/>
                  <a:pt x="702" y="332"/>
                </a:cubicBezTo>
                <a:cubicBezTo>
                  <a:pt x="701" y="333"/>
                  <a:pt x="702" y="333"/>
                  <a:pt x="702" y="333"/>
                </a:cubicBezTo>
                <a:cubicBezTo>
                  <a:pt x="702" y="332"/>
                  <a:pt x="701" y="332"/>
                  <a:pt x="701" y="332"/>
                </a:cubicBezTo>
                <a:cubicBezTo>
                  <a:pt x="701" y="332"/>
                  <a:pt x="700" y="332"/>
                  <a:pt x="701" y="331"/>
                </a:cubicBezTo>
                <a:cubicBezTo>
                  <a:pt x="700" y="332"/>
                  <a:pt x="700" y="332"/>
                  <a:pt x="700" y="331"/>
                </a:cubicBezTo>
                <a:cubicBezTo>
                  <a:pt x="701" y="331"/>
                  <a:pt x="701" y="331"/>
                  <a:pt x="701" y="330"/>
                </a:cubicBezTo>
                <a:cubicBezTo>
                  <a:pt x="701" y="330"/>
                  <a:pt x="701" y="331"/>
                  <a:pt x="702" y="331"/>
                </a:cubicBezTo>
                <a:cubicBezTo>
                  <a:pt x="702" y="330"/>
                  <a:pt x="702" y="330"/>
                  <a:pt x="702" y="330"/>
                </a:cubicBezTo>
                <a:cubicBezTo>
                  <a:pt x="701" y="330"/>
                  <a:pt x="701" y="330"/>
                  <a:pt x="700" y="330"/>
                </a:cubicBezTo>
                <a:cubicBezTo>
                  <a:pt x="700" y="330"/>
                  <a:pt x="700" y="331"/>
                  <a:pt x="699" y="330"/>
                </a:cubicBezTo>
                <a:cubicBezTo>
                  <a:pt x="700" y="330"/>
                  <a:pt x="700" y="330"/>
                  <a:pt x="700" y="330"/>
                </a:cubicBezTo>
                <a:cubicBezTo>
                  <a:pt x="700" y="330"/>
                  <a:pt x="700" y="329"/>
                  <a:pt x="700" y="329"/>
                </a:cubicBezTo>
                <a:cubicBezTo>
                  <a:pt x="700" y="329"/>
                  <a:pt x="700" y="330"/>
                  <a:pt x="699" y="330"/>
                </a:cubicBezTo>
                <a:cubicBezTo>
                  <a:pt x="700" y="330"/>
                  <a:pt x="700" y="329"/>
                  <a:pt x="700" y="329"/>
                </a:cubicBezTo>
                <a:cubicBezTo>
                  <a:pt x="699" y="329"/>
                  <a:pt x="699" y="330"/>
                  <a:pt x="699" y="330"/>
                </a:cubicBezTo>
                <a:cubicBezTo>
                  <a:pt x="699" y="329"/>
                  <a:pt x="699" y="329"/>
                  <a:pt x="699" y="329"/>
                </a:cubicBezTo>
                <a:cubicBezTo>
                  <a:pt x="699" y="329"/>
                  <a:pt x="698" y="330"/>
                  <a:pt x="698" y="330"/>
                </a:cubicBezTo>
                <a:cubicBezTo>
                  <a:pt x="698" y="329"/>
                  <a:pt x="698" y="329"/>
                  <a:pt x="698" y="329"/>
                </a:cubicBezTo>
                <a:cubicBezTo>
                  <a:pt x="698" y="329"/>
                  <a:pt x="699" y="328"/>
                  <a:pt x="698" y="329"/>
                </a:cubicBezTo>
                <a:cubicBezTo>
                  <a:pt x="698" y="329"/>
                  <a:pt x="697" y="329"/>
                  <a:pt x="697" y="329"/>
                </a:cubicBezTo>
                <a:cubicBezTo>
                  <a:pt x="696" y="329"/>
                  <a:pt x="696" y="329"/>
                  <a:pt x="696" y="330"/>
                </a:cubicBezTo>
                <a:cubicBezTo>
                  <a:pt x="696" y="329"/>
                  <a:pt x="696" y="329"/>
                  <a:pt x="696" y="330"/>
                </a:cubicBezTo>
                <a:cubicBezTo>
                  <a:pt x="696" y="329"/>
                  <a:pt x="695" y="329"/>
                  <a:pt x="695" y="329"/>
                </a:cubicBezTo>
                <a:cubicBezTo>
                  <a:pt x="696" y="329"/>
                  <a:pt x="697" y="329"/>
                  <a:pt x="697" y="329"/>
                </a:cubicBezTo>
                <a:cubicBezTo>
                  <a:pt x="697" y="329"/>
                  <a:pt x="697" y="329"/>
                  <a:pt x="697" y="328"/>
                </a:cubicBezTo>
                <a:cubicBezTo>
                  <a:pt x="696" y="328"/>
                  <a:pt x="695" y="328"/>
                  <a:pt x="693" y="328"/>
                </a:cubicBezTo>
                <a:cubicBezTo>
                  <a:pt x="693" y="328"/>
                  <a:pt x="693" y="328"/>
                  <a:pt x="693" y="327"/>
                </a:cubicBezTo>
                <a:cubicBezTo>
                  <a:pt x="694" y="327"/>
                  <a:pt x="695" y="327"/>
                  <a:pt x="696" y="326"/>
                </a:cubicBezTo>
                <a:cubicBezTo>
                  <a:pt x="696" y="326"/>
                  <a:pt x="696" y="326"/>
                  <a:pt x="696" y="326"/>
                </a:cubicBezTo>
                <a:cubicBezTo>
                  <a:pt x="694" y="326"/>
                  <a:pt x="693" y="327"/>
                  <a:pt x="693" y="326"/>
                </a:cubicBezTo>
                <a:cubicBezTo>
                  <a:pt x="692" y="326"/>
                  <a:pt x="691" y="326"/>
                  <a:pt x="691" y="325"/>
                </a:cubicBezTo>
                <a:cubicBezTo>
                  <a:pt x="690" y="325"/>
                  <a:pt x="690" y="325"/>
                  <a:pt x="690" y="325"/>
                </a:cubicBezTo>
                <a:cubicBezTo>
                  <a:pt x="690" y="325"/>
                  <a:pt x="691" y="325"/>
                  <a:pt x="691" y="324"/>
                </a:cubicBezTo>
                <a:cubicBezTo>
                  <a:pt x="690" y="324"/>
                  <a:pt x="690" y="324"/>
                  <a:pt x="690" y="324"/>
                </a:cubicBezTo>
                <a:cubicBezTo>
                  <a:pt x="690" y="324"/>
                  <a:pt x="690" y="324"/>
                  <a:pt x="690" y="324"/>
                </a:cubicBezTo>
                <a:cubicBezTo>
                  <a:pt x="690" y="324"/>
                  <a:pt x="690" y="324"/>
                  <a:pt x="690" y="324"/>
                </a:cubicBezTo>
                <a:cubicBezTo>
                  <a:pt x="690" y="325"/>
                  <a:pt x="689" y="324"/>
                  <a:pt x="689" y="324"/>
                </a:cubicBezTo>
                <a:cubicBezTo>
                  <a:pt x="689" y="323"/>
                  <a:pt x="688" y="323"/>
                  <a:pt x="688" y="322"/>
                </a:cubicBezTo>
                <a:cubicBezTo>
                  <a:pt x="688" y="321"/>
                  <a:pt x="688" y="321"/>
                  <a:pt x="688" y="320"/>
                </a:cubicBezTo>
                <a:cubicBezTo>
                  <a:pt x="689" y="319"/>
                  <a:pt x="690" y="319"/>
                  <a:pt x="692" y="319"/>
                </a:cubicBezTo>
                <a:cubicBezTo>
                  <a:pt x="692" y="319"/>
                  <a:pt x="692" y="319"/>
                  <a:pt x="691" y="319"/>
                </a:cubicBezTo>
                <a:cubicBezTo>
                  <a:pt x="692" y="320"/>
                  <a:pt x="692" y="319"/>
                  <a:pt x="693" y="320"/>
                </a:cubicBezTo>
                <a:cubicBezTo>
                  <a:pt x="694" y="318"/>
                  <a:pt x="695" y="320"/>
                  <a:pt x="696" y="320"/>
                </a:cubicBezTo>
                <a:cubicBezTo>
                  <a:pt x="697" y="321"/>
                  <a:pt x="698" y="321"/>
                  <a:pt x="699" y="321"/>
                </a:cubicBezTo>
                <a:cubicBezTo>
                  <a:pt x="699" y="320"/>
                  <a:pt x="698" y="321"/>
                  <a:pt x="699" y="320"/>
                </a:cubicBezTo>
                <a:cubicBezTo>
                  <a:pt x="699" y="320"/>
                  <a:pt x="700" y="321"/>
                  <a:pt x="700" y="320"/>
                </a:cubicBezTo>
                <a:cubicBezTo>
                  <a:pt x="701" y="321"/>
                  <a:pt x="702" y="321"/>
                  <a:pt x="702" y="321"/>
                </a:cubicBezTo>
                <a:cubicBezTo>
                  <a:pt x="703" y="321"/>
                  <a:pt x="702" y="321"/>
                  <a:pt x="702" y="321"/>
                </a:cubicBezTo>
                <a:cubicBezTo>
                  <a:pt x="703" y="321"/>
                  <a:pt x="703" y="321"/>
                  <a:pt x="703" y="321"/>
                </a:cubicBezTo>
                <a:cubicBezTo>
                  <a:pt x="703" y="322"/>
                  <a:pt x="703" y="321"/>
                  <a:pt x="703" y="321"/>
                </a:cubicBezTo>
                <a:cubicBezTo>
                  <a:pt x="703" y="322"/>
                  <a:pt x="704" y="322"/>
                  <a:pt x="704" y="321"/>
                </a:cubicBezTo>
                <a:cubicBezTo>
                  <a:pt x="705" y="322"/>
                  <a:pt x="706" y="322"/>
                  <a:pt x="707" y="323"/>
                </a:cubicBezTo>
                <a:cubicBezTo>
                  <a:pt x="707" y="322"/>
                  <a:pt x="708" y="322"/>
                  <a:pt x="709" y="322"/>
                </a:cubicBezTo>
                <a:cubicBezTo>
                  <a:pt x="709" y="322"/>
                  <a:pt x="709" y="321"/>
                  <a:pt x="710" y="321"/>
                </a:cubicBezTo>
                <a:cubicBezTo>
                  <a:pt x="709" y="321"/>
                  <a:pt x="709" y="321"/>
                  <a:pt x="709" y="321"/>
                </a:cubicBezTo>
                <a:cubicBezTo>
                  <a:pt x="709" y="321"/>
                  <a:pt x="709" y="321"/>
                  <a:pt x="708" y="322"/>
                </a:cubicBezTo>
                <a:cubicBezTo>
                  <a:pt x="708" y="321"/>
                  <a:pt x="708" y="321"/>
                  <a:pt x="707" y="321"/>
                </a:cubicBezTo>
                <a:cubicBezTo>
                  <a:pt x="707" y="321"/>
                  <a:pt x="707" y="321"/>
                  <a:pt x="707" y="320"/>
                </a:cubicBezTo>
                <a:cubicBezTo>
                  <a:pt x="707" y="321"/>
                  <a:pt x="707" y="320"/>
                  <a:pt x="706" y="320"/>
                </a:cubicBezTo>
                <a:cubicBezTo>
                  <a:pt x="706" y="320"/>
                  <a:pt x="706" y="321"/>
                  <a:pt x="706" y="321"/>
                </a:cubicBezTo>
                <a:cubicBezTo>
                  <a:pt x="706" y="320"/>
                  <a:pt x="706" y="320"/>
                  <a:pt x="706" y="320"/>
                </a:cubicBezTo>
                <a:cubicBezTo>
                  <a:pt x="706" y="320"/>
                  <a:pt x="707" y="320"/>
                  <a:pt x="708" y="319"/>
                </a:cubicBezTo>
                <a:cubicBezTo>
                  <a:pt x="707" y="319"/>
                  <a:pt x="706" y="320"/>
                  <a:pt x="706" y="319"/>
                </a:cubicBezTo>
                <a:cubicBezTo>
                  <a:pt x="706" y="319"/>
                  <a:pt x="706" y="319"/>
                  <a:pt x="706" y="318"/>
                </a:cubicBezTo>
                <a:cubicBezTo>
                  <a:pt x="706" y="318"/>
                  <a:pt x="705" y="318"/>
                  <a:pt x="705" y="318"/>
                </a:cubicBezTo>
                <a:cubicBezTo>
                  <a:pt x="705" y="318"/>
                  <a:pt x="706" y="317"/>
                  <a:pt x="706" y="317"/>
                </a:cubicBezTo>
                <a:cubicBezTo>
                  <a:pt x="706" y="317"/>
                  <a:pt x="705" y="317"/>
                  <a:pt x="705" y="316"/>
                </a:cubicBezTo>
                <a:cubicBezTo>
                  <a:pt x="705" y="316"/>
                  <a:pt x="705" y="317"/>
                  <a:pt x="705" y="317"/>
                </a:cubicBezTo>
                <a:cubicBezTo>
                  <a:pt x="704" y="316"/>
                  <a:pt x="704" y="316"/>
                  <a:pt x="704" y="315"/>
                </a:cubicBezTo>
                <a:cubicBezTo>
                  <a:pt x="704" y="315"/>
                  <a:pt x="703" y="315"/>
                  <a:pt x="703" y="314"/>
                </a:cubicBezTo>
                <a:cubicBezTo>
                  <a:pt x="705" y="314"/>
                  <a:pt x="707" y="315"/>
                  <a:pt x="709" y="315"/>
                </a:cubicBezTo>
                <a:cubicBezTo>
                  <a:pt x="709" y="316"/>
                  <a:pt x="710" y="316"/>
                  <a:pt x="711" y="315"/>
                </a:cubicBezTo>
                <a:cubicBezTo>
                  <a:pt x="711" y="316"/>
                  <a:pt x="712" y="316"/>
                  <a:pt x="713" y="316"/>
                </a:cubicBezTo>
                <a:cubicBezTo>
                  <a:pt x="712" y="316"/>
                  <a:pt x="712" y="316"/>
                  <a:pt x="711" y="316"/>
                </a:cubicBezTo>
                <a:cubicBezTo>
                  <a:pt x="712" y="316"/>
                  <a:pt x="714" y="315"/>
                  <a:pt x="714" y="316"/>
                </a:cubicBezTo>
                <a:cubicBezTo>
                  <a:pt x="714" y="315"/>
                  <a:pt x="715" y="316"/>
                  <a:pt x="715" y="316"/>
                </a:cubicBezTo>
                <a:cubicBezTo>
                  <a:pt x="715" y="316"/>
                  <a:pt x="714" y="316"/>
                  <a:pt x="714" y="316"/>
                </a:cubicBezTo>
                <a:cubicBezTo>
                  <a:pt x="714" y="316"/>
                  <a:pt x="715" y="316"/>
                  <a:pt x="716" y="316"/>
                </a:cubicBezTo>
                <a:cubicBezTo>
                  <a:pt x="716" y="316"/>
                  <a:pt x="716" y="316"/>
                  <a:pt x="716" y="316"/>
                </a:cubicBezTo>
                <a:cubicBezTo>
                  <a:pt x="716" y="316"/>
                  <a:pt x="717" y="316"/>
                  <a:pt x="716" y="317"/>
                </a:cubicBezTo>
                <a:cubicBezTo>
                  <a:pt x="717" y="317"/>
                  <a:pt x="717" y="317"/>
                  <a:pt x="717" y="317"/>
                </a:cubicBezTo>
                <a:cubicBezTo>
                  <a:pt x="717" y="316"/>
                  <a:pt x="717" y="316"/>
                  <a:pt x="718" y="316"/>
                </a:cubicBezTo>
                <a:cubicBezTo>
                  <a:pt x="718" y="316"/>
                  <a:pt x="717" y="316"/>
                  <a:pt x="717" y="316"/>
                </a:cubicBezTo>
                <a:cubicBezTo>
                  <a:pt x="717" y="316"/>
                  <a:pt x="717" y="316"/>
                  <a:pt x="717" y="316"/>
                </a:cubicBezTo>
                <a:cubicBezTo>
                  <a:pt x="717" y="316"/>
                  <a:pt x="716" y="316"/>
                  <a:pt x="716" y="316"/>
                </a:cubicBezTo>
                <a:cubicBezTo>
                  <a:pt x="717" y="316"/>
                  <a:pt x="717" y="316"/>
                  <a:pt x="717" y="316"/>
                </a:cubicBezTo>
                <a:cubicBezTo>
                  <a:pt x="717" y="315"/>
                  <a:pt x="717" y="315"/>
                  <a:pt x="717" y="315"/>
                </a:cubicBezTo>
                <a:cubicBezTo>
                  <a:pt x="717" y="315"/>
                  <a:pt x="718" y="315"/>
                  <a:pt x="718" y="314"/>
                </a:cubicBezTo>
                <a:cubicBezTo>
                  <a:pt x="717" y="315"/>
                  <a:pt x="715" y="316"/>
                  <a:pt x="716" y="314"/>
                </a:cubicBezTo>
                <a:cubicBezTo>
                  <a:pt x="715" y="314"/>
                  <a:pt x="715" y="314"/>
                  <a:pt x="715" y="314"/>
                </a:cubicBezTo>
                <a:cubicBezTo>
                  <a:pt x="715" y="315"/>
                  <a:pt x="715" y="315"/>
                  <a:pt x="715" y="315"/>
                </a:cubicBezTo>
                <a:cubicBezTo>
                  <a:pt x="715" y="315"/>
                  <a:pt x="715" y="314"/>
                  <a:pt x="714" y="314"/>
                </a:cubicBezTo>
                <a:cubicBezTo>
                  <a:pt x="712" y="314"/>
                  <a:pt x="709" y="313"/>
                  <a:pt x="707" y="312"/>
                </a:cubicBezTo>
                <a:cubicBezTo>
                  <a:pt x="708" y="312"/>
                  <a:pt x="709" y="312"/>
                  <a:pt x="709" y="312"/>
                </a:cubicBezTo>
                <a:cubicBezTo>
                  <a:pt x="709" y="312"/>
                  <a:pt x="708" y="311"/>
                  <a:pt x="708" y="311"/>
                </a:cubicBezTo>
                <a:cubicBezTo>
                  <a:pt x="708" y="311"/>
                  <a:pt x="708" y="310"/>
                  <a:pt x="708" y="310"/>
                </a:cubicBezTo>
                <a:cubicBezTo>
                  <a:pt x="707" y="311"/>
                  <a:pt x="707" y="310"/>
                  <a:pt x="706" y="310"/>
                </a:cubicBezTo>
                <a:cubicBezTo>
                  <a:pt x="706" y="310"/>
                  <a:pt x="706" y="310"/>
                  <a:pt x="706" y="310"/>
                </a:cubicBezTo>
                <a:cubicBezTo>
                  <a:pt x="706" y="309"/>
                  <a:pt x="706" y="310"/>
                  <a:pt x="707" y="310"/>
                </a:cubicBezTo>
                <a:cubicBezTo>
                  <a:pt x="707" y="309"/>
                  <a:pt x="707" y="309"/>
                  <a:pt x="707" y="309"/>
                </a:cubicBezTo>
                <a:cubicBezTo>
                  <a:pt x="708" y="308"/>
                  <a:pt x="709" y="308"/>
                  <a:pt x="711" y="308"/>
                </a:cubicBezTo>
                <a:cubicBezTo>
                  <a:pt x="711" y="308"/>
                  <a:pt x="713" y="308"/>
                  <a:pt x="714" y="308"/>
                </a:cubicBezTo>
                <a:cubicBezTo>
                  <a:pt x="716" y="307"/>
                  <a:pt x="717" y="308"/>
                  <a:pt x="718" y="308"/>
                </a:cubicBezTo>
                <a:cubicBezTo>
                  <a:pt x="720" y="308"/>
                  <a:pt x="721" y="309"/>
                  <a:pt x="722" y="309"/>
                </a:cubicBezTo>
                <a:cubicBezTo>
                  <a:pt x="722" y="309"/>
                  <a:pt x="722" y="309"/>
                  <a:pt x="722" y="309"/>
                </a:cubicBezTo>
                <a:cubicBezTo>
                  <a:pt x="722" y="309"/>
                  <a:pt x="723" y="310"/>
                  <a:pt x="723" y="309"/>
                </a:cubicBezTo>
                <a:cubicBezTo>
                  <a:pt x="723" y="310"/>
                  <a:pt x="723" y="310"/>
                  <a:pt x="723" y="310"/>
                </a:cubicBezTo>
                <a:cubicBezTo>
                  <a:pt x="725" y="310"/>
                  <a:pt x="726" y="310"/>
                  <a:pt x="728" y="309"/>
                </a:cubicBezTo>
                <a:cubicBezTo>
                  <a:pt x="728" y="310"/>
                  <a:pt x="729" y="310"/>
                  <a:pt x="730" y="309"/>
                </a:cubicBezTo>
                <a:cubicBezTo>
                  <a:pt x="730" y="311"/>
                  <a:pt x="732" y="312"/>
                  <a:pt x="733" y="312"/>
                </a:cubicBezTo>
                <a:cubicBezTo>
                  <a:pt x="733" y="311"/>
                  <a:pt x="732" y="312"/>
                  <a:pt x="732" y="311"/>
                </a:cubicBezTo>
                <a:cubicBezTo>
                  <a:pt x="733" y="311"/>
                  <a:pt x="733" y="311"/>
                  <a:pt x="734" y="311"/>
                </a:cubicBezTo>
                <a:cubicBezTo>
                  <a:pt x="734" y="311"/>
                  <a:pt x="734" y="311"/>
                  <a:pt x="734" y="311"/>
                </a:cubicBezTo>
                <a:cubicBezTo>
                  <a:pt x="734" y="311"/>
                  <a:pt x="734" y="312"/>
                  <a:pt x="735" y="312"/>
                </a:cubicBezTo>
                <a:cubicBezTo>
                  <a:pt x="735" y="311"/>
                  <a:pt x="735" y="311"/>
                  <a:pt x="736" y="311"/>
                </a:cubicBezTo>
                <a:cubicBezTo>
                  <a:pt x="736" y="313"/>
                  <a:pt x="738" y="314"/>
                  <a:pt x="740" y="314"/>
                </a:cubicBezTo>
                <a:cubicBezTo>
                  <a:pt x="740" y="315"/>
                  <a:pt x="741" y="314"/>
                  <a:pt x="741" y="314"/>
                </a:cubicBezTo>
                <a:cubicBezTo>
                  <a:pt x="742" y="313"/>
                  <a:pt x="743" y="314"/>
                  <a:pt x="744" y="313"/>
                </a:cubicBezTo>
                <a:cubicBezTo>
                  <a:pt x="744" y="315"/>
                  <a:pt x="748" y="315"/>
                  <a:pt x="749" y="316"/>
                </a:cubicBezTo>
                <a:cubicBezTo>
                  <a:pt x="750" y="316"/>
                  <a:pt x="751" y="316"/>
                  <a:pt x="752" y="316"/>
                </a:cubicBezTo>
                <a:cubicBezTo>
                  <a:pt x="754" y="316"/>
                  <a:pt x="755" y="317"/>
                  <a:pt x="756" y="318"/>
                </a:cubicBezTo>
                <a:cubicBezTo>
                  <a:pt x="757" y="317"/>
                  <a:pt x="758" y="318"/>
                  <a:pt x="759" y="318"/>
                </a:cubicBezTo>
                <a:cubicBezTo>
                  <a:pt x="759" y="318"/>
                  <a:pt x="759" y="318"/>
                  <a:pt x="759" y="318"/>
                </a:cubicBezTo>
                <a:cubicBezTo>
                  <a:pt x="759" y="318"/>
                  <a:pt x="760" y="318"/>
                  <a:pt x="761" y="318"/>
                </a:cubicBezTo>
                <a:cubicBezTo>
                  <a:pt x="761" y="318"/>
                  <a:pt x="760" y="318"/>
                  <a:pt x="760" y="319"/>
                </a:cubicBezTo>
                <a:cubicBezTo>
                  <a:pt x="762" y="318"/>
                  <a:pt x="763" y="319"/>
                  <a:pt x="764" y="320"/>
                </a:cubicBezTo>
                <a:cubicBezTo>
                  <a:pt x="763" y="320"/>
                  <a:pt x="762" y="320"/>
                  <a:pt x="762" y="319"/>
                </a:cubicBezTo>
                <a:cubicBezTo>
                  <a:pt x="762" y="319"/>
                  <a:pt x="761" y="319"/>
                  <a:pt x="760" y="319"/>
                </a:cubicBezTo>
                <a:cubicBezTo>
                  <a:pt x="760" y="320"/>
                  <a:pt x="761" y="320"/>
                  <a:pt x="761" y="320"/>
                </a:cubicBezTo>
                <a:cubicBezTo>
                  <a:pt x="760" y="320"/>
                  <a:pt x="760" y="319"/>
                  <a:pt x="759" y="320"/>
                </a:cubicBezTo>
                <a:cubicBezTo>
                  <a:pt x="760" y="320"/>
                  <a:pt x="761" y="321"/>
                  <a:pt x="761" y="320"/>
                </a:cubicBezTo>
                <a:cubicBezTo>
                  <a:pt x="762" y="322"/>
                  <a:pt x="764" y="321"/>
                  <a:pt x="765" y="322"/>
                </a:cubicBezTo>
                <a:cubicBezTo>
                  <a:pt x="766" y="322"/>
                  <a:pt x="766" y="323"/>
                  <a:pt x="766" y="322"/>
                </a:cubicBezTo>
                <a:cubicBezTo>
                  <a:pt x="766" y="322"/>
                  <a:pt x="766" y="322"/>
                  <a:pt x="766" y="322"/>
                </a:cubicBezTo>
                <a:cubicBezTo>
                  <a:pt x="766" y="322"/>
                  <a:pt x="766" y="322"/>
                  <a:pt x="766" y="323"/>
                </a:cubicBezTo>
                <a:cubicBezTo>
                  <a:pt x="767" y="322"/>
                  <a:pt x="767" y="323"/>
                  <a:pt x="768" y="323"/>
                </a:cubicBezTo>
                <a:cubicBezTo>
                  <a:pt x="768" y="323"/>
                  <a:pt x="767" y="323"/>
                  <a:pt x="768" y="323"/>
                </a:cubicBezTo>
                <a:cubicBezTo>
                  <a:pt x="768" y="323"/>
                  <a:pt x="768" y="323"/>
                  <a:pt x="768" y="323"/>
                </a:cubicBezTo>
                <a:cubicBezTo>
                  <a:pt x="768" y="323"/>
                  <a:pt x="768" y="323"/>
                  <a:pt x="768" y="324"/>
                </a:cubicBezTo>
                <a:cubicBezTo>
                  <a:pt x="769" y="324"/>
                  <a:pt x="769" y="324"/>
                  <a:pt x="770" y="324"/>
                </a:cubicBezTo>
                <a:cubicBezTo>
                  <a:pt x="770" y="324"/>
                  <a:pt x="770" y="323"/>
                  <a:pt x="770" y="324"/>
                </a:cubicBezTo>
                <a:cubicBezTo>
                  <a:pt x="770" y="324"/>
                  <a:pt x="770" y="324"/>
                  <a:pt x="770" y="324"/>
                </a:cubicBezTo>
                <a:cubicBezTo>
                  <a:pt x="771" y="324"/>
                  <a:pt x="772" y="325"/>
                  <a:pt x="773" y="325"/>
                </a:cubicBezTo>
                <a:cubicBezTo>
                  <a:pt x="773" y="325"/>
                  <a:pt x="773" y="325"/>
                  <a:pt x="772" y="325"/>
                </a:cubicBezTo>
                <a:cubicBezTo>
                  <a:pt x="773" y="326"/>
                  <a:pt x="773" y="326"/>
                  <a:pt x="774" y="326"/>
                </a:cubicBezTo>
                <a:cubicBezTo>
                  <a:pt x="774" y="326"/>
                  <a:pt x="774" y="326"/>
                  <a:pt x="774" y="326"/>
                </a:cubicBezTo>
                <a:cubicBezTo>
                  <a:pt x="774" y="326"/>
                  <a:pt x="774" y="326"/>
                  <a:pt x="774" y="326"/>
                </a:cubicBezTo>
                <a:cubicBezTo>
                  <a:pt x="774" y="326"/>
                  <a:pt x="774" y="326"/>
                  <a:pt x="775" y="326"/>
                </a:cubicBezTo>
                <a:cubicBezTo>
                  <a:pt x="775" y="326"/>
                  <a:pt x="775" y="326"/>
                  <a:pt x="775" y="326"/>
                </a:cubicBezTo>
                <a:cubicBezTo>
                  <a:pt x="775" y="326"/>
                  <a:pt x="775" y="326"/>
                  <a:pt x="775" y="326"/>
                </a:cubicBezTo>
                <a:cubicBezTo>
                  <a:pt x="776" y="327"/>
                  <a:pt x="777" y="328"/>
                  <a:pt x="778" y="328"/>
                </a:cubicBezTo>
                <a:cubicBezTo>
                  <a:pt x="778" y="328"/>
                  <a:pt x="778" y="329"/>
                  <a:pt x="778" y="328"/>
                </a:cubicBezTo>
                <a:cubicBezTo>
                  <a:pt x="778" y="328"/>
                  <a:pt x="778" y="328"/>
                  <a:pt x="778" y="329"/>
                </a:cubicBezTo>
                <a:cubicBezTo>
                  <a:pt x="779" y="328"/>
                  <a:pt x="780" y="329"/>
                  <a:pt x="780" y="329"/>
                </a:cubicBezTo>
                <a:cubicBezTo>
                  <a:pt x="780" y="329"/>
                  <a:pt x="780" y="329"/>
                  <a:pt x="780" y="329"/>
                </a:cubicBezTo>
                <a:cubicBezTo>
                  <a:pt x="781" y="330"/>
                  <a:pt x="781" y="331"/>
                  <a:pt x="782" y="331"/>
                </a:cubicBezTo>
                <a:cubicBezTo>
                  <a:pt x="782" y="331"/>
                  <a:pt x="782" y="331"/>
                  <a:pt x="783" y="332"/>
                </a:cubicBezTo>
                <a:cubicBezTo>
                  <a:pt x="783" y="332"/>
                  <a:pt x="784" y="332"/>
                  <a:pt x="784" y="332"/>
                </a:cubicBezTo>
                <a:cubicBezTo>
                  <a:pt x="784" y="332"/>
                  <a:pt x="784" y="332"/>
                  <a:pt x="784" y="332"/>
                </a:cubicBezTo>
                <a:cubicBezTo>
                  <a:pt x="784" y="332"/>
                  <a:pt x="785" y="332"/>
                  <a:pt x="785" y="332"/>
                </a:cubicBezTo>
                <a:cubicBezTo>
                  <a:pt x="785" y="332"/>
                  <a:pt x="785" y="332"/>
                  <a:pt x="785" y="332"/>
                </a:cubicBezTo>
                <a:cubicBezTo>
                  <a:pt x="785" y="333"/>
                  <a:pt x="785" y="332"/>
                  <a:pt x="785" y="332"/>
                </a:cubicBezTo>
                <a:cubicBezTo>
                  <a:pt x="785" y="333"/>
                  <a:pt x="785" y="332"/>
                  <a:pt x="785" y="332"/>
                </a:cubicBezTo>
                <a:cubicBezTo>
                  <a:pt x="785" y="333"/>
                  <a:pt x="786" y="332"/>
                  <a:pt x="786" y="332"/>
                </a:cubicBezTo>
                <a:cubicBezTo>
                  <a:pt x="786" y="332"/>
                  <a:pt x="786" y="332"/>
                  <a:pt x="786" y="332"/>
                </a:cubicBezTo>
                <a:cubicBezTo>
                  <a:pt x="787" y="332"/>
                  <a:pt x="787" y="332"/>
                  <a:pt x="787" y="331"/>
                </a:cubicBezTo>
                <a:cubicBezTo>
                  <a:pt x="787" y="330"/>
                  <a:pt x="787" y="329"/>
                  <a:pt x="787" y="329"/>
                </a:cubicBezTo>
                <a:cubicBezTo>
                  <a:pt x="787" y="329"/>
                  <a:pt x="787" y="329"/>
                  <a:pt x="787" y="329"/>
                </a:cubicBezTo>
                <a:cubicBezTo>
                  <a:pt x="787" y="329"/>
                  <a:pt x="787" y="329"/>
                  <a:pt x="787" y="329"/>
                </a:cubicBezTo>
                <a:cubicBezTo>
                  <a:pt x="787" y="329"/>
                  <a:pt x="787" y="329"/>
                  <a:pt x="787" y="329"/>
                </a:cubicBezTo>
                <a:cubicBezTo>
                  <a:pt x="787" y="329"/>
                  <a:pt x="787" y="329"/>
                  <a:pt x="787" y="329"/>
                </a:cubicBezTo>
                <a:cubicBezTo>
                  <a:pt x="787" y="329"/>
                  <a:pt x="787" y="329"/>
                  <a:pt x="787" y="328"/>
                </a:cubicBezTo>
                <a:cubicBezTo>
                  <a:pt x="787" y="329"/>
                  <a:pt x="787" y="329"/>
                  <a:pt x="787" y="329"/>
                </a:cubicBezTo>
                <a:cubicBezTo>
                  <a:pt x="787" y="328"/>
                  <a:pt x="787" y="328"/>
                  <a:pt x="787" y="328"/>
                </a:cubicBezTo>
                <a:cubicBezTo>
                  <a:pt x="787" y="329"/>
                  <a:pt x="787" y="328"/>
                  <a:pt x="787" y="328"/>
                </a:cubicBezTo>
                <a:cubicBezTo>
                  <a:pt x="787" y="328"/>
                  <a:pt x="786" y="329"/>
                  <a:pt x="787" y="327"/>
                </a:cubicBezTo>
                <a:cubicBezTo>
                  <a:pt x="787" y="327"/>
                  <a:pt x="788" y="326"/>
                  <a:pt x="788" y="325"/>
                </a:cubicBezTo>
                <a:cubicBezTo>
                  <a:pt x="787" y="322"/>
                  <a:pt x="786" y="319"/>
                  <a:pt x="785" y="318"/>
                </a:cubicBezTo>
                <a:cubicBezTo>
                  <a:pt x="785" y="319"/>
                  <a:pt x="787" y="321"/>
                  <a:pt x="786" y="321"/>
                </a:cubicBezTo>
                <a:cubicBezTo>
                  <a:pt x="785" y="319"/>
                  <a:pt x="784" y="316"/>
                  <a:pt x="783" y="315"/>
                </a:cubicBezTo>
                <a:cubicBezTo>
                  <a:pt x="782" y="312"/>
                  <a:pt x="781" y="308"/>
                  <a:pt x="780" y="308"/>
                </a:cubicBezTo>
                <a:cubicBezTo>
                  <a:pt x="779" y="306"/>
                  <a:pt x="780" y="308"/>
                  <a:pt x="780" y="307"/>
                </a:cubicBezTo>
                <a:cubicBezTo>
                  <a:pt x="780" y="305"/>
                  <a:pt x="778" y="303"/>
                  <a:pt x="778" y="302"/>
                </a:cubicBezTo>
                <a:cubicBezTo>
                  <a:pt x="778" y="302"/>
                  <a:pt x="779" y="304"/>
                  <a:pt x="779" y="304"/>
                </a:cubicBezTo>
                <a:cubicBezTo>
                  <a:pt x="779" y="302"/>
                  <a:pt x="778" y="299"/>
                  <a:pt x="777" y="300"/>
                </a:cubicBezTo>
                <a:cubicBezTo>
                  <a:pt x="776" y="296"/>
                  <a:pt x="775" y="292"/>
                  <a:pt x="773" y="289"/>
                </a:cubicBezTo>
                <a:cubicBezTo>
                  <a:pt x="772" y="288"/>
                  <a:pt x="770" y="284"/>
                  <a:pt x="768" y="282"/>
                </a:cubicBezTo>
                <a:cubicBezTo>
                  <a:pt x="768" y="282"/>
                  <a:pt x="768" y="283"/>
                  <a:pt x="768" y="284"/>
                </a:cubicBezTo>
                <a:cubicBezTo>
                  <a:pt x="768" y="284"/>
                  <a:pt x="768" y="285"/>
                  <a:pt x="769" y="285"/>
                </a:cubicBezTo>
                <a:cubicBezTo>
                  <a:pt x="769" y="285"/>
                  <a:pt x="769" y="284"/>
                  <a:pt x="770" y="285"/>
                </a:cubicBezTo>
                <a:cubicBezTo>
                  <a:pt x="770" y="287"/>
                  <a:pt x="771" y="289"/>
                  <a:pt x="772" y="291"/>
                </a:cubicBezTo>
                <a:cubicBezTo>
                  <a:pt x="772" y="292"/>
                  <a:pt x="772" y="292"/>
                  <a:pt x="772" y="293"/>
                </a:cubicBezTo>
                <a:cubicBezTo>
                  <a:pt x="773" y="293"/>
                  <a:pt x="772" y="294"/>
                  <a:pt x="773" y="295"/>
                </a:cubicBezTo>
                <a:cubicBezTo>
                  <a:pt x="773" y="295"/>
                  <a:pt x="773" y="294"/>
                  <a:pt x="773" y="295"/>
                </a:cubicBezTo>
                <a:cubicBezTo>
                  <a:pt x="773" y="295"/>
                  <a:pt x="773" y="296"/>
                  <a:pt x="774" y="296"/>
                </a:cubicBezTo>
                <a:cubicBezTo>
                  <a:pt x="773" y="295"/>
                  <a:pt x="771" y="292"/>
                  <a:pt x="771" y="293"/>
                </a:cubicBezTo>
                <a:cubicBezTo>
                  <a:pt x="772" y="296"/>
                  <a:pt x="773" y="297"/>
                  <a:pt x="774" y="300"/>
                </a:cubicBezTo>
                <a:cubicBezTo>
                  <a:pt x="774" y="301"/>
                  <a:pt x="773" y="299"/>
                  <a:pt x="773" y="300"/>
                </a:cubicBezTo>
                <a:cubicBezTo>
                  <a:pt x="774" y="302"/>
                  <a:pt x="775" y="303"/>
                  <a:pt x="775" y="305"/>
                </a:cubicBezTo>
                <a:cubicBezTo>
                  <a:pt x="774" y="304"/>
                  <a:pt x="774" y="304"/>
                  <a:pt x="774" y="304"/>
                </a:cubicBezTo>
                <a:cubicBezTo>
                  <a:pt x="774" y="306"/>
                  <a:pt x="775" y="307"/>
                  <a:pt x="775" y="309"/>
                </a:cubicBezTo>
                <a:cubicBezTo>
                  <a:pt x="775" y="309"/>
                  <a:pt x="775" y="309"/>
                  <a:pt x="776" y="309"/>
                </a:cubicBezTo>
                <a:cubicBezTo>
                  <a:pt x="776" y="311"/>
                  <a:pt x="776" y="313"/>
                  <a:pt x="777" y="315"/>
                </a:cubicBezTo>
                <a:cubicBezTo>
                  <a:pt x="777" y="316"/>
                  <a:pt x="778" y="318"/>
                  <a:pt x="778" y="320"/>
                </a:cubicBezTo>
                <a:cubicBezTo>
                  <a:pt x="774" y="313"/>
                  <a:pt x="772" y="305"/>
                  <a:pt x="768" y="298"/>
                </a:cubicBezTo>
                <a:cubicBezTo>
                  <a:pt x="767" y="295"/>
                  <a:pt x="766" y="293"/>
                  <a:pt x="765" y="291"/>
                </a:cubicBezTo>
                <a:cubicBezTo>
                  <a:pt x="764" y="288"/>
                  <a:pt x="763" y="285"/>
                  <a:pt x="761" y="284"/>
                </a:cubicBezTo>
                <a:cubicBezTo>
                  <a:pt x="762" y="286"/>
                  <a:pt x="764" y="287"/>
                  <a:pt x="764" y="289"/>
                </a:cubicBezTo>
                <a:cubicBezTo>
                  <a:pt x="762" y="287"/>
                  <a:pt x="760" y="284"/>
                  <a:pt x="760" y="281"/>
                </a:cubicBezTo>
                <a:cubicBezTo>
                  <a:pt x="759" y="281"/>
                  <a:pt x="758" y="279"/>
                  <a:pt x="758" y="278"/>
                </a:cubicBezTo>
                <a:cubicBezTo>
                  <a:pt x="758" y="279"/>
                  <a:pt x="760" y="281"/>
                  <a:pt x="760" y="281"/>
                </a:cubicBezTo>
                <a:cubicBezTo>
                  <a:pt x="759" y="278"/>
                  <a:pt x="758" y="278"/>
                  <a:pt x="756" y="275"/>
                </a:cubicBezTo>
                <a:cubicBezTo>
                  <a:pt x="756" y="275"/>
                  <a:pt x="756" y="275"/>
                  <a:pt x="756" y="274"/>
                </a:cubicBezTo>
                <a:cubicBezTo>
                  <a:pt x="756" y="273"/>
                  <a:pt x="754" y="271"/>
                  <a:pt x="755" y="271"/>
                </a:cubicBezTo>
                <a:cubicBezTo>
                  <a:pt x="755" y="271"/>
                  <a:pt x="755" y="271"/>
                  <a:pt x="755" y="270"/>
                </a:cubicBezTo>
                <a:cubicBezTo>
                  <a:pt x="754" y="270"/>
                  <a:pt x="753" y="269"/>
                  <a:pt x="753" y="269"/>
                </a:cubicBezTo>
                <a:cubicBezTo>
                  <a:pt x="753" y="270"/>
                  <a:pt x="753" y="270"/>
                  <a:pt x="754" y="271"/>
                </a:cubicBezTo>
                <a:cubicBezTo>
                  <a:pt x="754" y="271"/>
                  <a:pt x="754" y="271"/>
                  <a:pt x="755" y="272"/>
                </a:cubicBezTo>
                <a:cubicBezTo>
                  <a:pt x="754" y="273"/>
                  <a:pt x="756" y="273"/>
                  <a:pt x="756" y="274"/>
                </a:cubicBezTo>
                <a:cubicBezTo>
                  <a:pt x="755" y="273"/>
                  <a:pt x="755" y="273"/>
                  <a:pt x="754" y="271"/>
                </a:cubicBezTo>
                <a:cubicBezTo>
                  <a:pt x="753" y="271"/>
                  <a:pt x="754" y="273"/>
                  <a:pt x="754" y="273"/>
                </a:cubicBezTo>
                <a:cubicBezTo>
                  <a:pt x="753" y="273"/>
                  <a:pt x="753" y="272"/>
                  <a:pt x="753" y="273"/>
                </a:cubicBezTo>
                <a:cubicBezTo>
                  <a:pt x="754" y="274"/>
                  <a:pt x="757" y="277"/>
                  <a:pt x="756" y="279"/>
                </a:cubicBezTo>
                <a:cubicBezTo>
                  <a:pt x="757" y="280"/>
                  <a:pt x="757" y="280"/>
                  <a:pt x="758" y="281"/>
                </a:cubicBezTo>
                <a:cubicBezTo>
                  <a:pt x="758" y="281"/>
                  <a:pt x="758" y="281"/>
                  <a:pt x="758" y="281"/>
                </a:cubicBezTo>
                <a:cubicBezTo>
                  <a:pt x="758" y="282"/>
                  <a:pt x="759" y="283"/>
                  <a:pt x="759" y="283"/>
                </a:cubicBezTo>
                <a:cubicBezTo>
                  <a:pt x="764" y="292"/>
                  <a:pt x="767" y="302"/>
                  <a:pt x="770" y="309"/>
                </a:cubicBezTo>
                <a:cubicBezTo>
                  <a:pt x="769" y="307"/>
                  <a:pt x="768" y="306"/>
                  <a:pt x="767" y="304"/>
                </a:cubicBezTo>
                <a:cubicBezTo>
                  <a:pt x="768" y="306"/>
                  <a:pt x="768" y="308"/>
                  <a:pt x="769" y="310"/>
                </a:cubicBezTo>
                <a:cubicBezTo>
                  <a:pt x="769" y="311"/>
                  <a:pt x="769" y="312"/>
                  <a:pt x="769" y="313"/>
                </a:cubicBezTo>
                <a:cubicBezTo>
                  <a:pt x="770" y="313"/>
                  <a:pt x="770" y="316"/>
                  <a:pt x="771" y="317"/>
                </a:cubicBezTo>
                <a:cubicBezTo>
                  <a:pt x="771" y="318"/>
                  <a:pt x="772" y="319"/>
                  <a:pt x="772" y="320"/>
                </a:cubicBezTo>
                <a:cubicBezTo>
                  <a:pt x="772" y="320"/>
                  <a:pt x="772" y="319"/>
                  <a:pt x="771" y="318"/>
                </a:cubicBezTo>
                <a:cubicBezTo>
                  <a:pt x="771" y="319"/>
                  <a:pt x="771" y="319"/>
                  <a:pt x="771" y="320"/>
                </a:cubicBezTo>
                <a:cubicBezTo>
                  <a:pt x="769" y="317"/>
                  <a:pt x="767" y="313"/>
                  <a:pt x="764" y="309"/>
                </a:cubicBezTo>
                <a:cubicBezTo>
                  <a:pt x="763" y="307"/>
                  <a:pt x="760" y="301"/>
                  <a:pt x="759" y="298"/>
                </a:cubicBezTo>
                <a:cubicBezTo>
                  <a:pt x="756" y="295"/>
                  <a:pt x="754" y="288"/>
                  <a:pt x="751" y="284"/>
                </a:cubicBezTo>
                <a:cubicBezTo>
                  <a:pt x="749" y="281"/>
                  <a:pt x="747" y="277"/>
                  <a:pt x="745" y="272"/>
                </a:cubicBezTo>
                <a:cubicBezTo>
                  <a:pt x="746" y="273"/>
                  <a:pt x="746" y="272"/>
                  <a:pt x="746" y="272"/>
                </a:cubicBezTo>
                <a:cubicBezTo>
                  <a:pt x="745" y="271"/>
                  <a:pt x="744" y="268"/>
                  <a:pt x="743" y="269"/>
                </a:cubicBezTo>
                <a:cubicBezTo>
                  <a:pt x="743" y="267"/>
                  <a:pt x="743" y="267"/>
                  <a:pt x="743" y="267"/>
                </a:cubicBezTo>
                <a:cubicBezTo>
                  <a:pt x="740" y="262"/>
                  <a:pt x="737" y="257"/>
                  <a:pt x="734" y="254"/>
                </a:cubicBezTo>
                <a:cubicBezTo>
                  <a:pt x="733" y="252"/>
                  <a:pt x="733" y="251"/>
                  <a:pt x="731" y="250"/>
                </a:cubicBezTo>
                <a:cubicBezTo>
                  <a:pt x="730" y="245"/>
                  <a:pt x="727" y="239"/>
                  <a:pt x="725" y="235"/>
                </a:cubicBezTo>
                <a:cubicBezTo>
                  <a:pt x="725" y="236"/>
                  <a:pt x="725" y="237"/>
                  <a:pt x="725" y="237"/>
                </a:cubicBezTo>
                <a:cubicBezTo>
                  <a:pt x="725" y="237"/>
                  <a:pt x="724" y="236"/>
                  <a:pt x="723" y="236"/>
                </a:cubicBezTo>
                <a:cubicBezTo>
                  <a:pt x="723" y="235"/>
                  <a:pt x="723" y="234"/>
                  <a:pt x="722" y="233"/>
                </a:cubicBezTo>
                <a:cubicBezTo>
                  <a:pt x="722" y="232"/>
                  <a:pt x="721" y="231"/>
                  <a:pt x="721" y="230"/>
                </a:cubicBezTo>
                <a:cubicBezTo>
                  <a:pt x="721" y="231"/>
                  <a:pt x="720" y="230"/>
                  <a:pt x="719" y="229"/>
                </a:cubicBezTo>
                <a:cubicBezTo>
                  <a:pt x="717" y="223"/>
                  <a:pt x="714" y="217"/>
                  <a:pt x="709" y="212"/>
                </a:cubicBezTo>
                <a:cubicBezTo>
                  <a:pt x="709" y="210"/>
                  <a:pt x="707" y="209"/>
                  <a:pt x="706" y="207"/>
                </a:cubicBezTo>
                <a:cubicBezTo>
                  <a:pt x="705" y="208"/>
                  <a:pt x="702" y="202"/>
                  <a:pt x="702" y="205"/>
                </a:cubicBezTo>
                <a:cubicBezTo>
                  <a:pt x="699" y="197"/>
                  <a:pt x="691" y="189"/>
                  <a:pt x="688" y="184"/>
                </a:cubicBezTo>
                <a:cubicBezTo>
                  <a:pt x="686" y="183"/>
                  <a:pt x="683" y="179"/>
                  <a:pt x="681" y="177"/>
                </a:cubicBezTo>
                <a:cubicBezTo>
                  <a:pt x="678" y="174"/>
                  <a:pt x="675" y="170"/>
                  <a:pt x="672" y="166"/>
                </a:cubicBezTo>
                <a:cubicBezTo>
                  <a:pt x="669" y="163"/>
                  <a:pt x="667" y="161"/>
                  <a:pt x="664" y="159"/>
                </a:cubicBezTo>
                <a:cubicBezTo>
                  <a:pt x="664" y="158"/>
                  <a:pt x="665" y="158"/>
                  <a:pt x="664" y="158"/>
                </a:cubicBezTo>
                <a:cubicBezTo>
                  <a:pt x="663" y="158"/>
                  <a:pt x="660" y="155"/>
                  <a:pt x="659" y="154"/>
                </a:cubicBezTo>
                <a:cubicBezTo>
                  <a:pt x="659" y="154"/>
                  <a:pt x="660" y="154"/>
                  <a:pt x="660" y="154"/>
                </a:cubicBezTo>
                <a:cubicBezTo>
                  <a:pt x="657" y="152"/>
                  <a:pt x="653" y="148"/>
                  <a:pt x="651" y="145"/>
                </a:cubicBezTo>
                <a:cubicBezTo>
                  <a:pt x="652" y="145"/>
                  <a:pt x="656" y="148"/>
                  <a:pt x="655" y="149"/>
                </a:cubicBezTo>
                <a:cubicBezTo>
                  <a:pt x="656" y="150"/>
                  <a:pt x="658" y="151"/>
                  <a:pt x="659" y="152"/>
                </a:cubicBezTo>
                <a:cubicBezTo>
                  <a:pt x="659" y="152"/>
                  <a:pt x="659" y="151"/>
                  <a:pt x="658" y="151"/>
                </a:cubicBezTo>
                <a:cubicBezTo>
                  <a:pt x="660" y="151"/>
                  <a:pt x="661" y="154"/>
                  <a:pt x="661" y="153"/>
                </a:cubicBezTo>
                <a:cubicBezTo>
                  <a:pt x="660" y="152"/>
                  <a:pt x="658" y="149"/>
                  <a:pt x="656" y="149"/>
                </a:cubicBezTo>
                <a:cubicBezTo>
                  <a:pt x="654" y="145"/>
                  <a:pt x="648" y="142"/>
                  <a:pt x="645" y="137"/>
                </a:cubicBezTo>
                <a:cubicBezTo>
                  <a:pt x="644" y="137"/>
                  <a:pt x="643" y="135"/>
                  <a:pt x="643" y="136"/>
                </a:cubicBezTo>
                <a:cubicBezTo>
                  <a:pt x="643" y="135"/>
                  <a:pt x="642" y="135"/>
                  <a:pt x="642" y="135"/>
                </a:cubicBezTo>
                <a:cubicBezTo>
                  <a:pt x="642" y="135"/>
                  <a:pt x="643" y="135"/>
                  <a:pt x="643" y="135"/>
                </a:cubicBezTo>
                <a:cubicBezTo>
                  <a:pt x="641" y="134"/>
                  <a:pt x="640" y="132"/>
                  <a:pt x="638" y="131"/>
                </a:cubicBezTo>
                <a:cubicBezTo>
                  <a:pt x="638" y="131"/>
                  <a:pt x="639" y="132"/>
                  <a:pt x="638" y="132"/>
                </a:cubicBezTo>
                <a:cubicBezTo>
                  <a:pt x="637" y="130"/>
                  <a:pt x="637" y="130"/>
                  <a:pt x="636" y="129"/>
                </a:cubicBezTo>
                <a:cubicBezTo>
                  <a:pt x="637" y="130"/>
                  <a:pt x="636" y="129"/>
                  <a:pt x="636" y="128"/>
                </a:cubicBezTo>
                <a:cubicBezTo>
                  <a:pt x="634" y="127"/>
                  <a:pt x="633" y="126"/>
                  <a:pt x="631" y="125"/>
                </a:cubicBezTo>
                <a:cubicBezTo>
                  <a:pt x="632" y="126"/>
                  <a:pt x="630" y="126"/>
                  <a:pt x="631" y="126"/>
                </a:cubicBezTo>
                <a:cubicBezTo>
                  <a:pt x="630" y="124"/>
                  <a:pt x="630" y="124"/>
                  <a:pt x="630" y="124"/>
                </a:cubicBezTo>
                <a:cubicBezTo>
                  <a:pt x="627" y="122"/>
                  <a:pt x="624" y="119"/>
                  <a:pt x="621" y="117"/>
                </a:cubicBezTo>
                <a:cubicBezTo>
                  <a:pt x="622" y="118"/>
                  <a:pt x="623" y="119"/>
                  <a:pt x="623" y="118"/>
                </a:cubicBezTo>
                <a:cubicBezTo>
                  <a:pt x="622" y="117"/>
                  <a:pt x="620" y="116"/>
                  <a:pt x="619" y="115"/>
                </a:cubicBezTo>
                <a:cubicBezTo>
                  <a:pt x="619" y="115"/>
                  <a:pt x="619" y="115"/>
                  <a:pt x="619" y="115"/>
                </a:cubicBezTo>
                <a:cubicBezTo>
                  <a:pt x="618" y="115"/>
                  <a:pt x="618" y="114"/>
                  <a:pt x="617" y="113"/>
                </a:cubicBezTo>
                <a:cubicBezTo>
                  <a:pt x="617" y="113"/>
                  <a:pt x="617" y="114"/>
                  <a:pt x="617" y="114"/>
                </a:cubicBezTo>
                <a:cubicBezTo>
                  <a:pt x="616" y="112"/>
                  <a:pt x="615" y="113"/>
                  <a:pt x="614" y="112"/>
                </a:cubicBezTo>
                <a:cubicBezTo>
                  <a:pt x="615" y="112"/>
                  <a:pt x="615" y="112"/>
                  <a:pt x="614" y="112"/>
                </a:cubicBezTo>
                <a:cubicBezTo>
                  <a:pt x="611" y="109"/>
                  <a:pt x="609" y="107"/>
                  <a:pt x="606" y="105"/>
                </a:cubicBezTo>
                <a:cubicBezTo>
                  <a:pt x="605" y="105"/>
                  <a:pt x="605" y="103"/>
                  <a:pt x="604" y="104"/>
                </a:cubicBezTo>
                <a:cubicBezTo>
                  <a:pt x="603" y="103"/>
                  <a:pt x="604" y="103"/>
                  <a:pt x="603" y="103"/>
                </a:cubicBezTo>
                <a:cubicBezTo>
                  <a:pt x="602" y="102"/>
                  <a:pt x="599" y="101"/>
                  <a:pt x="598" y="99"/>
                </a:cubicBezTo>
                <a:cubicBezTo>
                  <a:pt x="597" y="99"/>
                  <a:pt x="597" y="99"/>
                  <a:pt x="597" y="99"/>
                </a:cubicBezTo>
                <a:cubicBezTo>
                  <a:pt x="588" y="91"/>
                  <a:pt x="578" y="86"/>
                  <a:pt x="568" y="80"/>
                </a:cubicBezTo>
                <a:cubicBezTo>
                  <a:pt x="566" y="79"/>
                  <a:pt x="564" y="78"/>
                  <a:pt x="562" y="77"/>
                </a:cubicBezTo>
                <a:cubicBezTo>
                  <a:pt x="560" y="76"/>
                  <a:pt x="560" y="76"/>
                  <a:pt x="560" y="76"/>
                </a:cubicBezTo>
                <a:cubicBezTo>
                  <a:pt x="559" y="75"/>
                  <a:pt x="556" y="74"/>
                  <a:pt x="555" y="74"/>
                </a:cubicBezTo>
                <a:cubicBezTo>
                  <a:pt x="556" y="73"/>
                  <a:pt x="554" y="73"/>
                  <a:pt x="553" y="73"/>
                </a:cubicBezTo>
                <a:cubicBezTo>
                  <a:pt x="547" y="69"/>
                  <a:pt x="541" y="68"/>
                  <a:pt x="535" y="65"/>
                </a:cubicBezTo>
                <a:cubicBezTo>
                  <a:pt x="534" y="65"/>
                  <a:pt x="534" y="65"/>
                  <a:pt x="534" y="65"/>
                </a:cubicBezTo>
                <a:cubicBezTo>
                  <a:pt x="487" y="46"/>
                  <a:pt x="438" y="42"/>
                  <a:pt x="388" y="46"/>
                </a:cubicBezTo>
                <a:cubicBezTo>
                  <a:pt x="388" y="47"/>
                  <a:pt x="387" y="47"/>
                  <a:pt x="386" y="47"/>
                </a:cubicBezTo>
                <a:cubicBezTo>
                  <a:pt x="387" y="47"/>
                  <a:pt x="387" y="47"/>
                  <a:pt x="387" y="46"/>
                </a:cubicBezTo>
                <a:cubicBezTo>
                  <a:pt x="385" y="46"/>
                  <a:pt x="386" y="47"/>
                  <a:pt x="385" y="47"/>
                </a:cubicBezTo>
                <a:cubicBezTo>
                  <a:pt x="383" y="47"/>
                  <a:pt x="383" y="47"/>
                  <a:pt x="383" y="47"/>
                </a:cubicBezTo>
                <a:cubicBezTo>
                  <a:pt x="377" y="48"/>
                  <a:pt x="372" y="49"/>
                  <a:pt x="365" y="50"/>
                </a:cubicBezTo>
                <a:cubicBezTo>
                  <a:pt x="365" y="50"/>
                  <a:pt x="365" y="50"/>
                  <a:pt x="365" y="50"/>
                </a:cubicBezTo>
                <a:cubicBezTo>
                  <a:pt x="364" y="50"/>
                  <a:pt x="364" y="50"/>
                  <a:pt x="364" y="50"/>
                </a:cubicBezTo>
                <a:cubicBezTo>
                  <a:pt x="351" y="52"/>
                  <a:pt x="339" y="56"/>
                  <a:pt x="327" y="59"/>
                </a:cubicBezTo>
                <a:cubicBezTo>
                  <a:pt x="321" y="61"/>
                  <a:pt x="316" y="63"/>
                  <a:pt x="310" y="64"/>
                </a:cubicBezTo>
                <a:cubicBezTo>
                  <a:pt x="308" y="66"/>
                  <a:pt x="306" y="65"/>
                  <a:pt x="304" y="67"/>
                </a:cubicBezTo>
                <a:cubicBezTo>
                  <a:pt x="301" y="67"/>
                  <a:pt x="298" y="70"/>
                  <a:pt x="294" y="70"/>
                </a:cubicBezTo>
                <a:cubicBezTo>
                  <a:pt x="287" y="74"/>
                  <a:pt x="280" y="76"/>
                  <a:pt x="273" y="80"/>
                </a:cubicBezTo>
                <a:cubicBezTo>
                  <a:pt x="271" y="80"/>
                  <a:pt x="271" y="80"/>
                  <a:pt x="271" y="80"/>
                </a:cubicBezTo>
                <a:cubicBezTo>
                  <a:pt x="266" y="83"/>
                  <a:pt x="259" y="86"/>
                  <a:pt x="254" y="89"/>
                </a:cubicBezTo>
                <a:cubicBezTo>
                  <a:pt x="252" y="89"/>
                  <a:pt x="250" y="91"/>
                  <a:pt x="249" y="91"/>
                </a:cubicBezTo>
                <a:cubicBezTo>
                  <a:pt x="248" y="92"/>
                  <a:pt x="248" y="92"/>
                  <a:pt x="248" y="92"/>
                </a:cubicBezTo>
                <a:cubicBezTo>
                  <a:pt x="246" y="93"/>
                  <a:pt x="244" y="94"/>
                  <a:pt x="242" y="95"/>
                </a:cubicBezTo>
                <a:cubicBezTo>
                  <a:pt x="238" y="98"/>
                  <a:pt x="231" y="101"/>
                  <a:pt x="230" y="102"/>
                </a:cubicBezTo>
                <a:cubicBezTo>
                  <a:pt x="220" y="108"/>
                  <a:pt x="211" y="114"/>
                  <a:pt x="202" y="120"/>
                </a:cubicBezTo>
                <a:cubicBezTo>
                  <a:pt x="202" y="121"/>
                  <a:pt x="202" y="121"/>
                  <a:pt x="202" y="121"/>
                </a:cubicBezTo>
                <a:cubicBezTo>
                  <a:pt x="197" y="124"/>
                  <a:pt x="191" y="128"/>
                  <a:pt x="186" y="132"/>
                </a:cubicBezTo>
                <a:cubicBezTo>
                  <a:pt x="185" y="133"/>
                  <a:pt x="185" y="133"/>
                  <a:pt x="185" y="133"/>
                </a:cubicBezTo>
                <a:cubicBezTo>
                  <a:pt x="183" y="135"/>
                  <a:pt x="181" y="136"/>
                  <a:pt x="179" y="137"/>
                </a:cubicBezTo>
                <a:cubicBezTo>
                  <a:pt x="179" y="137"/>
                  <a:pt x="180" y="137"/>
                  <a:pt x="179" y="137"/>
                </a:cubicBezTo>
                <a:cubicBezTo>
                  <a:pt x="178" y="138"/>
                  <a:pt x="177" y="139"/>
                  <a:pt x="176" y="140"/>
                </a:cubicBezTo>
                <a:cubicBezTo>
                  <a:pt x="171" y="144"/>
                  <a:pt x="166" y="148"/>
                  <a:pt x="162" y="151"/>
                </a:cubicBezTo>
                <a:cubicBezTo>
                  <a:pt x="163" y="151"/>
                  <a:pt x="162" y="151"/>
                  <a:pt x="162" y="152"/>
                </a:cubicBezTo>
                <a:cubicBezTo>
                  <a:pt x="156" y="156"/>
                  <a:pt x="151" y="161"/>
                  <a:pt x="146" y="166"/>
                </a:cubicBezTo>
                <a:cubicBezTo>
                  <a:pt x="145" y="167"/>
                  <a:pt x="145" y="166"/>
                  <a:pt x="144" y="167"/>
                </a:cubicBezTo>
                <a:cubicBezTo>
                  <a:pt x="144" y="168"/>
                  <a:pt x="142" y="169"/>
                  <a:pt x="142" y="170"/>
                </a:cubicBezTo>
                <a:cubicBezTo>
                  <a:pt x="140" y="171"/>
                  <a:pt x="139" y="173"/>
                  <a:pt x="137" y="174"/>
                </a:cubicBezTo>
                <a:cubicBezTo>
                  <a:pt x="135" y="176"/>
                  <a:pt x="131" y="180"/>
                  <a:pt x="128" y="183"/>
                </a:cubicBezTo>
                <a:cubicBezTo>
                  <a:pt x="128" y="182"/>
                  <a:pt x="124" y="187"/>
                  <a:pt x="122" y="189"/>
                </a:cubicBezTo>
                <a:cubicBezTo>
                  <a:pt x="122" y="190"/>
                  <a:pt x="123" y="189"/>
                  <a:pt x="122" y="190"/>
                </a:cubicBezTo>
                <a:cubicBezTo>
                  <a:pt x="122" y="190"/>
                  <a:pt x="120" y="191"/>
                  <a:pt x="120" y="192"/>
                </a:cubicBezTo>
                <a:cubicBezTo>
                  <a:pt x="117" y="194"/>
                  <a:pt x="115" y="197"/>
                  <a:pt x="113" y="200"/>
                </a:cubicBezTo>
                <a:cubicBezTo>
                  <a:pt x="111" y="201"/>
                  <a:pt x="113" y="198"/>
                  <a:pt x="112" y="199"/>
                </a:cubicBezTo>
                <a:cubicBezTo>
                  <a:pt x="110" y="202"/>
                  <a:pt x="108" y="205"/>
                  <a:pt x="106" y="208"/>
                </a:cubicBezTo>
                <a:cubicBezTo>
                  <a:pt x="105" y="207"/>
                  <a:pt x="106" y="206"/>
                  <a:pt x="107" y="205"/>
                </a:cubicBezTo>
                <a:cubicBezTo>
                  <a:pt x="106" y="206"/>
                  <a:pt x="107" y="205"/>
                  <a:pt x="106" y="206"/>
                </a:cubicBezTo>
                <a:cubicBezTo>
                  <a:pt x="105" y="207"/>
                  <a:pt x="104" y="209"/>
                  <a:pt x="102" y="210"/>
                </a:cubicBezTo>
                <a:cubicBezTo>
                  <a:pt x="103" y="210"/>
                  <a:pt x="104" y="208"/>
                  <a:pt x="104" y="208"/>
                </a:cubicBezTo>
                <a:cubicBezTo>
                  <a:pt x="102" y="210"/>
                  <a:pt x="101" y="211"/>
                  <a:pt x="100" y="213"/>
                </a:cubicBezTo>
                <a:cubicBezTo>
                  <a:pt x="99" y="214"/>
                  <a:pt x="100" y="213"/>
                  <a:pt x="99" y="213"/>
                </a:cubicBezTo>
                <a:cubicBezTo>
                  <a:pt x="98" y="215"/>
                  <a:pt x="97" y="216"/>
                  <a:pt x="97" y="217"/>
                </a:cubicBezTo>
                <a:cubicBezTo>
                  <a:pt x="94" y="219"/>
                  <a:pt x="93" y="221"/>
                  <a:pt x="92" y="223"/>
                </a:cubicBezTo>
                <a:cubicBezTo>
                  <a:pt x="91" y="224"/>
                  <a:pt x="93" y="222"/>
                  <a:pt x="92" y="223"/>
                </a:cubicBezTo>
                <a:cubicBezTo>
                  <a:pt x="91" y="225"/>
                  <a:pt x="92" y="223"/>
                  <a:pt x="91" y="224"/>
                </a:cubicBezTo>
                <a:cubicBezTo>
                  <a:pt x="91" y="224"/>
                  <a:pt x="91" y="226"/>
                  <a:pt x="90" y="227"/>
                </a:cubicBezTo>
                <a:cubicBezTo>
                  <a:pt x="90" y="226"/>
                  <a:pt x="90" y="225"/>
                  <a:pt x="90" y="225"/>
                </a:cubicBezTo>
                <a:cubicBezTo>
                  <a:pt x="87" y="228"/>
                  <a:pt x="85" y="231"/>
                  <a:pt x="83" y="234"/>
                </a:cubicBezTo>
                <a:cubicBezTo>
                  <a:pt x="83" y="234"/>
                  <a:pt x="83" y="234"/>
                  <a:pt x="83" y="234"/>
                </a:cubicBezTo>
                <a:cubicBezTo>
                  <a:pt x="81" y="236"/>
                  <a:pt x="77" y="240"/>
                  <a:pt x="78" y="241"/>
                </a:cubicBezTo>
                <a:cubicBezTo>
                  <a:pt x="77" y="241"/>
                  <a:pt x="77" y="242"/>
                  <a:pt x="77" y="242"/>
                </a:cubicBezTo>
                <a:cubicBezTo>
                  <a:pt x="77" y="242"/>
                  <a:pt x="77" y="241"/>
                  <a:pt x="76" y="242"/>
                </a:cubicBezTo>
                <a:cubicBezTo>
                  <a:pt x="76" y="243"/>
                  <a:pt x="75" y="243"/>
                  <a:pt x="75" y="244"/>
                </a:cubicBezTo>
                <a:cubicBezTo>
                  <a:pt x="77" y="243"/>
                  <a:pt x="77" y="243"/>
                  <a:pt x="77" y="243"/>
                </a:cubicBezTo>
                <a:cubicBezTo>
                  <a:pt x="76" y="245"/>
                  <a:pt x="75" y="244"/>
                  <a:pt x="74" y="246"/>
                </a:cubicBezTo>
                <a:cubicBezTo>
                  <a:pt x="73" y="246"/>
                  <a:pt x="73" y="247"/>
                  <a:pt x="72" y="248"/>
                </a:cubicBezTo>
                <a:cubicBezTo>
                  <a:pt x="72" y="248"/>
                  <a:pt x="73" y="246"/>
                  <a:pt x="72" y="247"/>
                </a:cubicBezTo>
                <a:cubicBezTo>
                  <a:pt x="71" y="249"/>
                  <a:pt x="69" y="251"/>
                  <a:pt x="68" y="254"/>
                </a:cubicBezTo>
                <a:cubicBezTo>
                  <a:pt x="68" y="253"/>
                  <a:pt x="68" y="253"/>
                  <a:pt x="68" y="253"/>
                </a:cubicBezTo>
                <a:cubicBezTo>
                  <a:pt x="67" y="254"/>
                  <a:pt x="67" y="254"/>
                  <a:pt x="66" y="255"/>
                </a:cubicBezTo>
                <a:cubicBezTo>
                  <a:pt x="66" y="255"/>
                  <a:pt x="67" y="255"/>
                  <a:pt x="67" y="256"/>
                </a:cubicBezTo>
                <a:cubicBezTo>
                  <a:pt x="66" y="256"/>
                  <a:pt x="65" y="257"/>
                  <a:pt x="64" y="258"/>
                </a:cubicBezTo>
                <a:cubicBezTo>
                  <a:pt x="65" y="258"/>
                  <a:pt x="65" y="259"/>
                  <a:pt x="64" y="259"/>
                </a:cubicBezTo>
                <a:cubicBezTo>
                  <a:pt x="64" y="258"/>
                  <a:pt x="63" y="261"/>
                  <a:pt x="62" y="262"/>
                </a:cubicBezTo>
                <a:cubicBezTo>
                  <a:pt x="62" y="262"/>
                  <a:pt x="62" y="260"/>
                  <a:pt x="62" y="260"/>
                </a:cubicBezTo>
                <a:cubicBezTo>
                  <a:pt x="62" y="262"/>
                  <a:pt x="61" y="263"/>
                  <a:pt x="60" y="264"/>
                </a:cubicBezTo>
                <a:cubicBezTo>
                  <a:pt x="61" y="263"/>
                  <a:pt x="59" y="266"/>
                  <a:pt x="59" y="267"/>
                </a:cubicBezTo>
                <a:cubicBezTo>
                  <a:pt x="59" y="266"/>
                  <a:pt x="60" y="265"/>
                  <a:pt x="59" y="265"/>
                </a:cubicBezTo>
                <a:cubicBezTo>
                  <a:pt x="58" y="266"/>
                  <a:pt x="58" y="267"/>
                  <a:pt x="58" y="267"/>
                </a:cubicBezTo>
                <a:cubicBezTo>
                  <a:pt x="58" y="265"/>
                  <a:pt x="55" y="271"/>
                  <a:pt x="53" y="273"/>
                </a:cubicBezTo>
                <a:cubicBezTo>
                  <a:pt x="54" y="272"/>
                  <a:pt x="54" y="272"/>
                  <a:pt x="54" y="273"/>
                </a:cubicBezTo>
                <a:cubicBezTo>
                  <a:pt x="53" y="274"/>
                  <a:pt x="53" y="273"/>
                  <a:pt x="53" y="274"/>
                </a:cubicBezTo>
                <a:cubicBezTo>
                  <a:pt x="51" y="275"/>
                  <a:pt x="51" y="275"/>
                  <a:pt x="51" y="275"/>
                </a:cubicBezTo>
                <a:cubicBezTo>
                  <a:pt x="52" y="274"/>
                  <a:pt x="51" y="275"/>
                  <a:pt x="51" y="274"/>
                </a:cubicBezTo>
                <a:cubicBezTo>
                  <a:pt x="52" y="273"/>
                  <a:pt x="53" y="273"/>
                  <a:pt x="53" y="270"/>
                </a:cubicBezTo>
                <a:cubicBezTo>
                  <a:pt x="55" y="270"/>
                  <a:pt x="54" y="269"/>
                  <a:pt x="56" y="268"/>
                </a:cubicBezTo>
                <a:cubicBezTo>
                  <a:pt x="56" y="268"/>
                  <a:pt x="56" y="266"/>
                  <a:pt x="57" y="266"/>
                </a:cubicBezTo>
                <a:cubicBezTo>
                  <a:pt x="57" y="266"/>
                  <a:pt x="57" y="267"/>
                  <a:pt x="57" y="267"/>
                </a:cubicBezTo>
                <a:cubicBezTo>
                  <a:pt x="57" y="266"/>
                  <a:pt x="58" y="267"/>
                  <a:pt x="58" y="265"/>
                </a:cubicBezTo>
                <a:cubicBezTo>
                  <a:pt x="58" y="265"/>
                  <a:pt x="57" y="265"/>
                  <a:pt x="58" y="264"/>
                </a:cubicBezTo>
                <a:cubicBezTo>
                  <a:pt x="59" y="263"/>
                  <a:pt x="57" y="266"/>
                  <a:pt x="59" y="264"/>
                </a:cubicBezTo>
                <a:cubicBezTo>
                  <a:pt x="59" y="262"/>
                  <a:pt x="61" y="262"/>
                  <a:pt x="62" y="260"/>
                </a:cubicBezTo>
                <a:cubicBezTo>
                  <a:pt x="61" y="260"/>
                  <a:pt x="60" y="261"/>
                  <a:pt x="60" y="260"/>
                </a:cubicBezTo>
                <a:cubicBezTo>
                  <a:pt x="61" y="259"/>
                  <a:pt x="61" y="259"/>
                  <a:pt x="62" y="259"/>
                </a:cubicBezTo>
                <a:cubicBezTo>
                  <a:pt x="63" y="256"/>
                  <a:pt x="65" y="254"/>
                  <a:pt x="67" y="251"/>
                </a:cubicBezTo>
                <a:cubicBezTo>
                  <a:pt x="67" y="251"/>
                  <a:pt x="67" y="251"/>
                  <a:pt x="67" y="251"/>
                </a:cubicBezTo>
                <a:cubicBezTo>
                  <a:pt x="66" y="251"/>
                  <a:pt x="66" y="252"/>
                  <a:pt x="66" y="252"/>
                </a:cubicBezTo>
                <a:cubicBezTo>
                  <a:pt x="66" y="250"/>
                  <a:pt x="67" y="251"/>
                  <a:pt x="68" y="250"/>
                </a:cubicBezTo>
                <a:cubicBezTo>
                  <a:pt x="68" y="249"/>
                  <a:pt x="68" y="249"/>
                  <a:pt x="69" y="248"/>
                </a:cubicBezTo>
                <a:cubicBezTo>
                  <a:pt x="68" y="250"/>
                  <a:pt x="69" y="248"/>
                  <a:pt x="70" y="248"/>
                </a:cubicBezTo>
                <a:cubicBezTo>
                  <a:pt x="71" y="245"/>
                  <a:pt x="75" y="240"/>
                  <a:pt x="75" y="239"/>
                </a:cubicBezTo>
                <a:cubicBezTo>
                  <a:pt x="76" y="238"/>
                  <a:pt x="76" y="239"/>
                  <a:pt x="76" y="238"/>
                </a:cubicBezTo>
                <a:cubicBezTo>
                  <a:pt x="78" y="237"/>
                  <a:pt x="79" y="235"/>
                  <a:pt x="80" y="233"/>
                </a:cubicBezTo>
                <a:cubicBezTo>
                  <a:pt x="80" y="234"/>
                  <a:pt x="80" y="234"/>
                  <a:pt x="80" y="234"/>
                </a:cubicBezTo>
                <a:cubicBezTo>
                  <a:pt x="81" y="233"/>
                  <a:pt x="81" y="233"/>
                  <a:pt x="81" y="232"/>
                </a:cubicBezTo>
                <a:cubicBezTo>
                  <a:pt x="81" y="232"/>
                  <a:pt x="80" y="232"/>
                  <a:pt x="80" y="232"/>
                </a:cubicBezTo>
                <a:cubicBezTo>
                  <a:pt x="81" y="231"/>
                  <a:pt x="81" y="230"/>
                  <a:pt x="82" y="230"/>
                </a:cubicBezTo>
                <a:cubicBezTo>
                  <a:pt x="82" y="231"/>
                  <a:pt x="82" y="231"/>
                  <a:pt x="83" y="231"/>
                </a:cubicBezTo>
                <a:cubicBezTo>
                  <a:pt x="84" y="228"/>
                  <a:pt x="87" y="226"/>
                  <a:pt x="87" y="224"/>
                </a:cubicBezTo>
                <a:cubicBezTo>
                  <a:pt x="88" y="223"/>
                  <a:pt x="88" y="223"/>
                  <a:pt x="88" y="223"/>
                </a:cubicBezTo>
                <a:cubicBezTo>
                  <a:pt x="88" y="223"/>
                  <a:pt x="90" y="221"/>
                  <a:pt x="89" y="222"/>
                </a:cubicBezTo>
                <a:cubicBezTo>
                  <a:pt x="89" y="222"/>
                  <a:pt x="88" y="223"/>
                  <a:pt x="88" y="222"/>
                </a:cubicBezTo>
                <a:cubicBezTo>
                  <a:pt x="90" y="221"/>
                  <a:pt x="91" y="219"/>
                  <a:pt x="92" y="218"/>
                </a:cubicBezTo>
                <a:cubicBezTo>
                  <a:pt x="92" y="218"/>
                  <a:pt x="92" y="218"/>
                  <a:pt x="92" y="218"/>
                </a:cubicBezTo>
                <a:cubicBezTo>
                  <a:pt x="92" y="218"/>
                  <a:pt x="91" y="218"/>
                  <a:pt x="91" y="219"/>
                </a:cubicBezTo>
                <a:cubicBezTo>
                  <a:pt x="93" y="215"/>
                  <a:pt x="97" y="213"/>
                  <a:pt x="99" y="209"/>
                </a:cubicBezTo>
                <a:cubicBezTo>
                  <a:pt x="100" y="208"/>
                  <a:pt x="98" y="209"/>
                  <a:pt x="99" y="209"/>
                </a:cubicBezTo>
                <a:cubicBezTo>
                  <a:pt x="101" y="207"/>
                  <a:pt x="103" y="205"/>
                  <a:pt x="104" y="203"/>
                </a:cubicBezTo>
                <a:cubicBezTo>
                  <a:pt x="106" y="200"/>
                  <a:pt x="110" y="198"/>
                  <a:pt x="110" y="196"/>
                </a:cubicBezTo>
                <a:cubicBezTo>
                  <a:pt x="111" y="196"/>
                  <a:pt x="112" y="193"/>
                  <a:pt x="114" y="193"/>
                </a:cubicBezTo>
                <a:cubicBezTo>
                  <a:pt x="114" y="191"/>
                  <a:pt x="115" y="191"/>
                  <a:pt x="116" y="189"/>
                </a:cubicBezTo>
                <a:cubicBezTo>
                  <a:pt x="117" y="190"/>
                  <a:pt x="120" y="186"/>
                  <a:pt x="120" y="185"/>
                </a:cubicBezTo>
                <a:cubicBezTo>
                  <a:pt x="122" y="184"/>
                  <a:pt x="121" y="185"/>
                  <a:pt x="121" y="185"/>
                </a:cubicBezTo>
                <a:cubicBezTo>
                  <a:pt x="122" y="184"/>
                  <a:pt x="123" y="184"/>
                  <a:pt x="123" y="183"/>
                </a:cubicBezTo>
                <a:cubicBezTo>
                  <a:pt x="123" y="183"/>
                  <a:pt x="123" y="182"/>
                  <a:pt x="124" y="181"/>
                </a:cubicBezTo>
                <a:cubicBezTo>
                  <a:pt x="124" y="181"/>
                  <a:pt x="123" y="183"/>
                  <a:pt x="124" y="182"/>
                </a:cubicBezTo>
                <a:cubicBezTo>
                  <a:pt x="125" y="182"/>
                  <a:pt x="125" y="180"/>
                  <a:pt x="126" y="179"/>
                </a:cubicBezTo>
                <a:cubicBezTo>
                  <a:pt x="126" y="180"/>
                  <a:pt x="127" y="179"/>
                  <a:pt x="128" y="179"/>
                </a:cubicBezTo>
                <a:cubicBezTo>
                  <a:pt x="128" y="177"/>
                  <a:pt x="130" y="176"/>
                  <a:pt x="130" y="174"/>
                </a:cubicBezTo>
                <a:cubicBezTo>
                  <a:pt x="130" y="175"/>
                  <a:pt x="129" y="175"/>
                  <a:pt x="129" y="174"/>
                </a:cubicBezTo>
                <a:cubicBezTo>
                  <a:pt x="130" y="174"/>
                  <a:pt x="130" y="174"/>
                  <a:pt x="130" y="174"/>
                </a:cubicBezTo>
                <a:cubicBezTo>
                  <a:pt x="130" y="173"/>
                  <a:pt x="129" y="174"/>
                  <a:pt x="129" y="174"/>
                </a:cubicBezTo>
                <a:cubicBezTo>
                  <a:pt x="132" y="172"/>
                  <a:pt x="131" y="172"/>
                  <a:pt x="134" y="170"/>
                </a:cubicBezTo>
                <a:cubicBezTo>
                  <a:pt x="133" y="171"/>
                  <a:pt x="131" y="173"/>
                  <a:pt x="133" y="172"/>
                </a:cubicBezTo>
                <a:cubicBezTo>
                  <a:pt x="133" y="173"/>
                  <a:pt x="131" y="174"/>
                  <a:pt x="131" y="174"/>
                </a:cubicBezTo>
                <a:cubicBezTo>
                  <a:pt x="132" y="173"/>
                  <a:pt x="132" y="172"/>
                  <a:pt x="134" y="172"/>
                </a:cubicBezTo>
                <a:cubicBezTo>
                  <a:pt x="134" y="171"/>
                  <a:pt x="135" y="171"/>
                  <a:pt x="136" y="169"/>
                </a:cubicBezTo>
                <a:cubicBezTo>
                  <a:pt x="135" y="170"/>
                  <a:pt x="135" y="170"/>
                  <a:pt x="134" y="171"/>
                </a:cubicBezTo>
                <a:cubicBezTo>
                  <a:pt x="135" y="170"/>
                  <a:pt x="134" y="170"/>
                  <a:pt x="134" y="170"/>
                </a:cubicBezTo>
                <a:cubicBezTo>
                  <a:pt x="134" y="169"/>
                  <a:pt x="135" y="168"/>
                  <a:pt x="136" y="168"/>
                </a:cubicBezTo>
                <a:cubicBezTo>
                  <a:pt x="135" y="168"/>
                  <a:pt x="135" y="169"/>
                  <a:pt x="135" y="169"/>
                </a:cubicBezTo>
                <a:cubicBezTo>
                  <a:pt x="136" y="169"/>
                  <a:pt x="136" y="169"/>
                  <a:pt x="136" y="168"/>
                </a:cubicBezTo>
                <a:cubicBezTo>
                  <a:pt x="137" y="167"/>
                  <a:pt x="136" y="168"/>
                  <a:pt x="136" y="167"/>
                </a:cubicBezTo>
                <a:cubicBezTo>
                  <a:pt x="139" y="165"/>
                  <a:pt x="142" y="161"/>
                  <a:pt x="144" y="161"/>
                </a:cubicBezTo>
                <a:cubicBezTo>
                  <a:pt x="144" y="161"/>
                  <a:pt x="146" y="159"/>
                  <a:pt x="145" y="159"/>
                </a:cubicBezTo>
                <a:cubicBezTo>
                  <a:pt x="145" y="159"/>
                  <a:pt x="143" y="161"/>
                  <a:pt x="143" y="160"/>
                </a:cubicBezTo>
                <a:cubicBezTo>
                  <a:pt x="145" y="159"/>
                  <a:pt x="148" y="155"/>
                  <a:pt x="148" y="157"/>
                </a:cubicBezTo>
                <a:cubicBezTo>
                  <a:pt x="149" y="157"/>
                  <a:pt x="149" y="157"/>
                  <a:pt x="149" y="156"/>
                </a:cubicBezTo>
                <a:cubicBezTo>
                  <a:pt x="150" y="155"/>
                  <a:pt x="149" y="156"/>
                  <a:pt x="149" y="155"/>
                </a:cubicBezTo>
                <a:cubicBezTo>
                  <a:pt x="153" y="152"/>
                  <a:pt x="159" y="147"/>
                  <a:pt x="161" y="144"/>
                </a:cubicBezTo>
                <a:cubicBezTo>
                  <a:pt x="166" y="141"/>
                  <a:pt x="170" y="137"/>
                  <a:pt x="175" y="134"/>
                </a:cubicBezTo>
                <a:cubicBezTo>
                  <a:pt x="175" y="134"/>
                  <a:pt x="174" y="134"/>
                  <a:pt x="174" y="134"/>
                </a:cubicBezTo>
                <a:cubicBezTo>
                  <a:pt x="178" y="132"/>
                  <a:pt x="183" y="127"/>
                  <a:pt x="187" y="124"/>
                </a:cubicBezTo>
                <a:cubicBezTo>
                  <a:pt x="188" y="124"/>
                  <a:pt x="187" y="124"/>
                  <a:pt x="187" y="123"/>
                </a:cubicBezTo>
                <a:cubicBezTo>
                  <a:pt x="191" y="122"/>
                  <a:pt x="193" y="119"/>
                  <a:pt x="196" y="117"/>
                </a:cubicBezTo>
                <a:cubicBezTo>
                  <a:pt x="196" y="117"/>
                  <a:pt x="196" y="117"/>
                  <a:pt x="196" y="117"/>
                </a:cubicBezTo>
                <a:cubicBezTo>
                  <a:pt x="198" y="116"/>
                  <a:pt x="200" y="115"/>
                  <a:pt x="201" y="114"/>
                </a:cubicBezTo>
                <a:cubicBezTo>
                  <a:pt x="204" y="112"/>
                  <a:pt x="207" y="109"/>
                  <a:pt x="211" y="108"/>
                </a:cubicBezTo>
                <a:cubicBezTo>
                  <a:pt x="210" y="107"/>
                  <a:pt x="213" y="106"/>
                  <a:pt x="213" y="107"/>
                </a:cubicBezTo>
                <a:cubicBezTo>
                  <a:pt x="212" y="107"/>
                  <a:pt x="210" y="108"/>
                  <a:pt x="211" y="108"/>
                </a:cubicBezTo>
                <a:cubicBezTo>
                  <a:pt x="212" y="107"/>
                  <a:pt x="212" y="108"/>
                  <a:pt x="213" y="108"/>
                </a:cubicBezTo>
                <a:cubicBezTo>
                  <a:pt x="215" y="106"/>
                  <a:pt x="214" y="106"/>
                  <a:pt x="214" y="106"/>
                </a:cubicBezTo>
                <a:cubicBezTo>
                  <a:pt x="216" y="104"/>
                  <a:pt x="219" y="102"/>
                  <a:pt x="221" y="101"/>
                </a:cubicBezTo>
                <a:cubicBezTo>
                  <a:pt x="222" y="100"/>
                  <a:pt x="222" y="101"/>
                  <a:pt x="222" y="101"/>
                </a:cubicBezTo>
                <a:cubicBezTo>
                  <a:pt x="228" y="96"/>
                  <a:pt x="237" y="92"/>
                  <a:pt x="242" y="88"/>
                </a:cubicBezTo>
                <a:cubicBezTo>
                  <a:pt x="244" y="88"/>
                  <a:pt x="244" y="88"/>
                  <a:pt x="245" y="87"/>
                </a:cubicBezTo>
                <a:cubicBezTo>
                  <a:pt x="245" y="87"/>
                  <a:pt x="245" y="87"/>
                  <a:pt x="245" y="87"/>
                </a:cubicBezTo>
                <a:cubicBezTo>
                  <a:pt x="256" y="81"/>
                  <a:pt x="266" y="76"/>
                  <a:pt x="277" y="71"/>
                </a:cubicBezTo>
                <a:cubicBezTo>
                  <a:pt x="277" y="71"/>
                  <a:pt x="280" y="70"/>
                  <a:pt x="282" y="69"/>
                </a:cubicBezTo>
                <a:cubicBezTo>
                  <a:pt x="284" y="68"/>
                  <a:pt x="285" y="68"/>
                  <a:pt x="287" y="67"/>
                </a:cubicBezTo>
                <a:cubicBezTo>
                  <a:pt x="288" y="66"/>
                  <a:pt x="296" y="63"/>
                  <a:pt x="299" y="62"/>
                </a:cubicBezTo>
                <a:cubicBezTo>
                  <a:pt x="299" y="62"/>
                  <a:pt x="299" y="62"/>
                  <a:pt x="300" y="62"/>
                </a:cubicBezTo>
                <a:cubicBezTo>
                  <a:pt x="302" y="60"/>
                  <a:pt x="306" y="60"/>
                  <a:pt x="307" y="59"/>
                </a:cubicBezTo>
                <a:cubicBezTo>
                  <a:pt x="307" y="59"/>
                  <a:pt x="308" y="59"/>
                  <a:pt x="308" y="59"/>
                </a:cubicBezTo>
                <a:cubicBezTo>
                  <a:pt x="309" y="59"/>
                  <a:pt x="309" y="59"/>
                  <a:pt x="309" y="58"/>
                </a:cubicBezTo>
                <a:cubicBezTo>
                  <a:pt x="311" y="58"/>
                  <a:pt x="311" y="58"/>
                  <a:pt x="311" y="58"/>
                </a:cubicBezTo>
                <a:cubicBezTo>
                  <a:pt x="313" y="57"/>
                  <a:pt x="315" y="57"/>
                  <a:pt x="317" y="56"/>
                </a:cubicBezTo>
                <a:cubicBezTo>
                  <a:pt x="317" y="56"/>
                  <a:pt x="317" y="56"/>
                  <a:pt x="317" y="56"/>
                </a:cubicBezTo>
                <a:cubicBezTo>
                  <a:pt x="319" y="55"/>
                  <a:pt x="321" y="55"/>
                  <a:pt x="322" y="54"/>
                </a:cubicBezTo>
                <a:cubicBezTo>
                  <a:pt x="321" y="55"/>
                  <a:pt x="323" y="55"/>
                  <a:pt x="323" y="54"/>
                </a:cubicBezTo>
                <a:cubicBezTo>
                  <a:pt x="325" y="54"/>
                  <a:pt x="322" y="54"/>
                  <a:pt x="324" y="54"/>
                </a:cubicBezTo>
                <a:cubicBezTo>
                  <a:pt x="326" y="54"/>
                  <a:pt x="329" y="53"/>
                  <a:pt x="331" y="52"/>
                </a:cubicBezTo>
                <a:cubicBezTo>
                  <a:pt x="332" y="52"/>
                  <a:pt x="334" y="51"/>
                  <a:pt x="337" y="50"/>
                </a:cubicBezTo>
                <a:cubicBezTo>
                  <a:pt x="339" y="50"/>
                  <a:pt x="342" y="49"/>
                  <a:pt x="343" y="49"/>
                </a:cubicBezTo>
                <a:cubicBezTo>
                  <a:pt x="350" y="48"/>
                  <a:pt x="356" y="45"/>
                  <a:pt x="363" y="45"/>
                </a:cubicBezTo>
                <a:cubicBezTo>
                  <a:pt x="362" y="45"/>
                  <a:pt x="362" y="45"/>
                  <a:pt x="362" y="44"/>
                </a:cubicBezTo>
                <a:cubicBezTo>
                  <a:pt x="363" y="44"/>
                  <a:pt x="362" y="45"/>
                  <a:pt x="363" y="45"/>
                </a:cubicBezTo>
                <a:cubicBezTo>
                  <a:pt x="367" y="43"/>
                  <a:pt x="374" y="43"/>
                  <a:pt x="380" y="42"/>
                </a:cubicBezTo>
                <a:cubicBezTo>
                  <a:pt x="380" y="42"/>
                  <a:pt x="380" y="42"/>
                  <a:pt x="380" y="42"/>
                </a:cubicBezTo>
                <a:cubicBezTo>
                  <a:pt x="384" y="41"/>
                  <a:pt x="387" y="41"/>
                  <a:pt x="391" y="41"/>
                </a:cubicBezTo>
                <a:cubicBezTo>
                  <a:pt x="395" y="40"/>
                  <a:pt x="400" y="39"/>
                  <a:pt x="404" y="40"/>
                </a:cubicBezTo>
                <a:cubicBezTo>
                  <a:pt x="405" y="40"/>
                  <a:pt x="404" y="39"/>
                  <a:pt x="404" y="39"/>
                </a:cubicBezTo>
                <a:cubicBezTo>
                  <a:pt x="406" y="40"/>
                  <a:pt x="407" y="39"/>
                  <a:pt x="408" y="39"/>
                </a:cubicBezTo>
                <a:cubicBezTo>
                  <a:pt x="408" y="39"/>
                  <a:pt x="407" y="39"/>
                  <a:pt x="407" y="39"/>
                </a:cubicBezTo>
                <a:cubicBezTo>
                  <a:pt x="408" y="39"/>
                  <a:pt x="409" y="39"/>
                  <a:pt x="409" y="39"/>
                </a:cubicBezTo>
                <a:cubicBezTo>
                  <a:pt x="417" y="39"/>
                  <a:pt x="425" y="38"/>
                  <a:pt x="433" y="39"/>
                </a:cubicBezTo>
                <a:cubicBezTo>
                  <a:pt x="434" y="39"/>
                  <a:pt x="434" y="39"/>
                  <a:pt x="434" y="38"/>
                </a:cubicBezTo>
                <a:cubicBezTo>
                  <a:pt x="381" y="36"/>
                  <a:pt x="328" y="48"/>
                  <a:pt x="279" y="69"/>
                </a:cubicBezTo>
                <a:cubicBezTo>
                  <a:pt x="230" y="90"/>
                  <a:pt x="185" y="121"/>
                  <a:pt x="145" y="157"/>
                </a:cubicBezTo>
                <a:cubicBezTo>
                  <a:pt x="142" y="160"/>
                  <a:pt x="138" y="164"/>
                  <a:pt x="136" y="165"/>
                </a:cubicBezTo>
                <a:cubicBezTo>
                  <a:pt x="134" y="167"/>
                  <a:pt x="133" y="169"/>
                  <a:pt x="131" y="170"/>
                </a:cubicBezTo>
                <a:cubicBezTo>
                  <a:pt x="131" y="171"/>
                  <a:pt x="130" y="171"/>
                  <a:pt x="130" y="171"/>
                </a:cubicBezTo>
                <a:cubicBezTo>
                  <a:pt x="130" y="172"/>
                  <a:pt x="127" y="174"/>
                  <a:pt x="126" y="175"/>
                </a:cubicBezTo>
                <a:cubicBezTo>
                  <a:pt x="124" y="176"/>
                  <a:pt x="123" y="179"/>
                  <a:pt x="122" y="180"/>
                </a:cubicBezTo>
                <a:cubicBezTo>
                  <a:pt x="122" y="179"/>
                  <a:pt x="123" y="178"/>
                  <a:pt x="124" y="177"/>
                </a:cubicBezTo>
                <a:cubicBezTo>
                  <a:pt x="121" y="178"/>
                  <a:pt x="119" y="183"/>
                  <a:pt x="116" y="185"/>
                </a:cubicBezTo>
                <a:cubicBezTo>
                  <a:pt x="114" y="188"/>
                  <a:pt x="109" y="192"/>
                  <a:pt x="109" y="194"/>
                </a:cubicBezTo>
                <a:cubicBezTo>
                  <a:pt x="108" y="194"/>
                  <a:pt x="108" y="195"/>
                  <a:pt x="107" y="195"/>
                </a:cubicBezTo>
                <a:cubicBezTo>
                  <a:pt x="107" y="196"/>
                  <a:pt x="105" y="199"/>
                  <a:pt x="104" y="198"/>
                </a:cubicBezTo>
                <a:cubicBezTo>
                  <a:pt x="102" y="200"/>
                  <a:pt x="101" y="203"/>
                  <a:pt x="98" y="205"/>
                </a:cubicBezTo>
                <a:cubicBezTo>
                  <a:pt x="98" y="205"/>
                  <a:pt x="99" y="203"/>
                  <a:pt x="98" y="204"/>
                </a:cubicBezTo>
                <a:cubicBezTo>
                  <a:pt x="98" y="204"/>
                  <a:pt x="97" y="206"/>
                  <a:pt x="98" y="205"/>
                </a:cubicBezTo>
                <a:cubicBezTo>
                  <a:pt x="96" y="208"/>
                  <a:pt x="93" y="210"/>
                  <a:pt x="91" y="213"/>
                </a:cubicBezTo>
                <a:cubicBezTo>
                  <a:pt x="91" y="213"/>
                  <a:pt x="90" y="215"/>
                  <a:pt x="90" y="215"/>
                </a:cubicBezTo>
                <a:cubicBezTo>
                  <a:pt x="90" y="216"/>
                  <a:pt x="90" y="215"/>
                  <a:pt x="90" y="215"/>
                </a:cubicBezTo>
                <a:cubicBezTo>
                  <a:pt x="89" y="217"/>
                  <a:pt x="87" y="218"/>
                  <a:pt x="87" y="219"/>
                </a:cubicBezTo>
                <a:cubicBezTo>
                  <a:pt x="86" y="220"/>
                  <a:pt x="85" y="221"/>
                  <a:pt x="85" y="222"/>
                </a:cubicBezTo>
                <a:cubicBezTo>
                  <a:pt x="82" y="223"/>
                  <a:pt x="79" y="229"/>
                  <a:pt x="76" y="232"/>
                </a:cubicBezTo>
                <a:cubicBezTo>
                  <a:pt x="74" y="236"/>
                  <a:pt x="70" y="238"/>
                  <a:pt x="68" y="243"/>
                </a:cubicBezTo>
                <a:cubicBezTo>
                  <a:pt x="67" y="243"/>
                  <a:pt x="68" y="244"/>
                  <a:pt x="67" y="244"/>
                </a:cubicBezTo>
                <a:cubicBezTo>
                  <a:pt x="68" y="242"/>
                  <a:pt x="70" y="239"/>
                  <a:pt x="72" y="236"/>
                </a:cubicBezTo>
                <a:cubicBezTo>
                  <a:pt x="72" y="236"/>
                  <a:pt x="72" y="236"/>
                  <a:pt x="71" y="236"/>
                </a:cubicBezTo>
                <a:cubicBezTo>
                  <a:pt x="71" y="236"/>
                  <a:pt x="70" y="237"/>
                  <a:pt x="70" y="238"/>
                </a:cubicBezTo>
                <a:cubicBezTo>
                  <a:pt x="69" y="239"/>
                  <a:pt x="71" y="236"/>
                  <a:pt x="69" y="238"/>
                </a:cubicBezTo>
                <a:cubicBezTo>
                  <a:pt x="69" y="238"/>
                  <a:pt x="67" y="241"/>
                  <a:pt x="68" y="241"/>
                </a:cubicBezTo>
                <a:cubicBezTo>
                  <a:pt x="67" y="242"/>
                  <a:pt x="67" y="243"/>
                  <a:pt x="66" y="244"/>
                </a:cubicBezTo>
                <a:cubicBezTo>
                  <a:pt x="67" y="243"/>
                  <a:pt x="66" y="244"/>
                  <a:pt x="66" y="245"/>
                </a:cubicBezTo>
                <a:cubicBezTo>
                  <a:pt x="64" y="246"/>
                  <a:pt x="64" y="248"/>
                  <a:pt x="63" y="249"/>
                </a:cubicBezTo>
                <a:cubicBezTo>
                  <a:pt x="63" y="250"/>
                  <a:pt x="63" y="249"/>
                  <a:pt x="63" y="249"/>
                </a:cubicBezTo>
                <a:cubicBezTo>
                  <a:pt x="62" y="251"/>
                  <a:pt x="59" y="254"/>
                  <a:pt x="59" y="255"/>
                </a:cubicBezTo>
                <a:cubicBezTo>
                  <a:pt x="60" y="253"/>
                  <a:pt x="60" y="252"/>
                  <a:pt x="61" y="250"/>
                </a:cubicBezTo>
                <a:cubicBezTo>
                  <a:pt x="60" y="251"/>
                  <a:pt x="61" y="250"/>
                  <a:pt x="59" y="251"/>
                </a:cubicBezTo>
                <a:cubicBezTo>
                  <a:pt x="60" y="251"/>
                  <a:pt x="59" y="252"/>
                  <a:pt x="59" y="253"/>
                </a:cubicBezTo>
                <a:cubicBezTo>
                  <a:pt x="59" y="252"/>
                  <a:pt x="54" y="258"/>
                  <a:pt x="54" y="260"/>
                </a:cubicBezTo>
                <a:cubicBezTo>
                  <a:pt x="53" y="261"/>
                  <a:pt x="54" y="259"/>
                  <a:pt x="53" y="260"/>
                </a:cubicBezTo>
                <a:cubicBezTo>
                  <a:pt x="53" y="260"/>
                  <a:pt x="53" y="260"/>
                  <a:pt x="52" y="261"/>
                </a:cubicBezTo>
                <a:cubicBezTo>
                  <a:pt x="53" y="261"/>
                  <a:pt x="52" y="262"/>
                  <a:pt x="54" y="261"/>
                </a:cubicBezTo>
                <a:cubicBezTo>
                  <a:pt x="53" y="262"/>
                  <a:pt x="52" y="263"/>
                  <a:pt x="52" y="264"/>
                </a:cubicBezTo>
                <a:cubicBezTo>
                  <a:pt x="52" y="264"/>
                  <a:pt x="53" y="262"/>
                  <a:pt x="53" y="262"/>
                </a:cubicBezTo>
                <a:cubicBezTo>
                  <a:pt x="52" y="263"/>
                  <a:pt x="52" y="265"/>
                  <a:pt x="51" y="265"/>
                </a:cubicBezTo>
                <a:cubicBezTo>
                  <a:pt x="51" y="264"/>
                  <a:pt x="52" y="263"/>
                  <a:pt x="52" y="263"/>
                </a:cubicBezTo>
                <a:cubicBezTo>
                  <a:pt x="51" y="264"/>
                  <a:pt x="50" y="265"/>
                  <a:pt x="50" y="266"/>
                </a:cubicBezTo>
                <a:cubicBezTo>
                  <a:pt x="50" y="265"/>
                  <a:pt x="49" y="266"/>
                  <a:pt x="49" y="265"/>
                </a:cubicBezTo>
                <a:cubicBezTo>
                  <a:pt x="49" y="265"/>
                  <a:pt x="50" y="262"/>
                  <a:pt x="49" y="263"/>
                </a:cubicBezTo>
                <a:cubicBezTo>
                  <a:pt x="49" y="264"/>
                  <a:pt x="49" y="265"/>
                  <a:pt x="48" y="265"/>
                </a:cubicBezTo>
                <a:cubicBezTo>
                  <a:pt x="49" y="264"/>
                  <a:pt x="47" y="267"/>
                  <a:pt x="47" y="265"/>
                </a:cubicBezTo>
                <a:cubicBezTo>
                  <a:pt x="47" y="266"/>
                  <a:pt x="46" y="269"/>
                  <a:pt x="47" y="267"/>
                </a:cubicBezTo>
                <a:cubicBezTo>
                  <a:pt x="47" y="266"/>
                  <a:pt x="48" y="267"/>
                  <a:pt x="48" y="267"/>
                </a:cubicBezTo>
                <a:cubicBezTo>
                  <a:pt x="48" y="266"/>
                  <a:pt x="48" y="266"/>
                  <a:pt x="49" y="266"/>
                </a:cubicBezTo>
                <a:cubicBezTo>
                  <a:pt x="48" y="266"/>
                  <a:pt x="49" y="266"/>
                  <a:pt x="49" y="267"/>
                </a:cubicBezTo>
                <a:cubicBezTo>
                  <a:pt x="48" y="268"/>
                  <a:pt x="48" y="267"/>
                  <a:pt x="47" y="268"/>
                </a:cubicBezTo>
                <a:cubicBezTo>
                  <a:pt x="47" y="268"/>
                  <a:pt x="46" y="269"/>
                  <a:pt x="46" y="270"/>
                </a:cubicBezTo>
                <a:cubicBezTo>
                  <a:pt x="47" y="269"/>
                  <a:pt x="47" y="268"/>
                  <a:pt x="47" y="269"/>
                </a:cubicBezTo>
                <a:cubicBezTo>
                  <a:pt x="46" y="270"/>
                  <a:pt x="45" y="273"/>
                  <a:pt x="43" y="274"/>
                </a:cubicBezTo>
                <a:cubicBezTo>
                  <a:pt x="45" y="272"/>
                  <a:pt x="45" y="271"/>
                  <a:pt x="46" y="268"/>
                </a:cubicBezTo>
                <a:cubicBezTo>
                  <a:pt x="46" y="268"/>
                  <a:pt x="46" y="268"/>
                  <a:pt x="46" y="268"/>
                </a:cubicBezTo>
                <a:cubicBezTo>
                  <a:pt x="44" y="271"/>
                  <a:pt x="43" y="273"/>
                  <a:pt x="42" y="276"/>
                </a:cubicBezTo>
                <a:cubicBezTo>
                  <a:pt x="41" y="276"/>
                  <a:pt x="41" y="276"/>
                  <a:pt x="41" y="275"/>
                </a:cubicBezTo>
                <a:cubicBezTo>
                  <a:pt x="41" y="276"/>
                  <a:pt x="41" y="276"/>
                  <a:pt x="41" y="276"/>
                </a:cubicBezTo>
                <a:cubicBezTo>
                  <a:pt x="41" y="277"/>
                  <a:pt x="41" y="276"/>
                  <a:pt x="41" y="277"/>
                </a:cubicBezTo>
                <a:cubicBezTo>
                  <a:pt x="41" y="278"/>
                  <a:pt x="40" y="280"/>
                  <a:pt x="39" y="280"/>
                </a:cubicBezTo>
                <a:cubicBezTo>
                  <a:pt x="38" y="281"/>
                  <a:pt x="37" y="285"/>
                  <a:pt x="36" y="286"/>
                </a:cubicBezTo>
                <a:cubicBezTo>
                  <a:pt x="36" y="285"/>
                  <a:pt x="37" y="283"/>
                  <a:pt x="38" y="280"/>
                </a:cubicBezTo>
                <a:cubicBezTo>
                  <a:pt x="37" y="282"/>
                  <a:pt x="36" y="285"/>
                  <a:pt x="35" y="286"/>
                </a:cubicBezTo>
                <a:cubicBezTo>
                  <a:pt x="36" y="285"/>
                  <a:pt x="35" y="287"/>
                  <a:pt x="35" y="287"/>
                </a:cubicBezTo>
                <a:cubicBezTo>
                  <a:pt x="35" y="287"/>
                  <a:pt x="35" y="288"/>
                  <a:pt x="35" y="288"/>
                </a:cubicBezTo>
                <a:cubicBezTo>
                  <a:pt x="35" y="287"/>
                  <a:pt x="35" y="286"/>
                  <a:pt x="34" y="287"/>
                </a:cubicBezTo>
                <a:cubicBezTo>
                  <a:pt x="34" y="289"/>
                  <a:pt x="33" y="289"/>
                  <a:pt x="32" y="290"/>
                </a:cubicBezTo>
                <a:cubicBezTo>
                  <a:pt x="31" y="294"/>
                  <a:pt x="29" y="295"/>
                  <a:pt x="28" y="298"/>
                </a:cubicBezTo>
                <a:cubicBezTo>
                  <a:pt x="27" y="298"/>
                  <a:pt x="29" y="295"/>
                  <a:pt x="29" y="294"/>
                </a:cubicBezTo>
                <a:cubicBezTo>
                  <a:pt x="27" y="296"/>
                  <a:pt x="27" y="299"/>
                  <a:pt x="25" y="300"/>
                </a:cubicBezTo>
                <a:cubicBezTo>
                  <a:pt x="24" y="302"/>
                  <a:pt x="23" y="304"/>
                  <a:pt x="22" y="306"/>
                </a:cubicBezTo>
                <a:cubicBezTo>
                  <a:pt x="22" y="307"/>
                  <a:pt x="22" y="306"/>
                  <a:pt x="22" y="308"/>
                </a:cubicBezTo>
                <a:cubicBezTo>
                  <a:pt x="22" y="308"/>
                  <a:pt x="21" y="308"/>
                  <a:pt x="21" y="309"/>
                </a:cubicBezTo>
                <a:cubicBezTo>
                  <a:pt x="22" y="308"/>
                  <a:pt x="22" y="308"/>
                  <a:pt x="22" y="309"/>
                </a:cubicBezTo>
                <a:cubicBezTo>
                  <a:pt x="20" y="310"/>
                  <a:pt x="21" y="308"/>
                  <a:pt x="22" y="307"/>
                </a:cubicBezTo>
                <a:cubicBezTo>
                  <a:pt x="21" y="309"/>
                  <a:pt x="22" y="306"/>
                  <a:pt x="21" y="307"/>
                </a:cubicBezTo>
                <a:cubicBezTo>
                  <a:pt x="21" y="308"/>
                  <a:pt x="20" y="310"/>
                  <a:pt x="20" y="309"/>
                </a:cubicBezTo>
                <a:cubicBezTo>
                  <a:pt x="20" y="308"/>
                  <a:pt x="20" y="307"/>
                  <a:pt x="21" y="306"/>
                </a:cubicBezTo>
                <a:cubicBezTo>
                  <a:pt x="21" y="306"/>
                  <a:pt x="21" y="306"/>
                  <a:pt x="21" y="306"/>
                </a:cubicBezTo>
                <a:cubicBezTo>
                  <a:pt x="20" y="306"/>
                  <a:pt x="20" y="308"/>
                  <a:pt x="19" y="308"/>
                </a:cubicBezTo>
                <a:cubicBezTo>
                  <a:pt x="20" y="306"/>
                  <a:pt x="22" y="304"/>
                  <a:pt x="22" y="302"/>
                </a:cubicBezTo>
                <a:cubicBezTo>
                  <a:pt x="22" y="301"/>
                  <a:pt x="22" y="303"/>
                  <a:pt x="22" y="302"/>
                </a:cubicBezTo>
                <a:cubicBezTo>
                  <a:pt x="22" y="301"/>
                  <a:pt x="22" y="300"/>
                  <a:pt x="23" y="300"/>
                </a:cubicBezTo>
                <a:cubicBezTo>
                  <a:pt x="23" y="300"/>
                  <a:pt x="23" y="301"/>
                  <a:pt x="23" y="301"/>
                </a:cubicBezTo>
                <a:cubicBezTo>
                  <a:pt x="24" y="300"/>
                  <a:pt x="25" y="297"/>
                  <a:pt x="24" y="297"/>
                </a:cubicBezTo>
                <a:cubicBezTo>
                  <a:pt x="25" y="297"/>
                  <a:pt x="25" y="296"/>
                  <a:pt x="26" y="295"/>
                </a:cubicBezTo>
                <a:cubicBezTo>
                  <a:pt x="26" y="297"/>
                  <a:pt x="25" y="297"/>
                  <a:pt x="25" y="299"/>
                </a:cubicBezTo>
                <a:cubicBezTo>
                  <a:pt x="26" y="297"/>
                  <a:pt x="26" y="296"/>
                  <a:pt x="27" y="295"/>
                </a:cubicBezTo>
                <a:cubicBezTo>
                  <a:pt x="28" y="295"/>
                  <a:pt x="28" y="294"/>
                  <a:pt x="28" y="294"/>
                </a:cubicBezTo>
                <a:cubicBezTo>
                  <a:pt x="28" y="294"/>
                  <a:pt x="28" y="294"/>
                  <a:pt x="27" y="295"/>
                </a:cubicBezTo>
                <a:cubicBezTo>
                  <a:pt x="27" y="294"/>
                  <a:pt x="27" y="294"/>
                  <a:pt x="27" y="294"/>
                </a:cubicBezTo>
                <a:cubicBezTo>
                  <a:pt x="27" y="293"/>
                  <a:pt x="28" y="292"/>
                  <a:pt x="28" y="291"/>
                </a:cubicBezTo>
                <a:cubicBezTo>
                  <a:pt x="27" y="291"/>
                  <a:pt x="26" y="294"/>
                  <a:pt x="27" y="292"/>
                </a:cubicBezTo>
                <a:cubicBezTo>
                  <a:pt x="28" y="291"/>
                  <a:pt x="29" y="288"/>
                  <a:pt x="30" y="287"/>
                </a:cubicBezTo>
                <a:cubicBezTo>
                  <a:pt x="29" y="288"/>
                  <a:pt x="29" y="289"/>
                  <a:pt x="29" y="290"/>
                </a:cubicBezTo>
                <a:cubicBezTo>
                  <a:pt x="31" y="288"/>
                  <a:pt x="32" y="284"/>
                  <a:pt x="33" y="284"/>
                </a:cubicBezTo>
                <a:cubicBezTo>
                  <a:pt x="33" y="283"/>
                  <a:pt x="33" y="283"/>
                  <a:pt x="32" y="284"/>
                </a:cubicBezTo>
                <a:cubicBezTo>
                  <a:pt x="33" y="282"/>
                  <a:pt x="33" y="281"/>
                  <a:pt x="34" y="280"/>
                </a:cubicBezTo>
                <a:cubicBezTo>
                  <a:pt x="36" y="279"/>
                  <a:pt x="37" y="276"/>
                  <a:pt x="39" y="272"/>
                </a:cubicBezTo>
                <a:cubicBezTo>
                  <a:pt x="39" y="273"/>
                  <a:pt x="38" y="274"/>
                  <a:pt x="38" y="274"/>
                </a:cubicBezTo>
                <a:cubicBezTo>
                  <a:pt x="39" y="273"/>
                  <a:pt x="39" y="272"/>
                  <a:pt x="40" y="271"/>
                </a:cubicBezTo>
                <a:cubicBezTo>
                  <a:pt x="40" y="271"/>
                  <a:pt x="40" y="272"/>
                  <a:pt x="41" y="271"/>
                </a:cubicBezTo>
                <a:cubicBezTo>
                  <a:pt x="41" y="270"/>
                  <a:pt x="41" y="270"/>
                  <a:pt x="41" y="270"/>
                </a:cubicBezTo>
                <a:cubicBezTo>
                  <a:pt x="43" y="268"/>
                  <a:pt x="43" y="265"/>
                  <a:pt x="44" y="264"/>
                </a:cubicBezTo>
                <a:cubicBezTo>
                  <a:pt x="46" y="263"/>
                  <a:pt x="47" y="259"/>
                  <a:pt x="47" y="259"/>
                </a:cubicBezTo>
                <a:cubicBezTo>
                  <a:pt x="46" y="259"/>
                  <a:pt x="46" y="261"/>
                  <a:pt x="45" y="261"/>
                </a:cubicBezTo>
                <a:cubicBezTo>
                  <a:pt x="46" y="260"/>
                  <a:pt x="45" y="261"/>
                  <a:pt x="45" y="260"/>
                </a:cubicBezTo>
                <a:cubicBezTo>
                  <a:pt x="48" y="258"/>
                  <a:pt x="48" y="258"/>
                  <a:pt x="48" y="258"/>
                </a:cubicBezTo>
                <a:cubicBezTo>
                  <a:pt x="47" y="259"/>
                  <a:pt x="47" y="259"/>
                  <a:pt x="47" y="261"/>
                </a:cubicBezTo>
                <a:cubicBezTo>
                  <a:pt x="49" y="258"/>
                  <a:pt x="50" y="255"/>
                  <a:pt x="51" y="254"/>
                </a:cubicBezTo>
                <a:cubicBezTo>
                  <a:pt x="51" y="254"/>
                  <a:pt x="52" y="253"/>
                  <a:pt x="52" y="252"/>
                </a:cubicBezTo>
                <a:cubicBezTo>
                  <a:pt x="52" y="251"/>
                  <a:pt x="54" y="250"/>
                  <a:pt x="55" y="249"/>
                </a:cubicBezTo>
                <a:cubicBezTo>
                  <a:pt x="54" y="248"/>
                  <a:pt x="55" y="247"/>
                  <a:pt x="55" y="246"/>
                </a:cubicBezTo>
                <a:cubicBezTo>
                  <a:pt x="56" y="246"/>
                  <a:pt x="56" y="247"/>
                  <a:pt x="56" y="247"/>
                </a:cubicBezTo>
                <a:cubicBezTo>
                  <a:pt x="57" y="244"/>
                  <a:pt x="58" y="245"/>
                  <a:pt x="59" y="243"/>
                </a:cubicBezTo>
                <a:cubicBezTo>
                  <a:pt x="58" y="244"/>
                  <a:pt x="58" y="243"/>
                  <a:pt x="58" y="243"/>
                </a:cubicBezTo>
                <a:cubicBezTo>
                  <a:pt x="59" y="241"/>
                  <a:pt x="61" y="238"/>
                  <a:pt x="60" y="240"/>
                </a:cubicBezTo>
                <a:cubicBezTo>
                  <a:pt x="61" y="239"/>
                  <a:pt x="63" y="236"/>
                  <a:pt x="65" y="234"/>
                </a:cubicBezTo>
                <a:cubicBezTo>
                  <a:pt x="65" y="232"/>
                  <a:pt x="65" y="232"/>
                  <a:pt x="65" y="232"/>
                </a:cubicBezTo>
                <a:cubicBezTo>
                  <a:pt x="66" y="231"/>
                  <a:pt x="65" y="234"/>
                  <a:pt x="66" y="233"/>
                </a:cubicBezTo>
                <a:cubicBezTo>
                  <a:pt x="67" y="231"/>
                  <a:pt x="67" y="229"/>
                  <a:pt x="69" y="227"/>
                </a:cubicBezTo>
                <a:cubicBezTo>
                  <a:pt x="68" y="227"/>
                  <a:pt x="68" y="228"/>
                  <a:pt x="68" y="229"/>
                </a:cubicBezTo>
                <a:cubicBezTo>
                  <a:pt x="69" y="227"/>
                  <a:pt x="70" y="224"/>
                  <a:pt x="71" y="224"/>
                </a:cubicBezTo>
                <a:cubicBezTo>
                  <a:pt x="71" y="224"/>
                  <a:pt x="69" y="226"/>
                  <a:pt x="70" y="226"/>
                </a:cubicBezTo>
                <a:cubicBezTo>
                  <a:pt x="71" y="225"/>
                  <a:pt x="72" y="224"/>
                  <a:pt x="73" y="222"/>
                </a:cubicBezTo>
                <a:cubicBezTo>
                  <a:pt x="72" y="223"/>
                  <a:pt x="71" y="224"/>
                  <a:pt x="71" y="223"/>
                </a:cubicBezTo>
                <a:cubicBezTo>
                  <a:pt x="72" y="222"/>
                  <a:pt x="73" y="221"/>
                  <a:pt x="73" y="222"/>
                </a:cubicBezTo>
                <a:cubicBezTo>
                  <a:pt x="73" y="221"/>
                  <a:pt x="74" y="220"/>
                  <a:pt x="74" y="219"/>
                </a:cubicBezTo>
                <a:cubicBezTo>
                  <a:pt x="74" y="219"/>
                  <a:pt x="73" y="220"/>
                  <a:pt x="72" y="220"/>
                </a:cubicBezTo>
                <a:cubicBezTo>
                  <a:pt x="72" y="221"/>
                  <a:pt x="72" y="221"/>
                  <a:pt x="71" y="222"/>
                </a:cubicBezTo>
                <a:cubicBezTo>
                  <a:pt x="69" y="223"/>
                  <a:pt x="67" y="228"/>
                  <a:pt x="64" y="231"/>
                </a:cubicBezTo>
                <a:cubicBezTo>
                  <a:pt x="64" y="232"/>
                  <a:pt x="62" y="233"/>
                  <a:pt x="61" y="236"/>
                </a:cubicBezTo>
                <a:cubicBezTo>
                  <a:pt x="59" y="238"/>
                  <a:pt x="57" y="241"/>
                  <a:pt x="55" y="244"/>
                </a:cubicBezTo>
                <a:cubicBezTo>
                  <a:pt x="55" y="244"/>
                  <a:pt x="54" y="244"/>
                  <a:pt x="54" y="244"/>
                </a:cubicBezTo>
                <a:cubicBezTo>
                  <a:pt x="54" y="245"/>
                  <a:pt x="53" y="245"/>
                  <a:pt x="53" y="246"/>
                </a:cubicBezTo>
                <a:cubicBezTo>
                  <a:pt x="52" y="247"/>
                  <a:pt x="52" y="246"/>
                  <a:pt x="51" y="246"/>
                </a:cubicBezTo>
                <a:cubicBezTo>
                  <a:pt x="51" y="247"/>
                  <a:pt x="50" y="248"/>
                  <a:pt x="51" y="249"/>
                </a:cubicBezTo>
                <a:cubicBezTo>
                  <a:pt x="50" y="250"/>
                  <a:pt x="49" y="251"/>
                  <a:pt x="48" y="251"/>
                </a:cubicBezTo>
                <a:cubicBezTo>
                  <a:pt x="48" y="252"/>
                  <a:pt x="48" y="252"/>
                  <a:pt x="48" y="253"/>
                </a:cubicBezTo>
                <a:cubicBezTo>
                  <a:pt x="47" y="252"/>
                  <a:pt x="49" y="250"/>
                  <a:pt x="48" y="251"/>
                </a:cubicBezTo>
                <a:cubicBezTo>
                  <a:pt x="47" y="252"/>
                  <a:pt x="46" y="254"/>
                  <a:pt x="46" y="253"/>
                </a:cubicBezTo>
                <a:cubicBezTo>
                  <a:pt x="45" y="254"/>
                  <a:pt x="45" y="255"/>
                  <a:pt x="45" y="256"/>
                </a:cubicBezTo>
                <a:cubicBezTo>
                  <a:pt x="45" y="255"/>
                  <a:pt x="45" y="256"/>
                  <a:pt x="45" y="257"/>
                </a:cubicBezTo>
                <a:cubicBezTo>
                  <a:pt x="44" y="258"/>
                  <a:pt x="45" y="256"/>
                  <a:pt x="44" y="257"/>
                </a:cubicBezTo>
                <a:cubicBezTo>
                  <a:pt x="43" y="259"/>
                  <a:pt x="42" y="259"/>
                  <a:pt x="41" y="261"/>
                </a:cubicBezTo>
                <a:cubicBezTo>
                  <a:pt x="42" y="260"/>
                  <a:pt x="42" y="259"/>
                  <a:pt x="41" y="259"/>
                </a:cubicBezTo>
                <a:cubicBezTo>
                  <a:pt x="42" y="259"/>
                  <a:pt x="42" y="258"/>
                  <a:pt x="42" y="257"/>
                </a:cubicBezTo>
                <a:cubicBezTo>
                  <a:pt x="43" y="257"/>
                  <a:pt x="43" y="256"/>
                  <a:pt x="44" y="254"/>
                </a:cubicBezTo>
                <a:cubicBezTo>
                  <a:pt x="44" y="255"/>
                  <a:pt x="43" y="257"/>
                  <a:pt x="43" y="256"/>
                </a:cubicBezTo>
                <a:cubicBezTo>
                  <a:pt x="44" y="255"/>
                  <a:pt x="46" y="254"/>
                  <a:pt x="45" y="253"/>
                </a:cubicBezTo>
                <a:cubicBezTo>
                  <a:pt x="47" y="251"/>
                  <a:pt x="48" y="250"/>
                  <a:pt x="50" y="248"/>
                </a:cubicBezTo>
                <a:cubicBezTo>
                  <a:pt x="50" y="247"/>
                  <a:pt x="50" y="247"/>
                  <a:pt x="50" y="247"/>
                </a:cubicBezTo>
                <a:cubicBezTo>
                  <a:pt x="50" y="247"/>
                  <a:pt x="50" y="246"/>
                  <a:pt x="50" y="246"/>
                </a:cubicBezTo>
                <a:cubicBezTo>
                  <a:pt x="51" y="244"/>
                  <a:pt x="50" y="247"/>
                  <a:pt x="51" y="246"/>
                </a:cubicBezTo>
                <a:cubicBezTo>
                  <a:pt x="52" y="245"/>
                  <a:pt x="52" y="244"/>
                  <a:pt x="52" y="244"/>
                </a:cubicBezTo>
                <a:cubicBezTo>
                  <a:pt x="53" y="243"/>
                  <a:pt x="52" y="244"/>
                  <a:pt x="53" y="243"/>
                </a:cubicBezTo>
                <a:cubicBezTo>
                  <a:pt x="54" y="241"/>
                  <a:pt x="54" y="240"/>
                  <a:pt x="56" y="239"/>
                </a:cubicBezTo>
                <a:cubicBezTo>
                  <a:pt x="56" y="238"/>
                  <a:pt x="56" y="239"/>
                  <a:pt x="56" y="238"/>
                </a:cubicBezTo>
                <a:cubicBezTo>
                  <a:pt x="57" y="237"/>
                  <a:pt x="58" y="236"/>
                  <a:pt x="57" y="237"/>
                </a:cubicBezTo>
                <a:cubicBezTo>
                  <a:pt x="57" y="236"/>
                  <a:pt x="58" y="235"/>
                  <a:pt x="59" y="235"/>
                </a:cubicBezTo>
                <a:cubicBezTo>
                  <a:pt x="60" y="231"/>
                  <a:pt x="63" y="229"/>
                  <a:pt x="64" y="227"/>
                </a:cubicBezTo>
                <a:cubicBezTo>
                  <a:pt x="65" y="226"/>
                  <a:pt x="66" y="224"/>
                  <a:pt x="65" y="224"/>
                </a:cubicBezTo>
                <a:cubicBezTo>
                  <a:pt x="64" y="225"/>
                  <a:pt x="65" y="225"/>
                  <a:pt x="64" y="226"/>
                </a:cubicBezTo>
                <a:cubicBezTo>
                  <a:pt x="63" y="227"/>
                  <a:pt x="64" y="225"/>
                  <a:pt x="63" y="226"/>
                </a:cubicBezTo>
                <a:cubicBezTo>
                  <a:pt x="60" y="230"/>
                  <a:pt x="57" y="234"/>
                  <a:pt x="54" y="238"/>
                </a:cubicBezTo>
                <a:cubicBezTo>
                  <a:pt x="54" y="237"/>
                  <a:pt x="55" y="237"/>
                  <a:pt x="55" y="236"/>
                </a:cubicBezTo>
                <a:cubicBezTo>
                  <a:pt x="55" y="235"/>
                  <a:pt x="54" y="236"/>
                  <a:pt x="55" y="235"/>
                </a:cubicBezTo>
                <a:cubicBezTo>
                  <a:pt x="55" y="235"/>
                  <a:pt x="55" y="235"/>
                  <a:pt x="55" y="235"/>
                </a:cubicBezTo>
                <a:cubicBezTo>
                  <a:pt x="56" y="233"/>
                  <a:pt x="56" y="233"/>
                  <a:pt x="57" y="231"/>
                </a:cubicBezTo>
                <a:cubicBezTo>
                  <a:pt x="56" y="233"/>
                  <a:pt x="57" y="232"/>
                  <a:pt x="57" y="233"/>
                </a:cubicBezTo>
                <a:cubicBezTo>
                  <a:pt x="57" y="233"/>
                  <a:pt x="56" y="234"/>
                  <a:pt x="56" y="234"/>
                </a:cubicBezTo>
                <a:cubicBezTo>
                  <a:pt x="56" y="234"/>
                  <a:pt x="56" y="235"/>
                  <a:pt x="56" y="235"/>
                </a:cubicBezTo>
                <a:cubicBezTo>
                  <a:pt x="56" y="234"/>
                  <a:pt x="57" y="233"/>
                  <a:pt x="58" y="232"/>
                </a:cubicBezTo>
                <a:cubicBezTo>
                  <a:pt x="57" y="232"/>
                  <a:pt x="58" y="230"/>
                  <a:pt x="58" y="230"/>
                </a:cubicBezTo>
                <a:cubicBezTo>
                  <a:pt x="60" y="228"/>
                  <a:pt x="64" y="221"/>
                  <a:pt x="66" y="220"/>
                </a:cubicBezTo>
                <a:cubicBezTo>
                  <a:pt x="66" y="219"/>
                  <a:pt x="65" y="220"/>
                  <a:pt x="66" y="219"/>
                </a:cubicBezTo>
                <a:cubicBezTo>
                  <a:pt x="67" y="218"/>
                  <a:pt x="68" y="218"/>
                  <a:pt x="69" y="216"/>
                </a:cubicBezTo>
                <a:cubicBezTo>
                  <a:pt x="68" y="217"/>
                  <a:pt x="69" y="217"/>
                  <a:pt x="68" y="218"/>
                </a:cubicBezTo>
                <a:cubicBezTo>
                  <a:pt x="68" y="218"/>
                  <a:pt x="68" y="218"/>
                  <a:pt x="67" y="218"/>
                </a:cubicBezTo>
                <a:cubicBezTo>
                  <a:pt x="67" y="219"/>
                  <a:pt x="66" y="220"/>
                  <a:pt x="67" y="220"/>
                </a:cubicBezTo>
                <a:cubicBezTo>
                  <a:pt x="67" y="219"/>
                  <a:pt x="70" y="216"/>
                  <a:pt x="70" y="215"/>
                </a:cubicBezTo>
                <a:cubicBezTo>
                  <a:pt x="71" y="214"/>
                  <a:pt x="71" y="213"/>
                  <a:pt x="72" y="212"/>
                </a:cubicBezTo>
                <a:cubicBezTo>
                  <a:pt x="72" y="213"/>
                  <a:pt x="71" y="214"/>
                  <a:pt x="71" y="214"/>
                </a:cubicBezTo>
                <a:cubicBezTo>
                  <a:pt x="72" y="213"/>
                  <a:pt x="72" y="212"/>
                  <a:pt x="73" y="211"/>
                </a:cubicBezTo>
                <a:cubicBezTo>
                  <a:pt x="72" y="211"/>
                  <a:pt x="76" y="207"/>
                  <a:pt x="76" y="206"/>
                </a:cubicBezTo>
                <a:cubicBezTo>
                  <a:pt x="76" y="206"/>
                  <a:pt x="76" y="207"/>
                  <a:pt x="76" y="207"/>
                </a:cubicBezTo>
                <a:cubicBezTo>
                  <a:pt x="77" y="206"/>
                  <a:pt x="78" y="205"/>
                  <a:pt x="77" y="205"/>
                </a:cubicBezTo>
                <a:cubicBezTo>
                  <a:pt x="79" y="204"/>
                  <a:pt x="78" y="203"/>
                  <a:pt x="79" y="203"/>
                </a:cubicBezTo>
                <a:cubicBezTo>
                  <a:pt x="80" y="202"/>
                  <a:pt x="81" y="201"/>
                  <a:pt x="80" y="201"/>
                </a:cubicBezTo>
                <a:cubicBezTo>
                  <a:pt x="81" y="199"/>
                  <a:pt x="81" y="201"/>
                  <a:pt x="82" y="200"/>
                </a:cubicBezTo>
                <a:cubicBezTo>
                  <a:pt x="81" y="199"/>
                  <a:pt x="82" y="199"/>
                  <a:pt x="83" y="197"/>
                </a:cubicBezTo>
                <a:cubicBezTo>
                  <a:pt x="84" y="197"/>
                  <a:pt x="83" y="198"/>
                  <a:pt x="83" y="198"/>
                </a:cubicBezTo>
                <a:cubicBezTo>
                  <a:pt x="84" y="197"/>
                  <a:pt x="84" y="197"/>
                  <a:pt x="84" y="197"/>
                </a:cubicBezTo>
                <a:cubicBezTo>
                  <a:pt x="84" y="197"/>
                  <a:pt x="84" y="196"/>
                  <a:pt x="85" y="196"/>
                </a:cubicBezTo>
                <a:cubicBezTo>
                  <a:pt x="86" y="196"/>
                  <a:pt x="83" y="197"/>
                  <a:pt x="84" y="197"/>
                </a:cubicBezTo>
                <a:cubicBezTo>
                  <a:pt x="86" y="196"/>
                  <a:pt x="87" y="194"/>
                  <a:pt x="86" y="194"/>
                </a:cubicBezTo>
                <a:cubicBezTo>
                  <a:pt x="87" y="194"/>
                  <a:pt x="89" y="193"/>
                  <a:pt x="88" y="192"/>
                </a:cubicBezTo>
                <a:cubicBezTo>
                  <a:pt x="89" y="191"/>
                  <a:pt x="89" y="192"/>
                  <a:pt x="89" y="191"/>
                </a:cubicBezTo>
                <a:cubicBezTo>
                  <a:pt x="92" y="188"/>
                  <a:pt x="93" y="187"/>
                  <a:pt x="96" y="183"/>
                </a:cubicBezTo>
                <a:cubicBezTo>
                  <a:pt x="97" y="182"/>
                  <a:pt x="96" y="183"/>
                  <a:pt x="97" y="183"/>
                </a:cubicBezTo>
                <a:cubicBezTo>
                  <a:pt x="98" y="181"/>
                  <a:pt x="99" y="179"/>
                  <a:pt x="100" y="179"/>
                </a:cubicBezTo>
                <a:cubicBezTo>
                  <a:pt x="100" y="178"/>
                  <a:pt x="102" y="177"/>
                  <a:pt x="102" y="177"/>
                </a:cubicBezTo>
                <a:cubicBezTo>
                  <a:pt x="102" y="177"/>
                  <a:pt x="102" y="177"/>
                  <a:pt x="102" y="176"/>
                </a:cubicBezTo>
                <a:cubicBezTo>
                  <a:pt x="103" y="176"/>
                  <a:pt x="106" y="171"/>
                  <a:pt x="106" y="172"/>
                </a:cubicBezTo>
                <a:cubicBezTo>
                  <a:pt x="107" y="170"/>
                  <a:pt x="109" y="168"/>
                  <a:pt x="109" y="167"/>
                </a:cubicBezTo>
                <a:cubicBezTo>
                  <a:pt x="111" y="166"/>
                  <a:pt x="115" y="160"/>
                  <a:pt x="115" y="163"/>
                </a:cubicBezTo>
                <a:cubicBezTo>
                  <a:pt x="116" y="162"/>
                  <a:pt x="115" y="161"/>
                  <a:pt x="117" y="160"/>
                </a:cubicBezTo>
                <a:cubicBezTo>
                  <a:pt x="118" y="160"/>
                  <a:pt x="115" y="162"/>
                  <a:pt x="116" y="162"/>
                </a:cubicBezTo>
                <a:cubicBezTo>
                  <a:pt x="117" y="161"/>
                  <a:pt x="119" y="159"/>
                  <a:pt x="119" y="158"/>
                </a:cubicBezTo>
                <a:cubicBezTo>
                  <a:pt x="118" y="159"/>
                  <a:pt x="117" y="160"/>
                  <a:pt x="117" y="160"/>
                </a:cubicBezTo>
                <a:cubicBezTo>
                  <a:pt x="118" y="158"/>
                  <a:pt x="121" y="156"/>
                  <a:pt x="122" y="155"/>
                </a:cubicBezTo>
                <a:cubicBezTo>
                  <a:pt x="123" y="154"/>
                  <a:pt x="121" y="156"/>
                  <a:pt x="122" y="154"/>
                </a:cubicBezTo>
                <a:cubicBezTo>
                  <a:pt x="123" y="154"/>
                  <a:pt x="123" y="153"/>
                  <a:pt x="124" y="152"/>
                </a:cubicBezTo>
                <a:cubicBezTo>
                  <a:pt x="123" y="153"/>
                  <a:pt x="123" y="153"/>
                  <a:pt x="122" y="153"/>
                </a:cubicBezTo>
                <a:cubicBezTo>
                  <a:pt x="122" y="154"/>
                  <a:pt x="121" y="155"/>
                  <a:pt x="120" y="156"/>
                </a:cubicBezTo>
                <a:cubicBezTo>
                  <a:pt x="120" y="154"/>
                  <a:pt x="121" y="154"/>
                  <a:pt x="122" y="153"/>
                </a:cubicBezTo>
                <a:cubicBezTo>
                  <a:pt x="124" y="152"/>
                  <a:pt x="124" y="153"/>
                  <a:pt x="125" y="151"/>
                </a:cubicBezTo>
                <a:cubicBezTo>
                  <a:pt x="126" y="150"/>
                  <a:pt x="125" y="151"/>
                  <a:pt x="125" y="150"/>
                </a:cubicBezTo>
                <a:cubicBezTo>
                  <a:pt x="126" y="149"/>
                  <a:pt x="126" y="149"/>
                  <a:pt x="126" y="149"/>
                </a:cubicBezTo>
                <a:cubicBezTo>
                  <a:pt x="126" y="149"/>
                  <a:pt x="126" y="149"/>
                  <a:pt x="126" y="149"/>
                </a:cubicBezTo>
                <a:cubicBezTo>
                  <a:pt x="126" y="150"/>
                  <a:pt x="125" y="151"/>
                  <a:pt x="126" y="151"/>
                </a:cubicBezTo>
                <a:cubicBezTo>
                  <a:pt x="127" y="149"/>
                  <a:pt x="127" y="151"/>
                  <a:pt x="127" y="151"/>
                </a:cubicBezTo>
                <a:cubicBezTo>
                  <a:pt x="128" y="150"/>
                  <a:pt x="128" y="149"/>
                  <a:pt x="129" y="148"/>
                </a:cubicBezTo>
                <a:cubicBezTo>
                  <a:pt x="131" y="147"/>
                  <a:pt x="134" y="144"/>
                  <a:pt x="133" y="143"/>
                </a:cubicBezTo>
                <a:cubicBezTo>
                  <a:pt x="134" y="143"/>
                  <a:pt x="133" y="145"/>
                  <a:pt x="134" y="144"/>
                </a:cubicBezTo>
                <a:cubicBezTo>
                  <a:pt x="134" y="144"/>
                  <a:pt x="135" y="143"/>
                  <a:pt x="135" y="142"/>
                </a:cubicBezTo>
                <a:cubicBezTo>
                  <a:pt x="136" y="141"/>
                  <a:pt x="137" y="140"/>
                  <a:pt x="138" y="139"/>
                </a:cubicBezTo>
                <a:cubicBezTo>
                  <a:pt x="139" y="138"/>
                  <a:pt x="137" y="141"/>
                  <a:pt x="139" y="140"/>
                </a:cubicBezTo>
                <a:cubicBezTo>
                  <a:pt x="140" y="137"/>
                  <a:pt x="140" y="137"/>
                  <a:pt x="140" y="137"/>
                </a:cubicBezTo>
                <a:cubicBezTo>
                  <a:pt x="141" y="138"/>
                  <a:pt x="142" y="136"/>
                  <a:pt x="143" y="136"/>
                </a:cubicBezTo>
                <a:cubicBezTo>
                  <a:pt x="143" y="135"/>
                  <a:pt x="143" y="135"/>
                  <a:pt x="144" y="135"/>
                </a:cubicBezTo>
                <a:cubicBezTo>
                  <a:pt x="145" y="134"/>
                  <a:pt x="148" y="132"/>
                  <a:pt x="148" y="130"/>
                </a:cubicBezTo>
                <a:cubicBezTo>
                  <a:pt x="148" y="130"/>
                  <a:pt x="151" y="128"/>
                  <a:pt x="150" y="128"/>
                </a:cubicBezTo>
                <a:cubicBezTo>
                  <a:pt x="152" y="128"/>
                  <a:pt x="153" y="125"/>
                  <a:pt x="155" y="125"/>
                </a:cubicBezTo>
                <a:cubicBezTo>
                  <a:pt x="155" y="124"/>
                  <a:pt x="155" y="124"/>
                  <a:pt x="156" y="124"/>
                </a:cubicBezTo>
                <a:cubicBezTo>
                  <a:pt x="155" y="124"/>
                  <a:pt x="155" y="124"/>
                  <a:pt x="155" y="124"/>
                </a:cubicBezTo>
                <a:cubicBezTo>
                  <a:pt x="156" y="123"/>
                  <a:pt x="156" y="122"/>
                  <a:pt x="158" y="121"/>
                </a:cubicBezTo>
                <a:cubicBezTo>
                  <a:pt x="157" y="122"/>
                  <a:pt x="155" y="123"/>
                  <a:pt x="156" y="123"/>
                </a:cubicBezTo>
                <a:cubicBezTo>
                  <a:pt x="158" y="121"/>
                  <a:pt x="161" y="121"/>
                  <a:pt x="163" y="119"/>
                </a:cubicBezTo>
                <a:cubicBezTo>
                  <a:pt x="163" y="118"/>
                  <a:pt x="164" y="117"/>
                  <a:pt x="163" y="117"/>
                </a:cubicBezTo>
                <a:cubicBezTo>
                  <a:pt x="161" y="118"/>
                  <a:pt x="163" y="119"/>
                  <a:pt x="161" y="120"/>
                </a:cubicBezTo>
                <a:cubicBezTo>
                  <a:pt x="162" y="118"/>
                  <a:pt x="160" y="119"/>
                  <a:pt x="161" y="118"/>
                </a:cubicBezTo>
                <a:cubicBezTo>
                  <a:pt x="161" y="118"/>
                  <a:pt x="163" y="117"/>
                  <a:pt x="164" y="116"/>
                </a:cubicBezTo>
                <a:cubicBezTo>
                  <a:pt x="164" y="117"/>
                  <a:pt x="163" y="118"/>
                  <a:pt x="165" y="117"/>
                </a:cubicBezTo>
                <a:cubicBezTo>
                  <a:pt x="165" y="116"/>
                  <a:pt x="164" y="116"/>
                  <a:pt x="166" y="116"/>
                </a:cubicBezTo>
                <a:cubicBezTo>
                  <a:pt x="166" y="116"/>
                  <a:pt x="165" y="116"/>
                  <a:pt x="166" y="116"/>
                </a:cubicBezTo>
                <a:cubicBezTo>
                  <a:pt x="167" y="115"/>
                  <a:pt x="168" y="114"/>
                  <a:pt x="169" y="113"/>
                </a:cubicBezTo>
                <a:cubicBezTo>
                  <a:pt x="170" y="113"/>
                  <a:pt x="173" y="110"/>
                  <a:pt x="175" y="109"/>
                </a:cubicBezTo>
                <a:cubicBezTo>
                  <a:pt x="175" y="109"/>
                  <a:pt x="175" y="108"/>
                  <a:pt x="175" y="108"/>
                </a:cubicBezTo>
                <a:cubicBezTo>
                  <a:pt x="176" y="108"/>
                  <a:pt x="177" y="108"/>
                  <a:pt x="177" y="107"/>
                </a:cubicBezTo>
                <a:cubicBezTo>
                  <a:pt x="179" y="107"/>
                  <a:pt x="180" y="105"/>
                  <a:pt x="181" y="104"/>
                </a:cubicBezTo>
                <a:cubicBezTo>
                  <a:pt x="181" y="104"/>
                  <a:pt x="183" y="103"/>
                  <a:pt x="183" y="103"/>
                </a:cubicBezTo>
                <a:cubicBezTo>
                  <a:pt x="182" y="104"/>
                  <a:pt x="181" y="105"/>
                  <a:pt x="181" y="105"/>
                </a:cubicBezTo>
                <a:cubicBezTo>
                  <a:pt x="182" y="106"/>
                  <a:pt x="184" y="104"/>
                  <a:pt x="186" y="102"/>
                </a:cubicBezTo>
                <a:cubicBezTo>
                  <a:pt x="185" y="103"/>
                  <a:pt x="184" y="103"/>
                  <a:pt x="183" y="104"/>
                </a:cubicBezTo>
                <a:cubicBezTo>
                  <a:pt x="185" y="101"/>
                  <a:pt x="188" y="100"/>
                  <a:pt x="190" y="98"/>
                </a:cubicBezTo>
                <a:cubicBezTo>
                  <a:pt x="190" y="97"/>
                  <a:pt x="190" y="97"/>
                  <a:pt x="189" y="98"/>
                </a:cubicBezTo>
                <a:cubicBezTo>
                  <a:pt x="191" y="96"/>
                  <a:pt x="191" y="96"/>
                  <a:pt x="191" y="96"/>
                </a:cubicBezTo>
                <a:cubicBezTo>
                  <a:pt x="192" y="96"/>
                  <a:pt x="191" y="97"/>
                  <a:pt x="192" y="96"/>
                </a:cubicBezTo>
                <a:cubicBezTo>
                  <a:pt x="194" y="95"/>
                  <a:pt x="194" y="95"/>
                  <a:pt x="195" y="94"/>
                </a:cubicBezTo>
                <a:cubicBezTo>
                  <a:pt x="196" y="93"/>
                  <a:pt x="193" y="94"/>
                  <a:pt x="193" y="95"/>
                </a:cubicBezTo>
                <a:cubicBezTo>
                  <a:pt x="193" y="94"/>
                  <a:pt x="195" y="94"/>
                  <a:pt x="195" y="93"/>
                </a:cubicBezTo>
                <a:cubicBezTo>
                  <a:pt x="197" y="92"/>
                  <a:pt x="195" y="94"/>
                  <a:pt x="197" y="93"/>
                </a:cubicBezTo>
                <a:cubicBezTo>
                  <a:pt x="198" y="92"/>
                  <a:pt x="203" y="90"/>
                  <a:pt x="202" y="89"/>
                </a:cubicBezTo>
                <a:cubicBezTo>
                  <a:pt x="201" y="90"/>
                  <a:pt x="199" y="91"/>
                  <a:pt x="198" y="92"/>
                </a:cubicBezTo>
                <a:cubicBezTo>
                  <a:pt x="198" y="91"/>
                  <a:pt x="200" y="90"/>
                  <a:pt x="199" y="90"/>
                </a:cubicBezTo>
                <a:cubicBezTo>
                  <a:pt x="201" y="89"/>
                  <a:pt x="205" y="86"/>
                  <a:pt x="206" y="86"/>
                </a:cubicBezTo>
                <a:cubicBezTo>
                  <a:pt x="206" y="86"/>
                  <a:pt x="205" y="86"/>
                  <a:pt x="205" y="87"/>
                </a:cubicBezTo>
                <a:cubicBezTo>
                  <a:pt x="206" y="86"/>
                  <a:pt x="207" y="85"/>
                  <a:pt x="206" y="87"/>
                </a:cubicBezTo>
                <a:cubicBezTo>
                  <a:pt x="205" y="88"/>
                  <a:pt x="206" y="86"/>
                  <a:pt x="205" y="87"/>
                </a:cubicBezTo>
                <a:cubicBezTo>
                  <a:pt x="203" y="89"/>
                  <a:pt x="205" y="87"/>
                  <a:pt x="205" y="88"/>
                </a:cubicBezTo>
                <a:cubicBezTo>
                  <a:pt x="203" y="89"/>
                  <a:pt x="204" y="89"/>
                  <a:pt x="202" y="90"/>
                </a:cubicBezTo>
                <a:cubicBezTo>
                  <a:pt x="203" y="90"/>
                  <a:pt x="204" y="89"/>
                  <a:pt x="205" y="89"/>
                </a:cubicBezTo>
                <a:cubicBezTo>
                  <a:pt x="205" y="88"/>
                  <a:pt x="206" y="87"/>
                  <a:pt x="207" y="87"/>
                </a:cubicBezTo>
                <a:cubicBezTo>
                  <a:pt x="207" y="87"/>
                  <a:pt x="206" y="88"/>
                  <a:pt x="207" y="88"/>
                </a:cubicBezTo>
                <a:cubicBezTo>
                  <a:pt x="208" y="87"/>
                  <a:pt x="209" y="86"/>
                  <a:pt x="208" y="86"/>
                </a:cubicBezTo>
                <a:cubicBezTo>
                  <a:pt x="207" y="87"/>
                  <a:pt x="207" y="86"/>
                  <a:pt x="206" y="87"/>
                </a:cubicBezTo>
                <a:cubicBezTo>
                  <a:pt x="207" y="86"/>
                  <a:pt x="208" y="86"/>
                  <a:pt x="209" y="85"/>
                </a:cubicBezTo>
                <a:cubicBezTo>
                  <a:pt x="209" y="84"/>
                  <a:pt x="210" y="84"/>
                  <a:pt x="210" y="84"/>
                </a:cubicBezTo>
                <a:cubicBezTo>
                  <a:pt x="209" y="85"/>
                  <a:pt x="208" y="85"/>
                  <a:pt x="207" y="85"/>
                </a:cubicBezTo>
                <a:cubicBezTo>
                  <a:pt x="207" y="84"/>
                  <a:pt x="208" y="85"/>
                  <a:pt x="209" y="84"/>
                </a:cubicBezTo>
                <a:cubicBezTo>
                  <a:pt x="207" y="84"/>
                  <a:pt x="206" y="85"/>
                  <a:pt x="205" y="86"/>
                </a:cubicBezTo>
                <a:cubicBezTo>
                  <a:pt x="205" y="86"/>
                  <a:pt x="205" y="85"/>
                  <a:pt x="205" y="85"/>
                </a:cubicBezTo>
                <a:cubicBezTo>
                  <a:pt x="204" y="86"/>
                  <a:pt x="203" y="87"/>
                  <a:pt x="204" y="87"/>
                </a:cubicBezTo>
                <a:cubicBezTo>
                  <a:pt x="202" y="88"/>
                  <a:pt x="201" y="88"/>
                  <a:pt x="200" y="89"/>
                </a:cubicBezTo>
                <a:cubicBezTo>
                  <a:pt x="201" y="89"/>
                  <a:pt x="199" y="90"/>
                  <a:pt x="199" y="90"/>
                </a:cubicBezTo>
                <a:cubicBezTo>
                  <a:pt x="198" y="90"/>
                  <a:pt x="198" y="90"/>
                  <a:pt x="198" y="90"/>
                </a:cubicBezTo>
                <a:cubicBezTo>
                  <a:pt x="198" y="90"/>
                  <a:pt x="197" y="91"/>
                  <a:pt x="197" y="92"/>
                </a:cubicBezTo>
                <a:cubicBezTo>
                  <a:pt x="195" y="92"/>
                  <a:pt x="194" y="93"/>
                  <a:pt x="193" y="94"/>
                </a:cubicBezTo>
                <a:cubicBezTo>
                  <a:pt x="193" y="94"/>
                  <a:pt x="192" y="94"/>
                  <a:pt x="192" y="94"/>
                </a:cubicBezTo>
                <a:cubicBezTo>
                  <a:pt x="190" y="96"/>
                  <a:pt x="186" y="97"/>
                  <a:pt x="185" y="99"/>
                </a:cubicBezTo>
                <a:cubicBezTo>
                  <a:pt x="184" y="99"/>
                  <a:pt x="183" y="100"/>
                  <a:pt x="183" y="101"/>
                </a:cubicBezTo>
                <a:cubicBezTo>
                  <a:pt x="182" y="102"/>
                  <a:pt x="182" y="101"/>
                  <a:pt x="181" y="101"/>
                </a:cubicBezTo>
                <a:cubicBezTo>
                  <a:pt x="181" y="103"/>
                  <a:pt x="177" y="104"/>
                  <a:pt x="175" y="105"/>
                </a:cubicBezTo>
                <a:cubicBezTo>
                  <a:pt x="175" y="106"/>
                  <a:pt x="175" y="106"/>
                  <a:pt x="175" y="106"/>
                </a:cubicBezTo>
                <a:cubicBezTo>
                  <a:pt x="174" y="107"/>
                  <a:pt x="174" y="107"/>
                  <a:pt x="172" y="109"/>
                </a:cubicBezTo>
                <a:cubicBezTo>
                  <a:pt x="172" y="108"/>
                  <a:pt x="173" y="107"/>
                  <a:pt x="172" y="107"/>
                </a:cubicBezTo>
                <a:cubicBezTo>
                  <a:pt x="171" y="110"/>
                  <a:pt x="166" y="113"/>
                  <a:pt x="164" y="115"/>
                </a:cubicBezTo>
                <a:cubicBezTo>
                  <a:pt x="164" y="115"/>
                  <a:pt x="164" y="115"/>
                  <a:pt x="164" y="116"/>
                </a:cubicBezTo>
                <a:cubicBezTo>
                  <a:pt x="163" y="116"/>
                  <a:pt x="162" y="117"/>
                  <a:pt x="161" y="118"/>
                </a:cubicBezTo>
                <a:cubicBezTo>
                  <a:pt x="161" y="117"/>
                  <a:pt x="162" y="116"/>
                  <a:pt x="161" y="116"/>
                </a:cubicBezTo>
                <a:cubicBezTo>
                  <a:pt x="156" y="120"/>
                  <a:pt x="151" y="126"/>
                  <a:pt x="147" y="128"/>
                </a:cubicBezTo>
                <a:cubicBezTo>
                  <a:pt x="147" y="128"/>
                  <a:pt x="148" y="127"/>
                  <a:pt x="148" y="126"/>
                </a:cubicBezTo>
                <a:cubicBezTo>
                  <a:pt x="147" y="127"/>
                  <a:pt x="148" y="126"/>
                  <a:pt x="147" y="127"/>
                </a:cubicBezTo>
                <a:cubicBezTo>
                  <a:pt x="146" y="129"/>
                  <a:pt x="145" y="128"/>
                  <a:pt x="144" y="129"/>
                </a:cubicBezTo>
                <a:cubicBezTo>
                  <a:pt x="143" y="130"/>
                  <a:pt x="144" y="130"/>
                  <a:pt x="143" y="131"/>
                </a:cubicBezTo>
                <a:cubicBezTo>
                  <a:pt x="142" y="131"/>
                  <a:pt x="142" y="131"/>
                  <a:pt x="141" y="132"/>
                </a:cubicBezTo>
                <a:cubicBezTo>
                  <a:pt x="140" y="133"/>
                  <a:pt x="141" y="132"/>
                  <a:pt x="141" y="133"/>
                </a:cubicBezTo>
                <a:cubicBezTo>
                  <a:pt x="140" y="133"/>
                  <a:pt x="138" y="136"/>
                  <a:pt x="138" y="135"/>
                </a:cubicBezTo>
                <a:cubicBezTo>
                  <a:pt x="138" y="135"/>
                  <a:pt x="139" y="134"/>
                  <a:pt x="139" y="134"/>
                </a:cubicBezTo>
                <a:cubicBezTo>
                  <a:pt x="137" y="135"/>
                  <a:pt x="139" y="134"/>
                  <a:pt x="137" y="134"/>
                </a:cubicBezTo>
                <a:cubicBezTo>
                  <a:pt x="136" y="135"/>
                  <a:pt x="137" y="135"/>
                  <a:pt x="137" y="135"/>
                </a:cubicBezTo>
                <a:cubicBezTo>
                  <a:pt x="136" y="137"/>
                  <a:pt x="133" y="139"/>
                  <a:pt x="131" y="140"/>
                </a:cubicBezTo>
                <a:cubicBezTo>
                  <a:pt x="131" y="141"/>
                  <a:pt x="130" y="142"/>
                  <a:pt x="130" y="143"/>
                </a:cubicBezTo>
                <a:cubicBezTo>
                  <a:pt x="128" y="144"/>
                  <a:pt x="130" y="142"/>
                  <a:pt x="129" y="143"/>
                </a:cubicBezTo>
                <a:cubicBezTo>
                  <a:pt x="128" y="144"/>
                  <a:pt x="127" y="145"/>
                  <a:pt x="126" y="146"/>
                </a:cubicBezTo>
                <a:cubicBezTo>
                  <a:pt x="127" y="146"/>
                  <a:pt x="127" y="145"/>
                  <a:pt x="127" y="146"/>
                </a:cubicBezTo>
                <a:cubicBezTo>
                  <a:pt x="126" y="146"/>
                  <a:pt x="126" y="148"/>
                  <a:pt x="126" y="147"/>
                </a:cubicBezTo>
                <a:cubicBezTo>
                  <a:pt x="125" y="148"/>
                  <a:pt x="125" y="149"/>
                  <a:pt x="124" y="150"/>
                </a:cubicBezTo>
                <a:cubicBezTo>
                  <a:pt x="124" y="149"/>
                  <a:pt x="125" y="149"/>
                  <a:pt x="125" y="148"/>
                </a:cubicBezTo>
                <a:cubicBezTo>
                  <a:pt x="124" y="149"/>
                  <a:pt x="125" y="148"/>
                  <a:pt x="125" y="147"/>
                </a:cubicBezTo>
                <a:cubicBezTo>
                  <a:pt x="124" y="148"/>
                  <a:pt x="123" y="149"/>
                  <a:pt x="122" y="149"/>
                </a:cubicBezTo>
                <a:cubicBezTo>
                  <a:pt x="123" y="149"/>
                  <a:pt x="124" y="147"/>
                  <a:pt x="123" y="148"/>
                </a:cubicBezTo>
                <a:cubicBezTo>
                  <a:pt x="121" y="149"/>
                  <a:pt x="120" y="152"/>
                  <a:pt x="119" y="153"/>
                </a:cubicBezTo>
                <a:cubicBezTo>
                  <a:pt x="119" y="152"/>
                  <a:pt x="120" y="151"/>
                  <a:pt x="119" y="152"/>
                </a:cubicBezTo>
                <a:cubicBezTo>
                  <a:pt x="118" y="153"/>
                  <a:pt x="117" y="156"/>
                  <a:pt x="115" y="156"/>
                </a:cubicBezTo>
                <a:cubicBezTo>
                  <a:pt x="116" y="156"/>
                  <a:pt x="117" y="155"/>
                  <a:pt x="116" y="155"/>
                </a:cubicBezTo>
                <a:cubicBezTo>
                  <a:pt x="115" y="156"/>
                  <a:pt x="114" y="157"/>
                  <a:pt x="113" y="159"/>
                </a:cubicBezTo>
                <a:cubicBezTo>
                  <a:pt x="112" y="159"/>
                  <a:pt x="112" y="159"/>
                  <a:pt x="111" y="159"/>
                </a:cubicBezTo>
                <a:cubicBezTo>
                  <a:pt x="111" y="160"/>
                  <a:pt x="111" y="160"/>
                  <a:pt x="110" y="161"/>
                </a:cubicBezTo>
                <a:cubicBezTo>
                  <a:pt x="110" y="161"/>
                  <a:pt x="110" y="162"/>
                  <a:pt x="109" y="162"/>
                </a:cubicBezTo>
                <a:cubicBezTo>
                  <a:pt x="109" y="162"/>
                  <a:pt x="109" y="162"/>
                  <a:pt x="109" y="162"/>
                </a:cubicBezTo>
                <a:cubicBezTo>
                  <a:pt x="106" y="164"/>
                  <a:pt x="105" y="167"/>
                  <a:pt x="103" y="169"/>
                </a:cubicBezTo>
                <a:cubicBezTo>
                  <a:pt x="103" y="169"/>
                  <a:pt x="103" y="168"/>
                  <a:pt x="102" y="168"/>
                </a:cubicBezTo>
                <a:cubicBezTo>
                  <a:pt x="102" y="169"/>
                  <a:pt x="101" y="170"/>
                  <a:pt x="100" y="171"/>
                </a:cubicBezTo>
                <a:cubicBezTo>
                  <a:pt x="101" y="170"/>
                  <a:pt x="102" y="168"/>
                  <a:pt x="102" y="169"/>
                </a:cubicBezTo>
                <a:cubicBezTo>
                  <a:pt x="101" y="171"/>
                  <a:pt x="100" y="171"/>
                  <a:pt x="98" y="172"/>
                </a:cubicBezTo>
                <a:cubicBezTo>
                  <a:pt x="97" y="174"/>
                  <a:pt x="99" y="172"/>
                  <a:pt x="99" y="173"/>
                </a:cubicBezTo>
                <a:cubicBezTo>
                  <a:pt x="96" y="175"/>
                  <a:pt x="94" y="179"/>
                  <a:pt x="92" y="181"/>
                </a:cubicBezTo>
                <a:cubicBezTo>
                  <a:pt x="92" y="180"/>
                  <a:pt x="93" y="180"/>
                  <a:pt x="93" y="179"/>
                </a:cubicBezTo>
                <a:cubicBezTo>
                  <a:pt x="92" y="180"/>
                  <a:pt x="93" y="179"/>
                  <a:pt x="92" y="180"/>
                </a:cubicBezTo>
                <a:cubicBezTo>
                  <a:pt x="90" y="183"/>
                  <a:pt x="87" y="186"/>
                  <a:pt x="84" y="189"/>
                </a:cubicBezTo>
                <a:cubicBezTo>
                  <a:pt x="85" y="188"/>
                  <a:pt x="85" y="188"/>
                  <a:pt x="84" y="188"/>
                </a:cubicBezTo>
                <a:cubicBezTo>
                  <a:pt x="83" y="190"/>
                  <a:pt x="83" y="191"/>
                  <a:pt x="82" y="192"/>
                </a:cubicBezTo>
                <a:cubicBezTo>
                  <a:pt x="82" y="191"/>
                  <a:pt x="82" y="191"/>
                  <a:pt x="82" y="191"/>
                </a:cubicBezTo>
                <a:cubicBezTo>
                  <a:pt x="80" y="194"/>
                  <a:pt x="78" y="196"/>
                  <a:pt x="76" y="199"/>
                </a:cubicBezTo>
                <a:cubicBezTo>
                  <a:pt x="76" y="198"/>
                  <a:pt x="76" y="198"/>
                  <a:pt x="76" y="198"/>
                </a:cubicBezTo>
                <a:cubicBezTo>
                  <a:pt x="73" y="202"/>
                  <a:pt x="73" y="202"/>
                  <a:pt x="71" y="205"/>
                </a:cubicBezTo>
                <a:cubicBezTo>
                  <a:pt x="71" y="204"/>
                  <a:pt x="71" y="203"/>
                  <a:pt x="70" y="204"/>
                </a:cubicBezTo>
                <a:cubicBezTo>
                  <a:pt x="70" y="205"/>
                  <a:pt x="69" y="204"/>
                  <a:pt x="69" y="206"/>
                </a:cubicBezTo>
                <a:cubicBezTo>
                  <a:pt x="68" y="207"/>
                  <a:pt x="68" y="207"/>
                  <a:pt x="68" y="207"/>
                </a:cubicBezTo>
                <a:cubicBezTo>
                  <a:pt x="68" y="208"/>
                  <a:pt x="67" y="208"/>
                  <a:pt x="67" y="209"/>
                </a:cubicBezTo>
                <a:cubicBezTo>
                  <a:pt x="67" y="209"/>
                  <a:pt x="68" y="208"/>
                  <a:pt x="68" y="209"/>
                </a:cubicBezTo>
                <a:cubicBezTo>
                  <a:pt x="66" y="211"/>
                  <a:pt x="67" y="210"/>
                  <a:pt x="65" y="212"/>
                </a:cubicBezTo>
                <a:cubicBezTo>
                  <a:pt x="65" y="212"/>
                  <a:pt x="66" y="210"/>
                  <a:pt x="66" y="212"/>
                </a:cubicBezTo>
                <a:cubicBezTo>
                  <a:pt x="63" y="213"/>
                  <a:pt x="60" y="218"/>
                  <a:pt x="61" y="216"/>
                </a:cubicBezTo>
                <a:cubicBezTo>
                  <a:pt x="59" y="217"/>
                  <a:pt x="59" y="219"/>
                  <a:pt x="58" y="220"/>
                </a:cubicBezTo>
                <a:cubicBezTo>
                  <a:pt x="58" y="220"/>
                  <a:pt x="58" y="219"/>
                  <a:pt x="58" y="219"/>
                </a:cubicBezTo>
                <a:cubicBezTo>
                  <a:pt x="57" y="221"/>
                  <a:pt x="56" y="220"/>
                  <a:pt x="55" y="222"/>
                </a:cubicBezTo>
                <a:cubicBezTo>
                  <a:pt x="55" y="223"/>
                  <a:pt x="56" y="222"/>
                  <a:pt x="56" y="223"/>
                </a:cubicBezTo>
                <a:cubicBezTo>
                  <a:pt x="55" y="223"/>
                  <a:pt x="53" y="226"/>
                  <a:pt x="53" y="227"/>
                </a:cubicBezTo>
                <a:cubicBezTo>
                  <a:pt x="47" y="235"/>
                  <a:pt x="41" y="244"/>
                  <a:pt x="35" y="252"/>
                </a:cubicBezTo>
                <a:cubicBezTo>
                  <a:pt x="35" y="251"/>
                  <a:pt x="36" y="250"/>
                  <a:pt x="36" y="249"/>
                </a:cubicBezTo>
                <a:cubicBezTo>
                  <a:pt x="36" y="249"/>
                  <a:pt x="37" y="248"/>
                  <a:pt x="36" y="248"/>
                </a:cubicBezTo>
                <a:cubicBezTo>
                  <a:pt x="36" y="249"/>
                  <a:pt x="36" y="249"/>
                  <a:pt x="36" y="250"/>
                </a:cubicBezTo>
                <a:cubicBezTo>
                  <a:pt x="35" y="250"/>
                  <a:pt x="36" y="250"/>
                  <a:pt x="35" y="251"/>
                </a:cubicBezTo>
                <a:cubicBezTo>
                  <a:pt x="34" y="252"/>
                  <a:pt x="35" y="251"/>
                  <a:pt x="34" y="251"/>
                </a:cubicBezTo>
                <a:cubicBezTo>
                  <a:pt x="34" y="251"/>
                  <a:pt x="34" y="252"/>
                  <a:pt x="33" y="253"/>
                </a:cubicBezTo>
                <a:cubicBezTo>
                  <a:pt x="33" y="253"/>
                  <a:pt x="33" y="253"/>
                  <a:pt x="33" y="253"/>
                </a:cubicBezTo>
                <a:cubicBezTo>
                  <a:pt x="35" y="252"/>
                  <a:pt x="35" y="252"/>
                  <a:pt x="36" y="252"/>
                </a:cubicBezTo>
                <a:cubicBezTo>
                  <a:pt x="35" y="253"/>
                  <a:pt x="35" y="254"/>
                  <a:pt x="34" y="254"/>
                </a:cubicBezTo>
                <a:cubicBezTo>
                  <a:pt x="34" y="254"/>
                  <a:pt x="35" y="252"/>
                  <a:pt x="34" y="253"/>
                </a:cubicBezTo>
                <a:cubicBezTo>
                  <a:pt x="33" y="256"/>
                  <a:pt x="30" y="257"/>
                  <a:pt x="30" y="260"/>
                </a:cubicBezTo>
                <a:cubicBezTo>
                  <a:pt x="29" y="260"/>
                  <a:pt x="29" y="260"/>
                  <a:pt x="29" y="261"/>
                </a:cubicBezTo>
                <a:cubicBezTo>
                  <a:pt x="28" y="261"/>
                  <a:pt x="28" y="262"/>
                  <a:pt x="27" y="263"/>
                </a:cubicBezTo>
                <a:cubicBezTo>
                  <a:pt x="28" y="262"/>
                  <a:pt x="28" y="261"/>
                  <a:pt x="29" y="259"/>
                </a:cubicBezTo>
                <a:cubicBezTo>
                  <a:pt x="27" y="261"/>
                  <a:pt x="26" y="263"/>
                  <a:pt x="25" y="265"/>
                </a:cubicBezTo>
                <a:cubicBezTo>
                  <a:pt x="25" y="264"/>
                  <a:pt x="24" y="267"/>
                  <a:pt x="23" y="267"/>
                </a:cubicBezTo>
                <a:cubicBezTo>
                  <a:pt x="23" y="267"/>
                  <a:pt x="24" y="264"/>
                  <a:pt x="23" y="265"/>
                </a:cubicBezTo>
                <a:cubicBezTo>
                  <a:pt x="23" y="266"/>
                  <a:pt x="22" y="267"/>
                  <a:pt x="21" y="269"/>
                </a:cubicBezTo>
                <a:cubicBezTo>
                  <a:pt x="21" y="270"/>
                  <a:pt x="21" y="270"/>
                  <a:pt x="21" y="271"/>
                </a:cubicBezTo>
                <a:cubicBezTo>
                  <a:pt x="20" y="271"/>
                  <a:pt x="20" y="271"/>
                  <a:pt x="19" y="272"/>
                </a:cubicBezTo>
                <a:cubicBezTo>
                  <a:pt x="19" y="271"/>
                  <a:pt x="19" y="272"/>
                  <a:pt x="19" y="271"/>
                </a:cubicBezTo>
                <a:cubicBezTo>
                  <a:pt x="19" y="270"/>
                  <a:pt x="20" y="269"/>
                  <a:pt x="20" y="268"/>
                </a:cubicBezTo>
                <a:cubicBezTo>
                  <a:pt x="22" y="266"/>
                  <a:pt x="23" y="263"/>
                  <a:pt x="26" y="260"/>
                </a:cubicBezTo>
                <a:cubicBezTo>
                  <a:pt x="26" y="258"/>
                  <a:pt x="28" y="257"/>
                  <a:pt x="29" y="255"/>
                </a:cubicBezTo>
                <a:cubicBezTo>
                  <a:pt x="28" y="255"/>
                  <a:pt x="28" y="255"/>
                  <a:pt x="28" y="255"/>
                </a:cubicBezTo>
                <a:cubicBezTo>
                  <a:pt x="29" y="254"/>
                  <a:pt x="29" y="253"/>
                  <a:pt x="30" y="253"/>
                </a:cubicBezTo>
                <a:cubicBezTo>
                  <a:pt x="30" y="253"/>
                  <a:pt x="30" y="254"/>
                  <a:pt x="31" y="253"/>
                </a:cubicBezTo>
                <a:cubicBezTo>
                  <a:pt x="31" y="253"/>
                  <a:pt x="31" y="253"/>
                  <a:pt x="31" y="252"/>
                </a:cubicBezTo>
                <a:cubicBezTo>
                  <a:pt x="32" y="250"/>
                  <a:pt x="31" y="252"/>
                  <a:pt x="31" y="250"/>
                </a:cubicBezTo>
                <a:cubicBezTo>
                  <a:pt x="32" y="249"/>
                  <a:pt x="32" y="249"/>
                  <a:pt x="33" y="247"/>
                </a:cubicBezTo>
                <a:cubicBezTo>
                  <a:pt x="33" y="247"/>
                  <a:pt x="33" y="247"/>
                  <a:pt x="34" y="247"/>
                </a:cubicBezTo>
                <a:cubicBezTo>
                  <a:pt x="34" y="246"/>
                  <a:pt x="34" y="245"/>
                  <a:pt x="35" y="244"/>
                </a:cubicBezTo>
                <a:cubicBezTo>
                  <a:pt x="36" y="245"/>
                  <a:pt x="34" y="247"/>
                  <a:pt x="33" y="249"/>
                </a:cubicBezTo>
                <a:cubicBezTo>
                  <a:pt x="33" y="248"/>
                  <a:pt x="33" y="250"/>
                  <a:pt x="34" y="249"/>
                </a:cubicBezTo>
                <a:cubicBezTo>
                  <a:pt x="34" y="247"/>
                  <a:pt x="35" y="246"/>
                  <a:pt x="36" y="245"/>
                </a:cubicBezTo>
                <a:cubicBezTo>
                  <a:pt x="37" y="243"/>
                  <a:pt x="37" y="244"/>
                  <a:pt x="37" y="243"/>
                </a:cubicBezTo>
                <a:cubicBezTo>
                  <a:pt x="38" y="242"/>
                  <a:pt x="38" y="243"/>
                  <a:pt x="38" y="242"/>
                </a:cubicBezTo>
                <a:cubicBezTo>
                  <a:pt x="39" y="241"/>
                  <a:pt x="39" y="240"/>
                  <a:pt x="39" y="240"/>
                </a:cubicBezTo>
                <a:cubicBezTo>
                  <a:pt x="40" y="239"/>
                  <a:pt x="40" y="240"/>
                  <a:pt x="41" y="238"/>
                </a:cubicBezTo>
                <a:cubicBezTo>
                  <a:pt x="40" y="239"/>
                  <a:pt x="40" y="239"/>
                  <a:pt x="40" y="237"/>
                </a:cubicBezTo>
                <a:cubicBezTo>
                  <a:pt x="41" y="237"/>
                  <a:pt x="41" y="236"/>
                  <a:pt x="43" y="236"/>
                </a:cubicBezTo>
                <a:cubicBezTo>
                  <a:pt x="43" y="234"/>
                  <a:pt x="43" y="235"/>
                  <a:pt x="44" y="233"/>
                </a:cubicBezTo>
                <a:cubicBezTo>
                  <a:pt x="43" y="234"/>
                  <a:pt x="42" y="236"/>
                  <a:pt x="41" y="236"/>
                </a:cubicBezTo>
                <a:cubicBezTo>
                  <a:pt x="42" y="234"/>
                  <a:pt x="44" y="232"/>
                  <a:pt x="45" y="231"/>
                </a:cubicBezTo>
                <a:cubicBezTo>
                  <a:pt x="44" y="230"/>
                  <a:pt x="48" y="227"/>
                  <a:pt x="49" y="225"/>
                </a:cubicBezTo>
                <a:cubicBezTo>
                  <a:pt x="47" y="226"/>
                  <a:pt x="44" y="230"/>
                  <a:pt x="44" y="228"/>
                </a:cubicBezTo>
                <a:cubicBezTo>
                  <a:pt x="44" y="229"/>
                  <a:pt x="43" y="230"/>
                  <a:pt x="43" y="230"/>
                </a:cubicBezTo>
                <a:cubicBezTo>
                  <a:pt x="44" y="230"/>
                  <a:pt x="44" y="230"/>
                  <a:pt x="44" y="230"/>
                </a:cubicBezTo>
                <a:cubicBezTo>
                  <a:pt x="42" y="232"/>
                  <a:pt x="43" y="232"/>
                  <a:pt x="42" y="234"/>
                </a:cubicBezTo>
                <a:cubicBezTo>
                  <a:pt x="42" y="233"/>
                  <a:pt x="42" y="232"/>
                  <a:pt x="42" y="233"/>
                </a:cubicBezTo>
                <a:cubicBezTo>
                  <a:pt x="41" y="233"/>
                  <a:pt x="41" y="234"/>
                  <a:pt x="41" y="234"/>
                </a:cubicBezTo>
                <a:cubicBezTo>
                  <a:pt x="40" y="236"/>
                  <a:pt x="40" y="236"/>
                  <a:pt x="40" y="236"/>
                </a:cubicBezTo>
                <a:cubicBezTo>
                  <a:pt x="40" y="236"/>
                  <a:pt x="39" y="237"/>
                  <a:pt x="38" y="238"/>
                </a:cubicBezTo>
                <a:cubicBezTo>
                  <a:pt x="38" y="236"/>
                  <a:pt x="39" y="236"/>
                  <a:pt x="40" y="235"/>
                </a:cubicBezTo>
                <a:cubicBezTo>
                  <a:pt x="39" y="235"/>
                  <a:pt x="39" y="236"/>
                  <a:pt x="38" y="236"/>
                </a:cubicBezTo>
                <a:cubicBezTo>
                  <a:pt x="38" y="238"/>
                  <a:pt x="38" y="238"/>
                  <a:pt x="38" y="238"/>
                </a:cubicBezTo>
                <a:cubicBezTo>
                  <a:pt x="38" y="238"/>
                  <a:pt x="38" y="238"/>
                  <a:pt x="38" y="238"/>
                </a:cubicBezTo>
                <a:cubicBezTo>
                  <a:pt x="37" y="240"/>
                  <a:pt x="36" y="242"/>
                  <a:pt x="34" y="243"/>
                </a:cubicBezTo>
                <a:cubicBezTo>
                  <a:pt x="34" y="247"/>
                  <a:pt x="29" y="251"/>
                  <a:pt x="28" y="254"/>
                </a:cubicBezTo>
                <a:cubicBezTo>
                  <a:pt x="28" y="253"/>
                  <a:pt x="28" y="253"/>
                  <a:pt x="28" y="252"/>
                </a:cubicBezTo>
                <a:cubicBezTo>
                  <a:pt x="29" y="251"/>
                  <a:pt x="32" y="249"/>
                  <a:pt x="32" y="247"/>
                </a:cubicBezTo>
                <a:cubicBezTo>
                  <a:pt x="33" y="246"/>
                  <a:pt x="33" y="245"/>
                  <a:pt x="34" y="244"/>
                </a:cubicBezTo>
                <a:cubicBezTo>
                  <a:pt x="33" y="244"/>
                  <a:pt x="33" y="246"/>
                  <a:pt x="32" y="245"/>
                </a:cubicBezTo>
                <a:cubicBezTo>
                  <a:pt x="32" y="247"/>
                  <a:pt x="30" y="248"/>
                  <a:pt x="31" y="249"/>
                </a:cubicBezTo>
                <a:cubicBezTo>
                  <a:pt x="29" y="250"/>
                  <a:pt x="28" y="252"/>
                  <a:pt x="27" y="253"/>
                </a:cubicBezTo>
                <a:cubicBezTo>
                  <a:pt x="27" y="252"/>
                  <a:pt x="28" y="251"/>
                  <a:pt x="27" y="252"/>
                </a:cubicBezTo>
                <a:cubicBezTo>
                  <a:pt x="27" y="253"/>
                  <a:pt x="26" y="253"/>
                  <a:pt x="26" y="253"/>
                </a:cubicBezTo>
                <a:cubicBezTo>
                  <a:pt x="27" y="253"/>
                  <a:pt x="25" y="254"/>
                  <a:pt x="25" y="255"/>
                </a:cubicBezTo>
                <a:cubicBezTo>
                  <a:pt x="26" y="254"/>
                  <a:pt x="26" y="254"/>
                  <a:pt x="26" y="255"/>
                </a:cubicBezTo>
                <a:cubicBezTo>
                  <a:pt x="25" y="256"/>
                  <a:pt x="25" y="257"/>
                  <a:pt x="23" y="258"/>
                </a:cubicBezTo>
                <a:cubicBezTo>
                  <a:pt x="23" y="258"/>
                  <a:pt x="24" y="257"/>
                  <a:pt x="23" y="257"/>
                </a:cubicBezTo>
                <a:cubicBezTo>
                  <a:pt x="22" y="258"/>
                  <a:pt x="23" y="259"/>
                  <a:pt x="22" y="260"/>
                </a:cubicBezTo>
                <a:cubicBezTo>
                  <a:pt x="21" y="261"/>
                  <a:pt x="20" y="263"/>
                  <a:pt x="19" y="263"/>
                </a:cubicBezTo>
                <a:cubicBezTo>
                  <a:pt x="18" y="265"/>
                  <a:pt x="17" y="266"/>
                  <a:pt x="16" y="267"/>
                </a:cubicBezTo>
                <a:cubicBezTo>
                  <a:pt x="17" y="266"/>
                  <a:pt x="16" y="266"/>
                  <a:pt x="16" y="266"/>
                </a:cubicBezTo>
                <a:cubicBezTo>
                  <a:pt x="16" y="267"/>
                  <a:pt x="14" y="268"/>
                  <a:pt x="15" y="268"/>
                </a:cubicBezTo>
                <a:cubicBezTo>
                  <a:pt x="14" y="270"/>
                  <a:pt x="14" y="268"/>
                  <a:pt x="14" y="269"/>
                </a:cubicBezTo>
                <a:cubicBezTo>
                  <a:pt x="13" y="269"/>
                  <a:pt x="13" y="270"/>
                  <a:pt x="12" y="270"/>
                </a:cubicBezTo>
                <a:cubicBezTo>
                  <a:pt x="13" y="271"/>
                  <a:pt x="13" y="270"/>
                  <a:pt x="14" y="269"/>
                </a:cubicBezTo>
                <a:cubicBezTo>
                  <a:pt x="14" y="270"/>
                  <a:pt x="13" y="270"/>
                  <a:pt x="13" y="271"/>
                </a:cubicBezTo>
                <a:cubicBezTo>
                  <a:pt x="13" y="272"/>
                  <a:pt x="12" y="272"/>
                  <a:pt x="12" y="273"/>
                </a:cubicBezTo>
                <a:cubicBezTo>
                  <a:pt x="12" y="273"/>
                  <a:pt x="10" y="275"/>
                  <a:pt x="11" y="274"/>
                </a:cubicBezTo>
                <a:cubicBezTo>
                  <a:pt x="11" y="273"/>
                  <a:pt x="12" y="273"/>
                  <a:pt x="12" y="271"/>
                </a:cubicBezTo>
                <a:cubicBezTo>
                  <a:pt x="11" y="273"/>
                  <a:pt x="11" y="272"/>
                  <a:pt x="10" y="272"/>
                </a:cubicBezTo>
                <a:cubicBezTo>
                  <a:pt x="10" y="274"/>
                  <a:pt x="9" y="274"/>
                  <a:pt x="8" y="276"/>
                </a:cubicBezTo>
                <a:cubicBezTo>
                  <a:pt x="8" y="275"/>
                  <a:pt x="9" y="274"/>
                  <a:pt x="9" y="273"/>
                </a:cubicBezTo>
                <a:cubicBezTo>
                  <a:pt x="10" y="273"/>
                  <a:pt x="10" y="272"/>
                  <a:pt x="11" y="270"/>
                </a:cubicBezTo>
                <a:cubicBezTo>
                  <a:pt x="11" y="271"/>
                  <a:pt x="11" y="270"/>
                  <a:pt x="11" y="270"/>
                </a:cubicBezTo>
                <a:cubicBezTo>
                  <a:pt x="12" y="270"/>
                  <a:pt x="13" y="266"/>
                  <a:pt x="14" y="265"/>
                </a:cubicBezTo>
                <a:cubicBezTo>
                  <a:pt x="14" y="264"/>
                  <a:pt x="14" y="265"/>
                  <a:pt x="15" y="264"/>
                </a:cubicBezTo>
                <a:cubicBezTo>
                  <a:pt x="15" y="262"/>
                  <a:pt x="17" y="260"/>
                  <a:pt x="17" y="260"/>
                </a:cubicBezTo>
                <a:cubicBezTo>
                  <a:pt x="17" y="261"/>
                  <a:pt x="16" y="261"/>
                  <a:pt x="16" y="262"/>
                </a:cubicBezTo>
                <a:cubicBezTo>
                  <a:pt x="16" y="262"/>
                  <a:pt x="15" y="265"/>
                  <a:pt x="16" y="264"/>
                </a:cubicBezTo>
                <a:cubicBezTo>
                  <a:pt x="17" y="263"/>
                  <a:pt x="16" y="264"/>
                  <a:pt x="17" y="262"/>
                </a:cubicBezTo>
                <a:cubicBezTo>
                  <a:pt x="17" y="262"/>
                  <a:pt x="18" y="260"/>
                  <a:pt x="18" y="260"/>
                </a:cubicBezTo>
                <a:cubicBezTo>
                  <a:pt x="19" y="259"/>
                  <a:pt x="18" y="261"/>
                  <a:pt x="19" y="260"/>
                </a:cubicBezTo>
                <a:cubicBezTo>
                  <a:pt x="19" y="259"/>
                  <a:pt x="20" y="257"/>
                  <a:pt x="20" y="256"/>
                </a:cubicBezTo>
                <a:cubicBezTo>
                  <a:pt x="20" y="256"/>
                  <a:pt x="20" y="256"/>
                  <a:pt x="20" y="255"/>
                </a:cubicBezTo>
                <a:cubicBezTo>
                  <a:pt x="21" y="253"/>
                  <a:pt x="22" y="251"/>
                  <a:pt x="23" y="250"/>
                </a:cubicBezTo>
                <a:cubicBezTo>
                  <a:pt x="24" y="250"/>
                  <a:pt x="22" y="252"/>
                  <a:pt x="23" y="251"/>
                </a:cubicBezTo>
                <a:cubicBezTo>
                  <a:pt x="24" y="250"/>
                  <a:pt x="24" y="250"/>
                  <a:pt x="25" y="248"/>
                </a:cubicBezTo>
                <a:cubicBezTo>
                  <a:pt x="26" y="248"/>
                  <a:pt x="28" y="246"/>
                  <a:pt x="28" y="244"/>
                </a:cubicBezTo>
                <a:cubicBezTo>
                  <a:pt x="29" y="243"/>
                  <a:pt x="29" y="245"/>
                  <a:pt x="30" y="244"/>
                </a:cubicBezTo>
                <a:cubicBezTo>
                  <a:pt x="29" y="243"/>
                  <a:pt x="31" y="242"/>
                  <a:pt x="31" y="241"/>
                </a:cubicBezTo>
                <a:cubicBezTo>
                  <a:pt x="31" y="241"/>
                  <a:pt x="31" y="240"/>
                  <a:pt x="32" y="239"/>
                </a:cubicBezTo>
                <a:cubicBezTo>
                  <a:pt x="32" y="240"/>
                  <a:pt x="32" y="241"/>
                  <a:pt x="32" y="240"/>
                </a:cubicBezTo>
                <a:cubicBezTo>
                  <a:pt x="32" y="239"/>
                  <a:pt x="33" y="239"/>
                  <a:pt x="33" y="238"/>
                </a:cubicBezTo>
                <a:cubicBezTo>
                  <a:pt x="34" y="238"/>
                  <a:pt x="33" y="239"/>
                  <a:pt x="34" y="238"/>
                </a:cubicBezTo>
                <a:cubicBezTo>
                  <a:pt x="34" y="237"/>
                  <a:pt x="35" y="236"/>
                  <a:pt x="36" y="235"/>
                </a:cubicBezTo>
                <a:cubicBezTo>
                  <a:pt x="35" y="236"/>
                  <a:pt x="34" y="236"/>
                  <a:pt x="33" y="237"/>
                </a:cubicBezTo>
                <a:cubicBezTo>
                  <a:pt x="34" y="235"/>
                  <a:pt x="36" y="234"/>
                  <a:pt x="37" y="232"/>
                </a:cubicBezTo>
                <a:cubicBezTo>
                  <a:pt x="36" y="234"/>
                  <a:pt x="34" y="236"/>
                  <a:pt x="32" y="238"/>
                </a:cubicBezTo>
                <a:cubicBezTo>
                  <a:pt x="33" y="238"/>
                  <a:pt x="33" y="237"/>
                  <a:pt x="33" y="238"/>
                </a:cubicBezTo>
                <a:cubicBezTo>
                  <a:pt x="32" y="239"/>
                  <a:pt x="32" y="238"/>
                  <a:pt x="31" y="239"/>
                </a:cubicBezTo>
                <a:cubicBezTo>
                  <a:pt x="31" y="239"/>
                  <a:pt x="31" y="238"/>
                  <a:pt x="31" y="238"/>
                </a:cubicBezTo>
                <a:cubicBezTo>
                  <a:pt x="33" y="236"/>
                  <a:pt x="36" y="234"/>
                  <a:pt x="36" y="231"/>
                </a:cubicBezTo>
                <a:cubicBezTo>
                  <a:pt x="36" y="232"/>
                  <a:pt x="37" y="231"/>
                  <a:pt x="37" y="230"/>
                </a:cubicBezTo>
                <a:cubicBezTo>
                  <a:pt x="38" y="229"/>
                  <a:pt x="37" y="231"/>
                  <a:pt x="38" y="231"/>
                </a:cubicBezTo>
                <a:cubicBezTo>
                  <a:pt x="38" y="230"/>
                  <a:pt x="39" y="229"/>
                  <a:pt x="39" y="228"/>
                </a:cubicBezTo>
                <a:cubicBezTo>
                  <a:pt x="39" y="229"/>
                  <a:pt x="38" y="231"/>
                  <a:pt x="38" y="229"/>
                </a:cubicBezTo>
                <a:cubicBezTo>
                  <a:pt x="38" y="228"/>
                  <a:pt x="39" y="228"/>
                  <a:pt x="39" y="227"/>
                </a:cubicBezTo>
                <a:cubicBezTo>
                  <a:pt x="39" y="226"/>
                  <a:pt x="39" y="227"/>
                  <a:pt x="40" y="225"/>
                </a:cubicBezTo>
                <a:cubicBezTo>
                  <a:pt x="39" y="226"/>
                  <a:pt x="39" y="225"/>
                  <a:pt x="39" y="225"/>
                </a:cubicBezTo>
                <a:cubicBezTo>
                  <a:pt x="41" y="224"/>
                  <a:pt x="40" y="223"/>
                  <a:pt x="40" y="222"/>
                </a:cubicBezTo>
                <a:cubicBezTo>
                  <a:pt x="41" y="222"/>
                  <a:pt x="40" y="224"/>
                  <a:pt x="41" y="223"/>
                </a:cubicBezTo>
                <a:cubicBezTo>
                  <a:pt x="42" y="222"/>
                  <a:pt x="43" y="221"/>
                  <a:pt x="44" y="219"/>
                </a:cubicBezTo>
                <a:cubicBezTo>
                  <a:pt x="43" y="220"/>
                  <a:pt x="43" y="221"/>
                  <a:pt x="44" y="221"/>
                </a:cubicBezTo>
                <a:cubicBezTo>
                  <a:pt x="44" y="219"/>
                  <a:pt x="44" y="220"/>
                  <a:pt x="45" y="219"/>
                </a:cubicBezTo>
                <a:cubicBezTo>
                  <a:pt x="45" y="219"/>
                  <a:pt x="46" y="218"/>
                  <a:pt x="47" y="217"/>
                </a:cubicBezTo>
                <a:cubicBezTo>
                  <a:pt x="48" y="216"/>
                  <a:pt x="48" y="215"/>
                  <a:pt x="48" y="214"/>
                </a:cubicBezTo>
                <a:cubicBezTo>
                  <a:pt x="49" y="213"/>
                  <a:pt x="49" y="214"/>
                  <a:pt x="50" y="214"/>
                </a:cubicBezTo>
                <a:cubicBezTo>
                  <a:pt x="50" y="213"/>
                  <a:pt x="52" y="211"/>
                  <a:pt x="51" y="210"/>
                </a:cubicBezTo>
                <a:cubicBezTo>
                  <a:pt x="52" y="210"/>
                  <a:pt x="53" y="210"/>
                  <a:pt x="53" y="209"/>
                </a:cubicBezTo>
                <a:cubicBezTo>
                  <a:pt x="52" y="208"/>
                  <a:pt x="49" y="213"/>
                  <a:pt x="48" y="213"/>
                </a:cubicBezTo>
                <a:cubicBezTo>
                  <a:pt x="52" y="209"/>
                  <a:pt x="52" y="209"/>
                  <a:pt x="52" y="209"/>
                </a:cubicBezTo>
                <a:cubicBezTo>
                  <a:pt x="50" y="209"/>
                  <a:pt x="51" y="207"/>
                  <a:pt x="51" y="206"/>
                </a:cubicBezTo>
                <a:cubicBezTo>
                  <a:pt x="52" y="205"/>
                  <a:pt x="54" y="202"/>
                  <a:pt x="56" y="199"/>
                </a:cubicBezTo>
                <a:cubicBezTo>
                  <a:pt x="55" y="201"/>
                  <a:pt x="55" y="201"/>
                  <a:pt x="54" y="203"/>
                </a:cubicBezTo>
                <a:cubicBezTo>
                  <a:pt x="57" y="201"/>
                  <a:pt x="59" y="199"/>
                  <a:pt x="60" y="196"/>
                </a:cubicBezTo>
                <a:cubicBezTo>
                  <a:pt x="63" y="194"/>
                  <a:pt x="64" y="191"/>
                  <a:pt x="67" y="190"/>
                </a:cubicBezTo>
                <a:cubicBezTo>
                  <a:pt x="67" y="189"/>
                  <a:pt x="68" y="189"/>
                  <a:pt x="68" y="188"/>
                </a:cubicBezTo>
                <a:cubicBezTo>
                  <a:pt x="69" y="187"/>
                  <a:pt x="69" y="187"/>
                  <a:pt x="69" y="187"/>
                </a:cubicBezTo>
                <a:cubicBezTo>
                  <a:pt x="71" y="184"/>
                  <a:pt x="75" y="181"/>
                  <a:pt x="77" y="179"/>
                </a:cubicBezTo>
                <a:cubicBezTo>
                  <a:pt x="77" y="179"/>
                  <a:pt x="76" y="180"/>
                  <a:pt x="76" y="179"/>
                </a:cubicBezTo>
                <a:cubicBezTo>
                  <a:pt x="77" y="179"/>
                  <a:pt x="77" y="177"/>
                  <a:pt x="77" y="178"/>
                </a:cubicBezTo>
                <a:cubicBezTo>
                  <a:pt x="77" y="178"/>
                  <a:pt x="77" y="179"/>
                  <a:pt x="78" y="178"/>
                </a:cubicBezTo>
                <a:cubicBezTo>
                  <a:pt x="78" y="177"/>
                  <a:pt x="81" y="175"/>
                  <a:pt x="82" y="174"/>
                </a:cubicBezTo>
                <a:cubicBezTo>
                  <a:pt x="81" y="175"/>
                  <a:pt x="80" y="176"/>
                  <a:pt x="81" y="176"/>
                </a:cubicBezTo>
                <a:cubicBezTo>
                  <a:pt x="82" y="175"/>
                  <a:pt x="83" y="174"/>
                  <a:pt x="84" y="173"/>
                </a:cubicBezTo>
                <a:cubicBezTo>
                  <a:pt x="84" y="172"/>
                  <a:pt x="83" y="172"/>
                  <a:pt x="83" y="171"/>
                </a:cubicBezTo>
                <a:cubicBezTo>
                  <a:pt x="84" y="172"/>
                  <a:pt x="86" y="172"/>
                  <a:pt x="88" y="168"/>
                </a:cubicBezTo>
                <a:cubicBezTo>
                  <a:pt x="87" y="169"/>
                  <a:pt x="87" y="168"/>
                  <a:pt x="87" y="169"/>
                </a:cubicBezTo>
                <a:cubicBezTo>
                  <a:pt x="88" y="167"/>
                  <a:pt x="89" y="166"/>
                  <a:pt x="91" y="163"/>
                </a:cubicBezTo>
                <a:cubicBezTo>
                  <a:pt x="93" y="163"/>
                  <a:pt x="94" y="159"/>
                  <a:pt x="97" y="158"/>
                </a:cubicBezTo>
                <a:cubicBezTo>
                  <a:pt x="97" y="157"/>
                  <a:pt x="98" y="157"/>
                  <a:pt x="98" y="156"/>
                </a:cubicBezTo>
                <a:cubicBezTo>
                  <a:pt x="98" y="156"/>
                  <a:pt x="98" y="156"/>
                  <a:pt x="98" y="156"/>
                </a:cubicBezTo>
                <a:cubicBezTo>
                  <a:pt x="100" y="155"/>
                  <a:pt x="100" y="153"/>
                  <a:pt x="103" y="151"/>
                </a:cubicBezTo>
                <a:cubicBezTo>
                  <a:pt x="102" y="152"/>
                  <a:pt x="100" y="154"/>
                  <a:pt x="100" y="155"/>
                </a:cubicBezTo>
                <a:cubicBezTo>
                  <a:pt x="102" y="153"/>
                  <a:pt x="107" y="148"/>
                  <a:pt x="106" y="150"/>
                </a:cubicBezTo>
                <a:cubicBezTo>
                  <a:pt x="108" y="148"/>
                  <a:pt x="110" y="145"/>
                  <a:pt x="112" y="143"/>
                </a:cubicBezTo>
                <a:cubicBezTo>
                  <a:pt x="114" y="142"/>
                  <a:pt x="114" y="143"/>
                  <a:pt x="115" y="142"/>
                </a:cubicBezTo>
                <a:cubicBezTo>
                  <a:pt x="115" y="142"/>
                  <a:pt x="114" y="143"/>
                  <a:pt x="114" y="143"/>
                </a:cubicBezTo>
                <a:cubicBezTo>
                  <a:pt x="115" y="143"/>
                  <a:pt x="115" y="143"/>
                  <a:pt x="115" y="142"/>
                </a:cubicBezTo>
                <a:cubicBezTo>
                  <a:pt x="116" y="142"/>
                  <a:pt x="115" y="142"/>
                  <a:pt x="116" y="140"/>
                </a:cubicBezTo>
                <a:cubicBezTo>
                  <a:pt x="117" y="140"/>
                  <a:pt x="116" y="142"/>
                  <a:pt x="116" y="142"/>
                </a:cubicBezTo>
                <a:cubicBezTo>
                  <a:pt x="118" y="141"/>
                  <a:pt x="117" y="140"/>
                  <a:pt x="119" y="139"/>
                </a:cubicBezTo>
                <a:cubicBezTo>
                  <a:pt x="118" y="140"/>
                  <a:pt x="118" y="140"/>
                  <a:pt x="119" y="139"/>
                </a:cubicBezTo>
                <a:cubicBezTo>
                  <a:pt x="120" y="138"/>
                  <a:pt x="119" y="138"/>
                  <a:pt x="120" y="138"/>
                </a:cubicBezTo>
                <a:cubicBezTo>
                  <a:pt x="121" y="137"/>
                  <a:pt x="121" y="136"/>
                  <a:pt x="121" y="136"/>
                </a:cubicBezTo>
                <a:cubicBezTo>
                  <a:pt x="122" y="136"/>
                  <a:pt x="120" y="138"/>
                  <a:pt x="121" y="137"/>
                </a:cubicBezTo>
                <a:cubicBezTo>
                  <a:pt x="122" y="137"/>
                  <a:pt x="122" y="135"/>
                  <a:pt x="123" y="134"/>
                </a:cubicBezTo>
                <a:cubicBezTo>
                  <a:pt x="122" y="135"/>
                  <a:pt x="121" y="136"/>
                  <a:pt x="121" y="135"/>
                </a:cubicBezTo>
                <a:cubicBezTo>
                  <a:pt x="123" y="133"/>
                  <a:pt x="125" y="132"/>
                  <a:pt x="127" y="130"/>
                </a:cubicBezTo>
                <a:cubicBezTo>
                  <a:pt x="127" y="130"/>
                  <a:pt x="126" y="130"/>
                  <a:pt x="127" y="130"/>
                </a:cubicBezTo>
                <a:cubicBezTo>
                  <a:pt x="128" y="129"/>
                  <a:pt x="126" y="131"/>
                  <a:pt x="128" y="130"/>
                </a:cubicBezTo>
                <a:cubicBezTo>
                  <a:pt x="128" y="129"/>
                  <a:pt x="130" y="129"/>
                  <a:pt x="131" y="128"/>
                </a:cubicBezTo>
                <a:cubicBezTo>
                  <a:pt x="130" y="128"/>
                  <a:pt x="128" y="129"/>
                  <a:pt x="129" y="128"/>
                </a:cubicBezTo>
                <a:cubicBezTo>
                  <a:pt x="130" y="127"/>
                  <a:pt x="130" y="127"/>
                  <a:pt x="131" y="127"/>
                </a:cubicBezTo>
                <a:cubicBezTo>
                  <a:pt x="132" y="125"/>
                  <a:pt x="132" y="125"/>
                  <a:pt x="132" y="125"/>
                </a:cubicBezTo>
                <a:cubicBezTo>
                  <a:pt x="134" y="124"/>
                  <a:pt x="135" y="122"/>
                  <a:pt x="137" y="121"/>
                </a:cubicBezTo>
                <a:cubicBezTo>
                  <a:pt x="137" y="123"/>
                  <a:pt x="137" y="121"/>
                  <a:pt x="136" y="122"/>
                </a:cubicBezTo>
                <a:cubicBezTo>
                  <a:pt x="136" y="123"/>
                  <a:pt x="137" y="122"/>
                  <a:pt x="137" y="122"/>
                </a:cubicBezTo>
                <a:cubicBezTo>
                  <a:pt x="138" y="121"/>
                  <a:pt x="140" y="119"/>
                  <a:pt x="142" y="117"/>
                </a:cubicBezTo>
                <a:cubicBezTo>
                  <a:pt x="143" y="117"/>
                  <a:pt x="142" y="118"/>
                  <a:pt x="143" y="117"/>
                </a:cubicBezTo>
                <a:cubicBezTo>
                  <a:pt x="144" y="116"/>
                  <a:pt x="144" y="116"/>
                  <a:pt x="145" y="115"/>
                </a:cubicBezTo>
                <a:cubicBezTo>
                  <a:pt x="146" y="114"/>
                  <a:pt x="146" y="115"/>
                  <a:pt x="146" y="115"/>
                </a:cubicBezTo>
                <a:cubicBezTo>
                  <a:pt x="147" y="115"/>
                  <a:pt x="148" y="114"/>
                  <a:pt x="148" y="113"/>
                </a:cubicBezTo>
                <a:cubicBezTo>
                  <a:pt x="148" y="114"/>
                  <a:pt x="149" y="114"/>
                  <a:pt x="149" y="113"/>
                </a:cubicBezTo>
                <a:cubicBezTo>
                  <a:pt x="147" y="115"/>
                  <a:pt x="144" y="117"/>
                  <a:pt x="142" y="119"/>
                </a:cubicBezTo>
                <a:cubicBezTo>
                  <a:pt x="142" y="119"/>
                  <a:pt x="141" y="120"/>
                  <a:pt x="142" y="120"/>
                </a:cubicBezTo>
                <a:cubicBezTo>
                  <a:pt x="145" y="118"/>
                  <a:pt x="151" y="114"/>
                  <a:pt x="152" y="111"/>
                </a:cubicBezTo>
                <a:cubicBezTo>
                  <a:pt x="153" y="110"/>
                  <a:pt x="152" y="111"/>
                  <a:pt x="153" y="111"/>
                </a:cubicBezTo>
                <a:cubicBezTo>
                  <a:pt x="154" y="110"/>
                  <a:pt x="155" y="109"/>
                  <a:pt x="156" y="108"/>
                </a:cubicBezTo>
                <a:cubicBezTo>
                  <a:pt x="156" y="107"/>
                  <a:pt x="157" y="107"/>
                  <a:pt x="157" y="107"/>
                </a:cubicBezTo>
                <a:cubicBezTo>
                  <a:pt x="156" y="107"/>
                  <a:pt x="155" y="108"/>
                  <a:pt x="154" y="109"/>
                </a:cubicBezTo>
                <a:cubicBezTo>
                  <a:pt x="155" y="109"/>
                  <a:pt x="155" y="108"/>
                  <a:pt x="155" y="109"/>
                </a:cubicBezTo>
                <a:cubicBezTo>
                  <a:pt x="154" y="109"/>
                  <a:pt x="154" y="110"/>
                  <a:pt x="153" y="110"/>
                </a:cubicBezTo>
                <a:cubicBezTo>
                  <a:pt x="154" y="109"/>
                  <a:pt x="152" y="110"/>
                  <a:pt x="153" y="109"/>
                </a:cubicBezTo>
                <a:cubicBezTo>
                  <a:pt x="154" y="108"/>
                  <a:pt x="153" y="109"/>
                  <a:pt x="154" y="108"/>
                </a:cubicBezTo>
                <a:cubicBezTo>
                  <a:pt x="155" y="106"/>
                  <a:pt x="159" y="106"/>
                  <a:pt x="158" y="105"/>
                </a:cubicBezTo>
                <a:cubicBezTo>
                  <a:pt x="158" y="104"/>
                  <a:pt x="159" y="104"/>
                  <a:pt x="159" y="104"/>
                </a:cubicBezTo>
                <a:cubicBezTo>
                  <a:pt x="160" y="103"/>
                  <a:pt x="160" y="104"/>
                  <a:pt x="161" y="103"/>
                </a:cubicBezTo>
                <a:cubicBezTo>
                  <a:pt x="161" y="103"/>
                  <a:pt x="160" y="103"/>
                  <a:pt x="161" y="103"/>
                </a:cubicBezTo>
                <a:cubicBezTo>
                  <a:pt x="162" y="102"/>
                  <a:pt x="163" y="101"/>
                  <a:pt x="164" y="100"/>
                </a:cubicBezTo>
                <a:cubicBezTo>
                  <a:pt x="163" y="100"/>
                  <a:pt x="166" y="99"/>
                  <a:pt x="165" y="99"/>
                </a:cubicBezTo>
                <a:cubicBezTo>
                  <a:pt x="164" y="100"/>
                  <a:pt x="162" y="101"/>
                  <a:pt x="161" y="101"/>
                </a:cubicBezTo>
                <a:cubicBezTo>
                  <a:pt x="163" y="100"/>
                  <a:pt x="163" y="99"/>
                  <a:pt x="165" y="98"/>
                </a:cubicBezTo>
                <a:cubicBezTo>
                  <a:pt x="165" y="98"/>
                  <a:pt x="164" y="99"/>
                  <a:pt x="165" y="99"/>
                </a:cubicBezTo>
                <a:cubicBezTo>
                  <a:pt x="166" y="98"/>
                  <a:pt x="166" y="98"/>
                  <a:pt x="166" y="98"/>
                </a:cubicBezTo>
                <a:cubicBezTo>
                  <a:pt x="166" y="98"/>
                  <a:pt x="166" y="97"/>
                  <a:pt x="166" y="97"/>
                </a:cubicBezTo>
                <a:cubicBezTo>
                  <a:pt x="165" y="98"/>
                  <a:pt x="163" y="98"/>
                  <a:pt x="162" y="100"/>
                </a:cubicBezTo>
                <a:cubicBezTo>
                  <a:pt x="161" y="100"/>
                  <a:pt x="162" y="100"/>
                  <a:pt x="161" y="100"/>
                </a:cubicBezTo>
                <a:cubicBezTo>
                  <a:pt x="159" y="102"/>
                  <a:pt x="158" y="104"/>
                  <a:pt x="156" y="105"/>
                </a:cubicBezTo>
                <a:cubicBezTo>
                  <a:pt x="155" y="105"/>
                  <a:pt x="157" y="103"/>
                  <a:pt x="156" y="104"/>
                </a:cubicBezTo>
                <a:cubicBezTo>
                  <a:pt x="155" y="105"/>
                  <a:pt x="155" y="105"/>
                  <a:pt x="154" y="106"/>
                </a:cubicBezTo>
                <a:cubicBezTo>
                  <a:pt x="153" y="106"/>
                  <a:pt x="156" y="104"/>
                  <a:pt x="154" y="105"/>
                </a:cubicBezTo>
                <a:cubicBezTo>
                  <a:pt x="154" y="106"/>
                  <a:pt x="153" y="106"/>
                  <a:pt x="153" y="107"/>
                </a:cubicBezTo>
                <a:cubicBezTo>
                  <a:pt x="151" y="108"/>
                  <a:pt x="154" y="106"/>
                  <a:pt x="152" y="106"/>
                </a:cubicBezTo>
                <a:cubicBezTo>
                  <a:pt x="151" y="108"/>
                  <a:pt x="150" y="108"/>
                  <a:pt x="151" y="108"/>
                </a:cubicBezTo>
                <a:cubicBezTo>
                  <a:pt x="149" y="109"/>
                  <a:pt x="148" y="110"/>
                  <a:pt x="148" y="110"/>
                </a:cubicBezTo>
                <a:cubicBezTo>
                  <a:pt x="148" y="111"/>
                  <a:pt x="148" y="111"/>
                  <a:pt x="147" y="111"/>
                </a:cubicBezTo>
                <a:cubicBezTo>
                  <a:pt x="147" y="112"/>
                  <a:pt x="147" y="110"/>
                  <a:pt x="146" y="112"/>
                </a:cubicBezTo>
                <a:cubicBezTo>
                  <a:pt x="145" y="112"/>
                  <a:pt x="146" y="113"/>
                  <a:pt x="146" y="113"/>
                </a:cubicBezTo>
                <a:cubicBezTo>
                  <a:pt x="145" y="114"/>
                  <a:pt x="143" y="116"/>
                  <a:pt x="142" y="115"/>
                </a:cubicBezTo>
                <a:cubicBezTo>
                  <a:pt x="143" y="115"/>
                  <a:pt x="144" y="114"/>
                  <a:pt x="145" y="113"/>
                </a:cubicBezTo>
                <a:cubicBezTo>
                  <a:pt x="142" y="114"/>
                  <a:pt x="140" y="118"/>
                  <a:pt x="139" y="116"/>
                </a:cubicBezTo>
                <a:cubicBezTo>
                  <a:pt x="138" y="118"/>
                  <a:pt x="137" y="118"/>
                  <a:pt x="136" y="120"/>
                </a:cubicBezTo>
                <a:cubicBezTo>
                  <a:pt x="137" y="119"/>
                  <a:pt x="138" y="119"/>
                  <a:pt x="139" y="117"/>
                </a:cubicBezTo>
                <a:cubicBezTo>
                  <a:pt x="140" y="117"/>
                  <a:pt x="140" y="117"/>
                  <a:pt x="140" y="117"/>
                </a:cubicBezTo>
                <a:cubicBezTo>
                  <a:pt x="139" y="118"/>
                  <a:pt x="139" y="118"/>
                  <a:pt x="139" y="118"/>
                </a:cubicBezTo>
                <a:cubicBezTo>
                  <a:pt x="138" y="118"/>
                  <a:pt x="137" y="120"/>
                  <a:pt x="135" y="121"/>
                </a:cubicBezTo>
                <a:cubicBezTo>
                  <a:pt x="135" y="120"/>
                  <a:pt x="136" y="119"/>
                  <a:pt x="135" y="120"/>
                </a:cubicBezTo>
                <a:cubicBezTo>
                  <a:pt x="134" y="122"/>
                  <a:pt x="131" y="123"/>
                  <a:pt x="130" y="124"/>
                </a:cubicBezTo>
                <a:cubicBezTo>
                  <a:pt x="130" y="124"/>
                  <a:pt x="129" y="126"/>
                  <a:pt x="129" y="126"/>
                </a:cubicBezTo>
                <a:cubicBezTo>
                  <a:pt x="129" y="126"/>
                  <a:pt x="129" y="126"/>
                  <a:pt x="129" y="127"/>
                </a:cubicBezTo>
                <a:cubicBezTo>
                  <a:pt x="128" y="126"/>
                  <a:pt x="127" y="128"/>
                  <a:pt x="127" y="126"/>
                </a:cubicBezTo>
                <a:cubicBezTo>
                  <a:pt x="126" y="127"/>
                  <a:pt x="126" y="128"/>
                  <a:pt x="127" y="128"/>
                </a:cubicBezTo>
                <a:cubicBezTo>
                  <a:pt x="125" y="129"/>
                  <a:pt x="122" y="133"/>
                  <a:pt x="123" y="131"/>
                </a:cubicBezTo>
                <a:cubicBezTo>
                  <a:pt x="122" y="131"/>
                  <a:pt x="121" y="133"/>
                  <a:pt x="121" y="132"/>
                </a:cubicBezTo>
                <a:cubicBezTo>
                  <a:pt x="121" y="132"/>
                  <a:pt x="122" y="132"/>
                  <a:pt x="122" y="131"/>
                </a:cubicBezTo>
                <a:cubicBezTo>
                  <a:pt x="121" y="131"/>
                  <a:pt x="121" y="132"/>
                  <a:pt x="119" y="133"/>
                </a:cubicBezTo>
                <a:cubicBezTo>
                  <a:pt x="120" y="132"/>
                  <a:pt x="120" y="132"/>
                  <a:pt x="120" y="132"/>
                </a:cubicBezTo>
                <a:cubicBezTo>
                  <a:pt x="120" y="132"/>
                  <a:pt x="120" y="132"/>
                  <a:pt x="120" y="132"/>
                </a:cubicBezTo>
                <a:cubicBezTo>
                  <a:pt x="120" y="132"/>
                  <a:pt x="121" y="131"/>
                  <a:pt x="121" y="131"/>
                </a:cubicBezTo>
                <a:cubicBezTo>
                  <a:pt x="121" y="131"/>
                  <a:pt x="122" y="130"/>
                  <a:pt x="122" y="130"/>
                </a:cubicBezTo>
                <a:cubicBezTo>
                  <a:pt x="120" y="131"/>
                  <a:pt x="118" y="133"/>
                  <a:pt x="118" y="134"/>
                </a:cubicBezTo>
                <a:cubicBezTo>
                  <a:pt x="116" y="135"/>
                  <a:pt x="115" y="137"/>
                  <a:pt x="113" y="139"/>
                </a:cubicBezTo>
                <a:cubicBezTo>
                  <a:pt x="114" y="139"/>
                  <a:pt x="114" y="139"/>
                  <a:pt x="114" y="140"/>
                </a:cubicBezTo>
                <a:cubicBezTo>
                  <a:pt x="113" y="139"/>
                  <a:pt x="113" y="140"/>
                  <a:pt x="111" y="142"/>
                </a:cubicBezTo>
                <a:cubicBezTo>
                  <a:pt x="111" y="141"/>
                  <a:pt x="113" y="139"/>
                  <a:pt x="112" y="139"/>
                </a:cubicBezTo>
                <a:cubicBezTo>
                  <a:pt x="110" y="141"/>
                  <a:pt x="108" y="143"/>
                  <a:pt x="106" y="145"/>
                </a:cubicBezTo>
                <a:cubicBezTo>
                  <a:pt x="104" y="146"/>
                  <a:pt x="101" y="150"/>
                  <a:pt x="99" y="151"/>
                </a:cubicBezTo>
                <a:cubicBezTo>
                  <a:pt x="100" y="150"/>
                  <a:pt x="100" y="150"/>
                  <a:pt x="100" y="150"/>
                </a:cubicBezTo>
                <a:cubicBezTo>
                  <a:pt x="99" y="151"/>
                  <a:pt x="100" y="149"/>
                  <a:pt x="98" y="150"/>
                </a:cubicBezTo>
                <a:cubicBezTo>
                  <a:pt x="98" y="151"/>
                  <a:pt x="99" y="151"/>
                  <a:pt x="99" y="151"/>
                </a:cubicBezTo>
                <a:cubicBezTo>
                  <a:pt x="98" y="153"/>
                  <a:pt x="96" y="154"/>
                  <a:pt x="95" y="155"/>
                </a:cubicBezTo>
                <a:cubicBezTo>
                  <a:pt x="96" y="155"/>
                  <a:pt x="97" y="154"/>
                  <a:pt x="97" y="155"/>
                </a:cubicBezTo>
                <a:cubicBezTo>
                  <a:pt x="96" y="156"/>
                  <a:pt x="95" y="157"/>
                  <a:pt x="94" y="158"/>
                </a:cubicBezTo>
                <a:cubicBezTo>
                  <a:pt x="94" y="157"/>
                  <a:pt x="93" y="158"/>
                  <a:pt x="93" y="157"/>
                </a:cubicBezTo>
                <a:cubicBezTo>
                  <a:pt x="95" y="157"/>
                  <a:pt x="95" y="156"/>
                  <a:pt x="96" y="155"/>
                </a:cubicBezTo>
                <a:cubicBezTo>
                  <a:pt x="95" y="156"/>
                  <a:pt x="95" y="157"/>
                  <a:pt x="95" y="156"/>
                </a:cubicBezTo>
                <a:cubicBezTo>
                  <a:pt x="93" y="157"/>
                  <a:pt x="92" y="159"/>
                  <a:pt x="90" y="160"/>
                </a:cubicBezTo>
                <a:cubicBezTo>
                  <a:pt x="91" y="159"/>
                  <a:pt x="90" y="159"/>
                  <a:pt x="89" y="160"/>
                </a:cubicBezTo>
                <a:cubicBezTo>
                  <a:pt x="89" y="159"/>
                  <a:pt x="90" y="159"/>
                  <a:pt x="91" y="158"/>
                </a:cubicBezTo>
                <a:cubicBezTo>
                  <a:pt x="90" y="158"/>
                  <a:pt x="88" y="159"/>
                  <a:pt x="87" y="161"/>
                </a:cubicBezTo>
                <a:cubicBezTo>
                  <a:pt x="88" y="161"/>
                  <a:pt x="88" y="161"/>
                  <a:pt x="88" y="162"/>
                </a:cubicBezTo>
                <a:cubicBezTo>
                  <a:pt x="89" y="161"/>
                  <a:pt x="88" y="160"/>
                  <a:pt x="90" y="159"/>
                </a:cubicBezTo>
                <a:cubicBezTo>
                  <a:pt x="90" y="160"/>
                  <a:pt x="89" y="161"/>
                  <a:pt x="89" y="162"/>
                </a:cubicBezTo>
                <a:cubicBezTo>
                  <a:pt x="86" y="164"/>
                  <a:pt x="83" y="167"/>
                  <a:pt x="82" y="169"/>
                </a:cubicBezTo>
                <a:cubicBezTo>
                  <a:pt x="81" y="170"/>
                  <a:pt x="81" y="169"/>
                  <a:pt x="80" y="170"/>
                </a:cubicBezTo>
                <a:cubicBezTo>
                  <a:pt x="80" y="170"/>
                  <a:pt x="80" y="170"/>
                  <a:pt x="80" y="171"/>
                </a:cubicBezTo>
                <a:cubicBezTo>
                  <a:pt x="79" y="171"/>
                  <a:pt x="80" y="171"/>
                  <a:pt x="79" y="172"/>
                </a:cubicBezTo>
                <a:cubicBezTo>
                  <a:pt x="78" y="172"/>
                  <a:pt x="74" y="177"/>
                  <a:pt x="73" y="178"/>
                </a:cubicBezTo>
                <a:cubicBezTo>
                  <a:pt x="72" y="180"/>
                  <a:pt x="74" y="177"/>
                  <a:pt x="73" y="178"/>
                </a:cubicBezTo>
                <a:cubicBezTo>
                  <a:pt x="73" y="178"/>
                  <a:pt x="72" y="179"/>
                  <a:pt x="72" y="179"/>
                </a:cubicBezTo>
                <a:cubicBezTo>
                  <a:pt x="71" y="180"/>
                  <a:pt x="71" y="180"/>
                  <a:pt x="70" y="181"/>
                </a:cubicBezTo>
                <a:cubicBezTo>
                  <a:pt x="70" y="181"/>
                  <a:pt x="70" y="181"/>
                  <a:pt x="70" y="182"/>
                </a:cubicBezTo>
                <a:cubicBezTo>
                  <a:pt x="69" y="182"/>
                  <a:pt x="69" y="183"/>
                  <a:pt x="68" y="183"/>
                </a:cubicBezTo>
                <a:cubicBezTo>
                  <a:pt x="68" y="183"/>
                  <a:pt x="68" y="183"/>
                  <a:pt x="68" y="183"/>
                </a:cubicBezTo>
                <a:cubicBezTo>
                  <a:pt x="66" y="184"/>
                  <a:pt x="66" y="184"/>
                  <a:pt x="66" y="184"/>
                </a:cubicBezTo>
                <a:cubicBezTo>
                  <a:pt x="67" y="184"/>
                  <a:pt x="67" y="184"/>
                  <a:pt x="68" y="183"/>
                </a:cubicBezTo>
                <a:cubicBezTo>
                  <a:pt x="67" y="185"/>
                  <a:pt x="66" y="185"/>
                  <a:pt x="66" y="186"/>
                </a:cubicBezTo>
                <a:cubicBezTo>
                  <a:pt x="66" y="185"/>
                  <a:pt x="64" y="188"/>
                  <a:pt x="64" y="187"/>
                </a:cubicBezTo>
                <a:cubicBezTo>
                  <a:pt x="62" y="190"/>
                  <a:pt x="59" y="193"/>
                  <a:pt x="57" y="195"/>
                </a:cubicBezTo>
                <a:cubicBezTo>
                  <a:pt x="56" y="197"/>
                  <a:pt x="56" y="196"/>
                  <a:pt x="56" y="197"/>
                </a:cubicBezTo>
                <a:cubicBezTo>
                  <a:pt x="54" y="199"/>
                  <a:pt x="52" y="202"/>
                  <a:pt x="51" y="202"/>
                </a:cubicBezTo>
                <a:cubicBezTo>
                  <a:pt x="50" y="204"/>
                  <a:pt x="48" y="206"/>
                  <a:pt x="47" y="206"/>
                </a:cubicBezTo>
                <a:cubicBezTo>
                  <a:pt x="47" y="206"/>
                  <a:pt x="48" y="204"/>
                  <a:pt x="48" y="205"/>
                </a:cubicBezTo>
                <a:cubicBezTo>
                  <a:pt x="47" y="205"/>
                  <a:pt x="47" y="206"/>
                  <a:pt x="46" y="207"/>
                </a:cubicBezTo>
                <a:cubicBezTo>
                  <a:pt x="46" y="207"/>
                  <a:pt x="47" y="207"/>
                  <a:pt x="46" y="207"/>
                </a:cubicBezTo>
                <a:cubicBezTo>
                  <a:pt x="45" y="208"/>
                  <a:pt x="45" y="210"/>
                  <a:pt x="44" y="211"/>
                </a:cubicBezTo>
                <a:cubicBezTo>
                  <a:pt x="46" y="208"/>
                  <a:pt x="45" y="207"/>
                  <a:pt x="47" y="205"/>
                </a:cubicBezTo>
                <a:cubicBezTo>
                  <a:pt x="48" y="204"/>
                  <a:pt x="49" y="202"/>
                  <a:pt x="50" y="201"/>
                </a:cubicBezTo>
                <a:cubicBezTo>
                  <a:pt x="51" y="200"/>
                  <a:pt x="51" y="201"/>
                  <a:pt x="52" y="200"/>
                </a:cubicBezTo>
                <a:cubicBezTo>
                  <a:pt x="52" y="200"/>
                  <a:pt x="50" y="201"/>
                  <a:pt x="51" y="201"/>
                </a:cubicBezTo>
                <a:cubicBezTo>
                  <a:pt x="53" y="198"/>
                  <a:pt x="56" y="195"/>
                  <a:pt x="56" y="194"/>
                </a:cubicBezTo>
                <a:cubicBezTo>
                  <a:pt x="57" y="193"/>
                  <a:pt x="56" y="194"/>
                  <a:pt x="57" y="193"/>
                </a:cubicBezTo>
                <a:cubicBezTo>
                  <a:pt x="58" y="192"/>
                  <a:pt x="60" y="190"/>
                  <a:pt x="61" y="189"/>
                </a:cubicBezTo>
                <a:cubicBezTo>
                  <a:pt x="60" y="190"/>
                  <a:pt x="60" y="191"/>
                  <a:pt x="59" y="192"/>
                </a:cubicBezTo>
                <a:cubicBezTo>
                  <a:pt x="58" y="192"/>
                  <a:pt x="56" y="194"/>
                  <a:pt x="57" y="195"/>
                </a:cubicBezTo>
                <a:cubicBezTo>
                  <a:pt x="59" y="193"/>
                  <a:pt x="60" y="191"/>
                  <a:pt x="61" y="190"/>
                </a:cubicBezTo>
                <a:cubicBezTo>
                  <a:pt x="62" y="189"/>
                  <a:pt x="62" y="189"/>
                  <a:pt x="62" y="189"/>
                </a:cubicBezTo>
                <a:cubicBezTo>
                  <a:pt x="61" y="189"/>
                  <a:pt x="60" y="191"/>
                  <a:pt x="60" y="190"/>
                </a:cubicBezTo>
                <a:cubicBezTo>
                  <a:pt x="61" y="190"/>
                  <a:pt x="61" y="189"/>
                  <a:pt x="61" y="188"/>
                </a:cubicBezTo>
                <a:cubicBezTo>
                  <a:pt x="64" y="186"/>
                  <a:pt x="63" y="185"/>
                  <a:pt x="65" y="183"/>
                </a:cubicBezTo>
                <a:cubicBezTo>
                  <a:pt x="65" y="184"/>
                  <a:pt x="63" y="185"/>
                  <a:pt x="64" y="185"/>
                </a:cubicBezTo>
                <a:cubicBezTo>
                  <a:pt x="65" y="183"/>
                  <a:pt x="67" y="182"/>
                  <a:pt x="68" y="180"/>
                </a:cubicBezTo>
                <a:cubicBezTo>
                  <a:pt x="69" y="179"/>
                  <a:pt x="69" y="180"/>
                  <a:pt x="69" y="180"/>
                </a:cubicBezTo>
                <a:cubicBezTo>
                  <a:pt x="70" y="179"/>
                  <a:pt x="71" y="177"/>
                  <a:pt x="71" y="177"/>
                </a:cubicBezTo>
                <a:cubicBezTo>
                  <a:pt x="72" y="177"/>
                  <a:pt x="70" y="179"/>
                  <a:pt x="71" y="179"/>
                </a:cubicBezTo>
                <a:cubicBezTo>
                  <a:pt x="71" y="179"/>
                  <a:pt x="72" y="178"/>
                  <a:pt x="72" y="177"/>
                </a:cubicBezTo>
                <a:cubicBezTo>
                  <a:pt x="72" y="177"/>
                  <a:pt x="73" y="175"/>
                  <a:pt x="74" y="175"/>
                </a:cubicBezTo>
                <a:cubicBezTo>
                  <a:pt x="73" y="175"/>
                  <a:pt x="74" y="174"/>
                  <a:pt x="74" y="174"/>
                </a:cubicBezTo>
                <a:cubicBezTo>
                  <a:pt x="74" y="174"/>
                  <a:pt x="74" y="174"/>
                  <a:pt x="74" y="173"/>
                </a:cubicBezTo>
                <a:cubicBezTo>
                  <a:pt x="75" y="172"/>
                  <a:pt x="74" y="174"/>
                  <a:pt x="75" y="174"/>
                </a:cubicBezTo>
                <a:cubicBezTo>
                  <a:pt x="77" y="172"/>
                  <a:pt x="77" y="170"/>
                  <a:pt x="78" y="169"/>
                </a:cubicBezTo>
                <a:cubicBezTo>
                  <a:pt x="77" y="170"/>
                  <a:pt x="77" y="171"/>
                  <a:pt x="78" y="170"/>
                </a:cubicBezTo>
                <a:cubicBezTo>
                  <a:pt x="80" y="169"/>
                  <a:pt x="80" y="166"/>
                  <a:pt x="81" y="166"/>
                </a:cubicBezTo>
                <a:cubicBezTo>
                  <a:pt x="80" y="166"/>
                  <a:pt x="81" y="166"/>
                  <a:pt x="81" y="166"/>
                </a:cubicBezTo>
                <a:cubicBezTo>
                  <a:pt x="81" y="167"/>
                  <a:pt x="79" y="169"/>
                  <a:pt x="80" y="169"/>
                </a:cubicBezTo>
                <a:cubicBezTo>
                  <a:pt x="82" y="167"/>
                  <a:pt x="82" y="166"/>
                  <a:pt x="83" y="164"/>
                </a:cubicBezTo>
                <a:cubicBezTo>
                  <a:pt x="84" y="163"/>
                  <a:pt x="84" y="164"/>
                  <a:pt x="84" y="163"/>
                </a:cubicBezTo>
                <a:cubicBezTo>
                  <a:pt x="85" y="161"/>
                  <a:pt x="85" y="161"/>
                  <a:pt x="85" y="161"/>
                </a:cubicBezTo>
                <a:cubicBezTo>
                  <a:pt x="85" y="162"/>
                  <a:pt x="83" y="164"/>
                  <a:pt x="83" y="163"/>
                </a:cubicBezTo>
                <a:cubicBezTo>
                  <a:pt x="84" y="162"/>
                  <a:pt x="85" y="161"/>
                  <a:pt x="86" y="160"/>
                </a:cubicBezTo>
                <a:cubicBezTo>
                  <a:pt x="83" y="163"/>
                  <a:pt x="81" y="165"/>
                  <a:pt x="78" y="168"/>
                </a:cubicBezTo>
                <a:cubicBezTo>
                  <a:pt x="79" y="165"/>
                  <a:pt x="85" y="161"/>
                  <a:pt x="85" y="160"/>
                </a:cubicBezTo>
                <a:cubicBezTo>
                  <a:pt x="86" y="159"/>
                  <a:pt x="86" y="158"/>
                  <a:pt x="87" y="157"/>
                </a:cubicBezTo>
                <a:cubicBezTo>
                  <a:pt x="87" y="158"/>
                  <a:pt x="87" y="158"/>
                  <a:pt x="87" y="158"/>
                </a:cubicBezTo>
                <a:cubicBezTo>
                  <a:pt x="89" y="156"/>
                  <a:pt x="90" y="155"/>
                  <a:pt x="92" y="154"/>
                </a:cubicBezTo>
                <a:cubicBezTo>
                  <a:pt x="92" y="154"/>
                  <a:pt x="91" y="155"/>
                  <a:pt x="92" y="155"/>
                </a:cubicBezTo>
                <a:cubicBezTo>
                  <a:pt x="92" y="154"/>
                  <a:pt x="93" y="153"/>
                  <a:pt x="94" y="152"/>
                </a:cubicBezTo>
                <a:cubicBezTo>
                  <a:pt x="93" y="153"/>
                  <a:pt x="93" y="153"/>
                  <a:pt x="92" y="154"/>
                </a:cubicBezTo>
                <a:cubicBezTo>
                  <a:pt x="93" y="152"/>
                  <a:pt x="94" y="151"/>
                  <a:pt x="95" y="149"/>
                </a:cubicBezTo>
                <a:cubicBezTo>
                  <a:pt x="96" y="148"/>
                  <a:pt x="95" y="148"/>
                  <a:pt x="98" y="146"/>
                </a:cubicBezTo>
                <a:cubicBezTo>
                  <a:pt x="99" y="144"/>
                  <a:pt x="103" y="141"/>
                  <a:pt x="105" y="139"/>
                </a:cubicBezTo>
                <a:cubicBezTo>
                  <a:pt x="105" y="139"/>
                  <a:pt x="104" y="140"/>
                  <a:pt x="105" y="140"/>
                </a:cubicBezTo>
                <a:cubicBezTo>
                  <a:pt x="105" y="139"/>
                  <a:pt x="105" y="139"/>
                  <a:pt x="106" y="139"/>
                </a:cubicBezTo>
                <a:cubicBezTo>
                  <a:pt x="105" y="139"/>
                  <a:pt x="106" y="137"/>
                  <a:pt x="107" y="137"/>
                </a:cubicBezTo>
                <a:cubicBezTo>
                  <a:pt x="108" y="136"/>
                  <a:pt x="107" y="137"/>
                  <a:pt x="107" y="137"/>
                </a:cubicBezTo>
                <a:cubicBezTo>
                  <a:pt x="108" y="136"/>
                  <a:pt x="107" y="137"/>
                  <a:pt x="108" y="136"/>
                </a:cubicBezTo>
                <a:cubicBezTo>
                  <a:pt x="109" y="135"/>
                  <a:pt x="109" y="136"/>
                  <a:pt x="109" y="136"/>
                </a:cubicBezTo>
                <a:cubicBezTo>
                  <a:pt x="109" y="135"/>
                  <a:pt x="109" y="135"/>
                  <a:pt x="109" y="135"/>
                </a:cubicBezTo>
                <a:cubicBezTo>
                  <a:pt x="111" y="133"/>
                  <a:pt x="114" y="131"/>
                  <a:pt x="114" y="130"/>
                </a:cubicBezTo>
                <a:cubicBezTo>
                  <a:pt x="115" y="129"/>
                  <a:pt x="114" y="131"/>
                  <a:pt x="115" y="131"/>
                </a:cubicBezTo>
                <a:cubicBezTo>
                  <a:pt x="117" y="127"/>
                  <a:pt x="119" y="125"/>
                  <a:pt x="122" y="124"/>
                </a:cubicBezTo>
                <a:cubicBezTo>
                  <a:pt x="121" y="124"/>
                  <a:pt x="121" y="125"/>
                  <a:pt x="122" y="124"/>
                </a:cubicBezTo>
                <a:cubicBezTo>
                  <a:pt x="121" y="126"/>
                  <a:pt x="119" y="128"/>
                  <a:pt x="120" y="127"/>
                </a:cubicBezTo>
                <a:cubicBezTo>
                  <a:pt x="121" y="126"/>
                  <a:pt x="121" y="126"/>
                  <a:pt x="122" y="125"/>
                </a:cubicBezTo>
                <a:cubicBezTo>
                  <a:pt x="122" y="125"/>
                  <a:pt x="121" y="125"/>
                  <a:pt x="122" y="124"/>
                </a:cubicBezTo>
                <a:cubicBezTo>
                  <a:pt x="123" y="123"/>
                  <a:pt x="122" y="125"/>
                  <a:pt x="123" y="125"/>
                </a:cubicBezTo>
                <a:cubicBezTo>
                  <a:pt x="124" y="124"/>
                  <a:pt x="124" y="124"/>
                  <a:pt x="125" y="123"/>
                </a:cubicBezTo>
                <a:cubicBezTo>
                  <a:pt x="126" y="120"/>
                  <a:pt x="130" y="117"/>
                  <a:pt x="132" y="115"/>
                </a:cubicBezTo>
                <a:cubicBezTo>
                  <a:pt x="132" y="115"/>
                  <a:pt x="131" y="116"/>
                  <a:pt x="132" y="116"/>
                </a:cubicBezTo>
                <a:cubicBezTo>
                  <a:pt x="134" y="115"/>
                  <a:pt x="134" y="114"/>
                  <a:pt x="134" y="113"/>
                </a:cubicBezTo>
                <a:cubicBezTo>
                  <a:pt x="136" y="113"/>
                  <a:pt x="134" y="112"/>
                  <a:pt x="136" y="111"/>
                </a:cubicBezTo>
                <a:cubicBezTo>
                  <a:pt x="135" y="113"/>
                  <a:pt x="136" y="113"/>
                  <a:pt x="136" y="113"/>
                </a:cubicBezTo>
                <a:cubicBezTo>
                  <a:pt x="136" y="113"/>
                  <a:pt x="137" y="112"/>
                  <a:pt x="137" y="112"/>
                </a:cubicBezTo>
                <a:cubicBezTo>
                  <a:pt x="137" y="112"/>
                  <a:pt x="136" y="112"/>
                  <a:pt x="137" y="111"/>
                </a:cubicBezTo>
                <a:cubicBezTo>
                  <a:pt x="138" y="111"/>
                  <a:pt x="139" y="110"/>
                  <a:pt x="139" y="109"/>
                </a:cubicBezTo>
                <a:cubicBezTo>
                  <a:pt x="144" y="106"/>
                  <a:pt x="148" y="101"/>
                  <a:pt x="152" y="100"/>
                </a:cubicBezTo>
                <a:cubicBezTo>
                  <a:pt x="153" y="98"/>
                  <a:pt x="154" y="98"/>
                  <a:pt x="154" y="97"/>
                </a:cubicBezTo>
                <a:cubicBezTo>
                  <a:pt x="156" y="96"/>
                  <a:pt x="157" y="95"/>
                  <a:pt x="158" y="94"/>
                </a:cubicBezTo>
                <a:cubicBezTo>
                  <a:pt x="160" y="93"/>
                  <a:pt x="161" y="93"/>
                  <a:pt x="161" y="91"/>
                </a:cubicBezTo>
                <a:cubicBezTo>
                  <a:pt x="163" y="90"/>
                  <a:pt x="160" y="93"/>
                  <a:pt x="161" y="92"/>
                </a:cubicBezTo>
                <a:cubicBezTo>
                  <a:pt x="163" y="92"/>
                  <a:pt x="163" y="91"/>
                  <a:pt x="164" y="91"/>
                </a:cubicBezTo>
                <a:cubicBezTo>
                  <a:pt x="164" y="90"/>
                  <a:pt x="165" y="90"/>
                  <a:pt x="166" y="89"/>
                </a:cubicBezTo>
                <a:cubicBezTo>
                  <a:pt x="166" y="89"/>
                  <a:pt x="165" y="90"/>
                  <a:pt x="165" y="90"/>
                </a:cubicBezTo>
                <a:cubicBezTo>
                  <a:pt x="171" y="86"/>
                  <a:pt x="178" y="81"/>
                  <a:pt x="182" y="77"/>
                </a:cubicBezTo>
                <a:cubicBezTo>
                  <a:pt x="181" y="78"/>
                  <a:pt x="178" y="80"/>
                  <a:pt x="177" y="80"/>
                </a:cubicBezTo>
                <a:cubicBezTo>
                  <a:pt x="178" y="80"/>
                  <a:pt x="178" y="80"/>
                  <a:pt x="178" y="80"/>
                </a:cubicBezTo>
                <a:cubicBezTo>
                  <a:pt x="177" y="80"/>
                  <a:pt x="176" y="81"/>
                  <a:pt x="176" y="81"/>
                </a:cubicBezTo>
                <a:cubicBezTo>
                  <a:pt x="174" y="82"/>
                  <a:pt x="175" y="81"/>
                  <a:pt x="175" y="80"/>
                </a:cubicBezTo>
                <a:cubicBezTo>
                  <a:pt x="178" y="79"/>
                  <a:pt x="181" y="78"/>
                  <a:pt x="181" y="76"/>
                </a:cubicBezTo>
                <a:cubicBezTo>
                  <a:pt x="182" y="76"/>
                  <a:pt x="183" y="75"/>
                  <a:pt x="184" y="75"/>
                </a:cubicBezTo>
                <a:cubicBezTo>
                  <a:pt x="184" y="76"/>
                  <a:pt x="182" y="76"/>
                  <a:pt x="183" y="76"/>
                </a:cubicBezTo>
                <a:cubicBezTo>
                  <a:pt x="184" y="76"/>
                  <a:pt x="184" y="75"/>
                  <a:pt x="185" y="74"/>
                </a:cubicBezTo>
                <a:cubicBezTo>
                  <a:pt x="185" y="74"/>
                  <a:pt x="185" y="75"/>
                  <a:pt x="185" y="74"/>
                </a:cubicBezTo>
                <a:cubicBezTo>
                  <a:pt x="186" y="74"/>
                  <a:pt x="186" y="74"/>
                  <a:pt x="185" y="76"/>
                </a:cubicBezTo>
                <a:cubicBezTo>
                  <a:pt x="184" y="76"/>
                  <a:pt x="184" y="76"/>
                  <a:pt x="182" y="77"/>
                </a:cubicBezTo>
                <a:cubicBezTo>
                  <a:pt x="184" y="76"/>
                  <a:pt x="182" y="78"/>
                  <a:pt x="183" y="78"/>
                </a:cubicBezTo>
                <a:cubicBezTo>
                  <a:pt x="184" y="77"/>
                  <a:pt x="185" y="77"/>
                  <a:pt x="185" y="76"/>
                </a:cubicBezTo>
                <a:cubicBezTo>
                  <a:pt x="186" y="75"/>
                  <a:pt x="189" y="72"/>
                  <a:pt x="191" y="70"/>
                </a:cubicBezTo>
                <a:cubicBezTo>
                  <a:pt x="190" y="71"/>
                  <a:pt x="192" y="70"/>
                  <a:pt x="193" y="70"/>
                </a:cubicBezTo>
                <a:cubicBezTo>
                  <a:pt x="193" y="69"/>
                  <a:pt x="196" y="68"/>
                  <a:pt x="197" y="67"/>
                </a:cubicBezTo>
                <a:cubicBezTo>
                  <a:pt x="197" y="67"/>
                  <a:pt x="196" y="68"/>
                  <a:pt x="197" y="68"/>
                </a:cubicBezTo>
                <a:cubicBezTo>
                  <a:pt x="198" y="67"/>
                  <a:pt x="198" y="66"/>
                  <a:pt x="199" y="65"/>
                </a:cubicBezTo>
                <a:cubicBezTo>
                  <a:pt x="199" y="66"/>
                  <a:pt x="201" y="64"/>
                  <a:pt x="201" y="64"/>
                </a:cubicBezTo>
                <a:cubicBezTo>
                  <a:pt x="201" y="65"/>
                  <a:pt x="203" y="64"/>
                  <a:pt x="203" y="64"/>
                </a:cubicBezTo>
                <a:cubicBezTo>
                  <a:pt x="204" y="64"/>
                  <a:pt x="204" y="63"/>
                  <a:pt x="204" y="63"/>
                </a:cubicBezTo>
                <a:cubicBezTo>
                  <a:pt x="204" y="63"/>
                  <a:pt x="203" y="64"/>
                  <a:pt x="203" y="63"/>
                </a:cubicBezTo>
                <a:cubicBezTo>
                  <a:pt x="205" y="63"/>
                  <a:pt x="206" y="62"/>
                  <a:pt x="206" y="61"/>
                </a:cubicBezTo>
                <a:cubicBezTo>
                  <a:pt x="207" y="61"/>
                  <a:pt x="205" y="62"/>
                  <a:pt x="206" y="61"/>
                </a:cubicBezTo>
                <a:cubicBezTo>
                  <a:pt x="208" y="60"/>
                  <a:pt x="208" y="61"/>
                  <a:pt x="209" y="60"/>
                </a:cubicBezTo>
                <a:cubicBezTo>
                  <a:pt x="209" y="59"/>
                  <a:pt x="209" y="59"/>
                  <a:pt x="209" y="59"/>
                </a:cubicBezTo>
                <a:cubicBezTo>
                  <a:pt x="209" y="60"/>
                  <a:pt x="206" y="61"/>
                  <a:pt x="205" y="61"/>
                </a:cubicBezTo>
                <a:cubicBezTo>
                  <a:pt x="206" y="61"/>
                  <a:pt x="205" y="61"/>
                  <a:pt x="205" y="60"/>
                </a:cubicBezTo>
                <a:cubicBezTo>
                  <a:pt x="206" y="60"/>
                  <a:pt x="207" y="59"/>
                  <a:pt x="208" y="59"/>
                </a:cubicBezTo>
                <a:cubicBezTo>
                  <a:pt x="208" y="58"/>
                  <a:pt x="207" y="59"/>
                  <a:pt x="206" y="59"/>
                </a:cubicBezTo>
                <a:cubicBezTo>
                  <a:pt x="209" y="58"/>
                  <a:pt x="209" y="58"/>
                  <a:pt x="210" y="58"/>
                </a:cubicBezTo>
                <a:cubicBezTo>
                  <a:pt x="212" y="56"/>
                  <a:pt x="214" y="56"/>
                  <a:pt x="215" y="56"/>
                </a:cubicBezTo>
                <a:cubicBezTo>
                  <a:pt x="215" y="56"/>
                  <a:pt x="214" y="57"/>
                  <a:pt x="214" y="57"/>
                </a:cubicBezTo>
                <a:cubicBezTo>
                  <a:pt x="216" y="56"/>
                  <a:pt x="217" y="56"/>
                  <a:pt x="219" y="55"/>
                </a:cubicBezTo>
                <a:cubicBezTo>
                  <a:pt x="219" y="54"/>
                  <a:pt x="219" y="54"/>
                  <a:pt x="220" y="54"/>
                </a:cubicBezTo>
                <a:cubicBezTo>
                  <a:pt x="220" y="54"/>
                  <a:pt x="218" y="55"/>
                  <a:pt x="220" y="54"/>
                </a:cubicBezTo>
                <a:cubicBezTo>
                  <a:pt x="220" y="54"/>
                  <a:pt x="221" y="54"/>
                  <a:pt x="222" y="53"/>
                </a:cubicBezTo>
                <a:cubicBezTo>
                  <a:pt x="222" y="53"/>
                  <a:pt x="222" y="53"/>
                  <a:pt x="222" y="52"/>
                </a:cubicBezTo>
                <a:cubicBezTo>
                  <a:pt x="221" y="53"/>
                  <a:pt x="220" y="54"/>
                  <a:pt x="220" y="53"/>
                </a:cubicBezTo>
                <a:cubicBezTo>
                  <a:pt x="221" y="52"/>
                  <a:pt x="222" y="52"/>
                  <a:pt x="223" y="52"/>
                </a:cubicBezTo>
                <a:cubicBezTo>
                  <a:pt x="222" y="51"/>
                  <a:pt x="221" y="52"/>
                  <a:pt x="221" y="52"/>
                </a:cubicBezTo>
                <a:cubicBezTo>
                  <a:pt x="222" y="52"/>
                  <a:pt x="222" y="51"/>
                  <a:pt x="222" y="51"/>
                </a:cubicBezTo>
                <a:cubicBezTo>
                  <a:pt x="223" y="51"/>
                  <a:pt x="224" y="51"/>
                  <a:pt x="223" y="51"/>
                </a:cubicBezTo>
                <a:cubicBezTo>
                  <a:pt x="224" y="51"/>
                  <a:pt x="225" y="51"/>
                  <a:pt x="226" y="50"/>
                </a:cubicBezTo>
                <a:cubicBezTo>
                  <a:pt x="227" y="50"/>
                  <a:pt x="227" y="50"/>
                  <a:pt x="229" y="49"/>
                </a:cubicBezTo>
                <a:cubicBezTo>
                  <a:pt x="230" y="48"/>
                  <a:pt x="228" y="49"/>
                  <a:pt x="229" y="48"/>
                </a:cubicBezTo>
                <a:cubicBezTo>
                  <a:pt x="231" y="48"/>
                  <a:pt x="228" y="49"/>
                  <a:pt x="230" y="49"/>
                </a:cubicBezTo>
                <a:cubicBezTo>
                  <a:pt x="232" y="48"/>
                  <a:pt x="235" y="47"/>
                  <a:pt x="237" y="45"/>
                </a:cubicBezTo>
                <a:cubicBezTo>
                  <a:pt x="237" y="46"/>
                  <a:pt x="239" y="44"/>
                  <a:pt x="240" y="44"/>
                </a:cubicBezTo>
                <a:cubicBezTo>
                  <a:pt x="241" y="43"/>
                  <a:pt x="241" y="44"/>
                  <a:pt x="242" y="43"/>
                </a:cubicBezTo>
                <a:cubicBezTo>
                  <a:pt x="243" y="42"/>
                  <a:pt x="244" y="41"/>
                  <a:pt x="245" y="40"/>
                </a:cubicBezTo>
                <a:cubicBezTo>
                  <a:pt x="245" y="41"/>
                  <a:pt x="246" y="40"/>
                  <a:pt x="247" y="40"/>
                </a:cubicBezTo>
                <a:cubicBezTo>
                  <a:pt x="248" y="41"/>
                  <a:pt x="245" y="41"/>
                  <a:pt x="246" y="41"/>
                </a:cubicBezTo>
                <a:cubicBezTo>
                  <a:pt x="247" y="41"/>
                  <a:pt x="250" y="39"/>
                  <a:pt x="250" y="39"/>
                </a:cubicBezTo>
                <a:cubicBezTo>
                  <a:pt x="250" y="39"/>
                  <a:pt x="248" y="40"/>
                  <a:pt x="248" y="39"/>
                </a:cubicBezTo>
                <a:cubicBezTo>
                  <a:pt x="251" y="38"/>
                  <a:pt x="255" y="37"/>
                  <a:pt x="257" y="35"/>
                </a:cubicBezTo>
                <a:cubicBezTo>
                  <a:pt x="260" y="34"/>
                  <a:pt x="263" y="34"/>
                  <a:pt x="264" y="32"/>
                </a:cubicBezTo>
                <a:cubicBezTo>
                  <a:pt x="265" y="32"/>
                  <a:pt x="265" y="33"/>
                  <a:pt x="266" y="32"/>
                </a:cubicBezTo>
                <a:cubicBezTo>
                  <a:pt x="266" y="32"/>
                  <a:pt x="266" y="32"/>
                  <a:pt x="265" y="32"/>
                </a:cubicBezTo>
                <a:cubicBezTo>
                  <a:pt x="267" y="30"/>
                  <a:pt x="267" y="30"/>
                  <a:pt x="267" y="30"/>
                </a:cubicBezTo>
                <a:cubicBezTo>
                  <a:pt x="268" y="31"/>
                  <a:pt x="271" y="28"/>
                  <a:pt x="272" y="29"/>
                </a:cubicBezTo>
                <a:cubicBezTo>
                  <a:pt x="271" y="29"/>
                  <a:pt x="270" y="30"/>
                  <a:pt x="270" y="30"/>
                </a:cubicBezTo>
                <a:cubicBezTo>
                  <a:pt x="272" y="29"/>
                  <a:pt x="273" y="30"/>
                  <a:pt x="274" y="29"/>
                </a:cubicBezTo>
                <a:cubicBezTo>
                  <a:pt x="273" y="28"/>
                  <a:pt x="275" y="28"/>
                  <a:pt x="276" y="27"/>
                </a:cubicBezTo>
                <a:cubicBezTo>
                  <a:pt x="277" y="27"/>
                  <a:pt x="275" y="28"/>
                  <a:pt x="277" y="28"/>
                </a:cubicBezTo>
                <a:cubicBezTo>
                  <a:pt x="277" y="27"/>
                  <a:pt x="277" y="27"/>
                  <a:pt x="278" y="27"/>
                </a:cubicBezTo>
                <a:cubicBezTo>
                  <a:pt x="278" y="28"/>
                  <a:pt x="274" y="29"/>
                  <a:pt x="275" y="29"/>
                </a:cubicBezTo>
                <a:cubicBezTo>
                  <a:pt x="277" y="28"/>
                  <a:pt x="280" y="28"/>
                  <a:pt x="281" y="27"/>
                </a:cubicBezTo>
                <a:cubicBezTo>
                  <a:pt x="281" y="27"/>
                  <a:pt x="281" y="27"/>
                  <a:pt x="282" y="27"/>
                </a:cubicBezTo>
                <a:cubicBezTo>
                  <a:pt x="283" y="26"/>
                  <a:pt x="285" y="26"/>
                  <a:pt x="285" y="25"/>
                </a:cubicBezTo>
                <a:cubicBezTo>
                  <a:pt x="284" y="25"/>
                  <a:pt x="283" y="26"/>
                  <a:pt x="282" y="26"/>
                </a:cubicBezTo>
                <a:cubicBezTo>
                  <a:pt x="285" y="24"/>
                  <a:pt x="286" y="24"/>
                  <a:pt x="288" y="23"/>
                </a:cubicBezTo>
                <a:cubicBezTo>
                  <a:pt x="288" y="23"/>
                  <a:pt x="287" y="24"/>
                  <a:pt x="288" y="24"/>
                </a:cubicBezTo>
                <a:cubicBezTo>
                  <a:pt x="286" y="24"/>
                  <a:pt x="285" y="25"/>
                  <a:pt x="286" y="25"/>
                </a:cubicBezTo>
                <a:cubicBezTo>
                  <a:pt x="287" y="24"/>
                  <a:pt x="289" y="24"/>
                  <a:pt x="290" y="23"/>
                </a:cubicBezTo>
                <a:cubicBezTo>
                  <a:pt x="290" y="23"/>
                  <a:pt x="290" y="23"/>
                  <a:pt x="289" y="23"/>
                </a:cubicBezTo>
                <a:cubicBezTo>
                  <a:pt x="290" y="22"/>
                  <a:pt x="291" y="22"/>
                  <a:pt x="292" y="21"/>
                </a:cubicBezTo>
                <a:cubicBezTo>
                  <a:pt x="294" y="21"/>
                  <a:pt x="293" y="22"/>
                  <a:pt x="293" y="22"/>
                </a:cubicBezTo>
                <a:cubicBezTo>
                  <a:pt x="296" y="20"/>
                  <a:pt x="300" y="19"/>
                  <a:pt x="302" y="18"/>
                </a:cubicBezTo>
                <a:cubicBezTo>
                  <a:pt x="303" y="18"/>
                  <a:pt x="302" y="19"/>
                  <a:pt x="302" y="19"/>
                </a:cubicBezTo>
                <a:cubicBezTo>
                  <a:pt x="305" y="19"/>
                  <a:pt x="303" y="18"/>
                  <a:pt x="305" y="18"/>
                </a:cubicBezTo>
                <a:cubicBezTo>
                  <a:pt x="305" y="18"/>
                  <a:pt x="304" y="18"/>
                  <a:pt x="305" y="18"/>
                </a:cubicBezTo>
                <a:cubicBezTo>
                  <a:pt x="306" y="18"/>
                  <a:pt x="307" y="17"/>
                  <a:pt x="307" y="17"/>
                </a:cubicBezTo>
                <a:cubicBezTo>
                  <a:pt x="306" y="17"/>
                  <a:pt x="305" y="18"/>
                  <a:pt x="304" y="18"/>
                </a:cubicBezTo>
                <a:cubicBezTo>
                  <a:pt x="304" y="17"/>
                  <a:pt x="304" y="17"/>
                  <a:pt x="303" y="17"/>
                </a:cubicBezTo>
                <a:cubicBezTo>
                  <a:pt x="305" y="16"/>
                  <a:pt x="307" y="16"/>
                  <a:pt x="310" y="15"/>
                </a:cubicBezTo>
                <a:cubicBezTo>
                  <a:pt x="312" y="14"/>
                  <a:pt x="310" y="14"/>
                  <a:pt x="310" y="14"/>
                </a:cubicBezTo>
                <a:cubicBezTo>
                  <a:pt x="312" y="14"/>
                  <a:pt x="311" y="14"/>
                  <a:pt x="312" y="14"/>
                </a:cubicBezTo>
                <a:cubicBezTo>
                  <a:pt x="310" y="16"/>
                  <a:pt x="308" y="16"/>
                  <a:pt x="306" y="17"/>
                </a:cubicBezTo>
                <a:cubicBezTo>
                  <a:pt x="307" y="17"/>
                  <a:pt x="307" y="17"/>
                  <a:pt x="309" y="17"/>
                </a:cubicBezTo>
                <a:cubicBezTo>
                  <a:pt x="308" y="17"/>
                  <a:pt x="307" y="18"/>
                  <a:pt x="308" y="18"/>
                </a:cubicBezTo>
                <a:cubicBezTo>
                  <a:pt x="307" y="18"/>
                  <a:pt x="305" y="19"/>
                  <a:pt x="305" y="19"/>
                </a:cubicBezTo>
                <a:cubicBezTo>
                  <a:pt x="306" y="20"/>
                  <a:pt x="309" y="18"/>
                  <a:pt x="308" y="18"/>
                </a:cubicBezTo>
                <a:cubicBezTo>
                  <a:pt x="309" y="18"/>
                  <a:pt x="312" y="17"/>
                  <a:pt x="312" y="17"/>
                </a:cubicBezTo>
                <a:cubicBezTo>
                  <a:pt x="311" y="16"/>
                  <a:pt x="310" y="17"/>
                  <a:pt x="309" y="17"/>
                </a:cubicBezTo>
                <a:cubicBezTo>
                  <a:pt x="310" y="17"/>
                  <a:pt x="309" y="17"/>
                  <a:pt x="309" y="17"/>
                </a:cubicBezTo>
                <a:cubicBezTo>
                  <a:pt x="313" y="15"/>
                  <a:pt x="323" y="14"/>
                  <a:pt x="323" y="12"/>
                </a:cubicBezTo>
                <a:cubicBezTo>
                  <a:pt x="323" y="12"/>
                  <a:pt x="321" y="13"/>
                  <a:pt x="322" y="12"/>
                </a:cubicBezTo>
                <a:cubicBezTo>
                  <a:pt x="322" y="12"/>
                  <a:pt x="324" y="11"/>
                  <a:pt x="324" y="11"/>
                </a:cubicBezTo>
                <a:cubicBezTo>
                  <a:pt x="322" y="12"/>
                  <a:pt x="320" y="12"/>
                  <a:pt x="319" y="13"/>
                </a:cubicBezTo>
                <a:cubicBezTo>
                  <a:pt x="317" y="13"/>
                  <a:pt x="316" y="14"/>
                  <a:pt x="314" y="14"/>
                </a:cubicBezTo>
                <a:cubicBezTo>
                  <a:pt x="315" y="14"/>
                  <a:pt x="316" y="14"/>
                  <a:pt x="317" y="13"/>
                </a:cubicBezTo>
                <a:cubicBezTo>
                  <a:pt x="317" y="13"/>
                  <a:pt x="317" y="13"/>
                  <a:pt x="316" y="13"/>
                </a:cubicBezTo>
                <a:cubicBezTo>
                  <a:pt x="318" y="12"/>
                  <a:pt x="318" y="12"/>
                  <a:pt x="319" y="12"/>
                </a:cubicBezTo>
                <a:cubicBezTo>
                  <a:pt x="319" y="12"/>
                  <a:pt x="316" y="13"/>
                  <a:pt x="318" y="13"/>
                </a:cubicBezTo>
                <a:cubicBezTo>
                  <a:pt x="320" y="12"/>
                  <a:pt x="322" y="11"/>
                  <a:pt x="321" y="11"/>
                </a:cubicBezTo>
                <a:cubicBezTo>
                  <a:pt x="320" y="11"/>
                  <a:pt x="318" y="12"/>
                  <a:pt x="319" y="11"/>
                </a:cubicBezTo>
                <a:cubicBezTo>
                  <a:pt x="319" y="11"/>
                  <a:pt x="320" y="11"/>
                  <a:pt x="321" y="10"/>
                </a:cubicBezTo>
                <a:cubicBezTo>
                  <a:pt x="322" y="11"/>
                  <a:pt x="325" y="10"/>
                  <a:pt x="324" y="11"/>
                </a:cubicBezTo>
                <a:cubicBezTo>
                  <a:pt x="325" y="10"/>
                  <a:pt x="330" y="8"/>
                  <a:pt x="332" y="8"/>
                </a:cubicBezTo>
                <a:cubicBezTo>
                  <a:pt x="332" y="8"/>
                  <a:pt x="332" y="8"/>
                  <a:pt x="332" y="8"/>
                </a:cubicBezTo>
                <a:cubicBezTo>
                  <a:pt x="333" y="8"/>
                  <a:pt x="333" y="8"/>
                  <a:pt x="334" y="8"/>
                </a:cubicBezTo>
                <a:cubicBezTo>
                  <a:pt x="334" y="8"/>
                  <a:pt x="334" y="8"/>
                  <a:pt x="334" y="8"/>
                </a:cubicBezTo>
                <a:cubicBezTo>
                  <a:pt x="332" y="9"/>
                  <a:pt x="330" y="9"/>
                  <a:pt x="328" y="10"/>
                </a:cubicBezTo>
                <a:cubicBezTo>
                  <a:pt x="329" y="10"/>
                  <a:pt x="327" y="10"/>
                  <a:pt x="329" y="10"/>
                </a:cubicBezTo>
                <a:cubicBezTo>
                  <a:pt x="330" y="9"/>
                  <a:pt x="334" y="9"/>
                  <a:pt x="336" y="8"/>
                </a:cubicBezTo>
                <a:cubicBezTo>
                  <a:pt x="335" y="8"/>
                  <a:pt x="334" y="8"/>
                  <a:pt x="335" y="8"/>
                </a:cubicBezTo>
                <a:cubicBezTo>
                  <a:pt x="337" y="7"/>
                  <a:pt x="341" y="7"/>
                  <a:pt x="341" y="6"/>
                </a:cubicBezTo>
                <a:cubicBezTo>
                  <a:pt x="342" y="6"/>
                  <a:pt x="342" y="7"/>
                  <a:pt x="344" y="5"/>
                </a:cubicBezTo>
                <a:cubicBezTo>
                  <a:pt x="345" y="5"/>
                  <a:pt x="345" y="6"/>
                  <a:pt x="345" y="6"/>
                </a:cubicBezTo>
                <a:cubicBezTo>
                  <a:pt x="345" y="6"/>
                  <a:pt x="344" y="6"/>
                  <a:pt x="343" y="6"/>
                </a:cubicBezTo>
                <a:cubicBezTo>
                  <a:pt x="346" y="7"/>
                  <a:pt x="342" y="7"/>
                  <a:pt x="343" y="7"/>
                </a:cubicBezTo>
                <a:cubicBezTo>
                  <a:pt x="344" y="7"/>
                  <a:pt x="345" y="7"/>
                  <a:pt x="346" y="7"/>
                </a:cubicBezTo>
                <a:cubicBezTo>
                  <a:pt x="344" y="6"/>
                  <a:pt x="347" y="6"/>
                  <a:pt x="346" y="5"/>
                </a:cubicBezTo>
                <a:cubicBezTo>
                  <a:pt x="347" y="6"/>
                  <a:pt x="350" y="6"/>
                  <a:pt x="350" y="5"/>
                </a:cubicBezTo>
                <a:cubicBezTo>
                  <a:pt x="351" y="5"/>
                  <a:pt x="351" y="5"/>
                  <a:pt x="352" y="5"/>
                </a:cubicBezTo>
                <a:cubicBezTo>
                  <a:pt x="353" y="6"/>
                  <a:pt x="348" y="6"/>
                  <a:pt x="349" y="6"/>
                </a:cubicBezTo>
                <a:cubicBezTo>
                  <a:pt x="345" y="7"/>
                  <a:pt x="342" y="8"/>
                  <a:pt x="338" y="9"/>
                </a:cubicBezTo>
                <a:cubicBezTo>
                  <a:pt x="339" y="10"/>
                  <a:pt x="341" y="8"/>
                  <a:pt x="342" y="9"/>
                </a:cubicBezTo>
                <a:cubicBezTo>
                  <a:pt x="343" y="8"/>
                  <a:pt x="343" y="8"/>
                  <a:pt x="343" y="8"/>
                </a:cubicBezTo>
                <a:cubicBezTo>
                  <a:pt x="346" y="7"/>
                  <a:pt x="344" y="7"/>
                  <a:pt x="345" y="8"/>
                </a:cubicBezTo>
                <a:cubicBezTo>
                  <a:pt x="346" y="7"/>
                  <a:pt x="347" y="8"/>
                  <a:pt x="346" y="7"/>
                </a:cubicBezTo>
                <a:cubicBezTo>
                  <a:pt x="349" y="7"/>
                  <a:pt x="346" y="8"/>
                  <a:pt x="346" y="8"/>
                </a:cubicBezTo>
                <a:cubicBezTo>
                  <a:pt x="348" y="8"/>
                  <a:pt x="350" y="8"/>
                  <a:pt x="351" y="8"/>
                </a:cubicBezTo>
                <a:cubicBezTo>
                  <a:pt x="351" y="7"/>
                  <a:pt x="351" y="7"/>
                  <a:pt x="351" y="7"/>
                </a:cubicBezTo>
                <a:cubicBezTo>
                  <a:pt x="350" y="8"/>
                  <a:pt x="349" y="7"/>
                  <a:pt x="348" y="8"/>
                </a:cubicBezTo>
                <a:cubicBezTo>
                  <a:pt x="347" y="8"/>
                  <a:pt x="347" y="7"/>
                  <a:pt x="348" y="7"/>
                </a:cubicBezTo>
                <a:cubicBezTo>
                  <a:pt x="348" y="7"/>
                  <a:pt x="348" y="8"/>
                  <a:pt x="348" y="7"/>
                </a:cubicBezTo>
                <a:cubicBezTo>
                  <a:pt x="349" y="7"/>
                  <a:pt x="350" y="7"/>
                  <a:pt x="350" y="6"/>
                </a:cubicBezTo>
                <a:cubicBezTo>
                  <a:pt x="351" y="6"/>
                  <a:pt x="354" y="6"/>
                  <a:pt x="354" y="6"/>
                </a:cubicBezTo>
                <a:cubicBezTo>
                  <a:pt x="353" y="6"/>
                  <a:pt x="352" y="6"/>
                  <a:pt x="350" y="6"/>
                </a:cubicBezTo>
                <a:cubicBezTo>
                  <a:pt x="351" y="5"/>
                  <a:pt x="353" y="6"/>
                  <a:pt x="353" y="5"/>
                </a:cubicBezTo>
                <a:cubicBezTo>
                  <a:pt x="354" y="6"/>
                  <a:pt x="360" y="5"/>
                  <a:pt x="359" y="4"/>
                </a:cubicBezTo>
                <a:cubicBezTo>
                  <a:pt x="361" y="4"/>
                  <a:pt x="360" y="5"/>
                  <a:pt x="362" y="4"/>
                </a:cubicBezTo>
                <a:cubicBezTo>
                  <a:pt x="362" y="4"/>
                  <a:pt x="362" y="4"/>
                  <a:pt x="362" y="4"/>
                </a:cubicBezTo>
                <a:cubicBezTo>
                  <a:pt x="363" y="4"/>
                  <a:pt x="363" y="3"/>
                  <a:pt x="364" y="3"/>
                </a:cubicBezTo>
                <a:cubicBezTo>
                  <a:pt x="365" y="3"/>
                  <a:pt x="366" y="3"/>
                  <a:pt x="367" y="3"/>
                </a:cubicBezTo>
                <a:cubicBezTo>
                  <a:pt x="365" y="4"/>
                  <a:pt x="362" y="5"/>
                  <a:pt x="362" y="6"/>
                </a:cubicBezTo>
                <a:cubicBezTo>
                  <a:pt x="363" y="5"/>
                  <a:pt x="363" y="5"/>
                  <a:pt x="363" y="5"/>
                </a:cubicBezTo>
                <a:cubicBezTo>
                  <a:pt x="364" y="5"/>
                  <a:pt x="365" y="4"/>
                  <a:pt x="367" y="5"/>
                </a:cubicBezTo>
                <a:cubicBezTo>
                  <a:pt x="366" y="5"/>
                  <a:pt x="367" y="5"/>
                  <a:pt x="368" y="5"/>
                </a:cubicBezTo>
                <a:cubicBezTo>
                  <a:pt x="369" y="4"/>
                  <a:pt x="371" y="5"/>
                  <a:pt x="371" y="5"/>
                </a:cubicBezTo>
                <a:cubicBezTo>
                  <a:pt x="372" y="5"/>
                  <a:pt x="373" y="4"/>
                  <a:pt x="372" y="4"/>
                </a:cubicBezTo>
                <a:cubicBezTo>
                  <a:pt x="372" y="4"/>
                  <a:pt x="369" y="5"/>
                  <a:pt x="370" y="4"/>
                </a:cubicBezTo>
                <a:cubicBezTo>
                  <a:pt x="371" y="4"/>
                  <a:pt x="373" y="4"/>
                  <a:pt x="372" y="3"/>
                </a:cubicBezTo>
                <a:cubicBezTo>
                  <a:pt x="372" y="4"/>
                  <a:pt x="369" y="4"/>
                  <a:pt x="370" y="3"/>
                </a:cubicBezTo>
                <a:cubicBezTo>
                  <a:pt x="372" y="2"/>
                  <a:pt x="373" y="3"/>
                  <a:pt x="374" y="2"/>
                </a:cubicBezTo>
                <a:cubicBezTo>
                  <a:pt x="375" y="2"/>
                  <a:pt x="375" y="2"/>
                  <a:pt x="375" y="3"/>
                </a:cubicBezTo>
                <a:cubicBezTo>
                  <a:pt x="376" y="2"/>
                  <a:pt x="379" y="2"/>
                  <a:pt x="380" y="2"/>
                </a:cubicBezTo>
                <a:cubicBezTo>
                  <a:pt x="382" y="2"/>
                  <a:pt x="383" y="1"/>
                  <a:pt x="385" y="1"/>
                </a:cubicBezTo>
                <a:cubicBezTo>
                  <a:pt x="385" y="1"/>
                  <a:pt x="387" y="1"/>
                  <a:pt x="387" y="1"/>
                </a:cubicBezTo>
                <a:cubicBezTo>
                  <a:pt x="388" y="1"/>
                  <a:pt x="388" y="1"/>
                  <a:pt x="389" y="1"/>
                </a:cubicBezTo>
                <a:cubicBezTo>
                  <a:pt x="389" y="0"/>
                  <a:pt x="392" y="1"/>
                  <a:pt x="394" y="0"/>
                </a:cubicBezTo>
                <a:cubicBezTo>
                  <a:pt x="394" y="1"/>
                  <a:pt x="394" y="1"/>
                  <a:pt x="395" y="1"/>
                </a:cubicBezTo>
                <a:cubicBezTo>
                  <a:pt x="397" y="1"/>
                  <a:pt x="395" y="1"/>
                  <a:pt x="397" y="1"/>
                </a:cubicBezTo>
                <a:cubicBezTo>
                  <a:pt x="396" y="1"/>
                  <a:pt x="396" y="1"/>
                  <a:pt x="397" y="1"/>
                </a:cubicBezTo>
                <a:cubicBezTo>
                  <a:pt x="398" y="1"/>
                  <a:pt x="398" y="1"/>
                  <a:pt x="399" y="1"/>
                </a:cubicBezTo>
                <a:cubicBezTo>
                  <a:pt x="400" y="1"/>
                  <a:pt x="398" y="1"/>
                  <a:pt x="399" y="0"/>
                </a:cubicBezTo>
                <a:cubicBezTo>
                  <a:pt x="401" y="0"/>
                  <a:pt x="404" y="0"/>
                  <a:pt x="406" y="0"/>
                </a:cubicBezTo>
                <a:cubicBezTo>
                  <a:pt x="405" y="0"/>
                  <a:pt x="405" y="0"/>
                  <a:pt x="406" y="0"/>
                </a:cubicBezTo>
                <a:cubicBezTo>
                  <a:pt x="407" y="0"/>
                  <a:pt x="409" y="0"/>
                  <a:pt x="409" y="1"/>
                </a:cubicBezTo>
                <a:cubicBezTo>
                  <a:pt x="411" y="0"/>
                  <a:pt x="414" y="0"/>
                  <a:pt x="416" y="0"/>
                </a:cubicBezTo>
                <a:cubicBezTo>
                  <a:pt x="417" y="0"/>
                  <a:pt x="418" y="0"/>
                  <a:pt x="419" y="0"/>
                </a:cubicBezTo>
                <a:cubicBezTo>
                  <a:pt x="420" y="0"/>
                  <a:pt x="421" y="0"/>
                  <a:pt x="421" y="0"/>
                </a:cubicBezTo>
                <a:cubicBezTo>
                  <a:pt x="422" y="0"/>
                  <a:pt x="422" y="0"/>
                  <a:pt x="423" y="0"/>
                </a:cubicBezTo>
                <a:cubicBezTo>
                  <a:pt x="423" y="0"/>
                  <a:pt x="421" y="0"/>
                  <a:pt x="420" y="0"/>
                </a:cubicBezTo>
                <a:cubicBezTo>
                  <a:pt x="421" y="1"/>
                  <a:pt x="420" y="1"/>
                  <a:pt x="419" y="2"/>
                </a:cubicBezTo>
                <a:cubicBezTo>
                  <a:pt x="421" y="2"/>
                  <a:pt x="422" y="2"/>
                  <a:pt x="423" y="1"/>
                </a:cubicBezTo>
                <a:cubicBezTo>
                  <a:pt x="425" y="2"/>
                  <a:pt x="427" y="2"/>
                  <a:pt x="429" y="1"/>
                </a:cubicBezTo>
                <a:cubicBezTo>
                  <a:pt x="431" y="2"/>
                  <a:pt x="429" y="2"/>
                  <a:pt x="430" y="2"/>
                </a:cubicBezTo>
                <a:cubicBezTo>
                  <a:pt x="431" y="2"/>
                  <a:pt x="430" y="2"/>
                  <a:pt x="431" y="2"/>
                </a:cubicBezTo>
                <a:cubicBezTo>
                  <a:pt x="433" y="2"/>
                  <a:pt x="439" y="2"/>
                  <a:pt x="443" y="3"/>
                </a:cubicBezTo>
                <a:cubicBezTo>
                  <a:pt x="442" y="2"/>
                  <a:pt x="441" y="2"/>
                  <a:pt x="440" y="2"/>
                </a:cubicBezTo>
                <a:cubicBezTo>
                  <a:pt x="440" y="2"/>
                  <a:pt x="439" y="1"/>
                  <a:pt x="438" y="2"/>
                </a:cubicBezTo>
                <a:cubicBezTo>
                  <a:pt x="439" y="2"/>
                  <a:pt x="439" y="2"/>
                  <a:pt x="439" y="2"/>
                </a:cubicBezTo>
                <a:cubicBezTo>
                  <a:pt x="436" y="2"/>
                  <a:pt x="434" y="1"/>
                  <a:pt x="431" y="1"/>
                </a:cubicBezTo>
                <a:cubicBezTo>
                  <a:pt x="432" y="1"/>
                  <a:pt x="434" y="1"/>
                  <a:pt x="432" y="1"/>
                </a:cubicBezTo>
                <a:cubicBezTo>
                  <a:pt x="433" y="0"/>
                  <a:pt x="434" y="1"/>
                  <a:pt x="435" y="1"/>
                </a:cubicBezTo>
                <a:cubicBezTo>
                  <a:pt x="436" y="1"/>
                  <a:pt x="439" y="1"/>
                  <a:pt x="441" y="1"/>
                </a:cubicBezTo>
                <a:cubicBezTo>
                  <a:pt x="441" y="1"/>
                  <a:pt x="440" y="1"/>
                  <a:pt x="441" y="1"/>
                </a:cubicBezTo>
                <a:cubicBezTo>
                  <a:pt x="442" y="2"/>
                  <a:pt x="443" y="1"/>
                  <a:pt x="444" y="1"/>
                </a:cubicBezTo>
                <a:cubicBezTo>
                  <a:pt x="443" y="1"/>
                  <a:pt x="443" y="1"/>
                  <a:pt x="443" y="1"/>
                </a:cubicBezTo>
                <a:cubicBezTo>
                  <a:pt x="446" y="1"/>
                  <a:pt x="449" y="1"/>
                  <a:pt x="453" y="2"/>
                </a:cubicBezTo>
                <a:cubicBezTo>
                  <a:pt x="454" y="2"/>
                  <a:pt x="453" y="2"/>
                  <a:pt x="454" y="2"/>
                </a:cubicBezTo>
                <a:cubicBezTo>
                  <a:pt x="456" y="2"/>
                  <a:pt x="456" y="2"/>
                  <a:pt x="456" y="2"/>
                </a:cubicBezTo>
                <a:cubicBezTo>
                  <a:pt x="456" y="3"/>
                  <a:pt x="456" y="3"/>
                  <a:pt x="456" y="3"/>
                </a:cubicBezTo>
                <a:cubicBezTo>
                  <a:pt x="457" y="3"/>
                  <a:pt x="457" y="3"/>
                  <a:pt x="458" y="3"/>
                </a:cubicBezTo>
                <a:cubicBezTo>
                  <a:pt x="458" y="3"/>
                  <a:pt x="457" y="2"/>
                  <a:pt x="457" y="2"/>
                </a:cubicBezTo>
                <a:cubicBezTo>
                  <a:pt x="458" y="3"/>
                  <a:pt x="460" y="2"/>
                  <a:pt x="460" y="3"/>
                </a:cubicBezTo>
                <a:cubicBezTo>
                  <a:pt x="460" y="3"/>
                  <a:pt x="459" y="3"/>
                  <a:pt x="460" y="3"/>
                </a:cubicBezTo>
                <a:cubicBezTo>
                  <a:pt x="461" y="3"/>
                  <a:pt x="461" y="3"/>
                  <a:pt x="462" y="3"/>
                </a:cubicBezTo>
                <a:cubicBezTo>
                  <a:pt x="462" y="3"/>
                  <a:pt x="462" y="3"/>
                  <a:pt x="462" y="3"/>
                </a:cubicBezTo>
                <a:cubicBezTo>
                  <a:pt x="464" y="4"/>
                  <a:pt x="466" y="3"/>
                  <a:pt x="468" y="4"/>
                </a:cubicBezTo>
                <a:cubicBezTo>
                  <a:pt x="468" y="4"/>
                  <a:pt x="466" y="4"/>
                  <a:pt x="467" y="4"/>
                </a:cubicBezTo>
                <a:cubicBezTo>
                  <a:pt x="471" y="5"/>
                  <a:pt x="478" y="5"/>
                  <a:pt x="483" y="8"/>
                </a:cubicBezTo>
                <a:cubicBezTo>
                  <a:pt x="484" y="7"/>
                  <a:pt x="482" y="7"/>
                  <a:pt x="483" y="7"/>
                </a:cubicBezTo>
                <a:cubicBezTo>
                  <a:pt x="485" y="7"/>
                  <a:pt x="483" y="7"/>
                  <a:pt x="484" y="8"/>
                </a:cubicBezTo>
                <a:cubicBezTo>
                  <a:pt x="486" y="8"/>
                  <a:pt x="484" y="7"/>
                  <a:pt x="486" y="7"/>
                </a:cubicBezTo>
                <a:cubicBezTo>
                  <a:pt x="486" y="8"/>
                  <a:pt x="485" y="8"/>
                  <a:pt x="487" y="8"/>
                </a:cubicBezTo>
                <a:cubicBezTo>
                  <a:pt x="488" y="8"/>
                  <a:pt x="490" y="9"/>
                  <a:pt x="491" y="9"/>
                </a:cubicBezTo>
                <a:cubicBezTo>
                  <a:pt x="491" y="9"/>
                  <a:pt x="491" y="9"/>
                  <a:pt x="491" y="8"/>
                </a:cubicBezTo>
                <a:cubicBezTo>
                  <a:pt x="491" y="9"/>
                  <a:pt x="492" y="9"/>
                  <a:pt x="492" y="9"/>
                </a:cubicBezTo>
                <a:cubicBezTo>
                  <a:pt x="495" y="10"/>
                  <a:pt x="497" y="9"/>
                  <a:pt x="498" y="10"/>
                </a:cubicBezTo>
                <a:cubicBezTo>
                  <a:pt x="498" y="11"/>
                  <a:pt x="496" y="10"/>
                  <a:pt x="495" y="10"/>
                </a:cubicBezTo>
                <a:cubicBezTo>
                  <a:pt x="495" y="10"/>
                  <a:pt x="495" y="10"/>
                  <a:pt x="495" y="10"/>
                </a:cubicBezTo>
                <a:cubicBezTo>
                  <a:pt x="497" y="11"/>
                  <a:pt x="500" y="11"/>
                  <a:pt x="502" y="12"/>
                </a:cubicBezTo>
                <a:cubicBezTo>
                  <a:pt x="501" y="11"/>
                  <a:pt x="500" y="11"/>
                  <a:pt x="498" y="10"/>
                </a:cubicBezTo>
                <a:cubicBezTo>
                  <a:pt x="499" y="10"/>
                  <a:pt x="498" y="10"/>
                  <a:pt x="499" y="10"/>
                </a:cubicBezTo>
                <a:cubicBezTo>
                  <a:pt x="501" y="11"/>
                  <a:pt x="500" y="10"/>
                  <a:pt x="502" y="11"/>
                </a:cubicBezTo>
                <a:cubicBezTo>
                  <a:pt x="502" y="11"/>
                  <a:pt x="504" y="12"/>
                  <a:pt x="505" y="12"/>
                </a:cubicBezTo>
                <a:cubicBezTo>
                  <a:pt x="505" y="12"/>
                  <a:pt x="504" y="12"/>
                  <a:pt x="504" y="11"/>
                </a:cubicBezTo>
                <a:cubicBezTo>
                  <a:pt x="505" y="12"/>
                  <a:pt x="506" y="12"/>
                  <a:pt x="507" y="13"/>
                </a:cubicBezTo>
                <a:cubicBezTo>
                  <a:pt x="507" y="12"/>
                  <a:pt x="510" y="13"/>
                  <a:pt x="510" y="13"/>
                </a:cubicBezTo>
                <a:cubicBezTo>
                  <a:pt x="512" y="13"/>
                  <a:pt x="515" y="15"/>
                  <a:pt x="517" y="15"/>
                </a:cubicBezTo>
                <a:cubicBezTo>
                  <a:pt x="519" y="16"/>
                  <a:pt x="519" y="15"/>
                  <a:pt x="520" y="15"/>
                </a:cubicBezTo>
                <a:cubicBezTo>
                  <a:pt x="519" y="16"/>
                  <a:pt x="521" y="16"/>
                  <a:pt x="522" y="17"/>
                </a:cubicBezTo>
                <a:cubicBezTo>
                  <a:pt x="525" y="17"/>
                  <a:pt x="528" y="19"/>
                  <a:pt x="530" y="18"/>
                </a:cubicBezTo>
                <a:cubicBezTo>
                  <a:pt x="530" y="19"/>
                  <a:pt x="532" y="19"/>
                  <a:pt x="533" y="19"/>
                </a:cubicBezTo>
                <a:cubicBezTo>
                  <a:pt x="531" y="20"/>
                  <a:pt x="539" y="22"/>
                  <a:pt x="541" y="22"/>
                </a:cubicBezTo>
                <a:cubicBezTo>
                  <a:pt x="541" y="23"/>
                  <a:pt x="538" y="22"/>
                  <a:pt x="538" y="22"/>
                </a:cubicBezTo>
                <a:cubicBezTo>
                  <a:pt x="539" y="23"/>
                  <a:pt x="540" y="23"/>
                  <a:pt x="541" y="24"/>
                </a:cubicBezTo>
                <a:cubicBezTo>
                  <a:pt x="540" y="23"/>
                  <a:pt x="541" y="24"/>
                  <a:pt x="542" y="24"/>
                </a:cubicBezTo>
                <a:cubicBezTo>
                  <a:pt x="542" y="23"/>
                  <a:pt x="543" y="23"/>
                  <a:pt x="543" y="23"/>
                </a:cubicBezTo>
                <a:cubicBezTo>
                  <a:pt x="545" y="24"/>
                  <a:pt x="542" y="24"/>
                  <a:pt x="543" y="24"/>
                </a:cubicBezTo>
                <a:cubicBezTo>
                  <a:pt x="544" y="25"/>
                  <a:pt x="546" y="26"/>
                  <a:pt x="545" y="26"/>
                </a:cubicBezTo>
                <a:cubicBezTo>
                  <a:pt x="546" y="26"/>
                  <a:pt x="546" y="26"/>
                  <a:pt x="547" y="26"/>
                </a:cubicBezTo>
                <a:cubicBezTo>
                  <a:pt x="548" y="26"/>
                  <a:pt x="550" y="27"/>
                  <a:pt x="551" y="28"/>
                </a:cubicBezTo>
                <a:cubicBezTo>
                  <a:pt x="551" y="28"/>
                  <a:pt x="549" y="26"/>
                  <a:pt x="549" y="26"/>
                </a:cubicBezTo>
                <a:cubicBezTo>
                  <a:pt x="552" y="27"/>
                  <a:pt x="551" y="28"/>
                  <a:pt x="555" y="29"/>
                </a:cubicBezTo>
                <a:cubicBezTo>
                  <a:pt x="552" y="27"/>
                  <a:pt x="552" y="27"/>
                  <a:pt x="549" y="25"/>
                </a:cubicBezTo>
                <a:cubicBezTo>
                  <a:pt x="551" y="26"/>
                  <a:pt x="554" y="27"/>
                  <a:pt x="554" y="27"/>
                </a:cubicBezTo>
                <a:cubicBezTo>
                  <a:pt x="553" y="27"/>
                  <a:pt x="553" y="27"/>
                  <a:pt x="553" y="27"/>
                </a:cubicBezTo>
                <a:cubicBezTo>
                  <a:pt x="554" y="28"/>
                  <a:pt x="555" y="29"/>
                  <a:pt x="556" y="29"/>
                </a:cubicBezTo>
                <a:cubicBezTo>
                  <a:pt x="556" y="29"/>
                  <a:pt x="555" y="29"/>
                  <a:pt x="556" y="30"/>
                </a:cubicBezTo>
                <a:cubicBezTo>
                  <a:pt x="557" y="30"/>
                  <a:pt x="557" y="31"/>
                  <a:pt x="558" y="31"/>
                </a:cubicBezTo>
                <a:cubicBezTo>
                  <a:pt x="558" y="31"/>
                  <a:pt x="556" y="30"/>
                  <a:pt x="558" y="30"/>
                </a:cubicBezTo>
                <a:cubicBezTo>
                  <a:pt x="559" y="31"/>
                  <a:pt x="560" y="32"/>
                  <a:pt x="561" y="32"/>
                </a:cubicBezTo>
                <a:cubicBezTo>
                  <a:pt x="562" y="33"/>
                  <a:pt x="566" y="34"/>
                  <a:pt x="566" y="34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67" y="34"/>
                  <a:pt x="568" y="35"/>
                  <a:pt x="569" y="35"/>
                </a:cubicBezTo>
                <a:cubicBezTo>
                  <a:pt x="570" y="36"/>
                  <a:pt x="569" y="36"/>
                  <a:pt x="571" y="37"/>
                </a:cubicBezTo>
                <a:cubicBezTo>
                  <a:pt x="572" y="37"/>
                  <a:pt x="574" y="38"/>
                  <a:pt x="576" y="39"/>
                </a:cubicBezTo>
                <a:cubicBezTo>
                  <a:pt x="575" y="39"/>
                  <a:pt x="573" y="38"/>
                  <a:pt x="573" y="38"/>
                </a:cubicBezTo>
                <a:cubicBezTo>
                  <a:pt x="574" y="39"/>
                  <a:pt x="574" y="39"/>
                  <a:pt x="575" y="40"/>
                </a:cubicBezTo>
                <a:cubicBezTo>
                  <a:pt x="577" y="40"/>
                  <a:pt x="578" y="41"/>
                  <a:pt x="579" y="41"/>
                </a:cubicBezTo>
                <a:cubicBezTo>
                  <a:pt x="582" y="43"/>
                  <a:pt x="586" y="43"/>
                  <a:pt x="588" y="46"/>
                </a:cubicBezTo>
                <a:cubicBezTo>
                  <a:pt x="588" y="46"/>
                  <a:pt x="589" y="46"/>
                  <a:pt x="590" y="46"/>
                </a:cubicBezTo>
                <a:cubicBezTo>
                  <a:pt x="591" y="47"/>
                  <a:pt x="589" y="47"/>
                  <a:pt x="591" y="48"/>
                </a:cubicBezTo>
                <a:cubicBezTo>
                  <a:pt x="592" y="48"/>
                  <a:pt x="590" y="47"/>
                  <a:pt x="592" y="48"/>
                </a:cubicBezTo>
                <a:cubicBezTo>
                  <a:pt x="594" y="49"/>
                  <a:pt x="595" y="50"/>
                  <a:pt x="597" y="50"/>
                </a:cubicBezTo>
                <a:cubicBezTo>
                  <a:pt x="598" y="51"/>
                  <a:pt x="596" y="50"/>
                  <a:pt x="596" y="51"/>
                </a:cubicBezTo>
                <a:cubicBezTo>
                  <a:pt x="598" y="52"/>
                  <a:pt x="600" y="53"/>
                  <a:pt x="601" y="53"/>
                </a:cubicBezTo>
                <a:cubicBezTo>
                  <a:pt x="602" y="54"/>
                  <a:pt x="603" y="55"/>
                  <a:pt x="605" y="56"/>
                </a:cubicBezTo>
                <a:cubicBezTo>
                  <a:pt x="605" y="56"/>
                  <a:pt x="605" y="56"/>
                  <a:pt x="606" y="57"/>
                </a:cubicBezTo>
                <a:cubicBezTo>
                  <a:pt x="607" y="57"/>
                  <a:pt x="608" y="59"/>
                  <a:pt x="609" y="59"/>
                </a:cubicBezTo>
                <a:cubicBezTo>
                  <a:pt x="609" y="59"/>
                  <a:pt x="609" y="59"/>
                  <a:pt x="610" y="59"/>
                </a:cubicBezTo>
                <a:cubicBezTo>
                  <a:pt x="611" y="60"/>
                  <a:pt x="608" y="58"/>
                  <a:pt x="609" y="60"/>
                </a:cubicBezTo>
                <a:cubicBezTo>
                  <a:pt x="610" y="60"/>
                  <a:pt x="610" y="61"/>
                  <a:pt x="611" y="61"/>
                </a:cubicBezTo>
                <a:cubicBezTo>
                  <a:pt x="611" y="60"/>
                  <a:pt x="611" y="60"/>
                  <a:pt x="612" y="60"/>
                </a:cubicBezTo>
                <a:cubicBezTo>
                  <a:pt x="612" y="61"/>
                  <a:pt x="611" y="61"/>
                  <a:pt x="612" y="62"/>
                </a:cubicBezTo>
                <a:cubicBezTo>
                  <a:pt x="613" y="62"/>
                  <a:pt x="613" y="61"/>
                  <a:pt x="613" y="61"/>
                </a:cubicBezTo>
                <a:cubicBezTo>
                  <a:pt x="614" y="62"/>
                  <a:pt x="614" y="61"/>
                  <a:pt x="615" y="62"/>
                </a:cubicBezTo>
                <a:cubicBezTo>
                  <a:pt x="614" y="62"/>
                  <a:pt x="615" y="62"/>
                  <a:pt x="615" y="63"/>
                </a:cubicBezTo>
                <a:cubicBezTo>
                  <a:pt x="615" y="63"/>
                  <a:pt x="614" y="62"/>
                  <a:pt x="614" y="62"/>
                </a:cubicBezTo>
                <a:cubicBezTo>
                  <a:pt x="615" y="63"/>
                  <a:pt x="616" y="64"/>
                  <a:pt x="617" y="64"/>
                </a:cubicBezTo>
                <a:cubicBezTo>
                  <a:pt x="617" y="64"/>
                  <a:pt x="615" y="64"/>
                  <a:pt x="615" y="63"/>
                </a:cubicBezTo>
                <a:cubicBezTo>
                  <a:pt x="617" y="63"/>
                  <a:pt x="618" y="65"/>
                  <a:pt x="619" y="64"/>
                </a:cubicBezTo>
                <a:cubicBezTo>
                  <a:pt x="619" y="65"/>
                  <a:pt x="619" y="65"/>
                  <a:pt x="619" y="66"/>
                </a:cubicBezTo>
                <a:cubicBezTo>
                  <a:pt x="619" y="65"/>
                  <a:pt x="618" y="65"/>
                  <a:pt x="618" y="66"/>
                </a:cubicBezTo>
                <a:cubicBezTo>
                  <a:pt x="619" y="66"/>
                  <a:pt x="621" y="69"/>
                  <a:pt x="622" y="68"/>
                </a:cubicBezTo>
                <a:cubicBezTo>
                  <a:pt x="621" y="68"/>
                  <a:pt x="620" y="66"/>
                  <a:pt x="620" y="66"/>
                </a:cubicBezTo>
                <a:cubicBezTo>
                  <a:pt x="622" y="67"/>
                  <a:pt x="624" y="68"/>
                  <a:pt x="626" y="69"/>
                </a:cubicBezTo>
                <a:cubicBezTo>
                  <a:pt x="627" y="71"/>
                  <a:pt x="629" y="71"/>
                  <a:pt x="628" y="72"/>
                </a:cubicBezTo>
                <a:cubicBezTo>
                  <a:pt x="630" y="73"/>
                  <a:pt x="631" y="74"/>
                  <a:pt x="632" y="74"/>
                </a:cubicBezTo>
                <a:cubicBezTo>
                  <a:pt x="631" y="75"/>
                  <a:pt x="634" y="76"/>
                  <a:pt x="635" y="77"/>
                </a:cubicBezTo>
                <a:cubicBezTo>
                  <a:pt x="634" y="76"/>
                  <a:pt x="633" y="75"/>
                  <a:pt x="632" y="75"/>
                </a:cubicBezTo>
                <a:cubicBezTo>
                  <a:pt x="634" y="77"/>
                  <a:pt x="630" y="74"/>
                  <a:pt x="630" y="75"/>
                </a:cubicBezTo>
                <a:cubicBezTo>
                  <a:pt x="631" y="76"/>
                  <a:pt x="632" y="76"/>
                  <a:pt x="632" y="77"/>
                </a:cubicBezTo>
                <a:cubicBezTo>
                  <a:pt x="634" y="77"/>
                  <a:pt x="636" y="79"/>
                  <a:pt x="638" y="80"/>
                </a:cubicBezTo>
                <a:cubicBezTo>
                  <a:pt x="638" y="80"/>
                  <a:pt x="637" y="79"/>
                  <a:pt x="637" y="80"/>
                </a:cubicBezTo>
                <a:cubicBezTo>
                  <a:pt x="637" y="80"/>
                  <a:pt x="635" y="78"/>
                  <a:pt x="635" y="79"/>
                </a:cubicBezTo>
                <a:cubicBezTo>
                  <a:pt x="637" y="80"/>
                  <a:pt x="638" y="81"/>
                  <a:pt x="639" y="83"/>
                </a:cubicBezTo>
                <a:cubicBezTo>
                  <a:pt x="641" y="84"/>
                  <a:pt x="643" y="84"/>
                  <a:pt x="643" y="86"/>
                </a:cubicBezTo>
                <a:cubicBezTo>
                  <a:pt x="645" y="87"/>
                  <a:pt x="647" y="87"/>
                  <a:pt x="648" y="89"/>
                </a:cubicBezTo>
                <a:cubicBezTo>
                  <a:pt x="647" y="88"/>
                  <a:pt x="647" y="88"/>
                  <a:pt x="646" y="88"/>
                </a:cubicBezTo>
                <a:cubicBezTo>
                  <a:pt x="649" y="90"/>
                  <a:pt x="652" y="93"/>
                  <a:pt x="653" y="94"/>
                </a:cubicBezTo>
                <a:cubicBezTo>
                  <a:pt x="653" y="92"/>
                  <a:pt x="652" y="94"/>
                  <a:pt x="652" y="92"/>
                </a:cubicBezTo>
                <a:cubicBezTo>
                  <a:pt x="654" y="93"/>
                  <a:pt x="654" y="93"/>
                  <a:pt x="654" y="93"/>
                </a:cubicBezTo>
                <a:cubicBezTo>
                  <a:pt x="654" y="94"/>
                  <a:pt x="655" y="95"/>
                  <a:pt x="656" y="96"/>
                </a:cubicBezTo>
                <a:cubicBezTo>
                  <a:pt x="657" y="96"/>
                  <a:pt x="658" y="98"/>
                  <a:pt x="660" y="98"/>
                </a:cubicBezTo>
                <a:cubicBezTo>
                  <a:pt x="661" y="100"/>
                  <a:pt x="660" y="100"/>
                  <a:pt x="661" y="100"/>
                </a:cubicBezTo>
                <a:cubicBezTo>
                  <a:pt x="663" y="101"/>
                  <a:pt x="659" y="97"/>
                  <a:pt x="662" y="99"/>
                </a:cubicBezTo>
                <a:cubicBezTo>
                  <a:pt x="661" y="100"/>
                  <a:pt x="664" y="103"/>
                  <a:pt x="666" y="105"/>
                </a:cubicBezTo>
                <a:cubicBezTo>
                  <a:pt x="665" y="104"/>
                  <a:pt x="665" y="104"/>
                  <a:pt x="666" y="104"/>
                </a:cubicBezTo>
                <a:cubicBezTo>
                  <a:pt x="666" y="105"/>
                  <a:pt x="666" y="105"/>
                  <a:pt x="666" y="106"/>
                </a:cubicBezTo>
                <a:cubicBezTo>
                  <a:pt x="668" y="107"/>
                  <a:pt x="668" y="107"/>
                  <a:pt x="669" y="108"/>
                </a:cubicBezTo>
                <a:cubicBezTo>
                  <a:pt x="670" y="109"/>
                  <a:pt x="670" y="108"/>
                  <a:pt x="670" y="108"/>
                </a:cubicBezTo>
                <a:cubicBezTo>
                  <a:pt x="671" y="109"/>
                  <a:pt x="670" y="109"/>
                  <a:pt x="671" y="110"/>
                </a:cubicBezTo>
                <a:cubicBezTo>
                  <a:pt x="672" y="111"/>
                  <a:pt x="673" y="112"/>
                  <a:pt x="674" y="113"/>
                </a:cubicBezTo>
                <a:cubicBezTo>
                  <a:pt x="675" y="114"/>
                  <a:pt x="674" y="112"/>
                  <a:pt x="675" y="113"/>
                </a:cubicBezTo>
                <a:cubicBezTo>
                  <a:pt x="676" y="114"/>
                  <a:pt x="677" y="114"/>
                  <a:pt x="677" y="115"/>
                </a:cubicBezTo>
                <a:cubicBezTo>
                  <a:pt x="677" y="115"/>
                  <a:pt x="676" y="115"/>
                  <a:pt x="676" y="115"/>
                </a:cubicBezTo>
                <a:cubicBezTo>
                  <a:pt x="681" y="120"/>
                  <a:pt x="684" y="123"/>
                  <a:pt x="688" y="128"/>
                </a:cubicBezTo>
                <a:cubicBezTo>
                  <a:pt x="688" y="127"/>
                  <a:pt x="688" y="127"/>
                  <a:pt x="688" y="127"/>
                </a:cubicBezTo>
                <a:cubicBezTo>
                  <a:pt x="689" y="128"/>
                  <a:pt x="689" y="129"/>
                  <a:pt x="690" y="129"/>
                </a:cubicBezTo>
                <a:cubicBezTo>
                  <a:pt x="689" y="129"/>
                  <a:pt x="689" y="129"/>
                  <a:pt x="690" y="130"/>
                </a:cubicBezTo>
                <a:cubicBezTo>
                  <a:pt x="691" y="131"/>
                  <a:pt x="692" y="132"/>
                  <a:pt x="693" y="133"/>
                </a:cubicBezTo>
                <a:cubicBezTo>
                  <a:pt x="693" y="134"/>
                  <a:pt x="693" y="134"/>
                  <a:pt x="693" y="135"/>
                </a:cubicBezTo>
                <a:cubicBezTo>
                  <a:pt x="695" y="136"/>
                  <a:pt x="696" y="138"/>
                  <a:pt x="697" y="139"/>
                </a:cubicBezTo>
                <a:cubicBezTo>
                  <a:pt x="697" y="139"/>
                  <a:pt x="698" y="139"/>
                  <a:pt x="698" y="139"/>
                </a:cubicBezTo>
                <a:cubicBezTo>
                  <a:pt x="697" y="138"/>
                  <a:pt x="696" y="137"/>
                  <a:pt x="696" y="136"/>
                </a:cubicBezTo>
                <a:cubicBezTo>
                  <a:pt x="697" y="137"/>
                  <a:pt x="698" y="139"/>
                  <a:pt x="699" y="139"/>
                </a:cubicBezTo>
                <a:cubicBezTo>
                  <a:pt x="700" y="140"/>
                  <a:pt x="697" y="138"/>
                  <a:pt x="698" y="139"/>
                </a:cubicBezTo>
                <a:cubicBezTo>
                  <a:pt x="701" y="142"/>
                  <a:pt x="707" y="148"/>
                  <a:pt x="709" y="152"/>
                </a:cubicBezTo>
                <a:cubicBezTo>
                  <a:pt x="710" y="152"/>
                  <a:pt x="710" y="152"/>
                  <a:pt x="711" y="154"/>
                </a:cubicBezTo>
                <a:cubicBezTo>
                  <a:pt x="710" y="154"/>
                  <a:pt x="708" y="150"/>
                  <a:pt x="708" y="151"/>
                </a:cubicBezTo>
                <a:cubicBezTo>
                  <a:pt x="710" y="154"/>
                  <a:pt x="712" y="157"/>
                  <a:pt x="715" y="159"/>
                </a:cubicBezTo>
                <a:cubicBezTo>
                  <a:pt x="715" y="161"/>
                  <a:pt x="715" y="160"/>
                  <a:pt x="714" y="159"/>
                </a:cubicBezTo>
                <a:cubicBezTo>
                  <a:pt x="714" y="160"/>
                  <a:pt x="712" y="157"/>
                  <a:pt x="712" y="157"/>
                </a:cubicBezTo>
                <a:cubicBezTo>
                  <a:pt x="713" y="159"/>
                  <a:pt x="716" y="162"/>
                  <a:pt x="716" y="162"/>
                </a:cubicBezTo>
                <a:cubicBezTo>
                  <a:pt x="716" y="162"/>
                  <a:pt x="716" y="162"/>
                  <a:pt x="716" y="163"/>
                </a:cubicBezTo>
                <a:cubicBezTo>
                  <a:pt x="719" y="166"/>
                  <a:pt x="722" y="170"/>
                  <a:pt x="726" y="173"/>
                </a:cubicBezTo>
                <a:cubicBezTo>
                  <a:pt x="726" y="174"/>
                  <a:pt x="726" y="174"/>
                  <a:pt x="725" y="174"/>
                </a:cubicBezTo>
                <a:cubicBezTo>
                  <a:pt x="725" y="173"/>
                  <a:pt x="726" y="173"/>
                  <a:pt x="725" y="173"/>
                </a:cubicBezTo>
                <a:cubicBezTo>
                  <a:pt x="725" y="172"/>
                  <a:pt x="724" y="172"/>
                  <a:pt x="724" y="172"/>
                </a:cubicBezTo>
                <a:cubicBezTo>
                  <a:pt x="725" y="173"/>
                  <a:pt x="725" y="174"/>
                  <a:pt x="726" y="175"/>
                </a:cubicBezTo>
                <a:cubicBezTo>
                  <a:pt x="726" y="175"/>
                  <a:pt x="727" y="175"/>
                  <a:pt x="727" y="175"/>
                </a:cubicBezTo>
                <a:cubicBezTo>
                  <a:pt x="727" y="176"/>
                  <a:pt x="727" y="177"/>
                  <a:pt x="728" y="178"/>
                </a:cubicBezTo>
                <a:cubicBezTo>
                  <a:pt x="728" y="178"/>
                  <a:pt x="729" y="179"/>
                  <a:pt x="729" y="178"/>
                </a:cubicBezTo>
                <a:cubicBezTo>
                  <a:pt x="728" y="177"/>
                  <a:pt x="728" y="177"/>
                  <a:pt x="728" y="176"/>
                </a:cubicBezTo>
                <a:cubicBezTo>
                  <a:pt x="727" y="175"/>
                  <a:pt x="727" y="175"/>
                  <a:pt x="726" y="174"/>
                </a:cubicBezTo>
                <a:cubicBezTo>
                  <a:pt x="727" y="174"/>
                  <a:pt x="725" y="172"/>
                  <a:pt x="726" y="173"/>
                </a:cubicBezTo>
                <a:cubicBezTo>
                  <a:pt x="727" y="174"/>
                  <a:pt x="727" y="173"/>
                  <a:pt x="727" y="175"/>
                </a:cubicBezTo>
                <a:cubicBezTo>
                  <a:pt x="729" y="177"/>
                  <a:pt x="730" y="178"/>
                  <a:pt x="731" y="180"/>
                </a:cubicBezTo>
                <a:cubicBezTo>
                  <a:pt x="730" y="179"/>
                  <a:pt x="729" y="178"/>
                  <a:pt x="729" y="179"/>
                </a:cubicBezTo>
                <a:cubicBezTo>
                  <a:pt x="729" y="181"/>
                  <a:pt x="731" y="182"/>
                  <a:pt x="732" y="184"/>
                </a:cubicBezTo>
                <a:cubicBezTo>
                  <a:pt x="733" y="185"/>
                  <a:pt x="734" y="187"/>
                  <a:pt x="734" y="188"/>
                </a:cubicBezTo>
                <a:cubicBezTo>
                  <a:pt x="735" y="187"/>
                  <a:pt x="737" y="191"/>
                  <a:pt x="737" y="191"/>
                </a:cubicBezTo>
                <a:cubicBezTo>
                  <a:pt x="737" y="190"/>
                  <a:pt x="735" y="189"/>
                  <a:pt x="736" y="190"/>
                </a:cubicBezTo>
                <a:cubicBezTo>
                  <a:pt x="737" y="191"/>
                  <a:pt x="737" y="192"/>
                  <a:pt x="738" y="192"/>
                </a:cubicBezTo>
                <a:cubicBezTo>
                  <a:pt x="737" y="192"/>
                  <a:pt x="738" y="193"/>
                  <a:pt x="738" y="192"/>
                </a:cubicBezTo>
                <a:cubicBezTo>
                  <a:pt x="740" y="194"/>
                  <a:pt x="739" y="193"/>
                  <a:pt x="741" y="196"/>
                </a:cubicBezTo>
                <a:cubicBezTo>
                  <a:pt x="742" y="199"/>
                  <a:pt x="744" y="199"/>
                  <a:pt x="744" y="203"/>
                </a:cubicBezTo>
                <a:cubicBezTo>
                  <a:pt x="745" y="203"/>
                  <a:pt x="745" y="204"/>
                  <a:pt x="746" y="205"/>
                </a:cubicBezTo>
                <a:cubicBezTo>
                  <a:pt x="745" y="205"/>
                  <a:pt x="745" y="204"/>
                  <a:pt x="743" y="204"/>
                </a:cubicBezTo>
                <a:cubicBezTo>
                  <a:pt x="746" y="207"/>
                  <a:pt x="748" y="212"/>
                  <a:pt x="750" y="213"/>
                </a:cubicBezTo>
                <a:cubicBezTo>
                  <a:pt x="752" y="216"/>
                  <a:pt x="754" y="221"/>
                  <a:pt x="756" y="223"/>
                </a:cubicBezTo>
                <a:cubicBezTo>
                  <a:pt x="756" y="219"/>
                  <a:pt x="751" y="215"/>
                  <a:pt x="750" y="212"/>
                </a:cubicBezTo>
                <a:cubicBezTo>
                  <a:pt x="750" y="212"/>
                  <a:pt x="749" y="212"/>
                  <a:pt x="749" y="211"/>
                </a:cubicBezTo>
                <a:cubicBezTo>
                  <a:pt x="749" y="211"/>
                  <a:pt x="749" y="211"/>
                  <a:pt x="749" y="210"/>
                </a:cubicBezTo>
                <a:cubicBezTo>
                  <a:pt x="748" y="208"/>
                  <a:pt x="746" y="208"/>
                  <a:pt x="745" y="205"/>
                </a:cubicBezTo>
                <a:cubicBezTo>
                  <a:pt x="746" y="206"/>
                  <a:pt x="749" y="208"/>
                  <a:pt x="751" y="211"/>
                </a:cubicBezTo>
                <a:cubicBezTo>
                  <a:pt x="751" y="212"/>
                  <a:pt x="749" y="209"/>
                  <a:pt x="750" y="211"/>
                </a:cubicBezTo>
                <a:cubicBezTo>
                  <a:pt x="751" y="213"/>
                  <a:pt x="752" y="214"/>
                  <a:pt x="754" y="215"/>
                </a:cubicBezTo>
                <a:cubicBezTo>
                  <a:pt x="755" y="217"/>
                  <a:pt x="756" y="219"/>
                  <a:pt x="756" y="221"/>
                </a:cubicBezTo>
                <a:cubicBezTo>
                  <a:pt x="758" y="223"/>
                  <a:pt x="759" y="225"/>
                  <a:pt x="760" y="225"/>
                </a:cubicBezTo>
                <a:cubicBezTo>
                  <a:pt x="760" y="226"/>
                  <a:pt x="759" y="224"/>
                  <a:pt x="759" y="226"/>
                </a:cubicBezTo>
                <a:cubicBezTo>
                  <a:pt x="760" y="228"/>
                  <a:pt x="760" y="227"/>
                  <a:pt x="760" y="227"/>
                </a:cubicBezTo>
                <a:cubicBezTo>
                  <a:pt x="762" y="230"/>
                  <a:pt x="762" y="230"/>
                  <a:pt x="762" y="230"/>
                </a:cubicBezTo>
                <a:cubicBezTo>
                  <a:pt x="762" y="231"/>
                  <a:pt x="763" y="232"/>
                  <a:pt x="763" y="233"/>
                </a:cubicBezTo>
                <a:cubicBezTo>
                  <a:pt x="764" y="232"/>
                  <a:pt x="763" y="232"/>
                  <a:pt x="763" y="231"/>
                </a:cubicBezTo>
                <a:cubicBezTo>
                  <a:pt x="764" y="232"/>
                  <a:pt x="764" y="232"/>
                  <a:pt x="764" y="232"/>
                </a:cubicBezTo>
                <a:cubicBezTo>
                  <a:pt x="765" y="233"/>
                  <a:pt x="766" y="234"/>
                  <a:pt x="765" y="235"/>
                </a:cubicBezTo>
                <a:cubicBezTo>
                  <a:pt x="765" y="235"/>
                  <a:pt x="764" y="234"/>
                  <a:pt x="765" y="235"/>
                </a:cubicBezTo>
                <a:cubicBezTo>
                  <a:pt x="766" y="237"/>
                  <a:pt x="767" y="238"/>
                  <a:pt x="768" y="239"/>
                </a:cubicBezTo>
                <a:cubicBezTo>
                  <a:pt x="768" y="241"/>
                  <a:pt x="771" y="242"/>
                  <a:pt x="770" y="243"/>
                </a:cubicBezTo>
                <a:cubicBezTo>
                  <a:pt x="770" y="243"/>
                  <a:pt x="770" y="242"/>
                  <a:pt x="769" y="243"/>
                </a:cubicBezTo>
                <a:cubicBezTo>
                  <a:pt x="769" y="242"/>
                  <a:pt x="768" y="241"/>
                  <a:pt x="768" y="240"/>
                </a:cubicBezTo>
                <a:cubicBezTo>
                  <a:pt x="768" y="241"/>
                  <a:pt x="768" y="240"/>
                  <a:pt x="768" y="241"/>
                </a:cubicBezTo>
                <a:cubicBezTo>
                  <a:pt x="769" y="243"/>
                  <a:pt x="769" y="243"/>
                  <a:pt x="769" y="243"/>
                </a:cubicBezTo>
                <a:cubicBezTo>
                  <a:pt x="769" y="244"/>
                  <a:pt x="770" y="245"/>
                  <a:pt x="770" y="247"/>
                </a:cubicBezTo>
                <a:cubicBezTo>
                  <a:pt x="769" y="244"/>
                  <a:pt x="768" y="241"/>
                  <a:pt x="766" y="241"/>
                </a:cubicBezTo>
                <a:cubicBezTo>
                  <a:pt x="767" y="243"/>
                  <a:pt x="771" y="248"/>
                  <a:pt x="770" y="249"/>
                </a:cubicBezTo>
                <a:cubicBezTo>
                  <a:pt x="770" y="250"/>
                  <a:pt x="771" y="251"/>
                  <a:pt x="771" y="251"/>
                </a:cubicBezTo>
                <a:cubicBezTo>
                  <a:pt x="771" y="251"/>
                  <a:pt x="771" y="250"/>
                  <a:pt x="771" y="251"/>
                </a:cubicBezTo>
                <a:cubicBezTo>
                  <a:pt x="773" y="255"/>
                  <a:pt x="776" y="260"/>
                  <a:pt x="778" y="265"/>
                </a:cubicBezTo>
                <a:cubicBezTo>
                  <a:pt x="778" y="264"/>
                  <a:pt x="778" y="265"/>
                  <a:pt x="778" y="265"/>
                </a:cubicBezTo>
                <a:cubicBezTo>
                  <a:pt x="778" y="266"/>
                  <a:pt x="779" y="267"/>
                  <a:pt x="779" y="268"/>
                </a:cubicBezTo>
                <a:cubicBezTo>
                  <a:pt x="778" y="267"/>
                  <a:pt x="778" y="265"/>
                  <a:pt x="778" y="266"/>
                </a:cubicBezTo>
                <a:cubicBezTo>
                  <a:pt x="779" y="268"/>
                  <a:pt x="779" y="270"/>
                  <a:pt x="780" y="272"/>
                </a:cubicBezTo>
                <a:cubicBezTo>
                  <a:pt x="780" y="273"/>
                  <a:pt x="780" y="273"/>
                  <a:pt x="780" y="274"/>
                </a:cubicBezTo>
                <a:cubicBezTo>
                  <a:pt x="780" y="274"/>
                  <a:pt x="780" y="274"/>
                  <a:pt x="781" y="274"/>
                </a:cubicBezTo>
                <a:cubicBezTo>
                  <a:pt x="781" y="275"/>
                  <a:pt x="781" y="275"/>
                  <a:pt x="781" y="276"/>
                </a:cubicBezTo>
                <a:cubicBezTo>
                  <a:pt x="782" y="277"/>
                  <a:pt x="781" y="277"/>
                  <a:pt x="782" y="278"/>
                </a:cubicBezTo>
                <a:cubicBezTo>
                  <a:pt x="782" y="279"/>
                  <a:pt x="781" y="278"/>
                  <a:pt x="781" y="279"/>
                </a:cubicBezTo>
                <a:cubicBezTo>
                  <a:pt x="782" y="280"/>
                  <a:pt x="783" y="281"/>
                  <a:pt x="783" y="283"/>
                </a:cubicBezTo>
                <a:cubicBezTo>
                  <a:pt x="782" y="282"/>
                  <a:pt x="782" y="282"/>
                  <a:pt x="782" y="282"/>
                </a:cubicBezTo>
                <a:cubicBezTo>
                  <a:pt x="782" y="282"/>
                  <a:pt x="782" y="282"/>
                  <a:pt x="782" y="282"/>
                </a:cubicBezTo>
                <a:cubicBezTo>
                  <a:pt x="782" y="281"/>
                  <a:pt x="781" y="279"/>
                  <a:pt x="781" y="280"/>
                </a:cubicBezTo>
                <a:cubicBezTo>
                  <a:pt x="782" y="282"/>
                  <a:pt x="783" y="284"/>
                  <a:pt x="784" y="286"/>
                </a:cubicBezTo>
                <a:cubicBezTo>
                  <a:pt x="783" y="286"/>
                  <a:pt x="784" y="287"/>
                  <a:pt x="784" y="288"/>
                </a:cubicBezTo>
                <a:cubicBezTo>
                  <a:pt x="784" y="288"/>
                  <a:pt x="785" y="288"/>
                  <a:pt x="785" y="289"/>
                </a:cubicBezTo>
                <a:cubicBezTo>
                  <a:pt x="784" y="288"/>
                  <a:pt x="783" y="288"/>
                  <a:pt x="783" y="289"/>
                </a:cubicBezTo>
                <a:cubicBezTo>
                  <a:pt x="783" y="288"/>
                  <a:pt x="782" y="287"/>
                  <a:pt x="782" y="286"/>
                </a:cubicBezTo>
                <a:cubicBezTo>
                  <a:pt x="782" y="287"/>
                  <a:pt x="781" y="285"/>
                  <a:pt x="781" y="287"/>
                </a:cubicBezTo>
                <a:cubicBezTo>
                  <a:pt x="782" y="288"/>
                  <a:pt x="783" y="290"/>
                  <a:pt x="784" y="292"/>
                </a:cubicBezTo>
                <a:cubicBezTo>
                  <a:pt x="784" y="292"/>
                  <a:pt x="786" y="293"/>
                  <a:pt x="786" y="295"/>
                </a:cubicBezTo>
                <a:cubicBezTo>
                  <a:pt x="785" y="294"/>
                  <a:pt x="785" y="293"/>
                  <a:pt x="784" y="292"/>
                </a:cubicBezTo>
                <a:cubicBezTo>
                  <a:pt x="784" y="293"/>
                  <a:pt x="784" y="294"/>
                  <a:pt x="784" y="294"/>
                </a:cubicBezTo>
                <a:cubicBezTo>
                  <a:pt x="785" y="295"/>
                  <a:pt x="785" y="294"/>
                  <a:pt x="786" y="296"/>
                </a:cubicBezTo>
                <a:cubicBezTo>
                  <a:pt x="785" y="295"/>
                  <a:pt x="785" y="296"/>
                  <a:pt x="785" y="296"/>
                </a:cubicBezTo>
                <a:cubicBezTo>
                  <a:pt x="786" y="297"/>
                  <a:pt x="786" y="296"/>
                  <a:pt x="787" y="298"/>
                </a:cubicBezTo>
                <a:cubicBezTo>
                  <a:pt x="787" y="299"/>
                  <a:pt x="786" y="299"/>
                  <a:pt x="787" y="300"/>
                </a:cubicBezTo>
                <a:cubicBezTo>
                  <a:pt x="787" y="299"/>
                  <a:pt x="788" y="300"/>
                  <a:pt x="788" y="301"/>
                </a:cubicBezTo>
                <a:cubicBezTo>
                  <a:pt x="788" y="302"/>
                  <a:pt x="788" y="301"/>
                  <a:pt x="787" y="301"/>
                </a:cubicBezTo>
                <a:cubicBezTo>
                  <a:pt x="788" y="302"/>
                  <a:pt x="787" y="302"/>
                  <a:pt x="788" y="302"/>
                </a:cubicBezTo>
                <a:cubicBezTo>
                  <a:pt x="788" y="301"/>
                  <a:pt x="790" y="306"/>
                  <a:pt x="790" y="308"/>
                </a:cubicBezTo>
                <a:cubicBezTo>
                  <a:pt x="791" y="308"/>
                  <a:pt x="791" y="308"/>
                  <a:pt x="791" y="307"/>
                </a:cubicBezTo>
                <a:cubicBezTo>
                  <a:pt x="791" y="309"/>
                  <a:pt x="792" y="309"/>
                  <a:pt x="792" y="309"/>
                </a:cubicBezTo>
                <a:cubicBezTo>
                  <a:pt x="792" y="310"/>
                  <a:pt x="793" y="311"/>
                  <a:pt x="793" y="312"/>
                </a:cubicBezTo>
                <a:cubicBezTo>
                  <a:pt x="792" y="311"/>
                  <a:pt x="790" y="308"/>
                  <a:pt x="790" y="306"/>
                </a:cubicBezTo>
                <a:cubicBezTo>
                  <a:pt x="790" y="306"/>
                  <a:pt x="789" y="306"/>
                  <a:pt x="789" y="306"/>
                </a:cubicBezTo>
                <a:cubicBezTo>
                  <a:pt x="791" y="309"/>
                  <a:pt x="792" y="312"/>
                  <a:pt x="793" y="315"/>
                </a:cubicBezTo>
                <a:cubicBezTo>
                  <a:pt x="793" y="315"/>
                  <a:pt x="793" y="315"/>
                  <a:pt x="793" y="315"/>
                </a:cubicBezTo>
                <a:cubicBezTo>
                  <a:pt x="793" y="313"/>
                  <a:pt x="795" y="311"/>
                  <a:pt x="795" y="310"/>
                </a:cubicBezTo>
                <a:cubicBezTo>
                  <a:pt x="796" y="309"/>
                  <a:pt x="795" y="308"/>
                  <a:pt x="796" y="308"/>
                </a:cubicBezTo>
                <a:cubicBezTo>
                  <a:pt x="796" y="308"/>
                  <a:pt x="796" y="308"/>
                  <a:pt x="796" y="308"/>
                </a:cubicBezTo>
                <a:cubicBezTo>
                  <a:pt x="797" y="308"/>
                  <a:pt x="796" y="307"/>
                  <a:pt x="797" y="306"/>
                </a:cubicBezTo>
                <a:cubicBezTo>
                  <a:pt x="797" y="305"/>
                  <a:pt x="799" y="303"/>
                  <a:pt x="798" y="303"/>
                </a:cubicBezTo>
                <a:cubicBezTo>
                  <a:pt x="800" y="300"/>
                  <a:pt x="801" y="297"/>
                  <a:pt x="803" y="295"/>
                </a:cubicBezTo>
                <a:cubicBezTo>
                  <a:pt x="803" y="295"/>
                  <a:pt x="803" y="295"/>
                  <a:pt x="803" y="295"/>
                </a:cubicBezTo>
                <a:cubicBezTo>
                  <a:pt x="804" y="293"/>
                  <a:pt x="805" y="292"/>
                  <a:pt x="806" y="290"/>
                </a:cubicBezTo>
                <a:cubicBezTo>
                  <a:pt x="806" y="290"/>
                  <a:pt x="806" y="290"/>
                  <a:pt x="806" y="290"/>
                </a:cubicBezTo>
                <a:cubicBezTo>
                  <a:pt x="806" y="289"/>
                  <a:pt x="807" y="289"/>
                  <a:pt x="807" y="288"/>
                </a:cubicBezTo>
                <a:cubicBezTo>
                  <a:pt x="807" y="288"/>
                  <a:pt x="807" y="288"/>
                  <a:pt x="807" y="288"/>
                </a:cubicBezTo>
                <a:cubicBezTo>
                  <a:pt x="807" y="288"/>
                  <a:pt x="808" y="288"/>
                  <a:pt x="808" y="287"/>
                </a:cubicBezTo>
                <a:cubicBezTo>
                  <a:pt x="808" y="286"/>
                  <a:pt x="810" y="285"/>
                  <a:pt x="811" y="283"/>
                </a:cubicBezTo>
                <a:cubicBezTo>
                  <a:pt x="811" y="284"/>
                  <a:pt x="810" y="283"/>
                  <a:pt x="810" y="283"/>
                </a:cubicBezTo>
                <a:cubicBezTo>
                  <a:pt x="812" y="282"/>
                  <a:pt x="813" y="280"/>
                  <a:pt x="814" y="278"/>
                </a:cubicBezTo>
                <a:cubicBezTo>
                  <a:pt x="814" y="278"/>
                  <a:pt x="814" y="278"/>
                  <a:pt x="814" y="278"/>
                </a:cubicBezTo>
                <a:cubicBezTo>
                  <a:pt x="814" y="278"/>
                  <a:pt x="815" y="278"/>
                  <a:pt x="814" y="277"/>
                </a:cubicBezTo>
                <a:cubicBezTo>
                  <a:pt x="815" y="277"/>
                  <a:pt x="815" y="276"/>
                  <a:pt x="816" y="276"/>
                </a:cubicBezTo>
                <a:cubicBezTo>
                  <a:pt x="816" y="275"/>
                  <a:pt x="817" y="274"/>
                  <a:pt x="818" y="273"/>
                </a:cubicBezTo>
                <a:cubicBezTo>
                  <a:pt x="819" y="274"/>
                  <a:pt x="818" y="272"/>
                  <a:pt x="819" y="272"/>
                </a:cubicBezTo>
                <a:cubicBezTo>
                  <a:pt x="819" y="271"/>
                  <a:pt x="819" y="271"/>
                  <a:pt x="819" y="271"/>
                </a:cubicBezTo>
                <a:cubicBezTo>
                  <a:pt x="819" y="271"/>
                  <a:pt x="820" y="271"/>
                  <a:pt x="819" y="270"/>
                </a:cubicBezTo>
                <a:cubicBezTo>
                  <a:pt x="820" y="270"/>
                  <a:pt x="821" y="269"/>
                  <a:pt x="821" y="268"/>
                </a:cubicBezTo>
                <a:cubicBezTo>
                  <a:pt x="822" y="268"/>
                  <a:pt x="822" y="269"/>
                  <a:pt x="822" y="269"/>
                </a:cubicBezTo>
                <a:cubicBezTo>
                  <a:pt x="822" y="268"/>
                  <a:pt x="822" y="267"/>
                  <a:pt x="823" y="266"/>
                </a:cubicBezTo>
                <a:cubicBezTo>
                  <a:pt x="823" y="266"/>
                  <a:pt x="823" y="266"/>
                  <a:pt x="823" y="267"/>
                </a:cubicBezTo>
                <a:cubicBezTo>
                  <a:pt x="823" y="267"/>
                  <a:pt x="823" y="267"/>
                  <a:pt x="824" y="267"/>
                </a:cubicBezTo>
                <a:cubicBezTo>
                  <a:pt x="824" y="266"/>
                  <a:pt x="824" y="266"/>
                  <a:pt x="824" y="266"/>
                </a:cubicBezTo>
                <a:cubicBezTo>
                  <a:pt x="824" y="266"/>
                  <a:pt x="824" y="266"/>
                  <a:pt x="824" y="266"/>
                </a:cubicBezTo>
                <a:cubicBezTo>
                  <a:pt x="825" y="266"/>
                  <a:pt x="825" y="265"/>
                  <a:pt x="825" y="265"/>
                </a:cubicBezTo>
                <a:cubicBezTo>
                  <a:pt x="825" y="265"/>
                  <a:pt x="825" y="265"/>
                  <a:pt x="826" y="265"/>
                </a:cubicBezTo>
                <a:cubicBezTo>
                  <a:pt x="826" y="264"/>
                  <a:pt x="826" y="264"/>
                  <a:pt x="826" y="264"/>
                </a:cubicBezTo>
                <a:cubicBezTo>
                  <a:pt x="827" y="263"/>
                  <a:pt x="826" y="262"/>
                  <a:pt x="827" y="262"/>
                </a:cubicBezTo>
                <a:cubicBezTo>
                  <a:pt x="827" y="261"/>
                  <a:pt x="826" y="262"/>
                  <a:pt x="826" y="261"/>
                </a:cubicBezTo>
                <a:cubicBezTo>
                  <a:pt x="827" y="261"/>
                  <a:pt x="827" y="262"/>
                  <a:pt x="827" y="262"/>
                </a:cubicBezTo>
                <a:cubicBezTo>
                  <a:pt x="827" y="261"/>
                  <a:pt x="826" y="261"/>
                  <a:pt x="827" y="261"/>
                </a:cubicBezTo>
                <a:cubicBezTo>
                  <a:pt x="827" y="261"/>
                  <a:pt x="827" y="261"/>
                  <a:pt x="827" y="261"/>
                </a:cubicBezTo>
                <a:cubicBezTo>
                  <a:pt x="828" y="261"/>
                  <a:pt x="829" y="260"/>
                  <a:pt x="829" y="259"/>
                </a:cubicBezTo>
                <a:cubicBezTo>
                  <a:pt x="829" y="259"/>
                  <a:pt x="829" y="259"/>
                  <a:pt x="829" y="259"/>
                </a:cubicBezTo>
                <a:cubicBezTo>
                  <a:pt x="830" y="259"/>
                  <a:pt x="831" y="258"/>
                  <a:pt x="831" y="257"/>
                </a:cubicBezTo>
                <a:cubicBezTo>
                  <a:pt x="831" y="257"/>
                  <a:pt x="831" y="257"/>
                  <a:pt x="831" y="257"/>
                </a:cubicBezTo>
                <a:cubicBezTo>
                  <a:pt x="831" y="257"/>
                  <a:pt x="831" y="257"/>
                  <a:pt x="831" y="257"/>
                </a:cubicBezTo>
                <a:cubicBezTo>
                  <a:pt x="831" y="257"/>
                  <a:pt x="832" y="257"/>
                  <a:pt x="831" y="256"/>
                </a:cubicBezTo>
                <a:cubicBezTo>
                  <a:pt x="831" y="256"/>
                  <a:pt x="831" y="257"/>
                  <a:pt x="831" y="257"/>
                </a:cubicBezTo>
                <a:cubicBezTo>
                  <a:pt x="831" y="256"/>
                  <a:pt x="832" y="257"/>
                  <a:pt x="832" y="256"/>
                </a:cubicBezTo>
                <a:cubicBezTo>
                  <a:pt x="832" y="256"/>
                  <a:pt x="832" y="256"/>
                  <a:pt x="832" y="255"/>
                </a:cubicBezTo>
                <a:cubicBezTo>
                  <a:pt x="833" y="256"/>
                  <a:pt x="832" y="256"/>
                  <a:pt x="833" y="256"/>
                </a:cubicBezTo>
                <a:cubicBezTo>
                  <a:pt x="833" y="256"/>
                  <a:pt x="834" y="255"/>
                  <a:pt x="834" y="254"/>
                </a:cubicBezTo>
                <a:cubicBezTo>
                  <a:pt x="834" y="254"/>
                  <a:pt x="834" y="254"/>
                  <a:pt x="834" y="254"/>
                </a:cubicBezTo>
                <a:cubicBezTo>
                  <a:pt x="834" y="254"/>
                  <a:pt x="834" y="254"/>
                  <a:pt x="834" y="254"/>
                </a:cubicBezTo>
                <a:cubicBezTo>
                  <a:pt x="834" y="254"/>
                  <a:pt x="834" y="254"/>
                  <a:pt x="834" y="254"/>
                </a:cubicBezTo>
                <a:cubicBezTo>
                  <a:pt x="834" y="253"/>
                  <a:pt x="835" y="253"/>
                  <a:pt x="835" y="253"/>
                </a:cubicBezTo>
                <a:cubicBezTo>
                  <a:pt x="835" y="253"/>
                  <a:pt x="834" y="253"/>
                  <a:pt x="834" y="253"/>
                </a:cubicBezTo>
                <a:cubicBezTo>
                  <a:pt x="835" y="253"/>
                  <a:pt x="835" y="252"/>
                  <a:pt x="835" y="252"/>
                </a:cubicBezTo>
                <a:cubicBezTo>
                  <a:pt x="836" y="252"/>
                  <a:pt x="836" y="253"/>
                  <a:pt x="836" y="253"/>
                </a:cubicBezTo>
                <a:cubicBezTo>
                  <a:pt x="836" y="252"/>
                  <a:pt x="836" y="252"/>
                  <a:pt x="836" y="252"/>
                </a:cubicBezTo>
                <a:cubicBezTo>
                  <a:pt x="836" y="252"/>
                  <a:pt x="836" y="251"/>
                  <a:pt x="836" y="251"/>
                </a:cubicBezTo>
                <a:cubicBezTo>
                  <a:pt x="836" y="251"/>
                  <a:pt x="836" y="252"/>
                  <a:pt x="837" y="252"/>
                </a:cubicBezTo>
                <a:cubicBezTo>
                  <a:pt x="837" y="251"/>
                  <a:pt x="837" y="251"/>
                  <a:pt x="837" y="251"/>
                </a:cubicBezTo>
                <a:cubicBezTo>
                  <a:pt x="838" y="252"/>
                  <a:pt x="838" y="250"/>
                  <a:pt x="839" y="250"/>
                </a:cubicBezTo>
                <a:cubicBezTo>
                  <a:pt x="839" y="250"/>
                  <a:pt x="838" y="250"/>
                  <a:pt x="838" y="250"/>
                </a:cubicBezTo>
                <a:cubicBezTo>
                  <a:pt x="839" y="250"/>
                  <a:pt x="838" y="250"/>
                  <a:pt x="839" y="249"/>
                </a:cubicBezTo>
                <a:cubicBezTo>
                  <a:pt x="839" y="249"/>
                  <a:pt x="839" y="249"/>
                  <a:pt x="839" y="249"/>
                </a:cubicBezTo>
                <a:cubicBezTo>
                  <a:pt x="839" y="250"/>
                  <a:pt x="840" y="250"/>
                  <a:pt x="840" y="250"/>
                </a:cubicBezTo>
                <a:cubicBezTo>
                  <a:pt x="839" y="250"/>
                  <a:pt x="839" y="250"/>
                  <a:pt x="839" y="251"/>
                </a:cubicBezTo>
                <a:cubicBezTo>
                  <a:pt x="838" y="251"/>
                  <a:pt x="839" y="251"/>
                  <a:pt x="838" y="251"/>
                </a:cubicBezTo>
                <a:cubicBezTo>
                  <a:pt x="838" y="251"/>
                  <a:pt x="838" y="252"/>
                  <a:pt x="838" y="252"/>
                </a:cubicBezTo>
                <a:cubicBezTo>
                  <a:pt x="838" y="252"/>
                  <a:pt x="838" y="252"/>
                  <a:pt x="838" y="251"/>
                </a:cubicBezTo>
                <a:cubicBezTo>
                  <a:pt x="838" y="252"/>
                  <a:pt x="837" y="251"/>
                  <a:pt x="837" y="252"/>
                </a:cubicBezTo>
                <a:cubicBezTo>
                  <a:pt x="838" y="252"/>
                  <a:pt x="838" y="252"/>
                  <a:pt x="838" y="253"/>
                </a:cubicBezTo>
                <a:cubicBezTo>
                  <a:pt x="838" y="253"/>
                  <a:pt x="838" y="252"/>
                  <a:pt x="837" y="252"/>
                </a:cubicBezTo>
                <a:cubicBezTo>
                  <a:pt x="838" y="253"/>
                  <a:pt x="836" y="252"/>
                  <a:pt x="837" y="253"/>
                </a:cubicBezTo>
                <a:cubicBezTo>
                  <a:pt x="837" y="253"/>
                  <a:pt x="837" y="253"/>
                  <a:pt x="838" y="254"/>
                </a:cubicBezTo>
                <a:cubicBezTo>
                  <a:pt x="837" y="254"/>
                  <a:pt x="837" y="254"/>
                  <a:pt x="836" y="253"/>
                </a:cubicBezTo>
                <a:cubicBezTo>
                  <a:pt x="837" y="254"/>
                  <a:pt x="836" y="255"/>
                  <a:pt x="835" y="255"/>
                </a:cubicBezTo>
                <a:cubicBezTo>
                  <a:pt x="835" y="255"/>
                  <a:pt x="835" y="256"/>
                  <a:pt x="835" y="256"/>
                </a:cubicBezTo>
                <a:cubicBezTo>
                  <a:pt x="836" y="256"/>
                  <a:pt x="835" y="255"/>
                  <a:pt x="836" y="255"/>
                </a:cubicBezTo>
                <a:cubicBezTo>
                  <a:pt x="836" y="256"/>
                  <a:pt x="835" y="256"/>
                  <a:pt x="835" y="256"/>
                </a:cubicBezTo>
                <a:cubicBezTo>
                  <a:pt x="835" y="256"/>
                  <a:pt x="835" y="256"/>
                  <a:pt x="835" y="257"/>
                </a:cubicBezTo>
                <a:cubicBezTo>
                  <a:pt x="835" y="256"/>
                  <a:pt x="835" y="256"/>
                  <a:pt x="834" y="256"/>
                </a:cubicBezTo>
                <a:cubicBezTo>
                  <a:pt x="834" y="257"/>
                  <a:pt x="833" y="258"/>
                  <a:pt x="833" y="259"/>
                </a:cubicBezTo>
                <a:cubicBezTo>
                  <a:pt x="833" y="259"/>
                  <a:pt x="833" y="259"/>
                  <a:pt x="833" y="259"/>
                </a:cubicBezTo>
                <a:cubicBezTo>
                  <a:pt x="832" y="259"/>
                  <a:pt x="832" y="260"/>
                  <a:pt x="832" y="260"/>
                </a:cubicBezTo>
                <a:cubicBezTo>
                  <a:pt x="832" y="260"/>
                  <a:pt x="832" y="260"/>
                  <a:pt x="831" y="260"/>
                </a:cubicBezTo>
                <a:cubicBezTo>
                  <a:pt x="831" y="260"/>
                  <a:pt x="831" y="260"/>
                  <a:pt x="831" y="261"/>
                </a:cubicBezTo>
                <a:cubicBezTo>
                  <a:pt x="832" y="261"/>
                  <a:pt x="832" y="261"/>
                  <a:pt x="832" y="261"/>
                </a:cubicBezTo>
                <a:cubicBezTo>
                  <a:pt x="832" y="261"/>
                  <a:pt x="832" y="261"/>
                  <a:pt x="831" y="261"/>
                </a:cubicBezTo>
                <a:cubicBezTo>
                  <a:pt x="831" y="261"/>
                  <a:pt x="831" y="261"/>
                  <a:pt x="831" y="261"/>
                </a:cubicBezTo>
                <a:cubicBezTo>
                  <a:pt x="831" y="262"/>
                  <a:pt x="829" y="262"/>
                  <a:pt x="830" y="263"/>
                </a:cubicBezTo>
                <a:cubicBezTo>
                  <a:pt x="830" y="263"/>
                  <a:pt x="830" y="263"/>
                  <a:pt x="829" y="263"/>
                </a:cubicBezTo>
                <a:cubicBezTo>
                  <a:pt x="830" y="263"/>
                  <a:pt x="829" y="263"/>
                  <a:pt x="829" y="263"/>
                </a:cubicBezTo>
                <a:cubicBezTo>
                  <a:pt x="830" y="263"/>
                  <a:pt x="830" y="263"/>
                  <a:pt x="830" y="263"/>
                </a:cubicBezTo>
                <a:cubicBezTo>
                  <a:pt x="830" y="264"/>
                  <a:pt x="829" y="264"/>
                  <a:pt x="828" y="264"/>
                </a:cubicBezTo>
                <a:cubicBezTo>
                  <a:pt x="829" y="264"/>
                  <a:pt x="829" y="264"/>
                  <a:pt x="829" y="264"/>
                </a:cubicBezTo>
                <a:cubicBezTo>
                  <a:pt x="829" y="264"/>
                  <a:pt x="829" y="264"/>
                  <a:pt x="829" y="264"/>
                </a:cubicBezTo>
                <a:cubicBezTo>
                  <a:pt x="829" y="265"/>
                  <a:pt x="827" y="266"/>
                  <a:pt x="828" y="267"/>
                </a:cubicBezTo>
                <a:cubicBezTo>
                  <a:pt x="827" y="267"/>
                  <a:pt x="828" y="267"/>
                  <a:pt x="827" y="267"/>
                </a:cubicBezTo>
                <a:cubicBezTo>
                  <a:pt x="827" y="267"/>
                  <a:pt x="827" y="268"/>
                  <a:pt x="826" y="268"/>
                </a:cubicBezTo>
                <a:cubicBezTo>
                  <a:pt x="826" y="270"/>
                  <a:pt x="824" y="269"/>
                  <a:pt x="825" y="271"/>
                </a:cubicBezTo>
                <a:cubicBezTo>
                  <a:pt x="824" y="270"/>
                  <a:pt x="825" y="271"/>
                  <a:pt x="824" y="271"/>
                </a:cubicBezTo>
                <a:cubicBezTo>
                  <a:pt x="824" y="272"/>
                  <a:pt x="823" y="272"/>
                  <a:pt x="823" y="272"/>
                </a:cubicBezTo>
                <a:cubicBezTo>
                  <a:pt x="823" y="272"/>
                  <a:pt x="822" y="273"/>
                  <a:pt x="823" y="274"/>
                </a:cubicBezTo>
                <a:cubicBezTo>
                  <a:pt x="822" y="274"/>
                  <a:pt x="822" y="274"/>
                  <a:pt x="822" y="274"/>
                </a:cubicBezTo>
                <a:cubicBezTo>
                  <a:pt x="822" y="274"/>
                  <a:pt x="821" y="274"/>
                  <a:pt x="821" y="274"/>
                </a:cubicBezTo>
                <a:cubicBezTo>
                  <a:pt x="822" y="274"/>
                  <a:pt x="822" y="275"/>
                  <a:pt x="822" y="275"/>
                </a:cubicBezTo>
                <a:cubicBezTo>
                  <a:pt x="822" y="275"/>
                  <a:pt x="822" y="274"/>
                  <a:pt x="821" y="274"/>
                </a:cubicBezTo>
                <a:cubicBezTo>
                  <a:pt x="821" y="274"/>
                  <a:pt x="821" y="275"/>
                  <a:pt x="821" y="276"/>
                </a:cubicBezTo>
                <a:cubicBezTo>
                  <a:pt x="821" y="275"/>
                  <a:pt x="821" y="275"/>
                  <a:pt x="820" y="275"/>
                </a:cubicBezTo>
                <a:cubicBezTo>
                  <a:pt x="821" y="276"/>
                  <a:pt x="820" y="276"/>
                  <a:pt x="821" y="277"/>
                </a:cubicBezTo>
                <a:cubicBezTo>
                  <a:pt x="821" y="277"/>
                  <a:pt x="821" y="277"/>
                  <a:pt x="821" y="277"/>
                </a:cubicBezTo>
                <a:cubicBezTo>
                  <a:pt x="821" y="277"/>
                  <a:pt x="821" y="277"/>
                  <a:pt x="821" y="277"/>
                </a:cubicBezTo>
                <a:cubicBezTo>
                  <a:pt x="821" y="277"/>
                  <a:pt x="821" y="277"/>
                  <a:pt x="822" y="277"/>
                </a:cubicBezTo>
                <a:cubicBezTo>
                  <a:pt x="821" y="278"/>
                  <a:pt x="821" y="278"/>
                  <a:pt x="820" y="279"/>
                </a:cubicBezTo>
                <a:cubicBezTo>
                  <a:pt x="820" y="278"/>
                  <a:pt x="821" y="278"/>
                  <a:pt x="820" y="278"/>
                </a:cubicBezTo>
                <a:cubicBezTo>
                  <a:pt x="820" y="277"/>
                  <a:pt x="821" y="277"/>
                  <a:pt x="820" y="277"/>
                </a:cubicBezTo>
                <a:cubicBezTo>
                  <a:pt x="820" y="277"/>
                  <a:pt x="820" y="278"/>
                  <a:pt x="819" y="278"/>
                </a:cubicBezTo>
                <a:cubicBezTo>
                  <a:pt x="820" y="278"/>
                  <a:pt x="819" y="278"/>
                  <a:pt x="819" y="279"/>
                </a:cubicBezTo>
                <a:cubicBezTo>
                  <a:pt x="820" y="279"/>
                  <a:pt x="819" y="278"/>
                  <a:pt x="820" y="278"/>
                </a:cubicBezTo>
                <a:cubicBezTo>
                  <a:pt x="820" y="279"/>
                  <a:pt x="820" y="278"/>
                  <a:pt x="820" y="279"/>
                </a:cubicBezTo>
                <a:cubicBezTo>
                  <a:pt x="821" y="279"/>
                  <a:pt x="820" y="279"/>
                  <a:pt x="820" y="279"/>
                </a:cubicBezTo>
                <a:cubicBezTo>
                  <a:pt x="820" y="279"/>
                  <a:pt x="820" y="279"/>
                  <a:pt x="820" y="279"/>
                </a:cubicBezTo>
                <a:cubicBezTo>
                  <a:pt x="820" y="279"/>
                  <a:pt x="819" y="279"/>
                  <a:pt x="819" y="279"/>
                </a:cubicBezTo>
                <a:cubicBezTo>
                  <a:pt x="820" y="279"/>
                  <a:pt x="820" y="279"/>
                  <a:pt x="820" y="280"/>
                </a:cubicBezTo>
                <a:cubicBezTo>
                  <a:pt x="819" y="280"/>
                  <a:pt x="819" y="281"/>
                  <a:pt x="818" y="281"/>
                </a:cubicBezTo>
                <a:cubicBezTo>
                  <a:pt x="818" y="281"/>
                  <a:pt x="817" y="282"/>
                  <a:pt x="818" y="282"/>
                </a:cubicBezTo>
                <a:cubicBezTo>
                  <a:pt x="818" y="282"/>
                  <a:pt x="818" y="281"/>
                  <a:pt x="818" y="282"/>
                </a:cubicBezTo>
                <a:cubicBezTo>
                  <a:pt x="818" y="282"/>
                  <a:pt x="818" y="283"/>
                  <a:pt x="817" y="282"/>
                </a:cubicBezTo>
                <a:cubicBezTo>
                  <a:pt x="817" y="283"/>
                  <a:pt x="817" y="283"/>
                  <a:pt x="817" y="283"/>
                </a:cubicBezTo>
                <a:cubicBezTo>
                  <a:pt x="817" y="283"/>
                  <a:pt x="817" y="283"/>
                  <a:pt x="817" y="283"/>
                </a:cubicBezTo>
                <a:cubicBezTo>
                  <a:pt x="817" y="285"/>
                  <a:pt x="815" y="286"/>
                  <a:pt x="815" y="287"/>
                </a:cubicBezTo>
                <a:cubicBezTo>
                  <a:pt x="814" y="288"/>
                  <a:pt x="813" y="289"/>
                  <a:pt x="812" y="291"/>
                </a:cubicBezTo>
                <a:cubicBezTo>
                  <a:pt x="812" y="291"/>
                  <a:pt x="813" y="291"/>
                  <a:pt x="813" y="291"/>
                </a:cubicBezTo>
                <a:cubicBezTo>
                  <a:pt x="811" y="291"/>
                  <a:pt x="811" y="293"/>
                  <a:pt x="810" y="294"/>
                </a:cubicBezTo>
                <a:cubicBezTo>
                  <a:pt x="810" y="294"/>
                  <a:pt x="810" y="294"/>
                  <a:pt x="810" y="295"/>
                </a:cubicBezTo>
                <a:cubicBezTo>
                  <a:pt x="810" y="295"/>
                  <a:pt x="809" y="296"/>
                  <a:pt x="809" y="297"/>
                </a:cubicBezTo>
                <a:cubicBezTo>
                  <a:pt x="809" y="297"/>
                  <a:pt x="809" y="297"/>
                  <a:pt x="809" y="297"/>
                </a:cubicBezTo>
                <a:cubicBezTo>
                  <a:pt x="808" y="297"/>
                  <a:pt x="808" y="298"/>
                  <a:pt x="808" y="298"/>
                </a:cubicBezTo>
                <a:cubicBezTo>
                  <a:pt x="807" y="299"/>
                  <a:pt x="807" y="300"/>
                  <a:pt x="806" y="301"/>
                </a:cubicBezTo>
                <a:cubicBezTo>
                  <a:pt x="807" y="301"/>
                  <a:pt x="806" y="302"/>
                  <a:pt x="806" y="301"/>
                </a:cubicBezTo>
                <a:cubicBezTo>
                  <a:pt x="806" y="301"/>
                  <a:pt x="806" y="301"/>
                  <a:pt x="806" y="300"/>
                </a:cubicBezTo>
                <a:cubicBezTo>
                  <a:pt x="805" y="301"/>
                  <a:pt x="805" y="301"/>
                  <a:pt x="805" y="301"/>
                </a:cubicBezTo>
                <a:cubicBezTo>
                  <a:pt x="805" y="301"/>
                  <a:pt x="806" y="302"/>
                  <a:pt x="806" y="302"/>
                </a:cubicBezTo>
                <a:cubicBezTo>
                  <a:pt x="805" y="302"/>
                  <a:pt x="805" y="303"/>
                  <a:pt x="805" y="304"/>
                </a:cubicBezTo>
                <a:cubicBezTo>
                  <a:pt x="805" y="304"/>
                  <a:pt x="805" y="304"/>
                  <a:pt x="804" y="304"/>
                </a:cubicBezTo>
                <a:cubicBezTo>
                  <a:pt x="804" y="306"/>
                  <a:pt x="802" y="308"/>
                  <a:pt x="802" y="310"/>
                </a:cubicBezTo>
                <a:cubicBezTo>
                  <a:pt x="801" y="310"/>
                  <a:pt x="801" y="310"/>
                  <a:pt x="801" y="310"/>
                </a:cubicBezTo>
                <a:cubicBezTo>
                  <a:pt x="801" y="310"/>
                  <a:pt x="801" y="310"/>
                  <a:pt x="801" y="310"/>
                </a:cubicBezTo>
                <a:cubicBezTo>
                  <a:pt x="799" y="313"/>
                  <a:pt x="799" y="316"/>
                  <a:pt x="797" y="319"/>
                </a:cubicBezTo>
                <a:cubicBezTo>
                  <a:pt x="797" y="319"/>
                  <a:pt x="797" y="320"/>
                  <a:pt x="796" y="320"/>
                </a:cubicBezTo>
                <a:cubicBezTo>
                  <a:pt x="797" y="321"/>
                  <a:pt x="796" y="321"/>
                  <a:pt x="796" y="322"/>
                </a:cubicBezTo>
                <a:cubicBezTo>
                  <a:pt x="796" y="322"/>
                  <a:pt x="796" y="322"/>
                  <a:pt x="796" y="322"/>
                </a:cubicBezTo>
                <a:cubicBezTo>
                  <a:pt x="796" y="322"/>
                  <a:pt x="796" y="322"/>
                  <a:pt x="796" y="322"/>
                </a:cubicBezTo>
                <a:cubicBezTo>
                  <a:pt x="796" y="322"/>
                  <a:pt x="796" y="322"/>
                  <a:pt x="796" y="322"/>
                </a:cubicBezTo>
                <a:cubicBezTo>
                  <a:pt x="795" y="323"/>
                  <a:pt x="795" y="323"/>
                  <a:pt x="795" y="324"/>
                </a:cubicBezTo>
                <a:cubicBezTo>
                  <a:pt x="795" y="324"/>
                  <a:pt x="796" y="325"/>
                  <a:pt x="796" y="325"/>
                </a:cubicBezTo>
                <a:cubicBezTo>
                  <a:pt x="796" y="323"/>
                  <a:pt x="797" y="322"/>
                  <a:pt x="798" y="320"/>
                </a:cubicBezTo>
                <a:cubicBezTo>
                  <a:pt x="804" y="307"/>
                  <a:pt x="811" y="295"/>
                  <a:pt x="819" y="283"/>
                </a:cubicBezTo>
                <a:cubicBezTo>
                  <a:pt x="820" y="282"/>
                  <a:pt x="821" y="281"/>
                  <a:pt x="821" y="281"/>
                </a:cubicBezTo>
                <a:cubicBezTo>
                  <a:pt x="821" y="280"/>
                  <a:pt x="822" y="279"/>
                  <a:pt x="822" y="279"/>
                </a:cubicBezTo>
                <a:cubicBezTo>
                  <a:pt x="822" y="279"/>
                  <a:pt x="823" y="279"/>
                  <a:pt x="823" y="279"/>
                </a:cubicBezTo>
                <a:cubicBezTo>
                  <a:pt x="822" y="278"/>
                  <a:pt x="823" y="278"/>
                  <a:pt x="823" y="278"/>
                </a:cubicBezTo>
                <a:cubicBezTo>
                  <a:pt x="824" y="277"/>
                  <a:pt x="824" y="276"/>
                  <a:pt x="824" y="276"/>
                </a:cubicBezTo>
                <a:cubicBezTo>
                  <a:pt x="824" y="276"/>
                  <a:pt x="824" y="277"/>
                  <a:pt x="824" y="277"/>
                </a:cubicBezTo>
                <a:cubicBezTo>
                  <a:pt x="825" y="277"/>
                  <a:pt x="824" y="275"/>
                  <a:pt x="826" y="275"/>
                </a:cubicBezTo>
                <a:cubicBezTo>
                  <a:pt x="825" y="273"/>
                  <a:pt x="828" y="273"/>
                  <a:pt x="827" y="272"/>
                </a:cubicBezTo>
                <a:cubicBezTo>
                  <a:pt x="827" y="272"/>
                  <a:pt x="827" y="272"/>
                  <a:pt x="828" y="272"/>
                </a:cubicBezTo>
                <a:cubicBezTo>
                  <a:pt x="827" y="271"/>
                  <a:pt x="828" y="271"/>
                  <a:pt x="828" y="271"/>
                </a:cubicBezTo>
                <a:cubicBezTo>
                  <a:pt x="829" y="270"/>
                  <a:pt x="829" y="269"/>
                  <a:pt x="830" y="269"/>
                </a:cubicBezTo>
                <a:cubicBezTo>
                  <a:pt x="830" y="269"/>
                  <a:pt x="830" y="270"/>
                  <a:pt x="830" y="270"/>
                </a:cubicBezTo>
                <a:cubicBezTo>
                  <a:pt x="830" y="269"/>
                  <a:pt x="830" y="269"/>
                  <a:pt x="830" y="269"/>
                </a:cubicBezTo>
                <a:cubicBezTo>
                  <a:pt x="830" y="268"/>
                  <a:pt x="831" y="268"/>
                  <a:pt x="831" y="267"/>
                </a:cubicBezTo>
                <a:cubicBezTo>
                  <a:pt x="832" y="267"/>
                  <a:pt x="832" y="266"/>
                  <a:pt x="831" y="266"/>
                </a:cubicBezTo>
                <a:cubicBezTo>
                  <a:pt x="832" y="266"/>
                  <a:pt x="832" y="266"/>
                  <a:pt x="832" y="266"/>
                </a:cubicBezTo>
                <a:cubicBezTo>
                  <a:pt x="832" y="266"/>
                  <a:pt x="833" y="266"/>
                  <a:pt x="832" y="265"/>
                </a:cubicBezTo>
                <a:cubicBezTo>
                  <a:pt x="832" y="265"/>
                  <a:pt x="833" y="265"/>
                  <a:pt x="833" y="264"/>
                </a:cubicBezTo>
                <a:cubicBezTo>
                  <a:pt x="834" y="265"/>
                  <a:pt x="834" y="262"/>
                  <a:pt x="836" y="262"/>
                </a:cubicBezTo>
                <a:cubicBezTo>
                  <a:pt x="836" y="261"/>
                  <a:pt x="838" y="261"/>
                  <a:pt x="837" y="259"/>
                </a:cubicBezTo>
                <a:cubicBezTo>
                  <a:pt x="838" y="259"/>
                  <a:pt x="838" y="259"/>
                  <a:pt x="838" y="259"/>
                </a:cubicBezTo>
                <a:cubicBezTo>
                  <a:pt x="838" y="260"/>
                  <a:pt x="837" y="260"/>
                  <a:pt x="837" y="261"/>
                </a:cubicBezTo>
                <a:cubicBezTo>
                  <a:pt x="837" y="261"/>
                  <a:pt x="837" y="261"/>
                  <a:pt x="838" y="262"/>
                </a:cubicBezTo>
                <a:cubicBezTo>
                  <a:pt x="838" y="261"/>
                  <a:pt x="838" y="261"/>
                  <a:pt x="838" y="261"/>
                </a:cubicBezTo>
                <a:cubicBezTo>
                  <a:pt x="838" y="261"/>
                  <a:pt x="838" y="262"/>
                  <a:pt x="839" y="261"/>
                </a:cubicBezTo>
                <a:cubicBezTo>
                  <a:pt x="838" y="261"/>
                  <a:pt x="839" y="260"/>
                  <a:pt x="838" y="260"/>
                </a:cubicBezTo>
                <a:cubicBezTo>
                  <a:pt x="839" y="260"/>
                  <a:pt x="839" y="259"/>
                  <a:pt x="839" y="259"/>
                </a:cubicBezTo>
                <a:cubicBezTo>
                  <a:pt x="838" y="259"/>
                  <a:pt x="839" y="259"/>
                  <a:pt x="838" y="259"/>
                </a:cubicBezTo>
                <a:cubicBezTo>
                  <a:pt x="839" y="259"/>
                  <a:pt x="839" y="258"/>
                  <a:pt x="839" y="258"/>
                </a:cubicBezTo>
                <a:cubicBezTo>
                  <a:pt x="839" y="258"/>
                  <a:pt x="839" y="258"/>
                  <a:pt x="839" y="258"/>
                </a:cubicBezTo>
                <a:cubicBezTo>
                  <a:pt x="840" y="257"/>
                  <a:pt x="840" y="257"/>
                  <a:pt x="841" y="257"/>
                </a:cubicBezTo>
                <a:cubicBezTo>
                  <a:pt x="840" y="257"/>
                  <a:pt x="840" y="257"/>
                  <a:pt x="840" y="258"/>
                </a:cubicBezTo>
                <a:cubicBezTo>
                  <a:pt x="841" y="258"/>
                  <a:pt x="841" y="258"/>
                  <a:pt x="841" y="258"/>
                </a:cubicBezTo>
                <a:cubicBezTo>
                  <a:pt x="841" y="258"/>
                  <a:pt x="841" y="258"/>
                  <a:pt x="841" y="257"/>
                </a:cubicBezTo>
                <a:cubicBezTo>
                  <a:pt x="842" y="258"/>
                  <a:pt x="843" y="256"/>
                  <a:pt x="843" y="256"/>
                </a:cubicBezTo>
                <a:cubicBezTo>
                  <a:pt x="843" y="256"/>
                  <a:pt x="843" y="256"/>
                  <a:pt x="843" y="256"/>
                </a:cubicBezTo>
                <a:cubicBezTo>
                  <a:pt x="843" y="256"/>
                  <a:pt x="843" y="256"/>
                  <a:pt x="843" y="256"/>
                </a:cubicBezTo>
                <a:cubicBezTo>
                  <a:pt x="843" y="255"/>
                  <a:pt x="843" y="255"/>
                  <a:pt x="842" y="255"/>
                </a:cubicBezTo>
                <a:cubicBezTo>
                  <a:pt x="843" y="255"/>
                  <a:pt x="843" y="255"/>
                  <a:pt x="843" y="255"/>
                </a:cubicBezTo>
                <a:cubicBezTo>
                  <a:pt x="842" y="254"/>
                  <a:pt x="842" y="255"/>
                  <a:pt x="842" y="255"/>
                </a:cubicBezTo>
                <a:cubicBezTo>
                  <a:pt x="843" y="255"/>
                  <a:pt x="842" y="254"/>
                  <a:pt x="843" y="254"/>
                </a:cubicBezTo>
                <a:cubicBezTo>
                  <a:pt x="843" y="254"/>
                  <a:pt x="843" y="255"/>
                  <a:pt x="843" y="255"/>
                </a:cubicBezTo>
                <a:cubicBezTo>
                  <a:pt x="844" y="255"/>
                  <a:pt x="844" y="254"/>
                  <a:pt x="844" y="254"/>
                </a:cubicBezTo>
                <a:cubicBezTo>
                  <a:pt x="844" y="255"/>
                  <a:pt x="845" y="254"/>
                  <a:pt x="845" y="255"/>
                </a:cubicBezTo>
                <a:cubicBezTo>
                  <a:pt x="845" y="255"/>
                  <a:pt x="845" y="256"/>
                  <a:pt x="845" y="256"/>
                </a:cubicBezTo>
                <a:cubicBezTo>
                  <a:pt x="845" y="256"/>
                  <a:pt x="845" y="255"/>
                  <a:pt x="845" y="255"/>
                </a:cubicBezTo>
                <a:cubicBezTo>
                  <a:pt x="845" y="255"/>
                  <a:pt x="846" y="255"/>
                  <a:pt x="846" y="255"/>
                </a:cubicBezTo>
                <a:cubicBezTo>
                  <a:pt x="846" y="255"/>
                  <a:pt x="846" y="254"/>
                  <a:pt x="845" y="254"/>
                </a:cubicBezTo>
                <a:cubicBezTo>
                  <a:pt x="846" y="255"/>
                  <a:pt x="845" y="254"/>
                  <a:pt x="845" y="254"/>
                </a:cubicBezTo>
                <a:cubicBezTo>
                  <a:pt x="845" y="255"/>
                  <a:pt x="845" y="255"/>
                  <a:pt x="845" y="255"/>
                </a:cubicBezTo>
                <a:cubicBezTo>
                  <a:pt x="845" y="255"/>
                  <a:pt x="845" y="254"/>
                  <a:pt x="845" y="254"/>
                </a:cubicBezTo>
                <a:cubicBezTo>
                  <a:pt x="845" y="254"/>
                  <a:pt x="845" y="254"/>
                  <a:pt x="846" y="254"/>
                </a:cubicBezTo>
                <a:cubicBezTo>
                  <a:pt x="846" y="254"/>
                  <a:pt x="846" y="254"/>
                  <a:pt x="845" y="254"/>
                </a:cubicBezTo>
                <a:cubicBezTo>
                  <a:pt x="845" y="254"/>
                  <a:pt x="845" y="254"/>
                  <a:pt x="845" y="254"/>
                </a:cubicBezTo>
                <a:cubicBezTo>
                  <a:pt x="845" y="254"/>
                  <a:pt x="845" y="253"/>
                  <a:pt x="846" y="253"/>
                </a:cubicBezTo>
                <a:cubicBezTo>
                  <a:pt x="846" y="253"/>
                  <a:pt x="846" y="254"/>
                  <a:pt x="846" y="254"/>
                </a:cubicBezTo>
                <a:cubicBezTo>
                  <a:pt x="846" y="254"/>
                  <a:pt x="846" y="255"/>
                  <a:pt x="846" y="255"/>
                </a:cubicBezTo>
                <a:cubicBezTo>
                  <a:pt x="847" y="254"/>
                  <a:pt x="847" y="253"/>
                  <a:pt x="847" y="253"/>
                </a:cubicBezTo>
                <a:cubicBezTo>
                  <a:pt x="847" y="253"/>
                  <a:pt x="847" y="253"/>
                  <a:pt x="848" y="253"/>
                </a:cubicBezTo>
                <a:cubicBezTo>
                  <a:pt x="848" y="253"/>
                  <a:pt x="848" y="253"/>
                  <a:pt x="848" y="253"/>
                </a:cubicBezTo>
                <a:cubicBezTo>
                  <a:pt x="848" y="252"/>
                  <a:pt x="847" y="252"/>
                  <a:pt x="847" y="252"/>
                </a:cubicBezTo>
                <a:cubicBezTo>
                  <a:pt x="847" y="252"/>
                  <a:pt x="848" y="251"/>
                  <a:pt x="848" y="252"/>
                </a:cubicBezTo>
                <a:cubicBezTo>
                  <a:pt x="848" y="251"/>
                  <a:pt x="848" y="250"/>
                  <a:pt x="849" y="250"/>
                </a:cubicBezTo>
                <a:cubicBezTo>
                  <a:pt x="849" y="250"/>
                  <a:pt x="849" y="251"/>
                  <a:pt x="849" y="252"/>
                </a:cubicBezTo>
                <a:cubicBezTo>
                  <a:pt x="849" y="251"/>
                  <a:pt x="849" y="250"/>
                  <a:pt x="850" y="250"/>
                </a:cubicBezTo>
                <a:cubicBezTo>
                  <a:pt x="849" y="250"/>
                  <a:pt x="849" y="250"/>
                  <a:pt x="849" y="250"/>
                </a:cubicBezTo>
                <a:cubicBezTo>
                  <a:pt x="849" y="250"/>
                  <a:pt x="849" y="249"/>
                  <a:pt x="849" y="249"/>
                </a:cubicBezTo>
                <a:cubicBezTo>
                  <a:pt x="849" y="250"/>
                  <a:pt x="849" y="250"/>
                  <a:pt x="850" y="250"/>
                </a:cubicBezTo>
                <a:cubicBezTo>
                  <a:pt x="850" y="250"/>
                  <a:pt x="850" y="250"/>
                  <a:pt x="851" y="250"/>
                </a:cubicBezTo>
                <a:cubicBezTo>
                  <a:pt x="850" y="248"/>
                  <a:pt x="851" y="248"/>
                  <a:pt x="852" y="247"/>
                </a:cubicBezTo>
                <a:cubicBezTo>
                  <a:pt x="852" y="248"/>
                  <a:pt x="851" y="248"/>
                  <a:pt x="852" y="249"/>
                </a:cubicBezTo>
                <a:cubicBezTo>
                  <a:pt x="853" y="249"/>
                  <a:pt x="852" y="248"/>
                  <a:pt x="853" y="248"/>
                </a:cubicBezTo>
                <a:cubicBezTo>
                  <a:pt x="853" y="247"/>
                  <a:pt x="854" y="247"/>
                  <a:pt x="854" y="246"/>
                </a:cubicBezTo>
                <a:cubicBezTo>
                  <a:pt x="854" y="246"/>
                  <a:pt x="854" y="246"/>
                  <a:pt x="854" y="246"/>
                </a:cubicBezTo>
                <a:cubicBezTo>
                  <a:pt x="854" y="246"/>
                  <a:pt x="854" y="246"/>
                  <a:pt x="854" y="245"/>
                </a:cubicBezTo>
                <a:cubicBezTo>
                  <a:pt x="854" y="245"/>
                  <a:pt x="854" y="245"/>
                  <a:pt x="854" y="245"/>
                </a:cubicBezTo>
                <a:cubicBezTo>
                  <a:pt x="854" y="245"/>
                  <a:pt x="854" y="246"/>
                  <a:pt x="854" y="246"/>
                </a:cubicBezTo>
                <a:cubicBezTo>
                  <a:pt x="855" y="246"/>
                  <a:pt x="854" y="246"/>
                  <a:pt x="855" y="246"/>
                </a:cubicBezTo>
                <a:cubicBezTo>
                  <a:pt x="855" y="246"/>
                  <a:pt x="855" y="245"/>
                  <a:pt x="855" y="246"/>
                </a:cubicBezTo>
                <a:cubicBezTo>
                  <a:pt x="855" y="246"/>
                  <a:pt x="855" y="247"/>
                  <a:pt x="855" y="247"/>
                </a:cubicBezTo>
                <a:cubicBezTo>
                  <a:pt x="855" y="247"/>
                  <a:pt x="855" y="247"/>
                  <a:pt x="855" y="247"/>
                </a:cubicBezTo>
                <a:cubicBezTo>
                  <a:pt x="856" y="247"/>
                  <a:pt x="855" y="246"/>
                  <a:pt x="856" y="246"/>
                </a:cubicBezTo>
                <a:cubicBezTo>
                  <a:pt x="856" y="247"/>
                  <a:pt x="855" y="247"/>
                  <a:pt x="855" y="248"/>
                </a:cubicBezTo>
                <a:cubicBezTo>
                  <a:pt x="855" y="248"/>
                  <a:pt x="855" y="248"/>
                  <a:pt x="856" y="248"/>
                </a:cubicBezTo>
                <a:cubicBezTo>
                  <a:pt x="855" y="248"/>
                  <a:pt x="855" y="249"/>
                  <a:pt x="855" y="248"/>
                </a:cubicBezTo>
                <a:cubicBezTo>
                  <a:pt x="855" y="248"/>
                  <a:pt x="855" y="248"/>
                  <a:pt x="854" y="248"/>
                </a:cubicBezTo>
                <a:cubicBezTo>
                  <a:pt x="854" y="248"/>
                  <a:pt x="854" y="249"/>
                  <a:pt x="855" y="249"/>
                </a:cubicBezTo>
                <a:cubicBezTo>
                  <a:pt x="854" y="249"/>
                  <a:pt x="854" y="249"/>
                  <a:pt x="854" y="249"/>
                </a:cubicBezTo>
                <a:cubicBezTo>
                  <a:pt x="854" y="249"/>
                  <a:pt x="854" y="249"/>
                  <a:pt x="854" y="249"/>
                </a:cubicBezTo>
                <a:cubicBezTo>
                  <a:pt x="853" y="249"/>
                  <a:pt x="854" y="249"/>
                  <a:pt x="853" y="249"/>
                </a:cubicBezTo>
                <a:cubicBezTo>
                  <a:pt x="853" y="249"/>
                  <a:pt x="853" y="249"/>
                  <a:pt x="853" y="249"/>
                </a:cubicBezTo>
                <a:cubicBezTo>
                  <a:pt x="853" y="249"/>
                  <a:pt x="853" y="249"/>
                  <a:pt x="853" y="249"/>
                </a:cubicBezTo>
                <a:cubicBezTo>
                  <a:pt x="853" y="249"/>
                  <a:pt x="853" y="250"/>
                  <a:pt x="854" y="250"/>
                </a:cubicBezTo>
                <a:cubicBezTo>
                  <a:pt x="854" y="250"/>
                  <a:pt x="853" y="250"/>
                  <a:pt x="853" y="251"/>
                </a:cubicBezTo>
                <a:cubicBezTo>
                  <a:pt x="854" y="251"/>
                  <a:pt x="854" y="250"/>
                  <a:pt x="854" y="251"/>
                </a:cubicBezTo>
                <a:cubicBezTo>
                  <a:pt x="854" y="251"/>
                  <a:pt x="853" y="252"/>
                  <a:pt x="853" y="251"/>
                </a:cubicBezTo>
                <a:cubicBezTo>
                  <a:pt x="853" y="251"/>
                  <a:pt x="853" y="251"/>
                  <a:pt x="853" y="251"/>
                </a:cubicBezTo>
                <a:cubicBezTo>
                  <a:pt x="852" y="251"/>
                  <a:pt x="852" y="252"/>
                  <a:pt x="852" y="252"/>
                </a:cubicBezTo>
                <a:cubicBezTo>
                  <a:pt x="852" y="252"/>
                  <a:pt x="852" y="252"/>
                  <a:pt x="852" y="252"/>
                </a:cubicBezTo>
                <a:cubicBezTo>
                  <a:pt x="852" y="253"/>
                  <a:pt x="852" y="253"/>
                  <a:pt x="852" y="253"/>
                </a:cubicBezTo>
                <a:cubicBezTo>
                  <a:pt x="851" y="253"/>
                  <a:pt x="851" y="254"/>
                  <a:pt x="851" y="255"/>
                </a:cubicBezTo>
                <a:cubicBezTo>
                  <a:pt x="850" y="255"/>
                  <a:pt x="851" y="255"/>
                  <a:pt x="850" y="254"/>
                </a:cubicBezTo>
                <a:cubicBezTo>
                  <a:pt x="850" y="254"/>
                  <a:pt x="850" y="255"/>
                  <a:pt x="850" y="255"/>
                </a:cubicBezTo>
                <a:cubicBezTo>
                  <a:pt x="850" y="255"/>
                  <a:pt x="850" y="255"/>
                  <a:pt x="849" y="255"/>
                </a:cubicBezTo>
                <a:cubicBezTo>
                  <a:pt x="850" y="255"/>
                  <a:pt x="850" y="255"/>
                  <a:pt x="850" y="255"/>
                </a:cubicBezTo>
                <a:cubicBezTo>
                  <a:pt x="849" y="256"/>
                  <a:pt x="849" y="257"/>
                  <a:pt x="849" y="257"/>
                </a:cubicBezTo>
                <a:cubicBezTo>
                  <a:pt x="848" y="257"/>
                  <a:pt x="848" y="258"/>
                  <a:pt x="849" y="259"/>
                </a:cubicBezTo>
                <a:cubicBezTo>
                  <a:pt x="849" y="258"/>
                  <a:pt x="849" y="258"/>
                  <a:pt x="849" y="258"/>
                </a:cubicBezTo>
                <a:cubicBezTo>
                  <a:pt x="849" y="258"/>
                  <a:pt x="849" y="258"/>
                  <a:pt x="849" y="259"/>
                </a:cubicBezTo>
                <a:cubicBezTo>
                  <a:pt x="848" y="259"/>
                  <a:pt x="848" y="259"/>
                  <a:pt x="848" y="259"/>
                </a:cubicBezTo>
                <a:cubicBezTo>
                  <a:pt x="848" y="258"/>
                  <a:pt x="848" y="258"/>
                  <a:pt x="848" y="258"/>
                </a:cubicBezTo>
                <a:cubicBezTo>
                  <a:pt x="847" y="258"/>
                  <a:pt x="847" y="259"/>
                  <a:pt x="847" y="260"/>
                </a:cubicBezTo>
                <a:cubicBezTo>
                  <a:pt x="847" y="259"/>
                  <a:pt x="847" y="260"/>
                  <a:pt x="846" y="260"/>
                </a:cubicBezTo>
                <a:cubicBezTo>
                  <a:pt x="847" y="260"/>
                  <a:pt x="846" y="260"/>
                  <a:pt x="846" y="261"/>
                </a:cubicBezTo>
                <a:cubicBezTo>
                  <a:pt x="846" y="261"/>
                  <a:pt x="847" y="261"/>
                  <a:pt x="846" y="262"/>
                </a:cubicBezTo>
                <a:cubicBezTo>
                  <a:pt x="846" y="261"/>
                  <a:pt x="846" y="261"/>
                  <a:pt x="845" y="261"/>
                </a:cubicBezTo>
                <a:cubicBezTo>
                  <a:pt x="846" y="262"/>
                  <a:pt x="844" y="261"/>
                  <a:pt x="845" y="262"/>
                </a:cubicBezTo>
                <a:cubicBezTo>
                  <a:pt x="845" y="262"/>
                  <a:pt x="845" y="262"/>
                  <a:pt x="845" y="262"/>
                </a:cubicBezTo>
                <a:cubicBezTo>
                  <a:pt x="845" y="263"/>
                  <a:pt x="845" y="263"/>
                  <a:pt x="844" y="263"/>
                </a:cubicBezTo>
                <a:cubicBezTo>
                  <a:pt x="845" y="263"/>
                  <a:pt x="844" y="264"/>
                  <a:pt x="844" y="265"/>
                </a:cubicBezTo>
                <a:cubicBezTo>
                  <a:pt x="844" y="265"/>
                  <a:pt x="844" y="265"/>
                  <a:pt x="844" y="265"/>
                </a:cubicBezTo>
                <a:cubicBezTo>
                  <a:pt x="843" y="265"/>
                  <a:pt x="844" y="264"/>
                  <a:pt x="843" y="265"/>
                </a:cubicBezTo>
                <a:cubicBezTo>
                  <a:pt x="843" y="265"/>
                  <a:pt x="843" y="266"/>
                  <a:pt x="843" y="266"/>
                </a:cubicBezTo>
                <a:cubicBezTo>
                  <a:pt x="843" y="266"/>
                  <a:pt x="843" y="266"/>
                  <a:pt x="843" y="266"/>
                </a:cubicBezTo>
                <a:cubicBezTo>
                  <a:pt x="843" y="266"/>
                  <a:pt x="843" y="267"/>
                  <a:pt x="842" y="267"/>
                </a:cubicBezTo>
                <a:cubicBezTo>
                  <a:pt x="843" y="267"/>
                  <a:pt x="843" y="267"/>
                  <a:pt x="843" y="267"/>
                </a:cubicBezTo>
                <a:cubicBezTo>
                  <a:pt x="842" y="267"/>
                  <a:pt x="842" y="267"/>
                  <a:pt x="842" y="268"/>
                </a:cubicBezTo>
                <a:cubicBezTo>
                  <a:pt x="842" y="267"/>
                  <a:pt x="842" y="267"/>
                  <a:pt x="843" y="268"/>
                </a:cubicBezTo>
                <a:cubicBezTo>
                  <a:pt x="842" y="268"/>
                  <a:pt x="842" y="268"/>
                  <a:pt x="842" y="268"/>
                </a:cubicBezTo>
                <a:cubicBezTo>
                  <a:pt x="843" y="268"/>
                  <a:pt x="842" y="268"/>
                  <a:pt x="842" y="269"/>
                </a:cubicBezTo>
                <a:cubicBezTo>
                  <a:pt x="842" y="269"/>
                  <a:pt x="842" y="268"/>
                  <a:pt x="843" y="268"/>
                </a:cubicBezTo>
                <a:cubicBezTo>
                  <a:pt x="843" y="268"/>
                  <a:pt x="843" y="268"/>
                  <a:pt x="843" y="268"/>
                </a:cubicBezTo>
                <a:cubicBezTo>
                  <a:pt x="844" y="268"/>
                  <a:pt x="844" y="266"/>
                  <a:pt x="845" y="266"/>
                </a:cubicBezTo>
                <a:cubicBezTo>
                  <a:pt x="845" y="265"/>
                  <a:pt x="846" y="265"/>
                  <a:pt x="846" y="265"/>
                </a:cubicBezTo>
                <a:cubicBezTo>
                  <a:pt x="846" y="264"/>
                  <a:pt x="847" y="263"/>
                  <a:pt x="847" y="263"/>
                </a:cubicBezTo>
                <a:cubicBezTo>
                  <a:pt x="848" y="263"/>
                  <a:pt x="848" y="263"/>
                  <a:pt x="848" y="263"/>
                </a:cubicBezTo>
                <a:cubicBezTo>
                  <a:pt x="848" y="263"/>
                  <a:pt x="849" y="263"/>
                  <a:pt x="848" y="262"/>
                </a:cubicBezTo>
                <a:cubicBezTo>
                  <a:pt x="849" y="262"/>
                  <a:pt x="849" y="263"/>
                  <a:pt x="850" y="263"/>
                </a:cubicBezTo>
                <a:cubicBezTo>
                  <a:pt x="849" y="262"/>
                  <a:pt x="849" y="262"/>
                  <a:pt x="849" y="262"/>
                </a:cubicBezTo>
                <a:cubicBezTo>
                  <a:pt x="849" y="262"/>
                  <a:pt x="850" y="262"/>
                  <a:pt x="850" y="262"/>
                </a:cubicBezTo>
                <a:cubicBezTo>
                  <a:pt x="850" y="261"/>
                  <a:pt x="850" y="261"/>
                  <a:pt x="850" y="261"/>
                </a:cubicBezTo>
                <a:cubicBezTo>
                  <a:pt x="850" y="261"/>
                  <a:pt x="850" y="262"/>
                  <a:pt x="851" y="262"/>
                </a:cubicBezTo>
                <a:cubicBezTo>
                  <a:pt x="851" y="262"/>
                  <a:pt x="851" y="261"/>
                  <a:pt x="851" y="261"/>
                </a:cubicBezTo>
                <a:cubicBezTo>
                  <a:pt x="851" y="261"/>
                  <a:pt x="851" y="261"/>
                  <a:pt x="851" y="261"/>
                </a:cubicBezTo>
                <a:cubicBezTo>
                  <a:pt x="851" y="261"/>
                  <a:pt x="851" y="260"/>
                  <a:pt x="851" y="260"/>
                </a:cubicBezTo>
                <a:cubicBezTo>
                  <a:pt x="851" y="260"/>
                  <a:pt x="851" y="260"/>
                  <a:pt x="851" y="260"/>
                </a:cubicBezTo>
                <a:cubicBezTo>
                  <a:pt x="851" y="260"/>
                  <a:pt x="852" y="260"/>
                  <a:pt x="852" y="259"/>
                </a:cubicBezTo>
                <a:cubicBezTo>
                  <a:pt x="852" y="260"/>
                  <a:pt x="852" y="260"/>
                  <a:pt x="853" y="260"/>
                </a:cubicBezTo>
                <a:cubicBezTo>
                  <a:pt x="853" y="260"/>
                  <a:pt x="853" y="261"/>
                  <a:pt x="853" y="261"/>
                </a:cubicBezTo>
                <a:cubicBezTo>
                  <a:pt x="853" y="261"/>
                  <a:pt x="852" y="261"/>
                  <a:pt x="852" y="261"/>
                </a:cubicBezTo>
                <a:cubicBezTo>
                  <a:pt x="852" y="261"/>
                  <a:pt x="853" y="261"/>
                  <a:pt x="852" y="261"/>
                </a:cubicBezTo>
                <a:cubicBezTo>
                  <a:pt x="852" y="261"/>
                  <a:pt x="851" y="261"/>
                  <a:pt x="852" y="262"/>
                </a:cubicBezTo>
                <a:cubicBezTo>
                  <a:pt x="851" y="262"/>
                  <a:pt x="851" y="262"/>
                  <a:pt x="850" y="263"/>
                </a:cubicBezTo>
                <a:cubicBezTo>
                  <a:pt x="850" y="263"/>
                  <a:pt x="850" y="263"/>
                  <a:pt x="850" y="263"/>
                </a:cubicBezTo>
                <a:cubicBezTo>
                  <a:pt x="850" y="263"/>
                  <a:pt x="850" y="263"/>
                  <a:pt x="850" y="263"/>
                </a:cubicBezTo>
                <a:cubicBezTo>
                  <a:pt x="850" y="264"/>
                  <a:pt x="850" y="263"/>
                  <a:pt x="850" y="263"/>
                </a:cubicBezTo>
                <a:cubicBezTo>
                  <a:pt x="849" y="263"/>
                  <a:pt x="849" y="263"/>
                  <a:pt x="850" y="264"/>
                </a:cubicBezTo>
                <a:cubicBezTo>
                  <a:pt x="850" y="264"/>
                  <a:pt x="849" y="264"/>
                  <a:pt x="849" y="264"/>
                </a:cubicBezTo>
                <a:cubicBezTo>
                  <a:pt x="849" y="264"/>
                  <a:pt x="849" y="265"/>
                  <a:pt x="848" y="265"/>
                </a:cubicBezTo>
                <a:cubicBezTo>
                  <a:pt x="848" y="265"/>
                  <a:pt x="849" y="265"/>
                  <a:pt x="849" y="265"/>
                </a:cubicBezTo>
                <a:cubicBezTo>
                  <a:pt x="848" y="265"/>
                  <a:pt x="848" y="265"/>
                  <a:pt x="849" y="265"/>
                </a:cubicBezTo>
                <a:cubicBezTo>
                  <a:pt x="849" y="266"/>
                  <a:pt x="848" y="266"/>
                  <a:pt x="848" y="266"/>
                </a:cubicBezTo>
                <a:cubicBezTo>
                  <a:pt x="848" y="267"/>
                  <a:pt x="847" y="267"/>
                  <a:pt x="846" y="268"/>
                </a:cubicBezTo>
                <a:cubicBezTo>
                  <a:pt x="847" y="268"/>
                  <a:pt x="847" y="269"/>
                  <a:pt x="847" y="269"/>
                </a:cubicBezTo>
                <a:cubicBezTo>
                  <a:pt x="847" y="268"/>
                  <a:pt x="847" y="268"/>
                  <a:pt x="847" y="268"/>
                </a:cubicBezTo>
                <a:cubicBezTo>
                  <a:pt x="847" y="268"/>
                  <a:pt x="847" y="269"/>
                  <a:pt x="848" y="268"/>
                </a:cubicBezTo>
                <a:cubicBezTo>
                  <a:pt x="848" y="267"/>
                  <a:pt x="849" y="266"/>
                  <a:pt x="850" y="266"/>
                </a:cubicBezTo>
                <a:cubicBezTo>
                  <a:pt x="851" y="266"/>
                  <a:pt x="850" y="266"/>
                  <a:pt x="850" y="266"/>
                </a:cubicBezTo>
                <a:cubicBezTo>
                  <a:pt x="851" y="267"/>
                  <a:pt x="851" y="266"/>
                  <a:pt x="851" y="267"/>
                </a:cubicBezTo>
                <a:cubicBezTo>
                  <a:pt x="851" y="267"/>
                  <a:pt x="851" y="267"/>
                  <a:pt x="850" y="267"/>
                </a:cubicBezTo>
                <a:cubicBezTo>
                  <a:pt x="850" y="267"/>
                  <a:pt x="851" y="267"/>
                  <a:pt x="850" y="268"/>
                </a:cubicBezTo>
                <a:cubicBezTo>
                  <a:pt x="851" y="267"/>
                  <a:pt x="850" y="268"/>
                  <a:pt x="850" y="267"/>
                </a:cubicBezTo>
                <a:cubicBezTo>
                  <a:pt x="850" y="267"/>
                  <a:pt x="850" y="267"/>
                  <a:pt x="850" y="267"/>
                </a:cubicBezTo>
                <a:cubicBezTo>
                  <a:pt x="850" y="267"/>
                  <a:pt x="850" y="266"/>
                  <a:pt x="850" y="266"/>
                </a:cubicBezTo>
                <a:cubicBezTo>
                  <a:pt x="850" y="267"/>
                  <a:pt x="849" y="267"/>
                  <a:pt x="850" y="267"/>
                </a:cubicBezTo>
                <a:cubicBezTo>
                  <a:pt x="850" y="267"/>
                  <a:pt x="850" y="268"/>
                  <a:pt x="850" y="268"/>
                </a:cubicBezTo>
                <a:cubicBezTo>
                  <a:pt x="849" y="269"/>
                  <a:pt x="849" y="271"/>
                  <a:pt x="848" y="271"/>
                </a:cubicBezTo>
                <a:cubicBezTo>
                  <a:pt x="848" y="271"/>
                  <a:pt x="849" y="271"/>
                  <a:pt x="849" y="271"/>
                </a:cubicBezTo>
                <a:cubicBezTo>
                  <a:pt x="848" y="271"/>
                  <a:pt x="848" y="271"/>
                  <a:pt x="847" y="271"/>
                </a:cubicBezTo>
                <a:cubicBezTo>
                  <a:pt x="847" y="271"/>
                  <a:pt x="847" y="271"/>
                  <a:pt x="847" y="271"/>
                </a:cubicBezTo>
                <a:cubicBezTo>
                  <a:pt x="847" y="271"/>
                  <a:pt x="847" y="271"/>
                  <a:pt x="848" y="271"/>
                </a:cubicBezTo>
                <a:cubicBezTo>
                  <a:pt x="848" y="271"/>
                  <a:pt x="848" y="270"/>
                  <a:pt x="847" y="270"/>
                </a:cubicBezTo>
                <a:cubicBezTo>
                  <a:pt x="847" y="270"/>
                  <a:pt x="846" y="271"/>
                  <a:pt x="847" y="272"/>
                </a:cubicBezTo>
                <a:cubicBezTo>
                  <a:pt x="847" y="272"/>
                  <a:pt x="847" y="272"/>
                  <a:pt x="847" y="273"/>
                </a:cubicBezTo>
                <a:cubicBezTo>
                  <a:pt x="846" y="272"/>
                  <a:pt x="847" y="272"/>
                  <a:pt x="846" y="272"/>
                </a:cubicBezTo>
                <a:cubicBezTo>
                  <a:pt x="846" y="272"/>
                  <a:pt x="846" y="273"/>
                  <a:pt x="846" y="273"/>
                </a:cubicBezTo>
                <a:cubicBezTo>
                  <a:pt x="847" y="273"/>
                  <a:pt x="846" y="274"/>
                  <a:pt x="846" y="274"/>
                </a:cubicBezTo>
                <a:cubicBezTo>
                  <a:pt x="846" y="274"/>
                  <a:pt x="846" y="274"/>
                  <a:pt x="846" y="274"/>
                </a:cubicBezTo>
                <a:cubicBezTo>
                  <a:pt x="845" y="274"/>
                  <a:pt x="845" y="274"/>
                  <a:pt x="846" y="274"/>
                </a:cubicBezTo>
                <a:cubicBezTo>
                  <a:pt x="845" y="274"/>
                  <a:pt x="845" y="275"/>
                  <a:pt x="845" y="275"/>
                </a:cubicBezTo>
                <a:cubicBezTo>
                  <a:pt x="845" y="275"/>
                  <a:pt x="845" y="275"/>
                  <a:pt x="845" y="276"/>
                </a:cubicBezTo>
                <a:cubicBezTo>
                  <a:pt x="845" y="276"/>
                  <a:pt x="844" y="275"/>
                  <a:pt x="844" y="276"/>
                </a:cubicBezTo>
                <a:cubicBezTo>
                  <a:pt x="845" y="276"/>
                  <a:pt x="845" y="276"/>
                  <a:pt x="844" y="276"/>
                </a:cubicBezTo>
                <a:cubicBezTo>
                  <a:pt x="844" y="276"/>
                  <a:pt x="844" y="276"/>
                  <a:pt x="844" y="276"/>
                </a:cubicBezTo>
                <a:cubicBezTo>
                  <a:pt x="844" y="276"/>
                  <a:pt x="844" y="276"/>
                  <a:pt x="844" y="277"/>
                </a:cubicBezTo>
                <a:cubicBezTo>
                  <a:pt x="844" y="277"/>
                  <a:pt x="844" y="277"/>
                  <a:pt x="844" y="277"/>
                </a:cubicBezTo>
                <a:cubicBezTo>
                  <a:pt x="843" y="277"/>
                  <a:pt x="844" y="276"/>
                  <a:pt x="844" y="276"/>
                </a:cubicBezTo>
                <a:cubicBezTo>
                  <a:pt x="843" y="276"/>
                  <a:pt x="843" y="277"/>
                  <a:pt x="844" y="277"/>
                </a:cubicBezTo>
                <a:cubicBezTo>
                  <a:pt x="843" y="277"/>
                  <a:pt x="843" y="277"/>
                  <a:pt x="843" y="278"/>
                </a:cubicBezTo>
                <a:cubicBezTo>
                  <a:pt x="843" y="278"/>
                  <a:pt x="843" y="278"/>
                  <a:pt x="843" y="278"/>
                </a:cubicBezTo>
                <a:cubicBezTo>
                  <a:pt x="842" y="279"/>
                  <a:pt x="842" y="279"/>
                  <a:pt x="842" y="280"/>
                </a:cubicBezTo>
                <a:cubicBezTo>
                  <a:pt x="841" y="280"/>
                  <a:pt x="841" y="280"/>
                  <a:pt x="841" y="280"/>
                </a:cubicBezTo>
                <a:cubicBezTo>
                  <a:pt x="841" y="281"/>
                  <a:pt x="841" y="281"/>
                  <a:pt x="840" y="281"/>
                </a:cubicBezTo>
                <a:cubicBezTo>
                  <a:pt x="841" y="282"/>
                  <a:pt x="840" y="282"/>
                  <a:pt x="840" y="282"/>
                </a:cubicBezTo>
                <a:cubicBezTo>
                  <a:pt x="840" y="282"/>
                  <a:pt x="840" y="282"/>
                  <a:pt x="840" y="282"/>
                </a:cubicBezTo>
                <a:cubicBezTo>
                  <a:pt x="840" y="282"/>
                  <a:pt x="840" y="284"/>
                  <a:pt x="839" y="283"/>
                </a:cubicBezTo>
                <a:cubicBezTo>
                  <a:pt x="839" y="284"/>
                  <a:pt x="839" y="284"/>
                  <a:pt x="840" y="285"/>
                </a:cubicBezTo>
                <a:cubicBezTo>
                  <a:pt x="838" y="285"/>
                  <a:pt x="839" y="287"/>
                  <a:pt x="838" y="286"/>
                </a:cubicBezTo>
                <a:cubicBezTo>
                  <a:pt x="837" y="286"/>
                  <a:pt x="838" y="287"/>
                  <a:pt x="838" y="287"/>
                </a:cubicBezTo>
                <a:cubicBezTo>
                  <a:pt x="837" y="287"/>
                  <a:pt x="838" y="286"/>
                  <a:pt x="837" y="286"/>
                </a:cubicBezTo>
                <a:cubicBezTo>
                  <a:pt x="837" y="286"/>
                  <a:pt x="837" y="287"/>
                  <a:pt x="837" y="287"/>
                </a:cubicBezTo>
                <a:cubicBezTo>
                  <a:pt x="837" y="287"/>
                  <a:pt x="838" y="287"/>
                  <a:pt x="838" y="287"/>
                </a:cubicBezTo>
                <a:cubicBezTo>
                  <a:pt x="837" y="287"/>
                  <a:pt x="837" y="288"/>
                  <a:pt x="836" y="288"/>
                </a:cubicBezTo>
                <a:cubicBezTo>
                  <a:pt x="836" y="288"/>
                  <a:pt x="837" y="288"/>
                  <a:pt x="837" y="288"/>
                </a:cubicBezTo>
                <a:cubicBezTo>
                  <a:pt x="836" y="289"/>
                  <a:pt x="837" y="289"/>
                  <a:pt x="836" y="289"/>
                </a:cubicBezTo>
                <a:cubicBezTo>
                  <a:pt x="837" y="289"/>
                  <a:pt x="837" y="289"/>
                  <a:pt x="837" y="289"/>
                </a:cubicBezTo>
                <a:cubicBezTo>
                  <a:pt x="837" y="289"/>
                  <a:pt x="837" y="288"/>
                  <a:pt x="838" y="288"/>
                </a:cubicBezTo>
                <a:cubicBezTo>
                  <a:pt x="838" y="289"/>
                  <a:pt x="837" y="289"/>
                  <a:pt x="838" y="289"/>
                </a:cubicBezTo>
                <a:cubicBezTo>
                  <a:pt x="837" y="289"/>
                  <a:pt x="836" y="289"/>
                  <a:pt x="836" y="289"/>
                </a:cubicBezTo>
                <a:cubicBezTo>
                  <a:pt x="837" y="290"/>
                  <a:pt x="837" y="290"/>
                  <a:pt x="837" y="290"/>
                </a:cubicBezTo>
                <a:cubicBezTo>
                  <a:pt x="837" y="290"/>
                  <a:pt x="837" y="290"/>
                  <a:pt x="837" y="290"/>
                </a:cubicBezTo>
                <a:cubicBezTo>
                  <a:pt x="837" y="290"/>
                  <a:pt x="837" y="290"/>
                  <a:pt x="837" y="290"/>
                </a:cubicBezTo>
                <a:cubicBezTo>
                  <a:pt x="837" y="290"/>
                  <a:pt x="836" y="290"/>
                  <a:pt x="836" y="289"/>
                </a:cubicBezTo>
                <a:cubicBezTo>
                  <a:pt x="836" y="290"/>
                  <a:pt x="836" y="289"/>
                  <a:pt x="835" y="289"/>
                </a:cubicBezTo>
                <a:cubicBezTo>
                  <a:pt x="835" y="289"/>
                  <a:pt x="836" y="290"/>
                  <a:pt x="836" y="290"/>
                </a:cubicBezTo>
                <a:cubicBezTo>
                  <a:pt x="835" y="290"/>
                  <a:pt x="834" y="291"/>
                  <a:pt x="835" y="292"/>
                </a:cubicBezTo>
                <a:cubicBezTo>
                  <a:pt x="835" y="292"/>
                  <a:pt x="835" y="291"/>
                  <a:pt x="834" y="291"/>
                </a:cubicBezTo>
                <a:cubicBezTo>
                  <a:pt x="834" y="291"/>
                  <a:pt x="834" y="292"/>
                  <a:pt x="835" y="292"/>
                </a:cubicBezTo>
                <a:cubicBezTo>
                  <a:pt x="834" y="292"/>
                  <a:pt x="834" y="293"/>
                  <a:pt x="834" y="293"/>
                </a:cubicBezTo>
                <a:cubicBezTo>
                  <a:pt x="834" y="293"/>
                  <a:pt x="834" y="292"/>
                  <a:pt x="833" y="293"/>
                </a:cubicBezTo>
                <a:cubicBezTo>
                  <a:pt x="834" y="294"/>
                  <a:pt x="834" y="294"/>
                  <a:pt x="834" y="294"/>
                </a:cubicBezTo>
                <a:cubicBezTo>
                  <a:pt x="833" y="293"/>
                  <a:pt x="833" y="294"/>
                  <a:pt x="832" y="294"/>
                </a:cubicBezTo>
                <a:cubicBezTo>
                  <a:pt x="833" y="294"/>
                  <a:pt x="833" y="294"/>
                  <a:pt x="833" y="294"/>
                </a:cubicBezTo>
                <a:cubicBezTo>
                  <a:pt x="832" y="295"/>
                  <a:pt x="832" y="295"/>
                  <a:pt x="832" y="296"/>
                </a:cubicBezTo>
                <a:cubicBezTo>
                  <a:pt x="832" y="296"/>
                  <a:pt x="832" y="296"/>
                  <a:pt x="832" y="297"/>
                </a:cubicBezTo>
                <a:cubicBezTo>
                  <a:pt x="831" y="296"/>
                  <a:pt x="832" y="297"/>
                  <a:pt x="831" y="298"/>
                </a:cubicBezTo>
                <a:cubicBezTo>
                  <a:pt x="831" y="298"/>
                  <a:pt x="831" y="298"/>
                  <a:pt x="831" y="298"/>
                </a:cubicBezTo>
                <a:cubicBezTo>
                  <a:pt x="831" y="298"/>
                  <a:pt x="831" y="298"/>
                  <a:pt x="832" y="298"/>
                </a:cubicBezTo>
                <a:cubicBezTo>
                  <a:pt x="832" y="298"/>
                  <a:pt x="832" y="299"/>
                  <a:pt x="831" y="299"/>
                </a:cubicBezTo>
                <a:cubicBezTo>
                  <a:pt x="831" y="299"/>
                  <a:pt x="832" y="298"/>
                  <a:pt x="831" y="298"/>
                </a:cubicBezTo>
                <a:cubicBezTo>
                  <a:pt x="831" y="299"/>
                  <a:pt x="830" y="299"/>
                  <a:pt x="830" y="299"/>
                </a:cubicBezTo>
                <a:cubicBezTo>
                  <a:pt x="830" y="300"/>
                  <a:pt x="830" y="300"/>
                  <a:pt x="830" y="300"/>
                </a:cubicBezTo>
                <a:cubicBezTo>
                  <a:pt x="831" y="300"/>
                  <a:pt x="830" y="300"/>
                  <a:pt x="830" y="299"/>
                </a:cubicBezTo>
                <a:cubicBezTo>
                  <a:pt x="830" y="300"/>
                  <a:pt x="831" y="300"/>
                  <a:pt x="831" y="300"/>
                </a:cubicBezTo>
                <a:cubicBezTo>
                  <a:pt x="831" y="300"/>
                  <a:pt x="831" y="300"/>
                  <a:pt x="830" y="301"/>
                </a:cubicBezTo>
                <a:cubicBezTo>
                  <a:pt x="830" y="300"/>
                  <a:pt x="830" y="300"/>
                  <a:pt x="829" y="300"/>
                </a:cubicBezTo>
                <a:cubicBezTo>
                  <a:pt x="829" y="300"/>
                  <a:pt x="830" y="301"/>
                  <a:pt x="829" y="301"/>
                </a:cubicBezTo>
                <a:cubicBezTo>
                  <a:pt x="829" y="301"/>
                  <a:pt x="829" y="300"/>
                  <a:pt x="829" y="300"/>
                </a:cubicBezTo>
                <a:cubicBezTo>
                  <a:pt x="829" y="301"/>
                  <a:pt x="829" y="301"/>
                  <a:pt x="829" y="301"/>
                </a:cubicBezTo>
                <a:cubicBezTo>
                  <a:pt x="828" y="301"/>
                  <a:pt x="828" y="303"/>
                  <a:pt x="827" y="303"/>
                </a:cubicBezTo>
                <a:cubicBezTo>
                  <a:pt x="828" y="303"/>
                  <a:pt x="828" y="303"/>
                  <a:pt x="828" y="303"/>
                </a:cubicBezTo>
                <a:cubicBezTo>
                  <a:pt x="828" y="303"/>
                  <a:pt x="827" y="303"/>
                  <a:pt x="828" y="304"/>
                </a:cubicBezTo>
                <a:cubicBezTo>
                  <a:pt x="827" y="304"/>
                  <a:pt x="827" y="304"/>
                  <a:pt x="827" y="305"/>
                </a:cubicBezTo>
                <a:cubicBezTo>
                  <a:pt x="827" y="305"/>
                  <a:pt x="827" y="305"/>
                  <a:pt x="826" y="305"/>
                </a:cubicBezTo>
                <a:cubicBezTo>
                  <a:pt x="826" y="304"/>
                  <a:pt x="826" y="304"/>
                  <a:pt x="826" y="304"/>
                </a:cubicBezTo>
                <a:cubicBezTo>
                  <a:pt x="825" y="304"/>
                  <a:pt x="825" y="305"/>
                  <a:pt x="825" y="305"/>
                </a:cubicBezTo>
                <a:cubicBezTo>
                  <a:pt x="826" y="305"/>
                  <a:pt x="825" y="305"/>
                  <a:pt x="826" y="305"/>
                </a:cubicBezTo>
                <a:cubicBezTo>
                  <a:pt x="826" y="306"/>
                  <a:pt x="825" y="306"/>
                  <a:pt x="825" y="307"/>
                </a:cubicBezTo>
                <a:cubicBezTo>
                  <a:pt x="826" y="307"/>
                  <a:pt x="826" y="307"/>
                  <a:pt x="826" y="307"/>
                </a:cubicBezTo>
                <a:cubicBezTo>
                  <a:pt x="826" y="308"/>
                  <a:pt x="826" y="308"/>
                  <a:pt x="826" y="308"/>
                </a:cubicBezTo>
                <a:cubicBezTo>
                  <a:pt x="826" y="308"/>
                  <a:pt x="826" y="307"/>
                  <a:pt x="825" y="307"/>
                </a:cubicBezTo>
                <a:cubicBezTo>
                  <a:pt x="824" y="308"/>
                  <a:pt x="825" y="308"/>
                  <a:pt x="825" y="308"/>
                </a:cubicBezTo>
                <a:cubicBezTo>
                  <a:pt x="825" y="309"/>
                  <a:pt x="826" y="308"/>
                  <a:pt x="826" y="308"/>
                </a:cubicBezTo>
                <a:cubicBezTo>
                  <a:pt x="826" y="309"/>
                  <a:pt x="825" y="309"/>
                  <a:pt x="826" y="309"/>
                </a:cubicBezTo>
                <a:cubicBezTo>
                  <a:pt x="825" y="309"/>
                  <a:pt x="825" y="308"/>
                  <a:pt x="824" y="309"/>
                </a:cubicBezTo>
                <a:cubicBezTo>
                  <a:pt x="824" y="309"/>
                  <a:pt x="823" y="310"/>
                  <a:pt x="824" y="311"/>
                </a:cubicBezTo>
                <a:cubicBezTo>
                  <a:pt x="824" y="310"/>
                  <a:pt x="824" y="310"/>
                  <a:pt x="825" y="309"/>
                </a:cubicBezTo>
                <a:cubicBezTo>
                  <a:pt x="825" y="310"/>
                  <a:pt x="824" y="310"/>
                  <a:pt x="825" y="310"/>
                </a:cubicBezTo>
                <a:cubicBezTo>
                  <a:pt x="824" y="310"/>
                  <a:pt x="825" y="312"/>
                  <a:pt x="824" y="312"/>
                </a:cubicBezTo>
                <a:cubicBezTo>
                  <a:pt x="824" y="312"/>
                  <a:pt x="824" y="312"/>
                  <a:pt x="824" y="311"/>
                </a:cubicBezTo>
                <a:cubicBezTo>
                  <a:pt x="824" y="311"/>
                  <a:pt x="824" y="312"/>
                  <a:pt x="823" y="311"/>
                </a:cubicBezTo>
                <a:cubicBezTo>
                  <a:pt x="823" y="311"/>
                  <a:pt x="824" y="312"/>
                  <a:pt x="824" y="311"/>
                </a:cubicBezTo>
                <a:cubicBezTo>
                  <a:pt x="824" y="310"/>
                  <a:pt x="824" y="311"/>
                  <a:pt x="823" y="311"/>
                </a:cubicBezTo>
                <a:cubicBezTo>
                  <a:pt x="824" y="311"/>
                  <a:pt x="823" y="310"/>
                  <a:pt x="823" y="310"/>
                </a:cubicBezTo>
                <a:cubicBezTo>
                  <a:pt x="823" y="310"/>
                  <a:pt x="823" y="310"/>
                  <a:pt x="823" y="310"/>
                </a:cubicBezTo>
                <a:cubicBezTo>
                  <a:pt x="823" y="311"/>
                  <a:pt x="823" y="311"/>
                  <a:pt x="823" y="311"/>
                </a:cubicBezTo>
                <a:cubicBezTo>
                  <a:pt x="823" y="311"/>
                  <a:pt x="823" y="311"/>
                  <a:pt x="822" y="311"/>
                </a:cubicBezTo>
                <a:cubicBezTo>
                  <a:pt x="822" y="311"/>
                  <a:pt x="822" y="311"/>
                  <a:pt x="823" y="311"/>
                </a:cubicBezTo>
                <a:cubicBezTo>
                  <a:pt x="823" y="311"/>
                  <a:pt x="823" y="312"/>
                  <a:pt x="823" y="311"/>
                </a:cubicBezTo>
                <a:cubicBezTo>
                  <a:pt x="824" y="312"/>
                  <a:pt x="823" y="312"/>
                  <a:pt x="823" y="312"/>
                </a:cubicBezTo>
                <a:cubicBezTo>
                  <a:pt x="823" y="312"/>
                  <a:pt x="823" y="312"/>
                  <a:pt x="823" y="312"/>
                </a:cubicBezTo>
                <a:cubicBezTo>
                  <a:pt x="823" y="312"/>
                  <a:pt x="823" y="312"/>
                  <a:pt x="824" y="312"/>
                </a:cubicBezTo>
                <a:cubicBezTo>
                  <a:pt x="824" y="312"/>
                  <a:pt x="824" y="312"/>
                  <a:pt x="824" y="313"/>
                </a:cubicBezTo>
                <a:cubicBezTo>
                  <a:pt x="824" y="312"/>
                  <a:pt x="824" y="312"/>
                  <a:pt x="825" y="312"/>
                </a:cubicBezTo>
                <a:cubicBezTo>
                  <a:pt x="825" y="312"/>
                  <a:pt x="825" y="312"/>
                  <a:pt x="825" y="312"/>
                </a:cubicBezTo>
                <a:cubicBezTo>
                  <a:pt x="825" y="312"/>
                  <a:pt x="825" y="311"/>
                  <a:pt x="825" y="311"/>
                </a:cubicBezTo>
                <a:cubicBezTo>
                  <a:pt x="825" y="311"/>
                  <a:pt x="825" y="311"/>
                  <a:pt x="825" y="310"/>
                </a:cubicBezTo>
                <a:cubicBezTo>
                  <a:pt x="825" y="311"/>
                  <a:pt x="826" y="310"/>
                  <a:pt x="825" y="310"/>
                </a:cubicBezTo>
                <a:cubicBezTo>
                  <a:pt x="825" y="310"/>
                  <a:pt x="826" y="310"/>
                  <a:pt x="826" y="310"/>
                </a:cubicBezTo>
                <a:cubicBezTo>
                  <a:pt x="826" y="310"/>
                  <a:pt x="826" y="310"/>
                  <a:pt x="826" y="309"/>
                </a:cubicBezTo>
                <a:cubicBezTo>
                  <a:pt x="826" y="310"/>
                  <a:pt x="826" y="309"/>
                  <a:pt x="826" y="308"/>
                </a:cubicBezTo>
                <a:cubicBezTo>
                  <a:pt x="826" y="309"/>
                  <a:pt x="827" y="309"/>
                  <a:pt x="827" y="309"/>
                </a:cubicBezTo>
                <a:cubicBezTo>
                  <a:pt x="827" y="308"/>
                  <a:pt x="828" y="308"/>
                  <a:pt x="828" y="307"/>
                </a:cubicBezTo>
                <a:cubicBezTo>
                  <a:pt x="828" y="307"/>
                  <a:pt x="828" y="306"/>
                  <a:pt x="828" y="306"/>
                </a:cubicBezTo>
                <a:cubicBezTo>
                  <a:pt x="828" y="306"/>
                  <a:pt x="828" y="306"/>
                  <a:pt x="829" y="306"/>
                </a:cubicBezTo>
                <a:cubicBezTo>
                  <a:pt x="828" y="305"/>
                  <a:pt x="830" y="305"/>
                  <a:pt x="830" y="305"/>
                </a:cubicBezTo>
                <a:cubicBezTo>
                  <a:pt x="830" y="304"/>
                  <a:pt x="829" y="304"/>
                  <a:pt x="829" y="304"/>
                </a:cubicBezTo>
                <a:cubicBezTo>
                  <a:pt x="830" y="304"/>
                  <a:pt x="830" y="304"/>
                  <a:pt x="830" y="303"/>
                </a:cubicBezTo>
                <a:cubicBezTo>
                  <a:pt x="830" y="304"/>
                  <a:pt x="830" y="304"/>
                  <a:pt x="830" y="304"/>
                </a:cubicBezTo>
                <a:cubicBezTo>
                  <a:pt x="829" y="303"/>
                  <a:pt x="831" y="302"/>
                  <a:pt x="831" y="301"/>
                </a:cubicBezTo>
                <a:cubicBezTo>
                  <a:pt x="831" y="301"/>
                  <a:pt x="831" y="301"/>
                  <a:pt x="831" y="301"/>
                </a:cubicBezTo>
                <a:cubicBezTo>
                  <a:pt x="831" y="301"/>
                  <a:pt x="831" y="300"/>
                  <a:pt x="831" y="300"/>
                </a:cubicBezTo>
                <a:cubicBezTo>
                  <a:pt x="831" y="301"/>
                  <a:pt x="832" y="301"/>
                  <a:pt x="832" y="301"/>
                </a:cubicBezTo>
                <a:cubicBezTo>
                  <a:pt x="833" y="300"/>
                  <a:pt x="833" y="298"/>
                  <a:pt x="835" y="297"/>
                </a:cubicBezTo>
                <a:cubicBezTo>
                  <a:pt x="834" y="297"/>
                  <a:pt x="834" y="297"/>
                  <a:pt x="834" y="298"/>
                </a:cubicBezTo>
                <a:cubicBezTo>
                  <a:pt x="835" y="298"/>
                  <a:pt x="835" y="298"/>
                  <a:pt x="835" y="298"/>
                </a:cubicBezTo>
                <a:cubicBezTo>
                  <a:pt x="835" y="297"/>
                  <a:pt x="836" y="297"/>
                  <a:pt x="836" y="297"/>
                </a:cubicBezTo>
                <a:cubicBezTo>
                  <a:pt x="836" y="297"/>
                  <a:pt x="835" y="297"/>
                  <a:pt x="835" y="296"/>
                </a:cubicBezTo>
                <a:cubicBezTo>
                  <a:pt x="836" y="296"/>
                  <a:pt x="836" y="296"/>
                  <a:pt x="836" y="296"/>
                </a:cubicBezTo>
                <a:cubicBezTo>
                  <a:pt x="836" y="296"/>
                  <a:pt x="836" y="296"/>
                  <a:pt x="836" y="296"/>
                </a:cubicBezTo>
                <a:cubicBezTo>
                  <a:pt x="836" y="296"/>
                  <a:pt x="836" y="295"/>
                  <a:pt x="836" y="295"/>
                </a:cubicBezTo>
                <a:cubicBezTo>
                  <a:pt x="836" y="295"/>
                  <a:pt x="836" y="295"/>
                  <a:pt x="836" y="296"/>
                </a:cubicBezTo>
                <a:cubicBezTo>
                  <a:pt x="837" y="295"/>
                  <a:pt x="837" y="296"/>
                  <a:pt x="837" y="296"/>
                </a:cubicBezTo>
                <a:cubicBezTo>
                  <a:pt x="837" y="295"/>
                  <a:pt x="837" y="295"/>
                  <a:pt x="837" y="295"/>
                </a:cubicBezTo>
                <a:cubicBezTo>
                  <a:pt x="837" y="295"/>
                  <a:pt x="838" y="294"/>
                  <a:pt x="838" y="294"/>
                </a:cubicBezTo>
                <a:cubicBezTo>
                  <a:pt x="838" y="293"/>
                  <a:pt x="838" y="293"/>
                  <a:pt x="838" y="293"/>
                </a:cubicBezTo>
                <a:cubicBezTo>
                  <a:pt x="838" y="292"/>
                  <a:pt x="838" y="293"/>
                  <a:pt x="839" y="293"/>
                </a:cubicBezTo>
                <a:cubicBezTo>
                  <a:pt x="838" y="292"/>
                  <a:pt x="838" y="292"/>
                  <a:pt x="838" y="292"/>
                </a:cubicBezTo>
                <a:cubicBezTo>
                  <a:pt x="838" y="292"/>
                  <a:pt x="838" y="292"/>
                  <a:pt x="838" y="292"/>
                </a:cubicBezTo>
                <a:cubicBezTo>
                  <a:pt x="838" y="292"/>
                  <a:pt x="838" y="291"/>
                  <a:pt x="838" y="291"/>
                </a:cubicBezTo>
                <a:cubicBezTo>
                  <a:pt x="838" y="291"/>
                  <a:pt x="838" y="290"/>
                  <a:pt x="838" y="290"/>
                </a:cubicBezTo>
                <a:cubicBezTo>
                  <a:pt x="839" y="291"/>
                  <a:pt x="838" y="291"/>
                  <a:pt x="838" y="291"/>
                </a:cubicBezTo>
                <a:cubicBezTo>
                  <a:pt x="839" y="291"/>
                  <a:pt x="838" y="291"/>
                  <a:pt x="838" y="291"/>
                </a:cubicBezTo>
                <a:cubicBezTo>
                  <a:pt x="839" y="291"/>
                  <a:pt x="839" y="291"/>
                  <a:pt x="839" y="291"/>
                </a:cubicBezTo>
                <a:cubicBezTo>
                  <a:pt x="839" y="291"/>
                  <a:pt x="839" y="291"/>
                  <a:pt x="839" y="291"/>
                </a:cubicBezTo>
                <a:cubicBezTo>
                  <a:pt x="840" y="291"/>
                  <a:pt x="840" y="290"/>
                  <a:pt x="840" y="290"/>
                </a:cubicBezTo>
                <a:cubicBezTo>
                  <a:pt x="840" y="290"/>
                  <a:pt x="840" y="290"/>
                  <a:pt x="841" y="290"/>
                </a:cubicBezTo>
                <a:cubicBezTo>
                  <a:pt x="840" y="290"/>
                  <a:pt x="840" y="289"/>
                  <a:pt x="841" y="289"/>
                </a:cubicBezTo>
                <a:cubicBezTo>
                  <a:pt x="840" y="289"/>
                  <a:pt x="840" y="289"/>
                  <a:pt x="841" y="289"/>
                </a:cubicBezTo>
                <a:cubicBezTo>
                  <a:pt x="841" y="289"/>
                  <a:pt x="841" y="289"/>
                  <a:pt x="841" y="288"/>
                </a:cubicBezTo>
                <a:cubicBezTo>
                  <a:pt x="841" y="288"/>
                  <a:pt x="842" y="288"/>
                  <a:pt x="842" y="288"/>
                </a:cubicBezTo>
                <a:cubicBezTo>
                  <a:pt x="842" y="288"/>
                  <a:pt x="842" y="288"/>
                  <a:pt x="842" y="287"/>
                </a:cubicBezTo>
                <a:cubicBezTo>
                  <a:pt x="842" y="287"/>
                  <a:pt x="842" y="287"/>
                  <a:pt x="842" y="287"/>
                </a:cubicBezTo>
                <a:cubicBezTo>
                  <a:pt x="842" y="287"/>
                  <a:pt x="842" y="287"/>
                  <a:pt x="842" y="287"/>
                </a:cubicBezTo>
                <a:cubicBezTo>
                  <a:pt x="843" y="287"/>
                  <a:pt x="843" y="286"/>
                  <a:pt x="843" y="285"/>
                </a:cubicBezTo>
                <a:cubicBezTo>
                  <a:pt x="844" y="285"/>
                  <a:pt x="844" y="286"/>
                  <a:pt x="844" y="286"/>
                </a:cubicBezTo>
                <a:cubicBezTo>
                  <a:pt x="844" y="286"/>
                  <a:pt x="845" y="285"/>
                  <a:pt x="844" y="285"/>
                </a:cubicBezTo>
                <a:cubicBezTo>
                  <a:pt x="844" y="285"/>
                  <a:pt x="844" y="286"/>
                  <a:pt x="844" y="285"/>
                </a:cubicBezTo>
                <a:cubicBezTo>
                  <a:pt x="844" y="285"/>
                  <a:pt x="844" y="285"/>
                  <a:pt x="845" y="285"/>
                </a:cubicBezTo>
                <a:cubicBezTo>
                  <a:pt x="845" y="284"/>
                  <a:pt x="844" y="285"/>
                  <a:pt x="844" y="284"/>
                </a:cubicBezTo>
                <a:cubicBezTo>
                  <a:pt x="845" y="284"/>
                  <a:pt x="845" y="283"/>
                  <a:pt x="845" y="282"/>
                </a:cubicBezTo>
                <a:cubicBezTo>
                  <a:pt x="845" y="282"/>
                  <a:pt x="845" y="282"/>
                  <a:pt x="845" y="282"/>
                </a:cubicBezTo>
                <a:cubicBezTo>
                  <a:pt x="846" y="282"/>
                  <a:pt x="846" y="283"/>
                  <a:pt x="846" y="283"/>
                </a:cubicBezTo>
                <a:cubicBezTo>
                  <a:pt x="845" y="281"/>
                  <a:pt x="847" y="281"/>
                  <a:pt x="847" y="280"/>
                </a:cubicBezTo>
                <a:cubicBezTo>
                  <a:pt x="847" y="280"/>
                  <a:pt x="848" y="281"/>
                  <a:pt x="848" y="280"/>
                </a:cubicBezTo>
                <a:cubicBezTo>
                  <a:pt x="848" y="280"/>
                  <a:pt x="848" y="280"/>
                  <a:pt x="848" y="279"/>
                </a:cubicBezTo>
                <a:cubicBezTo>
                  <a:pt x="848" y="279"/>
                  <a:pt x="848" y="280"/>
                  <a:pt x="848" y="280"/>
                </a:cubicBezTo>
                <a:cubicBezTo>
                  <a:pt x="848" y="279"/>
                  <a:pt x="849" y="278"/>
                  <a:pt x="849" y="277"/>
                </a:cubicBezTo>
                <a:cubicBezTo>
                  <a:pt x="849" y="278"/>
                  <a:pt x="849" y="278"/>
                  <a:pt x="849" y="278"/>
                </a:cubicBezTo>
                <a:cubicBezTo>
                  <a:pt x="850" y="277"/>
                  <a:pt x="850" y="277"/>
                  <a:pt x="851" y="276"/>
                </a:cubicBezTo>
                <a:cubicBezTo>
                  <a:pt x="851" y="277"/>
                  <a:pt x="851" y="277"/>
                  <a:pt x="851" y="277"/>
                </a:cubicBezTo>
                <a:cubicBezTo>
                  <a:pt x="851" y="276"/>
                  <a:pt x="852" y="277"/>
                  <a:pt x="852" y="276"/>
                </a:cubicBezTo>
                <a:cubicBezTo>
                  <a:pt x="852" y="276"/>
                  <a:pt x="851" y="276"/>
                  <a:pt x="851" y="276"/>
                </a:cubicBezTo>
                <a:cubicBezTo>
                  <a:pt x="852" y="276"/>
                  <a:pt x="852" y="276"/>
                  <a:pt x="852" y="275"/>
                </a:cubicBezTo>
                <a:cubicBezTo>
                  <a:pt x="852" y="275"/>
                  <a:pt x="851" y="275"/>
                  <a:pt x="851" y="275"/>
                </a:cubicBezTo>
                <a:cubicBezTo>
                  <a:pt x="852" y="275"/>
                  <a:pt x="852" y="275"/>
                  <a:pt x="852" y="275"/>
                </a:cubicBezTo>
                <a:cubicBezTo>
                  <a:pt x="852" y="275"/>
                  <a:pt x="852" y="275"/>
                  <a:pt x="852" y="274"/>
                </a:cubicBezTo>
                <a:cubicBezTo>
                  <a:pt x="853" y="274"/>
                  <a:pt x="853" y="273"/>
                  <a:pt x="854" y="274"/>
                </a:cubicBezTo>
                <a:cubicBezTo>
                  <a:pt x="854" y="274"/>
                  <a:pt x="854" y="273"/>
                  <a:pt x="854" y="273"/>
                </a:cubicBezTo>
                <a:cubicBezTo>
                  <a:pt x="854" y="273"/>
                  <a:pt x="854" y="273"/>
                  <a:pt x="855" y="273"/>
                </a:cubicBezTo>
                <a:cubicBezTo>
                  <a:pt x="855" y="273"/>
                  <a:pt x="855" y="273"/>
                  <a:pt x="855" y="273"/>
                </a:cubicBezTo>
                <a:cubicBezTo>
                  <a:pt x="855" y="272"/>
                  <a:pt x="855" y="272"/>
                  <a:pt x="854" y="272"/>
                </a:cubicBezTo>
                <a:cubicBezTo>
                  <a:pt x="855" y="272"/>
                  <a:pt x="856" y="272"/>
                  <a:pt x="855" y="271"/>
                </a:cubicBezTo>
                <a:cubicBezTo>
                  <a:pt x="857" y="269"/>
                  <a:pt x="859" y="267"/>
                  <a:pt x="860" y="266"/>
                </a:cubicBezTo>
                <a:cubicBezTo>
                  <a:pt x="861" y="266"/>
                  <a:pt x="860" y="266"/>
                  <a:pt x="860" y="266"/>
                </a:cubicBezTo>
                <a:cubicBezTo>
                  <a:pt x="860" y="266"/>
                  <a:pt x="860" y="267"/>
                  <a:pt x="861" y="267"/>
                </a:cubicBezTo>
                <a:cubicBezTo>
                  <a:pt x="860" y="267"/>
                  <a:pt x="861" y="267"/>
                  <a:pt x="861" y="266"/>
                </a:cubicBezTo>
                <a:cubicBezTo>
                  <a:pt x="861" y="266"/>
                  <a:pt x="860" y="266"/>
                  <a:pt x="860" y="266"/>
                </a:cubicBezTo>
                <a:cubicBezTo>
                  <a:pt x="861" y="266"/>
                  <a:pt x="861" y="266"/>
                  <a:pt x="861" y="266"/>
                </a:cubicBezTo>
                <a:cubicBezTo>
                  <a:pt x="861" y="266"/>
                  <a:pt x="861" y="266"/>
                  <a:pt x="861" y="266"/>
                </a:cubicBezTo>
                <a:cubicBezTo>
                  <a:pt x="861" y="266"/>
                  <a:pt x="861" y="265"/>
                  <a:pt x="861" y="265"/>
                </a:cubicBezTo>
                <a:cubicBezTo>
                  <a:pt x="860" y="265"/>
                  <a:pt x="860" y="265"/>
                  <a:pt x="860" y="265"/>
                </a:cubicBezTo>
                <a:cubicBezTo>
                  <a:pt x="860" y="265"/>
                  <a:pt x="860" y="265"/>
                  <a:pt x="860" y="265"/>
                </a:cubicBezTo>
                <a:cubicBezTo>
                  <a:pt x="860" y="265"/>
                  <a:pt x="860" y="265"/>
                  <a:pt x="861" y="265"/>
                </a:cubicBezTo>
                <a:cubicBezTo>
                  <a:pt x="861" y="265"/>
                  <a:pt x="862" y="265"/>
                  <a:pt x="862" y="264"/>
                </a:cubicBezTo>
                <a:cubicBezTo>
                  <a:pt x="862" y="264"/>
                  <a:pt x="862" y="264"/>
                  <a:pt x="862" y="264"/>
                </a:cubicBezTo>
                <a:cubicBezTo>
                  <a:pt x="863" y="264"/>
                  <a:pt x="863" y="263"/>
                  <a:pt x="863" y="263"/>
                </a:cubicBezTo>
                <a:cubicBezTo>
                  <a:pt x="863" y="264"/>
                  <a:pt x="862" y="264"/>
                  <a:pt x="863" y="264"/>
                </a:cubicBezTo>
                <a:cubicBezTo>
                  <a:pt x="864" y="264"/>
                  <a:pt x="863" y="263"/>
                  <a:pt x="864" y="263"/>
                </a:cubicBezTo>
                <a:cubicBezTo>
                  <a:pt x="864" y="264"/>
                  <a:pt x="864" y="263"/>
                  <a:pt x="865" y="263"/>
                </a:cubicBezTo>
                <a:cubicBezTo>
                  <a:pt x="865" y="263"/>
                  <a:pt x="865" y="264"/>
                  <a:pt x="865" y="264"/>
                </a:cubicBezTo>
                <a:cubicBezTo>
                  <a:pt x="865" y="263"/>
                  <a:pt x="866" y="263"/>
                  <a:pt x="866" y="263"/>
                </a:cubicBezTo>
                <a:cubicBezTo>
                  <a:pt x="865" y="262"/>
                  <a:pt x="866" y="263"/>
                  <a:pt x="865" y="262"/>
                </a:cubicBezTo>
                <a:cubicBezTo>
                  <a:pt x="866" y="262"/>
                  <a:pt x="866" y="262"/>
                  <a:pt x="866" y="262"/>
                </a:cubicBezTo>
                <a:cubicBezTo>
                  <a:pt x="866" y="262"/>
                  <a:pt x="867" y="262"/>
                  <a:pt x="867" y="263"/>
                </a:cubicBezTo>
                <a:cubicBezTo>
                  <a:pt x="867" y="263"/>
                  <a:pt x="866" y="263"/>
                  <a:pt x="867" y="264"/>
                </a:cubicBezTo>
                <a:cubicBezTo>
                  <a:pt x="866" y="264"/>
                  <a:pt x="866" y="265"/>
                  <a:pt x="865" y="265"/>
                </a:cubicBezTo>
                <a:cubicBezTo>
                  <a:pt x="865" y="266"/>
                  <a:pt x="864" y="266"/>
                  <a:pt x="864" y="266"/>
                </a:cubicBezTo>
                <a:cubicBezTo>
                  <a:pt x="864" y="266"/>
                  <a:pt x="865" y="266"/>
                  <a:pt x="865" y="267"/>
                </a:cubicBezTo>
                <a:cubicBezTo>
                  <a:pt x="864" y="267"/>
                  <a:pt x="864" y="267"/>
                  <a:pt x="864" y="267"/>
                </a:cubicBezTo>
                <a:cubicBezTo>
                  <a:pt x="864" y="267"/>
                  <a:pt x="863" y="266"/>
                  <a:pt x="863" y="266"/>
                </a:cubicBezTo>
                <a:cubicBezTo>
                  <a:pt x="863" y="266"/>
                  <a:pt x="863" y="267"/>
                  <a:pt x="863" y="267"/>
                </a:cubicBezTo>
                <a:cubicBezTo>
                  <a:pt x="863" y="267"/>
                  <a:pt x="864" y="267"/>
                  <a:pt x="864" y="268"/>
                </a:cubicBezTo>
                <a:cubicBezTo>
                  <a:pt x="863" y="268"/>
                  <a:pt x="863" y="268"/>
                  <a:pt x="863" y="268"/>
                </a:cubicBezTo>
                <a:cubicBezTo>
                  <a:pt x="863" y="268"/>
                  <a:pt x="863" y="268"/>
                  <a:pt x="863" y="268"/>
                </a:cubicBezTo>
                <a:cubicBezTo>
                  <a:pt x="863" y="268"/>
                  <a:pt x="863" y="269"/>
                  <a:pt x="863" y="269"/>
                </a:cubicBezTo>
                <a:cubicBezTo>
                  <a:pt x="862" y="268"/>
                  <a:pt x="863" y="268"/>
                  <a:pt x="863" y="268"/>
                </a:cubicBezTo>
                <a:cubicBezTo>
                  <a:pt x="863" y="268"/>
                  <a:pt x="863" y="267"/>
                  <a:pt x="862" y="267"/>
                </a:cubicBezTo>
                <a:cubicBezTo>
                  <a:pt x="863" y="268"/>
                  <a:pt x="862" y="268"/>
                  <a:pt x="862" y="269"/>
                </a:cubicBezTo>
                <a:cubicBezTo>
                  <a:pt x="862" y="269"/>
                  <a:pt x="862" y="268"/>
                  <a:pt x="862" y="269"/>
                </a:cubicBezTo>
                <a:cubicBezTo>
                  <a:pt x="861" y="269"/>
                  <a:pt x="861" y="269"/>
                  <a:pt x="861" y="269"/>
                </a:cubicBezTo>
                <a:cubicBezTo>
                  <a:pt x="861" y="269"/>
                  <a:pt x="861" y="269"/>
                  <a:pt x="861" y="270"/>
                </a:cubicBezTo>
                <a:cubicBezTo>
                  <a:pt x="861" y="270"/>
                  <a:pt x="860" y="269"/>
                  <a:pt x="860" y="270"/>
                </a:cubicBezTo>
                <a:cubicBezTo>
                  <a:pt x="861" y="270"/>
                  <a:pt x="861" y="270"/>
                  <a:pt x="861" y="270"/>
                </a:cubicBezTo>
                <a:cubicBezTo>
                  <a:pt x="860" y="270"/>
                  <a:pt x="861" y="271"/>
                  <a:pt x="860" y="270"/>
                </a:cubicBezTo>
                <a:cubicBezTo>
                  <a:pt x="860" y="271"/>
                  <a:pt x="860" y="271"/>
                  <a:pt x="860" y="271"/>
                </a:cubicBezTo>
                <a:cubicBezTo>
                  <a:pt x="861" y="271"/>
                  <a:pt x="861" y="270"/>
                  <a:pt x="861" y="271"/>
                </a:cubicBezTo>
                <a:cubicBezTo>
                  <a:pt x="861" y="271"/>
                  <a:pt x="860" y="271"/>
                  <a:pt x="860" y="272"/>
                </a:cubicBezTo>
                <a:cubicBezTo>
                  <a:pt x="861" y="272"/>
                  <a:pt x="860" y="273"/>
                  <a:pt x="860" y="273"/>
                </a:cubicBezTo>
                <a:cubicBezTo>
                  <a:pt x="860" y="273"/>
                  <a:pt x="861" y="272"/>
                  <a:pt x="862" y="273"/>
                </a:cubicBezTo>
                <a:cubicBezTo>
                  <a:pt x="862" y="273"/>
                  <a:pt x="862" y="273"/>
                  <a:pt x="862" y="273"/>
                </a:cubicBezTo>
                <a:cubicBezTo>
                  <a:pt x="862" y="273"/>
                  <a:pt x="861" y="273"/>
                  <a:pt x="861" y="272"/>
                </a:cubicBezTo>
                <a:cubicBezTo>
                  <a:pt x="862" y="272"/>
                  <a:pt x="861" y="272"/>
                  <a:pt x="861" y="271"/>
                </a:cubicBezTo>
                <a:cubicBezTo>
                  <a:pt x="861" y="272"/>
                  <a:pt x="861" y="272"/>
                  <a:pt x="862" y="272"/>
                </a:cubicBezTo>
                <a:cubicBezTo>
                  <a:pt x="862" y="272"/>
                  <a:pt x="862" y="272"/>
                  <a:pt x="862" y="272"/>
                </a:cubicBezTo>
                <a:cubicBezTo>
                  <a:pt x="862" y="271"/>
                  <a:pt x="862" y="271"/>
                  <a:pt x="862" y="271"/>
                </a:cubicBezTo>
                <a:cubicBezTo>
                  <a:pt x="862" y="271"/>
                  <a:pt x="862" y="271"/>
                  <a:pt x="863" y="271"/>
                </a:cubicBezTo>
                <a:cubicBezTo>
                  <a:pt x="863" y="271"/>
                  <a:pt x="863" y="271"/>
                  <a:pt x="863" y="272"/>
                </a:cubicBezTo>
                <a:cubicBezTo>
                  <a:pt x="863" y="272"/>
                  <a:pt x="863" y="272"/>
                  <a:pt x="863" y="271"/>
                </a:cubicBezTo>
                <a:cubicBezTo>
                  <a:pt x="863" y="271"/>
                  <a:pt x="863" y="271"/>
                  <a:pt x="863" y="271"/>
                </a:cubicBezTo>
                <a:cubicBezTo>
                  <a:pt x="863" y="271"/>
                  <a:pt x="863" y="271"/>
                  <a:pt x="863" y="271"/>
                </a:cubicBezTo>
                <a:cubicBezTo>
                  <a:pt x="863" y="270"/>
                  <a:pt x="863" y="270"/>
                  <a:pt x="864" y="270"/>
                </a:cubicBezTo>
                <a:cubicBezTo>
                  <a:pt x="862" y="268"/>
                  <a:pt x="866" y="268"/>
                  <a:pt x="865" y="267"/>
                </a:cubicBezTo>
                <a:cubicBezTo>
                  <a:pt x="865" y="267"/>
                  <a:pt x="865" y="268"/>
                  <a:pt x="866" y="268"/>
                </a:cubicBezTo>
                <a:cubicBezTo>
                  <a:pt x="865" y="268"/>
                  <a:pt x="864" y="268"/>
                  <a:pt x="865" y="269"/>
                </a:cubicBezTo>
                <a:cubicBezTo>
                  <a:pt x="864" y="269"/>
                  <a:pt x="864" y="269"/>
                  <a:pt x="864" y="269"/>
                </a:cubicBezTo>
                <a:cubicBezTo>
                  <a:pt x="864" y="270"/>
                  <a:pt x="864" y="269"/>
                  <a:pt x="865" y="269"/>
                </a:cubicBezTo>
                <a:cubicBezTo>
                  <a:pt x="864" y="269"/>
                  <a:pt x="866" y="269"/>
                  <a:pt x="865" y="268"/>
                </a:cubicBezTo>
                <a:cubicBezTo>
                  <a:pt x="866" y="268"/>
                  <a:pt x="866" y="268"/>
                  <a:pt x="866" y="268"/>
                </a:cubicBezTo>
                <a:cubicBezTo>
                  <a:pt x="866" y="268"/>
                  <a:pt x="866" y="268"/>
                  <a:pt x="866" y="268"/>
                </a:cubicBezTo>
                <a:cubicBezTo>
                  <a:pt x="866" y="268"/>
                  <a:pt x="867" y="268"/>
                  <a:pt x="867" y="268"/>
                </a:cubicBezTo>
                <a:cubicBezTo>
                  <a:pt x="867" y="268"/>
                  <a:pt x="867" y="268"/>
                  <a:pt x="867" y="267"/>
                </a:cubicBezTo>
                <a:cubicBezTo>
                  <a:pt x="867" y="268"/>
                  <a:pt x="867" y="268"/>
                  <a:pt x="866" y="267"/>
                </a:cubicBezTo>
                <a:cubicBezTo>
                  <a:pt x="867" y="267"/>
                  <a:pt x="867" y="267"/>
                  <a:pt x="867" y="267"/>
                </a:cubicBezTo>
                <a:cubicBezTo>
                  <a:pt x="868" y="267"/>
                  <a:pt x="868" y="267"/>
                  <a:pt x="868" y="267"/>
                </a:cubicBezTo>
                <a:cubicBezTo>
                  <a:pt x="868" y="267"/>
                  <a:pt x="868" y="267"/>
                  <a:pt x="868" y="266"/>
                </a:cubicBezTo>
                <a:cubicBezTo>
                  <a:pt x="869" y="267"/>
                  <a:pt x="868" y="266"/>
                  <a:pt x="869" y="266"/>
                </a:cubicBezTo>
                <a:cubicBezTo>
                  <a:pt x="869" y="266"/>
                  <a:pt x="870" y="266"/>
                  <a:pt x="870" y="265"/>
                </a:cubicBezTo>
                <a:cubicBezTo>
                  <a:pt x="870" y="266"/>
                  <a:pt x="870" y="266"/>
                  <a:pt x="871" y="266"/>
                </a:cubicBezTo>
                <a:cubicBezTo>
                  <a:pt x="871" y="266"/>
                  <a:pt x="872" y="266"/>
                  <a:pt x="871" y="265"/>
                </a:cubicBezTo>
                <a:cubicBezTo>
                  <a:pt x="871" y="265"/>
                  <a:pt x="871" y="266"/>
                  <a:pt x="872" y="266"/>
                </a:cubicBezTo>
                <a:cubicBezTo>
                  <a:pt x="872" y="265"/>
                  <a:pt x="872" y="266"/>
                  <a:pt x="872" y="265"/>
                </a:cubicBezTo>
                <a:cubicBezTo>
                  <a:pt x="872" y="265"/>
                  <a:pt x="872" y="265"/>
                  <a:pt x="872" y="265"/>
                </a:cubicBezTo>
                <a:cubicBezTo>
                  <a:pt x="871" y="265"/>
                  <a:pt x="872" y="265"/>
                  <a:pt x="871" y="265"/>
                </a:cubicBezTo>
                <a:cubicBezTo>
                  <a:pt x="872" y="265"/>
                  <a:pt x="872" y="265"/>
                  <a:pt x="872" y="264"/>
                </a:cubicBezTo>
                <a:cubicBezTo>
                  <a:pt x="872" y="265"/>
                  <a:pt x="872" y="264"/>
                  <a:pt x="872" y="265"/>
                </a:cubicBezTo>
                <a:cubicBezTo>
                  <a:pt x="872" y="265"/>
                  <a:pt x="872" y="264"/>
                  <a:pt x="872" y="265"/>
                </a:cubicBezTo>
                <a:cubicBezTo>
                  <a:pt x="873" y="265"/>
                  <a:pt x="873" y="265"/>
                  <a:pt x="873" y="265"/>
                </a:cubicBezTo>
                <a:cubicBezTo>
                  <a:pt x="873" y="265"/>
                  <a:pt x="874" y="265"/>
                  <a:pt x="874" y="265"/>
                </a:cubicBezTo>
                <a:cubicBezTo>
                  <a:pt x="874" y="265"/>
                  <a:pt x="874" y="265"/>
                  <a:pt x="874" y="265"/>
                </a:cubicBezTo>
                <a:cubicBezTo>
                  <a:pt x="873" y="265"/>
                  <a:pt x="873" y="266"/>
                  <a:pt x="873" y="266"/>
                </a:cubicBezTo>
                <a:close/>
                <a:moveTo>
                  <a:pt x="864" y="265"/>
                </a:moveTo>
                <a:cubicBezTo>
                  <a:pt x="865" y="266"/>
                  <a:pt x="865" y="265"/>
                  <a:pt x="865" y="265"/>
                </a:cubicBezTo>
                <a:cubicBezTo>
                  <a:pt x="864" y="265"/>
                  <a:pt x="864" y="266"/>
                  <a:pt x="864" y="265"/>
                </a:cubicBezTo>
                <a:close/>
                <a:moveTo>
                  <a:pt x="863" y="266"/>
                </a:moveTo>
                <a:cubicBezTo>
                  <a:pt x="863" y="266"/>
                  <a:pt x="863" y="266"/>
                  <a:pt x="863" y="266"/>
                </a:cubicBezTo>
                <a:cubicBezTo>
                  <a:pt x="864" y="266"/>
                  <a:pt x="863" y="266"/>
                  <a:pt x="864" y="266"/>
                </a:cubicBezTo>
                <a:cubicBezTo>
                  <a:pt x="864" y="266"/>
                  <a:pt x="864" y="266"/>
                  <a:pt x="864" y="266"/>
                </a:cubicBezTo>
                <a:cubicBezTo>
                  <a:pt x="863" y="266"/>
                  <a:pt x="863" y="266"/>
                  <a:pt x="863" y="266"/>
                </a:cubicBezTo>
                <a:cubicBezTo>
                  <a:pt x="864" y="266"/>
                  <a:pt x="863" y="266"/>
                  <a:pt x="863" y="266"/>
                </a:cubicBezTo>
                <a:close/>
                <a:moveTo>
                  <a:pt x="862" y="266"/>
                </a:moveTo>
                <a:cubicBezTo>
                  <a:pt x="862" y="266"/>
                  <a:pt x="862" y="266"/>
                  <a:pt x="862" y="267"/>
                </a:cubicBezTo>
                <a:cubicBezTo>
                  <a:pt x="862" y="267"/>
                  <a:pt x="863" y="266"/>
                  <a:pt x="862" y="266"/>
                </a:cubicBezTo>
                <a:close/>
                <a:moveTo>
                  <a:pt x="862" y="266"/>
                </a:moveTo>
                <a:cubicBezTo>
                  <a:pt x="862" y="265"/>
                  <a:pt x="862" y="265"/>
                  <a:pt x="862" y="264"/>
                </a:cubicBezTo>
                <a:cubicBezTo>
                  <a:pt x="862" y="264"/>
                  <a:pt x="861" y="265"/>
                  <a:pt x="862" y="266"/>
                </a:cubicBezTo>
                <a:close/>
                <a:moveTo>
                  <a:pt x="861" y="268"/>
                </a:moveTo>
                <a:cubicBezTo>
                  <a:pt x="861" y="269"/>
                  <a:pt x="861" y="269"/>
                  <a:pt x="861" y="269"/>
                </a:cubicBezTo>
                <a:cubicBezTo>
                  <a:pt x="861" y="269"/>
                  <a:pt x="861" y="269"/>
                  <a:pt x="861" y="268"/>
                </a:cubicBezTo>
                <a:close/>
                <a:moveTo>
                  <a:pt x="849" y="269"/>
                </a:moveTo>
                <a:cubicBezTo>
                  <a:pt x="849" y="269"/>
                  <a:pt x="849" y="269"/>
                  <a:pt x="849" y="269"/>
                </a:cubicBezTo>
                <a:cubicBezTo>
                  <a:pt x="848" y="269"/>
                  <a:pt x="849" y="269"/>
                  <a:pt x="849" y="269"/>
                </a:cubicBezTo>
                <a:close/>
                <a:moveTo>
                  <a:pt x="848" y="270"/>
                </a:moveTo>
                <a:cubicBezTo>
                  <a:pt x="848" y="270"/>
                  <a:pt x="848" y="270"/>
                  <a:pt x="848" y="270"/>
                </a:cubicBezTo>
                <a:cubicBezTo>
                  <a:pt x="848" y="269"/>
                  <a:pt x="848" y="270"/>
                  <a:pt x="848" y="269"/>
                </a:cubicBezTo>
                <a:cubicBezTo>
                  <a:pt x="847" y="269"/>
                  <a:pt x="847" y="270"/>
                  <a:pt x="848" y="270"/>
                </a:cubicBezTo>
                <a:close/>
                <a:moveTo>
                  <a:pt x="853" y="248"/>
                </a:moveTo>
                <a:cubicBezTo>
                  <a:pt x="853" y="248"/>
                  <a:pt x="854" y="248"/>
                  <a:pt x="853" y="248"/>
                </a:cubicBezTo>
                <a:cubicBezTo>
                  <a:pt x="854" y="249"/>
                  <a:pt x="854" y="248"/>
                  <a:pt x="854" y="248"/>
                </a:cubicBezTo>
                <a:cubicBezTo>
                  <a:pt x="853" y="247"/>
                  <a:pt x="854" y="248"/>
                  <a:pt x="853" y="248"/>
                </a:cubicBezTo>
                <a:close/>
                <a:moveTo>
                  <a:pt x="844" y="256"/>
                </a:moveTo>
                <a:cubicBezTo>
                  <a:pt x="844" y="256"/>
                  <a:pt x="845" y="256"/>
                  <a:pt x="845" y="256"/>
                </a:cubicBezTo>
                <a:cubicBezTo>
                  <a:pt x="844" y="256"/>
                  <a:pt x="844" y="256"/>
                  <a:pt x="844" y="256"/>
                </a:cubicBezTo>
                <a:close/>
                <a:moveTo>
                  <a:pt x="845" y="275"/>
                </a:moveTo>
                <a:cubicBezTo>
                  <a:pt x="844" y="275"/>
                  <a:pt x="844" y="276"/>
                  <a:pt x="844" y="276"/>
                </a:cubicBezTo>
                <a:cubicBezTo>
                  <a:pt x="844" y="276"/>
                  <a:pt x="844" y="275"/>
                  <a:pt x="845" y="275"/>
                </a:cubicBezTo>
                <a:close/>
                <a:moveTo>
                  <a:pt x="847" y="269"/>
                </a:moveTo>
                <a:cubicBezTo>
                  <a:pt x="847" y="269"/>
                  <a:pt x="847" y="269"/>
                  <a:pt x="847" y="269"/>
                </a:cubicBezTo>
                <a:cubicBezTo>
                  <a:pt x="846" y="269"/>
                  <a:pt x="847" y="268"/>
                  <a:pt x="846" y="268"/>
                </a:cubicBezTo>
                <a:cubicBezTo>
                  <a:pt x="845" y="269"/>
                  <a:pt x="847" y="269"/>
                  <a:pt x="847" y="269"/>
                </a:cubicBezTo>
                <a:close/>
                <a:moveTo>
                  <a:pt x="844" y="270"/>
                </a:moveTo>
                <a:cubicBezTo>
                  <a:pt x="844" y="271"/>
                  <a:pt x="845" y="272"/>
                  <a:pt x="844" y="272"/>
                </a:cubicBezTo>
                <a:cubicBezTo>
                  <a:pt x="845" y="272"/>
                  <a:pt x="845" y="272"/>
                  <a:pt x="845" y="271"/>
                </a:cubicBezTo>
                <a:cubicBezTo>
                  <a:pt x="846" y="272"/>
                  <a:pt x="845" y="271"/>
                  <a:pt x="846" y="271"/>
                </a:cubicBezTo>
                <a:cubicBezTo>
                  <a:pt x="845" y="270"/>
                  <a:pt x="846" y="270"/>
                  <a:pt x="846" y="269"/>
                </a:cubicBezTo>
                <a:cubicBezTo>
                  <a:pt x="846" y="269"/>
                  <a:pt x="846" y="269"/>
                  <a:pt x="846" y="269"/>
                </a:cubicBezTo>
                <a:cubicBezTo>
                  <a:pt x="846" y="269"/>
                  <a:pt x="846" y="269"/>
                  <a:pt x="846" y="270"/>
                </a:cubicBezTo>
                <a:cubicBezTo>
                  <a:pt x="845" y="270"/>
                  <a:pt x="845" y="269"/>
                  <a:pt x="846" y="269"/>
                </a:cubicBezTo>
                <a:cubicBezTo>
                  <a:pt x="845" y="269"/>
                  <a:pt x="845" y="270"/>
                  <a:pt x="845" y="270"/>
                </a:cubicBezTo>
                <a:cubicBezTo>
                  <a:pt x="844" y="270"/>
                  <a:pt x="845" y="271"/>
                  <a:pt x="844" y="270"/>
                </a:cubicBezTo>
                <a:close/>
                <a:moveTo>
                  <a:pt x="842" y="266"/>
                </a:moveTo>
                <a:cubicBezTo>
                  <a:pt x="842" y="267"/>
                  <a:pt x="843" y="266"/>
                  <a:pt x="842" y="266"/>
                </a:cubicBezTo>
                <a:cubicBezTo>
                  <a:pt x="842" y="266"/>
                  <a:pt x="842" y="266"/>
                  <a:pt x="842" y="266"/>
                </a:cubicBezTo>
                <a:close/>
                <a:moveTo>
                  <a:pt x="842" y="274"/>
                </a:moveTo>
                <a:cubicBezTo>
                  <a:pt x="842" y="274"/>
                  <a:pt x="842" y="274"/>
                  <a:pt x="842" y="275"/>
                </a:cubicBezTo>
                <a:cubicBezTo>
                  <a:pt x="843" y="275"/>
                  <a:pt x="842" y="274"/>
                  <a:pt x="842" y="273"/>
                </a:cubicBezTo>
                <a:cubicBezTo>
                  <a:pt x="842" y="273"/>
                  <a:pt x="843" y="273"/>
                  <a:pt x="843" y="273"/>
                </a:cubicBezTo>
                <a:cubicBezTo>
                  <a:pt x="843" y="273"/>
                  <a:pt x="843" y="273"/>
                  <a:pt x="843" y="273"/>
                </a:cubicBezTo>
                <a:cubicBezTo>
                  <a:pt x="843" y="274"/>
                  <a:pt x="842" y="274"/>
                  <a:pt x="843" y="275"/>
                </a:cubicBezTo>
                <a:cubicBezTo>
                  <a:pt x="843" y="275"/>
                  <a:pt x="843" y="274"/>
                  <a:pt x="843" y="274"/>
                </a:cubicBezTo>
                <a:cubicBezTo>
                  <a:pt x="844" y="274"/>
                  <a:pt x="844" y="274"/>
                  <a:pt x="844" y="274"/>
                </a:cubicBezTo>
                <a:cubicBezTo>
                  <a:pt x="844" y="273"/>
                  <a:pt x="845" y="273"/>
                  <a:pt x="844" y="272"/>
                </a:cubicBezTo>
                <a:cubicBezTo>
                  <a:pt x="844" y="272"/>
                  <a:pt x="844" y="272"/>
                  <a:pt x="844" y="272"/>
                </a:cubicBezTo>
                <a:cubicBezTo>
                  <a:pt x="845" y="272"/>
                  <a:pt x="844" y="271"/>
                  <a:pt x="843" y="271"/>
                </a:cubicBezTo>
                <a:cubicBezTo>
                  <a:pt x="844" y="272"/>
                  <a:pt x="843" y="272"/>
                  <a:pt x="843" y="272"/>
                </a:cubicBezTo>
                <a:cubicBezTo>
                  <a:pt x="843" y="272"/>
                  <a:pt x="842" y="272"/>
                  <a:pt x="842" y="273"/>
                </a:cubicBezTo>
                <a:cubicBezTo>
                  <a:pt x="842" y="273"/>
                  <a:pt x="842" y="273"/>
                  <a:pt x="842" y="273"/>
                </a:cubicBezTo>
                <a:cubicBezTo>
                  <a:pt x="842" y="274"/>
                  <a:pt x="842" y="274"/>
                  <a:pt x="842" y="274"/>
                </a:cubicBezTo>
                <a:close/>
                <a:moveTo>
                  <a:pt x="841" y="276"/>
                </a:moveTo>
                <a:cubicBezTo>
                  <a:pt x="841" y="276"/>
                  <a:pt x="841" y="276"/>
                  <a:pt x="841" y="276"/>
                </a:cubicBezTo>
                <a:cubicBezTo>
                  <a:pt x="842" y="276"/>
                  <a:pt x="842" y="276"/>
                  <a:pt x="842" y="275"/>
                </a:cubicBezTo>
                <a:cubicBezTo>
                  <a:pt x="842" y="275"/>
                  <a:pt x="842" y="275"/>
                  <a:pt x="842" y="275"/>
                </a:cubicBezTo>
                <a:cubicBezTo>
                  <a:pt x="842" y="275"/>
                  <a:pt x="842" y="276"/>
                  <a:pt x="841" y="276"/>
                </a:cubicBezTo>
                <a:close/>
                <a:moveTo>
                  <a:pt x="840" y="277"/>
                </a:moveTo>
                <a:cubicBezTo>
                  <a:pt x="840" y="277"/>
                  <a:pt x="841" y="277"/>
                  <a:pt x="841" y="276"/>
                </a:cubicBezTo>
                <a:cubicBezTo>
                  <a:pt x="840" y="276"/>
                  <a:pt x="840" y="277"/>
                  <a:pt x="840" y="277"/>
                </a:cubicBezTo>
                <a:close/>
                <a:moveTo>
                  <a:pt x="839" y="277"/>
                </a:moveTo>
                <a:cubicBezTo>
                  <a:pt x="839" y="277"/>
                  <a:pt x="839" y="277"/>
                  <a:pt x="840" y="278"/>
                </a:cubicBezTo>
                <a:cubicBezTo>
                  <a:pt x="840" y="278"/>
                  <a:pt x="840" y="278"/>
                  <a:pt x="839" y="278"/>
                </a:cubicBezTo>
                <a:cubicBezTo>
                  <a:pt x="839" y="279"/>
                  <a:pt x="840" y="279"/>
                  <a:pt x="840" y="279"/>
                </a:cubicBezTo>
                <a:cubicBezTo>
                  <a:pt x="840" y="278"/>
                  <a:pt x="840" y="278"/>
                  <a:pt x="840" y="278"/>
                </a:cubicBezTo>
                <a:cubicBezTo>
                  <a:pt x="841" y="277"/>
                  <a:pt x="841" y="277"/>
                  <a:pt x="841" y="277"/>
                </a:cubicBezTo>
                <a:cubicBezTo>
                  <a:pt x="841" y="277"/>
                  <a:pt x="841" y="277"/>
                  <a:pt x="841" y="277"/>
                </a:cubicBezTo>
                <a:cubicBezTo>
                  <a:pt x="840" y="277"/>
                  <a:pt x="840" y="278"/>
                  <a:pt x="840" y="277"/>
                </a:cubicBezTo>
                <a:cubicBezTo>
                  <a:pt x="840" y="277"/>
                  <a:pt x="840" y="277"/>
                  <a:pt x="840" y="276"/>
                </a:cubicBezTo>
                <a:cubicBezTo>
                  <a:pt x="839" y="277"/>
                  <a:pt x="839" y="277"/>
                  <a:pt x="839" y="277"/>
                </a:cubicBezTo>
                <a:close/>
                <a:moveTo>
                  <a:pt x="839" y="279"/>
                </a:moveTo>
                <a:cubicBezTo>
                  <a:pt x="839" y="280"/>
                  <a:pt x="839" y="279"/>
                  <a:pt x="839" y="279"/>
                </a:cubicBezTo>
                <a:cubicBezTo>
                  <a:pt x="838" y="279"/>
                  <a:pt x="839" y="279"/>
                  <a:pt x="839" y="279"/>
                </a:cubicBezTo>
                <a:close/>
                <a:moveTo>
                  <a:pt x="838" y="285"/>
                </a:moveTo>
                <a:cubicBezTo>
                  <a:pt x="839" y="285"/>
                  <a:pt x="839" y="284"/>
                  <a:pt x="839" y="284"/>
                </a:cubicBezTo>
                <a:cubicBezTo>
                  <a:pt x="838" y="284"/>
                  <a:pt x="839" y="285"/>
                  <a:pt x="838" y="285"/>
                </a:cubicBezTo>
                <a:close/>
                <a:moveTo>
                  <a:pt x="837" y="282"/>
                </a:moveTo>
                <a:cubicBezTo>
                  <a:pt x="837" y="281"/>
                  <a:pt x="838" y="281"/>
                  <a:pt x="838" y="281"/>
                </a:cubicBezTo>
                <a:cubicBezTo>
                  <a:pt x="837" y="280"/>
                  <a:pt x="837" y="281"/>
                  <a:pt x="837" y="282"/>
                </a:cubicBezTo>
                <a:close/>
                <a:moveTo>
                  <a:pt x="837" y="282"/>
                </a:moveTo>
                <a:cubicBezTo>
                  <a:pt x="837" y="282"/>
                  <a:pt x="837" y="282"/>
                  <a:pt x="837" y="282"/>
                </a:cubicBezTo>
                <a:cubicBezTo>
                  <a:pt x="836" y="282"/>
                  <a:pt x="836" y="282"/>
                  <a:pt x="837" y="282"/>
                </a:cubicBezTo>
                <a:close/>
                <a:moveTo>
                  <a:pt x="836" y="283"/>
                </a:moveTo>
                <a:cubicBezTo>
                  <a:pt x="836" y="283"/>
                  <a:pt x="836" y="284"/>
                  <a:pt x="836" y="284"/>
                </a:cubicBezTo>
                <a:cubicBezTo>
                  <a:pt x="836" y="284"/>
                  <a:pt x="836" y="284"/>
                  <a:pt x="836" y="284"/>
                </a:cubicBezTo>
                <a:cubicBezTo>
                  <a:pt x="836" y="284"/>
                  <a:pt x="836" y="284"/>
                  <a:pt x="836" y="284"/>
                </a:cubicBezTo>
                <a:cubicBezTo>
                  <a:pt x="837" y="284"/>
                  <a:pt x="836" y="283"/>
                  <a:pt x="836" y="283"/>
                </a:cubicBezTo>
                <a:close/>
                <a:moveTo>
                  <a:pt x="835" y="283"/>
                </a:moveTo>
                <a:cubicBezTo>
                  <a:pt x="836" y="283"/>
                  <a:pt x="836" y="283"/>
                  <a:pt x="836" y="283"/>
                </a:cubicBezTo>
                <a:cubicBezTo>
                  <a:pt x="836" y="283"/>
                  <a:pt x="836" y="283"/>
                  <a:pt x="836" y="283"/>
                </a:cubicBezTo>
                <a:cubicBezTo>
                  <a:pt x="836" y="282"/>
                  <a:pt x="836" y="283"/>
                  <a:pt x="835" y="283"/>
                </a:cubicBezTo>
                <a:close/>
                <a:moveTo>
                  <a:pt x="835" y="289"/>
                </a:moveTo>
                <a:cubicBezTo>
                  <a:pt x="836" y="289"/>
                  <a:pt x="836" y="288"/>
                  <a:pt x="836" y="288"/>
                </a:cubicBezTo>
                <a:cubicBezTo>
                  <a:pt x="836" y="288"/>
                  <a:pt x="836" y="288"/>
                  <a:pt x="835" y="289"/>
                </a:cubicBezTo>
                <a:close/>
                <a:moveTo>
                  <a:pt x="835" y="264"/>
                </a:moveTo>
                <a:cubicBezTo>
                  <a:pt x="835" y="264"/>
                  <a:pt x="836" y="263"/>
                  <a:pt x="835" y="263"/>
                </a:cubicBezTo>
                <a:cubicBezTo>
                  <a:pt x="835" y="263"/>
                  <a:pt x="834" y="263"/>
                  <a:pt x="835" y="264"/>
                </a:cubicBezTo>
                <a:close/>
                <a:moveTo>
                  <a:pt x="833" y="266"/>
                </a:moveTo>
                <a:cubicBezTo>
                  <a:pt x="834" y="266"/>
                  <a:pt x="834" y="265"/>
                  <a:pt x="834" y="265"/>
                </a:cubicBezTo>
                <a:cubicBezTo>
                  <a:pt x="834" y="265"/>
                  <a:pt x="833" y="265"/>
                  <a:pt x="833" y="266"/>
                </a:cubicBezTo>
                <a:close/>
                <a:moveTo>
                  <a:pt x="833" y="292"/>
                </a:moveTo>
                <a:cubicBezTo>
                  <a:pt x="833" y="292"/>
                  <a:pt x="833" y="292"/>
                  <a:pt x="834" y="292"/>
                </a:cubicBezTo>
                <a:cubicBezTo>
                  <a:pt x="834" y="292"/>
                  <a:pt x="834" y="292"/>
                  <a:pt x="834" y="291"/>
                </a:cubicBezTo>
                <a:cubicBezTo>
                  <a:pt x="834" y="292"/>
                  <a:pt x="833" y="292"/>
                  <a:pt x="833" y="292"/>
                </a:cubicBezTo>
                <a:close/>
                <a:moveTo>
                  <a:pt x="832" y="288"/>
                </a:moveTo>
                <a:cubicBezTo>
                  <a:pt x="832" y="288"/>
                  <a:pt x="832" y="288"/>
                  <a:pt x="832" y="288"/>
                </a:cubicBezTo>
                <a:cubicBezTo>
                  <a:pt x="831" y="288"/>
                  <a:pt x="831" y="288"/>
                  <a:pt x="832" y="288"/>
                </a:cubicBezTo>
                <a:close/>
                <a:moveTo>
                  <a:pt x="830" y="269"/>
                </a:moveTo>
                <a:cubicBezTo>
                  <a:pt x="831" y="268"/>
                  <a:pt x="831" y="268"/>
                  <a:pt x="831" y="268"/>
                </a:cubicBezTo>
                <a:cubicBezTo>
                  <a:pt x="831" y="268"/>
                  <a:pt x="830" y="268"/>
                  <a:pt x="830" y="269"/>
                </a:cubicBezTo>
                <a:close/>
                <a:moveTo>
                  <a:pt x="830" y="298"/>
                </a:moveTo>
                <a:cubicBezTo>
                  <a:pt x="830" y="298"/>
                  <a:pt x="831" y="298"/>
                  <a:pt x="830" y="297"/>
                </a:cubicBezTo>
                <a:cubicBezTo>
                  <a:pt x="830" y="297"/>
                  <a:pt x="830" y="298"/>
                  <a:pt x="830" y="298"/>
                </a:cubicBezTo>
                <a:close/>
                <a:moveTo>
                  <a:pt x="829" y="271"/>
                </a:moveTo>
                <a:cubicBezTo>
                  <a:pt x="830" y="271"/>
                  <a:pt x="830" y="270"/>
                  <a:pt x="830" y="270"/>
                </a:cubicBezTo>
                <a:cubicBezTo>
                  <a:pt x="829" y="270"/>
                  <a:pt x="829" y="271"/>
                  <a:pt x="829" y="271"/>
                </a:cubicBezTo>
                <a:close/>
                <a:moveTo>
                  <a:pt x="826" y="275"/>
                </a:moveTo>
                <a:cubicBezTo>
                  <a:pt x="827" y="275"/>
                  <a:pt x="826" y="275"/>
                  <a:pt x="827" y="274"/>
                </a:cubicBezTo>
                <a:cubicBezTo>
                  <a:pt x="827" y="274"/>
                  <a:pt x="826" y="274"/>
                  <a:pt x="826" y="275"/>
                </a:cubicBezTo>
                <a:close/>
                <a:moveTo>
                  <a:pt x="825" y="297"/>
                </a:moveTo>
                <a:cubicBezTo>
                  <a:pt x="826" y="297"/>
                  <a:pt x="825" y="297"/>
                  <a:pt x="826" y="298"/>
                </a:cubicBezTo>
                <a:cubicBezTo>
                  <a:pt x="826" y="298"/>
                  <a:pt x="826" y="297"/>
                  <a:pt x="826" y="297"/>
                </a:cubicBezTo>
                <a:cubicBezTo>
                  <a:pt x="826" y="297"/>
                  <a:pt x="826" y="297"/>
                  <a:pt x="826" y="297"/>
                </a:cubicBezTo>
                <a:lnTo>
                  <a:pt x="825" y="297"/>
                </a:lnTo>
                <a:close/>
                <a:moveTo>
                  <a:pt x="824" y="310"/>
                </a:moveTo>
                <a:cubicBezTo>
                  <a:pt x="823" y="310"/>
                  <a:pt x="824" y="311"/>
                  <a:pt x="824" y="311"/>
                </a:cubicBezTo>
                <a:cubicBezTo>
                  <a:pt x="824" y="310"/>
                  <a:pt x="824" y="310"/>
                  <a:pt x="824" y="310"/>
                </a:cubicBezTo>
                <a:close/>
                <a:moveTo>
                  <a:pt x="823" y="278"/>
                </a:moveTo>
                <a:cubicBezTo>
                  <a:pt x="824" y="278"/>
                  <a:pt x="824" y="277"/>
                  <a:pt x="824" y="277"/>
                </a:cubicBezTo>
                <a:cubicBezTo>
                  <a:pt x="824" y="277"/>
                  <a:pt x="823" y="278"/>
                  <a:pt x="823" y="278"/>
                </a:cubicBezTo>
                <a:close/>
                <a:moveTo>
                  <a:pt x="823" y="268"/>
                </a:moveTo>
                <a:cubicBezTo>
                  <a:pt x="823" y="268"/>
                  <a:pt x="824" y="267"/>
                  <a:pt x="823" y="267"/>
                </a:cubicBezTo>
                <a:cubicBezTo>
                  <a:pt x="823" y="267"/>
                  <a:pt x="822" y="267"/>
                  <a:pt x="823" y="268"/>
                </a:cubicBezTo>
                <a:close/>
                <a:moveTo>
                  <a:pt x="819" y="280"/>
                </a:moveTo>
                <a:cubicBezTo>
                  <a:pt x="819" y="279"/>
                  <a:pt x="819" y="279"/>
                  <a:pt x="819" y="279"/>
                </a:cubicBezTo>
                <a:cubicBezTo>
                  <a:pt x="818" y="279"/>
                  <a:pt x="819" y="279"/>
                  <a:pt x="819" y="280"/>
                </a:cubicBezTo>
                <a:close/>
                <a:moveTo>
                  <a:pt x="818" y="275"/>
                </a:moveTo>
                <a:cubicBezTo>
                  <a:pt x="818" y="275"/>
                  <a:pt x="818" y="274"/>
                  <a:pt x="818" y="274"/>
                </a:cubicBezTo>
                <a:cubicBezTo>
                  <a:pt x="817" y="274"/>
                  <a:pt x="817" y="274"/>
                  <a:pt x="818" y="275"/>
                </a:cubicBezTo>
                <a:close/>
                <a:moveTo>
                  <a:pt x="816" y="282"/>
                </a:moveTo>
                <a:cubicBezTo>
                  <a:pt x="817" y="282"/>
                  <a:pt x="817" y="282"/>
                  <a:pt x="817" y="282"/>
                </a:cubicBezTo>
                <a:cubicBezTo>
                  <a:pt x="816" y="282"/>
                  <a:pt x="816" y="282"/>
                  <a:pt x="816" y="282"/>
                </a:cubicBezTo>
                <a:close/>
                <a:moveTo>
                  <a:pt x="814" y="284"/>
                </a:moveTo>
                <a:cubicBezTo>
                  <a:pt x="814" y="285"/>
                  <a:pt x="814" y="285"/>
                  <a:pt x="815" y="286"/>
                </a:cubicBezTo>
                <a:cubicBezTo>
                  <a:pt x="815" y="286"/>
                  <a:pt x="815" y="286"/>
                  <a:pt x="815" y="286"/>
                </a:cubicBezTo>
                <a:cubicBezTo>
                  <a:pt x="815" y="285"/>
                  <a:pt x="815" y="285"/>
                  <a:pt x="815" y="285"/>
                </a:cubicBezTo>
                <a:cubicBezTo>
                  <a:pt x="815" y="285"/>
                  <a:pt x="815" y="285"/>
                  <a:pt x="815" y="285"/>
                </a:cubicBezTo>
                <a:cubicBezTo>
                  <a:pt x="816" y="285"/>
                  <a:pt x="816" y="284"/>
                  <a:pt x="815" y="284"/>
                </a:cubicBezTo>
                <a:cubicBezTo>
                  <a:pt x="815" y="284"/>
                  <a:pt x="815" y="284"/>
                  <a:pt x="814" y="284"/>
                </a:cubicBezTo>
                <a:close/>
                <a:moveTo>
                  <a:pt x="813" y="287"/>
                </a:moveTo>
                <a:cubicBezTo>
                  <a:pt x="814" y="287"/>
                  <a:pt x="813" y="287"/>
                  <a:pt x="814" y="288"/>
                </a:cubicBezTo>
                <a:cubicBezTo>
                  <a:pt x="814" y="288"/>
                  <a:pt x="814" y="287"/>
                  <a:pt x="814" y="287"/>
                </a:cubicBezTo>
                <a:cubicBezTo>
                  <a:pt x="814" y="287"/>
                  <a:pt x="814" y="287"/>
                  <a:pt x="814" y="287"/>
                </a:cubicBezTo>
                <a:cubicBezTo>
                  <a:pt x="814" y="287"/>
                  <a:pt x="814" y="287"/>
                  <a:pt x="815" y="287"/>
                </a:cubicBezTo>
                <a:cubicBezTo>
                  <a:pt x="814" y="286"/>
                  <a:pt x="814" y="286"/>
                  <a:pt x="814" y="286"/>
                </a:cubicBezTo>
                <a:cubicBezTo>
                  <a:pt x="814" y="286"/>
                  <a:pt x="813" y="286"/>
                  <a:pt x="813" y="287"/>
                </a:cubicBezTo>
                <a:close/>
                <a:moveTo>
                  <a:pt x="812" y="290"/>
                </a:moveTo>
                <a:cubicBezTo>
                  <a:pt x="812" y="290"/>
                  <a:pt x="812" y="290"/>
                  <a:pt x="812" y="289"/>
                </a:cubicBezTo>
                <a:cubicBezTo>
                  <a:pt x="812" y="289"/>
                  <a:pt x="812" y="289"/>
                  <a:pt x="812" y="290"/>
                </a:cubicBezTo>
                <a:close/>
                <a:moveTo>
                  <a:pt x="809" y="293"/>
                </a:moveTo>
                <a:cubicBezTo>
                  <a:pt x="810" y="293"/>
                  <a:pt x="810" y="293"/>
                  <a:pt x="810" y="292"/>
                </a:cubicBezTo>
                <a:cubicBezTo>
                  <a:pt x="809" y="292"/>
                  <a:pt x="809" y="293"/>
                  <a:pt x="809" y="293"/>
                </a:cubicBezTo>
                <a:close/>
                <a:moveTo>
                  <a:pt x="806" y="300"/>
                </a:moveTo>
                <a:cubicBezTo>
                  <a:pt x="806" y="300"/>
                  <a:pt x="806" y="300"/>
                  <a:pt x="806" y="300"/>
                </a:cubicBezTo>
                <a:cubicBezTo>
                  <a:pt x="806" y="299"/>
                  <a:pt x="805" y="299"/>
                  <a:pt x="806" y="300"/>
                </a:cubicBezTo>
                <a:close/>
                <a:moveTo>
                  <a:pt x="50" y="202"/>
                </a:moveTo>
                <a:cubicBezTo>
                  <a:pt x="50" y="202"/>
                  <a:pt x="50" y="201"/>
                  <a:pt x="50" y="202"/>
                </a:cubicBezTo>
                <a:cubicBezTo>
                  <a:pt x="50" y="202"/>
                  <a:pt x="49" y="204"/>
                  <a:pt x="49" y="203"/>
                </a:cubicBezTo>
                <a:cubicBezTo>
                  <a:pt x="49" y="204"/>
                  <a:pt x="48" y="204"/>
                  <a:pt x="48" y="205"/>
                </a:cubicBezTo>
                <a:cubicBezTo>
                  <a:pt x="50" y="203"/>
                  <a:pt x="49" y="203"/>
                  <a:pt x="50" y="202"/>
                </a:cubicBezTo>
                <a:close/>
                <a:moveTo>
                  <a:pt x="66" y="184"/>
                </a:moveTo>
                <a:cubicBezTo>
                  <a:pt x="65" y="183"/>
                  <a:pt x="64" y="186"/>
                  <a:pt x="63" y="187"/>
                </a:cubicBezTo>
                <a:cubicBezTo>
                  <a:pt x="64" y="186"/>
                  <a:pt x="65" y="185"/>
                  <a:pt x="66" y="184"/>
                </a:cubicBezTo>
                <a:close/>
                <a:moveTo>
                  <a:pt x="70" y="180"/>
                </a:moveTo>
                <a:cubicBezTo>
                  <a:pt x="70" y="180"/>
                  <a:pt x="68" y="181"/>
                  <a:pt x="67" y="182"/>
                </a:cubicBezTo>
                <a:cubicBezTo>
                  <a:pt x="67" y="182"/>
                  <a:pt x="69" y="181"/>
                  <a:pt x="70" y="180"/>
                </a:cubicBezTo>
                <a:close/>
                <a:moveTo>
                  <a:pt x="86" y="162"/>
                </a:moveTo>
                <a:cubicBezTo>
                  <a:pt x="85" y="163"/>
                  <a:pt x="85" y="164"/>
                  <a:pt x="84" y="165"/>
                </a:cubicBezTo>
                <a:cubicBezTo>
                  <a:pt x="85" y="165"/>
                  <a:pt x="86" y="163"/>
                  <a:pt x="86" y="162"/>
                </a:cubicBezTo>
                <a:close/>
                <a:moveTo>
                  <a:pt x="89" y="157"/>
                </a:moveTo>
                <a:cubicBezTo>
                  <a:pt x="87" y="157"/>
                  <a:pt x="87" y="160"/>
                  <a:pt x="85" y="161"/>
                </a:cubicBezTo>
                <a:cubicBezTo>
                  <a:pt x="87" y="161"/>
                  <a:pt x="87" y="160"/>
                  <a:pt x="88" y="160"/>
                </a:cubicBezTo>
                <a:cubicBezTo>
                  <a:pt x="88" y="159"/>
                  <a:pt x="88" y="159"/>
                  <a:pt x="89" y="157"/>
                </a:cubicBezTo>
                <a:close/>
                <a:moveTo>
                  <a:pt x="89" y="158"/>
                </a:moveTo>
                <a:cubicBezTo>
                  <a:pt x="90" y="157"/>
                  <a:pt x="91" y="156"/>
                  <a:pt x="91" y="156"/>
                </a:cubicBezTo>
                <a:cubicBezTo>
                  <a:pt x="90" y="156"/>
                  <a:pt x="90" y="156"/>
                  <a:pt x="89" y="156"/>
                </a:cubicBezTo>
                <a:cubicBezTo>
                  <a:pt x="89" y="157"/>
                  <a:pt x="90" y="157"/>
                  <a:pt x="89" y="158"/>
                </a:cubicBezTo>
                <a:close/>
                <a:moveTo>
                  <a:pt x="93" y="155"/>
                </a:moveTo>
                <a:cubicBezTo>
                  <a:pt x="93" y="156"/>
                  <a:pt x="92" y="156"/>
                  <a:pt x="93" y="155"/>
                </a:cubicBezTo>
                <a:cubicBezTo>
                  <a:pt x="91" y="156"/>
                  <a:pt x="91" y="157"/>
                  <a:pt x="90" y="158"/>
                </a:cubicBezTo>
                <a:cubicBezTo>
                  <a:pt x="90" y="159"/>
                  <a:pt x="91" y="156"/>
                  <a:pt x="92" y="156"/>
                </a:cubicBezTo>
                <a:cubicBezTo>
                  <a:pt x="93" y="156"/>
                  <a:pt x="91" y="158"/>
                  <a:pt x="91" y="158"/>
                </a:cubicBezTo>
                <a:cubicBezTo>
                  <a:pt x="92" y="157"/>
                  <a:pt x="93" y="156"/>
                  <a:pt x="93" y="155"/>
                </a:cubicBezTo>
                <a:close/>
                <a:moveTo>
                  <a:pt x="94" y="153"/>
                </a:moveTo>
                <a:cubicBezTo>
                  <a:pt x="94" y="153"/>
                  <a:pt x="92" y="154"/>
                  <a:pt x="91" y="155"/>
                </a:cubicBezTo>
                <a:cubicBezTo>
                  <a:pt x="92" y="155"/>
                  <a:pt x="93" y="154"/>
                  <a:pt x="94" y="153"/>
                </a:cubicBezTo>
                <a:close/>
                <a:moveTo>
                  <a:pt x="104" y="144"/>
                </a:moveTo>
                <a:cubicBezTo>
                  <a:pt x="103" y="144"/>
                  <a:pt x="100" y="147"/>
                  <a:pt x="99" y="149"/>
                </a:cubicBezTo>
                <a:cubicBezTo>
                  <a:pt x="100" y="149"/>
                  <a:pt x="101" y="148"/>
                  <a:pt x="102" y="147"/>
                </a:cubicBezTo>
                <a:cubicBezTo>
                  <a:pt x="102" y="146"/>
                  <a:pt x="101" y="148"/>
                  <a:pt x="101" y="148"/>
                </a:cubicBezTo>
                <a:cubicBezTo>
                  <a:pt x="102" y="146"/>
                  <a:pt x="102" y="146"/>
                  <a:pt x="103" y="145"/>
                </a:cubicBezTo>
                <a:cubicBezTo>
                  <a:pt x="103" y="145"/>
                  <a:pt x="103" y="145"/>
                  <a:pt x="104" y="144"/>
                </a:cubicBezTo>
                <a:close/>
                <a:moveTo>
                  <a:pt x="107" y="141"/>
                </a:moveTo>
                <a:cubicBezTo>
                  <a:pt x="107" y="141"/>
                  <a:pt x="106" y="142"/>
                  <a:pt x="105" y="143"/>
                </a:cubicBezTo>
                <a:cubicBezTo>
                  <a:pt x="106" y="142"/>
                  <a:pt x="107" y="142"/>
                  <a:pt x="107" y="142"/>
                </a:cubicBezTo>
                <a:cubicBezTo>
                  <a:pt x="107" y="141"/>
                  <a:pt x="107" y="141"/>
                  <a:pt x="107" y="141"/>
                </a:cubicBezTo>
                <a:close/>
                <a:moveTo>
                  <a:pt x="109" y="136"/>
                </a:moveTo>
                <a:cubicBezTo>
                  <a:pt x="107" y="137"/>
                  <a:pt x="106" y="139"/>
                  <a:pt x="105" y="140"/>
                </a:cubicBezTo>
                <a:cubicBezTo>
                  <a:pt x="106" y="139"/>
                  <a:pt x="108" y="138"/>
                  <a:pt x="109" y="136"/>
                </a:cubicBezTo>
                <a:close/>
                <a:moveTo>
                  <a:pt x="112" y="138"/>
                </a:moveTo>
                <a:cubicBezTo>
                  <a:pt x="111" y="139"/>
                  <a:pt x="110" y="139"/>
                  <a:pt x="109" y="140"/>
                </a:cubicBezTo>
                <a:cubicBezTo>
                  <a:pt x="110" y="140"/>
                  <a:pt x="111" y="140"/>
                  <a:pt x="112" y="138"/>
                </a:cubicBezTo>
                <a:close/>
                <a:moveTo>
                  <a:pt x="117" y="130"/>
                </a:moveTo>
                <a:cubicBezTo>
                  <a:pt x="116" y="131"/>
                  <a:pt x="116" y="132"/>
                  <a:pt x="115" y="132"/>
                </a:cubicBezTo>
                <a:cubicBezTo>
                  <a:pt x="114" y="133"/>
                  <a:pt x="116" y="130"/>
                  <a:pt x="115" y="131"/>
                </a:cubicBezTo>
                <a:cubicBezTo>
                  <a:pt x="115" y="133"/>
                  <a:pt x="113" y="134"/>
                  <a:pt x="113" y="134"/>
                </a:cubicBezTo>
                <a:cubicBezTo>
                  <a:pt x="115" y="133"/>
                  <a:pt x="116" y="132"/>
                  <a:pt x="117" y="130"/>
                </a:cubicBezTo>
                <a:close/>
                <a:moveTo>
                  <a:pt x="118" y="132"/>
                </a:moveTo>
                <a:cubicBezTo>
                  <a:pt x="117" y="132"/>
                  <a:pt x="117" y="133"/>
                  <a:pt x="117" y="134"/>
                </a:cubicBezTo>
                <a:cubicBezTo>
                  <a:pt x="119" y="133"/>
                  <a:pt x="118" y="132"/>
                  <a:pt x="118" y="132"/>
                </a:cubicBezTo>
                <a:close/>
                <a:moveTo>
                  <a:pt x="122" y="126"/>
                </a:moveTo>
                <a:cubicBezTo>
                  <a:pt x="121" y="127"/>
                  <a:pt x="121" y="128"/>
                  <a:pt x="123" y="128"/>
                </a:cubicBezTo>
                <a:cubicBezTo>
                  <a:pt x="123" y="126"/>
                  <a:pt x="123" y="126"/>
                  <a:pt x="122" y="126"/>
                </a:cubicBezTo>
                <a:close/>
                <a:moveTo>
                  <a:pt x="128" y="121"/>
                </a:moveTo>
                <a:cubicBezTo>
                  <a:pt x="127" y="122"/>
                  <a:pt x="127" y="122"/>
                  <a:pt x="126" y="122"/>
                </a:cubicBezTo>
                <a:cubicBezTo>
                  <a:pt x="126" y="124"/>
                  <a:pt x="124" y="124"/>
                  <a:pt x="123" y="126"/>
                </a:cubicBezTo>
                <a:cubicBezTo>
                  <a:pt x="125" y="125"/>
                  <a:pt x="125" y="124"/>
                  <a:pt x="126" y="124"/>
                </a:cubicBezTo>
                <a:cubicBezTo>
                  <a:pt x="126" y="123"/>
                  <a:pt x="127" y="123"/>
                  <a:pt x="128" y="121"/>
                </a:cubicBezTo>
                <a:close/>
                <a:moveTo>
                  <a:pt x="128" y="124"/>
                </a:moveTo>
                <a:cubicBezTo>
                  <a:pt x="127" y="126"/>
                  <a:pt x="127" y="126"/>
                  <a:pt x="127" y="126"/>
                </a:cubicBezTo>
                <a:cubicBezTo>
                  <a:pt x="127" y="126"/>
                  <a:pt x="128" y="126"/>
                  <a:pt x="128" y="125"/>
                </a:cubicBezTo>
                <a:cubicBezTo>
                  <a:pt x="128" y="125"/>
                  <a:pt x="129" y="124"/>
                  <a:pt x="128" y="124"/>
                </a:cubicBezTo>
                <a:close/>
                <a:moveTo>
                  <a:pt x="133" y="118"/>
                </a:moveTo>
                <a:cubicBezTo>
                  <a:pt x="131" y="119"/>
                  <a:pt x="132" y="119"/>
                  <a:pt x="131" y="120"/>
                </a:cubicBezTo>
                <a:cubicBezTo>
                  <a:pt x="132" y="120"/>
                  <a:pt x="132" y="119"/>
                  <a:pt x="133" y="119"/>
                </a:cubicBezTo>
                <a:cubicBezTo>
                  <a:pt x="133" y="118"/>
                  <a:pt x="132" y="119"/>
                  <a:pt x="133" y="118"/>
                </a:cubicBezTo>
                <a:close/>
                <a:moveTo>
                  <a:pt x="134" y="117"/>
                </a:moveTo>
                <a:cubicBezTo>
                  <a:pt x="134" y="116"/>
                  <a:pt x="130" y="120"/>
                  <a:pt x="128" y="121"/>
                </a:cubicBezTo>
                <a:cubicBezTo>
                  <a:pt x="130" y="121"/>
                  <a:pt x="132" y="118"/>
                  <a:pt x="134" y="117"/>
                </a:cubicBezTo>
                <a:close/>
                <a:moveTo>
                  <a:pt x="144" y="109"/>
                </a:moveTo>
                <a:cubicBezTo>
                  <a:pt x="143" y="109"/>
                  <a:pt x="142" y="110"/>
                  <a:pt x="142" y="110"/>
                </a:cubicBezTo>
                <a:cubicBezTo>
                  <a:pt x="141" y="110"/>
                  <a:pt x="142" y="110"/>
                  <a:pt x="142" y="111"/>
                </a:cubicBezTo>
                <a:cubicBezTo>
                  <a:pt x="142" y="110"/>
                  <a:pt x="143" y="109"/>
                  <a:pt x="144" y="109"/>
                </a:cubicBezTo>
                <a:close/>
                <a:moveTo>
                  <a:pt x="158" y="98"/>
                </a:moveTo>
                <a:cubicBezTo>
                  <a:pt x="157" y="98"/>
                  <a:pt x="156" y="100"/>
                  <a:pt x="155" y="100"/>
                </a:cubicBezTo>
                <a:cubicBezTo>
                  <a:pt x="154" y="102"/>
                  <a:pt x="154" y="102"/>
                  <a:pt x="154" y="102"/>
                </a:cubicBezTo>
                <a:cubicBezTo>
                  <a:pt x="155" y="101"/>
                  <a:pt x="156" y="100"/>
                  <a:pt x="158" y="98"/>
                </a:cubicBezTo>
                <a:close/>
                <a:moveTo>
                  <a:pt x="161" y="95"/>
                </a:moveTo>
                <a:cubicBezTo>
                  <a:pt x="160" y="96"/>
                  <a:pt x="160" y="97"/>
                  <a:pt x="159" y="98"/>
                </a:cubicBezTo>
                <a:cubicBezTo>
                  <a:pt x="160" y="97"/>
                  <a:pt x="161" y="96"/>
                  <a:pt x="161" y="95"/>
                </a:cubicBezTo>
                <a:close/>
                <a:moveTo>
                  <a:pt x="166" y="92"/>
                </a:moveTo>
                <a:cubicBezTo>
                  <a:pt x="164" y="93"/>
                  <a:pt x="163" y="94"/>
                  <a:pt x="162" y="95"/>
                </a:cubicBezTo>
                <a:cubicBezTo>
                  <a:pt x="162" y="96"/>
                  <a:pt x="165" y="94"/>
                  <a:pt x="166" y="92"/>
                </a:cubicBezTo>
                <a:close/>
                <a:moveTo>
                  <a:pt x="19" y="260"/>
                </a:moveTo>
                <a:cubicBezTo>
                  <a:pt x="18" y="260"/>
                  <a:pt x="18" y="261"/>
                  <a:pt x="17" y="261"/>
                </a:cubicBezTo>
                <a:cubicBezTo>
                  <a:pt x="17" y="262"/>
                  <a:pt x="17" y="262"/>
                  <a:pt x="17" y="262"/>
                </a:cubicBezTo>
                <a:cubicBezTo>
                  <a:pt x="18" y="262"/>
                  <a:pt x="18" y="261"/>
                  <a:pt x="19" y="260"/>
                </a:cubicBezTo>
                <a:close/>
                <a:moveTo>
                  <a:pt x="21" y="257"/>
                </a:moveTo>
                <a:cubicBezTo>
                  <a:pt x="21" y="256"/>
                  <a:pt x="21" y="255"/>
                  <a:pt x="22" y="255"/>
                </a:cubicBezTo>
                <a:cubicBezTo>
                  <a:pt x="23" y="253"/>
                  <a:pt x="20" y="257"/>
                  <a:pt x="21" y="257"/>
                </a:cubicBezTo>
                <a:close/>
                <a:moveTo>
                  <a:pt x="29" y="246"/>
                </a:moveTo>
                <a:cubicBezTo>
                  <a:pt x="28" y="247"/>
                  <a:pt x="27" y="247"/>
                  <a:pt x="26" y="249"/>
                </a:cubicBezTo>
                <a:cubicBezTo>
                  <a:pt x="27" y="248"/>
                  <a:pt x="27" y="249"/>
                  <a:pt x="28" y="248"/>
                </a:cubicBezTo>
                <a:cubicBezTo>
                  <a:pt x="28" y="247"/>
                  <a:pt x="29" y="247"/>
                  <a:pt x="29" y="246"/>
                </a:cubicBezTo>
                <a:close/>
                <a:moveTo>
                  <a:pt x="36" y="238"/>
                </a:moveTo>
                <a:cubicBezTo>
                  <a:pt x="35" y="239"/>
                  <a:pt x="33" y="242"/>
                  <a:pt x="35" y="242"/>
                </a:cubicBezTo>
                <a:cubicBezTo>
                  <a:pt x="35" y="241"/>
                  <a:pt x="35" y="239"/>
                  <a:pt x="35" y="240"/>
                </a:cubicBezTo>
                <a:cubicBezTo>
                  <a:pt x="36" y="239"/>
                  <a:pt x="36" y="238"/>
                  <a:pt x="36" y="238"/>
                </a:cubicBezTo>
                <a:close/>
                <a:moveTo>
                  <a:pt x="28" y="258"/>
                </a:moveTo>
                <a:cubicBezTo>
                  <a:pt x="28" y="256"/>
                  <a:pt x="27" y="258"/>
                  <a:pt x="26" y="259"/>
                </a:cubicBezTo>
                <a:cubicBezTo>
                  <a:pt x="26" y="260"/>
                  <a:pt x="27" y="258"/>
                  <a:pt x="28" y="258"/>
                </a:cubicBezTo>
                <a:close/>
                <a:moveTo>
                  <a:pt x="29" y="256"/>
                </a:moveTo>
                <a:cubicBezTo>
                  <a:pt x="30" y="255"/>
                  <a:pt x="30" y="255"/>
                  <a:pt x="31" y="254"/>
                </a:cubicBezTo>
                <a:cubicBezTo>
                  <a:pt x="31" y="253"/>
                  <a:pt x="30" y="254"/>
                  <a:pt x="30" y="254"/>
                </a:cubicBezTo>
                <a:cubicBezTo>
                  <a:pt x="29" y="255"/>
                  <a:pt x="29" y="255"/>
                  <a:pt x="29" y="256"/>
                </a:cubicBezTo>
                <a:cubicBezTo>
                  <a:pt x="28" y="256"/>
                  <a:pt x="29" y="256"/>
                  <a:pt x="28" y="257"/>
                </a:cubicBezTo>
                <a:lnTo>
                  <a:pt x="29" y="256"/>
                </a:lnTo>
                <a:close/>
                <a:moveTo>
                  <a:pt x="33" y="253"/>
                </a:moveTo>
                <a:cubicBezTo>
                  <a:pt x="31" y="255"/>
                  <a:pt x="30" y="257"/>
                  <a:pt x="29" y="259"/>
                </a:cubicBezTo>
                <a:cubicBezTo>
                  <a:pt x="30" y="258"/>
                  <a:pt x="32" y="255"/>
                  <a:pt x="33" y="253"/>
                </a:cubicBezTo>
                <a:close/>
                <a:moveTo>
                  <a:pt x="33" y="251"/>
                </a:moveTo>
                <a:cubicBezTo>
                  <a:pt x="32" y="252"/>
                  <a:pt x="32" y="253"/>
                  <a:pt x="31" y="254"/>
                </a:cubicBezTo>
                <a:cubicBezTo>
                  <a:pt x="32" y="253"/>
                  <a:pt x="33" y="252"/>
                  <a:pt x="33" y="251"/>
                </a:cubicBezTo>
                <a:close/>
                <a:moveTo>
                  <a:pt x="39" y="242"/>
                </a:moveTo>
                <a:cubicBezTo>
                  <a:pt x="38" y="243"/>
                  <a:pt x="38" y="243"/>
                  <a:pt x="37" y="244"/>
                </a:cubicBezTo>
                <a:cubicBezTo>
                  <a:pt x="38" y="243"/>
                  <a:pt x="38" y="243"/>
                  <a:pt x="38" y="243"/>
                </a:cubicBezTo>
                <a:lnTo>
                  <a:pt x="39" y="242"/>
                </a:lnTo>
                <a:close/>
                <a:moveTo>
                  <a:pt x="62" y="199"/>
                </a:moveTo>
                <a:cubicBezTo>
                  <a:pt x="63" y="197"/>
                  <a:pt x="61" y="198"/>
                  <a:pt x="61" y="199"/>
                </a:cubicBezTo>
                <a:cubicBezTo>
                  <a:pt x="61" y="199"/>
                  <a:pt x="61" y="199"/>
                  <a:pt x="62" y="199"/>
                </a:cubicBezTo>
                <a:close/>
                <a:moveTo>
                  <a:pt x="53" y="206"/>
                </a:moveTo>
                <a:cubicBezTo>
                  <a:pt x="54" y="205"/>
                  <a:pt x="53" y="206"/>
                  <a:pt x="53" y="206"/>
                </a:cubicBezTo>
                <a:cubicBezTo>
                  <a:pt x="52" y="207"/>
                  <a:pt x="53" y="208"/>
                  <a:pt x="53" y="206"/>
                </a:cubicBezTo>
                <a:close/>
                <a:moveTo>
                  <a:pt x="41" y="231"/>
                </a:moveTo>
                <a:cubicBezTo>
                  <a:pt x="40" y="232"/>
                  <a:pt x="41" y="233"/>
                  <a:pt x="40" y="233"/>
                </a:cubicBezTo>
                <a:cubicBezTo>
                  <a:pt x="40" y="233"/>
                  <a:pt x="40" y="233"/>
                  <a:pt x="41" y="233"/>
                </a:cubicBezTo>
                <a:lnTo>
                  <a:pt x="41" y="231"/>
                </a:lnTo>
                <a:close/>
                <a:moveTo>
                  <a:pt x="44" y="227"/>
                </a:moveTo>
                <a:cubicBezTo>
                  <a:pt x="44" y="226"/>
                  <a:pt x="41" y="231"/>
                  <a:pt x="42" y="228"/>
                </a:cubicBezTo>
                <a:cubicBezTo>
                  <a:pt x="42" y="228"/>
                  <a:pt x="41" y="229"/>
                  <a:pt x="41" y="230"/>
                </a:cubicBezTo>
                <a:cubicBezTo>
                  <a:pt x="41" y="230"/>
                  <a:pt x="42" y="230"/>
                  <a:pt x="41" y="231"/>
                </a:cubicBezTo>
                <a:cubicBezTo>
                  <a:pt x="41" y="231"/>
                  <a:pt x="41" y="231"/>
                  <a:pt x="41" y="231"/>
                </a:cubicBezTo>
                <a:cubicBezTo>
                  <a:pt x="42" y="231"/>
                  <a:pt x="43" y="228"/>
                  <a:pt x="44" y="227"/>
                </a:cubicBezTo>
                <a:close/>
                <a:moveTo>
                  <a:pt x="46" y="221"/>
                </a:moveTo>
                <a:cubicBezTo>
                  <a:pt x="46" y="222"/>
                  <a:pt x="46" y="222"/>
                  <a:pt x="47" y="220"/>
                </a:cubicBezTo>
                <a:cubicBezTo>
                  <a:pt x="47" y="220"/>
                  <a:pt x="47" y="220"/>
                  <a:pt x="47" y="220"/>
                </a:cubicBezTo>
                <a:cubicBezTo>
                  <a:pt x="48" y="218"/>
                  <a:pt x="51" y="216"/>
                  <a:pt x="51" y="214"/>
                </a:cubicBezTo>
                <a:cubicBezTo>
                  <a:pt x="49" y="216"/>
                  <a:pt x="48" y="217"/>
                  <a:pt x="47" y="218"/>
                </a:cubicBezTo>
                <a:cubicBezTo>
                  <a:pt x="46" y="219"/>
                  <a:pt x="45" y="220"/>
                  <a:pt x="45" y="222"/>
                </a:cubicBezTo>
                <a:cubicBezTo>
                  <a:pt x="45" y="222"/>
                  <a:pt x="45" y="221"/>
                  <a:pt x="44" y="221"/>
                </a:cubicBezTo>
                <a:cubicBezTo>
                  <a:pt x="44" y="222"/>
                  <a:pt x="43" y="223"/>
                  <a:pt x="43" y="223"/>
                </a:cubicBezTo>
                <a:cubicBezTo>
                  <a:pt x="43" y="224"/>
                  <a:pt x="42" y="225"/>
                  <a:pt x="43" y="225"/>
                </a:cubicBezTo>
                <a:cubicBezTo>
                  <a:pt x="42" y="226"/>
                  <a:pt x="42" y="226"/>
                  <a:pt x="41" y="227"/>
                </a:cubicBezTo>
                <a:cubicBezTo>
                  <a:pt x="43" y="227"/>
                  <a:pt x="45" y="222"/>
                  <a:pt x="46" y="221"/>
                </a:cubicBezTo>
                <a:close/>
                <a:moveTo>
                  <a:pt x="46" y="222"/>
                </a:moveTo>
                <a:cubicBezTo>
                  <a:pt x="46" y="223"/>
                  <a:pt x="48" y="221"/>
                  <a:pt x="48" y="220"/>
                </a:cubicBezTo>
                <a:cubicBezTo>
                  <a:pt x="47" y="221"/>
                  <a:pt x="47" y="221"/>
                  <a:pt x="46" y="222"/>
                </a:cubicBezTo>
                <a:close/>
                <a:moveTo>
                  <a:pt x="47" y="222"/>
                </a:moveTo>
                <a:cubicBezTo>
                  <a:pt x="47" y="224"/>
                  <a:pt x="45" y="225"/>
                  <a:pt x="44" y="226"/>
                </a:cubicBezTo>
                <a:cubicBezTo>
                  <a:pt x="45" y="226"/>
                  <a:pt x="45" y="226"/>
                  <a:pt x="45" y="226"/>
                </a:cubicBezTo>
                <a:cubicBezTo>
                  <a:pt x="46" y="224"/>
                  <a:pt x="47" y="224"/>
                  <a:pt x="47" y="222"/>
                </a:cubicBezTo>
                <a:close/>
                <a:moveTo>
                  <a:pt x="49" y="221"/>
                </a:moveTo>
                <a:cubicBezTo>
                  <a:pt x="49" y="220"/>
                  <a:pt x="47" y="222"/>
                  <a:pt x="47" y="223"/>
                </a:cubicBezTo>
                <a:cubicBezTo>
                  <a:pt x="48" y="223"/>
                  <a:pt x="48" y="222"/>
                  <a:pt x="49" y="221"/>
                </a:cubicBezTo>
                <a:close/>
                <a:moveTo>
                  <a:pt x="45" y="233"/>
                </a:moveTo>
                <a:cubicBezTo>
                  <a:pt x="44" y="234"/>
                  <a:pt x="44" y="235"/>
                  <a:pt x="44" y="236"/>
                </a:cubicBezTo>
                <a:cubicBezTo>
                  <a:pt x="45" y="235"/>
                  <a:pt x="45" y="234"/>
                  <a:pt x="45" y="233"/>
                </a:cubicBezTo>
                <a:close/>
                <a:moveTo>
                  <a:pt x="47" y="229"/>
                </a:moveTo>
                <a:cubicBezTo>
                  <a:pt x="46" y="229"/>
                  <a:pt x="47" y="230"/>
                  <a:pt x="46" y="231"/>
                </a:cubicBezTo>
                <a:cubicBezTo>
                  <a:pt x="46" y="231"/>
                  <a:pt x="47" y="230"/>
                  <a:pt x="46" y="231"/>
                </a:cubicBezTo>
                <a:cubicBezTo>
                  <a:pt x="46" y="232"/>
                  <a:pt x="46" y="232"/>
                  <a:pt x="46" y="232"/>
                </a:cubicBezTo>
                <a:cubicBezTo>
                  <a:pt x="47" y="232"/>
                  <a:pt x="47" y="232"/>
                  <a:pt x="47" y="232"/>
                </a:cubicBezTo>
                <a:cubicBezTo>
                  <a:pt x="47" y="230"/>
                  <a:pt x="47" y="230"/>
                  <a:pt x="47" y="229"/>
                </a:cubicBezTo>
                <a:close/>
                <a:moveTo>
                  <a:pt x="51" y="223"/>
                </a:moveTo>
                <a:cubicBezTo>
                  <a:pt x="50" y="223"/>
                  <a:pt x="50" y="223"/>
                  <a:pt x="50" y="222"/>
                </a:cubicBezTo>
                <a:cubicBezTo>
                  <a:pt x="50" y="224"/>
                  <a:pt x="49" y="225"/>
                  <a:pt x="48" y="226"/>
                </a:cubicBezTo>
                <a:cubicBezTo>
                  <a:pt x="49" y="226"/>
                  <a:pt x="50" y="225"/>
                  <a:pt x="50" y="224"/>
                </a:cubicBezTo>
                <a:lnTo>
                  <a:pt x="51" y="223"/>
                </a:lnTo>
                <a:close/>
                <a:moveTo>
                  <a:pt x="51" y="216"/>
                </a:moveTo>
                <a:cubicBezTo>
                  <a:pt x="51" y="216"/>
                  <a:pt x="51" y="216"/>
                  <a:pt x="50" y="216"/>
                </a:cubicBezTo>
                <a:cubicBezTo>
                  <a:pt x="50" y="218"/>
                  <a:pt x="50" y="218"/>
                  <a:pt x="50" y="218"/>
                </a:cubicBezTo>
                <a:cubicBezTo>
                  <a:pt x="51" y="217"/>
                  <a:pt x="51" y="217"/>
                  <a:pt x="51" y="216"/>
                </a:cubicBezTo>
                <a:close/>
                <a:moveTo>
                  <a:pt x="52" y="214"/>
                </a:moveTo>
                <a:cubicBezTo>
                  <a:pt x="53" y="212"/>
                  <a:pt x="53" y="212"/>
                  <a:pt x="53" y="212"/>
                </a:cubicBezTo>
                <a:cubicBezTo>
                  <a:pt x="52" y="213"/>
                  <a:pt x="53" y="211"/>
                  <a:pt x="52" y="213"/>
                </a:cubicBezTo>
                <a:cubicBezTo>
                  <a:pt x="51" y="214"/>
                  <a:pt x="53" y="212"/>
                  <a:pt x="53" y="213"/>
                </a:cubicBezTo>
                <a:cubicBezTo>
                  <a:pt x="52" y="214"/>
                  <a:pt x="51" y="214"/>
                  <a:pt x="51" y="215"/>
                </a:cubicBezTo>
                <a:cubicBezTo>
                  <a:pt x="51" y="216"/>
                  <a:pt x="52" y="214"/>
                  <a:pt x="52" y="214"/>
                </a:cubicBezTo>
                <a:close/>
                <a:moveTo>
                  <a:pt x="53" y="215"/>
                </a:moveTo>
                <a:cubicBezTo>
                  <a:pt x="52" y="216"/>
                  <a:pt x="53" y="214"/>
                  <a:pt x="52" y="215"/>
                </a:cubicBezTo>
                <a:cubicBezTo>
                  <a:pt x="52" y="216"/>
                  <a:pt x="51" y="217"/>
                  <a:pt x="51" y="217"/>
                </a:cubicBezTo>
                <a:cubicBezTo>
                  <a:pt x="52" y="217"/>
                  <a:pt x="53" y="216"/>
                  <a:pt x="53" y="215"/>
                </a:cubicBezTo>
                <a:close/>
                <a:moveTo>
                  <a:pt x="55" y="219"/>
                </a:moveTo>
                <a:cubicBezTo>
                  <a:pt x="55" y="217"/>
                  <a:pt x="52" y="220"/>
                  <a:pt x="53" y="221"/>
                </a:cubicBezTo>
                <a:cubicBezTo>
                  <a:pt x="54" y="220"/>
                  <a:pt x="54" y="219"/>
                  <a:pt x="55" y="219"/>
                </a:cubicBezTo>
                <a:close/>
                <a:moveTo>
                  <a:pt x="58" y="208"/>
                </a:moveTo>
                <a:cubicBezTo>
                  <a:pt x="57" y="209"/>
                  <a:pt x="56" y="211"/>
                  <a:pt x="54" y="212"/>
                </a:cubicBezTo>
                <a:cubicBezTo>
                  <a:pt x="54" y="213"/>
                  <a:pt x="55" y="212"/>
                  <a:pt x="55" y="213"/>
                </a:cubicBezTo>
                <a:cubicBezTo>
                  <a:pt x="56" y="212"/>
                  <a:pt x="57" y="210"/>
                  <a:pt x="58" y="208"/>
                </a:cubicBezTo>
                <a:close/>
                <a:moveTo>
                  <a:pt x="57" y="214"/>
                </a:moveTo>
                <a:cubicBezTo>
                  <a:pt x="56" y="216"/>
                  <a:pt x="57" y="215"/>
                  <a:pt x="56" y="217"/>
                </a:cubicBezTo>
                <a:cubicBezTo>
                  <a:pt x="57" y="215"/>
                  <a:pt x="57" y="215"/>
                  <a:pt x="57" y="214"/>
                </a:cubicBezTo>
                <a:close/>
                <a:moveTo>
                  <a:pt x="59" y="215"/>
                </a:moveTo>
                <a:cubicBezTo>
                  <a:pt x="58" y="215"/>
                  <a:pt x="59" y="215"/>
                  <a:pt x="59" y="214"/>
                </a:cubicBezTo>
                <a:cubicBezTo>
                  <a:pt x="58" y="215"/>
                  <a:pt x="58" y="215"/>
                  <a:pt x="58" y="215"/>
                </a:cubicBezTo>
                <a:cubicBezTo>
                  <a:pt x="58" y="216"/>
                  <a:pt x="58" y="215"/>
                  <a:pt x="58" y="216"/>
                </a:cubicBezTo>
                <a:cubicBezTo>
                  <a:pt x="58" y="217"/>
                  <a:pt x="58" y="216"/>
                  <a:pt x="57" y="217"/>
                </a:cubicBezTo>
                <a:cubicBezTo>
                  <a:pt x="57" y="217"/>
                  <a:pt x="56" y="219"/>
                  <a:pt x="57" y="218"/>
                </a:cubicBezTo>
                <a:cubicBezTo>
                  <a:pt x="58" y="217"/>
                  <a:pt x="57" y="218"/>
                  <a:pt x="58" y="217"/>
                </a:cubicBezTo>
                <a:cubicBezTo>
                  <a:pt x="58" y="216"/>
                  <a:pt x="58" y="217"/>
                  <a:pt x="58" y="217"/>
                </a:cubicBezTo>
                <a:cubicBezTo>
                  <a:pt x="58" y="217"/>
                  <a:pt x="59" y="216"/>
                  <a:pt x="59" y="215"/>
                </a:cubicBezTo>
                <a:close/>
                <a:moveTo>
                  <a:pt x="61" y="201"/>
                </a:moveTo>
                <a:cubicBezTo>
                  <a:pt x="62" y="199"/>
                  <a:pt x="61" y="200"/>
                  <a:pt x="61" y="200"/>
                </a:cubicBezTo>
                <a:cubicBezTo>
                  <a:pt x="60" y="200"/>
                  <a:pt x="59" y="202"/>
                  <a:pt x="58" y="202"/>
                </a:cubicBezTo>
                <a:cubicBezTo>
                  <a:pt x="58" y="201"/>
                  <a:pt x="59" y="201"/>
                  <a:pt x="59" y="200"/>
                </a:cubicBezTo>
                <a:cubicBezTo>
                  <a:pt x="59" y="200"/>
                  <a:pt x="58" y="202"/>
                  <a:pt x="59" y="200"/>
                </a:cubicBezTo>
                <a:cubicBezTo>
                  <a:pt x="58" y="201"/>
                  <a:pt x="57" y="202"/>
                  <a:pt x="56" y="203"/>
                </a:cubicBezTo>
                <a:cubicBezTo>
                  <a:pt x="56" y="203"/>
                  <a:pt x="57" y="202"/>
                  <a:pt x="57" y="202"/>
                </a:cubicBezTo>
                <a:cubicBezTo>
                  <a:pt x="56" y="202"/>
                  <a:pt x="56" y="203"/>
                  <a:pt x="55" y="203"/>
                </a:cubicBezTo>
                <a:cubicBezTo>
                  <a:pt x="56" y="203"/>
                  <a:pt x="55" y="204"/>
                  <a:pt x="54" y="205"/>
                </a:cubicBezTo>
                <a:cubicBezTo>
                  <a:pt x="55" y="205"/>
                  <a:pt x="55" y="205"/>
                  <a:pt x="55" y="205"/>
                </a:cubicBezTo>
                <a:cubicBezTo>
                  <a:pt x="55" y="205"/>
                  <a:pt x="55" y="205"/>
                  <a:pt x="54" y="206"/>
                </a:cubicBezTo>
                <a:cubicBezTo>
                  <a:pt x="54" y="206"/>
                  <a:pt x="54" y="205"/>
                  <a:pt x="54" y="206"/>
                </a:cubicBezTo>
                <a:cubicBezTo>
                  <a:pt x="54" y="208"/>
                  <a:pt x="53" y="209"/>
                  <a:pt x="55" y="207"/>
                </a:cubicBezTo>
                <a:cubicBezTo>
                  <a:pt x="55" y="207"/>
                  <a:pt x="54" y="208"/>
                  <a:pt x="55" y="207"/>
                </a:cubicBezTo>
                <a:cubicBezTo>
                  <a:pt x="56" y="206"/>
                  <a:pt x="56" y="205"/>
                  <a:pt x="57" y="205"/>
                </a:cubicBezTo>
                <a:cubicBezTo>
                  <a:pt x="58" y="204"/>
                  <a:pt x="59" y="203"/>
                  <a:pt x="59" y="202"/>
                </a:cubicBezTo>
                <a:cubicBezTo>
                  <a:pt x="60" y="202"/>
                  <a:pt x="61" y="200"/>
                  <a:pt x="61" y="201"/>
                </a:cubicBezTo>
                <a:close/>
                <a:moveTo>
                  <a:pt x="63" y="206"/>
                </a:moveTo>
                <a:cubicBezTo>
                  <a:pt x="63" y="206"/>
                  <a:pt x="62" y="206"/>
                  <a:pt x="62" y="206"/>
                </a:cubicBezTo>
                <a:cubicBezTo>
                  <a:pt x="61" y="208"/>
                  <a:pt x="61" y="208"/>
                  <a:pt x="61" y="208"/>
                </a:cubicBezTo>
                <a:cubicBezTo>
                  <a:pt x="62" y="207"/>
                  <a:pt x="62" y="206"/>
                  <a:pt x="63" y="206"/>
                </a:cubicBezTo>
                <a:close/>
                <a:moveTo>
                  <a:pt x="65" y="211"/>
                </a:moveTo>
                <a:cubicBezTo>
                  <a:pt x="64" y="212"/>
                  <a:pt x="63" y="213"/>
                  <a:pt x="62" y="215"/>
                </a:cubicBezTo>
                <a:cubicBezTo>
                  <a:pt x="63" y="214"/>
                  <a:pt x="64" y="213"/>
                  <a:pt x="65" y="211"/>
                </a:cubicBezTo>
                <a:close/>
                <a:moveTo>
                  <a:pt x="67" y="201"/>
                </a:moveTo>
                <a:cubicBezTo>
                  <a:pt x="66" y="202"/>
                  <a:pt x="65" y="202"/>
                  <a:pt x="65" y="204"/>
                </a:cubicBezTo>
                <a:cubicBezTo>
                  <a:pt x="66" y="203"/>
                  <a:pt x="66" y="202"/>
                  <a:pt x="67" y="201"/>
                </a:cubicBezTo>
                <a:close/>
                <a:moveTo>
                  <a:pt x="73" y="189"/>
                </a:moveTo>
                <a:cubicBezTo>
                  <a:pt x="72" y="189"/>
                  <a:pt x="71" y="192"/>
                  <a:pt x="71" y="190"/>
                </a:cubicBezTo>
                <a:cubicBezTo>
                  <a:pt x="70" y="191"/>
                  <a:pt x="69" y="193"/>
                  <a:pt x="69" y="193"/>
                </a:cubicBezTo>
                <a:cubicBezTo>
                  <a:pt x="68" y="194"/>
                  <a:pt x="67" y="195"/>
                  <a:pt x="68" y="195"/>
                </a:cubicBezTo>
                <a:cubicBezTo>
                  <a:pt x="70" y="193"/>
                  <a:pt x="69" y="195"/>
                  <a:pt x="68" y="197"/>
                </a:cubicBezTo>
                <a:cubicBezTo>
                  <a:pt x="71" y="195"/>
                  <a:pt x="69" y="195"/>
                  <a:pt x="70" y="192"/>
                </a:cubicBezTo>
                <a:cubicBezTo>
                  <a:pt x="71" y="191"/>
                  <a:pt x="72" y="190"/>
                  <a:pt x="73" y="189"/>
                </a:cubicBezTo>
                <a:close/>
                <a:moveTo>
                  <a:pt x="73" y="191"/>
                </a:moveTo>
                <a:cubicBezTo>
                  <a:pt x="71" y="192"/>
                  <a:pt x="70" y="195"/>
                  <a:pt x="71" y="195"/>
                </a:cubicBezTo>
                <a:cubicBezTo>
                  <a:pt x="71" y="194"/>
                  <a:pt x="71" y="194"/>
                  <a:pt x="72" y="194"/>
                </a:cubicBezTo>
                <a:lnTo>
                  <a:pt x="73" y="191"/>
                </a:lnTo>
                <a:close/>
                <a:moveTo>
                  <a:pt x="75" y="194"/>
                </a:moveTo>
                <a:cubicBezTo>
                  <a:pt x="75" y="194"/>
                  <a:pt x="73" y="196"/>
                  <a:pt x="72" y="197"/>
                </a:cubicBezTo>
                <a:cubicBezTo>
                  <a:pt x="73" y="196"/>
                  <a:pt x="74" y="195"/>
                  <a:pt x="75" y="194"/>
                </a:cubicBezTo>
                <a:close/>
                <a:moveTo>
                  <a:pt x="76" y="198"/>
                </a:moveTo>
                <a:cubicBezTo>
                  <a:pt x="76" y="198"/>
                  <a:pt x="75" y="198"/>
                  <a:pt x="75" y="198"/>
                </a:cubicBezTo>
                <a:cubicBezTo>
                  <a:pt x="74" y="200"/>
                  <a:pt x="73" y="200"/>
                  <a:pt x="73" y="201"/>
                </a:cubicBezTo>
                <a:cubicBezTo>
                  <a:pt x="74" y="201"/>
                  <a:pt x="75" y="199"/>
                  <a:pt x="76" y="198"/>
                </a:cubicBezTo>
                <a:close/>
                <a:moveTo>
                  <a:pt x="90" y="167"/>
                </a:moveTo>
                <a:cubicBezTo>
                  <a:pt x="88" y="168"/>
                  <a:pt x="88" y="170"/>
                  <a:pt x="86" y="171"/>
                </a:cubicBezTo>
                <a:cubicBezTo>
                  <a:pt x="86" y="172"/>
                  <a:pt x="90" y="168"/>
                  <a:pt x="90" y="167"/>
                </a:cubicBezTo>
                <a:close/>
                <a:moveTo>
                  <a:pt x="91" y="180"/>
                </a:moveTo>
                <a:cubicBezTo>
                  <a:pt x="90" y="181"/>
                  <a:pt x="90" y="181"/>
                  <a:pt x="89" y="182"/>
                </a:cubicBezTo>
                <a:cubicBezTo>
                  <a:pt x="90" y="182"/>
                  <a:pt x="92" y="179"/>
                  <a:pt x="91" y="180"/>
                </a:cubicBezTo>
                <a:close/>
                <a:moveTo>
                  <a:pt x="95" y="161"/>
                </a:moveTo>
                <a:cubicBezTo>
                  <a:pt x="94" y="162"/>
                  <a:pt x="94" y="163"/>
                  <a:pt x="93" y="163"/>
                </a:cubicBezTo>
                <a:cubicBezTo>
                  <a:pt x="92" y="165"/>
                  <a:pt x="92" y="164"/>
                  <a:pt x="92" y="166"/>
                </a:cubicBezTo>
                <a:cubicBezTo>
                  <a:pt x="92" y="165"/>
                  <a:pt x="93" y="165"/>
                  <a:pt x="93" y="164"/>
                </a:cubicBezTo>
                <a:cubicBezTo>
                  <a:pt x="94" y="163"/>
                  <a:pt x="95" y="163"/>
                  <a:pt x="95" y="161"/>
                </a:cubicBezTo>
                <a:close/>
                <a:moveTo>
                  <a:pt x="103" y="153"/>
                </a:moveTo>
                <a:cubicBezTo>
                  <a:pt x="103" y="154"/>
                  <a:pt x="102" y="154"/>
                  <a:pt x="101" y="156"/>
                </a:cubicBezTo>
                <a:cubicBezTo>
                  <a:pt x="102" y="155"/>
                  <a:pt x="103" y="154"/>
                  <a:pt x="103" y="153"/>
                </a:cubicBezTo>
                <a:close/>
                <a:moveTo>
                  <a:pt x="105" y="165"/>
                </a:moveTo>
                <a:cubicBezTo>
                  <a:pt x="104" y="165"/>
                  <a:pt x="103" y="165"/>
                  <a:pt x="103" y="166"/>
                </a:cubicBezTo>
                <a:cubicBezTo>
                  <a:pt x="104" y="166"/>
                  <a:pt x="104" y="165"/>
                  <a:pt x="105" y="165"/>
                </a:cubicBezTo>
                <a:close/>
                <a:moveTo>
                  <a:pt x="111" y="146"/>
                </a:moveTo>
                <a:cubicBezTo>
                  <a:pt x="112" y="145"/>
                  <a:pt x="112" y="144"/>
                  <a:pt x="113" y="144"/>
                </a:cubicBezTo>
                <a:cubicBezTo>
                  <a:pt x="113" y="143"/>
                  <a:pt x="111" y="145"/>
                  <a:pt x="111" y="146"/>
                </a:cubicBezTo>
                <a:close/>
                <a:moveTo>
                  <a:pt x="110" y="147"/>
                </a:moveTo>
                <a:cubicBezTo>
                  <a:pt x="111" y="146"/>
                  <a:pt x="111" y="145"/>
                  <a:pt x="110" y="146"/>
                </a:cubicBezTo>
                <a:cubicBezTo>
                  <a:pt x="109" y="147"/>
                  <a:pt x="110" y="146"/>
                  <a:pt x="110" y="147"/>
                </a:cubicBezTo>
                <a:close/>
                <a:moveTo>
                  <a:pt x="113" y="158"/>
                </a:moveTo>
                <a:cubicBezTo>
                  <a:pt x="112" y="157"/>
                  <a:pt x="110" y="160"/>
                  <a:pt x="109" y="161"/>
                </a:cubicBezTo>
                <a:cubicBezTo>
                  <a:pt x="109" y="161"/>
                  <a:pt x="110" y="160"/>
                  <a:pt x="110" y="161"/>
                </a:cubicBezTo>
                <a:cubicBezTo>
                  <a:pt x="111" y="160"/>
                  <a:pt x="111" y="158"/>
                  <a:pt x="113" y="158"/>
                </a:cubicBezTo>
                <a:close/>
                <a:moveTo>
                  <a:pt x="113" y="149"/>
                </a:moveTo>
                <a:cubicBezTo>
                  <a:pt x="112" y="149"/>
                  <a:pt x="112" y="150"/>
                  <a:pt x="111" y="151"/>
                </a:cubicBezTo>
                <a:cubicBezTo>
                  <a:pt x="112" y="150"/>
                  <a:pt x="113" y="150"/>
                  <a:pt x="113" y="149"/>
                </a:cubicBezTo>
                <a:close/>
                <a:moveTo>
                  <a:pt x="115" y="144"/>
                </a:moveTo>
                <a:cubicBezTo>
                  <a:pt x="113" y="145"/>
                  <a:pt x="112" y="147"/>
                  <a:pt x="111" y="148"/>
                </a:cubicBezTo>
                <a:cubicBezTo>
                  <a:pt x="110" y="149"/>
                  <a:pt x="110" y="149"/>
                  <a:pt x="110" y="150"/>
                </a:cubicBezTo>
                <a:cubicBezTo>
                  <a:pt x="111" y="149"/>
                  <a:pt x="111" y="149"/>
                  <a:pt x="111" y="149"/>
                </a:cubicBezTo>
                <a:cubicBezTo>
                  <a:pt x="113" y="147"/>
                  <a:pt x="114" y="146"/>
                  <a:pt x="115" y="144"/>
                </a:cubicBezTo>
                <a:close/>
                <a:moveTo>
                  <a:pt x="121" y="139"/>
                </a:moveTo>
                <a:cubicBezTo>
                  <a:pt x="120" y="140"/>
                  <a:pt x="119" y="141"/>
                  <a:pt x="118" y="141"/>
                </a:cubicBezTo>
                <a:cubicBezTo>
                  <a:pt x="118" y="142"/>
                  <a:pt x="117" y="142"/>
                  <a:pt x="117" y="143"/>
                </a:cubicBezTo>
                <a:cubicBezTo>
                  <a:pt x="117" y="143"/>
                  <a:pt x="117" y="143"/>
                  <a:pt x="118" y="143"/>
                </a:cubicBezTo>
                <a:cubicBezTo>
                  <a:pt x="118" y="142"/>
                  <a:pt x="119" y="141"/>
                  <a:pt x="120" y="141"/>
                </a:cubicBezTo>
                <a:cubicBezTo>
                  <a:pt x="120" y="140"/>
                  <a:pt x="120" y="141"/>
                  <a:pt x="121" y="139"/>
                </a:cubicBezTo>
                <a:close/>
                <a:moveTo>
                  <a:pt x="125" y="134"/>
                </a:moveTo>
                <a:cubicBezTo>
                  <a:pt x="124" y="134"/>
                  <a:pt x="124" y="135"/>
                  <a:pt x="123" y="135"/>
                </a:cubicBezTo>
                <a:cubicBezTo>
                  <a:pt x="122" y="136"/>
                  <a:pt x="124" y="135"/>
                  <a:pt x="125" y="134"/>
                </a:cubicBezTo>
                <a:close/>
                <a:moveTo>
                  <a:pt x="128" y="131"/>
                </a:moveTo>
                <a:cubicBezTo>
                  <a:pt x="127" y="131"/>
                  <a:pt x="127" y="132"/>
                  <a:pt x="126" y="133"/>
                </a:cubicBezTo>
                <a:cubicBezTo>
                  <a:pt x="127" y="133"/>
                  <a:pt x="127" y="131"/>
                  <a:pt x="128" y="131"/>
                </a:cubicBezTo>
                <a:close/>
                <a:moveTo>
                  <a:pt x="132" y="127"/>
                </a:moveTo>
                <a:cubicBezTo>
                  <a:pt x="132" y="127"/>
                  <a:pt x="132" y="128"/>
                  <a:pt x="133" y="127"/>
                </a:cubicBezTo>
                <a:cubicBezTo>
                  <a:pt x="133" y="126"/>
                  <a:pt x="133" y="126"/>
                  <a:pt x="134" y="124"/>
                </a:cubicBezTo>
                <a:cubicBezTo>
                  <a:pt x="135" y="124"/>
                  <a:pt x="134" y="125"/>
                  <a:pt x="136" y="124"/>
                </a:cubicBezTo>
                <a:cubicBezTo>
                  <a:pt x="136" y="124"/>
                  <a:pt x="136" y="124"/>
                  <a:pt x="136" y="123"/>
                </a:cubicBezTo>
                <a:cubicBezTo>
                  <a:pt x="135" y="124"/>
                  <a:pt x="134" y="124"/>
                  <a:pt x="132" y="126"/>
                </a:cubicBezTo>
                <a:cubicBezTo>
                  <a:pt x="132" y="126"/>
                  <a:pt x="133" y="125"/>
                  <a:pt x="133" y="125"/>
                </a:cubicBezTo>
                <a:cubicBezTo>
                  <a:pt x="133" y="126"/>
                  <a:pt x="132" y="127"/>
                  <a:pt x="132" y="127"/>
                </a:cubicBezTo>
                <a:close/>
                <a:moveTo>
                  <a:pt x="130" y="130"/>
                </a:moveTo>
                <a:cubicBezTo>
                  <a:pt x="131" y="129"/>
                  <a:pt x="131" y="129"/>
                  <a:pt x="132" y="128"/>
                </a:cubicBezTo>
                <a:cubicBezTo>
                  <a:pt x="131" y="128"/>
                  <a:pt x="130" y="129"/>
                  <a:pt x="130" y="130"/>
                </a:cubicBezTo>
                <a:close/>
                <a:moveTo>
                  <a:pt x="134" y="128"/>
                </a:moveTo>
                <a:cubicBezTo>
                  <a:pt x="134" y="128"/>
                  <a:pt x="134" y="128"/>
                  <a:pt x="135" y="128"/>
                </a:cubicBezTo>
                <a:cubicBezTo>
                  <a:pt x="135" y="127"/>
                  <a:pt x="136" y="127"/>
                  <a:pt x="137" y="126"/>
                </a:cubicBezTo>
                <a:cubicBezTo>
                  <a:pt x="135" y="126"/>
                  <a:pt x="135" y="127"/>
                  <a:pt x="134" y="128"/>
                </a:cubicBezTo>
                <a:cubicBezTo>
                  <a:pt x="133" y="128"/>
                  <a:pt x="132" y="130"/>
                  <a:pt x="131" y="130"/>
                </a:cubicBezTo>
                <a:cubicBezTo>
                  <a:pt x="131" y="131"/>
                  <a:pt x="133" y="129"/>
                  <a:pt x="134" y="128"/>
                </a:cubicBezTo>
                <a:close/>
                <a:moveTo>
                  <a:pt x="137" y="135"/>
                </a:moveTo>
                <a:cubicBezTo>
                  <a:pt x="135" y="136"/>
                  <a:pt x="134" y="137"/>
                  <a:pt x="133" y="138"/>
                </a:cubicBezTo>
                <a:cubicBezTo>
                  <a:pt x="134" y="137"/>
                  <a:pt x="136" y="136"/>
                  <a:pt x="137" y="135"/>
                </a:cubicBezTo>
                <a:close/>
                <a:moveTo>
                  <a:pt x="139" y="122"/>
                </a:moveTo>
                <a:cubicBezTo>
                  <a:pt x="137" y="123"/>
                  <a:pt x="134" y="126"/>
                  <a:pt x="134" y="127"/>
                </a:cubicBezTo>
                <a:cubicBezTo>
                  <a:pt x="136" y="125"/>
                  <a:pt x="137" y="124"/>
                  <a:pt x="139" y="122"/>
                </a:cubicBezTo>
                <a:close/>
                <a:moveTo>
                  <a:pt x="139" y="120"/>
                </a:moveTo>
                <a:cubicBezTo>
                  <a:pt x="141" y="119"/>
                  <a:pt x="141" y="120"/>
                  <a:pt x="142" y="119"/>
                </a:cubicBezTo>
                <a:cubicBezTo>
                  <a:pt x="141" y="118"/>
                  <a:pt x="140" y="119"/>
                  <a:pt x="139" y="120"/>
                </a:cubicBezTo>
                <a:close/>
                <a:moveTo>
                  <a:pt x="141" y="120"/>
                </a:moveTo>
                <a:cubicBezTo>
                  <a:pt x="140" y="120"/>
                  <a:pt x="140" y="121"/>
                  <a:pt x="139" y="122"/>
                </a:cubicBezTo>
                <a:cubicBezTo>
                  <a:pt x="139" y="122"/>
                  <a:pt x="140" y="122"/>
                  <a:pt x="140" y="121"/>
                </a:cubicBezTo>
                <a:lnTo>
                  <a:pt x="141" y="120"/>
                </a:lnTo>
                <a:close/>
                <a:moveTo>
                  <a:pt x="145" y="120"/>
                </a:moveTo>
                <a:cubicBezTo>
                  <a:pt x="145" y="119"/>
                  <a:pt x="143" y="119"/>
                  <a:pt x="142" y="121"/>
                </a:cubicBezTo>
                <a:cubicBezTo>
                  <a:pt x="144" y="120"/>
                  <a:pt x="144" y="120"/>
                  <a:pt x="145" y="120"/>
                </a:cubicBezTo>
                <a:close/>
                <a:moveTo>
                  <a:pt x="152" y="123"/>
                </a:moveTo>
                <a:cubicBezTo>
                  <a:pt x="150" y="123"/>
                  <a:pt x="150" y="125"/>
                  <a:pt x="149" y="126"/>
                </a:cubicBezTo>
                <a:cubicBezTo>
                  <a:pt x="148" y="126"/>
                  <a:pt x="149" y="126"/>
                  <a:pt x="149" y="126"/>
                </a:cubicBezTo>
                <a:cubicBezTo>
                  <a:pt x="150" y="125"/>
                  <a:pt x="151" y="124"/>
                  <a:pt x="152" y="123"/>
                </a:cubicBezTo>
                <a:close/>
                <a:moveTo>
                  <a:pt x="168" y="95"/>
                </a:moveTo>
                <a:cubicBezTo>
                  <a:pt x="168" y="95"/>
                  <a:pt x="167" y="96"/>
                  <a:pt x="166" y="97"/>
                </a:cubicBezTo>
                <a:cubicBezTo>
                  <a:pt x="167" y="96"/>
                  <a:pt x="167" y="96"/>
                  <a:pt x="167" y="96"/>
                </a:cubicBezTo>
                <a:lnTo>
                  <a:pt x="168" y="95"/>
                </a:lnTo>
                <a:close/>
                <a:moveTo>
                  <a:pt x="167" y="97"/>
                </a:moveTo>
                <a:cubicBezTo>
                  <a:pt x="167" y="97"/>
                  <a:pt x="167" y="98"/>
                  <a:pt x="167" y="99"/>
                </a:cubicBezTo>
                <a:cubicBezTo>
                  <a:pt x="167" y="98"/>
                  <a:pt x="168" y="98"/>
                  <a:pt x="168" y="97"/>
                </a:cubicBezTo>
                <a:cubicBezTo>
                  <a:pt x="168" y="97"/>
                  <a:pt x="167" y="97"/>
                  <a:pt x="167" y="97"/>
                </a:cubicBezTo>
                <a:close/>
                <a:moveTo>
                  <a:pt x="168" y="90"/>
                </a:moveTo>
                <a:cubicBezTo>
                  <a:pt x="167" y="91"/>
                  <a:pt x="167" y="91"/>
                  <a:pt x="166" y="92"/>
                </a:cubicBezTo>
                <a:cubicBezTo>
                  <a:pt x="167" y="92"/>
                  <a:pt x="168" y="91"/>
                  <a:pt x="168" y="90"/>
                </a:cubicBezTo>
                <a:close/>
                <a:moveTo>
                  <a:pt x="170" y="97"/>
                </a:moveTo>
                <a:cubicBezTo>
                  <a:pt x="169" y="97"/>
                  <a:pt x="167" y="99"/>
                  <a:pt x="166" y="99"/>
                </a:cubicBezTo>
                <a:cubicBezTo>
                  <a:pt x="166" y="101"/>
                  <a:pt x="169" y="98"/>
                  <a:pt x="170" y="97"/>
                </a:cubicBezTo>
                <a:close/>
                <a:moveTo>
                  <a:pt x="169" y="96"/>
                </a:moveTo>
                <a:cubicBezTo>
                  <a:pt x="168" y="97"/>
                  <a:pt x="168" y="97"/>
                  <a:pt x="168" y="97"/>
                </a:cubicBezTo>
                <a:cubicBezTo>
                  <a:pt x="170" y="97"/>
                  <a:pt x="170" y="95"/>
                  <a:pt x="169" y="96"/>
                </a:cubicBezTo>
                <a:close/>
                <a:moveTo>
                  <a:pt x="192" y="71"/>
                </a:moveTo>
                <a:cubicBezTo>
                  <a:pt x="192" y="72"/>
                  <a:pt x="194" y="70"/>
                  <a:pt x="195" y="70"/>
                </a:cubicBezTo>
                <a:cubicBezTo>
                  <a:pt x="195" y="69"/>
                  <a:pt x="195" y="69"/>
                  <a:pt x="194" y="70"/>
                </a:cubicBezTo>
                <a:cubicBezTo>
                  <a:pt x="194" y="69"/>
                  <a:pt x="195" y="69"/>
                  <a:pt x="196" y="68"/>
                </a:cubicBezTo>
                <a:cubicBezTo>
                  <a:pt x="194" y="69"/>
                  <a:pt x="193" y="70"/>
                  <a:pt x="192" y="71"/>
                </a:cubicBezTo>
                <a:close/>
                <a:moveTo>
                  <a:pt x="188" y="74"/>
                </a:moveTo>
                <a:cubicBezTo>
                  <a:pt x="189" y="74"/>
                  <a:pt x="189" y="73"/>
                  <a:pt x="190" y="73"/>
                </a:cubicBezTo>
                <a:cubicBezTo>
                  <a:pt x="190" y="72"/>
                  <a:pt x="192" y="71"/>
                  <a:pt x="190" y="71"/>
                </a:cubicBezTo>
                <a:cubicBezTo>
                  <a:pt x="190" y="72"/>
                  <a:pt x="189" y="73"/>
                  <a:pt x="187" y="74"/>
                </a:cubicBezTo>
                <a:cubicBezTo>
                  <a:pt x="187" y="74"/>
                  <a:pt x="187" y="74"/>
                  <a:pt x="188" y="74"/>
                </a:cubicBezTo>
                <a:close/>
                <a:moveTo>
                  <a:pt x="185" y="84"/>
                </a:moveTo>
                <a:cubicBezTo>
                  <a:pt x="185" y="84"/>
                  <a:pt x="187" y="82"/>
                  <a:pt x="188" y="82"/>
                </a:cubicBezTo>
                <a:cubicBezTo>
                  <a:pt x="187" y="82"/>
                  <a:pt x="186" y="83"/>
                  <a:pt x="185" y="84"/>
                </a:cubicBezTo>
                <a:close/>
                <a:moveTo>
                  <a:pt x="179" y="84"/>
                </a:moveTo>
                <a:cubicBezTo>
                  <a:pt x="180" y="84"/>
                  <a:pt x="180" y="83"/>
                  <a:pt x="181" y="82"/>
                </a:cubicBezTo>
                <a:cubicBezTo>
                  <a:pt x="180" y="83"/>
                  <a:pt x="179" y="83"/>
                  <a:pt x="179" y="84"/>
                </a:cubicBezTo>
                <a:close/>
                <a:moveTo>
                  <a:pt x="178" y="89"/>
                </a:moveTo>
                <a:cubicBezTo>
                  <a:pt x="178" y="89"/>
                  <a:pt x="180" y="88"/>
                  <a:pt x="180" y="87"/>
                </a:cubicBezTo>
                <a:cubicBezTo>
                  <a:pt x="179" y="87"/>
                  <a:pt x="179" y="88"/>
                  <a:pt x="178" y="89"/>
                </a:cubicBezTo>
                <a:close/>
                <a:moveTo>
                  <a:pt x="173" y="92"/>
                </a:moveTo>
                <a:cubicBezTo>
                  <a:pt x="174" y="92"/>
                  <a:pt x="174" y="91"/>
                  <a:pt x="175" y="91"/>
                </a:cubicBezTo>
                <a:cubicBezTo>
                  <a:pt x="175" y="90"/>
                  <a:pt x="173" y="91"/>
                  <a:pt x="173" y="92"/>
                </a:cubicBezTo>
                <a:close/>
                <a:moveTo>
                  <a:pt x="174" y="93"/>
                </a:moveTo>
                <a:cubicBezTo>
                  <a:pt x="174" y="92"/>
                  <a:pt x="175" y="92"/>
                  <a:pt x="176" y="91"/>
                </a:cubicBezTo>
                <a:cubicBezTo>
                  <a:pt x="176" y="91"/>
                  <a:pt x="175" y="92"/>
                  <a:pt x="177" y="92"/>
                </a:cubicBezTo>
                <a:cubicBezTo>
                  <a:pt x="178" y="90"/>
                  <a:pt x="177" y="91"/>
                  <a:pt x="178" y="90"/>
                </a:cubicBezTo>
                <a:cubicBezTo>
                  <a:pt x="176" y="90"/>
                  <a:pt x="175" y="92"/>
                  <a:pt x="174" y="92"/>
                </a:cubicBezTo>
                <a:cubicBezTo>
                  <a:pt x="173" y="93"/>
                  <a:pt x="172" y="94"/>
                  <a:pt x="174" y="93"/>
                </a:cubicBezTo>
                <a:close/>
                <a:moveTo>
                  <a:pt x="177" y="92"/>
                </a:moveTo>
                <a:cubicBezTo>
                  <a:pt x="176" y="93"/>
                  <a:pt x="176" y="92"/>
                  <a:pt x="174" y="93"/>
                </a:cubicBezTo>
                <a:cubicBezTo>
                  <a:pt x="175" y="94"/>
                  <a:pt x="177" y="93"/>
                  <a:pt x="177" y="92"/>
                </a:cubicBezTo>
                <a:close/>
                <a:moveTo>
                  <a:pt x="180" y="91"/>
                </a:moveTo>
                <a:cubicBezTo>
                  <a:pt x="178" y="91"/>
                  <a:pt x="178" y="91"/>
                  <a:pt x="178" y="91"/>
                </a:cubicBezTo>
                <a:cubicBezTo>
                  <a:pt x="178" y="91"/>
                  <a:pt x="178" y="92"/>
                  <a:pt x="177" y="93"/>
                </a:cubicBezTo>
                <a:cubicBezTo>
                  <a:pt x="177" y="93"/>
                  <a:pt x="179" y="92"/>
                  <a:pt x="180" y="91"/>
                </a:cubicBezTo>
                <a:close/>
                <a:moveTo>
                  <a:pt x="186" y="88"/>
                </a:moveTo>
                <a:cubicBezTo>
                  <a:pt x="186" y="88"/>
                  <a:pt x="185" y="89"/>
                  <a:pt x="185" y="90"/>
                </a:cubicBezTo>
                <a:cubicBezTo>
                  <a:pt x="186" y="89"/>
                  <a:pt x="186" y="89"/>
                  <a:pt x="186" y="89"/>
                </a:cubicBezTo>
                <a:lnTo>
                  <a:pt x="186" y="88"/>
                </a:lnTo>
                <a:close/>
                <a:moveTo>
                  <a:pt x="197" y="78"/>
                </a:moveTo>
                <a:cubicBezTo>
                  <a:pt x="197" y="77"/>
                  <a:pt x="193" y="79"/>
                  <a:pt x="193" y="80"/>
                </a:cubicBezTo>
                <a:cubicBezTo>
                  <a:pt x="191" y="80"/>
                  <a:pt x="193" y="78"/>
                  <a:pt x="195" y="78"/>
                </a:cubicBezTo>
                <a:cubicBezTo>
                  <a:pt x="194" y="77"/>
                  <a:pt x="192" y="79"/>
                  <a:pt x="191" y="80"/>
                </a:cubicBezTo>
                <a:cubicBezTo>
                  <a:pt x="191" y="80"/>
                  <a:pt x="191" y="80"/>
                  <a:pt x="192" y="79"/>
                </a:cubicBezTo>
                <a:cubicBezTo>
                  <a:pt x="191" y="81"/>
                  <a:pt x="190" y="81"/>
                  <a:pt x="189" y="82"/>
                </a:cubicBezTo>
                <a:cubicBezTo>
                  <a:pt x="188" y="82"/>
                  <a:pt x="190" y="81"/>
                  <a:pt x="190" y="81"/>
                </a:cubicBezTo>
                <a:cubicBezTo>
                  <a:pt x="188" y="82"/>
                  <a:pt x="185" y="86"/>
                  <a:pt x="183" y="86"/>
                </a:cubicBezTo>
                <a:cubicBezTo>
                  <a:pt x="182" y="87"/>
                  <a:pt x="181" y="89"/>
                  <a:pt x="179" y="90"/>
                </a:cubicBezTo>
                <a:cubicBezTo>
                  <a:pt x="181" y="90"/>
                  <a:pt x="181" y="88"/>
                  <a:pt x="182" y="89"/>
                </a:cubicBezTo>
                <a:cubicBezTo>
                  <a:pt x="182" y="88"/>
                  <a:pt x="183" y="87"/>
                  <a:pt x="183" y="87"/>
                </a:cubicBezTo>
                <a:cubicBezTo>
                  <a:pt x="185" y="85"/>
                  <a:pt x="187" y="84"/>
                  <a:pt x="189" y="83"/>
                </a:cubicBezTo>
                <a:cubicBezTo>
                  <a:pt x="190" y="81"/>
                  <a:pt x="190" y="81"/>
                  <a:pt x="190" y="81"/>
                </a:cubicBezTo>
                <a:cubicBezTo>
                  <a:pt x="192" y="81"/>
                  <a:pt x="193" y="81"/>
                  <a:pt x="195" y="79"/>
                </a:cubicBezTo>
                <a:cubicBezTo>
                  <a:pt x="195" y="79"/>
                  <a:pt x="194" y="80"/>
                  <a:pt x="194" y="80"/>
                </a:cubicBezTo>
                <a:cubicBezTo>
                  <a:pt x="193" y="80"/>
                  <a:pt x="196" y="78"/>
                  <a:pt x="197" y="78"/>
                </a:cubicBezTo>
                <a:close/>
                <a:moveTo>
                  <a:pt x="198" y="76"/>
                </a:moveTo>
                <a:cubicBezTo>
                  <a:pt x="197" y="76"/>
                  <a:pt x="196" y="77"/>
                  <a:pt x="196" y="77"/>
                </a:cubicBezTo>
                <a:cubicBezTo>
                  <a:pt x="195" y="77"/>
                  <a:pt x="194" y="78"/>
                  <a:pt x="194" y="78"/>
                </a:cubicBezTo>
                <a:cubicBezTo>
                  <a:pt x="196" y="78"/>
                  <a:pt x="197" y="77"/>
                  <a:pt x="198" y="76"/>
                </a:cubicBezTo>
                <a:close/>
                <a:moveTo>
                  <a:pt x="198" y="69"/>
                </a:moveTo>
                <a:cubicBezTo>
                  <a:pt x="198" y="69"/>
                  <a:pt x="197" y="70"/>
                  <a:pt x="197" y="71"/>
                </a:cubicBezTo>
                <a:cubicBezTo>
                  <a:pt x="198" y="70"/>
                  <a:pt x="199" y="69"/>
                  <a:pt x="198" y="69"/>
                </a:cubicBezTo>
                <a:close/>
                <a:moveTo>
                  <a:pt x="199" y="67"/>
                </a:moveTo>
                <a:cubicBezTo>
                  <a:pt x="198" y="67"/>
                  <a:pt x="197" y="68"/>
                  <a:pt x="196" y="69"/>
                </a:cubicBezTo>
                <a:cubicBezTo>
                  <a:pt x="196" y="69"/>
                  <a:pt x="198" y="68"/>
                  <a:pt x="199" y="68"/>
                </a:cubicBezTo>
                <a:cubicBezTo>
                  <a:pt x="199" y="67"/>
                  <a:pt x="199" y="67"/>
                  <a:pt x="199" y="67"/>
                </a:cubicBezTo>
                <a:close/>
                <a:moveTo>
                  <a:pt x="202" y="89"/>
                </a:moveTo>
                <a:cubicBezTo>
                  <a:pt x="203" y="89"/>
                  <a:pt x="205" y="88"/>
                  <a:pt x="203" y="88"/>
                </a:cubicBezTo>
                <a:cubicBezTo>
                  <a:pt x="202" y="89"/>
                  <a:pt x="203" y="89"/>
                  <a:pt x="202" y="89"/>
                </a:cubicBezTo>
                <a:close/>
                <a:moveTo>
                  <a:pt x="63" y="224"/>
                </a:moveTo>
                <a:cubicBezTo>
                  <a:pt x="62" y="224"/>
                  <a:pt x="61" y="226"/>
                  <a:pt x="62" y="226"/>
                </a:cubicBezTo>
                <a:cubicBezTo>
                  <a:pt x="63" y="226"/>
                  <a:pt x="63" y="224"/>
                  <a:pt x="63" y="224"/>
                </a:cubicBezTo>
                <a:close/>
                <a:moveTo>
                  <a:pt x="25" y="298"/>
                </a:moveTo>
                <a:cubicBezTo>
                  <a:pt x="25" y="298"/>
                  <a:pt x="24" y="300"/>
                  <a:pt x="24" y="302"/>
                </a:cubicBezTo>
                <a:cubicBezTo>
                  <a:pt x="25" y="301"/>
                  <a:pt x="24" y="300"/>
                  <a:pt x="25" y="299"/>
                </a:cubicBezTo>
                <a:cubicBezTo>
                  <a:pt x="25" y="299"/>
                  <a:pt x="25" y="299"/>
                  <a:pt x="25" y="298"/>
                </a:cubicBezTo>
                <a:close/>
                <a:moveTo>
                  <a:pt x="51" y="260"/>
                </a:moveTo>
                <a:cubicBezTo>
                  <a:pt x="51" y="261"/>
                  <a:pt x="50" y="261"/>
                  <a:pt x="50" y="263"/>
                </a:cubicBezTo>
                <a:cubicBezTo>
                  <a:pt x="51" y="262"/>
                  <a:pt x="51" y="261"/>
                  <a:pt x="51" y="260"/>
                </a:cubicBezTo>
                <a:close/>
                <a:moveTo>
                  <a:pt x="71" y="226"/>
                </a:moveTo>
                <a:cubicBezTo>
                  <a:pt x="71" y="225"/>
                  <a:pt x="69" y="227"/>
                  <a:pt x="69" y="228"/>
                </a:cubicBezTo>
                <a:cubicBezTo>
                  <a:pt x="70" y="228"/>
                  <a:pt x="70" y="226"/>
                  <a:pt x="71" y="226"/>
                </a:cubicBezTo>
                <a:close/>
                <a:moveTo>
                  <a:pt x="81" y="201"/>
                </a:moveTo>
                <a:cubicBezTo>
                  <a:pt x="81" y="202"/>
                  <a:pt x="83" y="200"/>
                  <a:pt x="83" y="199"/>
                </a:cubicBezTo>
                <a:cubicBezTo>
                  <a:pt x="83" y="198"/>
                  <a:pt x="81" y="201"/>
                  <a:pt x="81" y="201"/>
                </a:cubicBezTo>
                <a:close/>
                <a:moveTo>
                  <a:pt x="66" y="221"/>
                </a:moveTo>
                <a:cubicBezTo>
                  <a:pt x="65" y="222"/>
                  <a:pt x="65" y="222"/>
                  <a:pt x="65" y="222"/>
                </a:cubicBezTo>
                <a:cubicBezTo>
                  <a:pt x="64" y="223"/>
                  <a:pt x="65" y="222"/>
                  <a:pt x="65" y="223"/>
                </a:cubicBezTo>
                <a:cubicBezTo>
                  <a:pt x="65" y="223"/>
                  <a:pt x="66" y="222"/>
                  <a:pt x="66" y="221"/>
                </a:cubicBezTo>
                <a:close/>
                <a:moveTo>
                  <a:pt x="67" y="222"/>
                </a:moveTo>
                <a:cubicBezTo>
                  <a:pt x="66" y="222"/>
                  <a:pt x="66" y="223"/>
                  <a:pt x="66" y="223"/>
                </a:cubicBezTo>
                <a:cubicBezTo>
                  <a:pt x="67" y="223"/>
                  <a:pt x="65" y="225"/>
                  <a:pt x="66" y="225"/>
                </a:cubicBezTo>
                <a:cubicBezTo>
                  <a:pt x="68" y="223"/>
                  <a:pt x="66" y="223"/>
                  <a:pt x="67" y="222"/>
                </a:cubicBezTo>
                <a:close/>
                <a:moveTo>
                  <a:pt x="76" y="210"/>
                </a:moveTo>
                <a:cubicBezTo>
                  <a:pt x="75" y="211"/>
                  <a:pt x="74" y="212"/>
                  <a:pt x="74" y="213"/>
                </a:cubicBezTo>
                <a:cubicBezTo>
                  <a:pt x="73" y="213"/>
                  <a:pt x="72" y="216"/>
                  <a:pt x="70" y="217"/>
                </a:cubicBezTo>
                <a:cubicBezTo>
                  <a:pt x="71" y="218"/>
                  <a:pt x="69" y="219"/>
                  <a:pt x="69" y="220"/>
                </a:cubicBezTo>
                <a:cubicBezTo>
                  <a:pt x="68" y="221"/>
                  <a:pt x="67" y="221"/>
                  <a:pt x="67" y="222"/>
                </a:cubicBezTo>
                <a:cubicBezTo>
                  <a:pt x="68" y="222"/>
                  <a:pt x="69" y="221"/>
                  <a:pt x="69" y="220"/>
                </a:cubicBezTo>
                <a:cubicBezTo>
                  <a:pt x="70" y="219"/>
                  <a:pt x="69" y="221"/>
                  <a:pt x="69" y="221"/>
                </a:cubicBezTo>
                <a:cubicBezTo>
                  <a:pt x="69" y="221"/>
                  <a:pt x="71" y="218"/>
                  <a:pt x="72" y="216"/>
                </a:cubicBezTo>
                <a:cubicBezTo>
                  <a:pt x="73" y="216"/>
                  <a:pt x="72" y="216"/>
                  <a:pt x="74" y="215"/>
                </a:cubicBezTo>
                <a:cubicBezTo>
                  <a:pt x="75" y="213"/>
                  <a:pt x="74" y="212"/>
                  <a:pt x="76" y="210"/>
                </a:cubicBezTo>
                <a:close/>
                <a:moveTo>
                  <a:pt x="80" y="226"/>
                </a:moveTo>
                <a:cubicBezTo>
                  <a:pt x="79" y="227"/>
                  <a:pt x="78" y="227"/>
                  <a:pt x="78" y="229"/>
                </a:cubicBezTo>
                <a:cubicBezTo>
                  <a:pt x="79" y="228"/>
                  <a:pt x="80" y="226"/>
                  <a:pt x="80" y="226"/>
                </a:cubicBezTo>
                <a:close/>
                <a:moveTo>
                  <a:pt x="83" y="204"/>
                </a:moveTo>
                <a:cubicBezTo>
                  <a:pt x="83" y="203"/>
                  <a:pt x="84" y="202"/>
                  <a:pt x="84" y="202"/>
                </a:cubicBezTo>
                <a:cubicBezTo>
                  <a:pt x="84" y="201"/>
                  <a:pt x="84" y="202"/>
                  <a:pt x="85" y="200"/>
                </a:cubicBezTo>
                <a:cubicBezTo>
                  <a:pt x="84" y="200"/>
                  <a:pt x="83" y="202"/>
                  <a:pt x="83" y="204"/>
                </a:cubicBezTo>
                <a:cubicBezTo>
                  <a:pt x="82" y="205"/>
                  <a:pt x="81" y="205"/>
                  <a:pt x="80" y="206"/>
                </a:cubicBezTo>
                <a:cubicBezTo>
                  <a:pt x="81" y="206"/>
                  <a:pt x="81" y="205"/>
                  <a:pt x="80" y="205"/>
                </a:cubicBezTo>
                <a:cubicBezTo>
                  <a:pt x="82" y="204"/>
                  <a:pt x="83" y="202"/>
                  <a:pt x="83" y="201"/>
                </a:cubicBezTo>
                <a:cubicBezTo>
                  <a:pt x="82" y="201"/>
                  <a:pt x="82" y="203"/>
                  <a:pt x="81" y="204"/>
                </a:cubicBezTo>
                <a:cubicBezTo>
                  <a:pt x="80" y="205"/>
                  <a:pt x="80" y="205"/>
                  <a:pt x="80" y="205"/>
                </a:cubicBezTo>
                <a:cubicBezTo>
                  <a:pt x="78" y="207"/>
                  <a:pt x="76" y="210"/>
                  <a:pt x="77" y="211"/>
                </a:cubicBezTo>
                <a:cubicBezTo>
                  <a:pt x="76" y="211"/>
                  <a:pt x="76" y="211"/>
                  <a:pt x="76" y="210"/>
                </a:cubicBezTo>
                <a:cubicBezTo>
                  <a:pt x="75" y="212"/>
                  <a:pt x="76" y="212"/>
                  <a:pt x="76" y="212"/>
                </a:cubicBezTo>
                <a:cubicBezTo>
                  <a:pt x="77" y="210"/>
                  <a:pt x="77" y="211"/>
                  <a:pt x="78" y="211"/>
                </a:cubicBezTo>
                <a:cubicBezTo>
                  <a:pt x="79" y="208"/>
                  <a:pt x="81" y="207"/>
                  <a:pt x="82" y="205"/>
                </a:cubicBezTo>
                <a:cubicBezTo>
                  <a:pt x="82" y="205"/>
                  <a:pt x="82" y="205"/>
                  <a:pt x="83" y="204"/>
                </a:cubicBezTo>
                <a:close/>
                <a:moveTo>
                  <a:pt x="86" y="219"/>
                </a:moveTo>
                <a:cubicBezTo>
                  <a:pt x="84" y="219"/>
                  <a:pt x="84" y="221"/>
                  <a:pt x="83" y="221"/>
                </a:cubicBezTo>
                <a:cubicBezTo>
                  <a:pt x="83" y="222"/>
                  <a:pt x="85" y="220"/>
                  <a:pt x="86" y="219"/>
                </a:cubicBezTo>
                <a:close/>
                <a:moveTo>
                  <a:pt x="88" y="195"/>
                </a:moveTo>
                <a:cubicBezTo>
                  <a:pt x="87" y="196"/>
                  <a:pt x="86" y="198"/>
                  <a:pt x="85" y="199"/>
                </a:cubicBezTo>
                <a:cubicBezTo>
                  <a:pt x="86" y="199"/>
                  <a:pt x="86" y="199"/>
                  <a:pt x="86" y="199"/>
                </a:cubicBezTo>
                <a:cubicBezTo>
                  <a:pt x="86" y="198"/>
                  <a:pt x="87" y="197"/>
                  <a:pt x="88" y="197"/>
                </a:cubicBezTo>
                <a:lnTo>
                  <a:pt x="88" y="195"/>
                </a:lnTo>
                <a:close/>
                <a:moveTo>
                  <a:pt x="92" y="191"/>
                </a:moveTo>
                <a:cubicBezTo>
                  <a:pt x="92" y="192"/>
                  <a:pt x="91" y="193"/>
                  <a:pt x="90" y="194"/>
                </a:cubicBezTo>
                <a:cubicBezTo>
                  <a:pt x="91" y="193"/>
                  <a:pt x="92" y="192"/>
                  <a:pt x="92" y="191"/>
                </a:cubicBezTo>
                <a:close/>
                <a:moveTo>
                  <a:pt x="96" y="207"/>
                </a:moveTo>
                <a:cubicBezTo>
                  <a:pt x="96" y="207"/>
                  <a:pt x="95" y="208"/>
                  <a:pt x="94" y="209"/>
                </a:cubicBezTo>
                <a:cubicBezTo>
                  <a:pt x="95" y="209"/>
                  <a:pt x="96" y="208"/>
                  <a:pt x="96" y="207"/>
                </a:cubicBezTo>
                <a:close/>
                <a:moveTo>
                  <a:pt x="97" y="185"/>
                </a:moveTo>
                <a:cubicBezTo>
                  <a:pt x="96" y="187"/>
                  <a:pt x="95" y="187"/>
                  <a:pt x="94" y="189"/>
                </a:cubicBezTo>
                <a:cubicBezTo>
                  <a:pt x="92" y="190"/>
                  <a:pt x="92" y="190"/>
                  <a:pt x="92" y="190"/>
                </a:cubicBezTo>
                <a:cubicBezTo>
                  <a:pt x="92" y="191"/>
                  <a:pt x="92" y="191"/>
                  <a:pt x="91" y="192"/>
                </a:cubicBezTo>
                <a:cubicBezTo>
                  <a:pt x="92" y="192"/>
                  <a:pt x="93" y="190"/>
                  <a:pt x="94" y="190"/>
                </a:cubicBezTo>
                <a:cubicBezTo>
                  <a:pt x="94" y="191"/>
                  <a:pt x="93" y="191"/>
                  <a:pt x="92" y="192"/>
                </a:cubicBezTo>
                <a:cubicBezTo>
                  <a:pt x="93" y="192"/>
                  <a:pt x="94" y="191"/>
                  <a:pt x="95" y="190"/>
                </a:cubicBezTo>
                <a:cubicBezTo>
                  <a:pt x="95" y="189"/>
                  <a:pt x="95" y="189"/>
                  <a:pt x="94" y="189"/>
                </a:cubicBezTo>
                <a:cubicBezTo>
                  <a:pt x="95" y="188"/>
                  <a:pt x="96" y="187"/>
                  <a:pt x="97" y="186"/>
                </a:cubicBezTo>
                <a:cubicBezTo>
                  <a:pt x="98" y="185"/>
                  <a:pt x="97" y="186"/>
                  <a:pt x="97" y="185"/>
                </a:cubicBezTo>
                <a:close/>
                <a:moveTo>
                  <a:pt x="100" y="183"/>
                </a:moveTo>
                <a:cubicBezTo>
                  <a:pt x="100" y="182"/>
                  <a:pt x="98" y="184"/>
                  <a:pt x="98" y="185"/>
                </a:cubicBezTo>
                <a:cubicBezTo>
                  <a:pt x="99" y="184"/>
                  <a:pt x="99" y="184"/>
                  <a:pt x="100" y="183"/>
                </a:cubicBezTo>
                <a:close/>
                <a:moveTo>
                  <a:pt x="102" y="199"/>
                </a:moveTo>
                <a:cubicBezTo>
                  <a:pt x="101" y="200"/>
                  <a:pt x="100" y="201"/>
                  <a:pt x="100" y="201"/>
                </a:cubicBezTo>
                <a:cubicBezTo>
                  <a:pt x="101" y="201"/>
                  <a:pt x="102" y="199"/>
                  <a:pt x="102" y="199"/>
                </a:cubicBezTo>
                <a:close/>
                <a:moveTo>
                  <a:pt x="108" y="174"/>
                </a:moveTo>
                <a:cubicBezTo>
                  <a:pt x="107" y="175"/>
                  <a:pt x="106" y="176"/>
                  <a:pt x="105" y="177"/>
                </a:cubicBezTo>
                <a:cubicBezTo>
                  <a:pt x="105" y="179"/>
                  <a:pt x="107" y="176"/>
                  <a:pt x="108" y="174"/>
                </a:cubicBezTo>
                <a:close/>
                <a:moveTo>
                  <a:pt x="110" y="172"/>
                </a:moveTo>
                <a:cubicBezTo>
                  <a:pt x="109" y="172"/>
                  <a:pt x="109" y="173"/>
                  <a:pt x="108" y="174"/>
                </a:cubicBezTo>
                <a:cubicBezTo>
                  <a:pt x="109" y="173"/>
                  <a:pt x="110" y="172"/>
                  <a:pt x="110" y="172"/>
                </a:cubicBezTo>
                <a:close/>
                <a:moveTo>
                  <a:pt x="111" y="167"/>
                </a:moveTo>
                <a:cubicBezTo>
                  <a:pt x="111" y="166"/>
                  <a:pt x="109" y="168"/>
                  <a:pt x="109" y="169"/>
                </a:cubicBezTo>
                <a:cubicBezTo>
                  <a:pt x="110" y="169"/>
                  <a:pt x="110" y="167"/>
                  <a:pt x="111" y="167"/>
                </a:cubicBezTo>
                <a:close/>
                <a:moveTo>
                  <a:pt x="112" y="170"/>
                </a:moveTo>
                <a:cubicBezTo>
                  <a:pt x="112" y="171"/>
                  <a:pt x="112" y="171"/>
                  <a:pt x="112" y="171"/>
                </a:cubicBezTo>
                <a:cubicBezTo>
                  <a:pt x="112" y="171"/>
                  <a:pt x="112" y="170"/>
                  <a:pt x="113" y="170"/>
                </a:cubicBezTo>
                <a:cubicBezTo>
                  <a:pt x="113" y="169"/>
                  <a:pt x="113" y="169"/>
                  <a:pt x="112" y="170"/>
                </a:cubicBezTo>
                <a:close/>
                <a:moveTo>
                  <a:pt x="114" y="167"/>
                </a:moveTo>
                <a:cubicBezTo>
                  <a:pt x="114" y="167"/>
                  <a:pt x="113" y="167"/>
                  <a:pt x="113" y="168"/>
                </a:cubicBezTo>
                <a:cubicBezTo>
                  <a:pt x="113" y="168"/>
                  <a:pt x="113" y="168"/>
                  <a:pt x="113" y="168"/>
                </a:cubicBezTo>
                <a:cubicBezTo>
                  <a:pt x="112" y="168"/>
                  <a:pt x="112" y="169"/>
                  <a:pt x="112" y="169"/>
                </a:cubicBezTo>
                <a:cubicBezTo>
                  <a:pt x="113" y="169"/>
                  <a:pt x="114" y="168"/>
                  <a:pt x="114" y="167"/>
                </a:cubicBezTo>
                <a:close/>
                <a:moveTo>
                  <a:pt x="116" y="184"/>
                </a:moveTo>
                <a:cubicBezTo>
                  <a:pt x="115" y="185"/>
                  <a:pt x="115" y="186"/>
                  <a:pt x="114" y="187"/>
                </a:cubicBezTo>
                <a:cubicBezTo>
                  <a:pt x="113" y="187"/>
                  <a:pt x="116" y="186"/>
                  <a:pt x="116" y="184"/>
                </a:cubicBezTo>
                <a:close/>
                <a:moveTo>
                  <a:pt x="126" y="152"/>
                </a:moveTo>
                <a:cubicBezTo>
                  <a:pt x="125" y="153"/>
                  <a:pt x="123" y="154"/>
                  <a:pt x="121" y="156"/>
                </a:cubicBezTo>
                <a:cubicBezTo>
                  <a:pt x="123" y="155"/>
                  <a:pt x="124" y="154"/>
                  <a:pt x="126" y="152"/>
                </a:cubicBezTo>
                <a:close/>
                <a:moveTo>
                  <a:pt x="127" y="173"/>
                </a:moveTo>
                <a:cubicBezTo>
                  <a:pt x="126" y="174"/>
                  <a:pt x="124" y="176"/>
                  <a:pt x="124" y="177"/>
                </a:cubicBezTo>
                <a:cubicBezTo>
                  <a:pt x="125" y="176"/>
                  <a:pt x="126" y="175"/>
                  <a:pt x="127" y="173"/>
                </a:cubicBezTo>
                <a:close/>
                <a:moveTo>
                  <a:pt x="132" y="151"/>
                </a:moveTo>
                <a:cubicBezTo>
                  <a:pt x="131" y="152"/>
                  <a:pt x="131" y="152"/>
                  <a:pt x="131" y="153"/>
                </a:cubicBezTo>
                <a:cubicBezTo>
                  <a:pt x="132" y="152"/>
                  <a:pt x="133" y="151"/>
                  <a:pt x="132" y="151"/>
                </a:cubicBezTo>
                <a:close/>
                <a:moveTo>
                  <a:pt x="137" y="141"/>
                </a:moveTo>
                <a:cubicBezTo>
                  <a:pt x="136" y="142"/>
                  <a:pt x="135" y="142"/>
                  <a:pt x="135" y="143"/>
                </a:cubicBezTo>
                <a:cubicBezTo>
                  <a:pt x="136" y="142"/>
                  <a:pt x="137" y="142"/>
                  <a:pt x="138" y="142"/>
                </a:cubicBezTo>
                <a:cubicBezTo>
                  <a:pt x="138" y="140"/>
                  <a:pt x="138" y="141"/>
                  <a:pt x="137" y="141"/>
                </a:cubicBezTo>
                <a:close/>
                <a:moveTo>
                  <a:pt x="158" y="123"/>
                </a:moveTo>
                <a:cubicBezTo>
                  <a:pt x="157" y="123"/>
                  <a:pt x="156" y="124"/>
                  <a:pt x="155" y="125"/>
                </a:cubicBezTo>
                <a:cubicBezTo>
                  <a:pt x="156" y="125"/>
                  <a:pt x="157" y="124"/>
                  <a:pt x="158" y="123"/>
                </a:cubicBezTo>
                <a:close/>
                <a:moveTo>
                  <a:pt x="166" y="121"/>
                </a:moveTo>
                <a:cubicBezTo>
                  <a:pt x="165" y="122"/>
                  <a:pt x="164" y="123"/>
                  <a:pt x="163" y="124"/>
                </a:cubicBezTo>
                <a:cubicBezTo>
                  <a:pt x="164" y="124"/>
                  <a:pt x="164" y="124"/>
                  <a:pt x="164" y="124"/>
                </a:cubicBezTo>
                <a:cubicBezTo>
                  <a:pt x="165" y="123"/>
                  <a:pt x="165" y="123"/>
                  <a:pt x="165" y="123"/>
                </a:cubicBezTo>
                <a:cubicBezTo>
                  <a:pt x="164" y="123"/>
                  <a:pt x="166" y="122"/>
                  <a:pt x="166" y="121"/>
                </a:cubicBezTo>
                <a:close/>
                <a:moveTo>
                  <a:pt x="234" y="56"/>
                </a:moveTo>
                <a:cubicBezTo>
                  <a:pt x="236" y="55"/>
                  <a:pt x="237" y="55"/>
                  <a:pt x="236" y="56"/>
                </a:cubicBezTo>
                <a:cubicBezTo>
                  <a:pt x="237" y="56"/>
                  <a:pt x="237" y="56"/>
                  <a:pt x="237" y="56"/>
                </a:cubicBezTo>
                <a:cubicBezTo>
                  <a:pt x="237" y="56"/>
                  <a:pt x="237" y="55"/>
                  <a:pt x="238" y="55"/>
                </a:cubicBezTo>
                <a:cubicBezTo>
                  <a:pt x="236" y="55"/>
                  <a:pt x="236" y="55"/>
                  <a:pt x="234" y="56"/>
                </a:cubicBezTo>
                <a:close/>
                <a:moveTo>
                  <a:pt x="222" y="63"/>
                </a:moveTo>
                <a:cubicBezTo>
                  <a:pt x="222" y="63"/>
                  <a:pt x="220" y="64"/>
                  <a:pt x="219" y="64"/>
                </a:cubicBezTo>
                <a:cubicBezTo>
                  <a:pt x="219" y="65"/>
                  <a:pt x="221" y="64"/>
                  <a:pt x="222" y="63"/>
                </a:cubicBezTo>
                <a:close/>
                <a:moveTo>
                  <a:pt x="214" y="58"/>
                </a:moveTo>
                <a:cubicBezTo>
                  <a:pt x="214" y="59"/>
                  <a:pt x="214" y="59"/>
                  <a:pt x="214" y="59"/>
                </a:cubicBezTo>
                <a:cubicBezTo>
                  <a:pt x="215" y="58"/>
                  <a:pt x="215" y="58"/>
                  <a:pt x="216" y="58"/>
                </a:cubicBezTo>
                <a:cubicBezTo>
                  <a:pt x="217" y="57"/>
                  <a:pt x="217" y="57"/>
                  <a:pt x="217" y="56"/>
                </a:cubicBezTo>
                <a:cubicBezTo>
                  <a:pt x="216" y="57"/>
                  <a:pt x="215" y="58"/>
                  <a:pt x="214" y="58"/>
                </a:cubicBezTo>
                <a:close/>
                <a:moveTo>
                  <a:pt x="213" y="67"/>
                </a:moveTo>
                <a:cubicBezTo>
                  <a:pt x="214" y="67"/>
                  <a:pt x="215" y="66"/>
                  <a:pt x="216" y="65"/>
                </a:cubicBezTo>
                <a:cubicBezTo>
                  <a:pt x="215" y="66"/>
                  <a:pt x="213" y="67"/>
                  <a:pt x="212" y="67"/>
                </a:cubicBezTo>
                <a:cubicBezTo>
                  <a:pt x="211" y="69"/>
                  <a:pt x="214" y="67"/>
                  <a:pt x="213" y="67"/>
                </a:cubicBezTo>
                <a:close/>
                <a:moveTo>
                  <a:pt x="213" y="59"/>
                </a:moveTo>
                <a:cubicBezTo>
                  <a:pt x="212" y="59"/>
                  <a:pt x="211" y="60"/>
                  <a:pt x="210" y="61"/>
                </a:cubicBezTo>
                <a:cubicBezTo>
                  <a:pt x="211" y="60"/>
                  <a:pt x="212" y="60"/>
                  <a:pt x="213" y="59"/>
                </a:cubicBezTo>
                <a:close/>
                <a:moveTo>
                  <a:pt x="210" y="60"/>
                </a:moveTo>
                <a:cubicBezTo>
                  <a:pt x="211" y="59"/>
                  <a:pt x="210" y="59"/>
                  <a:pt x="211" y="59"/>
                </a:cubicBezTo>
                <a:cubicBezTo>
                  <a:pt x="212" y="58"/>
                  <a:pt x="211" y="59"/>
                  <a:pt x="212" y="59"/>
                </a:cubicBezTo>
                <a:cubicBezTo>
                  <a:pt x="214" y="58"/>
                  <a:pt x="213" y="57"/>
                  <a:pt x="214" y="56"/>
                </a:cubicBezTo>
                <a:cubicBezTo>
                  <a:pt x="213" y="57"/>
                  <a:pt x="211" y="58"/>
                  <a:pt x="210" y="59"/>
                </a:cubicBezTo>
                <a:cubicBezTo>
                  <a:pt x="210" y="59"/>
                  <a:pt x="209" y="60"/>
                  <a:pt x="210" y="60"/>
                </a:cubicBezTo>
                <a:close/>
                <a:moveTo>
                  <a:pt x="208" y="66"/>
                </a:moveTo>
                <a:cubicBezTo>
                  <a:pt x="209" y="65"/>
                  <a:pt x="211" y="65"/>
                  <a:pt x="212" y="64"/>
                </a:cubicBezTo>
                <a:cubicBezTo>
                  <a:pt x="211" y="64"/>
                  <a:pt x="208" y="66"/>
                  <a:pt x="208" y="66"/>
                </a:cubicBezTo>
                <a:close/>
                <a:moveTo>
                  <a:pt x="205" y="63"/>
                </a:moveTo>
                <a:cubicBezTo>
                  <a:pt x="206" y="63"/>
                  <a:pt x="207" y="62"/>
                  <a:pt x="208" y="62"/>
                </a:cubicBezTo>
                <a:cubicBezTo>
                  <a:pt x="208" y="62"/>
                  <a:pt x="207" y="62"/>
                  <a:pt x="207" y="62"/>
                </a:cubicBezTo>
                <a:cubicBezTo>
                  <a:pt x="207" y="62"/>
                  <a:pt x="206" y="63"/>
                  <a:pt x="205" y="63"/>
                </a:cubicBezTo>
                <a:close/>
                <a:moveTo>
                  <a:pt x="202" y="74"/>
                </a:moveTo>
                <a:cubicBezTo>
                  <a:pt x="200" y="75"/>
                  <a:pt x="200" y="75"/>
                  <a:pt x="200" y="75"/>
                </a:cubicBezTo>
                <a:cubicBezTo>
                  <a:pt x="199" y="76"/>
                  <a:pt x="201" y="76"/>
                  <a:pt x="200" y="76"/>
                </a:cubicBezTo>
                <a:cubicBezTo>
                  <a:pt x="202" y="75"/>
                  <a:pt x="202" y="75"/>
                  <a:pt x="202" y="74"/>
                </a:cubicBezTo>
                <a:close/>
                <a:moveTo>
                  <a:pt x="203" y="73"/>
                </a:moveTo>
                <a:cubicBezTo>
                  <a:pt x="204" y="72"/>
                  <a:pt x="203" y="73"/>
                  <a:pt x="202" y="73"/>
                </a:cubicBezTo>
                <a:cubicBezTo>
                  <a:pt x="202" y="74"/>
                  <a:pt x="201" y="74"/>
                  <a:pt x="199" y="75"/>
                </a:cubicBezTo>
                <a:cubicBezTo>
                  <a:pt x="201" y="75"/>
                  <a:pt x="202" y="73"/>
                  <a:pt x="203" y="73"/>
                </a:cubicBezTo>
                <a:close/>
                <a:moveTo>
                  <a:pt x="205" y="63"/>
                </a:moveTo>
                <a:cubicBezTo>
                  <a:pt x="203" y="64"/>
                  <a:pt x="202" y="65"/>
                  <a:pt x="201" y="66"/>
                </a:cubicBezTo>
                <a:cubicBezTo>
                  <a:pt x="200" y="67"/>
                  <a:pt x="200" y="67"/>
                  <a:pt x="200" y="67"/>
                </a:cubicBezTo>
                <a:cubicBezTo>
                  <a:pt x="202" y="65"/>
                  <a:pt x="203" y="65"/>
                  <a:pt x="205" y="63"/>
                </a:cubicBezTo>
                <a:close/>
                <a:moveTo>
                  <a:pt x="208" y="73"/>
                </a:moveTo>
                <a:cubicBezTo>
                  <a:pt x="208" y="72"/>
                  <a:pt x="208" y="72"/>
                  <a:pt x="208" y="72"/>
                </a:cubicBezTo>
                <a:cubicBezTo>
                  <a:pt x="208" y="72"/>
                  <a:pt x="207" y="72"/>
                  <a:pt x="207" y="73"/>
                </a:cubicBezTo>
                <a:cubicBezTo>
                  <a:pt x="206" y="74"/>
                  <a:pt x="206" y="74"/>
                  <a:pt x="205" y="75"/>
                </a:cubicBezTo>
                <a:cubicBezTo>
                  <a:pt x="206" y="75"/>
                  <a:pt x="206" y="74"/>
                  <a:pt x="207" y="74"/>
                </a:cubicBezTo>
                <a:cubicBezTo>
                  <a:pt x="208" y="73"/>
                  <a:pt x="206" y="73"/>
                  <a:pt x="208" y="73"/>
                </a:cubicBezTo>
                <a:cubicBezTo>
                  <a:pt x="208" y="73"/>
                  <a:pt x="208" y="73"/>
                  <a:pt x="208" y="73"/>
                </a:cubicBezTo>
                <a:close/>
                <a:moveTo>
                  <a:pt x="212" y="69"/>
                </a:moveTo>
                <a:cubicBezTo>
                  <a:pt x="212" y="69"/>
                  <a:pt x="212" y="70"/>
                  <a:pt x="213" y="69"/>
                </a:cubicBezTo>
                <a:cubicBezTo>
                  <a:pt x="214" y="68"/>
                  <a:pt x="214" y="68"/>
                  <a:pt x="216" y="67"/>
                </a:cubicBezTo>
                <a:cubicBezTo>
                  <a:pt x="217" y="66"/>
                  <a:pt x="218" y="65"/>
                  <a:pt x="218" y="65"/>
                </a:cubicBezTo>
                <a:cubicBezTo>
                  <a:pt x="217" y="65"/>
                  <a:pt x="215" y="66"/>
                  <a:pt x="216" y="66"/>
                </a:cubicBezTo>
                <a:cubicBezTo>
                  <a:pt x="215" y="67"/>
                  <a:pt x="215" y="67"/>
                  <a:pt x="215" y="67"/>
                </a:cubicBezTo>
                <a:cubicBezTo>
                  <a:pt x="214" y="67"/>
                  <a:pt x="215" y="67"/>
                  <a:pt x="214" y="67"/>
                </a:cubicBezTo>
                <a:cubicBezTo>
                  <a:pt x="213" y="68"/>
                  <a:pt x="213" y="68"/>
                  <a:pt x="213" y="69"/>
                </a:cubicBezTo>
                <a:cubicBezTo>
                  <a:pt x="212" y="69"/>
                  <a:pt x="212" y="69"/>
                  <a:pt x="212" y="68"/>
                </a:cubicBezTo>
                <a:cubicBezTo>
                  <a:pt x="210" y="69"/>
                  <a:pt x="208" y="71"/>
                  <a:pt x="205" y="72"/>
                </a:cubicBezTo>
                <a:cubicBezTo>
                  <a:pt x="206" y="73"/>
                  <a:pt x="210" y="71"/>
                  <a:pt x="212" y="69"/>
                </a:cubicBezTo>
                <a:close/>
                <a:moveTo>
                  <a:pt x="222" y="76"/>
                </a:moveTo>
                <a:cubicBezTo>
                  <a:pt x="218" y="78"/>
                  <a:pt x="214" y="81"/>
                  <a:pt x="210" y="83"/>
                </a:cubicBezTo>
                <a:cubicBezTo>
                  <a:pt x="211" y="83"/>
                  <a:pt x="211" y="83"/>
                  <a:pt x="212" y="82"/>
                </a:cubicBezTo>
                <a:cubicBezTo>
                  <a:pt x="212" y="82"/>
                  <a:pt x="211" y="83"/>
                  <a:pt x="212" y="84"/>
                </a:cubicBezTo>
                <a:cubicBezTo>
                  <a:pt x="212" y="84"/>
                  <a:pt x="213" y="83"/>
                  <a:pt x="213" y="83"/>
                </a:cubicBezTo>
                <a:cubicBezTo>
                  <a:pt x="214" y="82"/>
                  <a:pt x="213" y="83"/>
                  <a:pt x="213" y="82"/>
                </a:cubicBezTo>
                <a:cubicBezTo>
                  <a:pt x="215" y="81"/>
                  <a:pt x="214" y="82"/>
                  <a:pt x="215" y="82"/>
                </a:cubicBezTo>
                <a:cubicBezTo>
                  <a:pt x="215" y="81"/>
                  <a:pt x="216" y="81"/>
                  <a:pt x="216" y="80"/>
                </a:cubicBezTo>
                <a:cubicBezTo>
                  <a:pt x="215" y="80"/>
                  <a:pt x="215" y="81"/>
                  <a:pt x="214" y="81"/>
                </a:cubicBezTo>
                <a:cubicBezTo>
                  <a:pt x="215" y="80"/>
                  <a:pt x="216" y="80"/>
                  <a:pt x="217" y="79"/>
                </a:cubicBezTo>
                <a:cubicBezTo>
                  <a:pt x="219" y="78"/>
                  <a:pt x="218" y="79"/>
                  <a:pt x="220" y="78"/>
                </a:cubicBezTo>
                <a:cubicBezTo>
                  <a:pt x="220" y="78"/>
                  <a:pt x="219" y="78"/>
                  <a:pt x="219" y="78"/>
                </a:cubicBezTo>
                <a:cubicBezTo>
                  <a:pt x="219" y="77"/>
                  <a:pt x="221" y="78"/>
                  <a:pt x="222" y="76"/>
                </a:cubicBezTo>
                <a:close/>
                <a:moveTo>
                  <a:pt x="225" y="75"/>
                </a:moveTo>
                <a:cubicBezTo>
                  <a:pt x="224" y="75"/>
                  <a:pt x="222" y="77"/>
                  <a:pt x="224" y="76"/>
                </a:cubicBezTo>
                <a:cubicBezTo>
                  <a:pt x="223" y="76"/>
                  <a:pt x="225" y="75"/>
                  <a:pt x="225" y="75"/>
                </a:cubicBezTo>
                <a:close/>
                <a:moveTo>
                  <a:pt x="228" y="73"/>
                </a:moveTo>
                <a:cubicBezTo>
                  <a:pt x="227" y="73"/>
                  <a:pt x="226" y="74"/>
                  <a:pt x="225" y="75"/>
                </a:cubicBezTo>
                <a:cubicBezTo>
                  <a:pt x="226" y="75"/>
                  <a:pt x="226" y="75"/>
                  <a:pt x="226" y="75"/>
                </a:cubicBezTo>
                <a:cubicBezTo>
                  <a:pt x="227" y="74"/>
                  <a:pt x="229" y="73"/>
                  <a:pt x="228" y="73"/>
                </a:cubicBezTo>
                <a:close/>
                <a:moveTo>
                  <a:pt x="232" y="57"/>
                </a:moveTo>
                <a:cubicBezTo>
                  <a:pt x="229" y="58"/>
                  <a:pt x="226" y="61"/>
                  <a:pt x="223" y="61"/>
                </a:cubicBezTo>
                <a:cubicBezTo>
                  <a:pt x="224" y="62"/>
                  <a:pt x="223" y="62"/>
                  <a:pt x="222" y="63"/>
                </a:cubicBezTo>
                <a:cubicBezTo>
                  <a:pt x="224" y="63"/>
                  <a:pt x="225" y="61"/>
                  <a:pt x="225" y="62"/>
                </a:cubicBezTo>
                <a:cubicBezTo>
                  <a:pt x="226" y="61"/>
                  <a:pt x="225" y="62"/>
                  <a:pt x="225" y="62"/>
                </a:cubicBezTo>
                <a:cubicBezTo>
                  <a:pt x="227" y="60"/>
                  <a:pt x="230" y="58"/>
                  <a:pt x="232" y="57"/>
                </a:cubicBezTo>
                <a:close/>
                <a:moveTo>
                  <a:pt x="238" y="58"/>
                </a:moveTo>
                <a:cubicBezTo>
                  <a:pt x="238" y="57"/>
                  <a:pt x="235" y="59"/>
                  <a:pt x="234" y="60"/>
                </a:cubicBezTo>
                <a:cubicBezTo>
                  <a:pt x="234" y="60"/>
                  <a:pt x="237" y="59"/>
                  <a:pt x="238" y="58"/>
                </a:cubicBezTo>
                <a:close/>
                <a:moveTo>
                  <a:pt x="240" y="55"/>
                </a:moveTo>
                <a:cubicBezTo>
                  <a:pt x="238" y="56"/>
                  <a:pt x="236" y="57"/>
                  <a:pt x="235" y="57"/>
                </a:cubicBezTo>
                <a:cubicBezTo>
                  <a:pt x="235" y="58"/>
                  <a:pt x="234" y="58"/>
                  <a:pt x="234" y="58"/>
                </a:cubicBezTo>
                <a:cubicBezTo>
                  <a:pt x="235" y="58"/>
                  <a:pt x="238" y="57"/>
                  <a:pt x="240" y="55"/>
                </a:cubicBezTo>
                <a:close/>
                <a:moveTo>
                  <a:pt x="244" y="64"/>
                </a:moveTo>
                <a:cubicBezTo>
                  <a:pt x="243" y="64"/>
                  <a:pt x="242" y="65"/>
                  <a:pt x="241" y="65"/>
                </a:cubicBezTo>
                <a:cubicBezTo>
                  <a:pt x="243" y="65"/>
                  <a:pt x="243" y="65"/>
                  <a:pt x="242" y="66"/>
                </a:cubicBezTo>
                <a:cubicBezTo>
                  <a:pt x="244" y="66"/>
                  <a:pt x="244" y="65"/>
                  <a:pt x="244" y="64"/>
                </a:cubicBezTo>
                <a:close/>
                <a:moveTo>
                  <a:pt x="245" y="51"/>
                </a:moveTo>
                <a:cubicBezTo>
                  <a:pt x="243" y="51"/>
                  <a:pt x="242" y="53"/>
                  <a:pt x="240" y="53"/>
                </a:cubicBezTo>
                <a:cubicBezTo>
                  <a:pt x="240" y="55"/>
                  <a:pt x="243" y="52"/>
                  <a:pt x="245" y="51"/>
                </a:cubicBezTo>
                <a:close/>
                <a:moveTo>
                  <a:pt x="252" y="40"/>
                </a:moveTo>
                <a:cubicBezTo>
                  <a:pt x="253" y="40"/>
                  <a:pt x="255" y="39"/>
                  <a:pt x="256" y="38"/>
                </a:cubicBezTo>
                <a:cubicBezTo>
                  <a:pt x="255" y="38"/>
                  <a:pt x="255" y="38"/>
                  <a:pt x="254" y="38"/>
                </a:cubicBezTo>
                <a:cubicBezTo>
                  <a:pt x="253" y="38"/>
                  <a:pt x="254" y="37"/>
                  <a:pt x="255" y="37"/>
                </a:cubicBezTo>
                <a:cubicBezTo>
                  <a:pt x="251" y="38"/>
                  <a:pt x="254" y="39"/>
                  <a:pt x="252" y="40"/>
                </a:cubicBezTo>
                <a:close/>
                <a:moveTo>
                  <a:pt x="248" y="41"/>
                </a:moveTo>
                <a:cubicBezTo>
                  <a:pt x="248" y="42"/>
                  <a:pt x="250" y="41"/>
                  <a:pt x="250" y="40"/>
                </a:cubicBezTo>
                <a:cubicBezTo>
                  <a:pt x="249" y="40"/>
                  <a:pt x="249" y="41"/>
                  <a:pt x="248" y="41"/>
                </a:cubicBezTo>
                <a:close/>
                <a:moveTo>
                  <a:pt x="248" y="42"/>
                </a:moveTo>
                <a:cubicBezTo>
                  <a:pt x="249" y="41"/>
                  <a:pt x="250" y="41"/>
                  <a:pt x="251" y="40"/>
                </a:cubicBezTo>
                <a:cubicBezTo>
                  <a:pt x="250" y="40"/>
                  <a:pt x="249" y="41"/>
                  <a:pt x="248" y="42"/>
                </a:cubicBezTo>
                <a:close/>
                <a:moveTo>
                  <a:pt x="254" y="47"/>
                </a:moveTo>
                <a:cubicBezTo>
                  <a:pt x="253" y="47"/>
                  <a:pt x="250" y="49"/>
                  <a:pt x="248" y="49"/>
                </a:cubicBezTo>
                <a:cubicBezTo>
                  <a:pt x="248" y="51"/>
                  <a:pt x="252" y="48"/>
                  <a:pt x="254" y="47"/>
                </a:cubicBezTo>
                <a:close/>
                <a:moveTo>
                  <a:pt x="254" y="48"/>
                </a:moveTo>
                <a:cubicBezTo>
                  <a:pt x="253" y="48"/>
                  <a:pt x="252" y="49"/>
                  <a:pt x="252" y="50"/>
                </a:cubicBezTo>
                <a:cubicBezTo>
                  <a:pt x="253" y="49"/>
                  <a:pt x="254" y="49"/>
                  <a:pt x="254" y="48"/>
                </a:cubicBezTo>
                <a:close/>
                <a:moveTo>
                  <a:pt x="256" y="39"/>
                </a:moveTo>
                <a:cubicBezTo>
                  <a:pt x="257" y="39"/>
                  <a:pt x="255" y="40"/>
                  <a:pt x="256" y="39"/>
                </a:cubicBezTo>
                <a:cubicBezTo>
                  <a:pt x="254" y="40"/>
                  <a:pt x="255" y="40"/>
                  <a:pt x="254" y="41"/>
                </a:cubicBezTo>
                <a:cubicBezTo>
                  <a:pt x="255" y="41"/>
                  <a:pt x="256" y="40"/>
                  <a:pt x="256" y="39"/>
                </a:cubicBezTo>
                <a:close/>
                <a:moveTo>
                  <a:pt x="267" y="43"/>
                </a:moveTo>
                <a:cubicBezTo>
                  <a:pt x="267" y="42"/>
                  <a:pt x="266" y="43"/>
                  <a:pt x="268" y="41"/>
                </a:cubicBezTo>
                <a:cubicBezTo>
                  <a:pt x="266" y="42"/>
                  <a:pt x="266" y="43"/>
                  <a:pt x="264" y="43"/>
                </a:cubicBezTo>
                <a:cubicBezTo>
                  <a:pt x="263" y="45"/>
                  <a:pt x="266" y="43"/>
                  <a:pt x="267" y="43"/>
                </a:cubicBezTo>
                <a:close/>
                <a:moveTo>
                  <a:pt x="260" y="36"/>
                </a:moveTo>
                <a:cubicBezTo>
                  <a:pt x="259" y="36"/>
                  <a:pt x="258" y="37"/>
                  <a:pt x="258" y="38"/>
                </a:cubicBezTo>
                <a:cubicBezTo>
                  <a:pt x="258" y="38"/>
                  <a:pt x="259" y="37"/>
                  <a:pt x="260" y="36"/>
                </a:cubicBezTo>
                <a:close/>
                <a:moveTo>
                  <a:pt x="264" y="54"/>
                </a:moveTo>
                <a:cubicBezTo>
                  <a:pt x="264" y="55"/>
                  <a:pt x="263" y="55"/>
                  <a:pt x="262" y="55"/>
                </a:cubicBezTo>
                <a:cubicBezTo>
                  <a:pt x="263" y="56"/>
                  <a:pt x="263" y="56"/>
                  <a:pt x="261" y="57"/>
                </a:cubicBezTo>
                <a:cubicBezTo>
                  <a:pt x="263" y="57"/>
                  <a:pt x="266" y="54"/>
                  <a:pt x="264" y="54"/>
                </a:cubicBezTo>
                <a:close/>
                <a:moveTo>
                  <a:pt x="266" y="45"/>
                </a:moveTo>
                <a:cubicBezTo>
                  <a:pt x="265" y="45"/>
                  <a:pt x="264" y="46"/>
                  <a:pt x="264" y="46"/>
                </a:cubicBezTo>
                <a:cubicBezTo>
                  <a:pt x="264" y="46"/>
                  <a:pt x="265" y="46"/>
                  <a:pt x="266" y="45"/>
                </a:cubicBezTo>
                <a:close/>
                <a:moveTo>
                  <a:pt x="269" y="42"/>
                </a:moveTo>
                <a:cubicBezTo>
                  <a:pt x="267" y="43"/>
                  <a:pt x="265" y="44"/>
                  <a:pt x="263" y="44"/>
                </a:cubicBezTo>
                <a:cubicBezTo>
                  <a:pt x="262" y="45"/>
                  <a:pt x="263" y="45"/>
                  <a:pt x="262" y="45"/>
                </a:cubicBezTo>
                <a:cubicBezTo>
                  <a:pt x="264" y="45"/>
                  <a:pt x="268" y="44"/>
                  <a:pt x="269" y="42"/>
                </a:cubicBezTo>
                <a:close/>
                <a:moveTo>
                  <a:pt x="275" y="39"/>
                </a:moveTo>
                <a:cubicBezTo>
                  <a:pt x="273" y="39"/>
                  <a:pt x="272" y="40"/>
                  <a:pt x="272" y="41"/>
                </a:cubicBezTo>
                <a:cubicBezTo>
                  <a:pt x="273" y="41"/>
                  <a:pt x="274" y="40"/>
                  <a:pt x="275" y="39"/>
                </a:cubicBezTo>
                <a:close/>
                <a:moveTo>
                  <a:pt x="287" y="37"/>
                </a:moveTo>
                <a:cubicBezTo>
                  <a:pt x="286" y="37"/>
                  <a:pt x="285" y="37"/>
                  <a:pt x="285" y="37"/>
                </a:cubicBezTo>
                <a:cubicBezTo>
                  <a:pt x="284" y="38"/>
                  <a:pt x="286" y="37"/>
                  <a:pt x="287" y="37"/>
                </a:cubicBezTo>
                <a:close/>
                <a:moveTo>
                  <a:pt x="292" y="32"/>
                </a:moveTo>
                <a:cubicBezTo>
                  <a:pt x="291" y="32"/>
                  <a:pt x="291" y="32"/>
                  <a:pt x="291" y="32"/>
                </a:cubicBezTo>
                <a:cubicBezTo>
                  <a:pt x="291" y="33"/>
                  <a:pt x="288" y="33"/>
                  <a:pt x="287" y="34"/>
                </a:cubicBezTo>
                <a:cubicBezTo>
                  <a:pt x="287" y="34"/>
                  <a:pt x="284" y="35"/>
                  <a:pt x="282" y="36"/>
                </a:cubicBezTo>
                <a:cubicBezTo>
                  <a:pt x="285" y="35"/>
                  <a:pt x="283" y="36"/>
                  <a:pt x="285" y="36"/>
                </a:cubicBezTo>
                <a:cubicBezTo>
                  <a:pt x="287" y="35"/>
                  <a:pt x="287" y="35"/>
                  <a:pt x="287" y="35"/>
                </a:cubicBezTo>
                <a:cubicBezTo>
                  <a:pt x="287" y="35"/>
                  <a:pt x="286" y="35"/>
                  <a:pt x="287" y="35"/>
                </a:cubicBezTo>
                <a:cubicBezTo>
                  <a:pt x="288" y="34"/>
                  <a:pt x="289" y="34"/>
                  <a:pt x="291" y="34"/>
                </a:cubicBezTo>
                <a:cubicBezTo>
                  <a:pt x="290" y="33"/>
                  <a:pt x="291" y="33"/>
                  <a:pt x="292" y="32"/>
                </a:cubicBezTo>
                <a:close/>
                <a:moveTo>
                  <a:pt x="294" y="32"/>
                </a:moveTo>
                <a:cubicBezTo>
                  <a:pt x="293" y="34"/>
                  <a:pt x="293" y="33"/>
                  <a:pt x="291" y="33"/>
                </a:cubicBezTo>
                <a:cubicBezTo>
                  <a:pt x="291" y="34"/>
                  <a:pt x="291" y="34"/>
                  <a:pt x="291" y="34"/>
                </a:cubicBezTo>
                <a:cubicBezTo>
                  <a:pt x="292" y="34"/>
                  <a:pt x="296" y="32"/>
                  <a:pt x="294" y="32"/>
                </a:cubicBezTo>
                <a:close/>
                <a:moveTo>
                  <a:pt x="297" y="30"/>
                </a:moveTo>
                <a:cubicBezTo>
                  <a:pt x="297" y="31"/>
                  <a:pt x="296" y="31"/>
                  <a:pt x="295" y="32"/>
                </a:cubicBezTo>
                <a:cubicBezTo>
                  <a:pt x="296" y="32"/>
                  <a:pt x="296" y="32"/>
                  <a:pt x="297" y="32"/>
                </a:cubicBezTo>
                <a:cubicBezTo>
                  <a:pt x="298" y="31"/>
                  <a:pt x="299" y="30"/>
                  <a:pt x="297" y="30"/>
                </a:cubicBezTo>
                <a:close/>
                <a:moveTo>
                  <a:pt x="306" y="30"/>
                </a:moveTo>
                <a:cubicBezTo>
                  <a:pt x="305" y="30"/>
                  <a:pt x="304" y="31"/>
                  <a:pt x="303" y="31"/>
                </a:cubicBezTo>
                <a:cubicBezTo>
                  <a:pt x="304" y="31"/>
                  <a:pt x="305" y="31"/>
                  <a:pt x="306" y="30"/>
                </a:cubicBezTo>
                <a:close/>
                <a:moveTo>
                  <a:pt x="324" y="12"/>
                </a:moveTo>
                <a:cubicBezTo>
                  <a:pt x="326" y="12"/>
                  <a:pt x="327" y="12"/>
                  <a:pt x="329" y="11"/>
                </a:cubicBezTo>
                <a:cubicBezTo>
                  <a:pt x="327" y="11"/>
                  <a:pt x="326" y="12"/>
                  <a:pt x="324" y="12"/>
                </a:cubicBezTo>
                <a:close/>
                <a:moveTo>
                  <a:pt x="318" y="16"/>
                </a:moveTo>
                <a:cubicBezTo>
                  <a:pt x="319" y="16"/>
                  <a:pt x="320" y="15"/>
                  <a:pt x="321" y="15"/>
                </a:cubicBezTo>
                <a:cubicBezTo>
                  <a:pt x="320" y="15"/>
                  <a:pt x="319" y="15"/>
                  <a:pt x="318" y="16"/>
                </a:cubicBezTo>
                <a:close/>
                <a:moveTo>
                  <a:pt x="323" y="23"/>
                </a:moveTo>
                <a:cubicBezTo>
                  <a:pt x="321" y="24"/>
                  <a:pt x="322" y="25"/>
                  <a:pt x="320" y="25"/>
                </a:cubicBezTo>
                <a:cubicBezTo>
                  <a:pt x="320" y="26"/>
                  <a:pt x="325" y="24"/>
                  <a:pt x="323" y="23"/>
                </a:cubicBezTo>
                <a:close/>
                <a:moveTo>
                  <a:pt x="332" y="11"/>
                </a:moveTo>
                <a:cubicBezTo>
                  <a:pt x="331" y="11"/>
                  <a:pt x="331" y="11"/>
                  <a:pt x="331" y="12"/>
                </a:cubicBezTo>
                <a:cubicBezTo>
                  <a:pt x="329" y="12"/>
                  <a:pt x="333" y="10"/>
                  <a:pt x="331" y="10"/>
                </a:cubicBezTo>
                <a:cubicBezTo>
                  <a:pt x="330" y="11"/>
                  <a:pt x="329" y="11"/>
                  <a:pt x="330" y="12"/>
                </a:cubicBezTo>
                <a:cubicBezTo>
                  <a:pt x="329" y="12"/>
                  <a:pt x="328" y="11"/>
                  <a:pt x="327" y="12"/>
                </a:cubicBezTo>
                <a:cubicBezTo>
                  <a:pt x="326" y="12"/>
                  <a:pt x="322" y="13"/>
                  <a:pt x="322" y="14"/>
                </a:cubicBezTo>
                <a:cubicBezTo>
                  <a:pt x="322" y="14"/>
                  <a:pt x="325" y="13"/>
                  <a:pt x="326" y="13"/>
                </a:cubicBezTo>
                <a:cubicBezTo>
                  <a:pt x="325" y="15"/>
                  <a:pt x="332" y="11"/>
                  <a:pt x="334" y="11"/>
                </a:cubicBezTo>
                <a:cubicBezTo>
                  <a:pt x="334" y="11"/>
                  <a:pt x="332" y="11"/>
                  <a:pt x="332" y="11"/>
                </a:cubicBezTo>
                <a:close/>
                <a:moveTo>
                  <a:pt x="335" y="9"/>
                </a:moveTo>
                <a:cubicBezTo>
                  <a:pt x="334" y="10"/>
                  <a:pt x="332" y="10"/>
                  <a:pt x="333" y="10"/>
                </a:cubicBezTo>
                <a:cubicBezTo>
                  <a:pt x="334" y="10"/>
                  <a:pt x="334" y="9"/>
                  <a:pt x="336" y="9"/>
                </a:cubicBezTo>
                <a:cubicBezTo>
                  <a:pt x="336" y="9"/>
                  <a:pt x="336" y="9"/>
                  <a:pt x="335" y="9"/>
                </a:cubicBezTo>
                <a:close/>
                <a:moveTo>
                  <a:pt x="337" y="8"/>
                </a:moveTo>
                <a:cubicBezTo>
                  <a:pt x="337" y="8"/>
                  <a:pt x="338" y="8"/>
                  <a:pt x="338" y="8"/>
                </a:cubicBezTo>
                <a:cubicBezTo>
                  <a:pt x="339" y="7"/>
                  <a:pt x="339" y="8"/>
                  <a:pt x="339" y="8"/>
                </a:cubicBezTo>
                <a:cubicBezTo>
                  <a:pt x="340" y="7"/>
                  <a:pt x="340" y="7"/>
                  <a:pt x="339" y="7"/>
                </a:cubicBezTo>
                <a:lnTo>
                  <a:pt x="337" y="8"/>
                </a:lnTo>
                <a:close/>
                <a:moveTo>
                  <a:pt x="344" y="9"/>
                </a:moveTo>
                <a:cubicBezTo>
                  <a:pt x="343" y="8"/>
                  <a:pt x="342" y="9"/>
                  <a:pt x="342" y="9"/>
                </a:cubicBezTo>
                <a:cubicBezTo>
                  <a:pt x="341" y="10"/>
                  <a:pt x="343" y="9"/>
                  <a:pt x="344" y="9"/>
                </a:cubicBezTo>
                <a:close/>
                <a:moveTo>
                  <a:pt x="356" y="6"/>
                </a:moveTo>
                <a:cubicBezTo>
                  <a:pt x="356" y="6"/>
                  <a:pt x="356" y="6"/>
                  <a:pt x="356" y="6"/>
                </a:cubicBezTo>
                <a:cubicBezTo>
                  <a:pt x="355" y="6"/>
                  <a:pt x="354" y="7"/>
                  <a:pt x="354" y="6"/>
                </a:cubicBezTo>
                <a:cubicBezTo>
                  <a:pt x="353" y="7"/>
                  <a:pt x="353" y="7"/>
                  <a:pt x="352" y="7"/>
                </a:cubicBezTo>
                <a:cubicBezTo>
                  <a:pt x="353" y="7"/>
                  <a:pt x="355" y="7"/>
                  <a:pt x="357" y="7"/>
                </a:cubicBezTo>
                <a:cubicBezTo>
                  <a:pt x="358" y="6"/>
                  <a:pt x="358" y="5"/>
                  <a:pt x="356" y="6"/>
                </a:cubicBezTo>
                <a:close/>
                <a:moveTo>
                  <a:pt x="366" y="5"/>
                </a:moveTo>
                <a:cubicBezTo>
                  <a:pt x="365" y="5"/>
                  <a:pt x="364" y="5"/>
                  <a:pt x="363" y="6"/>
                </a:cubicBezTo>
                <a:cubicBezTo>
                  <a:pt x="363" y="6"/>
                  <a:pt x="363" y="6"/>
                  <a:pt x="363" y="6"/>
                </a:cubicBezTo>
                <a:cubicBezTo>
                  <a:pt x="364" y="6"/>
                  <a:pt x="365" y="6"/>
                  <a:pt x="366" y="5"/>
                </a:cubicBezTo>
                <a:close/>
                <a:moveTo>
                  <a:pt x="375" y="3"/>
                </a:moveTo>
                <a:cubicBezTo>
                  <a:pt x="376" y="3"/>
                  <a:pt x="377" y="3"/>
                  <a:pt x="378" y="3"/>
                </a:cubicBezTo>
                <a:cubicBezTo>
                  <a:pt x="378" y="2"/>
                  <a:pt x="375" y="3"/>
                  <a:pt x="373" y="3"/>
                </a:cubicBezTo>
                <a:cubicBezTo>
                  <a:pt x="373" y="4"/>
                  <a:pt x="374" y="4"/>
                  <a:pt x="375" y="4"/>
                </a:cubicBezTo>
                <a:cubicBezTo>
                  <a:pt x="375" y="4"/>
                  <a:pt x="376" y="4"/>
                  <a:pt x="377" y="3"/>
                </a:cubicBezTo>
                <a:cubicBezTo>
                  <a:pt x="376" y="3"/>
                  <a:pt x="376" y="3"/>
                  <a:pt x="375" y="3"/>
                </a:cubicBezTo>
                <a:close/>
                <a:moveTo>
                  <a:pt x="379" y="3"/>
                </a:moveTo>
                <a:cubicBezTo>
                  <a:pt x="381" y="3"/>
                  <a:pt x="383" y="2"/>
                  <a:pt x="385" y="2"/>
                </a:cubicBezTo>
                <a:cubicBezTo>
                  <a:pt x="385" y="2"/>
                  <a:pt x="384" y="2"/>
                  <a:pt x="384" y="2"/>
                </a:cubicBezTo>
                <a:cubicBezTo>
                  <a:pt x="383" y="2"/>
                  <a:pt x="383" y="2"/>
                  <a:pt x="383" y="2"/>
                </a:cubicBezTo>
                <a:cubicBezTo>
                  <a:pt x="382" y="2"/>
                  <a:pt x="381" y="2"/>
                  <a:pt x="379" y="3"/>
                </a:cubicBezTo>
                <a:close/>
                <a:moveTo>
                  <a:pt x="381" y="3"/>
                </a:moveTo>
                <a:cubicBezTo>
                  <a:pt x="379" y="3"/>
                  <a:pt x="381" y="4"/>
                  <a:pt x="380" y="4"/>
                </a:cubicBezTo>
                <a:cubicBezTo>
                  <a:pt x="381" y="4"/>
                  <a:pt x="381" y="4"/>
                  <a:pt x="381" y="4"/>
                </a:cubicBezTo>
                <a:cubicBezTo>
                  <a:pt x="382" y="4"/>
                  <a:pt x="382" y="3"/>
                  <a:pt x="381" y="3"/>
                </a:cubicBezTo>
                <a:close/>
                <a:moveTo>
                  <a:pt x="388" y="3"/>
                </a:moveTo>
                <a:cubicBezTo>
                  <a:pt x="388" y="3"/>
                  <a:pt x="387" y="3"/>
                  <a:pt x="388" y="2"/>
                </a:cubicBezTo>
                <a:cubicBezTo>
                  <a:pt x="386" y="2"/>
                  <a:pt x="385" y="3"/>
                  <a:pt x="384" y="2"/>
                </a:cubicBezTo>
                <a:cubicBezTo>
                  <a:pt x="383" y="3"/>
                  <a:pt x="383" y="3"/>
                  <a:pt x="382" y="3"/>
                </a:cubicBezTo>
                <a:cubicBezTo>
                  <a:pt x="384" y="4"/>
                  <a:pt x="386" y="4"/>
                  <a:pt x="388" y="3"/>
                </a:cubicBezTo>
                <a:close/>
                <a:moveTo>
                  <a:pt x="392" y="1"/>
                </a:moveTo>
                <a:cubicBezTo>
                  <a:pt x="391" y="1"/>
                  <a:pt x="392" y="1"/>
                  <a:pt x="391" y="1"/>
                </a:cubicBezTo>
                <a:cubicBezTo>
                  <a:pt x="391" y="1"/>
                  <a:pt x="391" y="1"/>
                  <a:pt x="390" y="1"/>
                </a:cubicBezTo>
                <a:cubicBezTo>
                  <a:pt x="390" y="2"/>
                  <a:pt x="390" y="1"/>
                  <a:pt x="388" y="2"/>
                </a:cubicBezTo>
                <a:cubicBezTo>
                  <a:pt x="389" y="2"/>
                  <a:pt x="389" y="2"/>
                  <a:pt x="389" y="2"/>
                </a:cubicBezTo>
                <a:cubicBezTo>
                  <a:pt x="390" y="2"/>
                  <a:pt x="390" y="2"/>
                  <a:pt x="390" y="2"/>
                </a:cubicBezTo>
                <a:cubicBezTo>
                  <a:pt x="390" y="2"/>
                  <a:pt x="391" y="2"/>
                  <a:pt x="391" y="2"/>
                </a:cubicBezTo>
                <a:cubicBezTo>
                  <a:pt x="392" y="2"/>
                  <a:pt x="393" y="1"/>
                  <a:pt x="392" y="1"/>
                </a:cubicBezTo>
                <a:close/>
                <a:moveTo>
                  <a:pt x="399" y="2"/>
                </a:moveTo>
                <a:cubicBezTo>
                  <a:pt x="397" y="2"/>
                  <a:pt x="396" y="2"/>
                  <a:pt x="395" y="2"/>
                </a:cubicBezTo>
                <a:cubicBezTo>
                  <a:pt x="395" y="3"/>
                  <a:pt x="397" y="3"/>
                  <a:pt x="399" y="2"/>
                </a:cubicBezTo>
                <a:close/>
                <a:moveTo>
                  <a:pt x="406" y="1"/>
                </a:moveTo>
                <a:cubicBezTo>
                  <a:pt x="405" y="1"/>
                  <a:pt x="404" y="1"/>
                  <a:pt x="403" y="1"/>
                </a:cubicBezTo>
                <a:cubicBezTo>
                  <a:pt x="403" y="1"/>
                  <a:pt x="403" y="1"/>
                  <a:pt x="403" y="1"/>
                </a:cubicBezTo>
                <a:cubicBezTo>
                  <a:pt x="404" y="1"/>
                  <a:pt x="403" y="1"/>
                  <a:pt x="403" y="1"/>
                </a:cubicBezTo>
                <a:cubicBezTo>
                  <a:pt x="404" y="1"/>
                  <a:pt x="405" y="1"/>
                  <a:pt x="406" y="1"/>
                </a:cubicBezTo>
                <a:close/>
                <a:moveTo>
                  <a:pt x="411" y="2"/>
                </a:moveTo>
                <a:cubicBezTo>
                  <a:pt x="411" y="1"/>
                  <a:pt x="408" y="1"/>
                  <a:pt x="407" y="1"/>
                </a:cubicBezTo>
                <a:cubicBezTo>
                  <a:pt x="408" y="2"/>
                  <a:pt x="410" y="1"/>
                  <a:pt x="411" y="2"/>
                </a:cubicBezTo>
                <a:close/>
                <a:moveTo>
                  <a:pt x="411" y="2"/>
                </a:moveTo>
                <a:cubicBezTo>
                  <a:pt x="411" y="2"/>
                  <a:pt x="410" y="2"/>
                  <a:pt x="410" y="2"/>
                </a:cubicBezTo>
                <a:cubicBezTo>
                  <a:pt x="410" y="2"/>
                  <a:pt x="410" y="2"/>
                  <a:pt x="410" y="2"/>
                </a:cubicBezTo>
                <a:cubicBezTo>
                  <a:pt x="411" y="2"/>
                  <a:pt x="411" y="2"/>
                  <a:pt x="412" y="2"/>
                </a:cubicBezTo>
                <a:cubicBezTo>
                  <a:pt x="412" y="2"/>
                  <a:pt x="412" y="2"/>
                  <a:pt x="411" y="2"/>
                </a:cubicBezTo>
                <a:close/>
                <a:moveTo>
                  <a:pt x="418" y="2"/>
                </a:moveTo>
                <a:cubicBezTo>
                  <a:pt x="416" y="2"/>
                  <a:pt x="414" y="2"/>
                  <a:pt x="412" y="2"/>
                </a:cubicBezTo>
                <a:cubicBezTo>
                  <a:pt x="414" y="2"/>
                  <a:pt x="416" y="2"/>
                  <a:pt x="418" y="2"/>
                </a:cubicBezTo>
                <a:close/>
                <a:moveTo>
                  <a:pt x="419" y="1"/>
                </a:moveTo>
                <a:cubicBezTo>
                  <a:pt x="418" y="0"/>
                  <a:pt x="416" y="1"/>
                  <a:pt x="415" y="1"/>
                </a:cubicBezTo>
                <a:cubicBezTo>
                  <a:pt x="416" y="1"/>
                  <a:pt x="418" y="2"/>
                  <a:pt x="419" y="1"/>
                </a:cubicBezTo>
                <a:close/>
                <a:moveTo>
                  <a:pt x="429" y="3"/>
                </a:moveTo>
                <a:cubicBezTo>
                  <a:pt x="428" y="3"/>
                  <a:pt x="428" y="3"/>
                  <a:pt x="428" y="2"/>
                </a:cubicBezTo>
                <a:cubicBezTo>
                  <a:pt x="428" y="3"/>
                  <a:pt x="426" y="3"/>
                  <a:pt x="424" y="3"/>
                </a:cubicBezTo>
                <a:cubicBezTo>
                  <a:pt x="426" y="4"/>
                  <a:pt x="427" y="3"/>
                  <a:pt x="429" y="3"/>
                </a:cubicBezTo>
                <a:close/>
                <a:moveTo>
                  <a:pt x="109" y="202"/>
                </a:moveTo>
                <a:cubicBezTo>
                  <a:pt x="108" y="203"/>
                  <a:pt x="107" y="204"/>
                  <a:pt x="107" y="205"/>
                </a:cubicBezTo>
                <a:cubicBezTo>
                  <a:pt x="108" y="204"/>
                  <a:pt x="109" y="203"/>
                  <a:pt x="109" y="202"/>
                </a:cubicBezTo>
                <a:close/>
                <a:moveTo>
                  <a:pt x="131" y="179"/>
                </a:moveTo>
                <a:cubicBezTo>
                  <a:pt x="130" y="179"/>
                  <a:pt x="130" y="180"/>
                  <a:pt x="130" y="181"/>
                </a:cubicBezTo>
                <a:cubicBezTo>
                  <a:pt x="130" y="181"/>
                  <a:pt x="132" y="179"/>
                  <a:pt x="131" y="179"/>
                </a:cubicBezTo>
                <a:close/>
                <a:moveTo>
                  <a:pt x="139" y="166"/>
                </a:moveTo>
                <a:cubicBezTo>
                  <a:pt x="138" y="166"/>
                  <a:pt x="138" y="167"/>
                  <a:pt x="137" y="168"/>
                </a:cubicBezTo>
                <a:cubicBezTo>
                  <a:pt x="138" y="168"/>
                  <a:pt x="139" y="167"/>
                  <a:pt x="139" y="166"/>
                </a:cubicBezTo>
                <a:close/>
                <a:moveTo>
                  <a:pt x="149" y="157"/>
                </a:moveTo>
                <a:cubicBezTo>
                  <a:pt x="148" y="157"/>
                  <a:pt x="147" y="158"/>
                  <a:pt x="148" y="159"/>
                </a:cubicBezTo>
                <a:cubicBezTo>
                  <a:pt x="148" y="158"/>
                  <a:pt x="149" y="158"/>
                  <a:pt x="149" y="157"/>
                </a:cubicBezTo>
                <a:close/>
                <a:moveTo>
                  <a:pt x="159" y="147"/>
                </a:moveTo>
                <a:cubicBezTo>
                  <a:pt x="159" y="147"/>
                  <a:pt x="158" y="148"/>
                  <a:pt x="158" y="148"/>
                </a:cubicBezTo>
                <a:cubicBezTo>
                  <a:pt x="157" y="149"/>
                  <a:pt x="158" y="149"/>
                  <a:pt x="157" y="150"/>
                </a:cubicBezTo>
                <a:cubicBezTo>
                  <a:pt x="156" y="151"/>
                  <a:pt x="157" y="149"/>
                  <a:pt x="157" y="149"/>
                </a:cubicBezTo>
                <a:cubicBezTo>
                  <a:pt x="155" y="150"/>
                  <a:pt x="154" y="152"/>
                  <a:pt x="153" y="153"/>
                </a:cubicBezTo>
                <a:cubicBezTo>
                  <a:pt x="155" y="152"/>
                  <a:pt x="156" y="152"/>
                  <a:pt x="158" y="151"/>
                </a:cubicBezTo>
                <a:cubicBezTo>
                  <a:pt x="158" y="150"/>
                  <a:pt x="159" y="149"/>
                  <a:pt x="159" y="147"/>
                </a:cubicBezTo>
                <a:close/>
                <a:moveTo>
                  <a:pt x="165" y="142"/>
                </a:moveTo>
                <a:cubicBezTo>
                  <a:pt x="164" y="142"/>
                  <a:pt x="163" y="144"/>
                  <a:pt x="162" y="144"/>
                </a:cubicBezTo>
                <a:cubicBezTo>
                  <a:pt x="162" y="144"/>
                  <a:pt x="163" y="144"/>
                  <a:pt x="163" y="145"/>
                </a:cubicBezTo>
                <a:cubicBezTo>
                  <a:pt x="162" y="145"/>
                  <a:pt x="162" y="145"/>
                  <a:pt x="161" y="145"/>
                </a:cubicBezTo>
                <a:cubicBezTo>
                  <a:pt x="161" y="146"/>
                  <a:pt x="161" y="146"/>
                  <a:pt x="160" y="147"/>
                </a:cubicBezTo>
                <a:cubicBezTo>
                  <a:pt x="162" y="146"/>
                  <a:pt x="163" y="145"/>
                  <a:pt x="164" y="144"/>
                </a:cubicBezTo>
                <a:cubicBezTo>
                  <a:pt x="163" y="144"/>
                  <a:pt x="165" y="143"/>
                  <a:pt x="165" y="142"/>
                </a:cubicBezTo>
                <a:close/>
                <a:moveTo>
                  <a:pt x="174" y="136"/>
                </a:moveTo>
                <a:cubicBezTo>
                  <a:pt x="173" y="136"/>
                  <a:pt x="172" y="136"/>
                  <a:pt x="172" y="137"/>
                </a:cubicBezTo>
                <a:cubicBezTo>
                  <a:pt x="172" y="137"/>
                  <a:pt x="173" y="136"/>
                  <a:pt x="174" y="136"/>
                </a:cubicBezTo>
                <a:close/>
                <a:moveTo>
                  <a:pt x="187" y="126"/>
                </a:moveTo>
                <a:cubicBezTo>
                  <a:pt x="186" y="126"/>
                  <a:pt x="184" y="127"/>
                  <a:pt x="183" y="128"/>
                </a:cubicBezTo>
                <a:cubicBezTo>
                  <a:pt x="185" y="128"/>
                  <a:pt x="186" y="127"/>
                  <a:pt x="187" y="126"/>
                </a:cubicBezTo>
                <a:close/>
                <a:moveTo>
                  <a:pt x="209" y="110"/>
                </a:moveTo>
                <a:cubicBezTo>
                  <a:pt x="209" y="109"/>
                  <a:pt x="208" y="110"/>
                  <a:pt x="208" y="110"/>
                </a:cubicBezTo>
                <a:cubicBezTo>
                  <a:pt x="207" y="111"/>
                  <a:pt x="209" y="111"/>
                  <a:pt x="209" y="110"/>
                </a:cubicBezTo>
                <a:close/>
                <a:moveTo>
                  <a:pt x="301" y="62"/>
                </a:moveTo>
                <a:cubicBezTo>
                  <a:pt x="300" y="62"/>
                  <a:pt x="299" y="63"/>
                  <a:pt x="299" y="63"/>
                </a:cubicBezTo>
                <a:cubicBezTo>
                  <a:pt x="300" y="63"/>
                  <a:pt x="300" y="63"/>
                  <a:pt x="301" y="63"/>
                </a:cubicBezTo>
                <a:cubicBezTo>
                  <a:pt x="301" y="63"/>
                  <a:pt x="302" y="62"/>
                  <a:pt x="301" y="62"/>
                </a:cubicBezTo>
                <a:close/>
                <a:moveTo>
                  <a:pt x="320" y="56"/>
                </a:moveTo>
                <a:cubicBezTo>
                  <a:pt x="320" y="55"/>
                  <a:pt x="318" y="56"/>
                  <a:pt x="317" y="57"/>
                </a:cubicBezTo>
                <a:cubicBezTo>
                  <a:pt x="318" y="57"/>
                  <a:pt x="319" y="56"/>
                  <a:pt x="320" y="56"/>
                </a:cubicBezTo>
                <a:close/>
                <a:moveTo>
                  <a:pt x="399" y="40"/>
                </a:moveTo>
                <a:cubicBezTo>
                  <a:pt x="399" y="41"/>
                  <a:pt x="400" y="41"/>
                  <a:pt x="400" y="41"/>
                </a:cubicBezTo>
                <a:cubicBezTo>
                  <a:pt x="400" y="41"/>
                  <a:pt x="401" y="40"/>
                  <a:pt x="402" y="40"/>
                </a:cubicBezTo>
                <a:cubicBezTo>
                  <a:pt x="403" y="40"/>
                  <a:pt x="400" y="40"/>
                  <a:pt x="399" y="40"/>
                </a:cubicBezTo>
                <a:close/>
                <a:moveTo>
                  <a:pt x="410" y="40"/>
                </a:moveTo>
                <a:cubicBezTo>
                  <a:pt x="409" y="39"/>
                  <a:pt x="406" y="40"/>
                  <a:pt x="404" y="40"/>
                </a:cubicBezTo>
                <a:cubicBezTo>
                  <a:pt x="404" y="41"/>
                  <a:pt x="406" y="40"/>
                  <a:pt x="407" y="40"/>
                </a:cubicBezTo>
                <a:cubicBezTo>
                  <a:pt x="407" y="40"/>
                  <a:pt x="407" y="41"/>
                  <a:pt x="408" y="41"/>
                </a:cubicBezTo>
                <a:cubicBezTo>
                  <a:pt x="409" y="41"/>
                  <a:pt x="408" y="40"/>
                  <a:pt x="410" y="40"/>
                </a:cubicBezTo>
                <a:close/>
                <a:moveTo>
                  <a:pt x="412" y="40"/>
                </a:moveTo>
                <a:cubicBezTo>
                  <a:pt x="412" y="40"/>
                  <a:pt x="413" y="40"/>
                  <a:pt x="414" y="40"/>
                </a:cubicBezTo>
                <a:cubicBezTo>
                  <a:pt x="415" y="39"/>
                  <a:pt x="411" y="39"/>
                  <a:pt x="412" y="40"/>
                </a:cubicBezTo>
                <a:close/>
                <a:moveTo>
                  <a:pt x="439" y="39"/>
                </a:moveTo>
                <a:cubicBezTo>
                  <a:pt x="439" y="38"/>
                  <a:pt x="436" y="39"/>
                  <a:pt x="435" y="39"/>
                </a:cubicBezTo>
                <a:cubicBezTo>
                  <a:pt x="435" y="39"/>
                  <a:pt x="438" y="39"/>
                  <a:pt x="439" y="39"/>
                </a:cubicBezTo>
                <a:close/>
                <a:moveTo>
                  <a:pt x="450" y="3"/>
                </a:moveTo>
                <a:cubicBezTo>
                  <a:pt x="450" y="2"/>
                  <a:pt x="448" y="2"/>
                  <a:pt x="449" y="2"/>
                </a:cubicBezTo>
                <a:cubicBezTo>
                  <a:pt x="448" y="2"/>
                  <a:pt x="448" y="2"/>
                  <a:pt x="447" y="2"/>
                </a:cubicBezTo>
                <a:cubicBezTo>
                  <a:pt x="447" y="2"/>
                  <a:pt x="449" y="3"/>
                  <a:pt x="450" y="3"/>
                </a:cubicBezTo>
                <a:close/>
                <a:moveTo>
                  <a:pt x="450" y="40"/>
                </a:moveTo>
                <a:cubicBezTo>
                  <a:pt x="449" y="39"/>
                  <a:pt x="448" y="39"/>
                  <a:pt x="447" y="40"/>
                </a:cubicBezTo>
                <a:cubicBezTo>
                  <a:pt x="448" y="40"/>
                  <a:pt x="449" y="40"/>
                  <a:pt x="449" y="40"/>
                </a:cubicBezTo>
                <a:cubicBezTo>
                  <a:pt x="450" y="40"/>
                  <a:pt x="450" y="40"/>
                  <a:pt x="450" y="40"/>
                </a:cubicBezTo>
                <a:close/>
                <a:moveTo>
                  <a:pt x="455" y="41"/>
                </a:moveTo>
                <a:cubicBezTo>
                  <a:pt x="456" y="41"/>
                  <a:pt x="456" y="41"/>
                  <a:pt x="456" y="41"/>
                </a:cubicBezTo>
                <a:cubicBezTo>
                  <a:pt x="457" y="41"/>
                  <a:pt x="456" y="40"/>
                  <a:pt x="455" y="41"/>
                </a:cubicBezTo>
                <a:close/>
                <a:moveTo>
                  <a:pt x="472" y="42"/>
                </a:moveTo>
                <a:cubicBezTo>
                  <a:pt x="471" y="42"/>
                  <a:pt x="470" y="42"/>
                  <a:pt x="470" y="42"/>
                </a:cubicBezTo>
                <a:cubicBezTo>
                  <a:pt x="468" y="42"/>
                  <a:pt x="470" y="42"/>
                  <a:pt x="468" y="42"/>
                </a:cubicBezTo>
                <a:cubicBezTo>
                  <a:pt x="468" y="43"/>
                  <a:pt x="469" y="43"/>
                  <a:pt x="470" y="43"/>
                </a:cubicBezTo>
                <a:cubicBezTo>
                  <a:pt x="470" y="43"/>
                  <a:pt x="470" y="43"/>
                  <a:pt x="470" y="42"/>
                </a:cubicBezTo>
                <a:cubicBezTo>
                  <a:pt x="471" y="42"/>
                  <a:pt x="471" y="43"/>
                  <a:pt x="471" y="43"/>
                </a:cubicBezTo>
                <a:cubicBezTo>
                  <a:pt x="472" y="43"/>
                  <a:pt x="471" y="42"/>
                  <a:pt x="472" y="42"/>
                </a:cubicBezTo>
                <a:close/>
                <a:moveTo>
                  <a:pt x="476" y="43"/>
                </a:moveTo>
                <a:cubicBezTo>
                  <a:pt x="474" y="42"/>
                  <a:pt x="474" y="43"/>
                  <a:pt x="475" y="43"/>
                </a:cubicBezTo>
                <a:cubicBezTo>
                  <a:pt x="476" y="43"/>
                  <a:pt x="475" y="43"/>
                  <a:pt x="476" y="43"/>
                </a:cubicBezTo>
                <a:close/>
                <a:moveTo>
                  <a:pt x="478" y="44"/>
                </a:moveTo>
                <a:cubicBezTo>
                  <a:pt x="478" y="44"/>
                  <a:pt x="477" y="44"/>
                  <a:pt x="476" y="44"/>
                </a:cubicBezTo>
                <a:cubicBezTo>
                  <a:pt x="477" y="44"/>
                  <a:pt x="478" y="44"/>
                  <a:pt x="478" y="44"/>
                </a:cubicBezTo>
                <a:close/>
                <a:moveTo>
                  <a:pt x="486" y="45"/>
                </a:moveTo>
                <a:cubicBezTo>
                  <a:pt x="485" y="44"/>
                  <a:pt x="483" y="45"/>
                  <a:pt x="482" y="44"/>
                </a:cubicBezTo>
                <a:cubicBezTo>
                  <a:pt x="481" y="44"/>
                  <a:pt x="484" y="45"/>
                  <a:pt x="482" y="45"/>
                </a:cubicBezTo>
                <a:cubicBezTo>
                  <a:pt x="483" y="45"/>
                  <a:pt x="484" y="45"/>
                  <a:pt x="484" y="46"/>
                </a:cubicBezTo>
                <a:cubicBezTo>
                  <a:pt x="484" y="45"/>
                  <a:pt x="485" y="45"/>
                  <a:pt x="486" y="45"/>
                </a:cubicBezTo>
                <a:close/>
                <a:moveTo>
                  <a:pt x="495" y="10"/>
                </a:moveTo>
                <a:cubicBezTo>
                  <a:pt x="494" y="9"/>
                  <a:pt x="493" y="9"/>
                  <a:pt x="492" y="9"/>
                </a:cubicBezTo>
                <a:cubicBezTo>
                  <a:pt x="491" y="9"/>
                  <a:pt x="494" y="10"/>
                  <a:pt x="495" y="10"/>
                </a:cubicBezTo>
                <a:close/>
                <a:moveTo>
                  <a:pt x="568" y="35"/>
                </a:moveTo>
                <a:cubicBezTo>
                  <a:pt x="567" y="36"/>
                  <a:pt x="569" y="37"/>
                  <a:pt x="570" y="37"/>
                </a:cubicBezTo>
                <a:cubicBezTo>
                  <a:pt x="571" y="37"/>
                  <a:pt x="569" y="36"/>
                  <a:pt x="568" y="35"/>
                </a:cubicBezTo>
                <a:close/>
                <a:moveTo>
                  <a:pt x="587" y="46"/>
                </a:moveTo>
                <a:cubicBezTo>
                  <a:pt x="587" y="45"/>
                  <a:pt x="586" y="45"/>
                  <a:pt x="585" y="44"/>
                </a:cubicBezTo>
                <a:cubicBezTo>
                  <a:pt x="584" y="44"/>
                  <a:pt x="584" y="44"/>
                  <a:pt x="583" y="44"/>
                </a:cubicBezTo>
                <a:cubicBezTo>
                  <a:pt x="583" y="44"/>
                  <a:pt x="583" y="44"/>
                  <a:pt x="583" y="44"/>
                </a:cubicBezTo>
                <a:cubicBezTo>
                  <a:pt x="584" y="45"/>
                  <a:pt x="586" y="46"/>
                  <a:pt x="587" y="46"/>
                </a:cubicBezTo>
                <a:close/>
                <a:moveTo>
                  <a:pt x="592" y="48"/>
                </a:moveTo>
                <a:cubicBezTo>
                  <a:pt x="591" y="49"/>
                  <a:pt x="594" y="49"/>
                  <a:pt x="595" y="51"/>
                </a:cubicBezTo>
                <a:cubicBezTo>
                  <a:pt x="595" y="50"/>
                  <a:pt x="593" y="49"/>
                  <a:pt x="592" y="48"/>
                </a:cubicBezTo>
                <a:close/>
                <a:moveTo>
                  <a:pt x="626" y="71"/>
                </a:moveTo>
                <a:cubicBezTo>
                  <a:pt x="625" y="70"/>
                  <a:pt x="624" y="69"/>
                  <a:pt x="623" y="69"/>
                </a:cubicBezTo>
                <a:cubicBezTo>
                  <a:pt x="624" y="70"/>
                  <a:pt x="623" y="69"/>
                  <a:pt x="623" y="70"/>
                </a:cubicBezTo>
                <a:cubicBezTo>
                  <a:pt x="625" y="70"/>
                  <a:pt x="626" y="71"/>
                  <a:pt x="626" y="71"/>
                </a:cubicBezTo>
                <a:close/>
                <a:moveTo>
                  <a:pt x="627" y="72"/>
                </a:moveTo>
                <a:cubicBezTo>
                  <a:pt x="628" y="73"/>
                  <a:pt x="628" y="73"/>
                  <a:pt x="629" y="74"/>
                </a:cubicBezTo>
                <a:cubicBezTo>
                  <a:pt x="630" y="73"/>
                  <a:pt x="626" y="72"/>
                  <a:pt x="627" y="72"/>
                </a:cubicBezTo>
                <a:close/>
                <a:moveTo>
                  <a:pt x="660" y="99"/>
                </a:moveTo>
                <a:cubicBezTo>
                  <a:pt x="659" y="98"/>
                  <a:pt x="658" y="97"/>
                  <a:pt x="657" y="96"/>
                </a:cubicBezTo>
                <a:cubicBezTo>
                  <a:pt x="658" y="97"/>
                  <a:pt x="658" y="98"/>
                  <a:pt x="660" y="99"/>
                </a:cubicBezTo>
                <a:close/>
                <a:moveTo>
                  <a:pt x="665" y="156"/>
                </a:moveTo>
                <a:cubicBezTo>
                  <a:pt x="664" y="155"/>
                  <a:pt x="663" y="156"/>
                  <a:pt x="662" y="155"/>
                </a:cubicBezTo>
                <a:cubicBezTo>
                  <a:pt x="662" y="155"/>
                  <a:pt x="662" y="155"/>
                  <a:pt x="662" y="155"/>
                </a:cubicBezTo>
                <a:cubicBezTo>
                  <a:pt x="662" y="156"/>
                  <a:pt x="663" y="155"/>
                  <a:pt x="663" y="156"/>
                </a:cubicBezTo>
                <a:cubicBezTo>
                  <a:pt x="664" y="156"/>
                  <a:pt x="664" y="156"/>
                  <a:pt x="664" y="157"/>
                </a:cubicBezTo>
                <a:cubicBezTo>
                  <a:pt x="665" y="158"/>
                  <a:pt x="665" y="157"/>
                  <a:pt x="665" y="156"/>
                </a:cubicBezTo>
                <a:close/>
                <a:moveTo>
                  <a:pt x="667" y="159"/>
                </a:moveTo>
                <a:cubicBezTo>
                  <a:pt x="666" y="157"/>
                  <a:pt x="665" y="157"/>
                  <a:pt x="665" y="157"/>
                </a:cubicBezTo>
                <a:cubicBezTo>
                  <a:pt x="666" y="158"/>
                  <a:pt x="665" y="158"/>
                  <a:pt x="666" y="159"/>
                </a:cubicBezTo>
                <a:cubicBezTo>
                  <a:pt x="669" y="161"/>
                  <a:pt x="664" y="157"/>
                  <a:pt x="667" y="159"/>
                </a:cubicBezTo>
                <a:close/>
                <a:moveTo>
                  <a:pt x="670" y="162"/>
                </a:moveTo>
                <a:cubicBezTo>
                  <a:pt x="669" y="162"/>
                  <a:pt x="669" y="162"/>
                  <a:pt x="668" y="161"/>
                </a:cubicBezTo>
                <a:cubicBezTo>
                  <a:pt x="668" y="162"/>
                  <a:pt x="669" y="163"/>
                  <a:pt x="669" y="163"/>
                </a:cubicBezTo>
                <a:cubicBezTo>
                  <a:pt x="669" y="163"/>
                  <a:pt x="670" y="163"/>
                  <a:pt x="670" y="162"/>
                </a:cubicBezTo>
                <a:close/>
                <a:moveTo>
                  <a:pt x="672" y="165"/>
                </a:moveTo>
                <a:cubicBezTo>
                  <a:pt x="671" y="164"/>
                  <a:pt x="671" y="163"/>
                  <a:pt x="670" y="163"/>
                </a:cubicBezTo>
                <a:cubicBezTo>
                  <a:pt x="671" y="164"/>
                  <a:pt x="671" y="164"/>
                  <a:pt x="670" y="164"/>
                </a:cubicBezTo>
                <a:cubicBezTo>
                  <a:pt x="671" y="164"/>
                  <a:pt x="671" y="164"/>
                  <a:pt x="672" y="165"/>
                </a:cubicBezTo>
                <a:close/>
                <a:moveTo>
                  <a:pt x="700" y="141"/>
                </a:moveTo>
                <a:cubicBezTo>
                  <a:pt x="700" y="143"/>
                  <a:pt x="702" y="143"/>
                  <a:pt x="702" y="144"/>
                </a:cubicBezTo>
                <a:cubicBezTo>
                  <a:pt x="703" y="144"/>
                  <a:pt x="701" y="142"/>
                  <a:pt x="700" y="141"/>
                </a:cubicBezTo>
                <a:close/>
                <a:moveTo>
                  <a:pt x="705" y="149"/>
                </a:moveTo>
                <a:cubicBezTo>
                  <a:pt x="705" y="147"/>
                  <a:pt x="704" y="146"/>
                  <a:pt x="703" y="145"/>
                </a:cubicBezTo>
                <a:cubicBezTo>
                  <a:pt x="703" y="146"/>
                  <a:pt x="705" y="147"/>
                  <a:pt x="705" y="149"/>
                </a:cubicBezTo>
                <a:close/>
                <a:moveTo>
                  <a:pt x="707" y="150"/>
                </a:moveTo>
                <a:cubicBezTo>
                  <a:pt x="707" y="150"/>
                  <a:pt x="707" y="149"/>
                  <a:pt x="706" y="149"/>
                </a:cubicBezTo>
                <a:cubicBezTo>
                  <a:pt x="706" y="150"/>
                  <a:pt x="706" y="150"/>
                  <a:pt x="706" y="150"/>
                </a:cubicBezTo>
                <a:lnTo>
                  <a:pt x="707" y="150"/>
                </a:lnTo>
                <a:close/>
                <a:moveTo>
                  <a:pt x="761" y="292"/>
                </a:moveTo>
                <a:cubicBezTo>
                  <a:pt x="761" y="292"/>
                  <a:pt x="762" y="293"/>
                  <a:pt x="762" y="292"/>
                </a:cubicBezTo>
                <a:cubicBezTo>
                  <a:pt x="761" y="292"/>
                  <a:pt x="761" y="291"/>
                  <a:pt x="761" y="290"/>
                </a:cubicBezTo>
                <a:cubicBezTo>
                  <a:pt x="760" y="291"/>
                  <a:pt x="761" y="292"/>
                  <a:pt x="761" y="292"/>
                </a:cubicBezTo>
                <a:close/>
                <a:moveTo>
                  <a:pt x="740" y="199"/>
                </a:moveTo>
                <a:cubicBezTo>
                  <a:pt x="741" y="201"/>
                  <a:pt x="742" y="203"/>
                  <a:pt x="743" y="203"/>
                </a:cubicBezTo>
                <a:cubicBezTo>
                  <a:pt x="742" y="202"/>
                  <a:pt x="742" y="200"/>
                  <a:pt x="740" y="199"/>
                </a:cubicBezTo>
                <a:close/>
                <a:moveTo>
                  <a:pt x="745" y="252"/>
                </a:moveTo>
                <a:cubicBezTo>
                  <a:pt x="744" y="250"/>
                  <a:pt x="742" y="247"/>
                  <a:pt x="741" y="246"/>
                </a:cubicBezTo>
                <a:cubicBezTo>
                  <a:pt x="740" y="245"/>
                  <a:pt x="740" y="246"/>
                  <a:pt x="740" y="246"/>
                </a:cubicBezTo>
                <a:cubicBezTo>
                  <a:pt x="742" y="248"/>
                  <a:pt x="743" y="250"/>
                  <a:pt x="744" y="252"/>
                </a:cubicBezTo>
                <a:cubicBezTo>
                  <a:pt x="744" y="253"/>
                  <a:pt x="745" y="253"/>
                  <a:pt x="745" y="252"/>
                </a:cubicBezTo>
                <a:close/>
                <a:moveTo>
                  <a:pt x="749" y="260"/>
                </a:moveTo>
                <a:cubicBezTo>
                  <a:pt x="748" y="259"/>
                  <a:pt x="747" y="257"/>
                  <a:pt x="745" y="255"/>
                </a:cubicBezTo>
                <a:cubicBezTo>
                  <a:pt x="746" y="257"/>
                  <a:pt x="747" y="259"/>
                  <a:pt x="748" y="261"/>
                </a:cubicBezTo>
                <a:cubicBezTo>
                  <a:pt x="749" y="261"/>
                  <a:pt x="749" y="261"/>
                  <a:pt x="749" y="260"/>
                </a:cubicBezTo>
                <a:close/>
                <a:moveTo>
                  <a:pt x="754" y="269"/>
                </a:moveTo>
                <a:cubicBezTo>
                  <a:pt x="753" y="266"/>
                  <a:pt x="750" y="264"/>
                  <a:pt x="749" y="262"/>
                </a:cubicBezTo>
                <a:cubicBezTo>
                  <a:pt x="749" y="264"/>
                  <a:pt x="749" y="264"/>
                  <a:pt x="749" y="264"/>
                </a:cubicBezTo>
                <a:cubicBezTo>
                  <a:pt x="751" y="265"/>
                  <a:pt x="752" y="267"/>
                  <a:pt x="754" y="269"/>
                </a:cubicBezTo>
                <a:close/>
                <a:moveTo>
                  <a:pt x="758" y="224"/>
                </a:moveTo>
                <a:cubicBezTo>
                  <a:pt x="758" y="224"/>
                  <a:pt x="758" y="223"/>
                  <a:pt x="757" y="223"/>
                </a:cubicBezTo>
                <a:cubicBezTo>
                  <a:pt x="758" y="225"/>
                  <a:pt x="757" y="225"/>
                  <a:pt x="756" y="223"/>
                </a:cubicBezTo>
                <a:cubicBezTo>
                  <a:pt x="756" y="224"/>
                  <a:pt x="757" y="225"/>
                  <a:pt x="758" y="226"/>
                </a:cubicBezTo>
                <a:cubicBezTo>
                  <a:pt x="757" y="224"/>
                  <a:pt x="759" y="226"/>
                  <a:pt x="758" y="224"/>
                </a:cubicBezTo>
                <a:close/>
                <a:moveTo>
                  <a:pt x="768" y="283"/>
                </a:moveTo>
                <a:cubicBezTo>
                  <a:pt x="768" y="281"/>
                  <a:pt x="767" y="282"/>
                  <a:pt x="766" y="281"/>
                </a:cubicBezTo>
                <a:cubicBezTo>
                  <a:pt x="766" y="282"/>
                  <a:pt x="767" y="283"/>
                  <a:pt x="768" y="283"/>
                </a:cubicBezTo>
                <a:close/>
                <a:moveTo>
                  <a:pt x="768" y="279"/>
                </a:moveTo>
                <a:cubicBezTo>
                  <a:pt x="767" y="279"/>
                  <a:pt x="766" y="278"/>
                  <a:pt x="766" y="277"/>
                </a:cubicBezTo>
                <a:cubicBezTo>
                  <a:pt x="766" y="277"/>
                  <a:pt x="766" y="278"/>
                  <a:pt x="766" y="279"/>
                </a:cubicBezTo>
                <a:cubicBezTo>
                  <a:pt x="766" y="278"/>
                  <a:pt x="767" y="279"/>
                  <a:pt x="768" y="281"/>
                </a:cubicBezTo>
                <a:cubicBezTo>
                  <a:pt x="768" y="280"/>
                  <a:pt x="768" y="280"/>
                  <a:pt x="767" y="280"/>
                </a:cubicBezTo>
                <a:cubicBezTo>
                  <a:pt x="767" y="279"/>
                  <a:pt x="768" y="280"/>
                  <a:pt x="768" y="279"/>
                </a:cubicBezTo>
                <a:close/>
                <a:moveTo>
                  <a:pt x="771" y="260"/>
                </a:moveTo>
                <a:cubicBezTo>
                  <a:pt x="771" y="260"/>
                  <a:pt x="772" y="261"/>
                  <a:pt x="772" y="262"/>
                </a:cubicBezTo>
                <a:cubicBezTo>
                  <a:pt x="772" y="262"/>
                  <a:pt x="772" y="260"/>
                  <a:pt x="771" y="260"/>
                </a:cubicBezTo>
                <a:close/>
                <a:moveTo>
                  <a:pt x="775" y="271"/>
                </a:moveTo>
                <a:cubicBezTo>
                  <a:pt x="775" y="269"/>
                  <a:pt x="774" y="268"/>
                  <a:pt x="773" y="266"/>
                </a:cubicBezTo>
                <a:cubicBezTo>
                  <a:pt x="773" y="268"/>
                  <a:pt x="774" y="269"/>
                  <a:pt x="775" y="271"/>
                </a:cubicBezTo>
                <a:close/>
                <a:moveTo>
                  <a:pt x="777" y="277"/>
                </a:moveTo>
                <a:cubicBezTo>
                  <a:pt x="777" y="276"/>
                  <a:pt x="777" y="275"/>
                  <a:pt x="776" y="275"/>
                </a:cubicBezTo>
                <a:cubicBezTo>
                  <a:pt x="776" y="276"/>
                  <a:pt x="777" y="276"/>
                  <a:pt x="777" y="277"/>
                </a:cubicBezTo>
                <a:close/>
                <a:moveTo>
                  <a:pt x="779" y="276"/>
                </a:moveTo>
                <a:cubicBezTo>
                  <a:pt x="778" y="276"/>
                  <a:pt x="780" y="279"/>
                  <a:pt x="780" y="277"/>
                </a:cubicBezTo>
                <a:cubicBezTo>
                  <a:pt x="779" y="277"/>
                  <a:pt x="779" y="277"/>
                  <a:pt x="779" y="276"/>
                </a:cubicBezTo>
                <a:cubicBezTo>
                  <a:pt x="779" y="276"/>
                  <a:pt x="779" y="276"/>
                  <a:pt x="779" y="276"/>
                </a:cubicBezTo>
                <a:close/>
                <a:moveTo>
                  <a:pt x="782" y="283"/>
                </a:moveTo>
                <a:cubicBezTo>
                  <a:pt x="782" y="284"/>
                  <a:pt x="781" y="285"/>
                  <a:pt x="780" y="284"/>
                </a:cubicBezTo>
                <a:cubicBezTo>
                  <a:pt x="781" y="283"/>
                  <a:pt x="781" y="283"/>
                  <a:pt x="781" y="281"/>
                </a:cubicBezTo>
                <a:cubicBezTo>
                  <a:pt x="780" y="281"/>
                  <a:pt x="780" y="280"/>
                  <a:pt x="780" y="279"/>
                </a:cubicBezTo>
                <a:cubicBezTo>
                  <a:pt x="779" y="278"/>
                  <a:pt x="778" y="277"/>
                  <a:pt x="777" y="275"/>
                </a:cubicBezTo>
                <a:cubicBezTo>
                  <a:pt x="777" y="276"/>
                  <a:pt x="778" y="277"/>
                  <a:pt x="778" y="278"/>
                </a:cubicBezTo>
                <a:cubicBezTo>
                  <a:pt x="778" y="279"/>
                  <a:pt x="778" y="277"/>
                  <a:pt x="777" y="278"/>
                </a:cubicBezTo>
                <a:cubicBezTo>
                  <a:pt x="778" y="280"/>
                  <a:pt x="780" y="282"/>
                  <a:pt x="780" y="285"/>
                </a:cubicBezTo>
                <a:cubicBezTo>
                  <a:pt x="781" y="286"/>
                  <a:pt x="783" y="286"/>
                  <a:pt x="782" y="283"/>
                </a:cubicBezTo>
                <a:close/>
                <a:moveTo>
                  <a:pt x="713" y="312"/>
                </a:moveTo>
                <a:cubicBezTo>
                  <a:pt x="713" y="312"/>
                  <a:pt x="713" y="312"/>
                  <a:pt x="713" y="313"/>
                </a:cubicBezTo>
                <a:cubicBezTo>
                  <a:pt x="713" y="313"/>
                  <a:pt x="713" y="313"/>
                  <a:pt x="713" y="313"/>
                </a:cubicBezTo>
                <a:cubicBezTo>
                  <a:pt x="713" y="312"/>
                  <a:pt x="713" y="312"/>
                  <a:pt x="713" y="312"/>
                </a:cubicBezTo>
                <a:close/>
                <a:moveTo>
                  <a:pt x="694" y="321"/>
                </a:moveTo>
                <a:cubicBezTo>
                  <a:pt x="694" y="321"/>
                  <a:pt x="694" y="321"/>
                  <a:pt x="694" y="321"/>
                </a:cubicBezTo>
                <a:cubicBezTo>
                  <a:pt x="694" y="322"/>
                  <a:pt x="694" y="321"/>
                  <a:pt x="694" y="321"/>
                </a:cubicBezTo>
                <a:close/>
                <a:moveTo>
                  <a:pt x="704" y="332"/>
                </a:moveTo>
                <a:cubicBezTo>
                  <a:pt x="704" y="332"/>
                  <a:pt x="703" y="332"/>
                  <a:pt x="703" y="332"/>
                </a:cubicBezTo>
                <a:cubicBezTo>
                  <a:pt x="703" y="332"/>
                  <a:pt x="703" y="332"/>
                  <a:pt x="703" y="333"/>
                </a:cubicBezTo>
                <a:cubicBezTo>
                  <a:pt x="703" y="333"/>
                  <a:pt x="703" y="332"/>
                  <a:pt x="704" y="332"/>
                </a:cubicBezTo>
                <a:close/>
                <a:moveTo>
                  <a:pt x="704" y="331"/>
                </a:moveTo>
                <a:cubicBezTo>
                  <a:pt x="704" y="331"/>
                  <a:pt x="704" y="331"/>
                  <a:pt x="704" y="331"/>
                </a:cubicBezTo>
                <a:cubicBezTo>
                  <a:pt x="704" y="330"/>
                  <a:pt x="703" y="331"/>
                  <a:pt x="703" y="330"/>
                </a:cubicBezTo>
                <a:cubicBezTo>
                  <a:pt x="702" y="330"/>
                  <a:pt x="701" y="331"/>
                  <a:pt x="702" y="332"/>
                </a:cubicBezTo>
                <a:cubicBezTo>
                  <a:pt x="702" y="331"/>
                  <a:pt x="702" y="331"/>
                  <a:pt x="702" y="331"/>
                </a:cubicBezTo>
                <a:cubicBezTo>
                  <a:pt x="702" y="331"/>
                  <a:pt x="702" y="331"/>
                  <a:pt x="702" y="332"/>
                </a:cubicBezTo>
                <a:cubicBezTo>
                  <a:pt x="703" y="332"/>
                  <a:pt x="703" y="331"/>
                  <a:pt x="703" y="332"/>
                </a:cubicBezTo>
                <a:cubicBezTo>
                  <a:pt x="703" y="332"/>
                  <a:pt x="704" y="332"/>
                  <a:pt x="704" y="332"/>
                </a:cubicBezTo>
                <a:cubicBezTo>
                  <a:pt x="704" y="331"/>
                  <a:pt x="704" y="331"/>
                  <a:pt x="704" y="331"/>
                </a:cubicBezTo>
                <a:close/>
                <a:moveTo>
                  <a:pt x="705" y="331"/>
                </a:moveTo>
                <a:cubicBezTo>
                  <a:pt x="705" y="331"/>
                  <a:pt x="705" y="331"/>
                  <a:pt x="704" y="331"/>
                </a:cubicBezTo>
                <a:cubicBezTo>
                  <a:pt x="704" y="331"/>
                  <a:pt x="704" y="331"/>
                  <a:pt x="705" y="331"/>
                </a:cubicBezTo>
                <a:close/>
                <a:moveTo>
                  <a:pt x="707" y="332"/>
                </a:moveTo>
                <a:cubicBezTo>
                  <a:pt x="706" y="332"/>
                  <a:pt x="706" y="332"/>
                  <a:pt x="705" y="332"/>
                </a:cubicBezTo>
                <a:cubicBezTo>
                  <a:pt x="706" y="332"/>
                  <a:pt x="706" y="332"/>
                  <a:pt x="707" y="332"/>
                </a:cubicBezTo>
                <a:close/>
                <a:moveTo>
                  <a:pt x="708" y="333"/>
                </a:moveTo>
                <a:cubicBezTo>
                  <a:pt x="708" y="333"/>
                  <a:pt x="707" y="333"/>
                  <a:pt x="707" y="333"/>
                </a:cubicBezTo>
                <a:cubicBezTo>
                  <a:pt x="707" y="333"/>
                  <a:pt x="707" y="334"/>
                  <a:pt x="708" y="333"/>
                </a:cubicBezTo>
                <a:close/>
                <a:moveTo>
                  <a:pt x="710" y="321"/>
                </a:moveTo>
                <a:cubicBezTo>
                  <a:pt x="710" y="322"/>
                  <a:pt x="710" y="321"/>
                  <a:pt x="710" y="321"/>
                </a:cubicBezTo>
                <a:cubicBezTo>
                  <a:pt x="710" y="321"/>
                  <a:pt x="710" y="321"/>
                  <a:pt x="710" y="321"/>
                </a:cubicBezTo>
                <a:close/>
                <a:moveTo>
                  <a:pt x="710" y="322"/>
                </a:moveTo>
                <a:cubicBezTo>
                  <a:pt x="710" y="322"/>
                  <a:pt x="710" y="322"/>
                  <a:pt x="710" y="322"/>
                </a:cubicBezTo>
                <a:cubicBezTo>
                  <a:pt x="710" y="322"/>
                  <a:pt x="710" y="322"/>
                  <a:pt x="710" y="322"/>
                </a:cubicBezTo>
                <a:cubicBezTo>
                  <a:pt x="710" y="322"/>
                  <a:pt x="709" y="322"/>
                  <a:pt x="709" y="323"/>
                </a:cubicBezTo>
                <a:cubicBezTo>
                  <a:pt x="710" y="323"/>
                  <a:pt x="710" y="322"/>
                  <a:pt x="710" y="322"/>
                </a:cubicBezTo>
                <a:cubicBezTo>
                  <a:pt x="711" y="322"/>
                  <a:pt x="711" y="322"/>
                  <a:pt x="710" y="322"/>
                </a:cubicBezTo>
                <a:close/>
                <a:moveTo>
                  <a:pt x="714" y="340"/>
                </a:moveTo>
                <a:cubicBezTo>
                  <a:pt x="715" y="339"/>
                  <a:pt x="714" y="339"/>
                  <a:pt x="714" y="339"/>
                </a:cubicBezTo>
                <a:cubicBezTo>
                  <a:pt x="714" y="340"/>
                  <a:pt x="713" y="340"/>
                  <a:pt x="713" y="341"/>
                </a:cubicBezTo>
                <a:cubicBezTo>
                  <a:pt x="713" y="341"/>
                  <a:pt x="713" y="341"/>
                  <a:pt x="714" y="341"/>
                </a:cubicBezTo>
                <a:cubicBezTo>
                  <a:pt x="714" y="340"/>
                  <a:pt x="714" y="339"/>
                  <a:pt x="714" y="340"/>
                </a:cubicBezTo>
                <a:close/>
                <a:moveTo>
                  <a:pt x="720" y="316"/>
                </a:moveTo>
                <a:cubicBezTo>
                  <a:pt x="720" y="316"/>
                  <a:pt x="720" y="316"/>
                  <a:pt x="720" y="316"/>
                </a:cubicBezTo>
                <a:cubicBezTo>
                  <a:pt x="719" y="316"/>
                  <a:pt x="718" y="316"/>
                  <a:pt x="717" y="316"/>
                </a:cubicBezTo>
                <a:cubicBezTo>
                  <a:pt x="718" y="317"/>
                  <a:pt x="719" y="316"/>
                  <a:pt x="720" y="316"/>
                </a:cubicBezTo>
                <a:close/>
                <a:moveTo>
                  <a:pt x="721" y="341"/>
                </a:moveTo>
                <a:cubicBezTo>
                  <a:pt x="721" y="341"/>
                  <a:pt x="720" y="341"/>
                  <a:pt x="720" y="341"/>
                </a:cubicBezTo>
                <a:cubicBezTo>
                  <a:pt x="720" y="341"/>
                  <a:pt x="721" y="341"/>
                  <a:pt x="721" y="341"/>
                </a:cubicBezTo>
                <a:close/>
                <a:moveTo>
                  <a:pt x="722" y="317"/>
                </a:moveTo>
                <a:cubicBezTo>
                  <a:pt x="721" y="316"/>
                  <a:pt x="721" y="316"/>
                  <a:pt x="720" y="316"/>
                </a:cubicBezTo>
                <a:cubicBezTo>
                  <a:pt x="720" y="316"/>
                  <a:pt x="720" y="317"/>
                  <a:pt x="720" y="317"/>
                </a:cubicBezTo>
                <a:cubicBezTo>
                  <a:pt x="721" y="317"/>
                  <a:pt x="721" y="317"/>
                  <a:pt x="722" y="317"/>
                </a:cubicBezTo>
                <a:close/>
                <a:moveTo>
                  <a:pt x="724" y="317"/>
                </a:moveTo>
                <a:cubicBezTo>
                  <a:pt x="724" y="318"/>
                  <a:pt x="723" y="317"/>
                  <a:pt x="723" y="317"/>
                </a:cubicBezTo>
                <a:cubicBezTo>
                  <a:pt x="722" y="317"/>
                  <a:pt x="722" y="318"/>
                  <a:pt x="722" y="318"/>
                </a:cubicBezTo>
                <a:cubicBezTo>
                  <a:pt x="723" y="318"/>
                  <a:pt x="724" y="318"/>
                  <a:pt x="724" y="318"/>
                </a:cubicBezTo>
                <a:cubicBezTo>
                  <a:pt x="724" y="318"/>
                  <a:pt x="724" y="318"/>
                  <a:pt x="724" y="317"/>
                </a:cubicBezTo>
                <a:close/>
                <a:moveTo>
                  <a:pt x="734" y="348"/>
                </a:moveTo>
                <a:cubicBezTo>
                  <a:pt x="733" y="348"/>
                  <a:pt x="733" y="348"/>
                  <a:pt x="733" y="348"/>
                </a:cubicBezTo>
                <a:cubicBezTo>
                  <a:pt x="733" y="348"/>
                  <a:pt x="733" y="348"/>
                  <a:pt x="734" y="348"/>
                </a:cubicBezTo>
                <a:close/>
                <a:moveTo>
                  <a:pt x="735" y="348"/>
                </a:moveTo>
                <a:cubicBezTo>
                  <a:pt x="735" y="348"/>
                  <a:pt x="734" y="348"/>
                  <a:pt x="734" y="348"/>
                </a:cubicBezTo>
                <a:cubicBezTo>
                  <a:pt x="734" y="348"/>
                  <a:pt x="734" y="349"/>
                  <a:pt x="735" y="348"/>
                </a:cubicBezTo>
                <a:close/>
                <a:moveTo>
                  <a:pt x="736" y="349"/>
                </a:moveTo>
                <a:cubicBezTo>
                  <a:pt x="736" y="348"/>
                  <a:pt x="735" y="349"/>
                  <a:pt x="735" y="348"/>
                </a:cubicBezTo>
                <a:cubicBezTo>
                  <a:pt x="735" y="349"/>
                  <a:pt x="735" y="349"/>
                  <a:pt x="736" y="349"/>
                </a:cubicBezTo>
                <a:close/>
                <a:moveTo>
                  <a:pt x="748" y="356"/>
                </a:moveTo>
                <a:cubicBezTo>
                  <a:pt x="748" y="356"/>
                  <a:pt x="748" y="355"/>
                  <a:pt x="748" y="355"/>
                </a:cubicBezTo>
                <a:cubicBezTo>
                  <a:pt x="748" y="356"/>
                  <a:pt x="748" y="356"/>
                  <a:pt x="748" y="356"/>
                </a:cubicBezTo>
                <a:close/>
                <a:moveTo>
                  <a:pt x="756" y="318"/>
                </a:moveTo>
                <a:cubicBezTo>
                  <a:pt x="756" y="319"/>
                  <a:pt x="756" y="319"/>
                  <a:pt x="756" y="319"/>
                </a:cubicBezTo>
                <a:cubicBezTo>
                  <a:pt x="756" y="318"/>
                  <a:pt x="756" y="318"/>
                  <a:pt x="756" y="318"/>
                </a:cubicBezTo>
                <a:cubicBezTo>
                  <a:pt x="756" y="318"/>
                  <a:pt x="756" y="318"/>
                  <a:pt x="756" y="318"/>
                </a:cubicBezTo>
                <a:close/>
                <a:moveTo>
                  <a:pt x="756" y="360"/>
                </a:moveTo>
                <a:cubicBezTo>
                  <a:pt x="756" y="360"/>
                  <a:pt x="756" y="360"/>
                  <a:pt x="756" y="360"/>
                </a:cubicBezTo>
                <a:cubicBezTo>
                  <a:pt x="755" y="360"/>
                  <a:pt x="756" y="360"/>
                  <a:pt x="756" y="360"/>
                </a:cubicBezTo>
                <a:close/>
                <a:moveTo>
                  <a:pt x="757" y="361"/>
                </a:moveTo>
                <a:cubicBezTo>
                  <a:pt x="757" y="361"/>
                  <a:pt x="756" y="361"/>
                  <a:pt x="756" y="361"/>
                </a:cubicBezTo>
                <a:cubicBezTo>
                  <a:pt x="756" y="361"/>
                  <a:pt x="756" y="361"/>
                  <a:pt x="757" y="361"/>
                </a:cubicBezTo>
                <a:cubicBezTo>
                  <a:pt x="757" y="361"/>
                  <a:pt x="757" y="361"/>
                  <a:pt x="757" y="361"/>
                </a:cubicBezTo>
                <a:close/>
                <a:moveTo>
                  <a:pt x="757" y="318"/>
                </a:moveTo>
                <a:cubicBezTo>
                  <a:pt x="757" y="318"/>
                  <a:pt x="757" y="318"/>
                  <a:pt x="757" y="318"/>
                </a:cubicBezTo>
                <a:cubicBezTo>
                  <a:pt x="757" y="318"/>
                  <a:pt x="756" y="318"/>
                  <a:pt x="756" y="319"/>
                </a:cubicBezTo>
                <a:cubicBezTo>
                  <a:pt x="757" y="318"/>
                  <a:pt x="757" y="319"/>
                  <a:pt x="757" y="318"/>
                </a:cubicBezTo>
                <a:close/>
                <a:moveTo>
                  <a:pt x="758" y="319"/>
                </a:moveTo>
                <a:cubicBezTo>
                  <a:pt x="758" y="319"/>
                  <a:pt x="758" y="319"/>
                  <a:pt x="758" y="318"/>
                </a:cubicBezTo>
                <a:cubicBezTo>
                  <a:pt x="757" y="319"/>
                  <a:pt x="758" y="319"/>
                  <a:pt x="757" y="319"/>
                </a:cubicBezTo>
                <a:cubicBezTo>
                  <a:pt x="757" y="320"/>
                  <a:pt x="758" y="319"/>
                  <a:pt x="758" y="319"/>
                </a:cubicBezTo>
                <a:close/>
                <a:moveTo>
                  <a:pt x="759" y="319"/>
                </a:moveTo>
                <a:cubicBezTo>
                  <a:pt x="759" y="319"/>
                  <a:pt x="760" y="319"/>
                  <a:pt x="760" y="319"/>
                </a:cubicBezTo>
                <a:cubicBezTo>
                  <a:pt x="759" y="318"/>
                  <a:pt x="759" y="319"/>
                  <a:pt x="759" y="319"/>
                </a:cubicBezTo>
                <a:cubicBezTo>
                  <a:pt x="759" y="319"/>
                  <a:pt x="759" y="319"/>
                  <a:pt x="759" y="319"/>
                </a:cubicBezTo>
                <a:cubicBezTo>
                  <a:pt x="758" y="319"/>
                  <a:pt x="758" y="319"/>
                  <a:pt x="758" y="320"/>
                </a:cubicBezTo>
                <a:cubicBezTo>
                  <a:pt x="758" y="320"/>
                  <a:pt x="759" y="319"/>
                  <a:pt x="759" y="319"/>
                </a:cubicBezTo>
                <a:close/>
                <a:moveTo>
                  <a:pt x="765" y="366"/>
                </a:moveTo>
                <a:cubicBezTo>
                  <a:pt x="765" y="367"/>
                  <a:pt x="766" y="367"/>
                  <a:pt x="766" y="367"/>
                </a:cubicBezTo>
                <a:cubicBezTo>
                  <a:pt x="766" y="367"/>
                  <a:pt x="765" y="367"/>
                  <a:pt x="765" y="366"/>
                </a:cubicBezTo>
                <a:close/>
                <a:moveTo>
                  <a:pt x="769" y="369"/>
                </a:moveTo>
                <a:cubicBezTo>
                  <a:pt x="769" y="369"/>
                  <a:pt x="769" y="369"/>
                  <a:pt x="769" y="369"/>
                </a:cubicBezTo>
                <a:cubicBezTo>
                  <a:pt x="769" y="368"/>
                  <a:pt x="768" y="368"/>
                  <a:pt x="768" y="368"/>
                </a:cubicBezTo>
                <a:cubicBezTo>
                  <a:pt x="768" y="369"/>
                  <a:pt x="768" y="369"/>
                  <a:pt x="768" y="369"/>
                </a:cubicBezTo>
                <a:cubicBezTo>
                  <a:pt x="769" y="369"/>
                  <a:pt x="769" y="369"/>
                  <a:pt x="769" y="369"/>
                </a:cubicBezTo>
                <a:close/>
                <a:moveTo>
                  <a:pt x="774" y="372"/>
                </a:moveTo>
                <a:cubicBezTo>
                  <a:pt x="773" y="373"/>
                  <a:pt x="774" y="373"/>
                  <a:pt x="774" y="374"/>
                </a:cubicBezTo>
                <a:cubicBezTo>
                  <a:pt x="774" y="373"/>
                  <a:pt x="774" y="373"/>
                  <a:pt x="774" y="372"/>
                </a:cubicBezTo>
                <a:close/>
                <a:moveTo>
                  <a:pt x="792" y="333"/>
                </a:moveTo>
                <a:cubicBezTo>
                  <a:pt x="792" y="333"/>
                  <a:pt x="792" y="333"/>
                  <a:pt x="792" y="333"/>
                </a:cubicBezTo>
                <a:cubicBezTo>
                  <a:pt x="793" y="333"/>
                  <a:pt x="793" y="333"/>
                  <a:pt x="793" y="333"/>
                </a:cubicBezTo>
                <a:cubicBezTo>
                  <a:pt x="792" y="333"/>
                  <a:pt x="792" y="333"/>
                  <a:pt x="792" y="333"/>
                </a:cubicBezTo>
                <a:close/>
                <a:moveTo>
                  <a:pt x="791" y="317"/>
                </a:moveTo>
                <a:cubicBezTo>
                  <a:pt x="791" y="317"/>
                  <a:pt x="792" y="317"/>
                  <a:pt x="792" y="317"/>
                </a:cubicBezTo>
                <a:cubicBezTo>
                  <a:pt x="792" y="317"/>
                  <a:pt x="792" y="316"/>
                  <a:pt x="792" y="316"/>
                </a:cubicBezTo>
                <a:cubicBezTo>
                  <a:pt x="792" y="316"/>
                  <a:pt x="792" y="316"/>
                  <a:pt x="791" y="316"/>
                </a:cubicBezTo>
                <a:lnTo>
                  <a:pt x="791" y="317"/>
                </a:lnTo>
                <a:close/>
                <a:moveTo>
                  <a:pt x="790" y="335"/>
                </a:moveTo>
                <a:cubicBezTo>
                  <a:pt x="791" y="335"/>
                  <a:pt x="791" y="335"/>
                  <a:pt x="790" y="335"/>
                </a:cubicBezTo>
                <a:cubicBezTo>
                  <a:pt x="790" y="334"/>
                  <a:pt x="790" y="334"/>
                  <a:pt x="790" y="334"/>
                </a:cubicBezTo>
                <a:cubicBezTo>
                  <a:pt x="790" y="335"/>
                  <a:pt x="791" y="335"/>
                  <a:pt x="790" y="335"/>
                </a:cubicBezTo>
                <a:close/>
                <a:moveTo>
                  <a:pt x="789" y="340"/>
                </a:moveTo>
                <a:cubicBezTo>
                  <a:pt x="789" y="339"/>
                  <a:pt x="789" y="340"/>
                  <a:pt x="789" y="339"/>
                </a:cubicBezTo>
                <a:cubicBezTo>
                  <a:pt x="788" y="338"/>
                  <a:pt x="788" y="339"/>
                  <a:pt x="788" y="338"/>
                </a:cubicBezTo>
                <a:cubicBezTo>
                  <a:pt x="788" y="339"/>
                  <a:pt x="789" y="339"/>
                  <a:pt x="789" y="340"/>
                </a:cubicBezTo>
                <a:cubicBezTo>
                  <a:pt x="789" y="340"/>
                  <a:pt x="789" y="339"/>
                  <a:pt x="789" y="340"/>
                </a:cubicBezTo>
                <a:close/>
                <a:moveTo>
                  <a:pt x="789" y="339"/>
                </a:moveTo>
                <a:cubicBezTo>
                  <a:pt x="789" y="338"/>
                  <a:pt x="789" y="339"/>
                  <a:pt x="789" y="339"/>
                </a:cubicBezTo>
                <a:cubicBezTo>
                  <a:pt x="789" y="340"/>
                  <a:pt x="789" y="339"/>
                  <a:pt x="789" y="339"/>
                </a:cubicBezTo>
                <a:close/>
                <a:moveTo>
                  <a:pt x="789" y="339"/>
                </a:moveTo>
                <a:cubicBezTo>
                  <a:pt x="789" y="340"/>
                  <a:pt x="789" y="340"/>
                  <a:pt x="789" y="340"/>
                </a:cubicBezTo>
                <a:cubicBezTo>
                  <a:pt x="789" y="341"/>
                  <a:pt x="789" y="339"/>
                  <a:pt x="789" y="339"/>
                </a:cubicBezTo>
                <a:close/>
                <a:moveTo>
                  <a:pt x="790" y="340"/>
                </a:moveTo>
                <a:cubicBezTo>
                  <a:pt x="790" y="340"/>
                  <a:pt x="789" y="339"/>
                  <a:pt x="789" y="339"/>
                </a:cubicBezTo>
                <a:cubicBezTo>
                  <a:pt x="789" y="338"/>
                  <a:pt x="789" y="339"/>
                  <a:pt x="789" y="339"/>
                </a:cubicBezTo>
                <a:cubicBezTo>
                  <a:pt x="789" y="340"/>
                  <a:pt x="789" y="340"/>
                  <a:pt x="789" y="340"/>
                </a:cubicBezTo>
                <a:cubicBezTo>
                  <a:pt x="789" y="340"/>
                  <a:pt x="789" y="339"/>
                  <a:pt x="789" y="339"/>
                </a:cubicBezTo>
                <a:cubicBezTo>
                  <a:pt x="789" y="339"/>
                  <a:pt x="789" y="340"/>
                  <a:pt x="789" y="340"/>
                </a:cubicBezTo>
                <a:cubicBezTo>
                  <a:pt x="789" y="340"/>
                  <a:pt x="789" y="340"/>
                  <a:pt x="790" y="340"/>
                </a:cubicBezTo>
                <a:close/>
                <a:moveTo>
                  <a:pt x="790" y="334"/>
                </a:moveTo>
                <a:cubicBezTo>
                  <a:pt x="790" y="334"/>
                  <a:pt x="790" y="336"/>
                  <a:pt x="790" y="335"/>
                </a:cubicBezTo>
                <a:cubicBezTo>
                  <a:pt x="791" y="336"/>
                  <a:pt x="791" y="336"/>
                  <a:pt x="790" y="335"/>
                </a:cubicBezTo>
                <a:cubicBezTo>
                  <a:pt x="790" y="335"/>
                  <a:pt x="790" y="335"/>
                  <a:pt x="790" y="335"/>
                </a:cubicBezTo>
                <a:cubicBezTo>
                  <a:pt x="790" y="335"/>
                  <a:pt x="790" y="335"/>
                  <a:pt x="790" y="334"/>
                </a:cubicBezTo>
                <a:close/>
                <a:moveTo>
                  <a:pt x="790" y="336"/>
                </a:moveTo>
                <a:cubicBezTo>
                  <a:pt x="791" y="336"/>
                  <a:pt x="791" y="336"/>
                  <a:pt x="790" y="336"/>
                </a:cubicBezTo>
                <a:cubicBezTo>
                  <a:pt x="790" y="335"/>
                  <a:pt x="790" y="336"/>
                  <a:pt x="790" y="336"/>
                </a:cubicBezTo>
                <a:close/>
                <a:moveTo>
                  <a:pt x="790" y="339"/>
                </a:moveTo>
                <a:cubicBezTo>
                  <a:pt x="790" y="339"/>
                  <a:pt x="790" y="339"/>
                  <a:pt x="790" y="339"/>
                </a:cubicBezTo>
                <a:cubicBezTo>
                  <a:pt x="790" y="339"/>
                  <a:pt x="790" y="340"/>
                  <a:pt x="790" y="339"/>
                </a:cubicBezTo>
                <a:close/>
                <a:moveTo>
                  <a:pt x="790" y="340"/>
                </a:moveTo>
                <a:cubicBezTo>
                  <a:pt x="790" y="339"/>
                  <a:pt x="790" y="340"/>
                  <a:pt x="790" y="339"/>
                </a:cubicBezTo>
                <a:cubicBezTo>
                  <a:pt x="790" y="340"/>
                  <a:pt x="790" y="340"/>
                  <a:pt x="790" y="340"/>
                </a:cubicBezTo>
                <a:cubicBezTo>
                  <a:pt x="791" y="341"/>
                  <a:pt x="790" y="340"/>
                  <a:pt x="790" y="340"/>
                </a:cubicBezTo>
                <a:close/>
                <a:moveTo>
                  <a:pt x="791" y="339"/>
                </a:moveTo>
                <a:cubicBezTo>
                  <a:pt x="790" y="338"/>
                  <a:pt x="791" y="339"/>
                  <a:pt x="791" y="339"/>
                </a:cubicBezTo>
                <a:cubicBezTo>
                  <a:pt x="791" y="340"/>
                  <a:pt x="791" y="339"/>
                  <a:pt x="791" y="339"/>
                </a:cubicBezTo>
                <a:close/>
                <a:moveTo>
                  <a:pt x="792" y="336"/>
                </a:moveTo>
                <a:cubicBezTo>
                  <a:pt x="791" y="336"/>
                  <a:pt x="791" y="335"/>
                  <a:pt x="791" y="335"/>
                </a:cubicBezTo>
                <a:cubicBezTo>
                  <a:pt x="791" y="335"/>
                  <a:pt x="791" y="335"/>
                  <a:pt x="791" y="335"/>
                </a:cubicBezTo>
                <a:cubicBezTo>
                  <a:pt x="791" y="336"/>
                  <a:pt x="791" y="336"/>
                  <a:pt x="790" y="335"/>
                </a:cubicBezTo>
                <a:cubicBezTo>
                  <a:pt x="791" y="336"/>
                  <a:pt x="791" y="336"/>
                  <a:pt x="791" y="336"/>
                </a:cubicBezTo>
                <a:cubicBezTo>
                  <a:pt x="791" y="336"/>
                  <a:pt x="791" y="337"/>
                  <a:pt x="791" y="336"/>
                </a:cubicBezTo>
                <a:cubicBezTo>
                  <a:pt x="791" y="336"/>
                  <a:pt x="791" y="336"/>
                  <a:pt x="791" y="336"/>
                </a:cubicBezTo>
                <a:cubicBezTo>
                  <a:pt x="791" y="336"/>
                  <a:pt x="791" y="336"/>
                  <a:pt x="791" y="337"/>
                </a:cubicBezTo>
                <a:cubicBezTo>
                  <a:pt x="790" y="336"/>
                  <a:pt x="791" y="339"/>
                  <a:pt x="790" y="338"/>
                </a:cubicBezTo>
                <a:cubicBezTo>
                  <a:pt x="791" y="339"/>
                  <a:pt x="791" y="339"/>
                  <a:pt x="791" y="339"/>
                </a:cubicBezTo>
                <a:cubicBezTo>
                  <a:pt x="791" y="338"/>
                  <a:pt x="791" y="337"/>
                  <a:pt x="792" y="336"/>
                </a:cubicBezTo>
                <a:close/>
                <a:moveTo>
                  <a:pt x="799" y="392"/>
                </a:moveTo>
                <a:cubicBezTo>
                  <a:pt x="799" y="392"/>
                  <a:pt x="798" y="391"/>
                  <a:pt x="798" y="391"/>
                </a:cubicBezTo>
                <a:cubicBezTo>
                  <a:pt x="799" y="392"/>
                  <a:pt x="799" y="392"/>
                  <a:pt x="799" y="392"/>
                </a:cubicBezTo>
                <a:close/>
                <a:moveTo>
                  <a:pt x="811" y="399"/>
                </a:moveTo>
                <a:cubicBezTo>
                  <a:pt x="811" y="399"/>
                  <a:pt x="811" y="398"/>
                  <a:pt x="811" y="399"/>
                </a:cubicBezTo>
                <a:cubicBezTo>
                  <a:pt x="812" y="399"/>
                  <a:pt x="811" y="398"/>
                  <a:pt x="811" y="398"/>
                </a:cubicBezTo>
                <a:cubicBezTo>
                  <a:pt x="811" y="398"/>
                  <a:pt x="811" y="398"/>
                  <a:pt x="811" y="399"/>
                </a:cubicBezTo>
                <a:close/>
                <a:moveTo>
                  <a:pt x="813" y="389"/>
                </a:moveTo>
                <a:cubicBezTo>
                  <a:pt x="813" y="388"/>
                  <a:pt x="813" y="387"/>
                  <a:pt x="813" y="387"/>
                </a:cubicBezTo>
                <a:cubicBezTo>
                  <a:pt x="812" y="386"/>
                  <a:pt x="812" y="387"/>
                  <a:pt x="812" y="388"/>
                </a:cubicBezTo>
                <a:cubicBezTo>
                  <a:pt x="812" y="388"/>
                  <a:pt x="813" y="389"/>
                  <a:pt x="813" y="389"/>
                </a:cubicBezTo>
                <a:close/>
                <a:moveTo>
                  <a:pt x="814" y="386"/>
                </a:moveTo>
                <a:cubicBezTo>
                  <a:pt x="814" y="385"/>
                  <a:pt x="815" y="385"/>
                  <a:pt x="815" y="383"/>
                </a:cubicBezTo>
                <a:cubicBezTo>
                  <a:pt x="814" y="384"/>
                  <a:pt x="814" y="384"/>
                  <a:pt x="814" y="386"/>
                </a:cubicBezTo>
                <a:close/>
                <a:moveTo>
                  <a:pt x="815" y="385"/>
                </a:moveTo>
                <a:cubicBezTo>
                  <a:pt x="815" y="386"/>
                  <a:pt x="814" y="387"/>
                  <a:pt x="815" y="388"/>
                </a:cubicBezTo>
                <a:cubicBezTo>
                  <a:pt x="815" y="388"/>
                  <a:pt x="815" y="387"/>
                  <a:pt x="815" y="385"/>
                </a:cubicBezTo>
                <a:close/>
                <a:moveTo>
                  <a:pt x="815" y="383"/>
                </a:moveTo>
                <a:cubicBezTo>
                  <a:pt x="815" y="383"/>
                  <a:pt x="815" y="383"/>
                  <a:pt x="815" y="382"/>
                </a:cubicBezTo>
                <a:cubicBezTo>
                  <a:pt x="815" y="382"/>
                  <a:pt x="815" y="383"/>
                  <a:pt x="814" y="383"/>
                </a:cubicBezTo>
                <a:cubicBezTo>
                  <a:pt x="815" y="383"/>
                  <a:pt x="815" y="384"/>
                  <a:pt x="815" y="384"/>
                </a:cubicBezTo>
                <a:cubicBezTo>
                  <a:pt x="815" y="383"/>
                  <a:pt x="815" y="383"/>
                  <a:pt x="815" y="383"/>
                </a:cubicBezTo>
                <a:close/>
                <a:moveTo>
                  <a:pt x="816" y="383"/>
                </a:moveTo>
                <a:cubicBezTo>
                  <a:pt x="815" y="382"/>
                  <a:pt x="815" y="383"/>
                  <a:pt x="815" y="384"/>
                </a:cubicBezTo>
                <a:cubicBezTo>
                  <a:pt x="815" y="384"/>
                  <a:pt x="816" y="383"/>
                  <a:pt x="816" y="383"/>
                </a:cubicBezTo>
                <a:close/>
                <a:moveTo>
                  <a:pt x="816" y="326"/>
                </a:moveTo>
                <a:cubicBezTo>
                  <a:pt x="816" y="326"/>
                  <a:pt x="816" y="326"/>
                  <a:pt x="817" y="326"/>
                </a:cubicBezTo>
                <a:cubicBezTo>
                  <a:pt x="816" y="325"/>
                  <a:pt x="816" y="325"/>
                  <a:pt x="816" y="325"/>
                </a:cubicBezTo>
                <a:cubicBezTo>
                  <a:pt x="815" y="325"/>
                  <a:pt x="816" y="326"/>
                  <a:pt x="816" y="326"/>
                </a:cubicBezTo>
                <a:close/>
                <a:moveTo>
                  <a:pt x="817" y="382"/>
                </a:moveTo>
                <a:cubicBezTo>
                  <a:pt x="816" y="381"/>
                  <a:pt x="816" y="381"/>
                  <a:pt x="816" y="381"/>
                </a:cubicBezTo>
                <a:cubicBezTo>
                  <a:pt x="816" y="382"/>
                  <a:pt x="816" y="382"/>
                  <a:pt x="816" y="382"/>
                </a:cubicBezTo>
                <a:cubicBezTo>
                  <a:pt x="816" y="382"/>
                  <a:pt x="816" y="382"/>
                  <a:pt x="816" y="383"/>
                </a:cubicBezTo>
                <a:cubicBezTo>
                  <a:pt x="817" y="383"/>
                  <a:pt x="817" y="382"/>
                  <a:pt x="817" y="382"/>
                </a:cubicBezTo>
                <a:close/>
                <a:moveTo>
                  <a:pt x="817" y="378"/>
                </a:moveTo>
                <a:cubicBezTo>
                  <a:pt x="816" y="377"/>
                  <a:pt x="816" y="378"/>
                  <a:pt x="816" y="379"/>
                </a:cubicBezTo>
                <a:cubicBezTo>
                  <a:pt x="817" y="378"/>
                  <a:pt x="817" y="378"/>
                  <a:pt x="817" y="378"/>
                </a:cubicBezTo>
                <a:close/>
                <a:moveTo>
                  <a:pt x="819" y="321"/>
                </a:moveTo>
                <a:cubicBezTo>
                  <a:pt x="819" y="321"/>
                  <a:pt x="819" y="321"/>
                  <a:pt x="819" y="321"/>
                </a:cubicBezTo>
                <a:cubicBezTo>
                  <a:pt x="819" y="321"/>
                  <a:pt x="819" y="321"/>
                  <a:pt x="818" y="320"/>
                </a:cubicBezTo>
                <a:cubicBezTo>
                  <a:pt x="818" y="320"/>
                  <a:pt x="818" y="321"/>
                  <a:pt x="819" y="321"/>
                </a:cubicBezTo>
                <a:close/>
                <a:moveTo>
                  <a:pt x="819" y="340"/>
                </a:moveTo>
                <a:cubicBezTo>
                  <a:pt x="819" y="339"/>
                  <a:pt x="819" y="339"/>
                  <a:pt x="819" y="339"/>
                </a:cubicBezTo>
                <a:cubicBezTo>
                  <a:pt x="818" y="339"/>
                  <a:pt x="819" y="339"/>
                  <a:pt x="819" y="340"/>
                </a:cubicBezTo>
                <a:close/>
                <a:moveTo>
                  <a:pt x="818" y="371"/>
                </a:moveTo>
                <a:cubicBezTo>
                  <a:pt x="818" y="371"/>
                  <a:pt x="818" y="372"/>
                  <a:pt x="818" y="372"/>
                </a:cubicBezTo>
                <a:cubicBezTo>
                  <a:pt x="818" y="372"/>
                  <a:pt x="818" y="373"/>
                  <a:pt x="819" y="373"/>
                </a:cubicBezTo>
                <a:cubicBezTo>
                  <a:pt x="819" y="372"/>
                  <a:pt x="818" y="372"/>
                  <a:pt x="818" y="371"/>
                </a:cubicBezTo>
                <a:close/>
                <a:moveTo>
                  <a:pt x="818" y="345"/>
                </a:moveTo>
                <a:cubicBezTo>
                  <a:pt x="818" y="345"/>
                  <a:pt x="818" y="344"/>
                  <a:pt x="818" y="344"/>
                </a:cubicBezTo>
                <a:cubicBezTo>
                  <a:pt x="817" y="343"/>
                  <a:pt x="817" y="345"/>
                  <a:pt x="818" y="345"/>
                </a:cubicBezTo>
                <a:close/>
                <a:moveTo>
                  <a:pt x="818" y="375"/>
                </a:moveTo>
                <a:cubicBezTo>
                  <a:pt x="818" y="375"/>
                  <a:pt x="818" y="374"/>
                  <a:pt x="819" y="374"/>
                </a:cubicBezTo>
                <a:cubicBezTo>
                  <a:pt x="819" y="373"/>
                  <a:pt x="818" y="373"/>
                  <a:pt x="818" y="373"/>
                </a:cubicBezTo>
                <a:cubicBezTo>
                  <a:pt x="818" y="373"/>
                  <a:pt x="817" y="374"/>
                  <a:pt x="818" y="375"/>
                </a:cubicBezTo>
                <a:cubicBezTo>
                  <a:pt x="818" y="375"/>
                  <a:pt x="818" y="375"/>
                  <a:pt x="818" y="375"/>
                </a:cubicBezTo>
                <a:close/>
                <a:moveTo>
                  <a:pt x="819" y="378"/>
                </a:moveTo>
                <a:cubicBezTo>
                  <a:pt x="818" y="377"/>
                  <a:pt x="818" y="377"/>
                  <a:pt x="818" y="376"/>
                </a:cubicBezTo>
                <a:cubicBezTo>
                  <a:pt x="818" y="376"/>
                  <a:pt x="818" y="376"/>
                  <a:pt x="818" y="376"/>
                </a:cubicBezTo>
                <a:cubicBezTo>
                  <a:pt x="818" y="376"/>
                  <a:pt x="818" y="377"/>
                  <a:pt x="818" y="377"/>
                </a:cubicBezTo>
                <a:cubicBezTo>
                  <a:pt x="818" y="377"/>
                  <a:pt x="818" y="377"/>
                  <a:pt x="818" y="377"/>
                </a:cubicBezTo>
                <a:cubicBezTo>
                  <a:pt x="818" y="378"/>
                  <a:pt x="818" y="378"/>
                  <a:pt x="818" y="378"/>
                </a:cubicBezTo>
                <a:cubicBezTo>
                  <a:pt x="818" y="378"/>
                  <a:pt x="818" y="378"/>
                  <a:pt x="818" y="377"/>
                </a:cubicBezTo>
                <a:cubicBezTo>
                  <a:pt x="818" y="377"/>
                  <a:pt x="818" y="378"/>
                  <a:pt x="819" y="378"/>
                </a:cubicBezTo>
                <a:close/>
                <a:moveTo>
                  <a:pt x="819" y="373"/>
                </a:moveTo>
                <a:cubicBezTo>
                  <a:pt x="819" y="373"/>
                  <a:pt x="819" y="374"/>
                  <a:pt x="819" y="375"/>
                </a:cubicBezTo>
                <a:cubicBezTo>
                  <a:pt x="819" y="375"/>
                  <a:pt x="819" y="375"/>
                  <a:pt x="819" y="374"/>
                </a:cubicBezTo>
                <a:cubicBezTo>
                  <a:pt x="819" y="374"/>
                  <a:pt x="819" y="374"/>
                  <a:pt x="819" y="375"/>
                </a:cubicBezTo>
                <a:cubicBezTo>
                  <a:pt x="819" y="374"/>
                  <a:pt x="819" y="374"/>
                  <a:pt x="819" y="373"/>
                </a:cubicBezTo>
                <a:close/>
                <a:moveTo>
                  <a:pt x="819" y="369"/>
                </a:moveTo>
                <a:cubicBezTo>
                  <a:pt x="819" y="370"/>
                  <a:pt x="819" y="371"/>
                  <a:pt x="819" y="371"/>
                </a:cubicBezTo>
                <a:cubicBezTo>
                  <a:pt x="819" y="371"/>
                  <a:pt x="819" y="371"/>
                  <a:pt x="820" y="371"/>
                </a:cubicBezTo>
                <a:cubicBezTo>
                  <a:pt x="820" y="371"/>
                  <a:pt x="820" y="372"/>
                  <a:pt x="819" y="372"/>
                </a:cubicBezTo>
                <a:cubicBezTo>
                  <a:pt x="820" y="373"/>
                  <a:pt x="820" y="371"/>
                  <a:pt x="820" y="371"/>
                </a:cubicBezTo>
                <a:cubicBezTo>
                  <a:pt x="820" y="370"/>
                  <a:pt x="819" y="370"/>
                  <a:pt x="819" y="369"/>
                </a:cubicBezTo>
                <a:close/>
                <a:moveTo>
                  <a:pt x="867" y="283"/>
                </a:moveTo>
                <a:cubicBezTo>
                  <a:pt x="867" y="283"/>
                  <a:pt x="868" y="284"/>
                  <a:pt x="868" y="283"/>
                </a:cubicBezTo>
                <a:cubicBezTo>
                  <a:pt x="868" y="283"/>
                  <a:pt x="868" y="283"/>
                  <a:pt x="868" y="283"/>
                </a:cubicBezTo>
                <a:cubicBezTo>
                  <a:pt x="868" y="283"/>
                  <a:pt x="868" y="283"/>
                  <a:pt x="868" y="282"/>
                </a:cubicBezTo>
                <a:cubicBezTo>
                  <a:pt x="867" y="283"/>
                  <a:pt x="867" y="283"/>
                  <a:pt x="867" y="283"/>
                </a:cubicBezTo>
                <a:close/>
                <a:moveTo>
                  <a:pt x="864" y="287"/>
                </a:moveTo>
                <a:cubicBezTo>
                  <a:pt x="864" y="288"/>
                  <a:pt x="864" y="287"/>
                  <a:pt x="864" y="287"/>
                </a:cubicBezTo>
                <a:cubicBezTo>
                  <a:pt x="864" y="287"/>
                  <a:pt x="864" y="287"/>
                  <a:pt x="864" y="287"/>
                </a:cubicBezTo>
                <a:close/>
                <a:moveTo>
                  <a:pt x="862" y="288"/>
                </a:moveTo>
                <a:cubicBezTo>
                  <a:pt x="863" y="288"/>
                  <a:pt x="863" y="288"/>
                  <a:pt x="863" y="288"/>
                </a:cubicBezTo>
                <a:cubicBezTo>
                  <a:pt x="863" y="288"/>
                  <a:pt x="863" y="288"/>
                  <a:pt x="862" y="288"/>
                </a:cubicBezTo>
                <a:close/>
                <a:moveTo>
                  <a:pt x="859" y="294"/>
                </a:moveTo>
                <a:cubicBezTo>
                  <a:pt x="859" y="294"/>
                  <a:pt x="859" y="294"/>
                  <a:pt x="859" y="294"/>
                </a:cubicBezTo>
                <a:cubicBezTo>
                  <a:pt x="859" y="294"/>
                  <a:pt x="858" y="294"/>
                  <a:pt x="858" y="294"/>
                </a:cubicBezTo>
                <a:cubicBezTo>
                  <a:pt x="859" y="294"/>
                  <a:pt x="859" y="294"/>
                  <a:pt x="859" y="294"/>
                </a:cubicBezTo>
                <a:close/>
                <a:moveTo>
                  <a:pt x="859" y="293"/>
                </a:moveTo>
                <a:cubicBezTo>
                  <a:pt x="859" y="293"/>
                  <a:pt x="859" y="294"/>
                  <a:pt x="859" y="294"/>
                </a:cubicBezTo>
                <a:cubicBezTo>
                  <a:pt x="860" y="294"/>
                  <a:pt x="859" y="293"/>
                  <a:pt x="860" y="293"/>
                </a:cubicBezTo>
                <a:cubicBezTo>
                  <a:pt x="859" y="293"/>
                  <a:pt x="859" y="293"/>
                  <a:pt x="859" y="293"/>
                </a:cubicBezTo>
                <a:close/>
                <a:moveTo>
                  <a:pt x="859" y="292"/>
                </a:moveTo>
                <a:cubicBezTo>
                  <a:pt x="859" y="292"/>
                  <a:pt x="859" y="292"/>
                  <a:pt x="859" y="291"/>
                </a:cubicBezTo>
                <a:cubicBezTo>
                  <a:pt x="858" y="291"/>
                  <a:pt x="858" y="292"/>
                  <a:pt x="859" y="292"/>
                </a:cubicBezTo>
                <a:close/>
                <a:moveTo>
                  <a:pt x="858" y="295"/>
                </a:moveTo>
                <a:cubicBezTo>
                  <a:pt x="858" y="295"/>
                  <a:pt x="859" y="295"/>
                  <a:pt x="858" y="294"/>
                </a:cubicBezTo>
                <a:cubicBezTo>
                  <a:pt x="858" y="294"/>
                  <a:pt x="858" y="295"/>
                  <a:pt x="858" y="295"/>
                </a:cubicBezTo>
                <a:close/>
                <a:moveTo>
                  <a:pt x="857" y="294"/>
                </a:moveTo>
                <a:cubicBezTo>
                  <a:pt x="857" y="294"/>
                  <a:pt x="857" y="294"/>
                  <a:pt x="857" y="294"/>
                </a:cubicBezTo>
                <a:cubicBezTo>
                  <a:pt x="858" y="294"/>
                  <a:pt x="858" y="294"/>
                  <a:pt x="858" y="294"/>
                </a:cubicBezTo>
                <a:cubicBezTo>
                  <a:pt x="858" y="293"/>
                  <a:pt x="858" y="294"/>
                  <a:pt x="858" y="294"/>
                </a:cubicBezTo>
                <a:cubicBezTo>
                  <a:pt x="857" y="294"/>
                  <a:pt x="857" y="293"/>
                  <a:pt x="857" y="293"/>
                </a:cubicBezTo>
                <a:cubicBezTo>
                  <a:pt x="857" y="293"/>
                  <a:pt x="857" y="294"/>
                  <a:pt x="857" y="294"/>
                </a:cubicBezTo>
                <a:close/>
                <a:moveTo>
                  <a:pt x="856" y="300"/>
                </a:moveTo>
                <a:cubicBezTo>
                  <a:pt x="857" y="300"/>
                  <a:pt x="857" y="299"/>
                  <a:pt x="857" y="299"/>
                </a:cubicBezTo>
                <a:cubicBezTo>
                  <a:pt x="856" y="299"/>
                  <a:pt x="856" y="299"/>
                  <a:pt x="856" y="300"/>
                </a:cubicBezTo>
                <a:close/>
                <a:moveTo>
                  <a:pt x="855" y="296"/>
                </a:moveTo>
                <a:cubicBezTo>
                  <a:pt x="855" y="296"/>
                  <a:pt x="855" y="296"/>
                  <a:pt x="856" y="296"/>
                </a:cubicBezTo>
                <a:cubicBezTo>
                  <a:pt x="856" y="297"/>
                  <a:pt x="855" y="296"/>
                  <a:pt x="855" y="297"/>
                </a:cubicBezTo>
                <a:cubicBezTo>
                  <a:pt x="855" y="297"/>
                  <a:pt x="856" y="297"/>
                  <a:pt x="855" y="297"/>
                </a:cubicBezTo>
                <a:cubicBezTo>
                  <a:pt x="856" y="297"/>
                  <a:pt x="856" y="296"/>
                  <a:pt x="856" y="296"/>
                </a:cubicBezTo>
                <a:cubicBezTo>
                  <a:pt x="855" y="295"/>
                  <a:pt x="855" y="296"/>
                  <a:pt x="855" y="296"/>
                </a:cubicBezTo>
                <a:close/>
                <a:moveTo>
                  <a:pt x="854" y="297"/>
                </a:moveTo>
                <a:cubicBezTo>
                  <a:pt x="854" y="298"/>
                  <a:pt x="855" y="298"/>
                  <a:pt x="855" y="298"/>
                </a:cubicBezTo>
                <a:cubicBezTo>
                  <a:pt x="855" y="298"/>
                  <a:pt x="855" y="298"/>
                  <a:pt x="855" y="297"/>
                </a:cubicBezTo>
                <a:cubicBezTo>
                  <a:pt x="855" y="297"/>
                  <a:pt x="854" y="297"/>
                  <a:pt x="854" y="297"/>
                </a:cubicBezTo>
                <a:close/>
                <a:moveTo>
                  <a:pt x="854" y="300"/>
                </a:moveTo>
                <a:cubicBezTo>
                  <a:pt x="854" y="300"/>
                  <a:pt x="853" y="300"/>
                  <a:pt x="853" y="301"/>
                </a:cubicBezTo>
                <a:cubicBezTo>
                  <a:pt x="854" y="301"/>
                  <a:pt x="853" y="300"/>
                  <a:pt x="854" y="300"/>
                </a:cubicBezTo>
                <a:cubicBezTo>
                  <a:pt x="854" y="300"/>
                  <a:pt x="854" y="301"/>
                  <a:pt x="854" y="301"/>
                </a:cubicBezTo>
                <a:cubicBezTo>
                  <a:pt x="854" y="300"/>
                  <a:pt x="854" y="300"/>
                  <a:pt x="854" y="300"/>
                </a:cubicBezTo>
                <a:close/>
                <a:moveTo>
                  <a:pt x="853" y="298"/>
                </a:moveTo>
                <a:cubicBezTo>
                  <a:pt x="853" y="298"/>
                  <a:pt x="854" y="298"/>
                  <a:pt x="853" y="298"/>
                </a:cubicBezTo>
                <a:cubicBezTo>
                  <a:pt x="853" y="298"/>
                  <a:pt x="852" y="298"/>
                  <a:pt x="853" y="298"/>
                </a:cubicBezTo>
                <a:close/>
                <a:moveTo>
                  <a:pt x="852" y="300"/>
                </a:moveTo>
                <a:cubicBezTo>
                  <a:pt x="852" y="300"/>
                  <a:pt x="852" y="299"/>
                  <a:pt x="852" y="299"/>
                </a:cubicBezTo>
                <a:cubicBezTo>
                  <a:pt x="851" y="299"/>
                  <a:pt x="852" y="300"/>
                  <a:pt x="852" y="300"/>
                </a:cubicBezTo>
                <a:close/>
                <a:moveTo>
                  <a:pt x="851" y="301"/>
                </a:moveTo>
                <a:cubicBezTo>
                  <a:pt x="851" y="302"/>
                  <a:pt x="852" y="302"/>
                  <a:pt x="852" y="302"/>
                </a:cubicBezTo>
                <a:cubicBezTo>
                  <a:pt x="852" y="302"/>
                  <a:pt x="852" y="301"/>
                  <a:pt x="851" y="301"/>
                </a:cubicBezTo>
                <a:close/>
                <a:moveTo>
                  <a:pt x="851" y="302"/>
                </a:moveTo>
                <a:cubicBezTo>
                  <a:pt x="852" y="303"/>
                  <a:pt x="851" y="303"/>
                  <a:pt x="851" y="303"/>
                </a:cubicBezTo>
                <a:cubicBezTo>
                  <a:pt x="851" y="303"/>
                  <a:pt x="851" y="303"/>
                  <a:pt x="852" y="303"/>
                </a:cubicBezTo>
                <a:cubicBezTo>
                  <a:pt x="851" y="303"/>
                  <a:pt x="852" y="303"/>
                  <a:pt x="852" y="302"/>
                </a:cubicBezTo>
                <a:cubicBezTo>
                  <a:pt x="851" y="302"/>
                  <a:pt x="852" y="303"/>
                  <a:pt x="851" y="302"/>
                </a:cubicBezTo>
                <a:close/>
                <a:moveTo>
                  <a:pt x="850" y="304"/>
                </a:moveTo>
                <a:cubicBezTo>
                  <a:pt x="851" y="305"/>
                  <a:pt x="851" y="304"/>
                  <a:pt x="851" y="303"/>
                </a:cubicBezTo>
                <a:cubicBezTo>
                  <a:pt x="850" y="303"/>
                  <a:pt x="850" y="304"/>
                  <a:pt x="850" y="304"/>
                </a:cubicBezTo>
                <a:close/>
                <a:moveTo>
                  <a:pt x="849" y="304"/>
                </a:moveTo>
                <a:cubicBezTo>
                  <a:pt x="849" y="304"/>
                  <a:pt x="850" y="304"/>
                  <a:pt x="850" y="304"/>
                </a:cubicBezTo>
                <a:cubicBezTo>
                  <a:pt x="850" y="304"/>
                  <a:pt x="850" y="304"/>
                  <a:pt x="850" y="303"/>
                </a:cubicBezTo>
                <a:cubicBezTo>
                  <a:pt x="849" y="303"/>
                  <a:pt x="849" y="304"/>
                  <a:pt x="849" y="304"/>
                </a:cubicBezTo>
                <a:close/>
                <a:moveTo>
                  <a:pt x="849" y="301"/>
                </a:moveTo>
                <a:cubicBezTo>
                  <a:pt x="849" y="302"/>
                  <a:pt x="849" y="302"/>
                  <a:pt x="849" y="302"/>
                </a:cubicBezTo>
                <a:cubicBezTo>
                  <a:pt x="849" y="301"/>
                  <a:pt x="849" y="301"/>
                  <a:pt x="849" y="301"/>
                </a:cubicBezTo>
                <a:cubicBezTo>
                  <a:pt x="849" y="301"/>
                  <a:pt x="849" y="301"/>
                  <a:pt x="849" y="301"/>
                </a:cubicBezTo>
                <a:close/>
                <a:moveTo>
                  <a:pt x="848" y="307"/>
                </a:moveTo>
                <a:cubicBezTo>
                  <a:pt x="849" y="307"/>
                  <a:pt x="848" y="307"/>
                  <a:pt x="849" y="307"/>
                </a:cubicBezTo>
                <a:cubicBezTo>
                  <a:pt x="849" y="306"/>
                  <a:pt x="848" y="306"/>
                  <a:pt x="848" y="306"/>
                </a:cubicBezTo>
                <a:cubicBezTo>
                  <a:pt x="848" y="306"/>
                  <a:pt x="848" y="307"/>
                  <a:pt x="848" y="307"/>
                </a:cubicBezTo>
                <a:close/>
                <a:moveTo>
                  <a:pt x="845" y="310"/>
                </a:moveTo>
                <a:cubicBezTo>
                  <a:pt x="846" y="310"/>
                  <a:pt x="845" y="309"/>
                  <a:pt x="846" y="310"/>
                </a:cubicBezTo>
                <a:cubicBezTo>
                  <a:pt x="846" y="309"/>
                  <a:pt x="846" y="309"/>
                  <a:pt x="846" y="309"/>
                </a:cubicBezTo>
                <a:cubicBezTo>
                  <a:pt x="846" y="309"/>
                  <a:pt x="845" y="310"/>
                  <a:pt x="845" y="310"/>
                </a:cubicBezTo>
                <a:close/>
                <a:moveTo>
                  <a:pt x="845" y="311"/>
                </a:moveTo>
                <a:cubicBezTo>
                  <a:pt x="845" y="311"/>
                  <a:pt x="845" y="310"/>
                  <a:pt x="845" y="310"/>
                </a:cubicBezTo>
                <a:cubicBezTo>
                  <a:pt x="844" y="310"/>
                  <a:pt x="845" y="311"/>
                  <a:pt x="845" y="311"/>
                </a:cubicBezTo>
                <a:close/>
                <a:moveTo>
                  <a:pt x="844" y="312"/>
                </a:moveTo>
                <a:cubicBezTo>
                  <a:pt x="844" y="312"/>
                  <a:pt x="845" y="311"/>
                  <a:pt x="845" y="311"/>
                </a:cubicBezTo>
                <a:cubicBezTo>
                  <a:pt x="844" y="311"/>
                  <a:pt x="844" y="311"/>
                  <a:pt x="844" y="312"/>
                </a:cubicBezTo>
                <a:close/>
                <a:moveTo>
                  <a:pt x="844" y="313"/>
                </a:moveTo>
                <a:cubicBezTo>
                  <a:pt x="844" y="312"/>
                  <a:pt x="844" y="312"/>
                  <a:pt x="844" y="312"/>
                </a:cubicBezTo>
                <a:cubicBezTo>
                  <a:pt x="843" y="312"/>
                  <a:pt x="843" y="312"/>
                  <a:pt x="844" y="313"/>
                </a:cubicBezTo>
                <a:close/>
                <a:moveTo>
                  <a:pt x="839" y="309"/>
                </a:moveTo>
                <a:cubicBezTo>
                  <a:pt x="839" y="309"/>
                  <a:pt x="840" y="309"/>
                  <a:pt x="840" y="309"/>
                </a:cubicBezTo>
                <a:cubicBezTo>
                  <a:pt x="840" y="309"/>
                  <a:pt x="840" y="309"/>
                  <a:pt x="840" y="309"/>
                </a:cubicBezTo>
                <a:cubicBezTo>
                  <a:pt x="839" y="309"/>
                  <a:pt x="839" y="309"/>
                  <a:pt x="839" y="309"/>
                </a:cubicBezTo>
                <a:close/>
                <a:moveTo>
                  <a:pt x="839" y="309"/>
                </a:moveTo>
                <a:cubicBezTo>
                  <a:pt x="839" y="309"/>
                  <a:pt x="839" y="308"/>
                  <a:pt x="839" y="309"/>
                </a:cubicBezTo>
                <a:cubicBezTo>
                  <a:pt x="839" y="308"/>
                  <a:pt x="839" y="309"/>
                  <a:pt x="839" y="309"/>
                </a:cubicBezTo>
                <a:close/>
                <a:moveTo>
                  <a:pt x="837" y="295"/>
                </a:moveTo>
                <a:cubicBezTo>
                  <a:pt x="838" y="295"/>
                  <a:pt x="838" y="295"/>
                  <a:pt x="838" y="294"/>
                </a:cubicBezTo>
                <a:cubicBezTo>
                  <a:pt x="838" y="295"/>
                  <a:pt x="837" y="295"/>
                  <a:pt x="837" y="295"/>
                </a:cubicBezTo>
                <a:close/>
                <a:moveTo>
                  <a:pt x="837" y="311"/>
                </a:moveTo>
                <a:cubicBezTo>
                  <a:pt x="837" y="311"/>
                  <a:pt x="838" y="311"/>
                  <a:pt x="838" y="310"/>
                </a:cubicBezTo>
                <a:cubicBezTo>
                  <a:pt x="838" y="310"/>
                  <a:pt x="837" y="311"/>
                  <a:pt x="837" y="311"/>
                </a:cubicBezTo>
                <a:close/>
                <a:moveTo>
                  <a:pt x="836" y="311"/>
                </a:moveTo>
                <a:cubicBezTo>
                  <a:pt x="837" y="311"/>
                  <a:pt x="837" y="311"/>
                  <a:pt x="837" y="311"/>
                </a:cubicBezTo>
                <a:cubicBezTo>
                  <a:pt x="837" y="311"/>
                  <a:pt x="836" y="311"/>
                  <a:pt x="837" y="311"/>
                </a:cubicBezTo>
                <a:cubicBezTo>
                  <a:pt x="836" y="310"/>
                  <a:pt x="836" y="311"/>
                  <a:pt x="836" y="311"/>
                </a:cubicBezTo>
                <a:close/>
                <a:moveTo>
                  <a:pt x="835" y="317"/>
                </a:moveTo>
                <a:cubicBezTo>
                  <a:pt x="835" y="317"/>
                  <a:pt x="834" y="317"/>
                  <a:pt x="834" y="317"/>
                </a:cubicBezTo>
                <a:cubicBezTo>
                  <a:pt x="834" y="317"/>
                  <a:pt x="834" y="317"/>
                  <a:pt x="834" y="318"/>
                </a:cubicBezTo>
                <a:cubicBezTo>
                  <a:pt x="835" y="317"/>
                  <a:pt x="835" y="317"/>
                  <a:pt x="835" y="317"/>
                </a:cubicBezTo>
                <a:close/>
                <a:moveTo>
                  <a:pt x="834" y="332"/>
                </a:moveTo>
                <a:cubicBezTo>
                  <a:pt x="835" y="332"/>
                  <a:pt x="834" y="332"/>
                  <a:pt x="835" y="332"/>
                </a:cubicBezTo>
                <a:cubicBezTo>
                  <a:pt x="834" y="332"/>
                  <a:pt x="834" y="332"/>
                  <a:pt x="834" y="332"/>
                </a:cubicBezTo>
                <a:close/>
                <a:moveTo>
                  <a:pt x="834" y="331"/>
                </a:moveTo>
                <a:cubicBezTo>
                  <a:pt x="834" y="332"/>
                  <a:pt x="833" y="332"/>
                  <a:pt x="834" y="332"/>
                </a:cubicBezTo>
                <a:cubicBezTo>
                  <a:pt x="834" y="332"/>
                  <a:pt x="834" y="332"/>
                  <a:pt x="834" y="331"/>
                </a:cubicBezTo>
                <a:close/>
                <a:moveTo>
                  <a:pt x="834" y="299"/>
                </a:moveTo>
                <a:cubicBezTo>
                  <a:pt x="835" y="299"/>
                  <a:pt x="834" y="298"/>
                  <a:pt x="835" y="298"/>
                </a:cubicBezTo>
                <a:cubicBezTo>
                  <a:pt x="835" y="298"/>
                  <a:pt x="834" y="298"/>
                  <a:pt x="834" y="298"/>
                </a:cubicBezTo>
                <a:cubicBezTo>
                  <a:pt x="834" y="298"/>
                  <a:pt x="834" y="298"/>
                  <a:pt x="834" y="299"/>
                </a:cubicBezTo>
                <a:close/>
                <a:moveTo>
                  <a:pt x="834" y="311"/>
                </a:moveTo>
                <a:cubicBezTo>
                  <a:pt x="834" y="312"/>
                  <a:pt x="834" y="312"/>
                  <a:pt x="834" y="312"/>
                </a:cubicBezTo>
                <a:cubicBezTo>
                  <a:pt x="834" y="312"/>
                  <a:pt x="834" y="312"/>
                  <a:pt x="834" y="311"/>
                </a:cubicBezTo>
                <a:close/>
                <a:moveTo>
                  <a:pt x="832" y="317"/>
                </a:moveTo>
                <a:cubicBezTo>
                  <a:pt x="832" y="318"/>
                  <a:pt x="833" y="318"/>
                  <a:pt x="832" y="318"/>
                </a:cubicBezTo>
                <a:cubicBezTo>
                  <a:pt x="832" y="318"/>
                  <a:pt x="832" y="318"/>
                  <a:pt x="832" y="318"/>
                </a:cubicBezTo>
                <a:cubicBezTo>
                  <a:pt x="833" y="318"/>
                  <a:pt x="833" y="318"/>
                  <a:pt x="833" y="318"/>
                </a:cubicBezTo>
                <a:cubicBezTo>
                  <a:pt x="833" y="318"/>
                  <a:pt x="833" y="318"/>
                  <a:pt x="833" y="318"/>
                </a:cubicBezTo>
                <a:cubicBezTo>
                  <a:pt x="833" y="318"/>
                  <a:pt x="832" y="317"/>
                  <a:pt x="832" y="317"/>
                </a:cubicBezTo>
                <a:cubicBezTo>
                  <a:pt x="832" y="317"/>
                  <a:pt x="832" y="317"/>
                  <a:pt x="832" y="317"/>
                </a:cubicBezTo>
                <a:close/>
                <a:moveTo>
                  <a:pt x="832" y="320"/>
                </a:moveTo>
                <a:cubicBezTo>
                  <a:pt x="832" y="321"/>
                  <a:pt x="832" y="321"/>
                  <a:pt x="832" y="321"/>
                </a:cubicBezTo>
                <a:cubicBezTo>
                  <a:pt x="832" y="321"/>
                  <a:pt x="833" y="321"/>
                  <a:pt x="832" y="321"/>
                </a:cubicBezTo>
                <a:cubicBezTo>
                  <a:pt x="832" y="320"/>
                  <a:pt x="833" y="320"/>
                  <a:pt x="832" y="320"/>
                </a:cubicBezTo>
                <a:cubicBezTo>
                  <a:pt x="832" y="320"/>
                  <a:pt x="832" y="320"/>
                  <a:pt x="833" y="320"/>
                </a:cubicBezTo>
                <a:cubicBezTo>
                  <a:pt x="833" y="320"/>
                  <a:pt x="833" y="320"/>
                  <a:pt x="832" y="320"/>
                </a:cubicBezTo>
                <a:cubicBezTo>
                  <a:pt x="833" y="320"/>
                  <a:pt x="833" y="320"/>
                  <a:pt x="833" y="320"/>
                </a:cubicBezTo>
                <a:cubicBezTo>
                  <a:pt x="833" y="319"/>
                  <a:pt x="833" y="318"/>
                  <a:pt x="834" y="318"/>
                </a:cubicBezTo>
                <a:cubicBezTo>
                  <a:pt x="833" y="318"/>
                  <a:pt x="832" y="319"/>
                  <a:pt x="833" y="319"/>
                </a:cubicBezTo>
                <a:cubicBezTo>
                  <a:pt x="832" y="319"/>
                  <a:pt x="832" y="319"/>
                  <a:pt x="832" y="319"/>
                </a:cubicBezTo>
                <a:cubicBezTo>
                  <a:pt x="832" y="320"/>
                  <a:pt x="832" y="320"/>
                  <a:pt x="832" y="320"/>
                </a:cubicBezTo>
                <a:close/>
                <a:moveTo>
                  <a:pt x="831" y="322"/>
                </a:moveTo>
                <a:cubicBezTo>
                  <a:pt x="832" y="322"/>
                  <a:pt x="831" y="321"/>
                  <a:pt x="832" y="321"/>
                </a:cubicBezTo>
                <a:cubicBezTo>
                  <a:pt x="831" y="321"/>
                  <a:pt x="831" y="321"/>
                  <a:pt x="831" y="322"/>
                </a:cubicBezTo>
                <a:close/>
                <a:moveTo>
                  <a:pt x="826" y="329"/>
                </a:moveTo>
                <a:cubicBezTo>
                  <a:pt x="826" y="329"/>
                  <a:pt x="826" y="328"/>
                  <a:pt x="826" y="328"/>
                </a:cubicBezTo>
                <a:cubicBezTo>
                  <a:pt x="826" y="328"/>
                  <a:pt x="826" y="328"/>
                  <a:pt x="826" y="329"/>
                </a:cubicBezTo>
                <a:close/>
                <a:moveTo>
                  <a:pt x="826" y="350"/>
                </a:moveTo>
                <a:cubicBezTo>
                  <a:pt x="826" y="349"/>
                  <a:pt x="827" y="349"/>
                  <a:pt x="827" y="348"/>
                </a:cubicBezTo>
                <a:cubicBezTo>
                  <a:pt x="826" y="349"/>
                  <a:pt x="826" y="349"/>
                  <a:pt x="826" y="350"/>
                </a:cubicBezTo>
                <a:close/>
                <a:moveTo>
                  <a:pt x="825" y="331"/>
                </a:moveTo>
                <a:cubicBezTo>
                  <a:pt x="825" y="332"/>
                  <a:pt x="825" y="332"/>
                  <a:pt x="825" y="332"/>
                </a:cubicBezTo>
                <a:cubicBezTo>
                  <a:pt x="826" y="332"/>
                  <a:pt x="824" y="331"/>
                  <a:pt x="825" y="331"/>
                </a:cubicBezTo>
                <a:cubicBezTo>
                  <a:pt x="825" y="331"/>
                  <a:pt x="825" y="331"/>
                  <a:pt x="825" y="331"/>
                </a:cubicBezTo>
                <a:close/>
                <a:moveTo>
                  <a:pt x="821" y="315"/>
                </a:moveTo>
                <a:cubicBezTo>
                  <a:pt x="822" y="315"/>
                  <a:pt x="822" y="315"/>
                  <a:pt x="822" y="315"/>
                </a:cubicBezTo>
                <a:cubicBezTo>
                  <a:pt x="822" y="315"/>
                  <a:pt x="821" y="315"/>
                  <a:pt x="822" y="316"/>
                </a:cubicBezTo>
                <a:cubicBezTo>
                  <a:pt x="823" y="315"/>
                  <a:pt x="823" y="314"/>
                  <a:pt x="824" y="313"/>
                </a:cubicBezTo>
                <a:cubicBezTo>
                  <a:pt x="823" y="313"/>
                  <a:pt x="823" y="313"/>
                  <a:pt x="823" y="313"/>
                </a:cubicBezTo>
                <a:cubicBezTo>
                  <a:pt x="823" y="313"/>
                  <a:pt x="823" y="313"/>
                  <a:pt x="822" y="312"/>
                </a:cubicBezTo>
                <a:cubicBezTo>
                  <a:pt x="822" y="312"/>
                  <a:pt x="822" y="313"/>
                  <a:pt x="822" y="313"/>
                </a:cubicBezTo>
                <a:cubicBezTo>
                  <a:pt x="822" y="313"/>
                  <a:pt x="822" y="313"/>
                  <a:pt x="822" y="313"/>
                </a:cubicBezTo>
                <a:cubicBezTo>
                  <a:pt x="822" y="314"/>
                  <a:pt x="822" y="313"/>
                  <a:pt x="822" y="313"/>
                </a:cubicBezTo>
                <a:cubicBezTo>
                  <a:pt x="822" y="314"/>
                  <a:pt x="822" y="314"/>
                  <a:pt x="822" y="314"/>
                </a:cubicBezTo>
                <a:cubicBezTo>
                  <a:pt x="822" y="314"/>
                  <a:pt x="822" y="314"/>
                  <a:pt x="823" y="313"/>
                </a:cubicBezTo>
                <a:cubicBezTo>
                  <a:pt x="823" y="314"/>
                  <a:pt x="822" y="314"/>
                  <a:pt x="822" y="315"/>
                </a:cubicBezTo>
                <a:cubicBezTo>
                  <a:pt x="822" y="315"/>
                  <a:pt x="822" y="314"/>
                  <a:pt x="821" y="315"/>
                </a:cubicBezTo>
                <a:close/>
                <a:moveTo>
                  <a:pt x="823" y="330"/>
                </a:moveTo>
                <a:cubicBezTo>
                  <a:pt x="823" y="330"/>
                  <a:pt x="823" y="330"/>
                  <a:pt x="823" y="330"/>
                </a:cubicBezTo>
                <a:cubicBezTo>
                  <a:pt x="823" y="330"/>
                  <a:pt x="824" y="330"/>
                  <a:pt x="823" y="330"/>
                </a:cubicBezTo>
                <a:close/>
                <a:moveTo>
                  <a:pt x="821" y="337"/>
                </a:moveTo>
                <a:cubicBezTo>
                  <a:pt x="821" y="337"/>
                  <a:pt x="821" y="338"/>
                  <a:pt x="822" y="338"/>
                </a:cubicBezTo>
                <a:cubicBezTo>
                  <a:pt x="821" y="337"/>
                  <a:pt x="822" y="337"/>
                  <a:pt x="822" y="337"/>
                </a:cubicBezTo>
                <a:cubicBezTo>
                  <a:pt x="822" y="337"/>
                  <a:pt x="821" y="337"/>
                  <a:pt x="821" y="337"/>
                </a:cubicBezTo>
                <a:close/>
                <a:moveTo>
                  <a:pt x="821" y="335"/>
                </a:moveTo>
                <a:cubicBezTo>
                  <a:pt x="821" y="334"/>
                  <a:pt x="820" y="335"/>
                  <a:pt x="821" y="335"/>
                </a:cubicBezTo>
                <a:cubicBezTo>
                  <a:pt x="821" y="335"/>
                  <a:pt x="821" y="335"/>
                  <a:pt x="821" y="335"/>
                </a:cubicBezTo>
                <a:close/>
                <a:moveTo>
                  <a:pt x="821" y="316"/>
                </a:moveTo>
                <a:cubicBezTo>
                  <a:pt x="821" y="316"/>
                  <a:pt x="821" y="316"/>
                  <a:pt x="821" y="316"/>
                </a:cubicBezTo>
                <a:cubicBezTo>
                  <a:pt x="821" y="316"/>
                  <a:pt x="821" y="315"/>
                  <a:pt x="821" y="316"/>
                </a:cubicBezTo>
                <a:close/>
                <a:moveTo>
                  <a:pt x="821" y="317"/>
                </a:moveTo>
                <a:cubicBezTo>
                  <a:pt x="821" y="317"/>
                  <a:pt x="821" y="317"/>
                  <a:pt x="821" y="316"/>
                </a:cubicBezTo>
                <a:cubicBezTo>
                  <a:pt x="820" y="316"/>
                  <a:pt x="820" y="316"/>
                  <a:pt x="820" y="316"/>
                </a:cubicBezTo>
                <a:cubicBezTo>
                  <a:pt x="821" y="317"/>
                  <a:pt x="820" y="317"/>
                  <a:pt x="821" y="317"/>
                </a:cubicBezTo>
                <a:close/>
                <a:moveTo>
                  <a:pt x="821" y="366"/>
                </a:moveTo>
                <a:cubicBezTo>
                  <a:pt x="821" y="366"/>
                  <a:pt x="821" y="365"/>
                  <a:pt x="821" y="365"/>
                </a:cubicBezTo>
                <a:cubicBezTo>
                  <a:pt x="820" y="366"/>
                  <a:pt x="820" y="366"/>
                  <a:pt x="820" y="367"/>
                </a:cubicBezTo>
                <a:cubicBezTo>
                  <a:pt x="821" y="367"/>
                  <a:pt x="821" y="366"/>
                  <a:pt x="821" y="366"/>
                </a:cubicBezTo>
                <a:close/>
                <a:moveTo>
                  <a:pt x="822" y="339"/>
                </a:moveTo>
                <a:cubicBezTo>
                  <a:pt x="821" y="338"/>
                  <a:pt x="822" y="338"/>
                  <a:pt x="821" y="338"/>
                </a:cubicBezTo>
                <a:cubicBezTo>
                  <a:pt x="821" y="338"/>
                  <a:pt x="821" y="338"/>
                  <a:pt x="821" y="338"/>
                </a:cubicBezTo>
                <a:cubicBezTo>
                  <a:pt x="821" y="338"/>
                  <a:pt x="821" y="339"/>
                  <a:pt x="822" y="339"/>
                </a:cubicBezTo>
                <a:close/>
                <a:moveTo>
                  <a:pt x="821" y="363"/>
                </a:moveTo>
                <a:cubicBezTo>
                  <a:pt x="821" y="364"/>
                  <a:pt x="822" y="364"/>
                  <a:pt x="822" y="364"/>
                </a:cubicBezTo>
                <a:cubicBezTo>
                  <a:pt x="822" y="363"/>
                  <a:pt x="822" y="363"/>
                  <a:pt x="822" y="363"/>
                </a:cubicBezTo>
                <a:cubicBezTo>
                  <a:pt x="822" y="363"/>
                  <a:pt x="822" y="362"/>
                  <a:pt x="822" y="363"/>
                </a:cubicBezTo>
                <a:cubicBezTo>
                  <a:pt x="822" y="362"/>
                  <a:pt x="822" y="362"/>
                  <a:pt x="822" y="361"/>
                </a:cubicBezTo>
                <a:cubicBezTo>
                  <a:pt x="822" y="362"/>
                  <a:pt x="822" y="362"/>
                  <a:pt x="821" y="363"/>
                </a:cubicBezTo>
                <a:close/>
                <a:moveTo>
                  <a:pt x="823" y="335"/>
                </a:moveTo>
                <a:cubicBezTo>
                  <a:pt x="823" y="336"/>
                  <a:pt x="823" y="335"/>
                  <a:pt x="822" y="335"/>
                </a:cubicBezTo>
                <a:cubicBezTo>
                  <a:pt x="822" y="336"/>
                  <a:pt x="822" y="336"/>
                  <a:pt x="822" y="336"/>
                </a:cubicBezTo>
                <a:cubicBezTo>
                  <a:pt x="822" y="336"/>
                  <a:pt x="822" y="336"/>
                  <a:pt x="822" y="336"/>
                </a:cubicBezTo>
                <a:cubicBezTo>
                  <a:pt x="822" y="336"/>
                  <a:pt x="822" y="337"/>
                  <a:pt x="822" y="337"/>
                </a:cubicBezTo>
                <a:cubicBezTo>
                  <a:pt x="822" y="337"/>
                  <a:pt x="822" y="337"/>
                  <a:pt x="822" y="337"/>
                </a:cubicBezTo>
                <a:cubicBezTo>
                  <a:pt x="823" y="337"/>
                  <a:pt x="823" y="337"/>
                  <a:pt x="823" y="337"/>
                </a:cubicBezTo>
                <a:cubicBezTo>
                  <a:pt x="822" y="337"/>
                  <a:pt x="823" y="337"/>
                  <a:pt x="823" y="336"/>
                </a:cubicBezTo>
                <a:cubicBezTo>
                  <a:pt x="823" y="336"/>
                  <a:pt x="823" y="336"/>
                  <a:pt x="823" y="335"/>
                </a:cubicBezTo>
                <a:close/>
                <a:moveTo>
                  <a:pt x="824" y="358"/>
                </a:moveTo>
                <a:cubicBezTo>
                  <a:pt x="824" y="357"/>
                  <a:pt x="823" y="358"/>
                  <a:pt x="823" y="358"/>
                </a:cubicBezTo>
                <a:cubicBezTo>
                  <a:pt x="824" y="359"/>
                  <a:pt x="823" y="358"/>
                  <a:pt x="824" y="358"/>
                </a:cubicBezTo>
                <a:close/>
                <a:moveTo>
                  <a:pt x="824" y="333"/>
                </a:moveTo>
                <a:cubicBezTo>
                  <a:pt x="824" y="333"/>
                  <a:pt x="824" y="333"/>
                  <a:pt x="824" y="333"/>
                </a:cubicBezTo>
                <a:cubicBezTo>
                  <a:pt x="824" y="333"/>
                  <a:pt x="824" y="333"/>
                  <a:pt x="824" y="333"/>
                </a:cubicBezTo>
                <a:close/>
                <a:moveTo>
                  <a:pt x="825" y="331"/>
                </a:moveTo>
                <a:cubicBezTo>
                  <a:pt x="825" y="330"/>
                  <a:pt x="825" y="330"/>
                  <a:pt x="824" y="330"/>
                </a:cubicBezTo>
                <a:cubicBezTo>
                  <a:pt x="824" y="331"/>
                  <a:pt x="823" y="331"/>
                  <a:pt x="824" y="332"/>
                </a:cubicBezTo>
                <a:cubicBezTo>
                  <a:pt x="824" y="331"/>
                  <a:pt x="824" y="331"/>
                  <a:pt x="825" y="331"/>
                </a:cubicBezTo>
                <a:close/>
                <a:moveTo>
                  <a:pt x="826" y="356"/>
                </a:moveTo>
                <a:cubicBezTo>
                  <a:pt x="826" y="356"/>
                  <a:pt x="826" y="355"/>
                  <a:pt x="825" y="355"/>
                </a:cubicBezTo>
                <a:cubicBezTo>
                  <a:pt x="826" y="356"/>
                  <a:pt x="826" y="356"/>
                  <a:pt x="825" y="356"/>
                </a:cubicBezTo>
                <a:cubicBezTo>
                  <a:pt x="825" y="357"/>
                  <a:pt x="826" y="356"/>
                  <a:pt x="826" y="356"/>
                </a:cubicBezTo>
                <a:close/>
                <a:moveTo>
                  <a:pt x="826" y="359"/>
                </a:moveTo>
                <a:cubicBezTo>
                  <a:pt x="826" y="357"/>
                  <a:pt x="826" y="357"/>
                  <a:pt x="826" y="357"/>
                </a:cubicBezTo>
                <a:cubicBezTo>
                  <a:pt x="826" y="358"/>
                  <a:pt x="826" y="358"/>
                  <a:pt x="826" y="358"/>
                </a:cubicBezTo>
                <a:cubicBezTo>
                  <a:pt x="826" y="358"/>
                  <a:pt x="826" y="358"/>
                  <a:pt x="826" y="358"/>
                </a:cubicBezTo>
                <a:cubicBezTo>
                  <a:pt x="826" y="359"/>
                  <a:pt x="826" y="359"/>
                  <a:pt x="826" y="359"/>
                </a:cubicBezTo>
                <a:close/>
                <a:moveTo>
                  <a:pt x="827" y="350"/>
                </a:moveTo>
                <a:cubicBezTo>
                  <a:pt x="826" y="350"/>
                  <a:pt x="826" y="351"/>
                  <a:pt x="826" y="352"/>
                </a:cubicBezTo>
                <a:cubicBezTo>
                  <a:pt x="824" y="350"/>
                  <a:pt x="825" y="354"/>
                  <a:pt x="825" y="355"/>
                </a:cubicBezTo>
                <a:cubicBezTo>
                  <a:pt x="825" y="355"/>
                  <a:pt x="825" y="354"/>
                  <a:pt x="825" y="354"/>
                </a:cubicBezTo>
                <a:cubicBezTo>
                  <a:pt x="825" y="354"/>
                  <a:pt x="825" y="354"/>
                  <a:pt x="825" y="354"/>
                </a:cubicBezTo>
                <a:cubicBezTo>
                  <a:pt x="826" y="353"/>
                  <a:pt x="826" y="355"/>
                  <a:pt x="826" y="355"/>
                </a:cubicBezTo>
                <a:cubicBezTo>
                  <a:pt x="826" y="354"/>
                  <a:pt x="826" y="353"/>
                  <a:pt x="825" y="353"/>
                </a:cubicBezTo>
                <a:cubicBezTo>
                  <a:pt x="825" y="353"/>
                  <a:pt x="826" y="353"/>
                  <a:pt x="826" y="352"/>
                </a:cubicBezTo>
                <a:cubicBezTo>
                  <a:pt x="826" y="352"/>
                  <a:pt x="827" y="351"/>
                  <a:pt x="827" y="350"/>
                </a:cubicBezTo>
                <a:close/>
                <a:moveTo>
                  <a:pt x="827" y="352"/>
                </a:moveTo>
                <a:cubicBezTo>
                  <a:pt x="827" y="352"/>
                  <a:pt x="826" y="353"/>
                  <a:pt x="826" y="354"/>
                </a:cubicBezTo>
                <a:cubicBezTo>
                  <a:pt x="827" y="353"/>
                  <a:pt x="827" y="352"/>
                  <a:pt x="827" y="352"/>
                </a:cubicBezTo>
                <a:close/>
                <a:moveTo>
                  <a:pt x="827" y="323"/>
                </a:moveTo>
                <a:cubicBezTo>
                  <a:pt x="827" y="323"/>
                  <a:pt x="827" y="324"/>
                  <a:pt x="826" y="324"/>
                </a:cubicBezTo>
                <a:cubicBezTo>
                  <a:pt x="827" y="324"/>
                  <a:pt x="827" y="323"/>
                  <a:pt x="827" y="323"/>
                </a:cubicBezTo>
                <a:close/>
                <a:moveTo>
                  <a:pt x="828" y="328"/>
                </a:moveTo>
                <a:cubicBezTo>
                  <a:pt x="827" y="327"/>
                  <a:pt x="827" y="329"/>
                  <a:pt x="827" y="329"/>
                </a:cubicBezTo>
                <a:cubicBezTo>
                  <a:pt x="828" y="329"/>
                  <a:pt x="827" y="328"/>
                  <a:pt x="828" y="328"/>
                </a:cubicBezTo>
                <a:close/>
                <a:moveTo>
                  <a:pt x="829" y="324"/>
                </a:moveTo>
                <a:cubicBezTo>
                  <a:pt x="829" y="324"/>
                  <a:pt x="828" y="324"/>
                  <a:pt x="829" y="324"/>
                </a:cubicBezTo>
                <a:cubicBezTo>
                  <a:pt x="828" y="324"/>
                  <a:pt x="828" y="325"/>
                  <a:pt x="828" y="325"/>
                </a:cubicBezTo>
                <a:cubicBezTo>
                  <a:pt x="828" y="325"/>
                  <a:pt x="828" y="324"/>
                  <a:pt x="829" y="324"/>
                </a:cubicBezTo>
                <a:close/>
                <a:moveTo>
                  <a:pt x="829" y="326"/>
                </a:moveTo>
                <a:cubicBezTo>
                  <a:pt x="828" y="326"/>
                  <a:pt x="829" y="327"/>
                  <a:pt x="829" y="327"/>
                </a:cubicBezTo>
                <a:cubicBezTo>
                  <a:pt x="829" y="327"/>
                  <a:pt x="829" y="326"/>
                  <a:pt x="829" y="326"/>
                </a:cubicBezTo>
                <a:close/>
                <a:moveTo>
                  <a:pt x="830" y="325"/>
                </a:moveTo>
                <a:cubicBezTo>
                  <a:pt x="830" y="325"/>
                  <a:pt x="829" y="325"/>
                  <a:pt x="829" y="325"/>
                </a:cubicBezTo>
                <a:cubicBezTo>
                  <a:pt x="829" y="325"/>
                  <a:pt x="829" y="325"/>
                  <a:pt x="829" y="325"/>
                </a:cubicBezTo>
                <a:cubicBezTo>
                  <a:pt x="829" y="325"/>
                  <a:pt x="829" y="325"/>
                  <a:pt x="829" y="326"/>
                </a:cubicBezTo>
                <a:cubicBezTo>
                  <a:pt x="830" y="325"/>
                  <a:pt x="830" y="326"/>
                  <a:pt x="830" y="325"/>
                </a:cubicBezTo>
                <a:close/>
                <a:moveTo>
                  <a:pt x="832" y="323"/>
                </a:moveTo>
                <a:cubicBezTo>
                  <a:pt x="831" y="323"/>
                  <a:pt x="831" y="322"/>
                  <a:pt x="831" y="322"/>
                </a:cubicBezTo>
                <a:cubicBezTo>
                  <a:pt x="831" y="322"/>
                  <a:pt x="831" y="323"/>
                  <a:pt x="830" y="322"/>
                </a:cubicBezTo>
                <a:cubicBezTo>
                  <a:pt x="830" y="323"/>
                  <a:pt x="831" y="323"/>
                  <a:pt x="831" y="323"/>
                </a:cubicBezTo>
                <a:cubicBezTo>
                  <a:pt x="831" y="323"/>
                  <a:pt x="830" y="324"/>
                  <a:pt x="830" y="324"/>
                </a:cubicBezTo>
                <a:cubicBezTo>
                  <a:pt x="831" y="324"/>
                  <a:pt x="831" y="323"/>
                  <a:pt x="832" y="323"/>
                </a:cubicBezTo>
                <a:close/>
                <a:moveTo>
                  <a:pt x="833" y="333"/>
                </a:moveTo>
                <a:cubicBezTo>
                  <a:pt x="833" y="333"/>
                  <a:pt x="832" y="332"/>
                  <a:pt x="832" y="332"/>
                </a:cubicBezTo>
                <a:cubicBezTo>
                  <a:pt x="832" y="332"/>
                  <a:pt x="832" y="332"/>
                  <a:pt x="832" y="333"/>
                </a:cubicBezTo>
                <a:cubicBezTo>
                  <a:pt x="832" y="333"/>
                  <a:pt x="833" y="333"/>
                  <a:pt x="833" y="333"/>
                </a:cubicBezTo>
                <a:close/>
                <a:moveTo>
                  <a:pt x="833" y="334"/>
                </a:moveTo>
                <a:cubicBezTo>
                  <a:pt x="833" y="334"/>
                  <a:pt x="833" y="334"/>
                  <a:pt x="833" y="334"/>
                </a:cubicBezTo>
                <a:cubicBezTo>
                  <a:pt x="833" y="334"/>
                  <a:pt x="833" y="334"/>
                  <a:pt x="833" y="334"/>
                </a:cubicBezTo>
                <a:close/>
                <a:moveTo>
                  <a:pt x="834" y="320"/>
                </a:moveTo>
                <a:cubicBezTo>
                  <a:pt x="833" y="320"/>
                  <a:pt x="833" y="320"/>
                  <a:pt x="833" y="320"/>
                </a:cubicBezTo>
                <a:cubicBezTo>
                  <a:pt x="833" y="320"/>
                  <a:pt x="833" y="321"/>
                  <a:pt x="833" y="321"/>
                </a:cubicBezTo>
                <a:cubicBezTo>
                  <a:pt x="833" y="321"/>
                  <a:pt x="833" y="320"/>
                  <a:pt x="834" y="320"/>
                </a:cubicBezTo>
                <a:close/>
                <a:moveTo>
                  <a:pt x="833" y="332"/>
                </a:moveTo>
                <a:cubicBezTo>
                  <a:pt x="833" y="332"/>
                  <a:pt x="833" y="333"/>
                  <a:pt x="833" y="333"/>
                </a:cubicBezTo>
                <a:cubicBezTo>
                  <a:pt x="834" y="333"/>
                  <a:pt x="834" y="333"/>
                  <a:pt x="834" y="333"/>
                </a:cubicBezTo>
                <a:cubicBezTo>
                  <a:pt x="834" y="333"/>
                  <a:pt x="835" y="334"/>
                  <a:pt x="835" y="334"/>
                </a:cubicBezTo>
                <a:cubicBezTo>
                  <a:pt x="836" y="333"/>
                  <a:pt x="834" y="333"/>
                  <a:pt x="833" y="332"/>
                </a:cubicBezTo>
                <a:close/>
                <a:moveTo>
                  <a:pt x="835" y="317"/>
                </a:moveTo>
                <a:cubicBezTo>
                  <a:pt x="835" y="317"/>
                  <a:pt x="835" y="318"/>
                  <a:pt x="835" y="318"/>
                </a:cubicBezTo>
                <a:cubicBezTo>
                  <a:pt x="835" y="318"/>
                  <a:pt x="835" y="318"/>
                  <a:pt x="835" y="318"/>
                </a:cubicBezTo>
                <a:cubicBezTo>
                  <a:pt x="835" y="318"/>
                  <a:pt x="836" y="318"/>
                  <a:pt x="835" y="317"/>
                </a:cubicBezTo>
                <a:close/>
                <a:moveTo>
                  <a:pt x="836" y="316"/>
                </a:moveTo>
                <a:cubicBezTo>
                  <a:pt x="836" y="316"/>
                  <a:pt x="835" y="316"/>
                  <a:pt x="836" y="317"/>
                </a:cubicBezTo>
                <a:cubicBezTo>
                  <a:pt x="836" y="317"/>
                  <a:pt x="836" y="316"/>
                  <a:pt x="836" y="317"/>
                </a:cubicBezTo>
                <a:cubicBezTo>
                  <a:pt x="836" y="316"/>
                  <a:pt x="836" y="316"/>
                  <a:pt x="836" y="316"/>
                </a:cubicBezTo>
                <a:close/>
                <a:moveTo>
                  <a:pt x="837" y="321"/>
                </a:moveTo>
                <a:cubicBezTo>
                  <a:pt x="836" y="321"/>
                  <a:pt x="836" y="321"/>
                  <a:pt x="836" y="322"/>
                </a:cubicBezTo>
                <a:cubicBezTo>
                  <a:pt x="837" y="322"/>
                  <a:pt x="837" y="321"/>
                  <a:pt x="837" y="321"/>
                </a:cubicBezTo>
                <a:close/>
                <a:moveTo>
                  <a:pt x="838" y="314"/>
                </a:moveTo>
                <a:cubicBezTo>
                  <a:pt x="837" y="314"/>
                  <a:pt x="837" y="315"/>
                  <a:pt x="837" y="315"/>
                </a:cubicBezTo>
                <a:cubicBezTo>
                  <a:pt x="838" y="315"/>
                  <a:pt x="838" y="314"/>
                  <a:pt x="838" y="314"/>
                </a:cubicBezTo>
                <a:close/>
                <a:moveTo>
                  <a:pt x="838" y="313"/>
                </a:moveTo>
                <a:cubicBezTo>
                  <a:pt x="837" y="313"/>
                  <a:pt x="837" y="312"/>
                  <a:pt x="837" y="311"/>
                </a:cubicBezTo>
                <a:cubicBezTo>
                  <a:pt x="836" y="312"/>
                  <a:pt x="837" y="312"/>
                  <a:pt x="836" y="312"/>
                </a:cubicBezTo>
                <a:cubicBezTo>
                  <a:pt x="837" y="312"/>
                  <a:pt x="837" y="313"/>
                  <a:pt x="837" y="313"/>
                </a:cubicBezTo>
                <a:cubicBezTo>
                  <a:pt x="837" y="313"/>
                  <a:pt x="837" y="314"/>
                  <a:pt x="836" y="314"/>
                </a:cubicBezTo>
                <a:cubicBezTo>
                  <a:pt x="836" y="315"/>
                  <a:pt x="836" y="315"/>
                  <a:pt x="836" y="315"/>
                </a:cubicBezTo>
                <a:cubicBezTo>
                  <a:pt x="836" y="315"/>
                  <a:pt x="835" y="315"/>
                  <a:pt x="835" y="315"/>
                </a:cubicBezTo>
                <a:cubicBezTo>
                  <a:pt x="835" y="315"/>
                  <a:pt x="835" y="315"/>
                  <a:pt x="835" y="315"/>
                </a:cubicBezTo>
                <a:cubicBezTo>
                  <a:pt x="836" y="315"/>
                  <a:pt x="835" y="316"/>
                  <a:pt x="835" y="316"/>
                </a:cubicBezTo>
                <a:cubicBezTo>
                  <a:pt x="835" y="316"/>
                  <a:pt x="836" y="316"/>
                  <a:pt x="836" y="315"/>
                </a:cubicBezTo>
                <a:cubicBezTo>
                  <a:pt x="836" y="315"/>
                  <a:pt x="837" y="316"/>
                  <a:pt x="836" y="316"/>
                </a:cubicBezTo>
                <a:cubicBezTo>
                  <a:pt x="837" y="317"/>
                  <a:pt x="837" y="316"/>
                  <a:pt x="837" y="316"/>
                </a:cubicBezTo>
                <a:cubicBezTo>
                  <a:pt x="837" y="315"/>
                  <a:pt x="837" y="316"/>
                  <a:pt x="837" y="316"/>
                </a:cubicBezTo>
                <a:cubicBezTo>
                  <a:pt x="837" y="315"/>
                  <a:pt x="837" y="315"/>
                  <a:pt x="837" y="315"/>
                </a:cubicBezTo>
                <a:cubicBezTo>
                  <a:pt x="837" y="315"/>
                  <a:pt x="837" y="315"/>
                  <a:pt x="837" y="315"/>
                </a:cubicBezTo>
                <a:cubicBezTo>
                  <a:pt x="837" y="315"/>
                  <a:pt x="837" y="313"/>
                  <a:pt x="838" y="313"/>
                </a:cubicBezTo>
                <a:close/>
                <a:moveTo>
                  <a:pt x="838" y="312"/>
                </a:moveTo>
                <a:cubicBezTo>
                  <a:pt x="839" y="312"/>
                  <a:pt x="839" y="311"/>
                  <a:pt x="839" y="311"/>
                </a:cubicBezTo>
                <a:cubicBezTo>
                  <a:pt x="839" y="311"/>
                  <a:pt x="839" y="311"/>
                  <a:pt x="839" y="311"/>
                </a:cubicBezTo>
                <a:cubicBezTo>
                  <a:pt x="839" y="311"/>
                  <a:pt x="839" y="311"/>
                  <a:pt x="839" y="311"/>
                </a:cubicBezTo>
                <a:cubicBezTo>
                  <a:pt x="838" y="311"/>
                  <a:pt x="838" y="311"/>
                  <a:pt x="838" y="311"/>
                </a:cubicBezTo>
                <a:cubicBezTo>
                  <a:pt x="838" y="312"/>
                  <a:pt x="838" y="312"/>
                  <a:pt x="838" y="312"/>
                </a:cubicBezTo>
                <a:close/>
                <a:moveTo>
                  <a:pt x="839" y="313"/>
                </a:moveTo>
                <a:cubicBezTo>
                  <a:pt x="839" y="313"/>
                  <a:pt x="839" y="312"/>
                  <a:pt x="839" y="312"/>
                </a:cubicBezTo>
                <a:cubicBezTo>
                  <a:pt x="839" y="312"/>
                  <a:pt x="838" y="313"/>
                  <a:pt x="839" y="313"/>
                </a:cubicBezTo>
                <a:close/>
                <a:moveTo>
                  <a:pt x="839" y="324"/>
                </a:moveTo>
                <a:cubicBezTo>
                  <a:pt x="839" y="324"/>
                  <a:pt x="839" y="324"/>
                  <a:pt x="839" y="324"/>
                </a:cubicBezTo>
                <a:cubicBezTo>
                  <a:pt x="839" y="324"/>
                  <a:pt x="839" y="325"/>
                  <a:pt x="838" y="325"/>
                </a:cubicBezTo>
                <a:cubicBezTo>
                  <a:pt x="838" y="325"/>
                  <a:pt x="839" y="325"/>
                  <a:pt x="839" y="325"/>
                </a:cubicBezTo>
                <a:cubicBezTo>
                  <a:pt x="839" y="325"/>
                  <a:pt x="839" y="324"/>
                  <a:pt x="839" y="324"/>
                </a:cubicBezTo>
                <a:close/>
                <a:moveTo>
                  <a:pt x="839" y="323"/>
                </a:moveTo>
                <a:cubicBezTo>
                  <a:pt x="839" y="324"/>
                  <a:pt x="839" y="324"/>
                  <a:pt x="839" y="324"/>
                </a:cubicBezTo>
                <a:cubicBezTo>
                  <a:pt x="840" y="324"/>
                  <a:pt x="839" y="324"/>
                  <a:pt x="839" y="323"/>
                </a:cubicBezTo>
                <a:close/>
                <a:moveTo>
                  <a:pt x="840" y="310"/>
                </a:moveTo>
                <a:cubicBezTo>
                  <a:pt x="840" y="309"/>
                  <a:pt x="840" y="309"/>
                  <a:pt x="839" y="309"/>
                </a:cubicBezTo>
                <a:cubicBezTo>
                  <a:pt x="839" y="309"/>
                  <a:pt x="839" y="310"/>
                  <a:pt x="840" y="310"/>
                </a:cubicBezTo>
                <a:close/>
                <a:moveTo>
                  <a:pt x="840" y="324"/>
                </a:moveTo>
                <a:cubicBezTo>
                  <a:pt x="840" y="324"/>
                  <a:pt x="841" y="324"/>
                  <a:pt x="841" y="324"/>
                </a:cubicBezTo>
                <a:cubicBezTo>
                  <a:pt x="841" y="325"/>
                  <a:pt x="840" y="324"/>
                  <a:pt x="840" y="324"/>
                </a:cubicBezTo>
                <a:cubicBezTo>
                  <a:pt x="840" y="325"/>
                  <a:pt x="840" y="325"/>
                  <a:pt x="840" y="325"/>
                </a:cubicBezTo>
                <a:cubicBezTo>
                  <a:pt x="841" y="325"/>
                  <a:pt x="841" y="325"/>
                  <a:pt x="841" y="324"/>
                </a:cubicBezTo>
                <a:cubicBezTo>
                  <a:pt x="841" y="324"/>
                  <a:pt x="841" y="324"/>
                  <a:pt x="840" y="324"/>
                </a:cubicBezTo>
                <a:close/>
                <a:moveTo>
                  <a:pt x="840" y="323"/>
                </a:moveTo>
                <a:cubicBezTo>
                  <a:pt x="841" y="323"/>
                  <a:pt x="840" y="323"/>
                  <a:pt x="840" y="322"/>
                </a:cubicBezTo>
                <a:cubicBezTo>
                  <a:pt x="840" y="322"/>
                  <a:pt x="840" y="323"/>
                  <a:pt x="840" y="323"/>
                </a:cubicBezTo>
                <a:cubicBezTo>
                  <a:pt x="840" y="323"/>
                  <a:pt x="840" y="323"/>
                  <a:pt x="840" y="323"/>
                </a:cubicBezTo>
                <a:close/>
                <a:moveTo>
                  <a:pt x="841" y="322"/>
                </a:moveTo>
                <a:cubicBezTo>
                  <a:pt x="841" y="321"/>
                  <a:pt x="841" y="321"/>
                  <a:pt x="841" y="321"/>
                </a:cubicBezTo>
                <a:cubicBezTo>
                  <a:pt x="841" y="322"/>
                  <a:pt x="840" y="322"/>
                  <a:pt x="840" y="322"/>
                </a:cubicBezTo>
                <a:cubicBezTo>
                  <a:pt x="841" y="322"/>
                  <a:pt x="841" y="322"/>
                  <a:pt x="841" y="322"/>
                </a:cubicBezTo>
                <a:close/>
                <a:moveTo>
                  <a:pt x="843" y="319"/>
                </a:moveTo>
                <a:cubicBezTo>
                  <a:pt x="843" y="319"/>
                  <a:pt x="843" y="320"/>
                  <a:pt x="843" y="320"/>
                </a:cubicBezTo>
                <a:cubicBezTo>
                  <a:pt x="844" y="320"/>
                  <a:pt x="843" y="319"/>
                  <a:pt x="843" y="319"/>
                </a:cubicBezTo>
                <a:cubicBezTo>
                  <a:pt x="843" y="318"/>
                  <a:pt x="843" y="318"/>
                  <a:pt x="843" y="318"/>
                </a:cubicBezTo>
                <a:cubicBezTo>
                  <a:pt x="843" y="319"/>
                  <a:pt x="843" y="319"/>
                  <a:pt x="843" y="319"/>
                </a:cubicBezTo>
                <a:close/>
                <a:moveTo>
                  <a:pt x="842" y="320"/>
                </a:moveTo>
                <a:cubicBezTo>
                  <a:pt x="842" y="320"/>
                  <a:pt x="842" y="320"/>
                  <a:pt x="842" y="320"/>
                </a:cubicBezTo>
                <a:cubicBezTo>
                  <a:pt x="843" y="321"/>
                  <a:pt x="842" y="321"/>
                  <a:pt x="843" y="321"/>
                </a:cubicBezTo>
                <a:cubicBezTo>
                  <a:pt x="843" y="321"/>
                  <a:pt x="843" y="320"/>
                  <a:pt x="843" y="320"/>
                </a:cubicBezTo>
                <a:cubicBezTo>
                  <a:pt x="842" y="319"/>
                  <a:pt x="842" y="320"/>
                  <a:pt x="842" y="320"/>
                </a:cubicBezTo>
                <a:close/>
                <a:moveTo>
                  <a:pt x="841" y="315"/>
                </a:moveTo>
                <a:cubicBezTo>
                  <a:pt x="842" y="315"/>
                  <a:pt x="842" y="315"/>
                  <a:pt x="841" y="315"/>
                </a:cubicBezTo>
                <a:cubicBezTo>
                  <a:pt x="841" y="315"/>
                  <a:pt x="841" y="315"/>
                  <a:pt x="841" y="315"/>
                </a:cubicBezTo>
                <a:close/>
                <a:moveTo>
                  <a:pt x="841" y="321"/>
                </a:moveTo>
                <a:cubicBezTo>
                  <a:pt x="841" y="321"/>
                  <a:pt x="841" y="321"/>
                  <a:pt x="841" y="321"/>
                </a:cubicBezTo>
                <a:cubicBezTo>
                  <a:pt x="842" y="321"/>
                  <a:pt x="841" y="321"/>
                  <a:pt x="842" y="320"/>
                </a:cubicBezTo>
                <a:cubicBezTo>
                  <a:pt x="842" y="320"/>
                  <a:pt x="841" y="321"/>
                  <a:pt x="841" y="321"/>
                </a:cubicBezTo>
                <a:close/>
                <a:moveTo>
                  <a:pt x="840" y="310"/>
                </a:moveTo>
                <a:cubicBezTo>
                  <a:pt x="841" y="310"/>
                  <a:pt x="841" y="310"/>
                  <a:pt x="841" y="310"/>
                </a:cubicBezTo>
                <a:cubicBezTo>
                  <a:pt x="841" y="310"/>
                  <a:pt x="841" y="310"/>
                  <a:pt x="841" y="310"/>
                </a:cubicBezTo>
                <a:lnTo>
                  <a:pt x="840" y="310"/>
                </a:lnTo>
                <a:close/>
                <a:moveTo>
                  <a:pt x="840" y="320"/>
                </a:moveTo>
                <a:cubicBezTo>
                  <a:pt x="840" y="320"/>
                  <a:pt x="840" y="320"/>
                  <a:pt x="840" y="320"/>
                </a:cubicBezTo>
                <a:cubicBezTo>
                  <a:pt x="841" y="320"/>
                  <a:pt x="840" y="320"/>
                  <a:pt x="840" y="320"/>
                </a:cubicBezTo>
                <a:close/>
                <a:moveTo>
                  <a:pt x="840" y="312"/>
                </a:moveTo>
                <a:cubicBezTo>
                  <a:pt x="840" y="312"/>
                  <a:pt x="841" y="312"/>
                  <a:pt x="840" y="311"/>
                </a:cubicBezTo>
                <a:cubicBezTo>
                  <a:pt x="840" y="311"/>
                  <a:pt x="840" y="312"/>
                  <a:pt x="840" y="312"/>
                </a:cubicBezTo>
                <a:close/>
                <a:moveTo>
                  <a:pt x="845" y="300"/>
                </a:moveTo>
                <a:cubicBezTo>
                  <a:pt x="845" y="300"/>
                  <a:pt x="845" y="299"/>
                  <a:pt x="845" y="299"/>
                </a:cubicBezTo>
                <a:cubicBezTo>
                  <a:pt x="845" y="299"/>
                  <a:pt x="844" y="299"/>
                  <a:pt x="845" y="300"/>
                </a:cubicBezTo>
                <a:close/>
                <a:moveTo>
                  <a:pt x="844" y="287"/>
                </a:moveTo>
                <a:cubicBezTo>
                  <a:pt x="844" y="287"/>
                  <a:pt x="845" y="287"/>
                  <a:pt x="844" y="287"/>
                </a:cubicBezTo>
                <a:cubicBezTo>
                  <a:pt x="844" y="287"/>
                  <a:pt x="844" y="287"/>
                  <a:pt x="844" y="287"/>
                </a:cubicBezTo>
                <a:close/>
                <a:moveTo>
                  <a:pt x="842" y="301"/>
                </a:moveTo>
                <a:cubicBezTo>
                  <a:pt x="841" y="301"/>
                  <a:pt x="841" y="301"/>
                  <a:pt x="840" y="301"/>
                </a:cubicBezTo>
                <a:cubicBezTo>
                  <a:pt x="841" y="302"/>
                  <a:pt x="842" y="302"/>
                  <a:pt x="842" y="301"/>
                </a:cubicBezTo>
                <a:close/>
                <a:moveTo>
                  <a:pt x="843" y="288"/>
                </a:moveTo>
                <a:cubicBezTo>
                  <a:pt x="842" y="288"/>
                  <a:pt x="842" y="288"/>
                  <a:pt x="842" y="288"/>
                </a:cubicBezTo>
                <a:cubicBezTo>
                  <a:pt x="842" y="288"/>
                  <a:pt x="843" y="289"/>
                  <a:pt x="842" y="289"/>
                </a:cubicBezTo>
                <a:cubicBezTo>
                  <a:pt x="842" y="289"/>
                  <a:pt x="843" y="288"/>
                  <a:pt x="843" y="288"/>
                </a:cubicBezTo>
                <a:close/>
                <a:moveTo>
                  <a:pt x="843" y="301"/>
                </a:moveTo>
                <a:cubicBezTo>
                  <a:pt x="843" y="301"/>
                  <a:pt x="843" y="301"/>
                  <a:pt x="843" y="301"/>
                </a:cubicBezTo>
                <a:cubicBezTo>
                  <a:pt x="843" y="302"/>
                  <a:pt x="843" y="302"/>
                  <a:pt x="843" y="302"/>
                </a:cubicBezTo>
                <a:cubicBezTo>
                  <a:pt x="844" y="302"/>
                  <a:pt x="843" y="301"/>
                  <a:pt x="843" y="301"/>
                </a:cubicBezTo>
                <a:close/>
                <a:moveTo>
                  <a:pt x="843" y="299"/>
                </a:moveTo>
                <a:cubicBezTo>
                  <a:pt x="844" y="299"/>
                  <a:pt x="843" y="298"/>
                  <a:pt x="844" y="298"/>
                </a:cubicBezTo>
                <a:cubicBezTo>
                  <a:pt x="843" y="298"/>
                  <a:pt x="843" y="299"/>
                  <a:pt x="843" y="299"/>
                </a:cubicBezTo>
                <a:cubicBezTo>
                  <a:pt x="843" y="299"/>
                  <a:pt x="843" y="299"/>
                  <a:pt x="843" y="299"/>
                </a:cubicBezTo>
                <a:cubicBezTo>
                  <a:pt x="843" y="300"/>
                  <a:pt x="842" y="299"/>
                  <a:pt x="843" y="300"/>
                </a:cubicBezTo>
                <a:cubicBezTo>
                  <a:pt x="843" y="300"/>
                  <a:pt x="843" y="300"/>
                  <a:pt x="843" y="299"/>
                </a:cubicBezTo>
                <a:close/>
                <a:moveTo>
                  <a:pt x="844" y="300"/>
                </a:moveTo>
                <a:cubicBezTo>
                  <a:pt x="843" y="300"/>
                  <a:pt x="843" y="301"/>
                  <a:pt x="843" y="301"/>
                </a:cubicBezTo>
                <a:cubicBezTo>
                  <a:pt x="844" y="301"/>
                  <a:pt x="845" y="300"/>
                  <a:pt x="844" y="300"/>
                </a:cubicBezTo>
                <a:close/>
                <a:moveTo>
                  <a:pt x="844" y="302"/>
                </a:moveTo>
                <a:cubicBezTo>
                  <a:pt x="844" y="302"/>
                  <a:pt x="843" y="302"/>
                  <a:pt x="844" y="302"/>
                </a:cubicBezTo>
                <a:cubicBezTo>
                  <a:pt x="844" y="303"/>
                  <a:pt x="845" y="303"/>
                  <a:pt x="844" y="302"/>
                </a:cubicBezTo>
                <a:close/>
                <a:moveTo>
                  <a:pt x="845" y="300"/>
                </a:moveTo>
                <a:cubicBezTo>
                  <a:pt x="845" y="300"/>
                  <a:pt x="845" y="300"/>
                  <a:pt x="845" y="300"/>
                </a:cubicBezTo>
                <a:cubicBezTo>
                  <a:pt x="845" y="300"/>
                  <a:pt x="844" y="299"/>
                  <a:pt x="844" y="300"/>
                </a:cubicBezTo>
                <a:cubicBezTo>
                  <a:pt x="845" y="300"/>
                  <a:pt x="845" y="300"/>
                  <a:pt x="845" y="301"/>
                </a:cubicBezTo>
                <a:cubicBezTo>
                  <a:pt x="845" y="301"/>
                  <a:pt x="845" y="300"/>
                  <a:pt x="844" y="301"/>
                </a:cubicBezTo>
                <a:cubicBezTo>
                  <a:pt x="844" y="301"/>
                  <a:pt x="844" y="301"/>
                  <a:pt x="845" y="301"/>
                </a:cubicBezTo>
                <a:cubicBezTo>
                  <a:pt x="845" y="301"/>
                  <a:pt x="846" y="301"/>
                  <a:pt x="846" y="300"/>
                </a:cubicBezTo>
                <a:cubicBezTo>
                  <a:pt x="845" y="300"/>
                  <a:pt x="845" y="300"/>
                  <a:pt x="845" y="300"/>
                </a:cubicBezTo>
                <a:close/>
                <a:moveTo>
                  <a:pt x="846" y="293"/>
                </a:moveTo>
                <a:cubicBezTo>
                  <a:pt x="846" y="293"/>
                  <a:pt x="847" y="293"/>
                  <a:pt x="846" y="292"/>
                </a:cubicBezTo>
                <a:cubicBezTo>
                  <a:pt x="846" y="292"/>
                  <a:pt x="846" y="292"/>
                  <a:pt x="846" y="293"/>
                </a:cubicBezTo>
                <a:close/>
                <a:moveTo>
                  <a:pt x="846" y="298"/>
                </a:moveTo>
                <a:cubicBezTo>
                  <a:pt x="845" y="298"/>
                  <a:pt x="846" y="299"/>
                  <a:pt x="846" y="299"/>
                </a:cubicBezTo>
                <a:cubicBezTo>
                  <a:pt x="846" y="299"/>
                  <a:pt x="846" y="298"/>
                  <a:pt x="846" y="298"/>
                </a:cubicBezTo>
                <a:close/>
                <a:moveTo>
                  <a:pt x="846" y="298"/>
                </a:moveTo>
                <a:cubicBezTo>
                  <a:pt x="846" y="298"/>
                  <a:pt x="847" y="298"/>
                  <a:pt x="847" y="298"/>
                </a:cubicBezTo>
                <a:cubicBezTo>
                  <a:pt x="847" y="297"/>
                  <a:pt x="846" y="297"/>
                  <a:pt x="846" y="298"/>
                </a:cubicBezTo>
                <a:close/>
                <a:moveTo>
                  <a:pt x="847" y="295"/>
                </a:moveTo>
                <a:cubicBezTo>
                  <a:pt x="846" y="295"/>
                  <a:pt x="846" y="295"/>
                  <a:pt x="846" y="295"/>
                </a:cubicBezTo>
                <a:cubicBezTo>
                  <a:pt x="846" y="295"/>
                  <a:pt x="846" y="295"/>
                  <a:pt x="846" y="295"/>
                </a:cubicBezTo>
                <a:cubicBezTo>
                  <a:pt x="846" y="296"/>
                  <a:pt x="846" y="296"/>
                  <a:pt x="846" y="296"/>
                </a:cubicBezTo>
                <a:cubicBezTo>
                  <a:pt x="846" y="296"/>
                  <a:pt x="846" y="296"/>
                  <a:pt x="847" y="296"/>
                </a:cubicBezTo>
                <a:cubicBezTo>
                  <a:pt x="847" y="295"/>
                  <a:pt x="847" y="295"/>
                  <a:pt x="847" y="295"/>
                </a:cubicBezTo>
                <a:close/>
                <a:moveTo>
                  <a:pt x="847" y="283"/>
                </a:moveTo>
                <a:cubicBezTo>
                  <a:pt x="847" y="283"/>
                  <a:pt x="847" y="282"/>
                  <a:pt x="847" y="282"/>
                </a:cubicBezTo>
                <a:cubicBezTo>
                  <a:pt x="846" y="282"/>
                  <a:pt x="846" y="283"/>
                  <a:pt x="847" y="283"/>
                </a:cubicBezTo>
                <a:close/>
                <a:moveTo>
                  <a:pt x="848" y="294"/>
                </a:moveTo>
                <a:cubicBezTo>
                  <a:pt x="848" y="293"/>
                  <a:pt x="848" y="293"/>
                  <a:pt x="848" y="293"/>
                </a:cubicBezTo>
                <a:cubicBezTo>
                  <a:pt x="847" y="293"/>
                  <a:pt x="848" y="293"/>
                  <a:pt x="848" y="293"/>
                </a:cubicBezTo>
                <a:cubicBezTo>
                  <a:pt x="847" y="294"/>
                  <a:pt x="847" y="294"/>
                  <a:pt x="847" y="295"/>
                </a:cubicBezTo>
                <a:cubicBezTo>
                  <a:pt x="848" y="294"/>
                  <a:pt x="848" y="294"/>
                  <a:pt x="848" y="294"/>
                </a:cubicBezTo>
                <a:close/>
                <a:moveTo>
                  <a:pt x="849" y="295"/>
                </a:moveTo>
                <a:cubicBezTo>
                  <a:pt x="849" y="295"/>
                  <a:pt x="849" y="295"/>
                  <a:pt x="849" y="295"/>
                </a:cubicBezTo>
                <a:cubicBezTo>
                  <a:pt x="849" y="295"/>
                  <a:pt x="850" y="295"/>
                  <a:pt x="849" y="295"/>
                </a:cubicBezTo>
                <a:close/>
                <a:moveTo>
                  <a:pt x="850" y="295"/>
                </a:moveTo>
                <a:cubicBezTo>
                  <a:pt x="850" y="294"/>
                  <a:pt x="850" y="295"/>
                  <a:pt x="849" y="294"/>
                </a:cubicBezTo>
                <a:cubicBezTo>
                  <a:pt x="849" y="295"/>
                  <a:pt x="850" y="295"/>
                  <a:pt x="850" y="295"/>
                </a:cubicBezTo>
                <a:close/>
                <a:moveTo>
                  <a:pt x="851" y="277"/>
                </a:moveTo>
                <a:cubicBezTo>
                  <a:pt x="850" y="277"/>
                  <a:pt x="850" y="278"/>
                  <a:pt x="850" y="278"/>
                </a:cubicBezTo>
                <a:cubicBezTo>
                  <a:pt x="850" y="278"/>
                  <a:pt x="850" y="278"/>
                  <a:pt x="850" y="278"/>
                </a:cubicBezTo>
                <a:cubicBezTo>
                  <a:pt x="850" y="278"/>
                  <a:pt x="851" y="278"/>
                  <a:pt x="851" y="277"/>
                </a:cubicBezTo>
                <a:close/>
                <a:moveTo>
                  <a:pt x="851" y="292"/>
                </a:moveTo>
                <a:cubicBezTo>
                  <a:pt x="851" y="292"/>
                  <a:pt x="851" y="292"/>
                  <a:pt x="851" y="293"/>
                </a:cubicBezTo>
                <a:cubicBezTo>
                  <a:pt x="851" y="293"/>
                  <a:pt x="851" y="292"/>
                  <a:pt x="851" y="292"/>
                </a:cubicBezTo>
                <a:close/>
                <a:moveTo>
                  <a:pt x="853" y="275"/>
                </a:moveTo>
                <a:cubicBezTo>
                  <a:pt x="853" y="275"/>
                  <a:pt x="853" y="275"/>
                  <a:pt x="853" y="274"/>
                </a:cubicBezTo>
                <a:cubicBezTo>
                  <a:pt x="853" y="274"/>
                  <a:pt x="852" y="274"/>
                  <a:pt x="853" y="275"/>
                </a:cubicBezTo>
                <a:close/>
                <a:moveTo>
                  <a:pt x="853" y="279"/>
                </a:moveTo>
                <a:cubicBezTo>
                  <a:pt x="852" y="279"/>
                  <a:pt x="852" y="280"/>
                  <a:pt x="852" y="280"/>
                </a:cubicBezTo>
                <a:cubicBezTo>
                  <a:pt x="852" y="280"/>
                  <a:pt x="853" y="280"/>
                  <a:pt x="853" y="279"/>
                </a:cubicBezTo>
                <a:close/>
                <a:moveTo>
                  <a:pt x="853" y="290"/>
                </a:moveTo>
                <a:cubicBezTo>
                  <a:pt x="853" y="290"/>
                  <a:pt x="853" y="290"/>
                  <a:pt x="853" y="289"/>
                </a:cubicBezTo>
                <a:cubicBezTo>
                  <a:pt x="853" y="289"/>
                  <a:pt x="853" y="290"/>
                  <a:pt x="852" y="290"/>
                </a:cubicBezTo>
                <a:cubicBezTo>
                  <a:pt x="853" y="290"/>
                  <a:pt x="852" y="290"/>
                  <a:pt x="852" y="291"/>
                </a:cubicBezTo>
                <a:cubicBezTo>
                  <a:pt x="853" y="291"/>
                  <a:pt x="853" y="290"/>
                  <a:pt x="853" y="290"/>
                </a:cubicBezTo>
                <a:close/>
                <a:moveTo>
                  <a:pt x="855" y="288"/>
                </a:moveTo>
                <a:cubicBezTo>
                  <a:pt x="854" y="288"/>
                  <a:pt x="853" y="289"/>
                  <a:pt x="854" y="289"/>
                </a:cubicBezTo>
                <a:cubicBezTo>
                  <a:pt x="854" y="289"/>
                  <a:pt x="854" y="288"/>
                  <a:pt x="855" y="288"/>
                </a:cubicBezTo>
                <a:close/>
                <a:moveTo>
                  <a:pt x="863" y="272"/>
                </a:moveTo>
                <a:cubicBezTo>
                  <a:pt x="863" y="273"/>
                  <a:pt x="863" y="273"/>
                  <a:pt x="863" y="273"/>
                </a:cubicBezTo>
                <a:cubicBezTo>
                  <a:pt x="863" y="273"/>
                  <a:pt x="863" y="272"/>
                  <a:pt x="863" y="272"/>
                </a:cubicBezTo>
                <a:cubicBezTo>
                  <a:pt x="863" y="272"/>
                  <a:pt x="863" y="272"/>
                  <a:pt x="863" y="272"/>
                </a:cubicBezTo>
                <a:close/>
                <a:moveTo>
                  <a:pt x="862" y="274"/>
                </a:moveTo>
                <a:cubicBezTo>
                  <a:pt x="863" y="274"/>
                  <a:pt x="863" y="273"/>
                  <a:pt x="863" y="274"/>
                </a:cubicBezTo>
                <a:cubicBezTo>
                  <a:pt x="864" y="274"/>
                  <a:pt x="863" y="274"/>
                  <a:pt x="864" y="274"/>
                </a:cubicBezTo>
                <a:cubicBezTo>
                  <a:pt x="863" y="273"/>
                  <a:pt x="863" y="273"/>
                  <a:pt x="863" y="273"/>
                </a:cubicBezTo>
                <a:cubicBezTo>
                  <a:pt x="863" y="273"/>
                  <a:pt x="863" y="273"/>
                  <a:pt x="863" y="273"/>
                </a:cubicBezTo>
                <a:cubicBezTo>
                  <a:pt x="862" y="273"/>
                  <a:pt x="863" y="274"/>
                  <a:pt x="862" y="274"/>
                </a:cubicBezTo>
                <a:close/>
                <a:moveTo>
                  <a:pt x="861" y="278"/>
                </a:moveTo>
                <a:cubicBezTo>
                  <a:pt x="861" y="277"/>
                  <a:pt x="862" y="277"/>
                  <a:pt x="862" y="277"/>
                </a:cubicBezTo>
                <a:cubicBezTo>
                  <a:pt x="861" y="277"/>
                  <a:pt x="861" y="277"/>
                  <a:pt x="861" y="277"/>
                </a:cubicBezTo>
                <a:cubicBezTo>
                  <a:pt x="861" y="278"/>
                  <a:pt x="861" y="278"/>
                  <a:pt x="861" y="278"/>
                </a:cubicBezTo>
                <a:cubicBezTo>
                  <a:pt x="862" y="278"/>
                  <a:pt x="862" y="278"/>
                  <a:pt x="862" y="278"/>
                </a:cubicBezTo>
                <a:cubicBezTo>
                  <a:pt x="862" y="278"/>
                  <a:pt x="861" y="278"/>
                  <a:pt x="861" y="278"/>
                </a:cubicBezTo>
                <a:close/>
                <a:moveTo>
                  <a:pt x="862" y="276"/>
                </a:moveTo>
                <a:cubicBezTo>
                  <a:pt x="862" y="276"/>
                  <a:pt x="862" y="276"/>
                  <a:pt x="862" y="275"/>
                </a:cubicBezTo>
                <a:cubicBezTo>
                  <a:pt x="862" y="275"/>
                  <a:pt x="862" y="275"/>
                  <a:pt x="862" y="276"/>
                </a:cubicBezTo>
                <a:close/>
                <a:moveTo>
                  <a:pt x="862" y="275"/>
                </a:moveTo>
                <a:cubicBezTo>
                  <a:pt x="861" y="274"/>
                  <a:pt x="862" y="275"/>
                  <a:pt x="862" y="274"/>
                </a:cubicBezTo>
                <a:cubicBezTo>
                  <a:pt x="862" y="274"/>
                  <a:pt x="862" y="274"/>
                  <a:pt x="862" y="274"/>
                </a:cubicBezTo>
                <a:cubicBezTo>
                  <a:pt x="862" y="274"/>
                  <a:pt x="861" y="274"/>
                  <a:pt x="862" y="275"/>
                </a:cubicBezTo>
                <a:close/>
                <a:moveTo>
                  <a:pt x="861" y="276"/>
                </a:moveTo>
                <a:cubicBezTo>
                  <a:pt x="861" y="276"/>
                  <a:pt x="861" y="276"/>
                  <a:pt x="861" y="277"/>
                </a:cubicBezTo>
                <a:cubicBezTo>
                  <a:pt x="861" y="277"/>
                  <a:pt x="861" y="277"/>
                  <a:pt x="862" y="277"/>
                </a:cubicBezTo>
                <a:lnTo>
                  <a:pt x="861" y="276"/>
                </a:lnTo>
                <a:close/>
                <a:moveTo>
                  <a:pt x="861" y="275"/>
                </a:moveTo>
                <a:cubicBezTo>
                  <a:pt x="861" y="275"/>
                  <a:pt x="861" y="275"/>
                  <a:pt x="861" y="275"/>
                </a:cubicBezTo>
                <a:cubicBezTo>
                  <a:pt x="861" y="275"/>
                  <a:pt x="861" y="275"/>
                  <a:pt x="861" y="275"/>
                </a:cubicBezTo>
                <a:close/>
                <a:moveTo>
                  <a:pt x="860" y="276"/>
                </a:moveTo>
                <a:cubicBezTo>
                  <a:pt x="860" y="276"/>
                  <a:pt x="860" y="277"/>
                  <a:pt x="861" y="277"/>
                </a:cubicBezTo>
                <a:cubicBezTo>
                  <a:pt x="861" y="276"/>
                  <a:pt x="860" y="276"/>
                  <a:pt x="860" y="276"/>
                </a:cubicBezTo>
                <a:cubicBezTo>
                  <a:pt x="860" y="276"/>
                  <a:pt x="860" y="276"/>
                  <a:pt x="860" y="276"/>
                </a:cubicBezTo>
                <a:close/>
                <a:moveTo>
                  <a:pt x="859" y="271"/>
                </a:moveTo>
                <a:cubicBezTo>
                  <a:pt x="859" y="271"/>
                  <a:pt x="859" y="270"/>
                  <a:pt x="859" y="270"/>
                </a:cubicBezTo>
                <a:cubicBezTo>
                  <a:pt x="858" y="270"/>
                  <a:pt x="859" y="270"/>
                  <a:pt x="859" y="271"/>
                </a:cubicBezTo>
                <a:close/>
                <a:moveTo>
                  <a:pt x="858" y="271"/>
                </a:moveTo>
                <a:cubicBezTo>
                  <a:pt x="858" y="271"/>
                  <a:pt x="859" y="271"/>
                  <a:pt x="859" y="272"/>
                </a:cubicBezTo>
                <a:cubicBezTo>
                  <a:pt x="859" y="272"/>
                  <a:pt x="859" y="271"/>
                  <a:pt x="859" y="272"/>
                </a:cubicBezTo>
                <a:cubicBezTo>
                  <a:pt x="859" y="271"/>
                  <a:pt x="859" y="271"/>
                  <a:pt x="859" y="271"/>
                </a:cubicBezTo>
                <a:cubicBezTo>
                  <a:pt x="859" y="271"/>
                  <a:pt x="859" y="271"/>
                  <a:pt x="859" y="271"/>
                </a:cubicBezTo>
                <a:lnTo>
                  <a:pt x="858" y="271"/>
                </a:lnTo>
                <a:close/>
                <a:moveTo>
                  <a:pt x="856" y="278"/>
                </a:moveTo>
                <a:cubicBezTo>
                  <a:pt x="856" y="278"/>
                  <a:pt x="857" y="278"/>
                  <a:pt x="857" y="278"/>
                </a:cubicBezTo>
                <a:cubicBezTo>
                  <a:pt x="857" y="278"/>
                  <a:pt x="857" y="278"/>
                  <a:pt x="857" y="278"/>
                </a:cubicBezTo>
                <a:cubicBezTo>
                  <a:pt x="856" y="278"/>
                  <a:pt x="857" y="278"/>
                  <a:pt x="856" y="278"/>
                </a:cubicBezTo>
                <a:close/>
                <a:moveTo>
                  <a:pt x="855" y="275"/>
                </a:moveTo>
                <a:cubicBezTo>
                  <a:pt x="856" y="275"/>
                  <a:pt x="856" y="275"/>
                  <a:pt x="856" y="275"/>
                </a:cubicBezTo>
                <a:cubicBezTo>
                  <a:pt x="856" y="275"/>
                  <a:pt x="856" y="275"/>
                  <a:pt x="856" y="275"/>
                </a:cubicBezTo>
                <a:cubicBezTo>
                  <a:pt x="856" y="275"/>
                  <a:pt x="856" y="275"/>
                  <a:pt x="856" y="275"/>
                </a:cubicBezTo>
                <a:cubicBezTo>
                  <a:pt x="856" y="274"/>
                  <a:pt x="856" y="275"/>
                  <a:pt x="856" y="275"/>
                </a:cubicBezTo>
                <a:cubicBezTo>
                  <a:pt x="856" y="274"/>
                  <a:pt x="856" y="274"/>
                  <a:pt x="855" y="274"/>
                </a:cubicBezTo>
                <a:cubicBezTo>
                  <a:pt x="855" y="274"/>
                  <a:pt x="856" y="274"/>
                  <a:pt x="856" y="274"/>
                </a:cubicBezTo>
                <a:cubicBezTo>
                  <a:pt x="856" y="274"/>
                  <a:pt x="856" y="274"/>
                  <a:pt x="855" y="274"/>
                </a:cubicBezTo>
                <a:cubicBezTo>
                  <a:pt x="855" y="274"/>
                  <a:pt x="855" y="275"/>
                  <a:pt x="855" y="275"/>
                </a:cubicBezTo>
                <a:close/>
                <a:moveTo>
                  <a:pt x="856" y="278"/>
                </a:moveTo>
                <a:cubicBezTo>
                  <a:pt x="855" y="279"/>
                  <a:pt x="855" y="279"/>
                  <a:pt x="855" y="279"/>
                </a:cubicBezTo>
                <a:cubicBezTo>
                  <a:pt x="856" y="279"/>
                  <a:pt x="856" y="279"/>
                  <a:pt x="856" y="278"/>
                </a:cubicBezTo>
                <a:close/>
                <a:moveTo>
                  <a:pt x="855" y="281"/>
                </a:moveTo>
                <a:cubicBezTo>
                  <a:pt x="855" y="281"/>
                  <a:pt x="855" y="281"/>
                  <a:pt x="855" y="281"/>
                </a:cubicBezTo>
                <a:cubicBezTo>
                  <a:pt x="855" y="282"/>
                  <a:pt x="855" y="282"/>
                  <a:pt x="855" y="282"/>
                </a:cubicBezTo>
                <a:cubicBezTo>
                  <a:pt x="856" y="282"/>
                  <a:pt x="856" y="281"/>
                  <a:pt x="855" y="281"/>
                </a:cubicBezTo>
                <a:close/>
                <a:moveTo>
                  <a:pt x="857" y="282"/>
                </a:moveTo>
                <a:cubicBezTo>
                  <a:pt x="857" y="282"/>
                  <a:pt x="856" y="281"/>
                  <a:pt x="856" y="280"/>
                </a:cubicBezTo>
                <a:cubicBezTo>
                  <a:pt x="855" y="281"/>
                  <a:pt x="856" y="281"/>
                  <a:pt x="856" y="282"/>
                </a:cubicBezTo>
                <a:cubicBezTo>
                  <a:pt x="856" y="282"/>
                  <a:pt x="856" y="282"/>
                  <a:pt x="856" y="283"/>
                </a:cubicBezTo>
                <a:cubicBezTo>
                  <a:pt x="856" y="283"/>
                  <a:pt x="856" y="282"/>
                  <a:pt x="856" y="283"/>
                </a:cubicBezTo>
                <a:cubicBezTo>
                  <a:pt x="857" y="283"/>
                  <a:pt x="857" y="282"/>
                  <a:pt x="857" y="282"/>
                </a:cubicBezTo>
                <a:cubicBezTo>
                  <a:pt x="857" y="282"/>
                  <a:pt x="858" y="282"/>
                  <a:pt x="857" y="282"/>
                </a:cubicBezTo>
                <a:close/>
                <a:moveTo>
                  <a:pt x="857" y="275"/>
                </a:moveTo>
                <a:cubicBezTo>
                  <a:pt x="857" y="275"/>
                  <a:pt x="857" y="275"/>
                  <a:pt x="857" y="276"/>
                </a:cubicBezTo>
                <a:cubicBezTo>
                  <a:pt x="858" y="275"/>
                  <a:pt x="857" y="275"/>
                  <a:pt x="857" y="275"/>
                </a:cubicBezTo>
                <a:close/>
                <a:moveTo>
                  <a:pt x="858" y="274"/>
                </a:moveTo>
                <a:cubicBezTo>
                  <a:pt x="857" y="274"/>
                  <a:pt x="858" y="275"/>
                  <a:pt x="857" y="274"/>
                </a:cubicBezTo>
                <a:cubicBezTo>
                  <a:pt x="857" y="275"/>
                  <a:pt x="858" y="274"/>
                  <a:pt x="858" y="274"/>
                </a:cubicBezTo>
                <a:close/>
                <a:moveTo>
                  <a:pt x="859" y="274"/>
                </a:moveTo>
                <a:cubicBezTo>
                  <a:pt x="859" y="274"/>
                  <a:pt x="859" y="273"/>
                  <a:pt x="859" y="273"/>
                </a:cubicBezTo>
                <a:cubicBezTo>
                  <a:pt x="859" y="273"/>
                  <a:pt x="858" y="273"/>
                  <a:pt x="858" y="273"/>
                </a:cubicBezTo>
                <a:cubicBezTo>
                  <a:pt x="858" y="274"/>
                  <a:pt x="858" y="274"/>
                  <a:pt x="858" y="274"/>
                </a:cubicBezTo>
                <a:cubicBezTo>
                  <a:pt x="859" y="274"/>
                  <a:pt x="859" y="274"/>
                  <a:pt x="859" y="274"/>
                </a:cubicBezTo>
                <a:close/>
                <a:moveTo>
                  <a:pt x="860" y="277"/>
                </a:moveTo>
                <a:cubicBezTo>
                  <a:pt x="860" y="277"/>
                  <a:pt x="860" y="277"/>
                  <a:pt x="860" y="277"/>
                </a:cubicBezTo>
                <a:cubicBezTo>
                  <a:pt x="859" y="277"/>
                  <a:pt x="859" y="278"/>
                  <a:pt x="859" y="278"/>
                </a:cubicBezTo>
                <a:cubicBezTo>
                  <a:pt x="860" y="278"/>
                  <a:pt x="859" y="277"/>
                  <a:pt x="860" y="277"/>
                </a:cubicBezTo>
                <a:close/>
                <a:moveTo>
                  <a:pt x="861" y="282"/>
                </a:moveTo>
                <a:cubicBezTo>
                  <a:pt x="861" y="281"/>
                  <a:pt x="860" y="281"/>
                  <a:pt x="860" y="282"/>
                </a:cubicBezTo>
                <a:cubicBezTo>
                  <a:pt x="860" y="282"/>
                  <a:pt x="861" y="282"/>
                  <a:pt x="861" y="282"/>
                </a:cubicBezTo>
                <a:close/>
                <a:moveTo>
                  <a:pt x="863" y="280"/>
                </a:moveTo>
                <a:cubicBezTo>
                  <a:pt x="863" y="281"/>
                  <a:pt x="864" y="281"/>
                  <a:pt x="864" y="281"/>
                </a:cubicBezTo>
                <a:cubicBezTo>
                  <a:pt x="864" y="281"/>
                  <a:pt x="863" y="280"/>
                  <a:pt x="863" y="280"/>
                </a:cubicBezTo>
                <a:close/>
                <a:moveTo>
                  <a:pt x="861" y="279"/>
                </a:moveTo>
                <a:cubicBezTo>
                  <a:pt x="862" y="280"/>
                  <a:pt x="862" y="279"/>
                  <a:pt x="862" y="280"/>
                </a:cubicBezTo>
                <a:cubicBezTo>
                  <a:pt x="862" y="280"/>
                  <a:pt x="862" y="280"/>
                  <a:pt x="861" y="280"/>
                </a:cubicBezTo>
                <a:cubicBezTo>
                  <a:pt x="861" y="280"/>
                  <a:pt x="860" y="280"/>
                  <a:pt x="861" y="281"/>
                </a:cubicBezTo>
                <a:cubicBezTo>
                  <a:pt x="860" y="281"/>
                  <a:pt x="860" y="281"/>
                  <a:pt x="860" y="281"/>
                </a:cubicBezTo>
                <a:cubicBezTo>
                  <a:pt x="860" y="281"/>
                  <a:pt x="860" y="281"/>
                  <a:pt x="861" y="281"/>
                </a:cubicBezTo>
                <a:cubicBezTo>
                  <a:pt x="861" y="281"/>
                  <a:pt x="861" y="281"/>
                  <a:pt x="862" y="281"/>
                </a:cubicBezTo>
                <a:cubicBezTo>
                  <a:pt x="862" y="281"/>
                  <a:pt x="861" y="281"/>
                  <a:pt x="861" y="282"/>
                </a:cubicBezTo>
                <a:cubicBezTo>
                  <a:pt x="862" y="282"/>
                  <a:pt x="862" y="281"/>
                  <a:pt x="862" y="282"/>
                </a:cubicBezTo>
                <a:cubicBezTo>
                  <a:pt x="862" y="282"/>
                  <a:pt x="862" y="281"/>
                  <a:pt x="862" y="281"/>
                </a:cubicBezTo>
                <a:cubicBezTo>
                  <a:pt x="863" y="281"/>
                  <a:pt x="862" y="281"/>
                  <a:pt x="863" y="282"/>
                </a:cubicBezTo>
                <a:cubicBezTo>
                  <a:pt x="863" y="282"/>
                  <a:pt x="863" y="281"/>
                  <a:pt x="863" y="281"/>
                </a:cubicBezTo>
                <a:cubicBezTo>
                  <a:pt x="863" y="281"/>
                  <a:pt x="863" y="281"/>
                  <a:pt x="863" y="281"/>
                </a:cubicBezTo>
                <a:cubicBezTo>
                  <a:pt x="863" y="281"/>
                  <a:pt x="863" y="281"/>
                  <a:pt x="862" y="281"/>
                </a:cubicBezTo>
                <a:cubicBezTo>
                  <a:pt x="862" y="280"/>
                  <a:pt x="863" y="280"/>
                  <a:pt x="863" y="280"/>
                </a:cubicBezTo>
                <a:cubicBezTo>
                  <a:pt x="863" y="280"/>
                  <a:pt x="863" y="281"/>
                  <a:pt x="863" y="281"/>
                </a:cubicBezTo>
                <a:cubicBezTo>
                  <a:pt x="863" y="280"/>
                  <a:pt x="862" y="279"/>
                  <a:pt x="861" y="279"/>
                </a:cubicBezTo>
                <a:close/>
                <a:moveTo>
                  <a:pt x="865" y="276"/>
                </a:moveTo>
                <a:cubicBezTo>
                  <a:pt x="865" y="276"/>
                  <a:pt x="864" y="275"/>
                  <a:pt x="864" y="275"/>
                </a:cubicBezTo>
                <a:cubicBezTo>
                  <a:pt x="864" y="275"/>
                  <a:pt x="864" y="275"/>
                  <a:pt x="865" y="275"/>
                </a:cubicBezTo>
                <a:cubicBezTo>
                  <a:pt x="863" y="274"/>
                  <a:pt x="863" y="276"/>
                  <a:pt x="863" y="276"/>
                </a:cubicBezTo>
                <a:cubicBezTo>
                  <a:pt x="863" y="276"/>
                  <a:pt x="863" y="276"/>
                  <a:pt x="862" y="276"/>
                </a:cubicBezTo>
                <a:cubicBezTo>
                  <a:pt x="862" y="276"/>
                  <a:pt x="863" y="276"/>
                  <a:pt x="863" y="276"/>
                </a:cubicBezTo>
                <a:cubicBezTo>
                  <a:pt x="862" y="277"/>
                  <a:pt x="862" y="277"/>
                  <a:pt x="862" y="277"/>
                </a:cubicBezTo>
                <a:cubicBezTo>
                  <a:pt x="863" y="277"/>
                  <a:pt x="863" y="277"/>
                  <a:pt x="863" y="277"/>
                </a:cubicBezTo>
                <a:cubicBezTo>
                  <a:pt x="864" y="277"/>
                  <a:pt x="864" y="277"/>
                  <a:pt x="864" y="276"/>
                </a:cubicBezTo>
                <a:cubicBezTo>
                  <a:pt x="864" y="276"/>
                  <a:pt x="864" y="276"/>
                  <a:pt x="864" y="276"/>
                </a:cubicBezTo>
                <a:cubicBezTo>
                  <a:pt x="865" y="276"/>
                  <a:pt x="865" y="276"/>
                  <a:pt x="865" y="276"/>
                </a:cubicBezTo>
                <a:close/>
                <a:moveTo>
                  <a:pt x="864" y="270"/>
                </a:moveTo>
                <a:cubicBezTo>
                  <a:pt x="865" y="271"/>
                  <a:pt x="865" y="271"/>
                  <a:pt x="864" y="271"/>
                </a:cubicBezTo>
                <a:cubicBezTo>
                  <a:pt x="864" y="271"/>
                  <a:pt x="864" y="271"/>
                  <a:pt x="865" y="272"/>
                </a:cubicBezTo>
                <a:cubicBezTo>
                  <a:pt x="865" y="271"/>
                  <a:pt x="865" y="270"/>
                  <a:pt x="864" y="270"/>
                </a:cubicBezTo>
                <a:close/>
                <a:moveTo>
                  <a:pt x="868" y="270"/>
                </a:moveTo>
                <a:cubicBezTo>
                  <a:pt x="868" y="270"/>
                  <a:pt x="868" y="270"/>
                  <a:pt x="867" y="270"/>
                </a:cubicBezTo>
                <a:cubicBezTo>
                  <a:pt x="868" y="270"/>
                  <a:pt x="867" y="270"/>
                  <a:pt x="867" y="270"/>
                </a:cubicBezTo>
                <a:cubicBezTo>
                  <a:pt x="867" y="270"/>
                  <a:pt x="868" y="271"/>
                  <a:pt x="868" y="270"/>
                </a:cubicBezTo>
                <a:close/>
                <a:moveTo>
                  <a:pt x="870" y="268"/>
                </a:moveTo>
                <a:cubicBezTo>
                  <a:pt x="869" y="268"/>
                  <a:pt x="870" y="269"/>
                  <a:pt x="869" y="269"/>
                </a:cubicBezTo>
                <a:cubicBezTo>
                  <a:pt x="870" y="269"/>
                  <a:pt x="871" y="269"/>
                  <a:pt x="870" y="268"/>
                </a:cubicBezTo>
                <a:close/>
                <a:moveTo>
                  <a:pt x="871" y="268"/>
                </a:moveTo>
                <a:cubicBezTo>
                  <a:pt x="871" y="267"/>
                  <a:pt x="871" y="267"/>
                  <a:pt x="871" y="267"/>
                </a:cubicBezTo>
                <a:cubicBezTo>
                  <a:pt x="870" y="267"/>
                  <a:pt x="870" y="267"/>
                  <a:pt x="871" y="268"/>
                </a:cubicBezTo>
                <a:cubicBezTo>
                  <a:pt x="871" y="268"/>
                  <a:pt x="871" y="267"/>
                  <a:pt x="871" y="268"/>
                </a:cubicBezTo>
                <a:close/>
                <a:moveTo>
                  <a:pt x="841" y="304"/>
                </a:moveTo>
                <a:cubicBezTo>
                  <a:pt x="841" y="304"/>
                  <a:pt x="842" y="304"/>
                  <a:pt x="842" y="304"/>
                </a:cubicBezTo>
                <a:cubicBezTo>
                  <a:pt x="842" y="304"/>
                  <a:pt x="841" y="304"/>
                  <a:pt x="841" y="304"/>
                </a:cubicBezTo>
                <a:cubicBezTo>
                  <a:pt x="841" y="304"/>
                  <a:pt x="841" y="304"/>
                  <a:pt x="841" y="304"/>
                </a:cubicBezTo>
                <a:close/>
                <a:moveTo>
                  <a:pt x="841" y="304"/>
                </a:moveTo>
                <a:cubicBezTo>
                  <a:pt x="841" y="304"/>
                  <a:pt x="841" y="304"/>
                  <a:pt x="841" y="304"/>
                </a:cubicBezTo>
                <a:cubicBezTo>
                  <a:pt x="841" y="305"/>
                  <a:pt x="842" y="304"/>
                  <a:pt x="841" y="304"/>
                </a:cubicBezTo>
                <a:close/>
                <a:moveTo>
                  <a:pt x="832" y="255"/>
                </a:moveTo>
                <a:cubicBezTo>
                  <a:pt x="832" y="254"/>
                  <a:pt x="833" y="254"/>
                  <a:pt x="833" y="254"/>
                </a:cubicBezTo>
                <a:cubicBezTo>
                  <a:pt x="832" y="254"/>
                  <a:pt x="832" y="255"/>
                  <a:pt x="831" y="256"/>
                </a:cubicBezTo>
                <a:cubicBezTo>
                  <a:pt x="831" y="256"/>
                  <a:pt x="831" y="256"/>
                  <a:pt x="832" y="256"/>
                </a:cubicBezTo>
                <a:cubicBezTo>
                  <a:pt x="832" y="256"/>
                  <a:pt x="832" y="255"/>
                  <a:pt x="832" y="255"/>
                </a:cubicBezTo>
                <a:close/>
                <a:moveTo>
                  <a:pt x="847" y="314"/>
                </a:moveTo>
                <a:cubicBezTo>
                  <a:pt x="847" y="314"/>
                  <a:pt x="847" y="314"/>
                  <a:pt x="847" y="314"/>
                </a:cubicBezTo>
                <a:cubicBezTo>
                  <a:pt x="847" y="314"/>
                  <a:pt x="846" y="314"/>
                  <a:pt x="847" y="314"/>
                </a:cubicBezTo>
                <a:cubicBezTo>
                  <a:pt x="846" y="313"/>
                  <a:pt x="846" y="314"/>
                  <a:pt x="846" y="314"/>
                </a:cubicBezTo>
                <a:cubicBezTo>
                  <a:pt x="847" y="315"/>
                  <a:pt x="846" y="315"/>
                  <a:pt x="846" y="316"/>
                </a:cubicBezTo>
                <a:cubicBezTo>
                  <a:pt x="846" y="316"/>
                  <a:pt x="847" y="315"/>
                  <a:pt x="847" y="314"/>
                </a:cubicBezTo>
                <a:close/>
                <a:moveTo>
                  <a:pt x="842" y="247"/>
                </a:moveTo>
                <a:cubicBezTo>
                  <a:pt x="841" y="247"/>
                  <a:pt x="842" y="247"/>
                  <a:pt x="842" y="248"/>
                </a:cubicBezTo>
                <a:cubicBezTo>
                  <a:pt x="842" y="247"/>
                  <a:pt x="842" y="247"/>
                  <a:pt x="842" y="247"/>
                </a:cubicBezTo>
                <a:close/>
                <a:moveTo>
                  <a:pt x="835" y="261"/>
                </a:moveTo>
                <a:cubicBezTo>
                  <a:pt x="835" y="260"/>
                  <a:pt x="835" y="260"/>
                  <a:pt x="835" y="260"/>
                </a:cubicBezTo>
                <a:cubicBezTo>
                  <a:pt x="835" y="260"/>
                  <a:pt x="835" y="260"/>
                  <a:pt x="835" y="261"/>
                </a:cubicBezTo>
                <a:cubicBezTo>
                  <a:pt x="835" y="261"/>
                  <a:pt x="835" y="261"/>
                  <a:pt x="835" y="261"/>
                </a:cubicBezTo>
                <a:cubicBezTo>
                  <a:pt x="835" y="261"/>
                  <a:pt x="835" y="261"/>
                  <a:pt x="835" y="261"/>
                </a:cubicBezTo>
                <a:close/>
                <a:moveTo>
                  <a:pt x="855" y="259"/>
                </a:moveTo>
                <a:cubicBezTo>
                  <a:pt x="856" y="260"/>
                  <a:pt x="856" y="260"/>
                  <a:pt x="856" y="260"/>
                </a:cubicBezTo>
                <a:cubicBezTo>
                  <a:pt x="857" y="260"/>
                  <a:pt x="856" y="260"/>
                  <a:pt x="856" y="259"/>
                </a:cubicBezTo>
                <a:cubicBezTo>
                  <a:pt x="856" y="259"/>
                  <a:pt x="856" y="260"/>
                  <a:pt x="855" y="259"/>
                </a:cubicBezTo>
                <a:close/>
                <a:moveTo>
                  <a:pt x="848" y="260"/>
                </a:moveTo>
                <a:cubicBezTo>
                  <a:pt x="848" y="260"/>
                  <a:pt x="847" y="260"/>
                  <a:pt x="847" y="260"/>
                </a:cubicBezTo>
                <a:cubicBezTo>
                  <a:pt x="847" y="260"/>
                  <a:pt x="847" y="260"/>
                  <a:pt x="847" y="260"/>
                </a:cubicBezTo>
                <a:cubicBezTo>
                  <a:pt x="847" y="261"/>
                  <a:pt x="847" y="260"/>
                  <a:pt x="848" y="260"/>
                </a:cubicBezTo>
                <a:close/>
                <a:moveTo>
                  <a:pt x="850" y="261"/>
                </a:moveTo>
                <a:cubicBezTo>
                  <a:pt x="850" y="261"/>
                  <a:pt x="850" y="261"/>
                  <a:pt x="850" y="261"/>
                </a:cubicBezTo>
                <a:cubicBezTo>
                  <a:pt x="851" y="261"/>
                  <a:pt x="851" y="261"/>
                  <a:pt x="851" y="261"/>
                </a:cubicBezTo>
                <a:cubicBezTo>
                  <a:pt x="851" y="261"/>
                  <a:pt x="851" y="261"/>
                  <a:pt x="851" y="260"/>
                </a:cubicBezTo>
                <a:cubicBezTo>
                  <a:pt x="850" y="260"/>
                  <a:pt x="851" y="261"/>
                  <a:pt x="850" y="261"/>
                </a:cubicBezTo>
                <a:close/>
                <a:moveTo>
                  <a:pt x="829" y="264"/>
                </a:moveTo>
                <a:cubicBezTo>
                  <a:pt x="830" y="264"/>
                  <a:pt x="830" y="264"/>
                  <a:pt x="830" y="264"/>
                </a:cubicBezTo>
                <a:cubicBezTo>
                  <a:pt x="830" y="264"/>
                  <a:pt x="830" y="263"/>
                  <a:pt x="831" y="263"/>
                </a:cubicBezTo>
                <a:cubicBezTo>
                  <a:pt x="830" y="262"/>
                  <a:pt x="831" y="262"/>
                  <a:pt x="830" y="262"/>
                </a:cubicBezTo>
                <a:cubicBezTo>
                  <a:pt x="830" y="262"/>
                  <a:pt x="830" y="262"/>
                  <a:pt x="831" y="263"/>
                </a:cubicBezTo>
                <a:cubicBezTo>
                  <a:pt x="831" y="263"/>
                  <a:pt x="830" y="262"/>
                  <a:pt x="830" y="263"/>
                </a:cubicBezTo>
                <a:cubicBezTo>
                  <a:pt x="830" y="263"/>
                  <a:pt x="830" y="264"/>
                  <a:pt x="829" y="264"/>
                </a:cubicBezTo>
                <a:close/>
                <a:moveTo>
                  <a:pt x="854" y="263"/>
                </a:moveTo>
                <a:cubicBezTo>
                  <a:pt x="854" y="263"/>
                  <a:pt x="853" y="262"/>
                  <a:pt x="853" y="262"/>
                </a:cubicBezTo>
                <a:cubicBezTo>
                  <a:pt x="853" y="263"/>
                  <a:pt x="852" y="263"/>
                  <a:pt x="852" y="264"/>
                </a:cubicBezTo>
                <a:cubicBezTo>
                  <a:pt x="852" y="264"/>
                  <a:pt x="852" y="264"/>
                  <a:pt x="853" y="264"/>
                </a:cubicBezTo>
                <a:cubicBezTo>
                  <a:pt x="853" y="264"/>
                  <a:pt x="853" y="264"/>
                  <a:pt x="853" y="263"/>
                </a:cubicBezTo>
                <a:cubicBezTo>
                  <a:pt x="853" y="264"/>
                  <a:pt x="853" y="263"/>
                  <a:pt x="854" y="263"/>
                </a:cubicBezTo>
                <a:close/>
                <a:moveTo>
                  <a:pt x="824" y="265"/>
                </a:moveTo>
                <a:cubicBezTo>
                  <a:pt x="825" y="264"/>
                  <a:pt x="825" y="264"/>
                  <a:pt x="825" y="264"/>
                </a:cubicBezTo>
                <a:cubicBezTo>
                  <a:pt x="824" y="264"/>
                  <a:pt x="824" y="265"/>
                  <a:pt x="824" y="265"/>
                </a:cubicBezTo>
                <a:close/>
                <a:moveTo>
                  <a:pt x="875" y="263"/>
                </a:moveTo>
                <a:cubicBezTo>
                  <a:pt x="874" y="263"/>
                  <a:pt x="875" y="263"/>
                  <a:pt x="875" y="263"/>
                </a:cubicBezTo>
                <a:cubicBezTo>
                  <a:pt x="875" y="263"/>
                  <a:pt x="875" y="263"/>
                  <a:pt x="875" y="263"/>
                </a:cubicBezTo>
                <a:cubicBezTo>
                  <a:pt x="875" y="263"/>
                  <a:pt x="875" y="263"/>
                  <a:pt x="875" y="263"/>
                </a:cubicBezTo>
                <a:close/>
                <a:moveTo>
                  <a:pt x="852" y="263"/>
                </a:moveTo>
                <a:cubicBezTo>
                  <a:pt x="852" y="264"/>
                  <a:pt x="851" y="264"/>
                  <a:pt x="852" y="264"/>
                </a:cubicBezTo>
                <a:cubicBezTo>
                  <a:pt x="852" y="264"/>
                  <a:pt x="852" y="264"/>
                  <a:pt x="852" y="263"/>
                </a:cubicBezTo>
                <a:close/>
                <a:moveTo>
                  <a:pt x="830" y="266"/>
                </a:moveTo>
                <a:cubicBezTo>
                  <a:pt x="830" y="266"/>
                  <a:pt x="830" y="266"/>
                  <a:pt x="830" y="266"/>
                </a:cubicBezTo>
                <a:cubicBezTo>
                  <a:pt x="830" y="266"/>
                  <a:pt x="830" y="266"/>
                  <a:pt x="830" y="266"/>
                </a:cubicBezTo>
                <a:cubicBezTo>
                  <a:pt x="830" y="267"/>
                  <a:pt x="830" y="266"/>
                  <a:pt x="830" y="266"/>
                </a:cubicBezTo>
                <a:close/>
                <a:moveTo>
                  <a:pt x="865" y="267"/>
                </a:moveTo>
                <a:cubicBezTo>
                  <a:pt x="865" y="267"/>
                  <a:pt x="865" y="267"/>
                  <a:pt x="866" y="267"/>
                </a:cubicBezTo>
                <a:cubicBezTo>
                  <a:pt x="866" y="267"/>
                  <a:pt x="865" y="267"/>
                  <a:pt x="866" y="267"/>
                </a:cubicBezTo>
                <a:cubicBezTo>
                  <a:pt x="866" y="267"/>
                  <a:pt x="866" y="267"/>
                  <a:pt x="866" y="266"/>
                </a:cubicBezTo>
                <a:cubicBezTo>
                  <a:pt x="866" y="267"/>
                  <a:pt x="866" y="267"/>
                  <a:pt x="865" y="267"/>
                </a:cubicBezTo>
                <a:close/>
                <a:moveTo>
                  <a:pt x="854" y="271"/>
                </a:moveTo>
                <a:cubicBezTo>
                  <a:pt x="854" y="271"/>
                  <a:pt x="854" y="271"/>
                  <a:pt x="855" y="272"/>
                </a:cubicBezTo>
                <a:cubicBezTo>
                  <a:pt x="855" y="271"/>
                  <a:pt x="855" y="271"/>
                  <a:pt x="855" y="270"/>
                </a:cubicBezTo>
                <a:cubicBezTo>
                  <a:pt x="855" y="271"/>
                  <a:pt x="854" y="271"/>
                  <a:pt x="854" y="271"/>
                </a:cubicBezTo>
                <a:close/>
                <a:moveTo>
                  <a:pt x="824" y="273"/>
                </a:moveTo>
                <a:cubicBezTo>
                  <a:pt x="824" y="273"/>
                  <a:pt x="824" y="274"/>
                  <a:pt x="824" y="274"/>
                </a:cubicBezTo>
                <a:cubicBezTo>
                  <a:pt x="825" y="274"/>
                  <a:pt x="824" y="273"/>
                  <a:pt x="825" y="273"/>
                </a:cubicBezTo>
                <a:cubicBezTo>
                  <a:pt x="824" y="273"/>
                  <a:pt x="824" y="273"/>
                  <a:pt x="823" y="273"/>
                </a:cubicBezTo>
                <a:cubicBezTo>
                  <a:pt x="823" y="273"/>
                  <a:pt x="823" y="273"/>
                  <a:pt x="823" y="273"/>
                </a:cubicBezTo>
                <a:cubicBezTo>
                  <a:pt x="823" y="274"/>
                  <a:pt x="824" y="273"/>
                  <a:pt x="824" y="273"/>
                </a:cubicBezTo>
                <a:close/>
                <a:moveTo>
                  <a:pt x="822" y="275"/>
                </a:moveTo>
                <a:cubicBezTo>
                  <a:pt x="822" y="275"/>
                  <a:pt x="823" y="275"/>
                  <a:pt x="823" y="274"/>
                </a:cubicBezTo>
                <a:cubicBezTo>
                  <a:pt x="822" y="274"/>
                  <a:pt x="823" y="275"/>
                  <a:pt x="822" y="275"/>
                </a:cubicBezTo>
                <a:cubicBezTo>
                  <a:pt x="822" y="276"/>
                  <a:pt x="822" y="275"/>
                  <a:pt x="822" y="275"/>
                </a:cubicBezTo>
                <a:close/>
                <a:moveTo>
                  <a:pt x="824" y="275"/>
                </a:moveTo>
                <a:cubicBezTo>
                  <a:pt x="823" y="274"/>
                  <a:pt x="823" y="276"/>
                  <a:pt x="822" y="275"/>
                </a:cubicBezTo>
                <a:cubicBezTo>
                  <a:pt x="822" y="276"/>
                  <a:pt x="822" y="276"/>
                  <a:pt x="821" y="276"/>
                </a:cubicBezTo>
                <a:cubicBezTo>
                  <a:pt x="821" y="277"/>
                  <a:pt x="821" y="277"/>
                  <a:pt x="822" y="277"/>
                </a:cubicBezTo>
                <a:cubicBezTo>
                  <a:pt x="822" y="277"/>
                  <a:pt x="822" y="277"/>
                  <a:pt x="822" y="277"/>
                </a:cubicBezTo>
                <a:cubicBezTo>
                  <a:pt x="822" y="277"/>
                  <a:pt x="822" y="277"/>
                  <a:pt x="822" y="277"/>
                </a:cubicBezTo>
                <a:cubicBezTo>
                  <a:pt x="822" y="276"/>
                  <a:pt x="822" y="276"/>
                  <a:pt x="822" y="276"/>
                </a:cubicBezTo>
                <a:cubicBezTo>
                  <a:pt x="822" y="276"/>
                  <a:pt x="822" y="277"/>
                  <a:pt x="822" y="276"/>
                </a:cubicBezTo>
                <a:cubicBezTo>
                  <a:pt x="822" y="276"/>
                  <a:pt x="822" y="276"/>
                  <a:pt x="822" y="276"/>
                </a:cubicBezTo>
                <a:cubicBezTo>
                  <a:pt x="822" y="276"/>
                  <a:pt x="822" y="276"/>
                  <a:pt x="823" y="276"/>
                </a:cubicBezTo>
                <a:cubicBezTo>
                  <a:pt x="823" y="275"/>
                  <a:pt x="823" y="275"/>
                  <a:pt x="824" y="275"/>
                </a:cubicBezTo>
                <a:close/>
                <a:moveTo>
                  <a:pt x="871" y="280"/>
                </a:moveTo>
                <a:cubicBezTo>
                  <a:pt x="871" y="280"/>
                  <a:pt x="870" y="280"/>
                  <a:pt x="870" y="280"/>
                </a:cubicBezTo>
                <a:cubicBezTo>
                  <a:pt x="870" y="280"/>
                  <a:pt x="870" y="280"/>
                  <a:pt x="870" y="280"/>
                </a:cubicBezTo>
                <a:cubicBezTo>
                  <a:pt x="871" y="280"/>
                  <a:pt x="871" y="280"/>
                  <a:pt x="871" y="280"/>
                </a:cubicBezTo>
                <a:cubicBezTo>
                  <a:pt x="871" y="279"/>
                  <a:pt x="871" y="280"/>
                  <a:pt x="871" y="280"/>
                </a:cubicBezTo>
                <a:close/>
                <a:moveTo>
                  <a:pt x="863" y="285"/>
                </a:moveTo>
                <a:cubicBezTo>
                  <a:pt x="863" y="285"/>
                  <a:pt x="863" y="285"/>
                  <a:pt x="864" y="285"/>
                </a:cubicBezTo>
                <a:cubicBezTo>
                  <a:pt x="864" y="285"/>
                  <a:pt x="863" y="284"/>
                  <a:pt x="864" y="284"/>
                </a:cubicBezTo>
                <a:cubicBezTo>
                  <a:pt x="864" y="284"/>
                  <a:pt x="863" y="285"/>
                  <a:pt x="863" y="285"/>
                </a:cubicBezTo>
                <a:close/>
                <a:moveTo>
                  <a:pt x="860" y="287"/>
                </a:moveTo>
                <a:cubicBezTo>
                  <a:pt x="860" y="287"/>
                  <a:pt x="859" y="287"/>
                  <a:pt x="860" y="287"/>
                </a:cubicBezTo>
                <a:cubicBezTo>
                  <a:pt x="860" y="288"/>
                  <a:pt x="860" y="287"/>
                  <a:pt x="861" y="287"/>
                </a:cubicBezTo>
                <a:cubicBezTo>
                  <a:pt x="861" y="287"/>
                  <a:pt x="860" y="287"/>
                  <a:pt x="860" y="287"/>
                </a:cubicBezTo>
                <a:close/>
                <a:moveTo>
                  <a:pt x="837" y="292"/>
                </a:moveTo>
                <a:cubicBezTo>
                  <a:pt x="837" y="292"/>
                  <a:pt x="837" y="292"/>
                  <a:pt x="837" y="292"/>
                </a:cubicBezTo>
                <a:cubicBezTo>
                  <a:pt x="837" y="292"/>
                  <a:pt x="837" y="292"/>
                  <a:pt x="837" y="292"/>
                </a:cubicBezTo>
                <a:cubicBezTo>
                  <a:pt x="838" y="292"/>
                  <a:pt x="838" y="292"/>
                  <a:pt x="838" y="292"/>
                </a:cubicBezTo>
                <a:cubicBezTo>
                  <a:pt x="838" y="292"/>
                  <a:pt x="837" y="291"/>
                  <a:pt x="838" y="292"/>
                </a:cubicBezTo>
                <a:cubicBezTo>
                  <a:pt x="838" y="292"/>
                  <a:pt x="837" y="291"/>
                  <a:pt x="838" y="291"/>
                </a:cubicBezTo>
                <a:cubicBezTo>
                  <a:pt x="837" y="291"/>
                  <a:pt x="837" y="292"/>
                  <a:pt x="837" y="292"/>
                </a:cubicBezTo>
                <a:close/>
                <a:moveTo>
                  <a:pt x="854" y="294"/>
                </a:moveTo>
                <a:cubicBezTo>
                  <a:pt x="853" y="294"/>
                  <a:pt x="853" y="294"/>
                  <a:pt x="852" y="294"/>
                </a:cubicBezTo>
                <a:cubicBezTo>
                  <a:pt x="853" y="294"/>
                  <a:pt x="853" y="295"/>
                  <a:pt x="854" y="295"/>
                </a:cubicBezTo>
                <a:cubicBezTo>
                  <a:pt x="853" y="294"/>
                  <a:pt x="855" y="294"/>
                  <a:pt x="855" y="294"/>
                </a:cubicBezTo>
                <a:cubicBezTo>
                  <a:pt x="855" y="294"/>
                  <a:pt x="854" y="294"/>
                  <a:pt x="855" y="294"/>
                </a:cubicBezTo>
                <a:cubicBezTo>
                  <a:pt x="854" y="293"/>
                  <a:pt x="854" y="294"/>
                  <a:pt x="854" y="294"/>
                </a:cubicBezTo>
                <a:close/>
                <a:moveTo>
                  <a:pt x="851" y="295"/>
                </a:moveTo>
                <a:cubicBezTo>
                  <a:pt x="851" y="295"/>
                  <a:pt x="851" y="295"/>
                  <a:pt x="850" y="296"/>
                </a:cubicBezTo>
                <a:cubicBezTo>
                  <a:pt x="851" y="296"/>
                  <a:pt x="851" y="295"/>
                  <a:pt x="851" y="296"/>
                </a:cubicBezTo>
                <a:cubicBezTo>
                  <a:pt x="851" y="295"/>
                  <a:pt x="851" y="295"/>
                  <a:pt x="851" y="295"/>
                </a:cubicBezTo>
                <a:close/>
                <a:moveTo>
                  <a:pt x="853" y="295"/>
                </a:moveTo>
                <a:cubicBezTo>
                  <a:pt x="853" y="295"/>
                  <a:pt x="853" y="295"/>
                  <a:pt x="853" y="295"/>
                </a:cubicBezTo>
                <a:cubicBezTo>
                  <a:pt x="852" y="295"/>
                  <a:pt x="853" y="295"/>
                  <a:pt x="852" y="295"/>
                </a:cubicBezTo>
                <a:cubicBezTo>
                  <a:pt x="853" y="295"/>
                  <a:pt x="853" y="295"/>
                  <a:pt x="853" y="295"/>
                </a:cubicBezTo>
                <a:cubicBezTo>
                  <a:pt x="853" y="296"/>
                  <a:pt x="853" y="296"/>
                  <a:pt x="853" y="296"/>
                </a:cubicBezTo>
                <a:cubicBezTo>
                  <a:pt x="853" y="295"/>
                  <a:pt x="853" y="295"/>
                  <a:pt x="853" y="295"/>
                </a:cubicBezTo>
                <a:cubicBezTo>
                  <a:pt x="853" y="295"/>
                  <a:pt x="853" y="295"/>
                  <a:pt x="853" y="295"/>
                </a:cubicBezTo>
                <a:close/>
                <a:moveTo>
                  <a:pt x="851" y="298"/>
                </a:moveTo>
                <a:cubicBezTo>
                  <a:pt x="851" y="297"/>
                  <a:pt x="851" y="298"/>
                  <a:pt x="851" y="297"/>
                </a:cubicBezTo>
                <a:cubicBezTo>
                  <a:pt x="850" y="297"/>
                  <a:pt x="851" y="298"/>
                  <a:pt x="851" y="298"/>
                </a:cubicBezTo>
                <a:cubicBezTo>
                  <a:pt x="851" y="298"/>
                  <a:pt x="851" y="298"/>
                  <a:pt x="851" y="298"/>
                </a:cubicBezTo>
                <a:close/>
                <a:moveTo>
                  <a:pt x="853" y="303"/>
                </a:moveTo>
                <a:cubicBezTo>
                  <a:pt x="853" y="303"/>
                  <a:pt x="853" y="303"/>
                  <a:pt x="852" y="303"/>
                </a:cubicBezTo>
                <a:cubicBezTo>
                  <a:pt x="852" y="303"/>
                  <a:pt x="852" y="303"/>
                  <a:pt x="852" y="303"/>
                </a:cubicBezTo>
                <a:cubicBezTo>
                  <a:pt x="853" y="303"/>
                  <a:pt x="853" y="303"/>
                  <a:pt x="853" y="304"/>
                </a:cubicBezTo>
                <a:cubicBezTo>
                  <a:pt x="853" y="304"/>
                  <a:pt x="853" y="303"/>
                  <a:pt x="853" y="304"/>
                </a:cubicBezTo>
                <a:cubicBezTo>
                  <a:pt x="853" y="303"/>
                  <a:pt x="853" y="303"/>
                  <a:pt x="853" y="303"/>
                </a:cubicBezTo>
                <a:close/>
                <a:moveTo>
                  <a:pt x="843" y="305"/>
                </a:moveTo>
                <a:cubicBezTo>
                  <a:pt x="843" y="305"/>
                  <a:pt x="843" y="304"/>
                  <a:pt x="843" y="304"/>
                </a:cubicBezTo>
                <a:cubicBezTo>
                  <a:pt x="842" y="304"/>
                  <a:pt x="843" y="305"/>
                  <a:pt x="843" y="305"/>
                </a:cubicBezTo>
                <a:cubicBezTo>
                  <a:pt x="843" y="305"/>
                  <a:pt x="843" y="305"/>
                  <a:pt x="843" y="305"/>
                </a:cubicBezTo>
                <a:cubicBezTo>
                  <a:pt x="844" y="305"/>
                  <a:pt x="843" y="304"/>
                  <a:pt x="843" y="305"/>
                </a:cubicBezTo>
                <a:close/>
                <a:moveTo>
                  <a:pt x="826" y="307"/>
                </a:moveTo>
                <a:cubicBezTo>
                  <a:pt x="827" y="307"/>
                  <a:pt x="827" y="306"/>
                  <a:pt x="827" y="306"/>
                </a:cubicBezTo>
                <a:cubicBezTo>
                  <a:pt x="827" y="306"/>
                  <a:pt x="827" y="306"/>
                  <a:pt x="826" y="306"/>
                </a:cubicBezTo>
                <a:cubicBezTo>
                  <a:pt x="826" y="306"/>
                  <a:pt x="826" y="306"/>
                  <a:pt x="827" y="306"/>
                </a:cubicBezTo>
                <a:cubicBezTo>
                  <a:pt x="827" y="306"/>
                  <a:pt x="826" y="306"/>
                  <a:pt x="826" y="307"/>
                </a:cubicBezTo>
                <a:close/>
                <a:moveTo>
                  <a:pt x="850" y="311"/>
                </a:moveTo>
                <a:cubicBezTo>
                  <a:pt x="850" y="311"/>
                  <a:pt x="850" y="311"/>
                  <a:pt x="850" y="310"/>
                </a:cubicBezTo>
                <a:cubicBezTo>
                  <a:pt x="850" y="310"/>
                  <a:pt x="850" y="311"/>
                  <a:pt x="849" y="311"/>
                </a:cubicBezTo>
                <a:cubicBezTo>
                  <a:pt x="850" y="311"/>
                  <a:pt x="849" y="312"/>
                  <a:pt x="849" y="312"/>
                </a:cubicBezTo>
                <a:cubicBezTo>
                  <a:pt x="849" y="312"/>
                  <a:pt x="850" y="311"/>
                  <a:pt x="850" y="311"/>
                </a:cubicBezTo>
                <a:close/>
                <a:moveTo>
                  <a:pt x="848" y="312"/>
                </a:moveTo>
                <a:cubicBezTo>
                  <a:pt x="848" y="312"/>
                  <a:pt x="849" y="312"/>
                  <a:pt x="848" y="312"/>
                </a:cubicBezTo>
                <a:cubicBezTo>
                  <a:pt x="848" y="312"/>
                  <a:pt x="848" y="312"/>
                  <a:pt x="848" y="313"/>
                </a:cubicBezTo>
                <a:cubicBezTo>
                  <a:pt x="849" y="313"/>
                  <a:pt x="847" y="314"/>
                  <a:pt x="847" y="314"/>
                </a:cubicBezTo>
                <a:cubicBezTo>
                  <a:pt x="847" y="314"/>
                  <a:pt x="848" y="314"/>
                  <a:pt x="848" y="315"/>
                </a:cubicBezTo>
                <a:cubicBezTo>
                  <a:pt x="848" y="314"/>
                  <a:pt x="847" y="314"/>
                  <a:pt x="848" y="314"/>
                </a:cubicBezTo>
                <a:cubicBezTo>
                  <a:pt x="848" y="313"/>
                  <a:pt x="849" y="313"/>
                  <a:pt x="849" y="312"/>
                </a:cubicBezTo>
                <a:cubicBezTo>
                  <a:pt x="849" y="312"/>
                  <a:pt x="849" y="312"/>
                  <a:pt x="848" y="312"/>
                </a:cubicBezTo>
                <a:close/>
                <a:moveTo>
                  <a:pt x="849" y="314"/>
                </a:moveTo>
                <a:cubicBezTo>
                  <a:pt x="850" y="313"/>
                  <a:pt x="850" y="312"/>
                  <a:pt x="851" y="312"/>
                </a:cubicBezTo>
                <a:cubicBezTo>
                  <a:pt x="850" y="312"/>
                  <a:pt x="849" y="313"/>
                  <a:pt x="849" y="314"/>
                </a:cubicBezTo>
                <a:close/>
                <a:moveTo>
                  <a:pt x="847" y="316"/>
                </a:moveTo>
                <a:cubicBezTo>
                  <a:pt x="847" y="317"/>
                  <a:pt x="847" y="317"/>
                  <a:pt x="846" y="317"/>
                </a:cubicBezTo>
                <a:cubicBezTo>
                  <a:pt x="847" y="317"/>
                  <a:pt x="847" y="317"/>
                  <a:pt x="847" y="316"/>
                </a:cubicBezTo>
                <a:close/>
                <a:moveTo>
                  <a:pt x="845" y="320"/>
                </a:moveTo>
                <a:cubicBezTo>
                  <a:pt x="844" y="320"/>
                  <a:pt x="843" y="321"/>
                  <a:pt x="843" y="322"/>
                </a:cubicBezTo>
                <a:cubicBezTo>
                  <a:pt x="844" y="322"/>
                  <a:pt x="843" y="321"/>
                  <a:pt x="844" y="321"/>
                </a:cubicBezTo>
                <a:cubicBezTo>
                  <a:pt x="843" y="321"/>
                  <a:pt x="844" y="321"/>
                  <a:pt x="844" y="320"/>
                </a:cubicBezTo>
                <a:cubicBezTo>
                  <a:pt x="845" y="320"/>
                  <a:pt x="845" y="321"/>
                  <a:pt x="845" y="321"/>
                </a:cubicBezTo>
                <a:cubicBezTo>
                  <a:pt x="844" y="320"/>
                  <a:pt x="844" y="320"/>
                  <a:pt x="845" y="320"/>
                </a:cubicBezTo>
                <a:close/>
                <a:moveTo>
                  <a:pt x="846" y="320"/>
                </a:moveTo>
                <a:cubicBezTo>
                  <a:pt x="845" y="320"/>
                  <a:pt x="845" y="321"/>
                  <a:pt x="845" y="321"/>
                </a:cubicBezTo>
                <a:cubicBezTo>
                  <a:pt x="845" y="321"/>
                  <a:pt x="845" y="321"/>
                  <a:pt x="846" y="321"/>
                </a:cubicBezTo>
                <a:cubicBezTo>
                  <a:pt x="845" y="320"/>
                  <a:pt x="845" y="320"/>
                  <a:pt x="846" y="320"/>
                </a:cubicBezTo>
                <a:close/>
                <a:moveTo>
                  <a:pt x="842" y="323"/>
                </a:moveTo>
                <a:cubicBezTo>
                  <a:pt x="843" y="324"/>
                  <a:pt x="843" y="323"/>
                  <a:pt x="843" y="322"/>
                </a:cubicBezTo>
                <a:cubicBezTo>
                  <a:pt x="842" y="322"/>
                  <a:pt x="842" y="323"/>
                  <a:pt x="842" y="323"/>
                </a:cubicBezTo>
                <a:close/>
                <a:moveTo>
                  <a:pt x="838" y="329"/>
                </a:moveTo>
                <a:cubicBezTo>
                  <a:pt x="838" y="329"/>
                  <a:pt x="838" y="329"/>
                  <a:pt x="838" y="330"/>
                </a:cubicBezTo>
                <a:cubicBezTo>
                  <a:pt x="838" y="330"/>
                  <a:pt x="838" y="330"/>
                  <a:pt x="838" y="330"/>
                </a:cubicBezTo>
                <a:cubicBezTo>
                  <a:pt x="838" y="329"/>
                  <a:pt x="838" y="329"/>
                  <a:pt x="838" y="329"/>
                </a:cubicBezTo>
                <a:close/>
                <a:moveTo>
                  <a:pt x="837" y="334"/>
                </a:moveTo>
                <a:cubicBezTo>
                  <a:pt x="837" y="334"/>
                  <a:pt x="837" y="334"/>
                  <a:pt x="838" y="334"/>
                </a:cubicBezTo>
                <a:cubicBezTo>
                  <a:pt x="837" y="333"/>
                  <a:pt x="837" y="333"/>
                  <a:pt x="837" y="333"/>
                </a:cubicBezTo>
                <a:cubicBezTo>
                  <a:pt x="837" y="333"/>
                  <a:pt x="838" y="334"/>
                  <a:pt x="837" y="334"/>
                </a:cubicBezTo>
                <a:close/>
                <a:moveTo>
                  <a:pt x="834" y="338"/>
                </a:moveTo>
                <a:cubicBezTo>
                  <a:pt x="834" y="338"/>
                  <a:pt x="834" y="338"/>
                  <a:pt x="835" y="338"/>
                </a:cubicBezTo>
                <a:cubicBezTo>
                  <a:pt x="835" y="338"/>
                  <a:pt x="835" y="338"/>
                  <a:pt x="835" y="337"/>
                </a:cubicBezTo>
                <a:cubicBezTo>
                  <a:pt x="834" y="337"/>
                  <a:pt x="835" y="338"/>
                  <a:pt x="834" y="338"/>
                </a:cubicBezTo>
                <a:close/>
                <a:moveTo>
                  <a:pt x="832" y="344"/>
                </a:moveTo>
                <a:cubicBezTo>
                  <a:pt x="832" y="344"/>
                  <a:pt x="832" y="344"/>
                  <a:pt x="832" y="344"/>
                </a:cubicBezTo>
                <a:cubicBezTo>
                  <a:pt x="832" y="344"/>
                  <a:pt x="832" y="344"/>
                  <a:pt x="831" y="344"/>
                </a:cubicBezTo>
                <a:cubicBezTo>
                  <a:pt x="831" y="344"/>
                  <a:pt x="831" y="344"/>
                  <a:pt x="831" y="344"/>
                </a:cubicBezTo>
                <a:cubicBezTo>
                  <a:pt x="832" y="345"/>
                  <a:pt x="831" y="345"/>
                  <a:pt x="831" y="346"/>
                </a:cubicBezTo>
                <a:cubicBezTo>
                  <a:pt x="831" y="346"/>
                  <a:pt x="831" y="346"/>
                  <a:pt x="831" y="346"/>
                </a:cubicBezTo>
                <a:cubicBezTo>
                  <a:pt x="831" y="345"/>
                  <a:pt x="832" y="345"/>
                  <a:pt x="832" y="345"/>
                </a:cubicBezTo>
                <a:cubicBezTo>
                  <a:pt x="832" y="345"/>
                  <a:pt x="832" y="345"/>
                  <a:pt x="832" y="345"/>
                </a:cubicBezTo>
                <a:cubicBezTo>
                  <a:pt x="832" y="345"/>
                  <a:pt x="832" y="344"/>
                  <a:pt x="832" y="344"/>
                </a:cubicBezTo>
                <a:close/>
                <a:moveTo>
                  <a:pt x="824" y="364"/>
                </a:moveTo>
                <a:cubicBezTo>
                  <a:pt x="823" y="364"/>
                  <a:pt x="824" y="366"/>
                  <a:pt x="823" y="366"/>
                </a:cubicBezTo>
                <a:cubicBezTo>
                  <a:pt x="823" y="366"/>
                  <a:pt x="823" y="366"/>
                  <a:pt x="823" y="366"/>
                </a:cubicBezTo>
                <a:cubicBezTo>
                  <a:pt x="823" y="365"/>
                  <a:pt x="824" y="365"/>
                  <a:pt x="824" y="364"/>
                </a:cubicBezTo>
                <a:close/>
                <a:moveTo>
                  <a:pt x="819" y="381"/>
                </a:moveTo>
                <a:cubicBezTo>
                  <a:pt x="819" y="380"/>
                  <a:pt x="819" y="379"/>
                  <a:pt x="819" y="379"/>
                </a:cubicBezTo>
                <a:cubicBezTo>
                  <a:pt x="819" y="379"/>
                  <a:pt x="819" y="380"/>
                  <a:pt x="819" y="381"/>
                </a:cubicBezTo>
                <a:close/>
                <a:moveTo>
                  <a:pt x="814" y="390"/>
                </a:moveTo>
                <a:cubicBezTo>
                  <a:pt x="814" y="390"/>
                  <a:pt x="814" y="389"/>
                  <a:pt x="814" y="389"/>
                </a:cubicBezTo>
                <a:cubicBezTo>
                  <a:pt x="814" y="390"/>
                  <a:pt x="814" y="390"/>
                  <a:pt x="814" y="391"/>
                </a:cubicBezTo>
                <a:cubicBezTo>
                  <a:pt x="814" y="391"/>
                  <a:pt x="814" y="390"/>
                  <a:pt x="814" y="390"/>
                </a:cubicBezTo>
                <a:cubicBezTo>
                  <a:pt x="814" y="389"/>
                  <a:pt x="814" y="390"/>
                  <a:pt x="814" y="390"/>
                </a:cubicBezTo>
                <a:close/>
                <a:moveTo>
                  <a:pt x="777" y="377"/>
                </a:moveTo>
                <a:cubicBezTo>
                  <a:pt x="777" y="377"/>
                  <a:pt x="777" y="377"/>
                  <a:pt x="777" y="377"/>
                </a:cubicBezTo>
                <a:cubicBezTo>
                  <a:pt x="777" y="378"/>
                  <a:pt x="777" y="378"/>
                  <a:pt x="777" y="378"/>
                </a:cubicBezTo>
                <a:cubicBezTo>
                  <a:pt x="778" y="378"/>
                  <a:pt x="778" y="378"/>
                  <a:pt x="778" y="378"/>
                </a:cubicBezTo>
                <a:cubicBezTo>
                  <a:pt x="778" y="378"/>
                  <a:pt x="777" y="378"/>
                  <a:pt x="777" y="377"/>
                </a:cubicBezTo>
                <a:close/>
                <a:moveTo>
                  <a:pt x="770" y="322"/>
                </a:moveTo>
                <a:cubicBezTo>
                  <a:pt x="770" y="323"/>
                  <a:pt x="769" y="322"/>
                  <a:pt x="769" y="322"/>
                </a:cubicBezTo>
                <a:cubicBezTo>
                  <a:pt x="769" y="322"/>
                  <a:pt x="769" y="322"/>
                  <a:pt x="769" y="322"/>
                </a:cubicBezTo>
                <a:cubicBezTo>
                  <a:pt x="769" y="322"/>
                  <a:pt x="769" y="322"/>
                  <a:pt x="769" y="322"/>
                </a:cubicBezTo>
                <a:cubicBezTo>
                  <a:pt x="770" y="323"/>
                  <a:pt x="770" y="323"/>
                  <a:pt x="771" y="323"/>
                </a:cubicBezTo>
                <a:cubicBezTo>
                  <a:pt x="771" y="323"/>
                  <a:pt x="771" y="323"/>
                  <a:pt x="770" y="322"/>
                </a:cubicBezTo>
                <a:close/>
                <a:moveTo>
                  <a:pt x="729" y="350"/>
                </a:moveTo>
                <a:cubicBezTo>
                  <a:pt x="729" y="350"/>
                  <a:pt x="729" y="350"/>
                  <a:pt x="729" y="350"/>
                </a:cubicBezTo>
                <a:cubicBezTo>
                  <a:pt x="730" y="350"/>
                  <a:pt x="730" y="350"/>
                  <a:pt x="730" y="350"/>
                </a:cubicBezTo>
                <a:cubicBezTo>
                  <a:pt x="730" y="350"/>
                  <a:pt x="730" y="350"/>
                  <a:pt x="730" y="350"/>
                </a:cubicBezTo>
                <a:cubicBezTo>
                  <a:pt x="730" y="350"/>
                  <a:pt x="730" y="350"/>
                  <a:pt x="729" y="350"/>
                </a:cubicBezTo>
                <a:close/>
                <a:moveTo>
                  <a:pt x="727" y="347"/>
                </a:moveTo>
                <a:cubicBezTo>
                  <a:pt x="727" y="347"/>
                  <a:pt x="727" y="348"/>
                  <a:pt x="727" y="347"/>
                </a:cubicBezTo>
                <a:cubicBezTo>
                  <a:pt x="727" y="347"/>
                  <a:pt x="727" y="347"/>
                  <a:pt x="728" y="347"/>
                </a:cubicBezTo>
                <a:cubicBezTo>
                  <a:pt x="728" y="346"/>
                  <a:pt x="727" y="348"/>
                  <a:pt x="727" y="347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323591" name="Freeform 17"/>
          <p:cNvSpPr>
            <a:spLocks noChangeAspect="1"/>
          </p:cNvSpPr>
          <p:nvPr/>
        </p:nvSpPr>
        <p:spPr bwMode="auto">
          <a:xfrm flipH="1">
            <a:off x="1393032" y="4970860"/>
            <a:ext cx="1460897" cy="341709"/>
          </a:xfrm>
          <a:custGeom>
            <a:avLst/>
            <a:gdLst>
              <a:gd name="T0" fmla="*/ 2147483646 w 917"/>
              <a:gd name="T1" fmla="*/ 2147483646 h 215"/>
              <a:gd name="T2" fmla="*/ 2147483646 w 917"/>
              <a:gd name="T3" fmla="*/ 2147483646 h 215"/>
              <a:gd name="T4" fmla="*/ 2147483646 w 917"/>
              <a:gd name="T5" fmla="*/ 2147483646 h 215"/>
              <a:gd name="T6" fmla="*/ 2147483646 w 917"/>
              <a:gd name="T7" fmla="*/ 2147483646 h 215"/>
              <a:gd name="T8" fmla="*/ 2147483646 w 917"/>
              <a:gd name="T9" fmla="*/ 2147483646 h 215"/>
              <a:gd name="T10" fmla="*/ 2147483646 w 917"/>
              <a:gd name="T11" fmla="*/ 2147483646 h 215"/>
              <a:gd name="T12" fmla="*/ 2147483646 w 917"/>
              <a:gd name="T13" fmla="*/ 2147483646 h 215"/>
              <a:gd name="T14" fmla="*/ 2147483646 w 917"/>
              <a:gd name="T15" fmla="*/ 2147483646 h 215"/>
              <a:gd name="T16" fmla="*/ 2147483646 w 917"/>
              <a:gd name="T17" fmla="*/ 2147483646 h 215"/>
              <a:gd name="T18" fmla="*/ 2147483646 w 917"/>
              <a:gd name="T19" fmla="*/ 2147483646 h 215"/>
              <a:gd name="T20" fmla="*/ 2147483646 w 917"/>
              <a:gd name="T21" fmla="*/ 2147483646 h 215"/>
              <a:gd name="T22" fmla="*/ 2147483646 w 917"/>
              <a:gd name="T23" fmla="*/ 2147483646 h 215"/>
              <a:gd name="T24" fmla="*/ 2147483646 w 917"/>
              <a:gd name="T25" fmla="*/ 2147483646 h 215"/>
              <a:gd name="T26" fmla="*/ 2147483646 w 917"/>
              <a:gd name="T27" fmla="*/ 2147483646 h 215"/>
              <a:gd name="T28" fmla="*/ 2147483646 w 917"/>
              <a:gd name="T29" fmla="*/ 2147483646 h 215"/>
              <a:gd name="T30" fmla="*/ 2147483646 w 917"/>
              <a:gd name="T31" fmla="*/ 2147483646 h 215"/>
              <a:gd name="T32" fmla="*/ 2147483646 w 917"/>
              <a:gd name="T33" fmla="*/ 2147483646 h 215"/>
              <a:gd name="T34" fmla="*/ 2147483646 w 917"/>
              <a:gd name="T35" fmla="*/ 2147483646 h 215"/>
              <a:gd name="T36" fmla="*/ 2147483646 w 917"/>
              <a:gd name="T37" fmla="*/ 2147483646 h 215"/>
              <a:gd name="T38" fmla="*/ 2147483646 w 917"/>
              <a:gd name="T39" fmla="*/ 2147483646 h 215"/>
              <a:gd name="T40" fmla="*/ 2147483646 w 917"/>
              <a:gd name="T41" fmla="*/ 2147483646 h 215"/>
              <a:gd name="T42" fmla="*/ 2147483646 w 917"/>
              <a:gd name="T43" fmla="*/ 2147483646 h 215"/>
              <a:gd name="T44" fmla="*/ 2147483646 w 917"/>
              <a:gd name="T45" fmla="*/ 2147483646 h 21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917" h="215">
                <a:moveTo>
                  <a:pt x="912" y="163"/>
                </a:moveTo>
                <a:cubicBezTo>
                  <a:pt x="887" y="123"/>
                  <a:pt x="870" y="78"/>
                  <a:pt x="860" y="32"/>
                </a:cubicBezTo>
                <a:cubicBezTo>
                  <a:pt x="857" y="18"/>
                  <a:pt x="840" y="7"/>
                  <a:pt x="827" y="3"/>
                </a:cubicBezTo>
                <a:cubicBezTo>
                  <a:pt x="817" y="0"/>
                  <a:pt x="802" y="1"/>
                  <a:pt x="805" y="15"/>
                </a:cubicBezTo>
                <a:cubicBezTo>
                  <a:pt x="812" y="47"/>
                  <a:pt x="823" y="79"/>
                  <a:pt x="836" y="109"/>
                </a:cubicBezTo>
                <a:cubicBezTo>
                  <a:pt x="833" y="107"/>
                  <a:pt x="831" y="105"/>
                  <a:pt x="828" y="104"/>
                </a:cubicBezTo>
                <a:cubicBezTo>
                  <a:pt x="781" y="80"/>
                  <a:pt x="729" y="66"/>
                  <a:pt x="678" y="54"/>
                </a:cubicBezTo>
                <a:cubicBezTo>
                  <a:pt x="602" y="35"/>
                  <a:pt x="526" y="22"/>
                  <a:pt x="448" y="14"/>
                </a:cubicBezTo>
                <a:cubicBezTo>
                  <a:pt x="369" y="5"/>
                  <a:pt x="287" y="3"/>
                  <a:pt x="207" y="13"/>
                </a:cubicBezTo>
                <a:cubicBezTo>
                  <a:pt x="143" y="21"/>
                  <a:pt x="74" y="38"/>
                  <a:pt x="22" y="80"/>
                </a:cubicBezTo>
                <a:cubicBezTo>
                  <a:pt x="21" y="80"/>
                  <a:pt x="20" y="81"/>
                  <a:pt x="19" y="82"/>
                </a:cubicBezTo>
                <a:cubicBezTo>
                  <a:pt x="0" y="98"/>
                  <a:pt x="50" y="137"/>
                  <a:pt x="66" y="123"/>
                </a:cubicBezTo>
                <a:cubicBezTo>
                  <a:pt x="114" y="82"/>
                  <a:pt x="178" y="66"/>
                  <a:pt x="240" y="58"/>
                </a:cubicBezTo>
                <a:cubicBezTo>
                  <a:pt x="315" y="47"/>
                  <a:pt x="392" y="50"/>
                  <a:pt x="468" y="57"/>
                </a:cubicBezTo>
                <a:cubicBezTo>
                  <a:pt x="541" y="64"/>
                  <a:pt x="614" y="77"/>
                  <a:pt x="685" y="94"/>
                </a:cubicBezTo>
                <a:cubicBezTo>
                  <a:pt x="714" y="101"/>
                  <a:pt x="742" y="109"/>
                  <a:pt x="770" y="118"/>
                </a:cubicBezTo>
                <a:cubicBezTo>
                  <a:pt x="795" y="126"/>
                  <a:pt x="806" y="129"/>
                  <a:pt x="825" y="139"/>
                </a:cubicBezTo>
                <a:cubicBezTo>
                  <a:pt x="828" y="140"/>
                  <a:pt x="833" y="142"/>
                  <a:pt x="838" y="143"/>
                </a:cubicBezTo>
                <a:cubicBezTo>
                  <a:pt x="806" y="150"/>
                  <a:pt x="774" y="159"/>
                  <a:pt x="743" y="169"/>
                </a:cubicBezTo>
                <a:cubicBezTo>
                  <a:pt x="730" y="173"/>
                  <a:pt x="746" y="194"/>
                  <a:pt x="751" y="198"/>
                </a:cubicBezTo>
                <a:cubicBezTo>
                  <a:pt x="761" y="207"/>
                  <a:pt x="776" y="215"/>
                  <a:pt x="790" y="210"/>
                </a:cubicBezTo>
                <a:cubicBezTo>
                  <a:pt x="827" y="198"/>
                  <a:pt x="866" y="189"/>
                  <a:pt x="905" y="182"/>
                </a:cubicBezTo>
                <a:cubicBezTo>
                  <a:pt x="915" y="180"/>
                  <a:pt x="917" y="171"/>
                  <a:pt x="912" y="163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s-AR" sz="1350"/>
          </a:p>
        </p:txBody>
      </p:sp>
      <p:sp>
        <p:nvSpPr>
          <p:cNvPr id="323592" name="Freeform 17"/>
          <p:cNvSpPr>
            <a:spLocks noChangeAspect="1"/>
          </p:cNvSpPr>
          <p:nvPr/>
        </p:nvSpPr>
        <p:spPr bwMode="auto">
          <a:xfrm flipH="1" flipV="1">
            <a:off x="1371601" y="5429250"/>
            <a:ext cx="1460897" cy="341710"/>
          </a:xfrm>
          <a:custGeom>
            <a:avLst/>
            <a:gdLst>
              <a:gd name="T0" fmla="*/ 2147483646 w 917"/>
              <a:gd name="T1" fmla="*/ 2147483646 h 215"/>
              <a:gd name="T2" fmla="*/ 2147483646 w 917"/>
              <a:gd name="T3" fmla="*/ 2147483646 h 215"/>
              <a:gd name="T4" fmla="*/ 2147483646 w 917"/>
              <a:gd name="T5" fmla="*/ 2147483646 h 215"/>
              <a:gd name="T6" fmla="*/ 2147483646 w 917"/>
              <a:gd name="T7" fmla="*/ 2147483646 h 215"/>
              <a:gd name="T8" fmla="*/ 2147483646 w 917"/>
              <a:gd name="T9" fmla="*/ 2147483646 h 215"/>
              <a:gd name="T10" fmla="*/ 2147483646 w 917"/>
              <a:gd name="T11" fmla="*/ 2147483646 h 215"/>
              <a:gd name="T12" fmla="*/ 2147483646 w 917"/>
              <a:gd name="T13" fmla="*/ 2147483646 h 215"/>
              <a:gd name="T14" fmla="*/ 2147483646 w 917"/>
              <a:gd name="T15" fmla="*/ 2147483646 h 215"/>
              <a:gd name="T16" fmla="*/ 2147483646 w 917"/>
              <a:gd name="T17" fmla="*/ 2147483646 h 215"/>
              <a:gd name="T18" fmla="*/ 2147483646 w 917"/>
              <a:gd name="T19" fmla="*/ 2147483646 h 215"/>
              <a:gd name="T20" fmla="*/ 2147483646 w 917"/>
              <a:gd name="T21" fmla="*/ 2147483646 h 215"/>
              <a:gd name="T22" fmla="*/ 2147483646 w 917"/>
              <a:gd name="T23" fmla="*/ 2147483646 h 215"/>
              <a:gd name="T24" fmla="*/ 2147483646 w 917"/>
              <a:gd name="T25" fmla="*/ 2147483646 h 215"/>
              <a:gd name="T26" fmla="*/ 2147483646 w 917"/>
              <a:gd name="T27" fmla="*/ 2147483646 h 215"/>
              <a:gd name="T28" fmla="*/ 2147483646 w 917"/>
              <a:gd name="T29" fmla="*/ 2147483646 h 215"/>
              <a:gd name="T30" fmla="*/ 2147483646 w 917"/>
              <a:gd name="T31" fmla="*/ 2147483646 h 215"/>
              <a:gd name="T32" fmla="*/ 2147483646 w 917"/>
              <a:gd name="T33" fmla="*/ 2147483646 h 215"/>
              <a:gd name="T34" fmla="*/ 2147483646 w 917"/>
              <a:gd name="T35" fmla="*/ 2147483646 h 215"/>
              <a:gd name="T36" fmla="*/ 2147483646 w 917"/>
              <a:gd name="T37" fmla="*/ 2147483646 h 215"/>
              <a:gd name="T38" fmla="*/ 2147483646 w 917"/>
              <a:gd name="T39" fmla="*/ 2147483646 h 215"/>
              <a:gd name="T40" fmla="*/ 2147483646 w 917"/>
              <a:gd name="T41" fmla="*/ 2147483646 h 215"/>
              <a:gd name="T42" fmla="*/ 2147483646 w 917"/>
              <a:gd name="T43" fmla="*/ 2147483646 h 215"/>
              <a:gd name="T44" fmla="*/ 2147483646 w 917"/>
              <a:gd name="T45" fmla="*/ 2147483646 h 21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917" h="215">
                <a:moveTo>
                  <a:pt x="912" y="163"/>
                </a:moveTo>
                <a:cubicBezTo>
                  <a:pt x="887" y="123"/>
                  <a:pt x="870" y="78"/>
                  <a:pt x="860" y="32"/>
                </a:cubicBezTo>
                <a:cubicBezTo>
                  <a:pt x="857" y="18"/>
                  <a:pt x="840" y="7"/>
                  <a:pt x="827" y="3"/>
                </a:cubicBezTo>
                <a:cubicBezTo>
                  <a:pt x="817" y="0"/>
                  <a:pt x="802" y="1"/>
                  <a:pt x="805" y="15"/>
                </a:cubicBezTo>
                <a:cubicBezTo>
                  <a:pt x="812" y="47"/>
                  <a:pt x="823" y="79"/>
                  <a:pt x="836" y="109"/>
                </a:cubicBezTo>
                <a:cubicBezTo>
                  <a:pt x="833" y="107"/>
                  <a:pt x="831" y="105"/>
                  <a:pt x="828" y="104"/>
                </a:cubicBezTo>
                <a:cubicBezTo>
                  <a:pt x="781" y="80"/>
                  <a:pt x="729" y="66"/>
                  <a:pt x="678" y="54"/>
                </a:cubicBezTo>
                <a:cubicBezTo>
                  <a:pt x="602" y="35"/>
                  <a:pt x="526" y="22"/>
                  <a:pt x="448" y="14"/>
                </a:cubicBezTo>
                <a:cubicBezTo>
                  <a:pt x="369" y="5"/>
                  <a:pt x="287" y="3"/>
                  <a:pt x="207" y="13"/>
                </a:cubicBezTo>
                <a:cubicBezTo>
                  <a:pt x="143" y="21"/>
                  <a:pt x="74" y="38"/>
                  <a:pt x="22" y="80"/>
                </a:cubicBezTo>
                <a:cubicBezTo>
                  <a:pt x="21" y="80"/>
                  <a:pt x="20" y="81"/>
                  <a:pt x="19" y="82"/>
                </a:cubicBezTo>
                <a:cubicBezTo>
                  <a:pt x="0" y="98"/>
                  <a:pt x="50" y="137"/>
                  <a:pt x="66" y="123"/>
                </a:cubicBezTo>
                <a:cubicBezTo>
                  <a:pt x="114" y="82"/>
                  <a:pt x="178" y="66"/>
                  <a:pt x="240" y="58"/>
                </a:cubicBezTo>
                <a:cubicBezTo>
                  <a:pt x="315" y="47"/>
                  <a:pt x="392" y="50"/>
                  <a:pt x="468" y="57"/>
                </a:cubicBezTo>
                <a:cubicBezTo>
                  <a:pt x="541" y="64"/>
                  <a:pt x="614" y="77"/>
                  <a:pt x="685" y="94"/>
                </a:cubicBezTo>
                <a:cubicBezTo>
                  <a:pt x="714" y="101"/>
                  <a:pt x="742" y="109"/>
                  <a:pt x="770" y="118"/>
                </a:cubicBezTo>
                <a:cubicBezTo>
                  <a:pt x="795" y="126"/>
                  <a:pt x="806" y="129"/>
                  <a:pt x="825" y="139"/>
                </a:cubicBezTo>
                <a:cubicBezTo>
                  <a:pt x="828" y="140"/>
                  <a:pt x="833" y="142"/>
                  <a:pt x="838" y="143"/>
                </a:cubicBezTo>
                <a:cubicBezTo>
                  <a:pt x="806" y="150"/>
                  <a:pt x="774" y="159"/>
                  <a:pt x="743" y="169"/>
                </a:cubicBezTo>
                <a:cubicBezTo>
                  <a:pt x="730" y="173"/>
                  <a:pt x="746" y="194"/>
                  <a:pt x="751" y="198"/>
                </a:cubicBezTo>
                <a:cubicBezTo>
                  <a:pt x="761" y="207"/>
                  <a:pt x="776" y="215"/>
                  <a:pt x="790" y="210"/>
                </a:cubicBezTo>
                <a:cubicBezTo>
                  <a:pt x="827" y="198"/>
                  <a:pt x="866" y="189"/>
                  <a:pt x="905" y="182"/>
                </a:cubicBezTo>
                <a:cubicBezTo>
                  <a:pt x="915" y="180"/>
                  <a:pt x="917" y="171"/>
                  <a:pt x="912" y="163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s-AR" sz="1350"/>
          </a:p>
        </p:txBody>
      </p:sp>
      <p:sp>
        <p:nvSpPr>
          <p:cNvPr id="323593" name="Freeform 17"/>
          <p:cNvSpPr>
            <a:spLocks noChangeAspect="1"/>
          </p:cNvSpPr>
          <p:nvPr/>
        </p:nvSpPr>
        <p:spPr bwMode="auto">
          <a:xfrm flipV="1">
            <a:off x="1391841" y="4436269"/>
            <a:ext cx="1460897" cy="341710"/>
          </a:xfrm>
          <a:custGeom>
            <a:avLst/>
            <a:gdLst>
              <a:gd name="T0" fmla="*/ 2147483646 w 917"/>
              <a:gd name="T1" fmla="*/ 2147483646 h 215"/>
              <a:gd name="T2" fmla="*/ 2147483646 w 917"/>
              <a:gd name="T3" fmla="*/ 2147483646 h 215"/>
              <a:gd name="T4" fmla="*/ 2147483646 w 917"/>
              <a:gd name="T5" fmla="*/ 2147483646 h 215"/>
              <a:gd name="T6" fmla="*/ 2147483646 w 917"/>
              <a:gd name="T7" fmla="*/ 2147483646 h 215"/>
              <a:gd name="T8" fmla="*/ 2147483646 w 917"/>
              <a:gd name="T9" fmla="*/ 2147483646 h 215"/>
              <a:gd name="T10" fmla="*/ 2147483646 w 917"/>
              <a:gd name="T11" fmla="*/ 2147483646 h 215"/>
              <a:gd name="T12" fmla="*/ 2147483646 w 917"/>
              <a:gd name="T13" fmla="*/ 2147483646 h 215"/>
              <a:gd name="T14" fmla="*/ 2147483646 w 917"/>
              <a:gd name="T15" fmla="*/ 2147483646 h 215"/>
              <a:gd name="T16" fmla="*/ 2147483646 w 917"/>
              <a:gd name="T17" fmla="*/ 2147483646 h 215"/>
              <a:gd name="T18" fmla="*/ 2147483646 w 917"/>
              <a:gd name="T19" fmla="*/ 2147483646 h 215"/>
              <a:gd name="T20" fmla="*/ 2147483646 w 917"/>
              <a:gd name="T21" fmla="*/ 2147483646 h 215"/>
              <a:gd name="T22" fmla="*/ 2147483646 w 917"/>
              <a:gd name="T23" fmla="*/ 2147483646 h 215"/>
              <a:gd name="T24" fmla="*/ 2147483646 w 917"/>
              <a:gd name="T25" fmla="*/ 2147483646 h 215"/>
              <a:gd name="T26" fmla="*/ 2147483646 w 917"/>
              <a:gd name="T27" fmla="*/ 2147483646 h 215"/>
              <a:gd name="T28" fmla="*/ 2147483646 w 917"/>
              <a:gd name="T29" fmla="*/ 2147483646 h 215"/>
              <a:gd name="T30" fmla="*/ 2147483646 w 917"/>
              <a:gd name="T31" fmla="*/ 2147483646 h 215"/>
              <a:gd name="T32" fmla="*/ 2147483646 w 917"/>
              <a:gd name="T33" fmla="*/ 2147483646 h 215"/>
              <a:gd name="T34" fmla="*/ 2147483646 w 917"/>
              <a:gd name="T35" fmla="*/ 2147483646 h 215"/>
              <a:gd name="T36" fmla="*/ 2147483646 w 917"/>
              <a:gd name="T37" fmla="*/ 2147483646 h 215"/>
              <a:gd name="T38" fmla="*/ 2147483646 w 917"/>
              <a:gd name="T39" fmla="*/ 2147483646 h 215"/>
              <a:gd name="T40" fmla="*/ 2147483646 w 917"/>
              <a:gd name="T41" fmla="*/ 2147483646 h 215"/>
              <a:gd name="T42" fmla="*/ 2147483646 w 917"/>
              <a:gd name="T43" fmla="*/ 2147483646 h 215"/>
              <a:gd name="T44" fmla="*/ 2147483646 w 917"/>
              <a:gd name="T45" fmla="*/ 2147483646 h 21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917" h="215">
                <a:moveTo>
                  <a:pt x="912" y="163"/>
                </a:moveTo>
                <a:cubicBezTo>
                  <a:pt x="887" y="123"/>
                  <a:pt x="870" y="78"/>
                  <a:pt x="860" y="32"/>
                </a:cubicBezTo>
                <a:cubicBezTo>
                  <a:pt x="857" y="18"/>
                  <a:pt x="840" y="7"/>
                  <a:pt x="827" y="3"/>
                </a:cubicBezTo>
                <a:cubicBezTo>
                  <a:pt x="817" y="0"/>
                  <a:pt x="802" y="1"/>
                  <a:pt x="805" y="15"/>
                </a:cubicBezTo>
                <a:cubicBezTo>
                  <a:pt x="812" y="47"/>
                  <a:pt x="823" y="79"/>
                  <a:pt x="836" y="109"/>
                </a:cubicBezTo>
                <a:cubicBezTo>
                  <a:pt x="833" y="107"/>
                  <a:pt x="831" y="105"/>
                  <a:pt x="828" y="104"/>
                </a:cubicBezTo>
                <a:cubicBezTo>
                  <a:pt x="781" y="80"/>
                  <a:pt x="729" y="66"/>
                  <a:pt x="678" y="54"/>
                </a:cubicBezTo>
                <a:cubicBezTo>
                  <a:pt x="602" y="35"/>
                  <a:pt x="526" y="22"/>
                  <a:pt x="448" y="14"/>
                </a:cubicBezTo>
                <a:cubicBezTo>
                  <a:pt x="369" y="5"/>
                  <a:pt x="287" y="3"/>
                  <a:pt x="207" y="13"/>
                </a:cubicBezTo>
                <a:cubicBezTo>
                  <a:pt x="143" y="21"/>
                  <a:pt x="74" y="38"/>
                  <a:pt x="22" y="80"/>
                </a:cubicBezTo>
                <a:cubicBezTo>
                  <a:pt x="21" y="80"/>
                  <a:pt x="20" y="81"/>
                  <a:pt x="19" y="82"/>
                </a:cubicBezTo>
                <a:cubicBezTo>
                  <a:pt x="0" y="98"/>
                  <a:pt x="50" y="137"/>
                  <a:pt x="66" y="123"/>
                </a:cubicBezTo>
                <a:cubicBezTo>
                  <a:pt x="114" y="82"/>
                  <a:pt x="178" y="66"/>
                  <a:pt x="240" y="58"/>
                </a:cubicBezTo>
                <a:cubicBezTo>
                  <a:pt x="315" y="47"/>
                  <a:pt x="392" y="50"/>
                  <a:pt x="468" y="57"/>
                </a:cubicBezTo>
                <a:cubicBezTo>
                  <a:pt x="541" y="64"/>
                  <a:pt x="614" y="77"/>
                  <a:pt x="685" y="94"/>
                </a:cubicBezTo>
                <a:cubicBezTo>
                  <a:pt x="714" y="101"/>
                  <a:pt x="742" y="109"/>
                  <a:pt x="770" y="118"/>
                </a:cubicBezTo>
                <a:cubicBezTo>
                  <a:pt x="795" y="126"/>
                  <a:pt x="806" y="129"/>
                  <a:pt x="825" y="139"/>
                </a:cubicBezTo>
                <a:cubicBezTo>
                  <a:pt x="828" y="140"/>
                  <a:pt x="833" y="142"/>
                  <a:pt x="838" y="143"/>
                </a:cubicBezTo>
                <a:cubicBezTo>
                  <a:pt x="806" y="150"/>
                  <a:pt x="774" y="159"/>
                  <a:pt x="743" y="169"/>
                </a:cubicBezTo>
                <a:cubicBezTo>
                  <a:pt x="730" y="173"/>
                  <a:pt x="746" y="194"/>
                  <a:pt x="751" y="198"/>
                </a:cubicBezTo>
                <a:cubicBezTo>
                  <a:pt x="761" y="207"/>
                  <a:pt x="776" y="215"/>
                  <a:pt x="790" y="210"/>
                </a:cubicBezTo>
                <a:cubicBezTo>
                  <a:pt x="827" y="198"/>
                  <a:pt x="866" y="189"/>
                  <a:pt x="905" y="182"/>
                </a:cubicBezTo>
                <a:cubicBezTo>
                  <a:pt x="915" y="180"/>
                  <a:pt x="917" y="171"/>
                  <a:pt x="912" y="163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s-AR" sz="1350"/>
          </a:p>
        </p:txBody>
      </p:sp>
      <p:sp>
        <p:nvSpPr>
          <p:cNvPr id="24" name="Freeform 20"/>
          <p:cNvSpPr>
            <a:spLocks noChangeAspect="1" noEditPoints="1"/>
          </p:cNvSpPr>
          <p:nvPr/>
        </p:nvSpPr>
        <p:spPr bwMode="auto">
          <a:xfrm rot="10800000">
            <a:off x="5144691" y="1600200"/>
            <a:ext cx="1394222" cy="642938"/>
          </a:xfrm>
          <a:custGeom>
            <a:avLst/>
            <a:gdLst>
              <a:gd name="T0" fmla="*/ 18 w 875"/>
              <a:gd name="T1" fmla="*/ 272 h 404"/>
              <a:gd name="T2" fmla="*/ 141 w 875"/>
              <a:gd name="T3" fmla="*/ 134 h 404"/>
              <a:gd name="T4" fmla="*/ 290 w 875"/>
              <a:gd name="T5" fmla="*/ 22 h 404"/>
              <a:gd name="T6" fmla="*/ 745 w 875"/>
              <a:gd name="T7" fmla="*/ 199 h 404"/>
              <a:gd name="T8" fmla="*/ 86 w 875"/>
              <a:gd name="T9" fmla="*/ 224 h 404"/>
              <a:gd name="T10" fmla="*/ 147 w 875"/>
              <a:gd name="T11" fmla="*/ 112 h 404"/>
              <a:gd name="T12" fmla="*/ 857 w 875"/>
              <a:gd name="T13" fmla="*/ 244 h 404"/>
              <a:gd name="T14" fmla="*/ 874 w 875"/>
              <a:gd name="T15" fmla="*/ 265 h 404"/>
              <a:gd name="T16" fmla="*/ 832 w 875"/>
              <a:gd name="T17" fmla="*/ 297 h 404"/>
              <a:gd name="T18" fmla="*/ 833 w 875"/>
              <a:gd name="T19" fmla="*/ 343 h 404"/>
              <a:gd name="T20" fmla="*/ 717 w 875"/>
              <a:gd name="T21" fmla="*/ 346 h 404"/>
              <a:gd name="T22" fmla="*/ 860 w 875"/>
              <a:gd name="T23" fmla="*/ 284 h 404"/>
              <a:gd name="T24" fmla="*/ 850 w 875"/>
              <a:gd name="T25" fmla="*/ 300 h 404"/>
              <a:gd name="T26" fmla="*/ 856 w 875"/>
              <a:gd name="T27" fmla="*/ 300 h 404"/>
              <a:gd name="T28" fmla="*/ 832 w 875"/>
              <a:gd name="T29" fmla="*/ 340 h 404"/>
              <a:gd name="T30" fmla="*/ 818 w 875"/>
              <a:gd name="T31" fmla="*/ 380 h 404"/>
              <a:gd name="T32" fmla="*/ 761 w 875"/>
              <a:gd name="T33" fmla="*/ 364 h 404"/>
              <a:gd name="T34" fmla="*/ 715 w 875"/>
              <a:gd name="T35" fmla="*/ 342 h 404"/>
              <a:gd name="T36" fmla="*/ 705 w 875"/>
              <a:gd name="T37" fmla="*/ 316 h 404"/>
              <a:gd name="T38" fmla="*/ 787 w 875"/>
              <a:gd name="T39" fmla="*/ 329 h 404"/>
              <a:gd name="T40" fmla="*/ 643 w 875"/>
              <a:gd name="T41" fmla="*/ 136 h 404"/>
              <a:gd name="T42" fmla="*/ 59 w 875"/>
              <a:gd name="T43" fmla="*/ 267 h 404"/>
              <a:gd name="T44" fmla="*/ 317 w 875"/>
              <a:gd name="T45" fmla="*/ 56 h 404"/>
              <a:gd name="T46" fmla="*/ 21 w 875"/>
              <a:gd name="T47" fmla="*/ 307 h 404"/>
              <a:gd name="T48" fmla="*/ 66 w 875"/>
              <a:gd name="T49" fmla="*/ 219 h 404"/>
              <a:gd name="T50" fmla="*/ 208 w 875"/>
              <a:gd name="T51" fmla="*/ 86 h 404"/>
              <a:gd name="T52" fmla="*/ 29 w 875"/>
              <a:gd name="T53" fmla="*/ 259 h 404"/>
              <a:gd name="T54" fmla="*/ 31 w 875"/>
              <a:gd name="T55" fmla="*/ 239 h 404"/>
              <a:gd name="T56" fmla="*/ 156 w 875"/>
              <a:gd name="T57" fmla="*/ 104 h 404"/>
              <a:gd name="T58" fmla="*/ 74 w 875"/>
              <a:gd name="T59" fmla="*/ 173 h 404"/>
              <a:gd name="T60" fmla="*/ 229 w 875"/>
              <a:gd name="T61" fmla="*/ 49 h 404"/>
              <a:gd name="T62" fmla="*/ 362 w 875"/>
              <a:gd name="T63" fmla="*/ 4 h 404"/>
              <a:gd name="T64" fmla="*/ 558 w 875"/>
              <a:gd name="T65" fmla="*/ 31 h 404"/>
              <a:gd name="T66" fmla="*/ 729 w 875"/>
              <a:gd name="T67" fmla="*/ 179 h 404"/>
              <a:gd name="T68" fmla="*/ 819 w 875"/>
              <a:gd name="T69" fmla="*/ 271 h 404"/>
              <a:gd name="T70" fmla="*/ 820 w 875"/>
              <a:gd name="T71" fmla="*/ 279 h 404"/>
              <a:gd name="T72" fmla="*/ 849 w 875"/>
              <a:gd name="T73" fmla="*/ 252 h 404"/>
              <a:gd name="T74" fmla="*/ 847 w 875"/>
              <a:gd name="T75" fmla="*/ 269 h 404"/>
              <a:gd name="T76" fmla="*/ 826 w 875"/>
              <a:gd name="T77" fmla="*/ 309 h 404"/>
              <a:gd name="T78" fmla="*/ 860 w 875"/>
              <a:gd name="T79" fmla="*/ 266 h 404"/>
              <a:gd name="T80" fmla="*/ 862 w 875"/>
              <a:gd name="T81" fmla="*/ 266 h 404"/>
              <a:gd name="T82" fmla="*/ 833 w 875"/>
              <a:gd name="T83" fmla="*/ 266 h 404"/>
              <a:gd name="T84" fmla="*/ 99 w 875"/>
              <a:gd name="T85" fmla="*/ 149 h 404"/>
              <a:gd name="T86" fmla="*/ 44 w 875"/>
              <a:gd name="T87" fmla="*/ 227 h 404"/>
              <a:gd name="T88" fmla="*/ 67 w 875"/>
              <a:gd name="T89" fmla="*/ 201 h 404"/>
              <a:gd name="T90" fmla="*/ 149 w 875"/>
              <a:gd name="T91" fmla="*/ 126 h 404"/>
              <a:gd name="T92" fmla="*/ 69 w 875"/>
              <a:gd name="T93" fmla="*/ 228 h 404"/>
              <a:gd name="T94" fmla="*/ 132 w 875"/>
              <a:gd name="T95" fmla="*/ 151 h 404"/>
              <a:gd name="T96" fmla="*/ 225 w 875"/>
              <a:gd name="T97" fmla="*/ 62 h 404"/>
              <a:gd name="T98" fmla="*/ 333 w 875"/>
              <a:gd name="T99" fmla="*/ 10 h 404"/>
              <a:gd name="T100" fmla="*/ 165 w 875"/>
              <a:gd name="T101" fmla="*/ 142 h 404"/>
              <a:gd name="T102" fmla="*/ 670 w 875"/>
              <a:gd name="T103" fmla="*/ 163 h 404"/>
              <a:gd name="T104" fmla="*/ 710 w 875"/>
              <a:gd name="T105" fmla="*/ 321 h 404"/>
              <a:gd name="T106" fmla="*/ 790 w 875"/>
              <a:gd name="T107" fmla="*/ 340 h 404"/>
              <a:gd name="T108" fmla="*/ 819 w 875"/>
              <a:gd name="T109" fmla="*/ 373 h 404"/>
              <a:gd name="T110" fmla="*/ 844 w 875"/>
              <a:gd name="T111" fmla="*/ 312 h 404"/>
              <a:gd name="T112" fmla="*/ 821 w 875"/>
              <a:gd name="T113" fmla="*/ 366 h 404"/>
              <a:gd name="T114" fmla="*/ 836 w 875"/>
              <a:gd name="T115" fmla="*/ 322 h 404"/>
              <a:gd name="T116" fmla="*/ 844 w 875"/>
              <a:gd name="T117" fmla="*/ 298 h 404"/>
              <a:gd name="T118" fmla="*/ 861 w 875"/>
              <a:gd name="T119" fmla="*/ 277 h 404"/>
              <a:gd name="T120" fmla="*/ 871 w 875"/>
              <a:gd name="T121" fmla="*/ 267 h 404"/>
              <a:gd name="T122" fmla="*/ 870 w 875"/>
              <a:gd name="T123" fmla="*/ 280 h 404"/>
              <a:gd name="T124" fmla="*/ 832 w 875"/>
              <a:gd name="T125" fmla="*/ 344 h 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75" h="404">
                <a:moveTo>
                  <a:pt x="9" y="328"/>
                </a:moveTo>
                <a:cubicBezTo>
                  <a:pt x="9" y="327"/>
                  <a:pt x="10" y="326"/>
                  <a:pt x="11" y="325"/>
                </a:cubicBezTo>
                <a:cubicBezTo>
                  <a:pt x="10" y="326"/>
                  <a:pt x="10" y="327"/>
                  <a:pt x="9" y="328"/>
                </a:cubicBezTo>
                <a:close/>
                <a:moveTo>
                  <a:pt x="11" y="322"/>
                </a:moveTo>
                <a:cubicBezTo>
                  <a:pt x="10" y="323"/>
                  <a:pt x="9" y="323"/>
                  <a:pt x="9" y="325"/>
                </a:cubicBezTo>
                <a:cubicBezTo>
                  <a:pt x="10" y="324"/>
                  <a:pt x="11" y="323"/>
                  <a:pt x="11" y="322"/>
                </a:cubicBezTo>
                <a:close/>
                <a:moveTo>
                  <a:pt x="15" y="319"/>
                </a:moveTo>
                <a:cubicBezTo>
                  <a:pt x="15" y="318"/>
                  <a:pt x="15" y="318"/>
                  <a:pt x="16" y="316"/>
                </a:cubicBezTo>
                <a:cubicBezTo>
                  <a:pt x="15" y="317"/>
                  <a:pt x="15" y="317"/>
                  <a:pt x="15" y="317"/>
                </a:cubicBezTo>
                <a:cubicBezTo>
                  <a:pt x="14" y="318"/>
                  <a:pt x="15" y="318"/>
                  <a:pt x="15" y="319"/>
                </a:cubicBezTo>
                <a:close/>
                <a:moveTo>
                  <a:pt x="38" y="297"/>
                </a:moveTo>
                <a:cubicBezTo>
                  <a:pt x="38" y="296"/>
                  <a:pt x="38" y="296"/>
                  <a:pt x="38" y="295"/>
                </a:cubicBezTo>
                <a:cubicBezTo>
                  <a:pt x="38" y="296"/>
                  <a:pt x="37" y="297"/>
                  <a:pt x="37" y="298"/>
                </a:cubicBezTo>
                <a:lnTo>
                  <a:pt x="38" y="297"/>
                </a:lnTo>
                <a:close/>
                <a:moveTo>
                  <a:pt x="12" y="319"/>
                </a:moveTo>
                <a:cubicBezTo>
                  <a:pt x="12" y="319"/>
                  <a:pt x="12" y="319"/>
                  <a:pt x="12" y="320"/>
                </a:cubicBezTo>
                <a:cubicBezTo>
                  <a:pt x="12" y="320"/>
                  <a:pt x="13" y="319"/>
                  <a:pt x="13" y="318"/>
                </a:cubicBezTo>
                <a:cubicBezTo>
                  <a:pt x="13" y="318"/>
                  <a:pt x="13" y="318"/>
                  <a:pt x="12" y="319"/>
                </a:cubicBezTo>
                <a:close/>
                <a:moveTo>
                  <a:pt x="39" y="293"/>
                </a:moveTo>
                <a:cubicBezTo>
                  <a:pt x="39" y="294"/>
                  <a:pt x="39" y="294"/>
                  <a:pt x="39" y="294"/>
                </a:cubicBezTo>
                <a:cubicBezTo>
                  <a:pt x="40" y="293"/>
                  <a:pt x="40" y="293"/>
                  <a:pt x="41" y="293"/>
                </a:cubicBezTo>
                <a:cubicBezTo>
                  <a:pt x="41" y="292"/>
                  <a:pt x="40" y="292"/>
                  <a:pt x="39" y="293"/>
                </a:cubicBezTo>
                <a:close/>
                <a:moveTo>
                  <a:pt x="25" y="302"/>
                </a:moveTo>
                <a:cubicBezTo>
                  <a:pt x="24" y="302"/>
                  <a:pt x="24" y="303"/>
                  <a:pt x="24" y="304"/>
                </a:cubicBezTo>
                <a:cubicBezTo>
                  <a:pt x="24" y="304"/>
                  <a:pt x="25" y="302"/>
                  <a:pt x="25" y="302"/>
                </a:cubicBezTo>
                <a:close/>
                <a:moveTo>
                  <a:pt x="49" y="277"/>
                </a:moveTo>
                <a:cubicBezTo>
                  <a:pt x="49" y="278"/>
                  <a:pt x="49" y="278"/>
                  <a:pt x="48" y="280"/>
                </a:cubicBezTo>
                <a:cubicBezTo>
                  <a:pt x="48" y="280"/>
                  <a:pt x="48" y="280"/>
                  <a:pt x="48" y="280"/>
                </a:cubicBezTo>
                <a:cubicBezTo>
                  <a:pt x="47" y="281"/>
                  <a:pt x="47" y="281"/>
                  <a:pt x="46" y="282"/>
                </a:cubicBezTo>
                <a:cubicBezTo>
                  <a:pt x="46" y="283"/>
                  <a:pt x="46" y="284"/>
                  <a:pt x="46" y="284"/>
                </a:cubicBezTo>
                <a:cubicBezTo>
                  <a:pt x="46" y="284"/>
                  <a:pt x="47" y="283"/>
                  <a:pt x="47" y="283"/>
                </a:cubicBezTo>
                <a:cubicBezTo>
                  <a:pt x="47" y="283"/>
                  <a:pt x="47" y="282"/>
                  <a:pt x="47" y="281"/>
                </a:cubicBezTo>
                <a:cubicBezTo>
                  <a:pt x="48" y="281"/>
                  <a:pt x="49" y="280"/>
                  <a:pt x="50" y="279"/>
                </a:cubicBezTo>
                <a:cubicBezTo>
                  <a:pt x="49" y="279"/>
                  <a:pt x="50" y="277"/>
                  <a:pt x="51" y="275"/>
                </a:cubicBezTo>
                <a:cubicBezTo>
                  <a:pt x="50" y="276"/>
                  <a:pt x="50" y="277"/>
                  <a:pt x="49" y="277"/>
                </a:cubicBezTo>
                <a:close/>
                <a:moveTo>
                  <a:pt x="26" y="300"/>
                </a:moveTo>
                <a:cubicBezTo>
                  <a:pt x="27" y="299"/>
                  <a:pt x="27" y="299"/>
                  <a:pt x="27" y="299"/>
                </a:cubicBezTo>
                <a:cubicBezTo>
                  <a:pt x="27" y="299"/>
                  <a:pt x="27" y="299"/>
                  <a:pt x="27" y="298"/>
                </a:cubicBezTo>
                <a:cubicBezTo>
                  <a:pt x="27" y="298"/>
                  <a:pt x="26" y="299"/>
                  <a:pt x="26" y="300"/>
                </a:cubicBezTo>
                <a:close/>
                <a:moveTo>
                  <a:pt x="25" y="295"/>
                </a:moveTo>
                <a:cubicBezTo>
                  <a:pt x="26" y="294"/>
                  <a:pt x="26" y="293"/>
                  <a:pt x="26" y="292"/>
                </a:cubicBezTo>
                <a:cubicBezTo>
                  <a:pt x="26" y="293"/>
                  <a:pt x="25" y="295"/>
                  <a:pt x="25" y="295"/>
                </a:cubicBezTo>
                <a:close/>
                <a:moveTo>
                  <a:pt x="62" y="263"/>
                </a:moveTo>
                <a:cubicBezTo>
                  <a:pt x="63" y="262"/>
                  <a:pt x="64" y="261"/>
                  <a:pt x="64" y="260"/>
                </a:cubicBezTo>
                <a:cubicBezTo>
                  <a:pt x="63" y="261"/>
                  <a:pt x="63" y="262"/>
                  <a:pt x="62" y="263"/>
                </a:cubicBezTo>
                <a:close/>
                <a:moveTo>
                  <a:pt x="32" y="284"/>
                </a:moveTo>
                <a:cubicBezTo>
                  <a:pt x="31" y="285"/>
                  <a:pt x="31" y="285"/>
                  <a:pt x="30" y="286"/>
                </a:cubicBezTo>
                <a:cubicBezTo>
                  <a:pt x="31" y="286"/>
                  <a:pt x="32" y="285"/>
                  <a:pt x="32" y="284"/>
                </a:cubicBezTo>
                <a:close/>
                <a:moveTo>
                  <a:pt x="54" y="260"/>
                </a:moveTo>
                <a:cubicBezTo>
                  <a:pt x="55" y="261"/>
                  <a:pt x="53" y="262"/>
                  <a:pt x="54" y="262"/>
                </a:cubicBezTo>
                <a:cubicBezTo>
                  <a:pt x="55" y="261"/>
                  <a:pt x="54" y="261"/>
                  <a:pt x="55" y="259"/>
                </a:cubicBezTo>
                <a:cubicBezTo>
                  <a:pt x="55" y="259"/>
                  <a:pt x="55" y="260"/>
                  <a:pt x="54" y="260"/>
                </a:cubicBezTo>
                <a:close/>
                <a:moveTo>
                  <a:pt x="33" y="278"/>
                </a:moveTo>
                <a:cubicBezTo>
                  <a:pt x="33" y="279"/>
                  <a:pt x="34" y="277"/>
                  <a:pt x="35" y="276"/>
                </a:cubicBezTo>
                <a:cubicBezTo>
                  <a:pt x="35" y="275"/>
                  <a:pt x="33" y="277"/>
                  <a:pt x="33" y="278"/>
                </a:cubicBezTo>
                <a:close/>
                <a:moveTo>
                  <a:pt x="43" y="264"/>
                </a:moveTo>
                <a:cubicBezTo>
                  <a:pt x="42" y="265"/>
                  <a:pt x="41" y="266"/>
                  <a:pt x="41" y="267"/>
                </a:cubicBezTo>
                <a:cubicBezTo>
                  <a:pt x="40" y="268"/>
                  <a:pt x="42" y="265"/>
                  <a:pt x="41" y="267"/>
                </a:cubicBezTo>
                <a:cubicBezTo>
                  <a:pt x="42" y="266"/>
                  <a:pt x="43" y="265"/>
                  <a:pt x="43" y="264"/>
                </a:cubicBezTo>
                <a:close/>
                <a:moveTo>
                  <a:pt x="73" y="242"/>
                </a:moveTo>
                <a:cubicBezTo>
                  <a:pt x="73" y="241"/>
                  <a:pt x="72" y="243"/>
                  <a:pt x="72" y="244"/>
                </a:cubicBezTo>
                <a:cubicBezTo>
                  <a:pt x="72" y="245"/>
                  <a:pt x="73" y="242"/>
                  <a:pt x="73" y="242"/>
                </a:cubicBezTo>
                <a:close/>
                <a:moveTo>
                  <a:pt x="71" y="240"/>
                </a:moveTo>
                <a:cubicBezTo>
                  <a:pt x="70" y="241"/>
                  <a:pt x="70" y="242"/>
                  <a:pt x="70" y="242"/>
                </a:cubicBezTo>
                <a:cubicBezTo>
                  <a:pt x="69" y="243"/>
                  <a:pt x="70" y="243"/>
                  <a:pt x="70" y="243"/>
                </a:cubicBezTo>
                <a:cubicBezTo>
                  <a:pt x="70" y="241"/>
                  <a:pt x="72" y="241"/>
                  <a:pt x="71" y="240"/>
                </a:cubicBezTo>
                <a:close/>
                <a:moveTo>
                  <a:pt x="89" y="227"/>
                </a:moveTo>
                <a:cubicBezTo>
                  <a:pt x="88" y="228"/>
                  <a:pt x="88" y="229"/>
                  <a:pt x="87" y="230"/>
                </a:cubicBezTo>
                <a:cubicBezTo>
                  <a:pt x="88" y="229"/>
                  <a:pt x="89" y="228"/>
                  <a:pt x="89" y="227"/>
                </a:cubicBezTo>
                <a:close/>
                <a:moveTo>
                  <a:pt x="32" y="268"/>
                </a:moveTo>
                <a:cubicBezTo>
                  <a:pt x="32" y="270"/>
                  <a:pt x="32" y="270"/>
                  <a:pt x="32" y="270"/>
                </a:cubicBezTo>
                <a:cubicBezTo>
                  <a:pt x="33" y="269"/>
                  <a:pt x="33" y="268"/>
                  <a:pt x="33" y="268"/>
                </a:cubicBezTo>
                <a:cubicBezTo>
                  <a:pt x="34" y="267"/>
                  <a:pt x="33" y="267"/>
                  <a:pt x="32" y="268"/>
                </a:cubicBezTo>
                <a:close/>
                <a:moveTo>
                  <a:pt x="39" y="264"/>
                </a:moveTo>
                <a:cubicBezTo>
                  <a:pt x="40" y="263"/>
                  <a:pt x="40" y="262"/>
                  <a:pt x="41" y="262"/>
                </a:cubicBezTo>
                <a:cubicBezTo>
                  <a:pt x="41" y="261"/>
                  <a:pt x="39" y="263"/>
                  <a:pt x="39" y="264"/>
                </a:cubicBezTo>
                <a:close/>
                <a:moveTo>
                  <a:pt x="36" y="263"/>
                </a:moveTo>
                <a:cubicBezTo>
                  <a:pt x="35" y="264"/>
                  <a:pt x="37" y="262"/>
                  <a:pt x="36" y="264"/>
                </a:cubicBezTo>
                <a:cubicBezTo>
                  <a:pt x="36" y="264"/>
                  <a:pt x="36" y="263"/>
                  <a:pt x="36" y="263"/>
                </a:cubicBezTo>
                <a:cubicBezTo>
                  <a:pt x="38" y="261"/>
                  <a:pt x="39" y="259"/>
                  <a:pt x="41" y="257"/>
                </a:cubicBezTo>
                <a:cubicBezTo>
                  <a:pt x="41" y="255"/>
                  <a:pt x="41" y="256"/>
                  <a:pt x="41" y="255"/>
                </a:cubicBezTo>
                <a:cubicBezTo>
                  <a:pt x="40" y="256"/>
                  <a:pt x="40" y="256"/>
                  <a:pt x="40" y="257"/>
                </a:cubicBezTo>
                <a:cubicBezTo>
                  <a:pt x="39" y="258"/>
                  <a:pt x="39" y="257"/>
                  <a:pt x="38" y="258"/>
                </a:cubicBezTo>
                <a:cubicBezTo>
                  <a:pt x="39" y="259"/>
                  <a:pt x="38" y="260"/>
                  <a:pt x="38" y="261"/>
                </a:cubicBezTo>
                <a:cubicBezTo>
                  <a:pt x="37" y="262"/>
                  <a:pt x="36" y="262"/>
                  <a:pt x="36" y="263"/>
                </a:cubicBezTo>
                <a:close/>
                <a:moveTo>
                  <a:pt x="81" y="228"/>
                </a:moveTo>
                <a:cubicBezTo>
                  <a:pt x="80" y="229"/>
                  <a:pt x="81" y="229"/>
                  <a:pt x="81" y="229"/>
                </a:cubicBezTo>
                <a:cubicBezTo>
                  <a:pt x="81" y="229"/>
                  <a:pt x="82" y="228"/>
                  <a:pt x="82" y="227"/>
                </a:cubicBezTo>
                <a:cubicBezTo>
                  <a:pt x="83" y="227"/>
                  <a:pt x="82" y="228"/>
                  <a:pt x="81" y="228"/>
                </a:cubicBezTo>
                <a:cubicBezTo>
                  <a:pt x="80" y="229"/>
                  <a:pt x="81" y="227"/>
                  <a:pt x="82" y="227"/>
                </a:cubicBezTo>
                <a:cubicBezTo>
                  <a:pt x="82" y="226"/>
                  <a:pt x="81" y="228"/>
                  <a:pt x="81" y="228"/>
                </a:cubicBezTo>
                <a:close/>
                <a:moveTo>
                  <a:pt x="16" y="278"/>
                </a:moveTo>
                <a:cubicBezTo>
                  <a:pt x="17" y="277"/>
                  <a:pt x="18" y="276"/>
                  <a:pt x="18" y="275"/>
                </a:cubicBezTo>
                <a:cubicBezTo>
                  <a:pt x="17" y="276"/>
                  <a:pt x="16" y="276"/>
                  <a:pt x="16" y="278"/>
                </a:cubicBezTo>
                <a:close/>
                <a:moveTo>
                  <a:pt x="16" y="275"/>
                </a:moveTo>
                <a:cubicBezTo>
                  <a:pt x="16" y="276"/>
                  <a:pt x="16" y="277"/>
                  <a:pt x="15" y="277"/>
                </a:cubicBezTo>
                <a:cubicBezTo>
                  <a:pt x="15" y="278"/>
                  <a:pt x="16" y="276"/>
                  <a:pt x="16" y="275"/>
                </a:cubicBezTo>
                <a:close/>
                <a:moveTo>
                  <a:pt x="17" y="274"/>
                </a:moveTo>
                <a:cubicBezTo>
                  <a:pt x="17" y="274"/>
                  <a:pt x="18" y="274"/>
                  <a:pt x="18" y="274"/>
                </a:cubicBezTo>
                <a:cubicBezTo>
                  <a:pt x="18" y="273"/>
                  <a:pt x="18" y="273"/>
                  <a:pt x="18" y="272"/>
                </a:cubicBezTo>
                <a:cubicBezTo>
                  <a:pt x="18" y="273"/>
                  <a:pt x="18" y="273"/>
                  <a:pt x="17" y="274"/>
                </a:cubicBezTo>
                <a:close/>
                <a:moveTo>
                  <a:pt x="83" y="225"/>
                </a:moveTo>
                <a:cubicBezTo>
                  <a:pt x="84" y="226"/>
                  <a:pt x="85" y="223"/>
                  <a:pt x="86" y="223"/>
                </a:cubicBezTo>
                <a:cubicBezTo>
                  <a:pt x="86" y="222"/>
                  <a:pt x="84" y="224"/>
                  <a:pt x="83" y="225"/>
                </a:cubicBezTo>
                <a:close/>
                <a:moveTo>
                  <a:pt x="8" y="276"/>
                </a:moveTo>
                <a:cubicBezTo>
                  <a:pt x="7" y="277"/>
                  <a:pt x="6" y="279"/>
                  <a:pt x="6" y="280"/>
                </a:cubicBezTo>
                <a:cubicBezTo>
                  <a:pt x="7" y="279"/>
                  <a:pt x="7" y="278"/>
                  <a:pt x="8" y="276"/>
                </a:cubicBezTo>
                <a:close/>
                <a:moveTo>
                  <a:pt x="91" y="216"/>
                </a:moveTo>
                <a:cubicBezTo>
                  <a:pt x="91" y="216"/>
                  <a:pt x="90" y="217"/>
                  <a:pt x="89" y="218"/>
                </a:cubicBezTo>
                <a:cubicBezTo>
                  <a:pt x="90" y="218"/>
                  <a:pt x="91" y="217"/>
                  <a:pt x="91" y="216"/>
                </a:cubicBezTo>
                <a:close/>
                <a:moveTo>
                  <a:pt x="33" y="255"/>
                </a:moveTo>
                <a:cubicBezTo>
                  <a:pt x="33" y="257"/>
                  <a:pt x="32" y="257"/>
                  <a:pt x="31" y="258"/>
                </a:cubicBezTo>
                <a:cubicBezTo>
                  <a:pt x="32" y="258"/>
                  <a:pt x="34" y="254"/>
                  <a:pt x="33" y="255"/>
                </a:cubicBezTo>
                <a:close/>
                <a:moveTo>
                  <a:pt x="50" y="243"/>
                </a:moveTo>
                <a:cubicBezTo>
                  <a:pt x="50" y="244"/>
                  <a:pt x="52" y="241"/>
                  <a:pt x="52" y="240"/>
                </a:cubicBezTo>
                <a:cubicBezTo>
                  <a:pt x="52" y="240"/>
                  <a:pt x="52" y="240"/>
                  <a:pt x="52" y="239"/>
                </a:cubicBezTo>
                <a:cubicBezTo>
                  <a:pt x="51" y="240"/>
                  <a:pt x="51" y="242"/>
                  <a:pt x="50" y="243"/>
                </a:cubicBezTo>
                <a:close/>
                <a:moveTo>
                  <a:pt x="18" y="267"/>
                </a:moveTo>
                <a:cubicBezTo>
                  <a:pt x="19" y="266"/>
                  <a:pt x="20" y="265"/>
                  <a:pt x="21" y="263"/>
                </a:cubicBezTo>
                <a:cubicBezTo>
                  <a:pt x="20" y="264"/>
                  <a:pt x="19" y="265"/>
                  <a:pt x="18" y="267"/>
                </a:cubicBezTo>
                <a:close/>
                <a:moveTo>
                  <a:pt x="96" y="211"/>
                </a:moveTo>
                <a:cubicBezTo>
                  <a:pt x="97" y="209"/>
                  <a:pt x="99" y="208"/>
                  <a:pt x="99" y="206"/>
                </a:cubicBezTo>
                <a:cubicBezTo>
                  <a:pt x="98" y="208"/>
                  <a:pt x="96" y="209"/>
                  <a:pt x="95" y="211"/>
                </a:cubicBezTo>
                <a:cubicBezTo>
                  <a:pt x="96" y="211"/>
                  <a:pt x="96" y="211"/>
                  <a:pt x="96" y="211"/>
                </a:cubicBezTo>
                <a:close/>
                <a:moveTo>
                  <a:pt x="41" y="244"/>
                </a:moveTo>
                <a:cubicBezTo>
                  <a:pt x="41" y="244"/>
                  <a:pt x="40" y="245"/>
                  <a:pt x="40" y="245"/>
                </a:cubicBezTo>
                <a:cubicBezTo>
                  <a:pt x="40" y="245"/>
                  <a:pt x="40" y="246"/>
                  <a:pt x="40" y="246"/>
                </a:cubicBezTo>
                <a:cubicBezTo>
                  <a:pt x="41" y="246"/>
                  <a:pt x="41" y="245"/>
                  <a:pt x="41" y="244"/>
                </a:cubicBezTo>
                <a:close/>
                <a:moveTo>
                  <a:pt x="101" y="204"/>
                </a:moveTo>
                <a:cubicBezTo>
                  <a:pt x="100" y="205"/>
                  <a:pt x="100" y="205"/>
                  <a:pt x="100" y="206"/>
                </a:cubicBezTo>
                <a:cubicBezTo>
                  <a:pt x="100" y="206"/>
                  <a:pt x="101" y="205"/>
                  <a:pt x="101" y="205"/>
                </a:cubicBezTo>
                <a:cubicBezTo>
                  <a:pt x="100" y="205"/>
                  <a:pt x="102" y="204"/>
                  <a:pt x="102" y="203"/>
                </a:cubicBezTo>
                <a:cubicBezTo>
                  <a:pt x="101" y="203"/>
                  <a:pt x="101" y="204"/>
                  <a:pt x="101" y="204"/>
                </a:cubicBezTo>
                <a:close/>
                <a:moveTo>
                  <a:pt x="106" y="200"/>
                </a:moveTo>
                <a:cubicBezTo>
                  <a:pt x="104" y="201"/>
                  <a:pt x="105" y="199"/>
                  <a:pt x="104" y="200"/>
                </a:cubicBezTo>
                <a:cubicBezTo>
                  <a:pt x="105" y="201"/>
                  <a:pt x="103" y="202"/>
                  <a:pt x="103" y="203"/>
                </a:cubicBezTo>
                <a:cubicBezTo>
                  <a:pt x="104" y="201"/>
                  <a:pt x="105" y="202"/>
                  <a:pt x="106" y="200"/>
                </a:cubicBezTo>
                <a:close/>
                <a:moveTo>
                  <a:pt x="37" y="240"/>
                </a:moveTo>
                <a:cubicBezTo>
                  <a:pt x="37" y="241"/>
                  <a:pt x="37" y="241"/>
                  <a:pt x="37" y="242"/>
                </a:cubicBezTo>
                <a:cubicBezTo>
                  <a:pt x="38" y="241"/>
                  <a:pt x="39" y="239"/>
                  <a:pt x="37" y="240"/>
                </a:cubicBezTo>
                <a:close/>
                <a:moveTo>
                  <a:pt x="110" y="195"/>
                </a:moveTo>
                <a:cubicBezTo>
                  <a:pt x="111" y="194"/>
                  <a:pt x="111" y="193"/>
                  <a:pt x="112" y="192"/>
                </a:cubicBezTo>
                <a:cubicBezTo>
                  <a:pt x="113" y="191"/>
                  <a:pt x="113" y="192"/>
                  <a:pt x="112" y="193"/>
                </a:cubicBezTo>
                <a:cubicBezTo>
                  <a:pt x="114" y="192"/>
                  <a:pt x="113" y="191"/>
                  <a:pt x="115" y="189"/>
                </a:cubicBezTo>
                <a:cubicBezTo>
                  <a:pt x="115" y="189"/>
                  <a:pt x="115" y="189"/>
                  <a:pt x="114" y="190"/>
                </a:cubicBezTo>
                <a:cubicBezTo>
                  <a:pt x="113" y="191"/>
                  <a:pt x="114" y="189"/>
                  <a:pt x="115" y="189"/>
                </a:cubicBezTo>
                <a:cubicBezTo>
                  <a:pt x="113" y="191"/>
                  <a:pt x="111" y="192"/>
                  <a:pt x="110" y="195"/>
                </a:cubicBezTo>
                <a:close/>
                <a:moveTo>
                  <a:pt x="80" y="205"/>
                </a:moveTo>
                <a:cubicBezTo>
                  <a:pt x="79" y="207"/>
                  <a:pt x="78" y="208"/>
                  <a:pt x="78" y="209"/>
                </a:cubicBezTo>
                <a:cubicBezTo>
                  <a:pt x="79" y="208"/>
                  <a:pt x="80" y="206"/>
                  <a:pt x="80" y="205"/>
                </a:cubicBezTo>
                <a:close/>
                <a:moveTo>
                  <a:pt x="60" y="219"/>
                </a:moveTo>
                <a:cubicBezTo>
                  <a:pt x="59" y="219"/>
                  <a:pt x="59" y="220"/>
                  <a:pt x="59" y="220"/>
                </a:cubicBezTo>
                <a:cubicBezTo>
                  <a:pt x="60" y="219"/>
                  <a:pt x="59" y="220"/>
                  <a:pt x="60" y="220"/>
                </a:cubicBezTo>
                <a:cubicBezTo>
                  <a:pt x="60" y="219"/>
                  <a:pt x="60" y="219"/>
                  <a:pt x="60" y="219"/>
                </a:cubicBezTo>
                <a:close/>
                <a:moveTo>
                  <a:pt x="79" y="197"/>
                </a:moveTo>
                <a:cubicBezTo>
                  <a:pt x="80" y="196"/>
                  <a:pt x="81" y="195"/>
                  <a:pt x="81" y="193"/>
                </a:cubicBezTo>
                <a:cubicBezTo>
                  <a:pt x="81" y="195"/>
                  <a:pt x="79" y="196"/>
                  <a:pt x="79" y="197"/>
                </a:cubicBezTo>
                <a:close/>
                <a:moveTo>
                  <a:pt x="57" y="203"/>
                </a:moveTo>
                <a:cubicBezTo>
                  <a:pt x="57" y="203"/>
                  <a:pt x="57" y="204"/>
                  <a:pt x="56" y="204"/>
                </a:cubicBezTo>
                <a:cubicBezTo>
                  <a:pt x="57" y="204"/>
                  <a:pt x="57" y="203"/>
                  <a:pt x="58" y="203"/>
                </a:cubicBezTo>
                <a:cubicBezTo>
                  <a:pt x="59" y="201"/>
                  <a:pt x="57" y="204"/>
                  <a:pt x="57" y="203"/>
                </a:cubicBezTo>
                <a:close/>
                <a:moveTo>
                  <a:pt x="41" y="214"/>
                </a:moveTo>
                <a:cubicBezTo>
                  <a:pt x="42" y="213"/>
                  <a:pt x="43" y="212"/>
                  <a:pt x="43" y="211"/>
                </a:cubicBezTo>
                <a:cubicBezTo>
                  <a:pt x="43" y="212"/>
                  <a:pt x="41" y="214"/>
                  <a:pt x="41" y="214"/>
                </a:cubicBezTo>
                <a:close/>
                <a:moveTo>
                  <a:pt x="104" y="173"/>
                </a:moveTo>
                <a:cubicBezTo>
                  <a:pt x="105" y="173"/>
                  <a:pt x="105" y="173"/>
                  <a:pt x="105" y="173"/>
                </a:cubicBezTo>
                <a:cubicBezTo>
                  <a:pt x="105" y="172"/>
                  <a:pt x="105" y="172"/>
                  <a:pt x="105" y="172"/>
                </a:cubicBezTo>
                <a:cubicBezTo>
                  <a:pt x="105" y="171"/>
                  <a:pt x="104" y="173"/>
                  <a:pt x="104" y="173"/>
                </a:cubicBezTo>
                <a:close/>
                <a:moveTo>
                  <a:pt x="63" y="190"/>
                </a:moveTo>
                <a:cubicBezTo>
                  <a:pt x="63" y="191"/>
                  <a:pt x="62" y="192"/>
                  <a:pt x="62" y="192"/>
                </a:cubicBezTo>
                <a:cubicBezTo>
                  <a:pt x="62" y="193"/>
                  <a:pt x="60" y="194"/>
                  <a:pt x="60" y="196"/>
                </a:cubicBezTo>
                <a:cubicBezTo>
                  <a:pt x="61" y="195"/>
                  <a:pt x="61" y="194"/>
                  <a:pt x="63" y="193"/>
                </a:cubicBezTo>
                <a:cubicBezTo>
                  <a:pt x="63" y="192"/>
                  <a:pt x="62" y="193"/>
                  <a:pt x="62" y="193"/>
                </a:cubicBezTo>
                <a:cubicBezTo>
                  <a:pt x="62" y="192"/>
                  <a:pt x="64" y="191"/>
                  <a:pt x="63" y="190"/>
                </a:cubicBezTo>
                <a:close/>
                <a:moveTo>
                  <a:pt x="108" y="165"/>
                </a:moveTo>
                <a:cubicBezTo>
                  <a:pt x="108" y="164"/>
                  <a:pt x="107" y="165"/>
                  <a:pt x="106" y="166"/>
                </a:cubicBezTo>
                <a:cubicBezTo>
                  <a:pt x="105" y="167"/>
                  <a:pt x="107" y="165"/>
                  <a:pt x="106" y="167"/>
                </a:cubicBezTo>
                <a:cubicBezTo>
                  <a:pt x="107" y="166"/>
                  <a:pt x="107" y="166"/>
                  <a:pt x="108" y="165"/>
                </a:cubicBezTo>
                <a:close/>
                <a:moveTo>
                  <a:pt x="75" y="176"/>
                </a:moveTo>
                <a:cubicBezTo>
                  <a:pt x="74" y="178"/>
                  <a:pt x="73" y="179"/>
                  <a:pt x="72" y="180"/>
                </a:cubicBezTo>
                <a:cubicBezTo>
                  <a:pt x="72" y="180"/>
                  <a:pt x="75" y="177"/>
                  <a:pt x="75" y="176"/>
                </a:cubicBezTo>
                <a:close/>
                <a:moveTo>
                  <a:pt x="69" y="177"/>
                </a:moveTo>
                <a:cubicBezTo>
                  <a:pt x="69" y="178"/>
                  <a:pt x="68" y="178"/>
                  <a:pt x="67" y="180"/>
                </a:cubicBezTo>
                <a:cubicBezTo>
                  <a:pt x="68" y="179"/>
                  <a:pt x="69" y="178"/>
                  <a:pt x="69" y="177"/>
                </a:cubicBezTo>
                <a:close/>
                <a:moveTo>
                  <a:pt x="84" y="168"/>
                </a:moveTo>
                <a:cubicBezTo>
                  <a:pt x="85" y="168"/>
                  <a:pt x="86" y="167"/>
                  <a:pt x="87" y="166"/>
                </a:cubicBezTo>
                <a:cubicBezTo>
                  <a:pt x="86" y="167"/>
                  <a:pt x="85" y="167"/>
                  <a:pt x="84" y="168"/>
                </a:cubicBezTo>
                <a:close/>
                <a:moveTo>
                  <a:pt x="94" y="159"/>
                </a:moveTo>
                <a:cubicBezTo>
                  <a:pt x="93" y="160"/>
                  <a:pt x="93" y="160"/>
                  <a:pt x="93" y="160"/>
                </a:cubicBezTo>
                <a:cubicBezTo>
                  <a:pt x="94" y="160"/>
                  <a:pt x="94" y="159"/>
                  <a:pt x="95" y="158"/>
                </a:cubicBezTo>
                <a:cubicBezTo>
                  <a:pt x="95" y="158"/>
                  <a:pt x="94" y="158"/>
                  <a:pt x="94" y="159"/>
                </a:cubicBezTo>
                <a:close/>
                <a:moveTo>
                  <a:pt x="96" y="156"/>
                </a:moveTo>
                <a:cubicBezTo>
                  <a:pt x="97" y="156"/>
                  <a:pt x="98" y="155"/>
                  <a:pt x="98" y="154"/>
                </a:cubicBezTo>
                <a:cubicBezTo>
                  <a:pt x="99" y="154"/>
                  <a:pt x="97" y="155"/>
                  <a:pt x="96" y="156"/>
                </a:cubicBezTo>
                <a:close/>
                <a:moveTo>
                  <a:pt x="141" y="134"/>
                </a:moveTo>
                <a:cubicBezTo>
                  <a:pt x="141" y="134"/>
                  <a:pt x="141" y="134"/>
                  <a:pt x="141" y="134"/>
                </a:cubicBezTo>
                <a:cubicBezTo>
                  <a:pt x="141" y="133"/>
                  <a:pt x="142" y="133"/>
                  <a:pt x="142" y="133"/>
                </a:cubicBezTo>
                <a:cubicBezTo>
                  <a:pt x="143" y="133"/>
                  <a:pt x="142" y="132"/>
                  <a:pt x="143" y="132"/>
                </a:cubicBezTo>
                <a:cubicBezTo>
                  <a:pt x="144" y="130"/>
                  <a:pt x="142" y="133"/>
                  <a:pt x="142" y="132"/>
                </a:cubicBezTo>
                <a:cubicBezTo>
                  <a:pt x="141" y="132"/>
                  <a:pt x="139" y="135"/>
                  <a:pt x="141" y="134"/>
                </a:cubicBezTo>
                <a:close/>
                <a:moveTo>
                  <a:pt x="146" y="129"/>
                </a:moveTo>
                <a:cubicBezTo>
                  <a:pt x="145" y="129"/>
                  <a:pt x="145" y="129"/>
                  <a:pt x="145" y="129"/>
                </a:cubicBezTo>
                <a:cubicBezTo>
                  <a:pt x="144" y="130"/>
                  <a:pt x="144" y="130"/>
                  <a:pt x="143" y="131"/>
                </a:cubicBezTo>
                <a:cubicBezTo>
                  <a:pt x="144" y="131"/>
                  <a:pt x="144" y="130"/>
                  <a:pt x="144" y="130"/>
                </a:cubicBezTo>
                <a:cubicBezTo>
                  <a:pt x="145" y="130"/>
                  <a:pt x="145" y="130"/>
                  <a:pt x="145" y="130"/>
                </a:cubicBezTo>
                <a:cubicBezTo>
                  <a:pt x="146" y="130"/>
                  <a:pt x="146" y="129"/>
                  <a:pt x="146" y="129"/>
                </a:cubicBezTo>
                <a:close/>
                <a:moveTo>
                  <a:pt x="152" y="126"/>
                </a:moveTo>
                <a:cubicBezTo>
                  <a:pt x="151" y="126"/>
                  <a:pt x="151" y="127"/>
                  <a:pt x="150" y="128"/>
                </a:cubicBezTo>
                <a:cubicBezTo>
                  <a:pt x="151" y="127"/>
                  <a:pt x="152" y="127"/>
                  <a:pt x="152" y="126"/>
                </a:cubicBezTo>
                <a:close/>
                <a:moveTo>
                  <a:pt x="110" y="144"/>
                </a:moveTo>
                <a:cubicBezTo>
                  <a:pt x="112" y="143"/>
                  <a:pt x="111" y="142"/>
                  <a:pt x="110" y="142"/>
                </a:cubicBezTo>
                <a:cubicBezTo>
                  <a:pt x="109" y="144"/>
                  <a:pt x="110" y="143"/>
                  <a:pt x="110" y="144"/>
                </a:cubicBezTo>
                <a:close/>
                <a:moveTo>
                  <a:pt x="108" y="145"/>
                </a:moveTo>
                <a:cubicBezTo>
                  <a:pt x="109" y="143"/>
                  <a:pt x="111" y="142"/>
                  <a:pt x="111" y="141"/>
                </a:cubicBezTo>
                <a:cubicBezTo>
                  <a:pt x="110" y="142"/>
                  <a:pt x="108" y="143"/>
                  <a:pt x="108" y="145"/>
                </a:cubicBezTo>
                <a:close/>
                <a:moveTo>
                  <a:pt x="112" y="142"/>
                </a:moveTo>
                <a:cubicBezTo>
                  <a:pt x="113" y="141"/>
                  <a:pt x="114" y="140"/>
                  <a:pt x="114" y="139"/>
                </a:cubicBezTo>
                <a:cubicBezTo>
                  <a:pt x="113" y="140"/>
                  <a:pt x="113" y="141"/>
                  <a:pt x="112" y="142"/>
                </a:cubicBezTo>
                <a:cubicBezTo>
                  <a:pt x="112" y="142"/>
                  <a:pt x="112" y="141"/>
                  <a:pt x="112" y="142"/>
                </a:cubicBezTo>
                <a:close/>
                <a:moveTo>
                  <a:pt x="118" y="137"/>
                </a:moveTo>
                <a:cubicBezTo>
                  <a:pt x="117" y="139"/>
                  <a:pt x="117" y="139"/>
                  <a:pt x="117" y="139"/>
                </a:cubicBezTo>
                <a:cubicBezTo>
                  <a:pt x="119" y="137"/>
                  <a:pt x="120" y="137"/>
                  <a:pt x="118" y="137"/>
                </a:cubicBezTo>
                <a:close/>
                <a:moveTo>
                  <a:pt x="158" y="121"/>
                </a:moveTo>
                <a:cubicBezTo>
                  <a:pt x="159" y="121"/>
                  <a:pt x="160" y="120"/>
                  <a:pt x="160" y="119"/>
                </a:cubicBezTo>
                <a:cubicBezTo>
                  <a:pt x="159" y="120"/>
                  <a:pt x="158" y="120"/>
                  <a:pt x="158" y="121"/>
                </a:cubicBezTo>
                <a:close/>
                <a:moveTo>
                  <a:pt x="171" y="112"/>
                </a:moveTo>
                <a:cubicBezTo>
                  <a:pt x="173" y="109"/>
                  <a:pt x="176" y="108"/>
                  <a:pt x="177" y="106"/>
                </a:cubicBezTo>
                <a:cubicBezTo>
                  <a:pt x="175" y="108"/>
                  <a:pt x="173" y="109"/>
                  <a:pt x="171" y="111"/>
                </a:cubicBezTo>
                <a:cubicBezTo>
                  <a:pt x="171" y="111"/>
                  <a:pt x="171" y="111"/>
                  <a:pt x="171" y="110"/>
                </a:cubicBezTo>
                <a:cubicBezTo>
                  <a:pt x="169" y="111"/>
                  <a:pt x="170" y="112"/>
                  <a:pt x="171" y="112"/>
                </a:cubicBezTo>
                <a:close/>
                <a:moveTo>
                  <a:pt x="133" y="123"/>
                </a:moveTo>
                <a:cubicBezTo>
                  <a:pt x="132" y="122"/>
                  <a:pt x="131" y="125"/>
                  <a:pt x="132" y="125"/>
                </a:cubicBezTo>
                <a:cubicBezTo>
                  <a:pt x="133" y="124"/>
                  <a:pt x="132" y="123"/>
                  <a:pt x="133" y="123"/>
                </a:cubicBezTo>
                <a:close/>
                <a:moveTo>
                  <a:pt x="133" y="123"/>
                </a:moveTo>
                <a:cubicBezTo>
                  <a:pt x="134" y="123"/>
                  <a:pt x="134" y="122"/>
                  <a:pt x="135" y="121"/>
                </a:cubicBezTo>
                <a:cubicBezTo>
                  <a:pt x="134" y="121"/>
                  <a:pt x="133" y="122"/>
                  <a:pt x="133" y="123"/>
                </a:cubicBezTo>
                <a:close/>
                <a:moveTo>
                  <a:pt x="185" y="101"/>
                </a:moveTo>
                <a:cubicBezTo>
                  <a:pt x="184" y="101"/>
                  <a:pt x="183" y="101"/>
                  <a:pt x="183" y="102"/>
                </a:cubicBezTo>
                <a:cubicBezTo>
                  <a:pt x="184" y="102"/>
                  <a:pt x="184" y="102"/>
                  <a:pt x="184" y="102"/>
                </a:cubicBezTo>
                <a:cubicBezTo>
                  <a:pt x="185" y="101"/>
                  <a:pt x="184" y="101"/>
                  <a:pt x="185" y="101"/>
                </a:cubicBezTo>
                <a:close/>
                <a:moveTo>
                  <a:pt x="152" y="111"/>
                </a:moveTo>
                <a:cubicBezTo>
                  <a:pt x="152" y="110"/>
                  <a:pt x="151" y="110"/>
                  <a:pt x="152" y="109"/>
                </a:cubicBezTo>
                <a:cubicBezTo>
                  <a:pt x="151" y="110"/>
                  <a:pt x="150" y="112"/>
                  <a:pt x="152" y="111"/>
                </a:cubicBezTo>
                <a:close/>
                <a:moveTo>
                  <a:pt x="187" y="71"/>
                </a:moveTo>
                <a:cubicBezTo>
                  <a:pt x="186" y="72"/>
                  <a:pt x="186" y="73"/>
                  <a:pt x="185" y="74"/>
                </a:cubicBezTo>
                <a:cubicBezTo>
                  <a:pt x="187" y="73"/>
                  <a:pt x="187" y="72"/>
                  <a:pt x="187" y="71"/>
                </a:cubicBezTo>
                <a:close/>
                <a:moveTo>
                  <a:pt x="215" y="55"/>
                </a:moveTo>
                <a:cubicBezTo>
                  <a:pt x="216" y="55"/>
                  <a:pt x="216" y="54"/>
                  <a:pt x="217" y="54"/>
                </a:cubicBezTo>
                <a:cubicBezTo>
                  <a:pt x="218" y="54"/>
                  <a:pt x="216" y="55"/>
                  <a:pt x="216" y="55"/>
                </a:cubicBezTo>
                <a:cubicBezTo>
                  <a:pt x="217" y="55"/>
                  <a:pt x="218" y="54"/>
                  <a:pt x="219" y="53"/>
                </a:cubicBezTo>
                <a:cubicBezTo>
                  <a:pt x="218" y="54"/>
                  <a:pt x="218" y="54"/>
                  <a:pt x="217" y="53"/>
                </a:cubicBezTo>
                <a:cubicBezTo>
                  <a:pt x="218" y="52"/>
                  <a:pt x="220" y="52"/>
                  <a:pt x="221" y="51"/>
                </a:cubicBezTo>
                <a:cubicBezTo>
                  <a:pt x="220" y="51"/>
                  <a:pt x="220" y="52"/>
                  <a:pt x="219" y="52"/>
                </a:cubicBezTo>
                <a:cubicBezTo>
                  <a:pt x="217" y="53"/>
                  <a:pt x="216" y="54"/>
                  <a:pt x="215" y="54"/>
                </a:cubicBezTo>
                <a:cubicBezTo>
                  <a:pt x="215" y="55"/>
                  <a:pt x="216" y="54"/>
                  <a:pt x="215" y="55"/>
                </a:cubicBezTo>
                <a:close/>
                <a:moveTo>
                  <a:pt x="229" y="47"/>
                </a:moveTo>
                <a:cubicBezTo>
                  <a:pt x="228" y="47"/>
                  <a:pt x="227" y="49"/>
                  <a:pt x="227" y="48"/>
                </a:cubicBezTo>
                <a:cubicBezTo>
                  <a:pt x="226" y="48"/>
                  <a:pt x="226" y="49"/>
                  <a:pt x="226" y="49"/>
                </a:cubicBezTo>
                <a:cubicBezTo>
                  <a:pt x="228" y="49"/>
                  <a:pt x="228" y="49"/>
                  <a:pt x="228" y="49"/>
                </a:cubicBezTo>
                <a:cubicBezTo>
                  <a:pt x="229" y="48"/>
                  <a:pt x="229" y="48"/>
                  <a:pt x="229" y="47"/>
                </a:cubicBezTo>
                <a:close/>
                <a:moveTo>
                  <a:pt x="231" y="47"/>
                </a:moveTo>
                <a:cubicBezTo>
                  <a:pt x="231" y="47"/>
                  <a:pt x="232" y="46"/>
                  <a:pt x="233" y="45"/>
                </a:cubicBezTo>
                <a:cubicBezTo>
                  <a:pt x="232" y="45"/>
                  <a:pt x="232" y="45"/>
                  <a:pt x="232" y="45"/>
                </a:cubicBezTo>
                <a:cubicBezTo>
                  <a:pt x="231" y="46"/>
                  <a:pt x="231" y="46"/>
                  <a:pt x="231" y="46"/>
                </a:cubicBezTo>
                <a:cubicBezTo>
                  <a:pt x="231" y="46"/>
                  <a:pt x="231" y="46"/>
                  <a:pt x="230" y="47"/>
                </a:cubicBezTo>
                <a:cubicBezTo>
                  <a:pt x="231" y="47"/>
                  <a:pt x="230" y="47"/>
                  <a:pt x="231" y="47"/>
                </a:cubicBezTo>
                <a:close/>
                <a:moveTo>
                  <a:pt x="236" y="45"/>
                </a:moveTo>
                <a:cubicBezTo>
                  <a:pt x="237" y="44"/>
                  <a:pt x="238" y="44"/>
                  <a:pt x="239" y="43"/>
                </a:cubicBezTo>
                <a:cubicBezTo>
                  <a:pt x="238" y="43"/>
                  <a:pt x="237" y="45"/>
                  <a:pt x="235" y="45"/>
                </a:cubicBezTo>
                <a:cubicBezTo>
                  <a:pt x="235" y="45"/>
                  <a:pt x="236" y="45"/>
                  <a:pt x="236" y="45"/>
                </a:cubicBezTo>
                <a:close/>
                <a:moveTo>
                  <a:pt x="241" y="42"/>
                </a:moveTo>
                <a:cubicBezTo>
                  <a:pt x="241" y="42"/>
                  <a:pt x="242" y="42"/>
                  <a:pt x="242" y="41"/>
                </a:cubicBezTo>
                <a:cubicBezTo>
                  <a:pt x="242" y="41"/>
                  <a:pt x="241" y="41"/>
                  <a:pt x="241" y="41"/>
                </a:cubicBezTo>
                <a:cubicBezTo>
                  <a:pt x="240" y="42"/>
                  <a:pt x="240" y="42"/>
                  <a:pt x="241" y="42"/>
                </a:cubicBezTo>
                <a:close/>
                <a:moveTo>
                  <a:pt x="243" y="41"/>
                </a:moveTo>
                <a:cubicBezTo>
                  <a:pt x="244" y="41"/>
                  <a:pt x="243" y="41"/>
                  <a:pt x="244" y="41"/>
                </a:cubicBezTo>
                <a:cubicBezTo>
                  <a:pt x="244" y="40"/>
                  <a:pt x="243" y="40"/>
                  <a:pt x="243" y="40"/>
                </a:cubicBezTo>
                <a:cubicBezTo>
                  <a:pt x="242" y="41"/>
                  <a:pt x="242" y="41"/>
                  <a:pt x="242" y="41"/>
                </a:cubicBezTo>
                <a:cubicBezTo>
                  <a:pt x="243" y="41"/>
                  <a:pt x="242" y="41"/>
                  <a:pt x="243" y="41"/>
                </a:cubicBezTo>
                <a:close/>
                <a:moveTo>
                  <a:pt x="247" y="38"/>
                </a:moveTo>
                <a:cubicBezTo>
                  <a:pt x="246" y="39"/>
                  <a:pt x="244" y="39"/>
                  <a:pt x="243" y="39"/>
                </a:cubicBezTo>
                <a:cubicBezTo>
                  <a:pt x="243" y="40"/>
                  <a:pt x="246" y="39"/>
                  <a:pt x="247" y="38"/>
                </a:cubicBezTo>
                <a:close/>
                <a:moveTo>
                  <a:pt x="262" y="32"/>
                </a:moveTo>
                <a:cubicBezTo>
                  <a:pt x="263" y="32"/>
                  <a:pt x="264" y="31"/>
                  <a:pt x="264" y="31"/>
                </a:cubicBezTo>
                <a:cubicBezTo>
                  <a:pt x="263" y="31"/>
                  <a:pt x="263" y="32"/>
                  <a:pt x="262" y="31"/>
                </a:cubicBezTo>
                <a:cubicBezTo>
                  <a:pt x="261" y="32"/>
                  <a:pt x="261" y="33"/>
                  <a:pt x="262" y="32"/>
                </a:cubicBezTo>
                <a:close/>
                <a:moveTo>
                  <a:pt x="273" y="27"/>
                </a:moveTo>
                <a:cubicBezTo>
                  <a:pt x="272" y="28"/>
                  <a:pt x="272" y="28"/>
                  <a:pt x="272" y="28"/>
                </a:cubicBezTo>
                <a:cubicBezTo>
                  <a:pt x="273" y="28"/>
                  <a:pt x="274" y="27"/>
                  <a:pt x="275" y="27"/>
                </a:cubicBezTo>
                <a:lnTo>
                  <a:pt x="273" y="27"/>
                </a:lnTo>
                <a:close/>
                <a:moveTo>
                  <a:pt x="281" y="24"/>
                </a:moveTo>
                <a:cubicBezTo>
                  <a:pt x="280" y="24"/>
                  <a:pt x="281" y="24"/>
                  <a:pt x="280" y="25"/>
                </a:cubicBezTo>
                <a:cubicBezTo>
                  <a:pt x="280" y="25"/>
                  <a:pt x="279" y="25"/>
                  <a:pt x="278" y="26"/>
                </a:cubicBezTo>
                <a:cubicBezTo>
                  <a:pt x="280" y="25"/>
                  <a:pt x="281" y="25"/>
                  <a:pt x="282" y="24"/>
                </a:cubicBezTo>
                <a:cubicBezTo>
                  <a:pt x="283" y="24"/>
                  <a:pt x="280" y="25"/>
                  <a:pt x="281" y="24"/>
                </a:cubicBezTo>
                <a:close/>
                <a:moveTo>
                  <a:pt x="282" y="23"/>
                </a:moveTo>
                <a:cubicBezTo>
                  <a:pt x="283" y="23"/>
                  <a:pt x="284" y="22"/>
                  <a:pt x="285" y="22"/>
                </a:cubicBezTo>
                <a:cubicBezTo>
                  <a:pt x="284" y="22"/>
                  <a:pt x="283" y="22"/>
                  <a:pt x="282" y="22"/>
                </a:cubicBezTo>
                <a:cubicBezTo>
                  <a:pt x="282" y="23"/>
                  <a:pt x="283" y="22"/>
                  <a:pt x="282" y="23"/>
                </a:cubicBezTo>
                <a:close/>
                <a:moveTo>
                  <a:pt x="290" y="22"/>
                </a:moveTo>
                <a:cubicBezTo>
                  <a:pt x="292" y="21"/>
                  <a:pt x="294" y="20"/>
                  <a:pt x="296" y="20"/>
                </a:cubicBezTo>
                <a:cubicBezTo>
                  <a:pt x="297" y="19"/>
                  <a:pt x="294" y="20"/>
                  <a:pt x="293" y="20"/>
                </a:cubicBezTo>
                <a:cubicBezTo>
                  <a:pt x="292" y="20"/>
                  <a:pt x="293" y="20"/>
                  <a:pt x="291" y="21"/>
                </a:cubicBezTo>
                <a:cubicBezTo>
                  <a:pt x="289" y="21"/>
                  <a:pt x="289" y="21"/>
                  <a:pt x="288" y="21"/>
                </a:cubicBezTo>
                <a:cubicBezTo>
                  <a:pt x="288" y="22"/>
                  <a:pt x="288" y="22"/>
                  <a:pt x="290" y="22"/>
                </a:cubicBezTo>
                <a:close/>
                <a:moveTo>
                  <a:pt x="290" y="20"/>
                </a:moveTo>
                <a:cubicBezTo>
                  <a:pt x="292" y="20"/>
                  <a:pt x="293" y="19"/>
                  <a:pt x="295" y="19"/>
                </a:cubicBezTo>
                <a:cubicBezTo>
                  <a:pt x="294" y="19"/>
                  <a:pt x="291" y="19"/>
                  <a:pt x="290" y="20"/>
                </a:cubicBezTo>
                <a:close/>
                <a:moveTo>
                  <a:pt x="297" y="17"/>
                </a:moveTo>
                <a:cubicBezTo>
                  <a:pt x="298" y="17"/>
                  <a:pt x="298" y="17"/>
                  <a:pt x="299" y="17"/>
                </a:cubicBezTo>
                <a:cubicBezTo>
                  <a:pt x="300" y="17"/>
                  <a:pt x="298" y="17"/>
                  <a:pt x="299" y="16"/>
                </a:cubicBezTo>
                <a:cubicBezTo>
                  <a:pt x="298" y="16"/>
                  <a:pt x="298" y="17"/>
                  <a:pt x="297" y="17"/>
                </a:cubicBezTo>
                <a:cubicBezTo>
                  <a:pt x="298" y="17"/>
                  <a:pt x="298" y="17"/>
                  <a:pt x="297" y="17"/>
                </a:cubicBezTo>
                <a:close/>
                <a:moveTo>
                  <a:pt x="308" y="13"/>
                </a:moveTo>
                <a:cubicBezTo>
                  <a:pt x="308" y="14"/>
                  <a:pt x="308" y="14"/>
                  <a:pt x="307" y="14"/>
                </a:cubicBezTo>
                <a:cubicBezTo>
                  <a:pt x="307" y="14"/>
                  <a:pt x="308" y="14"/>
                  <a:pt x="309" y="14"/>
                </a:cubicBezTo>
                <a:cubicBezTo>
                  <a:pt x="308" y="14"/>
                  <a:pt x="309" y="13"/>
                  <a:pt x="308" y="13"/>
                </a:cubicBezTo>
                <a:close/>
                <a:moveTo>
                  <a:pt x="431" y="1"/>
                </a:moveTo>
                <a:cubicBezTo>
                  <a:pt x="430" y="1"/>
                  <a:pt x="429" y="0"/>
                  <a:pt x="427" y="0"/>
                </a:cubicBezTo>
                <a:cubicBezTo>
                  <a:pt x="426" y="0"/>
                  <a:pt x="427" y="1"/>
                  <a:pt x="426" y="1"/>
                </a:cubicBezTo>
                <a:cubicBezTo>
                  <a:pt x="428" y="1"/>
                  <a:pt x="430" y="1"/>
                  <a:pt x="431" y="1"/>
                </a:cubicBezTo>
                <a:close/>
                <a:moveTo>
                  <a:pt x="460" y="2"/>
                </a:moveTo>
                <a:cubicBezTo>
                  <a:pt x="461" y="2"/>
                  <a:pt x="462" y="2"/>
                  <a:pt x="463" y="2"/>
                </a:cubicBezTo>
                <a:cubicBezTo>
                  <a:pt x="463" y="2"/>
                  <a:pt x="461" y="1"/>
                  <a:pt x="460" y="2"/>
                </a:cubicBezTo>
                <a:close/>
                <a:moveTo>
                  <a:pt x="500" y="10"/>
                </a:moveTo>
                <a:cubicBezTo>
                  <a:pt x="498" y="9"/>
                  <a:pt x="497" y="9"/>
                  <a:pt x="495" y="9"/>
                </a:cubicBezTo>
                <a:cubicBezTo>
                  <a:pt x="495" y="9"/>
                  <a:pt x="498" y="10"/>
                  <a:pt x="500" y="10"/>
                </a:cubicBezTo>
                <a:close/>
                <a:moveTo>
                  <a:pt x="512" y="13"/>
                </a:moveTo>
                <a:cubicBezTo>
                  <a:pt x="514" y="13"/>
                  <a:pt x="517" y="14"/>
                  <a:pt x="517" y="14"/>
                </a:cubicBezTo>
                <a:cubicBezTo>
                  <a:pt x="516" y="13"/>
                  <a:pt x="513" y="13"/>
                  <a:pt x="512" y="13"/>
                </a:cubicBezTo>
                <a:close/>
                <a:moveTo>
                  <a:pt x="545" y="23"/>
                </a:moveTo>
                <a:cubicBezTo>
                  <a:pt x="546" y="24"/>
                  <a:pt x="547" y="24"/>
                  <a:pt x="548" y="25"/>
                </a:cubicBezTo>
                <a:cubicBezTo>
                  <a:pt x="549" y="25"/>
                  <a:pt x="546" y="23"/>
                  <a:pt x="545" y="23"/>
                </a:cubicBezTo>
                <a:close/>
                <a:moveTo>
                  <a:pt x="578" y="40"/>
                </a:moveTo>
                <a:cubicBezTo>
                  <a:pt x="578" y="40"/>
                  <a:pt x="577" y="39"/>
                  <a:pt x="576" y="39"/>
                </a:cubicBezTo>
                <a:cubicBezTo>
                  <a:pt x="577" y="40"/>
                  <a:pt x="576" y="40"/>
                  <a:pt x="577" y="40"/>
                </a:cubicBezTo>
                <a:cubicBezTo>
                  <a:pt x="577" y="40"/>
                  <a:pt x="578" y="40"/>
                  <a:pt x="578" y="40"/>
                </a:cubicBezTo>
                <a:close/>
                <a:moveTo>
                  <a:pt x="642" y="137"/>
                </a:moveTo>
                <a:cubicBezTo>
                  <a:pt x="644" y="139"/>
                  <a:pt x="646" y="140"/>
                  <a:pt x="648" y="142"/>
                </a:cubicBezTo>
                <a:cubicBezTo>
                  <a:pt x="647" y="141"/>
                  <a:pt x="644" y="138"/>
                  <a:pt x="642" y="137"/>
                </a:cubicBezTo>
                <a:close/>
                <a:moveTo>
                  <a:pt x="650" y="144"/>
                </a:moveTo>
                <a:cubicBezTo>
                  <a:pt x="650" y="143"/>
                  <a:pt x="649" y="143"/>
                  <a:pt x="648" y="142"/>
                </a:cubicBezTo>
                <a:cubicBezTo>
                  <a:pt x="649" y="143"/>
                  <a:pt x="649" y="144"/>
                  <a:pt x="650" y="144"/>
                </a:cubicBezTo>
                <a:close/>
                <a:moveTo>
                  <a:pt x="633" y="74"/>
                </a:moveTo>
                <a:cubicBezTo>
                  <a:pt x="635" y="75"/>
                  <a:pt x="635" y="76"/>
                  <a:pt x="637" y="77"/>
                </a:cubicBezTo>
                <a:cubicBezTo>
                  <a:pt x="636" y="75"/>
                  <a:pt x="634" y="74"/>
                  <a:pt x="632" y="73"/>
                </a:cubicBezTo>
                <a:cubicBezTo>
                  <a:pt x="633" y="74"/>
                  <a:pt x="632" y="74"/>
                  <a:pt x="633" y="74"/>
                </a:cubicBezTo>
                <a:cubicBezTo>
                  <a:pt x="633" y="74"/>
                  <a:pt x="633" y="74"/>
                  <a:pt x="633" y="74"/>
                </a:cubicBezTo>
                <a:close/>
                <a:moveTo>
                  <a:pt x="640" y="83"/>
                </a:moveTo>
                <a:cubicBezTo>
                  <a:pt x="640" y="82"/>
                  <a:pt x="642" y="83"/>
                  <a:pt x="641" y="82"/>
                </a:cubicBezTo>
                <a:cubicBezTo>
                  <a:pt x="640" y="81"/>
                  <a:pt x="640" y="82"/>
                  <a:pt x="640" y="83"/>
                </a:cubicBezTo>
                <a:close/>
                <a:moveTo>
                  <a:pt x="641" y="81"/>
                </a:moveTo>
                <a:cubicBezTo>
                  <a:pt x="641" y="80"/>
                  <a:pt x="640" y="80"/>
                  <a:pt x="639" y="79"/>
                </a:cubicBezTo>
                <a:cubicBezTo>
                  <a:pt x="639" y="79"/>
                  <a:pt x="639" y="80"/>
                  <a:pt x="640" y="80"/>
                </a:cubicBezTo>
                <a:cubicBezTo>
                  <a:pt x="641" y="81"/>
                  <a:pt x="641" y="81"/>
                  <a:pt x="641" y="81"/>
                </a:cubicBezTo>
                <a:close/>
                <a:moveTo>
                  <a:pt x="701" y="139"/>
                </a:moveTo>
                <a:cubicBezTo>
                  <a:pt x="700" y="138"/>
                  <a:pt x="700" y="138"/>
                  <a:pt x="699" y="137"/>
                </a:cubicBezTo>
                <a:cubicBezTo>
                  <a:pt x="699" y="138"/>
                  <a:pt x="699" y="137"/>
                  <a:pt x="699" y="137"/>
                </a:cubicBezTo>
                <a:cubicBezTo>
                  <a:pt x="699" y="138"/>
                  <a:pt x="700" y="138"/>
                  <a:pt x="701" y="139"/>
                </a:cubicBezTo>
                <a:close/>
                <a:moveTo>
                  <a:pt x="705" y="142"/>
                </a:moveTo>
                <a:cubicBezTo>
                  <a:pt x="704" y="141"/>
                  <a:pt x="704" y="140"/>
                  <a:pt x="703" y="141"/>
                </a:cubicBezTo>
                <a:cubicBezTo>
                  <a:pt x="704" y="141"/>
                  <a:pt x="705" y="142"/>
                  <a:pt x="705" y="142"/>
                </a:cubicBezTo>
                <a:close/>
                <a:moveTo>
                  <a:pt x="714" y="155"/>
                </a:moveTo>
                <a:cubicBezTo>
                  <a:pt x="712" y="151"/>
                  <a:pt x="709" y="149"/>
                  <a:pt x="706" y="146"/>
                </a:cubicBezTo>
                <a:cubicBezTo>
                  <a:pt x="708" y="148"/>
                  <a:pt x="710" y="151"/>
                  <a:pt x="712" y="153"/>
                </a:cubicBezTo>
                <a:cubicBezTo>
                  <a:pt x="712" y="152"/>
                  <a:pt x="713" y="154"/>
                  <a:pt x="714" y="155"/>
                </a:cubicBezTo>
                <a:close/>
                <a:moveTo>
                  <a:pt x="713" y="154"/>
                </a:moveTo>
                <a:cubicBezTo>
                  <a:pt x="713" y="155"/>
                  <a:pt x="715" y="156"/>
                  <a:pt x="715" y="157"/>
                </a:cubicBezTo>
                <a:cubicBezTo>
                  <a:pt x="715" y="156"/>
                  <a:pt x="714" y="155"/>
                  <a:pt x="713" y="154"/>
                </a:cubicBezTo>
                <a:close/>
                <a:moveTo>
                  <a:pt x="716" y="158"/>
                </a:moveTo>
                <a:cubicBezTo>
                  <a:pt x="717" y="159"/>
                  <a:pt x="718" y="161"/>
                  <a:pt x="719" y="162"/>
                </a:cubicBezTo>
                <a:cubicBezTo>
                  <a:pt x="719" y="161"/>
                  <a:pt x="717" y="159"/>
                  <a:pt x="716" y="158"/>
                </a:cubicBezTo>
                <a:close/>
                <a:moveTo>
                  <a:pt x="718" y="162"/>
                </a:moveTo>
                <a:cubicBezTo>
                  <a:pt x="719" y="163"/>
                  <a:pt x="719" y="164"/>
                  <a:pt x="719" y="165"/>
                </a:cubicBezTo>
                <a:cubicBezTo>
                  <a:pt x="720" y="165"/>
                  <a:pt x="721" y="166"/>
                  <a:pt x="721" y="165"/>
                </a:cubicBezTo>
                <a:cubicBezTo>
                  <a:pt x="720" y="165"/>
                  <a:pt x="719" y="163"/>
                  <a:pt x="718" y="162"/>
                </a:cubicBezTo>
                <a:close/>
                <a:moveTo>
                  <a:pt x="726" y="163"/>
                </a:moveTo>
                <a:cubicBezTo>
                  <a:pt x="726" y="162"/>
                  <a:pt x="726" y="162"/>
                  <a:pt x="725" y="161"/>
                </a:cubicBezTo>
                <a:cubicBezTo>
                  <a:pt x="725" y="161"/>
                  <a:pt x="725" y="161"/>
                  <a:pt x="725" y="161"/>
                </a:cubicBezTo>
                <a:cubicBezTo>
                  <a:pt x="724" y="161"/>
                  <a:pt x="725" y="163"/>
                  <a:pt x="726" y="163"/>
                </a:cubicBezTo>
                <a:close/>
                <a:moveTo>
                  <a:pt x="731" y="178"/>
                </a:moveTo>
                <a:cubicBezTo>
                  <a:pt x="730" y="176"/>
                  <a:pt x="731" y="179"/>
                  <a:pt x="732" y="178"/>
                </a:cubicBezTo>
                <a:cubicBezTo>
                  <a:pt x="732" y="177"/>
                  <a:pt x="730" y="177"/>
                  <a:pt x="730" y="176"/>
                </a:cubicBezTo>
                <a:cubicBezTo>
                  <a:pt x="730" y="176"/>
                  <a:pt x="730" y="178"/>
                  <a:pt x="730" y="176"/>
                </a:cubicBezTo>
                <a:cubicBezTo>
                  <a:pt x="729" y="176"/>
                  <a:pt x="729" y="176"/>
                  <a:pt x="729" y="176"/>
                </a:cubicBezTo>
                <a:cubicBezTo>
                  <a:pt x="730" y="177"/>
                  <a:pt x="730" y="177"/>
                  <a:pt x="730" y="177"/>
                </a:cubicBezTo>
                <a:cubicBezTo>
                  <a:pt x="730" y="178"/>
                  <a:pt x="732" y="181"/>
                  <a:pt x="734" y="182"/>
                </a:cubicBezTo>
                <a:cubicBezTo>
                  <a:pt x="734" y="182"/>
                  <a:pt x="734" y="182"/>
                  <a:pt x="734" y="182"/>
                </a:cubicBezTo>
                <a:cubicBezTo>
                  <a:pt x="733" y="181"/>
                  <a:pt x="732" y="179"/>
                  <a:pt x="731" y="178"/>
                </a:cubicBezTo>
                <a:close/>
                <a:moveTo>
                  <a:pt x="728" y="166"/>
                </a:moveTo>
                <a:cubicBezTo>
                  <a:pt x="729" y="168"/>
                  <a:pt x="731" y="170"/>
                  <a:pt x="732" y="171"/>
                </a:cubicBezTo>
                <a:cubicBezTo>
                  <a:pt x="731" y="169"/>
                  <a:pt x="730" y="168"/>
                  <a:pt x="728" y="166"/>
                </a:cubicBezTo>
                <a:close/>
                <a:moveTo>
                  <a:pt x="737" y="187"/>
                </a:moveTo>
                <a:cubicBezTo>
                  <a:pt x="737" y="186"/>
                  <a:pt x="736" y="185"/>
                  <a:pt x="735" y="184"/>
                </a:cubicBezTo>
                <a:cubicBezTo>
                  <a:pt x="735" y="185"/>
                  <a:pt x="735" y="185"/>
                  <a:pt x="735" y="187"/>
                </a:cubicBezTo>
                <a:cubicBezTo>
                  <a:pt x="736" y="186"/>
                  <a:pt x="736" y="186"/>
                  <a:pt x="737" y="187"/>
                </a:cubicBezTo>
                <a:close/>
                <a:moveTo>
                  <a:pt x="737" y="186"/>
                </a:moveTo>
                <a:cubicBezTo>
                  <a:pt x="737" y="187"/>
                  <a:pt x="738" y="188"/>
                  <a:pt x="739" y="190"/>
                </a:cubicBezTo>
                <a:cubicBezTo>
                  <a:pt x="738" y="188"/>
                  <a:pt x="738" y="187"/>
                  <a:pt x="737" y="186"/>
                </a:cubicBezTo>
                <a:close/>
                <a:moveTo>
                  <a:pt x="745" y="199"/>
                </a:moveTo>
                <a:cubicBezTo>
                  <a:pt x="744" y="197"/>
                  <a:pt x="742" y="195"/>
                  <a:pt x="741" y="193"/>
                </a:cubicBezTo>
                <a:cubicBezTo>
                  <a:pt x="740" y="193"/>
                  <a:pt x="744" y="197"/>
                  <a:pt x="744" y="199"/>
                </a:cubicBezTo>
                <a:cubicBezTo>
                  <a:pt x="745" y="199"/>
                  <a:pt x="744" y="198"/>
                  <a:pt x="745" y="199"/>
                </a:cubicBezTo>
                <a:close/>
                <a:moveTo>
                  <a:pt x="741" y="192"/>
                </a:moveTo>
                <a:cubicBezTo>
                  <a:pt x="742" y="194"/>
                  <a:pt x="744" y="196"/>
                  <a:pt x="745" y="198"/>
                </a:cubicBezTo>
                <a:cubicBezTo>
                  <a:pt x="745" y="196"/>
                  <a:pt x="743" y="194"/>
                  <a:pt x="741" y="192"/>
                </a:cubicBezTo>
                <a:close/>
                <a:moveTo>
                  <a:pt x="745" y="196"/>
                </a:moveTo>
                <a:cubicBezTo>
                  <a:pt x="745" y="196"/>
                  <a:pt x="747" y="198"/>
                  <a:pt x="747" y="199"/>
                </a:cubicBezTo>
                <a:cubicBezTo>
                  <a:pt x="747" y="198"/>
                  <a:pt x="746" y="197"/>
                  <a:pt x="745" y="196"/>
                </a:cubicBezTo>
                <a:close/>
                <a:moveTo>
                  <a:pt x="749" y="203"/>
                </a:moveTo>
                <a:cubicBezTo>
                  <a:pt x="747" y="201"/>
                  <a:pt x="747" y="199"/>
                  <a:pt x="746" y="198"/>
                </a:cubicBezTo>
                <a:cubicBezTo>
                  <a:pt x="746" y="199"/>
                  <a:pt x="747" y="201"/>
                  <a:pt x="749" y="203"/>
                </a:cubicBezTo>
                <a:close/>
                <a:moveTo>
                  <a:pt x="750" y="207"/>
                </a:moveTo>
                <a:cubicBezTo>
                  <a:pt x="749" y="205"/>
                  <a:pt x="751" y="207"/>
                  <a:pt x="751" y="208"/>
                </a:cubicBezTo>
                <a:cubicBezTo>
                  <a:pt x="751" y="209"/>
                  <a:pt x="750" y="208"/>
                  <a:pt x="750" y="207"/>
                </a:cubicBezTo>
                <a:cubicBezTo>
                  <a:pt x="749" y="208"/>
                  <a:pt x="751" y="208"/>
                  <a:pt x="751" y="209"/>
                </a:cubicBezTo>
                <a:cubicBezTo>
                  <a:pt x="752" y="210"/>
                  <a:pt x="755" y="213"/>
                  <a:pt x="756" y="215"/>
                </a:cubicBezTo>
                <a:cubicBezTo>
                  <a:pt x="757" y="215"/>
                  <a:pt x="754" y="211"/>
                  <a:pt x="753" y="211"/>
                </a:cubicBezTo>
                <a:cubicBezTo>
                  <a:pt x="754" y="211"/>
                  <a:pt x="752" y="209"/>
                  <a:pt x="753" y="209"/>
                </a:cubicBezTo>
                <a:cubicBezTo>
                  <a:pt x="751" y="207"/>
                  <a:pt x="749" y="206"/>
                  <a:pt x="747" y="203"/>
                </a:cubicBezTo>
                <a:cubicBezTo>
                  <a:pt x="747" y="204"/>
                  <a:pt x="748" y="206"/>
                  <a:pt x="750" y="207"/>
                </a:cubicBezTo>
                <a:close/>
                <a:moveTo>
                  <a:pt x="755" y="215"/>
                </a:moveTo>
                <a:cubicBezTo>
                  <a:pt x="755" y="214"/>
                  <a:pt x="755" y="215"/>
                  <a:pt x="755" y="216"/>
                </a:cubicBezTo>
                <a:cubicBezTo>
                  <a:pt x="755" y="217"/>
                  <a:pt x="756" y="217"/>
                  <a:pt x="757" y="218"/>
                </a:cubicBezTo>
                <a:cubicBezTo>
                  <a:pt x="757" y="218"/>
                  <a:pt x="757" y="218"/>
                  <a:pt x="757" y="218"/>
                </a:cubicBezTo>
                <a:cubicBezTo>
                  <a:pt x="757" y="216"/>
                  <a:pt x="757" y="216"/>
                  <a:pt x="757" y="216"/>
                </a:cubicBezTo>
                <a:cubicBezTo>
                  <a:pt x="756" y="216"/>
                  <a:pt x="756" y="217"/>
                  <a:pt x="755" y="215"/>
                </a:cubicBezTo>
                <a:close/>
                <a:moveTo>
                  <a:pt x="756" y="219"/>
                </a:moveTo>
                <a:cubicBezTo>
                  <a:pt x="756" y="220"/>
                  <a:pt x="758" y="222"/>
                  <a:pt x="757" y="220"/>
                </a:cubicBezTo>
                <a:cubicBezTo>
                  <a:pt x="757" y="219"/>
                  <a:pt x="757" y="219"/>
                  <a:pt x="756" y="219"/>
                </a:cubicBezTo>
                <a:close/>
                <a:moveTo>
                  <a:pt x="760" y="223"/>
                </a:moveTo>
                <a:cubicBezTo>
                  <a:pt x="760" y="222"/>
                  <a:pt x="759" y="221"/>
                  <a:pt x="758" y="220"/>
                </a:cubicBezTo>
                <a:cubicBezTo>
                  <a:pt x="757" y="220"/>
                  <a:pt x="759" y="222"/>
                  <a:pt x="759" y="222"/>
                </a:cubicBezTo>
                <a:cubicBezTo>
                  <a:pt x="759" y="222"/>
                  <a:pt x="759" y="222"/>
                  <a:pt x="760" y="223"/>
                </a:cubicBezTo>
                <a:close/>
                <a:moveTo>
                  <a:pt x="6" y="330"/>
                </a:moveTo>
                <a:cubicBezTo>
                  <a:pt x="5" y="330"/>
                  <a:pt x="5" y="331"/>
                  <a:pt x="5" y="332"/>
                </a:cubicBezTo>
                <a:cubicBezTo>
                  <a:pt x="3" y="334"/>
                  <a:pt x="2" y="337"/>
                  <a:pt x="1" y="338"/>
                </a:cubicBezTo>
                <a:cubicBezTo>
                  <a:pt x="1" y="339"/>
                  <a:pt x="3" y="337"/>
                  <a:pt x="3" y="336"/>
                </a:cubicBezTo>
                <a:cubicBezTo>
                  <a:pt x="3" y="338"/>
                  <a:pt x="2" y="338"/>
                  <a:pt x="2" y="340"/>
                </a:cubicBezTo>
                <a:cubicBezTo>
                  <a:pt x="1" y="340"/>
                  <a:pt x="2" y="339"/>
                  <a:pt x="1" y="340"/>
                </a:cubicBezTo>
                <a:cubicBezTo>
                  <a:pt x="1" y="340"/>
                  <a:pt x="0" y="341"/>
                  <a:pt x="0" y="341"/>
                </a:cubicBezTo>
                <a:cubicBezTo>
                  <a:pt x="1" y="339"/>
                  <a:pt x="2" y="343"/>
                  <a:pt x="1" y="340"/>
                </a:cubicBezTo>
                <a:cubicBezTo>
                  <a:pt x="3" y="338"/>
                  <a:pt x="4" y="335"/>
                  <a:pt x="6" y="333"/>
                </a:cubicBezTo>
                <a:cubicBezTo>
                  <a:pt x="6" y="331"/>
                  <a:pt x="6" y="331"/>
                  <a:pt x="7" y="331"/>
                </a:cubicBezTo>
                <a:cubicBezTo>
                  <a:pt x="7" y="330"/>
                  <a:pt x="6" y="331"/>
                  <a:pt x="6" y="330"/>
                </a:cubicBezTo>
                <a:cubicBezTo>
                  <a:pt x="7" y="329"/>
                  <a:pt x="7" y="330"/>
                  <a:pt x="7" y="329"/>
                </a:cubicBezTo>
                <a:cubicBezTo>
                  <a:pt x="7" y="329"/>
                  <a:pt x="7" y="328"/>
                  <a:pt x="7" y="326"/>
                </a:cubicBezTo>
                <a:cubicBezTo>
                  <a:pt x="7" y="327"/>
                  <a:pt x="7" y="328"/>
                  <a:pt x="6" y="330"/>
                </a:cubicBezTo>
                <a:close/>
                <a:moveTo>
                  <a:pt x="19" y="313"/>
                </a:moveTo>
                <a:cubicBezTo>
                  <a:pt x="19" y="314"/>
                  <a:pt x="18" y="315"/>
                  <a:pt x="18" y="316"/>
                </a:cubicBezTo>
                <a:cubicBezTo>
                  <a:pt x="19" y="315"/>
                  <a:pt x="19" y="313"/>
                  <a:pt x="20" y="312"/>
                </a:cubicBezTo>
                <a:cubicBezTo>
                  <a:pt x="19" y="313"/>
                  <a:pt x="20" y="312"/>
                  <a:pt x="19" y="313"/>
                </a:cubicBezTo>
                <a:close/>
                <a:moveTo>
                  <a:pt x="150" y="113"/>
                </a:moveTo>
                <a:cubicBezTo>
                  <a:pt x="150" y="113"/>
                  <a:pt x="150" y="113"/>
                  <a:pt x="149" y="113"/>
                </a:cubicBezTo>
                <a:cubicBezTo>
                  <a:pt x="150" y="113"/>
                  <a:pt x="150" y="113"/>
                  <a:pt x="150" y="113"/>
                </a:cubicBezTo>
                <a:cubicBezTo>
                  <a:pt x="150" y="113"/>
                  <a:pt x="150" y="113"/>
                  <a:pt x="150" y="113"/>
                </a:cubicBezTo>
                <a:close/>
                <a:moveTo>
                  <a:pt x="83" y="234"/>
                </a:moveTo>
                <a:cubicBezTo>
                  <a:pt x="83" y="235"/>
                  <a:pt x="82" y="235"/>
                  <a:pt x="82" y="236"/>
                </a:cubicBezTo>
                <a:cubicBezTo>
                  <a:pt x="82" y="235"/>
                  <a:pt x="83" y="235"/>
                  <a:pt x="83" y="234"/>
                </a:cubicBezTo>
                <a:close/>
                <a:moveTo>
                  <a:pt x="72" y="249"/>
                </a:moveTo>
                <a:cubicBezTo>
                  <a:pt x="72" y="250"/>
                  <a:pt x="69" y="252"/>
                  <a:pt x="68" y="254"/>
                </a:cubicBezTo>
                <a:cubicBezTo>
                  <a:pt x="71" y="251"/>
                  <a:pt x="73" y="248"/>
                  <a:pt x="75" y="245"/>
                </a:cubicBezTo>
                <a:cubicBezTo>
                  <a:pt x="75" y="244"/>
                  <a:pt x="74" y="246"/>
                  <a:pt x="74" y="246"/>
                </a:cubicBezTo>
                <a:cubicBezTo>
                  <a:pt x="73" y="247"/>
                  <a:pt x="73" y="248"/>
                  <a:pt x="72" y="249"/>
                </a:cubicBezTo>
                <a:close/>
                <a:moveTo>
                  <a:pt x="150" y="113"/>
                </a:moveTo>
                <a:cubicBezTo>
                  <a:pt x="150" y="113"/>
                  <a:pt x="151" y="112"/>
                  <a:pt x="151" y="112"/>
                </a:cubicBezTo>
                <a:cubicBezTo>
                  <a:pt x="151" y="111"/>
                  <a:pt x="150" y="112"/>
                  <a:pt x="150" y="113"/>
                </a:cubicBezTo>
                <a:close/>
                <a:moveTo>
                  <a:pt x="165" y="89"/>
                </a:moveTo>
                <a:cubicBezTo>
                  <a:pt x="165" y="89"/>
                  <a:pt x="166" y="88"/>
                  <a:pt x="166" y="89"/>
                </a:cubicBezTo>
                <a:cubicBezTo>
                  <a:pt x="168" y="86"/>
                  <a:pt x="172" y="84"/>
                  <a:pt x="175" y="82"/>
                </a:cubicBezTo>
                <a:cubicBezTo>
                  <a:pt x="172" y="83"/>
                  <a:pt x="169" y="85"/>
                  <a:pt x="167" y="87"/>
                </a:cubicBezTo>
                <a:cubicBezTo>
                  <a:pt x="166" y="87"/>
                  <a:pt x="167" y="87"/>
                  <a:pt x="167" y="87"/>
                </a:cubicBezTo>
                <a:cubicBezTo>
                  <a:pt x="167" y="88"/>
                  <a:pt x="166" y="88"/>
                  <a:pt x="165" y="89"/>
                </a:cubicBezTo>
                <a:close/>
                <a:moveTo>
                  <a:pt x="46" y="284"/>
                </a:moveTo>
                <a:cubicBezTo>
                  <a:pt x="45" y="284"/>
                  <a:pt x="44" y="285"/>
                  <a:pt x="44" y="286"/>
                </a:cubicBezTo>
                <a:cubicBezTo>
                  <a:pt x="45" y="286"/>
                  <a:pt x="45" y="284"/>
                  <a:pt x="46" y="284"/>
                </a:cubicBezTo>
                <a:close/>
                <a:moveTo>
                  <a:pt x="75" y="235"/>
                </a:moveTo>
                <a:cubicBezTo>
                  <a:pt x="75" y="234"/>
                  <a:pt x="75" y="235"/>
                  <a:pt x="74" y="236"/>
                </a:cubicBezTo>
                <a:cubicBezTo>
                  <a:pt x="74" y="237"/>
                  <a:pt x="74" y="237"/>
                  <a:pt x="74" y="237"/>
                </a:cubicBezTo>
                <a:cubicBezTo>
                  <a:pt x="74" y="237"/>
                  <a:pt x="74" y="236"/>
                  <a:pt x="75" y="236"/>
                </a:cubicBezTo>
                <a:cubicBezTo>
                  <a:pt x="75" y="236"/>
                  <a:pt x="75" y="236"/>
                  <a:pt x="75" y="235"/>
                </a:cubicBezTo>
                <a:close/>
                <a:moveTo>
                  <a:pt x="35" y="265"/>
                </a:moveTo>
                <a:cubicBezTo>
                  <a:pt x="36" y="264"/>
                  <a:pt x="35" y="265"/>
                  <a:pt x="35" y="264"/>
                </a:cubicBezTo>
                <a:cubicBezTo>
                  <a:pt x="34" y="265"/>
                  <a:pt x="35" y="265"/>
                  <a:pt x="34" y="266"/>
                </a:cubicBezTo>
                <a:cubicBezTo>
                  <a:pt x="33" y="268"/>
                  <a:pt x="35" y="265"/>
                  <a:pt x="35" y="265"/>
                </a:cubicBezTo>
                <a:close/>
                <a:moveTo>
                  <a:pt x="52" y="251"/>
                </a:moveTo>
                <a:cubicBezTo>
                  <a:pt x="52" y="250"/>
                  <a:pt x="51" y="252"/>
                  <a:pt x="51" y="252"/>
                </a:cubicBezTo>
                <a:cubicBezTo>
                  <a:pt x="51" y="253"/>
                  <a:pt x="51" y="253"/>
                  <a:pt x="51" y="253"/>
                </a:cubicBezTo>
                <a:cubicBezTo>
                  <a:pt x="51" y="252"/>
                  <a:pt x="52" y="252"/>
                  <a:pt x="52" y="251"/>
                </a:cubicBezTo>
                <a:close/>
                <a:moveTo>
                  <a:pt x="47" y="254"/>
                </a:moveTo>
                <a:cubicBezTo>
                  <a:pt x="46" y="254"/>
                  <a:pt x="47" y="253"/>
                  <a:pt x="46" y="254"/>
                </a:cubicBezTo>
                <a:cubicBezTo>
                  <a:pt x="46" y="255"/>
                  <a:pt x="46" y="255"/>
                  <a:pt x="46" y="255"/>
                </a:cubicBezTo>
                <a:cubicBezTo>
                  <a:pt x="46" y="255"/>
                  <a:pt x="46" y="254"/>
                  <a:pt x="47" y="254"/>
                </a:cubicBezTo>
                <a:cubicBezTo>
                  <a:pt x="47" y="253"/>
                  <a:pt x="47" y="254"/>
                  <a:pt x="47" y="254"/>
                </a:cubicBezTo>
                <a:close/>
                <a:moveTo>
                  <a:pt x="86" y="226"/>
                </a:moveTo>
                <a:cubicBezTo>
                  <a:pt x="87" y="225"/>
                  <a:pt x="86" y="225"/>
                  <a:pt x="86" y="225"/>
                </a:cubicBezTo>
                <a:cubicBezTo>
                  <a:pt x="87" y="224"/>
                  <a:pt x="87" y="225"/>
                  <a:pt x="87" y="224"/>
                </a:cubicBezTo>
                <a:cubicBezTo>
                  <a:pt x="88" y="222"/>
                  <a:pt x="89" y="221"/>
                  <a:pt x="90" y="220"/>
                </a:cubicBezTo>
                <a:cubicBezTo>
                  <a:pt x="90" y="219"/>
                  <a:pt x="90" y="219"/>
                  <a:pt x="90" y="219"/>
                </a:cubicBezTo>
                <a:cubicBezTo>
                  <a:pt x="90" y="220"/>
                  <a:pt x="88" y="222"/>
                  <a:pt x="86" y="224"/>
                </a:cubicBezTo>
                <a:cubicBezTo>
                  <a:pt x="86" y="225"/>
                  <a:pt x="85" y="226"/>
                  <a:pt x="86" y="226"/>
                </a:cubicBezTo>
                <a:close/>
                <a:moveTo>
                  <a:pt x="43" y="255"/>
                </a:moveTo>
                <a:cubicBezTo>
                  <a:pt x="45" y="251"/>
                  <a:pt x="46" y="249"/>
                  <a:pt x="48" y="245"/>
                </a:cubicBezTo>
                <a:cubicBezTo>
                  <a:pt x="48" y="246"/>
                  <a:pt x="47" y="247"/>
                  <a:pt x="47" y="246"/>
                </a:cubicBezTo>
                <a:cubicBezTo>
                  <a:pt x="46" y="247"/>
                  <a:pt x="47" y="247"/>
                  <a:pt x="46" y="248"/>
                </a:cubicBezTo>
                <a:cubicBezTo>
                  <a:pt x="46" y="248"/>
                  <a:pt x="43" y="252"/>
                  <a:pt x="44" y="251"/>
                </a:cubicBezTo>
                <a:cubicBezTo>
                  <a:pt x="43" y="251"/>
                  <a:pt x="43" y="254"/>
                  <a:pt x="43" y="255"/>
                </a:cubicBezTo>
                <a:close/>
                <a:moveTo>
                  <a:pt x="103" y="210"/>
                </a:moveTo>
                <a:cubicBezTo>
                  <a:pt x="99" y="215"/>
                  <a:pt x="99" y="215"/>
                  <a:pt x="99" y="215"/>
                </a:cubicBezTo>
                <a:cubicBezTo>
                  <a:pt x="100" y="215"/>
                  <a:pt x="102" y="212"/>
                  <a:pt x="103" y="210"/>
                </a:cubicBezTo>
                <a:close/>
                <a:moveTo>
                  <a:pt x="5" y="281"/>
                </a:moveTo>
                <a:cubicBezTo>
                  <a:pt x="5" y="281"/>
                  <a:pt x="5" y="282"/>
                  <a:pt x="4" y="282"/>
                </a:cubicBezTo>
                <a:cubicBezTo>
                  <a:pt x="5" y="282"/>
                  <a:pt x="4" y="283"/>
                  <a:pt x="4" y="284"/>
                </a:cubicBezTo>
                <a:cubicBezTo>
                  <a:pt x="5" y="282"/>
                  <a:pt x="5" y="282"/>
                  <a:pt x="5" y="281"/>
                </a:cubicBezTo>
                <a:close/>
                <a:moveTo>
                  <a:pt x="48" y="248"/>
                </a:moveTo>
                <a:cubicBezTo>
                  <a:pt x="48" y="246"/>
                  <a:pt x="49" y="246"/>
                  <a:pt x="49" y="244"/>
                </a:cubicBezTo>
                <a:cubicBezTo>
                  <a:pt x="48" y="245"/>
                  <a:pt x="48" y="246"/>
                  <a:pt x="48" y="248"/>
                </a:cubicBezTo>
                <a:close/>
                <a:moveTo>
                  <a:pt x="94" y="213"/>
                </a:moveTo>
                <a:cubicBezTo>
                  <a:pt x="94" y="212"/>
                  <a:pt x="93" y="214"/>
                  <a:pt x="92" y="214"/>
                </a:cubicBezTo>
                <a:cubicBezTo>
                  <a:pt x="92" y="215"/>
                  <a:pt x="92" y="214"/>
                  <a:pt x="92" y="215"/>
                </a:cubicBezTo>
                <a:cubicBezTo>
                  <a:pt x="93" y="214"/>
                  <a:pt x="93" y="214"/>
                  <a:pt x="94" y="213"/>
                </a:cubicBezTo>
                <a:close/>
                <a:moveTo>
                  <a:pt x="25" y="257"/>
                </a:moveTo>
                <a:cubicBezTo>
                  <a:pt x="26" y="256"/>
                  <a:pt x="26" y="256"/>
                  <a:pt x="27" y="256"/>
                </a:cubicBezTo>
                <a:cubicBezTo>
                  <a:pt x="27" y="255"/>
                  <a:pt x="27" y="256"/>
                  <a:pt x="27" y="256"/>
                </a:cubicBezTo>
                <a:cubicBezTo>
                  <a:pt x="27" y="255"/>
                  <a:pt x="27" y="254"/>
                  <a:pt x="27" y="254"/>
                </a:cubicBezTo>
                <a:cubicBezTo>
                  <a:pt x="27" y="255"/>
                  <a:pt x="26" y="256"/>
                  <a:pt x="25" y="257"/>
                </a:cubicBezTo>
                <a:close/>
                <a:moveTo>
                  <a:pt x="55" y="226"/>
                </a:moveTo>
                <a:cubicBezTo>
                  <a:pt x="55" y="225"/>
                  <a:pt x="55" y="225"/>
                  <a:pt x="55" y="224"/>
                </a:cubicBezTo>
                <a:cubicBezTo>
                  <a:pt x="55" y="226"/>
                  <a:pt x="53" y="228"/>
                  <a:pt x="53" y="228"/>
                </a:cubicBezTo>
                <a:cubicBezTo>
                  <a:pt x="54" y="227"/>
                  <a:pt x="54" y="227"/>
                  <a:pt x="55" y="226"/>
                </a:cubicBezTo>
                <a:close/>
                <a:moveTo>
                  <a:pt x="117" y="186"/>
                </a:moveTo>
                <a:cubicBezTo>
                  <a:pt x="117" y="187"/>
                  <a:pt x="117" y="188"/>
                  <a:pt x="116" y="188"/>
                </a:cubicBezTo>
                <a:cubicBezTo>
                  <a:pt x="116" y="188"/>
                  <a:pt x="115" y="189"/>
                  <a:pt x="117" y="189"/>
                </a:cubicBezTo>
                <a:cubicBezTo>
                  <a:pt x="117" y="188"/>
                  <a:pt x="117" y="187"/>
                  <a:pt x="118" y="187"/>
                </a:cubicBezTo>
                <a:cubicBezTo>
                  <a:pt x="118" y="186"/>
                  <a:pt x="117" y="188"/>
                  <a:pt x="117" y="188"/>
                </a:cubicBezTo>
                <a:cubicBezTo>
                  <a:pt x="116" y="188"/>
                  <a:pt x="118" y="186"/>
                  <a:pt x="117" y="186"/>
                </a:cubicBezTo>
                <a:close/>
                <a:moveTo>
                  <a:pt x="121" y="184"/>
                </a:moveTo>
                <a:cubicBezTo>
                  <a:pt x="122" y="183"/>
                  <a:pt x="123" y="181"/>
                  <a:pt x="124" y="181"/>
                </a:cubicBezTo>
                <a:cubicBezTo>
                  <a:pt x="125" y="180"/>
                  <a:pt x="123" y="181"/>
                  <a:pt x="124" y="180"/>
                </a:cubicBezTo>
                <a:cubicBezTo>
                  <a:pt x="123" y="182"/>
                  <a:pt x="122" y="183"/>
                  <a:pt x="121" y="184"/>
                </a:cubicBezTo>
                <a:close/>
                <a:moveTo>
                  <a:pt x="126" y="177"/>
                </a:moveTo>
                <a:cubicBezTo>
                  <a:pt x="125" y="178"/>
                  <a:pt x="125" y="178"/>
                  <a:pt x="125" y="178"/>
                </a:cubicBezTo>
                <a:cubicBezTo>
                  <a:pt x="125" y="179"/>
                  <a:pt x="125" y="178"/>
                  <a:pt x="124" y="179"/>
                </a:cubicBezTo>
                <a:cubicBezTo>
                  <a:pt x="123" y="180"/>
                  <a:pt x="122" y="182"/>
                  <a:pt x="120" y="183"/>
                </a:cubicBezTo>
                <a:cubicBezTo>
                  <a:pt x="121" y="183"/>
                  <a:pt x="123" y="180"/>
                  <a:pt x="124" y="180"/>
                </a:cubicBezTo>
                <a:cubicBezTo>
                  <a:pt x="125" y="179"/>
                  <a:pt x="126" y="178"/>
                  <a:pt x="127" y="178"/>
                </a:cubicBezTo>
                <a:cubicBezTo>
                  <a:pt x="128" y="176"/>
                  <a:pt x="128" y="176"/>
                  <a:pt x="129" y="175"/>
                </a:cubicBezTo>
                <a:cubicBezTo>
                  <a:pt x="127" y="176"/>
                  <a:pt x="127" y="176"/>
                  <a:pt x="127" y="176"/>
                </a:cubicBezTo>
                <a:cubicBezTo>
                  <a:pt x="127" y="177"/>
                  <a:pt x="128" y="176"/>
                  <a:pt x="127" y="176"/>
                </a:cubicBezTo>
                <a:cubicBezTo>
                  <a:pt x="127" y="177"/>
                  <a:pt x="127" y="177"/>
                  <a:pt x="127" y="177"/>
                </a:cubicBezTo>
                <a:cubicBezTo>
                  <a:pt x="126" y="177"/>
                  <a:pt x="127" y="176"/>
                  <a:pt x="126" y="177"/>
                </a:cubicBezTo>
                <a:close/>
                <a:moveTo>
                  <a:pt x="37" y="219"/>
                </a:moveTo>
                <a:cubicBezTo>
                  <a:pt x="37" y="219"/>
                  <a:pt x="38" y="218"/>
                  <a:pt x="38" y="219"/>
                </a:cubicBezTo>
                <a:cubicBezTo>
                  <a:pt x="38" y="218"/>
                  <a:pt x="38" y="218"/>
                  <a:pt x="38" y="217"/>
                </a:cubicBezTo>
                <a:cubicBezTo>
                  <a:pt x="38" y="218"/>
                  <a:pt x="37" y="219"/>
                  <a:pt x="37" y="219"/>
                </a:cubicBezTo>
                <a:cubicBezTo>
                  <a:pt x="37" y="220"/>
                  <a:pt x="37" y="219"/>
                  <a:pt x="37" y="219"/>
                </a:cubicBezTo>
                <a:close/>
                <a:moveTo>
                  <a:pt x="61" y="191"/>
                </a:moveTo>
                <a:cubicBezTo>
                  <a:pt x="60" y="192"/>
                  <a:pt x="60" y="194"/>
                  <a:pt x="59" y="195"/>
                </a:cubicBezTo>
                <a:cubicBezTo>
                  <a:pt x="59" y="195"/>
                  <a:pt x="62" y="192"/>
                  <a:pt x="63" y="190"/>
                </a:cubicBezTo>
                <a:cubicBezTo>
                  <a:pt x="62" y="190"/>
                  <a:pt x="61" y="192"/>
                  <a:pt x="61" y="191"/>
                </a:cubicBezTo>
                <a:close/>
                <a:moveTo>
                  <a:pt x="71" y="181"/>
                </a:moveTo>
                <a:cubicBezTo>
                  <a:pt x="70" y="183"/>
                  <a:pt x="72" y="181"/>
                  <a:pt x="71" y="182"/>
                </a:cubicBezTo>
                <a:cubicBezTo>
                  <a:pt x="72" y="181"/>
                  <a:pt x="73" y="181"/>
                  <a:pt x="74" y="179"/>
                </a:cubicBezTo>
                <a:cubicBezTo>
                  <a:pt x="73" y="179"/>
                  <a:pt x="71" y="182"/>
                  <a:pt x="71" y="181"/>
                </a:cubicBezTo>
                <a:close/>
                <a:moveTo>
                  <a:pt x="127" y="146"/>
                </a:moveTo>
                <a:cubicBezTo>
                  <a:pt x="127" y="147"/>
                  <a:pt x="128" y="146"/>
                  <a:pt x="128" y="145"/>
                </a:cubicBezTo>
                <a:cubicBezTo>
                  <a:pt x="129" y="145"/>
                  <a:pt x="128" y="145"/>
                  <a:pt x="129" y="145"/>
                </a:cubicBezTo>
                <a:cubicBezTo>
                  <a:pt x="129" y="144"/>
                  <a:pt x="129" y="144"/>
                  <a:pt x="129" y="144"/>
                </a:cubicBezTo>
                <a:cubicBezTo>
                  <a:pt x="128" y="145"/>
                  <a:pt x="128" y="145"/>
                  <a:pt x="128" y="145"/>
                </a:cubicBezTo>
                <a:cubicBezTo>
                  <a:pt x="129" y="145"/>
                  <a:pt x="128" y="146"/>
                  <a:pt x="128" y="146"/>
                </a:cubicBezTo>
                <a:cubicBezTo>
                  <a:pt x="127" y="146"/>
                  <a:pt x="128" y="146"/>
                  <a:pt x="127" y="146"/>
                </a:cubicBezTo>
                <a:close/>
                <a:moveTo>
                  <a:pt x="98" y="153"/>
                </a:moveTo>
                <a:cubicBezTo>
                  <a:pt x="98" y="153"/>
                  <a:pt x="98" y="153"/>
                  <a:pt x="97" y="154"/>
                </a:cubicBezTo>
                <a:cubicBezTo>
                  <a:pt x="98" y="154"/>
                  <a:pt x="100" y="152"/>
                  <a:pt x="100" y="151"/>
                </a:cubicBezTo>
                <a:cubicBezTo>
                  <a:pt x="101" y="152"/>
                  <a:pt x="103" y="151"/>
                  <a:pt x="104" y="150"/>
                </a:cubicBezTo>
                <a:cubicBezTo>
                  <a:pt x="103" y="150"/>
                  <a:pt x="102" y="150"/>
                  <a:pt x="101" y="150"/>
                </a:cubicBezTo>
                <a:cubicBezTo>
                  <a:pt x="102" y="151"/>
                  <a:pt x="100" y="151"/>
                  <a:pt x="98" y="153"/>
                </a:cubicBezTo>
                <a:close/>
                <a:moveTo>
                  <a:pt x="107" y="148"/>
                </a:moveTo>
                <a:cubicBezTo>
                  <a:pt x="107" y="148"/>
                  <a:pt x="109" y="145"/>
                  <a:pt x="111" y="144"/>
                </a:cubicBezTo>
                <a:cubicBezTo>
                  <a:pt x="111" y="143"/>
                  <a:pt x="109" y="146"/>
                  <a:pt x="109" y="144"/>
                </a:cubicBezTo>
                <a:cubicBezTo>
                  <a:pt x="109" y="145"/>
                  <a:pt x="108" y="147"/>
                  <a:pt x="107" y="148"/>
                </a:cubicBezTo>
                <a:close/>
                <a:moveTo>
                  <a:pt x="106" y="146"/>
                </a:moveTo>
                <a:cubicBezTo>
                  <a:pt x="106" y="146"/>
                  <a:pt x="105" y="146"/>
                  <a:pt x="105" y="147"/>
                </a:cubicBezTo>
                <a:cubicBezTo>
                  <a:pt x="104" y="147"/>
                  <a:pt x="104" y="148"/>
                  <a:pt x="103" y="149"/>
                </a:cubicBezTo>
                <a:cubicBezTo>
                  <a:pt x="102" y="150"/>
                  <a:pt x="103" y="149"/>
                  <a:pt x="104" y="148"/>
                </a:cubicBezTo>
                <a:cubicBezTo>
                  <a:pt x="104" y="148"/>
                  <a:pt x="104" y="148"/>
                  <a:pt x="104" y="148"/>
                </a:cubicBezTo>
                <a:cubicBezTo>
                  <a:pt x="105" y="148"/>
                  <a:pt x="105" y="148"/>
                  <a:pt x="106" y="147"/>
                </a:cubicBezTo>
                <a:cubicBezTo>
                  <a:pt x="105" y="148"/>
                  <a:pt x="104" y="147"/>
                  <a:pt x="106" y="146"/>
                </a:cubicBezTo>
                <a:close/>
                <a:moveTo>
                  <a:pt x="116" y="137"/>
                </a:moveTo>
                <a:cubicBezTo>
                  <a:pt x="115" y="137"/>
                  <a:pt x="115" y="138"/>
                  <a:pt x="114" y="138"/>
                </a:cubicBezTo>
                <a:cubicBezTo>
                  <a:pt x="114" y="139"/>
                  <a:pt x="115" y="138"/>
                  <a:pt x="114" y="139"/>
                </a:cubicBezTo>
                <a:cubicBezTo>
                  <a:pt x="115" y="138"/>
                  <a:pt x="115" y="138"/>
                  <a:pt x="116" y="137"/>
                </a:cubicBezTo>
                <a:close/>
                <a:moveTo>
                  <a:pt x="124" y="124"/>
                </a:moveTo>
                <a:cubicBezTo>
                  <a:pt x="125" y="123"/>
                  <a:pt x="125" y="123"/>
                  <a:pt x="125" y="123"/>
                </a:cubicBezTo>
                <a:cubicBezTo>
                  <a:pt x="124" y="123"/>
                  <a:pt x="124" y="123"/>
                  <a:pt x="125" y="122"/>
                </a:cubicBezTo>
                <a:cubicBezTo>
                  <a:pt x="126" y="121"/>
                  <a:pt x="124" y="122"/>
                  <a:pt x="124" y="122"/>
                </a:cubicBezTo>
                <a:cubicBezTo>
                  <a:pt x="124" y="123"/>
                  <a:pt x="124" y="123"/>
                  <a:pt x="123" y="124"/>
                </a:cubicBezTo>
                <a:cubicBezTo>
                  <a:pt x="124" y="123"/>
                  <a:pt x="123" y="125"/>
                  <a:pt x="124" y="124"/>
                </a:cubicBezTo>
                <a:close/>
                <a:moveTo>
                  <a:pt x="148" y="111"/>
                </a:moveTo>
                <a:cubicBezTo>
                  <a:pt x="148" y="112"/>
                  <a:pt x="148" y="112"/>
                  <a:pt x="147" y="112"/>
                </a:cubicBezTo>
                <a:cubicBezTo>
                  <a:pt x="147" y="113"/>
                  <a:pt x="148" y="113"/>
                  <a:pt x="148" y="112"/>
                </a:cubicBezTo>
                <a:cubicBezTo>
                  <a:pt x="148" y="112"/>
                  <a:pt x="148" y="113"/>
                  <a:pt x="148" y="113"/>
                </a:cubicBezTo>
                <a:cubicBezTo>
                  <a:pt x="149" y="113"/>
                  <a:pt x="149" y="111"/>
                  <a:pt x="148" y="111"/>
                </a:cubicBezTo>
                <a:close/>
                <a:moveTo>
                  <a:pt x="188" y="98"/>
                </a:moveTo>
                <a:cubicBezTo>
                  <a:pt x="187" y="99"/>
                  <a:pt x="186" y="100"/>
                  <a:pt x="185" y="100"/>
                </a:cubicBezTo>
                <a:cubicBezTo>
                  <a:pt x="185" y="100"/>
                  <a:pt x="186" y="100"/>
                  <a:pt x="185" y="101"/>
                </a:cubicBezTo>
                <a:cubicBezTo>
                  <a:pt x="186" y="100"/>
                  <a:pt x="186" y="100"/>
                  <a:pt x="186" y="100"/>
                </a:cubicBezTo>
                <a:cubicBezTo>
                  <a:pt x="186" y="99"/>
                  <a:pt x="188" y="100"/>
                  <a:pt x="188" y="98"/>
                </a:cubicBezTo>
                <a:close/>
                <a:moveTo>
                  <a:pt x="156" y="94"/>
                </a:moveTo>
                <a:cubicBezTo>
                  <a:pt x="156" y="94"/>
                  <a:pt x="152" y="97"/>
                  <a:pt x="152" y="98"/>
                </a:cubicBezTo>
                <a:cubicBezTo>
                  <a:pt x="150" y="98"/>
                  <a:pt x="149" y="99"/>
                  <a:pt x="148" y="100"/>
                </a:cubicBezTo>
                <a:cubicBezTo>
                  <a:pt x="150" y="100"/>
                  <a:pt x="151" y="98"/>
                  <a:pt x="153" y="98"/>
                </a:cubicBezTo>
                <a:cubicBezTo>
                  <a:pt x="153" y="97"/>
                  <a:pt x="155" y="96"/>
                  <a:pt x="156" y="94"/>
                </a:cubicBezTo>
                <a:close/>
                <a:moveTo>
                  <a:pt x="158" y="93"/>
                </a:moveTo>
                <a:cubicBezTo>
                  <a:pt x="157" y="94"/>
                  <a:pt x="156" y="94"/>
                  <a:pt x="156" y="96"/>
                </a:cubicBezTo>
                <a:cubicBezTo>
                  <a:pt x="157" y="95"/>
                  <a:pt x="158" y="93"/>
                  <a:pt x="160" y="92"/>
                </a:cubicBezTo>
                <a:cubicBezTo>
                  <a:pt x="160" y="91"/>
                  <a:pt x="165" y="89"/>
                  <a:pt x="166" y="87"/>
                </a:cubicBezTo>
                <a:cubicBezTo>
                  <a:pt x="166" y="87"/>
                  <a:pt x="166" y="87"/>
                  <a:pt x="166" y="87"/>
                </a:cubicBezTo>
                <a:cubicBezTo>
                  <a:pt x="165" y="88"/>
                  <a:pt x="164" y="89"/>
                  <a:pt x="162" y="89"/>
                </a:cubicBezTo>
                <a:cubicBezTo>
                  <a:pt x="161" y="91"/>
                  <a:pt x="159" y="92"/>
                  <a:pt x="157" y="94"/>
                </a:cubicBezTo>
                <a:cubicBezTo>
                  <a:pt x="157" y="94"/>
                  <a:pt x="158" y="93"/>
                  <a:pt x="158" y="93"/>
                </a:cubicBezTo>
                <a:close/>
                <a:moveTo>
                  <a:pt x="160" y="90"/>
                </a:moveTo>
                <a:cubicBezTo>
                  <a:pt x="157" y="92"/>
                  <a:pt x="154" y="95"/>
                  <a:pt x="151" y="96"/>
                </a:cubicBezTo>
                <a:cubicBezTo>
                  <a:pt x="152" y="96"/>
                  <a:pt x="159" y="91"/>
                  <a:pt x="160" y="90"/>
                </a:cubicBezTo>
                <a:close/>
                <a:moveTo>
                  <a:pt x="173" y="81"/>
                </a:moveTo>
                <a:cubicBezTo>
                  <a:pt x="174" y="80"/>
                  <a:pt x="175" y="80"/>
                  <a:pt x="176" y="79"/>
                </a:cubicBezTo>
                <a:cubicBezTo>
                  <a:pt x="176" y="79"/>
                  <a:pt x="174" y="80"/>
                  <a:pt x="173" y="81"/>
                </a:cubicBezTo>
                <a:close/>
                <a:moveTo>
                  <a:pt x="190" y="69"/>
                </a:moveTo>
                <a:cubicBezTo>
                  <a:pt x="191" y="69"/>
                  <a:pt x="190" y="70"/>
                  <a:pt x="189" y="71"/>
                </a:cubicBezTo>
                <a:cubicBezTo>
                  <a:pt x="191" y="70"/>
                  <a:pt x="195" y="67"/>
                  <a:pt x="198" y="65"/>
                </a:cubicBezTo>
                <a:cubicBezTo>
                  <a:pt x="196" y="66"/>
                  <a:pt x="195" y="67"/>
                  <a:pt x="195" y="67"/>
                </a:cubicBezTo>
                <a:cubicBezTo>
                  <a:pt x="195" y="68"/>
                  <a:pt x="192" y="68"/>
                  <a:pt x="191" y="69"/>
                </a:cubicBezTo>
                <a:cubicBezTo>
                  <a:pt x="190" y="70"/>
                  <a:pt x="192" y="68"/>
                  <a:pt x="190" y="69"/>
                </a:cubicBezTo>
                <a:close/>
                <a:moveTo>
                  <a:pt x="191" y="68"/>
                </a:moveTo>
                <a:cubicBezTo>
                  <a:pt x="191" y="67"/>
                  <a:pt x="190" y="69"/>
                  <a:pt x="189" y="69"/>
                </a:cubicBezTo>
                <a:cubicBezTo>
                  <a:pt x="189" y="70"/>
                  <a:pt x="189" y="70"/>
                  <a:pt x="187" y="70"/>
                </a:cubicBezTo>
                <a:cubicBezTo>
                  <a:pt x="188" y="71"/>
                  <a:pt x="190" y="69"/>
                  <a:pt x="191" y="68"/>
                </a:cubicBezTo>
                <a:close/>
                <a:moveTo>
                  <a:pt x="198" y="65"/>
                </a:moveTo>
                <a:cubicBezTo>
                  <a:pt x="201" y="64"/>
                  <a:pt x="203" y="63"/>
                  <a:pt x="205" y="62"/>
                </a:cubicBezTo>
                <a:cubicBezTo>
                  <a:pt x="203" y="61"/>
                  <a:pt x="200" y="64"/>
                  <a:pt x="198" y="65"/>
                </a:cubicBezTo>
                <a:close/>
                <a:moveTo>
                  <a:pt x="235" y="46"/>
                </a:moveTo>
                <a:cubicBezTo>
                  <a:pt x="234" y="46"/>
                  <a:pt x="234" y="46"/>
                  <a:pt x="234" y="46"/>
                </a:cubicBezTo>
                <a:cubicBezTo>
                  <a:pt x="233" y="47"/>
                  <a:pt x="232" y="47"/>
                  <a:pt x="231" y="47"/>
                </a:cubicBezTo>
                <a:cubicBezTo>
                  <a:pt x="232" y="47"/>
                  <a:pt x="233" y="46"/>
                  <a:pt x="235" y="46"/>
                </a:cubicBezTo>
                <a:close/>
                <a:moveTo>
                  <a:pt x="249" y="37"/>
                </a:moveTo>
                <a:cubicBezTo>
                  <a:pt x="247" y="39"/>
                  <a:pt x="247" y="39"/>
                  <a:pt x="247" y="39"/>
                </a:cubicBezTo>
                <a:cubicBezTo>
                  <a:pt x="248" y="38"/>
                  <a:pt x="248" y="37"/>
                  <a:pt x="250" y="37"/>
                </a:cubicBezTo>
                <a:cubicBezTo>
                  <a:pt x="251" y="36"/>
                  <a:pt x="249" y="37"/>
                  <a:pt x="249" y="37"/>
                </a:cubicBezTo>
                <a:close/>
                <a:moveTo>
                  <a:pt x="271" y="29"/>
                </a:moveTo>
                <a:cubicBezTo>
                  <a:pt x="271" y="28"/>
                  <a:pt x="271" y="28"/>
                  <a:pt x="271" y="28"/>
                </a:cubicBezTo>
                <a:cubicBezTo>
                  <a:pt x="270" y="28"/>
                  <a:pt x="269" y="29"/>
                  <a:pt x="267" y="29"/>
                </a:cubicBezTo>
                <a:cubicBezTo>
                  <a:pt x="268" y="30"/>
                  <a:pt x="269" y="28"/>
                  <a:pt x="271" y="29"/>
                </a:cubicBezTo>
                <a:close/>
                <a:moveTo>
                  <a:pt x="299" y="18"/>
                </a:moveTo>
                <a:cubicBezTo>
                  <a:pt x="299" y="18"/>
                  <a:pt x="298" y="18"/>
                  <a:pt x="298" y="19"/>
                </a:cubicBezTo>
                <a:cubicBezTo>
                  <a:pt x="300" y="18"/>
                  <a:pt x="301" y="18"/>
                  <a:pt x="302" y="18"/>
                </a:cubicBezTo>
                <a:cubicBezTo>
                  <a:pt x="303" y="16"/>
                  <a:pt x="305" y="16"/>
                  <a:pt x="307" y="16"/>
                </a:cubicBezTo>
                <a:cubicBezTo>
                  <a:pt x="308" y="15"/>
                  <a:pt x="306" y="15"/>
                  <a:pt x="307" y="15"/>
                </a:cubicBezTo>
                <a:cubicBezTo>
                  <a:pt x="305" y="16"/>
                  <a:pt x="303" y="16"/>
                  <a:pt x="302" y="17"/>
                </a:cubicBezTo>
                <a:cubicBezTo>
                  <a:pt x="301" y="17"/>
                  <a:pt x="301" y="17"/>
                  <a:pt x="300" y="17"/>
                </a:cubicBezTo>
                <a:cubicBezTo>
                  <a:pt x="301" y="17"/>
                  <a:pt x="299" y="18"/>
                  <a:pt x="298" y="18"/>
                </a:cubicBezTo>
                <a:cubicBezTo>
                  <a:pt x="297" y="18"/>
                  <a:pt x="298" y="18"/>
                  <a:pt x="299" y="18"/>
                </a:cubicBezTo>
                <a:close/>
                <a:moveTo>
                  <a:pt x="358" y="4"/>
                </a:moveTo>
                <a:cubicBezTo>
                  <a:pt x="357" y="4"/>
                  <a:pt x="355" y="4"/>
                  <a:pt x="354" y="5"/>
                </a:cubicBezTo>
                <a:cubicBezTo>
                  <a:pt x="355" y="5"/>
                  <a:pt x="357" y="4"/>
                  <a:pt x="359" y="4"/>
                </a:cubicBezTo>
                <a:cubicBezTo>
                  <a:pt x="359" y="4"/>
                  <a:pt x="358" y="4"/>
                  <a:pt x="358" y="4"/>
                </a:cubicBezTo>
                <a:close/>
                <a:moveTo>
                  <a:pt x="395" y="0"/>
                </a:moveTo>
                <a:cubicBezTo>
                  <a:pt x="393" y="0"/>
                  <a:pt x="392" y="0"/>
                  <a:pt x="390" y="0"/>
                </a:cubicBezTo>
                <a:cubicBezTo>
                  <a:pt x="390" y="0"/>
                  <a:pt x="394" y="0"/>
                  <a:pt x="395" y="0"/>
                </a:cubicBezTo>
                <a:close/>
                <a:moveTo>
                  <a:pt x="425" y="1"/>
                </a:moveTo>
                <a:cubicBezTo>
                  <a:pt x="425" y="1"/>
                  <a:pt x="423" y="1"/>
                  <a:pt x="425" y="1"/>
                </a:cubicBezTo>
                <a:cubicBezTo>
                  <a:pt x="425" y="1"/>
                  <a:pt x="425" y="1"/>
                  <a:pt x="426" y="0"/>
                </a:cubicBezTo>
                <a:cubicBezTo>
                  <a:pt x="425" y="0"/>
                  <a:pt x="424" y="0"/>
                  <a:pt x="423" y="1"/>
                </a:cubicBezTo>
                <a:cubicBezTo>
                  <a:pt x="423" y="1"/>
                  <a:pt x="424" y="1"/>
                  <a:pt x="425" y="1"/>
                </a:cubicBezTo>
                <a:close/>
                <a:moveTo>
                  <a:pt x="559" y="30"/>
                </a:moveTo>
                <a:cubicBezTo>
                  <a:pt x="559" y="30"/>
                  <a:pt x="559" y="30"/>
                  <a:pt x="559" y="30"/>
                </a:cubicBezTo>
                <a:cubicBezTo>
                  <a:pt x="559" y="29"/>
                  <a:pt x="559" y="29"/>
                  <a:pt x="559" y="29"/>
                </a:cubicBezTo>
                <a:cubicBezTo>
                  <a:pt x="558" y="29"/>
                  <a:pt x="557" y="29"/>
                  <a:pt x="556" y="28"/>
                </a:cubicBezTo>
                <a:cubicBezTo>
                  <a:pt x="556" y="29"/>
                  <a:pt x="558" y="29"/>
                  <a:pt x="559" y="30"/>
                </a:cubicBezTo>
                <a:close/>
                <a:moveTo>
                  <a:pt x="628" y="123"/>
                </a:moveTo>
                <a:cubicBezTo>
                  <a:pt x="629" y="125"/>
                  <a:pt x="630" y="126"/>
                  <a:pt x="631" y="127"/>
                </a:cubicBezTo>
                <a:cubicBezTo>
                  <a:pt x="632" y="127"/>
                  <a:pt x="634" y="129"/>
                  <a:pt x="635" y="130"/>
                </a:cubicBezTo>
                <a:cubicBezTo>
                  <a:pt x="635" y="130"/>
                  <a:pt x="635" y="130"/>
                  <a:pt x="635" y="130"/>
                </a:cubicBezTo>
                <a:cubicBezTo>
                  <a:pt x="635" y="130"/>
                  <a:pt x="635" y="130"/>
                  <a:pt x="636" y="130"/>
                </a:cubicBezTo>
                <a:cubicBezTo>
                  <a:pt x="633" y="128"/>
                  <a:pt x="630" y="125"/>
                  <a:pt x="628" y="123"/>
                </a:cubicBezTo>
                <a:close/>
                <a:moveTo>
                  <a:pt x="716" y="155"/>
                </a:moveTo>
                <a:cubicBezTo>
                  <a:pt x="716" y="155"/>
                  <a:pt x="715" y="154"/>
                  <a:pt x="715" y="154"/>
                </a:cubicBezTo>
                <a:cubicBezTo>
                  <a:pt x="715" y="154"/>
                  <a:pt x="715" y="154"/>
                  <a:pt x="715" y="154"/>
                </a:cubicBezTo>
                <a:cubicBezTo>
                  <a:pt x="715" y="155"/>
                  <a:pt x="713" y="153"/>
                  <a:pt x="714" y="154"/>
                </a:cubicBezTo>
                <a:cubicBezTo>
                  <a:pt x="715" y="156"/>
                  <a:pt x="714" y="154"/>
                  <a:pt x="716" y="155"/>
                </a:cubicBezTo>
                <a:close/>
                <a:moveTo>
                  <a:pt x="724" y="169"/>
                </a:moveTo>
                <a:cubicBezTo>
                  <a:pt x="725" y="169"/>
                  <a:pt x="723" y="167"/>
                  <a:pt x="723" y="167"/>
                </a:cubicBezTo>
                <a:cubicBezTo>
                  <a:pt x="723" y="168"/>
                  <a:pt x="723" y="168"/>
                  <a:pt x="722" y="168"/>
                </a:cubicBezTo>
                <a:cubicBezTo>
                  <a:pt x="723" y="169"/>
                  <a:pt x="723" y="167"/>
                  <a:pt x="724" y="169"/>
                </a:cubicBezTo>
                <a:close/>
                <a:moveTo>
                  <a:pt x="859" y="242"/>
                </a:moveTo>
                <a:cubicBezTo>
                  <a:pt x="859" y="242"/>
                  <a:pt x="859" y="242"/>
                  <a:pt x="859" y="243"/>
                </a:cubicBezTo>
                <a:cubicBezTo>
                  <a:pt x="859" y="242"/>
                  <a:pt x="859" y="243"/>
                  <a:pt x="859" y="242"/>
                </a:cubicBezTo>
                <a:close/>
                <a:moveTo>
                  <a:pt x="859" y="244"/>
                </a:moveTo>
                <a:cubicBezTo>
                  <a:pt x="859" y="244"/>
                  <a:pt x="860" y="244"/>
                  <a:pt x="860" y="243"/>
                </a:cubicBezTo>
                <a:cubicBezTo>
                  <a:pt x="860" y="244"/>
                  <a:pt x="859" y="243"/>
                  <a:pt x="859" y="244"/>
                </a:cubicBezTo>
                <a:close/>
                <a:moveTo>
                  <a:pt x="857" y="244"/>
                </a:moveTo>
                <a:cubicBezTo>
                  <a:pt x="857" y="244"/>
                  <a:pt x="857" y="244"/>
                  <a:pt x="857" y="244"/>
                </a:cubicBezTo>
                <a:cubicBezTo>
                  <a:pt x="857" y="244"/>
                  <a:pt x="857" y="244"/>
                  <a:pt x="857" y="244"/>
                </a:cubicBezTo>
                <a:cubicBezTo>
                  <a:pt x="857" y="244"/>
                  <a:pt x="857" y="244"/>
                  <a:pt x="857" y="244"/>
                </a:cubicBezTo>
                <a:close/>
                <a:moveTo>
                  <a:pt x="844" y="244"/>
                </a:moveTo>
                <a:cubicBezTo>
                  <a:pt x="844" y="244"/>
                  <a:pt x="844" y="244"/>
                  <a:pt x="844" y="244"/>
                </a:cubicBezTo>
                <a:cubicBezTo>
                  <a:pt x="844" y="245"/>
                  <a:pt x="844" y="245"/>
                  <a:pt x="844" y="245"/>
                </a:cubicBezTo>
                <a:cubicBezTo>
                  <a:pt x="844" y="245"/>
                  <a:pt x="845" y="245"/>
                  <a:pt x="844" y="244"/>
                </a:cubicBezTo>
                <a:close/>
                <a:moveTo>
                  <a:pt x="859" y="245"/>
                </a:moveTo>
                <a:cubicBezTo>
                  <a:pt x="859" y="245"/>
                  <a:pt x="859" y="244"/>
                  <a:pt x="859" y="244"/>
                </a:cubicBezTo>
                <a:cubicBezTo>
                  <a:pt x="859" y="244"/>
                  <a:pt x="858" y="244"/>
                  <a:pt x="858" y="245"/>
                </a:cubicBezTo>
                <a:cubicBezTo>
                  <a:pt x="859" y="245"/>
                  <a:pt x="858" y="245"/>
                  <a:pt x="859" y="245"/>
                </a:cubicBezTo>
                <a:close/>
                <a:moveTo>
                  <a:pt x="844" y="245"/>
                </a:moveTo>
                <a:cubicBezTo>
                  <a:pt x="843" y="245"/>
                  <a:pt x="843" y="245"/>
                  <a:pt x="843" y="245"/>
                </a:cubicBezTo>
                <a:cubicBezTo>
                  <a:pt x="843" y="246"/>
                  <a:pt x="843" y="246"/>
                  <a:pt x="844" y="246"/>
                </a:cubicBezTo>
                <a:lnTo>
                  <a:pt x="844" y="245"/>
                </a:lnTo>
                <a:close/>
                <a:moveTo>
                  <a:pt x="853" y="247"/>
                </a:moveTo>
                <a:cubicBezTo>
                  <a:pt x="853" y="246"/>
                  <a:pt x="853" y="247"/>
                  <a:pt x="853" y="247"/>
                </a:cubicBezTo>
                <a:cubicBezTo>
                  <a:pt x="854" y="247"/>
                  <a:pt x="853" y="247"/>
                  <a:pt x="853" y="247"/>
                </a:cubicBezTo>
                <a:close/>
                <a:moveTo>
                  <a:pt x="840" y="250"/>
                </a:moveTo>
                <a:cubicBezTo>
                  <a:pt x="840" y="249"/>
                  <a:pt x="840" y="249"/>
                  <a:pt x="841" y="249"/>
                </a:cubicBezTo>
                <a:cubicBezTo>
                  <a:pt x="840" y="249"/>
                  <a:pt x="841" y="249"/>
                  <a:pt x="841" y="248"/>
                </a:cubicBezTo>
                <a:cubicBezTo>
                  <a:pt x="841" y="249"/>
                  <a:pt x="841" y="249"/>
                  <a:pt x="841" y="249"/>
                </a:cubicBezTo>
                <a:cubicBezTo>
                  <a:pt x="841" y="248"/>
                  <a:pt x="841" y="248"/>
                  <a:pt x="841" y="248"/>
                </a:cubicBezTo>
                <a:cubicBezTo>
                  <a:pt x="841" y="248"/>
                  <a:pt x="841" y="247"/>
                  <a:pt x="841" y="247"/>
                </a:cubicBezTo>
                <a:cubicBezTo>
                  <a:pt x="841" y="247"/>
                  <a:pt x="841" y="248"/>
                  <a:pt x="841" y="247"/>
                </a:cubicBezTo>
                <a:cubicBezTo>
                  <a:pt x="840" y="247"/>
                  <a:pt x="841" y="248"/>
                  <a:pt x="841" y="248"/>
                </a:cubicBezTo>
                <a:cubicBezTo>
                  <a:pt x="840" y="248"/>
                  <a:pt x="840" y="248"/>
                  <a:pt x="840" y="248"/>
                </a:cubicBezTo>
                <a:cubicBezTo>
                  <a:pt x="840" y="249"/>
                  <a:pt x="840" y="249"/>
                  <a:pt x="840" y="250"/>
                </a:cubicBezTo>
                <a:close/>
                <a:moveTo>
                  <a:pt x="852" y="248"/>
                </a:moveTo>
                <a:cubicBezTo>
                  <a:pt x="852" y="248"/>
                  <a:pt x="853" y="248"/>
                  <a:pt x="853" y="247"/>
                </a:cubicBezTo>
                <a:cubicBezTo>
                  <a:pt x="852" y="247"/>
                  <a:pt x="852" y="247"/>
                  <a:pt x="852" y="247"/>
                </a:cubicBezTo>
                <a:cubicBezTo>
                  <a:pt x="852" y="247"/>
                  <a:pt x="852" y="248"/>
                  <a:pt x="852" y="248"/>
                </a:cubicBezTo>
                <a:close/>
                <a:moveTo>
                  <a:pt x="855" y="250"/>
                </a:moveTo>
                <a:cubicBezTo>
                  <a:pt x="854" y="250"/>
                  <a:pt x="854" y="250"/>
                  <a:pt x="854" y="251"/>
                </a:cubicBezTo>
                <a:cubicBezTo>
                  <a:pt x="855" y="251"/>
                  <a:pt x="855" y="250"/>
                  <a:pt x="855" y="250"/>
                </a:cubicBezTo>
                <a:close/>
                <a:moveTo>
                  <a:pt x="835" y="252"/>
                </a:moveTo>
                <a:cubicBezTo>
                  <a:pt x="834" y="252"/>
                  <a:pt x="834" y="252"/>
                  <a:pt x="835" y="252"/>
                </a:cubicBezTo>
                <a:cubicBezTo>
                  <a:pt x="835" y="252"/>
                  <a:pt x="835" y="252"/>
                  <a:pt x="835" y="252"/>
                </a:cubicBezTo>
                <a:close/>
                <a:moveTo>
                  <a:pt x="852" y="252"/>
                </a:moveTo>
                <a:cubicBezTo>
                  <a:pt x="853" y="252"/>
                  <a:pt x="853" y="252"/>
                  <a:pt x="853" y="252"/>
                </a:cubicBezTo>
                <a:cubicBezTo>
                  <a:pt x="853" y="252"/>
                  <a:pt x="852" y="252"/>
                  <a:pt x="852" y="252"/>
                </a:cubicBezTo>
                <a:close/>
                <a:moveTo>
                  <a:pt x="842" y="255"/>
                </a:moveTo>
                <a:cubicBezTo>
                  <a:pt x="841" y="255"/>
                  <a:pt x="842" y="255"/>
                  <a:pt x="842" y="256"/>
                </a:cubicBezTo>
                <a:cubicBezTo>
                  <a:pt x="842" y="256"/>
                  <a:pt x="842" y="256"/>
                  <a:pt x="842" y="256"/>
                </a:cubicBezTo>
                <a:cubicBezTo>
                  <a:pt x="842" y="255"/>
                  <a:pt x="842" y="255"/>
                  <a:pt x="842" y="255"/>
                </a:cubicBezTo>
                <a:close/>
                <a:moveTo>
                  <a:pt x="854" y="255"/>
                </a:moveTo>
                <a:cubicBezTo>
                  <a:pt x="853" y="254"/>
                  <a:pt x="853" y="255"/>
                  <a:pt x="853" y="255"/>
                </a:cubicBezTo>
                <a:cubicBezTo>
                  <a:pt x="853" y="255"/>
                  <a:pt x="853" y="255"/>
                  <a:pt x="854" y="255"/>
                </a:cubicBezTo>
                <a:close/>
                <a:moveTo>
                  <a:pt x="850" y="257"/>
                </a:moveTo>
                <a:cubicBezTo>
                  <a:pt x="850" y="257"/>
                  <a:pt x="850" y="257"/>
                  <a:pt x="850" y="258"/>
                </a:cubicBezTo>
                <a:cubicBezTo>
                  <a:pt x="850" y="257"/>
                  <a:pt x="850" y="257"/>
                  <a:pt x="851" y="257"/>
                </a:cubicBezTo>
                <a:cubicBezTo>
                  <a:pt x="851" y="257"/>
                  <a:pt x="850" y="257"/>
                  <a:pt x="850" y="257"/>
                </a:cubicBezTo>
                <a:close/>
                <a:moveTo>
                  <a:pt x="834" y="258"/>
                </a:moveTo>
                <a:cubicBezTo>
                  <a:pt x="834" y="258"/>
                  <a:pt x="834" y="258"/>
                  <a:pt x="834" y="258"/>
                </a:cubicBezTo>
                <a:cubicBezTo>
                  <a:pt x="834" y="257"/>
                  <a:pt x="834" y="258"/>
                  <a:pt x="834" y="258"/>
                </a:cubicBezTo>
                <a:close/>
                <a:moveTo>
                  <a:pt x="836" y="259"/>
                </a:moveTo>
                <a:cubicBezTo>
                  <a:pt x="836" y="259"/>
                  <a:pt x="836" y="259"/>
                  <a:pt x="837" y="259"/>
                </a:cubicBezTo>
                <a:cubicBezTo>
                  <a:pt x="836" y="259"/>
                  <a:pt x="836" y="259"/>
                  <a:pt x="836" y="259"/>
                </a:cubicBezTo>
                <a:cubicBezTo>
                  <a:pt x="836" y="259"/>
                  <a:pt x="836" y="259"/>
                  <a:pt x="836" y="259"/>
                </a:cubicBezTo>
                <a:close/>
                <a:moveTo>
                  <a:pt x="828" y="260"/>
                </a:moveTo>
                <a:cubicBezTo>
                  <a:pt x="827" y="260"/>
                  <a:pt x="827" y="260"/>
                  <a:pt x="827" y="261"/>
                </a:cubicBezTo>
                <a:cubicBezTo>
                  <a:pt x="827" y="260"/>
                  <a:pt x="828" y="260"/>
                  <a:pt x="828" y="260"/>
                </a:cubicBezTo>
                <a:close/>
                <a:moveTo>
                  <a:pt x="857" y="259"/>
                </a:moveTo>
                <a:cubicBezTo>
                  <a:pt x="857" y="259"/>
                  <a:pt x="857" y="259"/>
                  <a:pt x="857" y="259"/>
                </a:cubicBezTo>
                <a:cubicBezTo>
                  <a:pt x="856" y="259"/>
                  <a:pt x="856" y="259"/>
                  <a:pt x="856" y="259"/>
                </a:cubicBezTo>
                <a:cubicBezTo>
                  <a:pt x="856" y="259"/>
                  <a:pt x="857" y="259"/>
                  <a:pt x="857" y="259"/>
                </a:cubicBezTo>
                <a:close/>
                <a:moveTo>
                  <a:pt x="853" y="259"/>
                </a:moveTo>
                <a:cubicBezTo>
                  <a:pt x="853" y="259"/>
                  <a:pt x="853" y="259"/>
                  <a:pt x="852" y="259"/>
                </a:cubicBezTo>
                <a:cubicBezTo>
                  <a:pt x="853" y="259"/>
                  <a:pt x="853" y="259"/>
                  <a:pt x="853" y="259"/>
                </a:cubicBezTo>
                <a:close/>
                <a:moveTo>
                  <a:pt x="855" y="260"/>
                </a:moveTo>
                <a:cubicBezTo>
                  <a:pt x="855" y="260"/>
                  <a:pt x="855" y="260"/>
                  <a:pt x="855" y="260"/>
                </a:cubicBezTo>
                <a:cubicBezTo>
                  <a:pt x="855" y="260"/>
                  <a:pt x="855" y="261"/>
                  <a:pt x="854" y="261"/>
                </a:cubicBezTo>
                <a:cubicBezTo>
                  <a:pt x="854" y="262"/>
                  <a:pt x="854" y="262"/>
                  <a:pt x="855" y="262"/>
                </a:cubicBezTo>
                <a:cubicBezTo>
                  <a:pt x="855" y="262"/>
                  <a:pt x="854" y="262"/>
                  <a:pt x="855" y="262"/>
                </a:cubicBezTo>
                <a:cubicBezTo>
                  <a:pt x="855" y="261"/>
                  <a:pt x="855" y="262"/>
                  <a:pt x="855" y="262"/>
                </a:cubicBezTo>
                <a:cubicBezTo>
                  <a:pt x="855" y="261"/>
                  <a:pt x="855" y="261"/>
                  <a:pt x="855" y="261"/>
                </a:cubicBezTo>
                <a:cubicBezTo>
                  <a:pt x="856" y="261"/>
                  <a:pt x="856" y="260"/>
                  <a:pt x="856" y="260"/>
                </a:cubicBezTo>
                <a:cubicBezTo>
                  <a:pt x="856" y="260"/>
                  <a:pt x="855" y="260"/>
                  <a:pt x="855" y="260"/>
                </a:cubicBezTo>
                <a:close/>
                <a:moveTo>
                  <a:pt x="834" y="263"/>
                </a:moveTo>
                <a:cubicBezTo>
                  <a:pt x="834" y="262"/>
                  <a:pt x="833" y="262"/>
                  <a:pt x="833" y="262"/>
                </a:cubicBezTo>
                <a:cubicBezTo>
                  <a:pt x="833" y="262"/>
                  <a:pt x="832" y="262"/>
                  <a:pt x="832" y="262"/>
                </a:cubicBezTo>
                <a:cubicBezTo>
                  <a:pt x="832" y="263"/>
                  <a:pt x="833" y="262"/>
                  <a:pt x="833" y="262"/>
                </a:cubicBezTo>
                <a:cubicBezTo>
                  <a:pt x="833" y="262"/>
                  <a:pt x="833" y="263"/>
                  <a:pt x="833" y="263"/>
                </a:cubicBezTo>
                <a:cubicBezTo>
                  <a:pt x="833" y="263"/>
                  <a:pt x="833" y="262"/>
                  <a:pt x="834" y="263"/>
                </a:cubicBezTo>
                <a:close/>
                <a:moveTo>
                  <a:pt x="867" y="261"/>
                </a:moveTo>
                <a:cubicBezTo>
                  <a:pt x="867" y="261"/>
                  <a:pt x="866" y="261"/>
                  <a:pt x="866" y="261"/>
                </a:cubicBezTo>
                <a:cubicBezTo>
                  <a:pt x="867" y="261"/>
                  <a:pt x="867" y="261"/>
                  <a:pt x="867" y="261"/>
                </a:cubicBezTo>
                <a:close/>
                <a:moveTo>
                  <a:pt x="868" y="261"/>
                </a:moveTo>
                <a:cubicBezTo>
                  <a:pt x="868" y="261"/>
                  <a:pt x="867" y="261"/>
                  <a:pt x="867" y="262"/>
                </a:cubicBezTo>
                <a:cubicBezTo>
                  <a:pt x="868" y="262"/>
                  <a:pt x="868" y="261"/>
                  <a:pt x="868" y="261"/>
                </a:cubicBezTo>
                <a:close/>
                <a:moveTo>
                  <a:pt x="867" y="262"/>
                </a:moveTo>
                <a:cubicBezTo>
                  <a:pt x="867" y="262"/>
                  <a:pt x="867" y="262"/>
                  <a:pt x="867" y="262"/>
                </a:cubicBezTo>
                <a:cubicBezTo>
                  <a:pt x="867" y="262"/>
                  <a:pt x="867" y="262"/>
                  <a:pt x="866" y="262"/>
                </a:cubicBezTo>
                <a:cubicBezTo>
                  <a:pt x="867" y="262"/>
                  <a:pt x="867" y="262"/>
                  <a:pt x="867" y="262"/>
                </a:cubicBezTo>
                <a:close/>
                <a:moveTo>
                  <a:pt x="832" y="264"/>
                </a:moveTo>
                <a:cubicBezTo>
                  <a:pt x="832" y="264"/>
                  <a:pt x="832" y="263"/>
                  <a:pt x="833" y="263"/>
                </a:cubicBezTo>
                <a:cubicBezTo>
                  <a:pt x="832" y="263"/>
                  <a:pt x="832" y="264"/>
                  <a:pt x="832" y="264"/>
                </a:cubicBezTo>
                <a:close/>
                <a:moveTo>
                  <a:pt x="874" y="265"/>
                </a:moveTo>
                <a:cubicBezTo>
                  <a:pt x="874" y="264"/>
                  <a:pt x="874" y="264"/>
                  <a:pt x="874" y="263"/>
                </a:cubicBezTo>
                <a:cubicBezTo>
                  <a:pt x="874" y="264"/>
                  <a:pt x="874" y="264"/>
                  <a:pt x="874" y="265"/>
                </a:cubicBezTo>
                <a:close/>
                <a:moveTo>
                  <a:pt x="831" y="265"/>
                </a:moveTo>
                <a:cubicBezTo>
                  <a:pt x="831" y="265"/>
                  <a:pt x="830" y="265"/>
                  <a:pt x="830" y="265"/>
                </a:cubicBezTo>
                <a:cubicBezTo>
                  <a:pt x="831" y="266"/>
                  <a:pt x="831" y="266"/>
                  <a:pt x="831" y="265"/>
                </a:cubicBezTo>
                <a:close/>
                <a:moveTo>
                  <a:pt x="861" y="265"/>
                </a:moveTo>
                <a:cubicBezTo>
                  <a:pt x="861" y="264"/>
                  <a:pt x="861" y="264"/>
                  <a:pt x="861" y="264"/>
                </a:cubicBezTo>
                <a:cubicBezTo>
                  <a:pt x="860" y="264"/>
                  <a:pt x="860" y="265"/>
                  <a:pt x="861" y="265"/>
                </a:cubicBezTo>
                <a:close/>
                <a:moveTo>
                  <a:pt x="851" y="265"/>
                </a:moveTo>
                <a:cubicBezTo>
                  <a:pt x="851" y="265"/>
                  <a:pt x="851" y="266"/>
                  <a:pt x="851" y="266"/>
                </a:cubicBezTo>
                <a:cubicBezTo>
                  <a:pt x="852" y="266"/>
                  <a:pt x="851" y="265"/>
                  <a:pt x="852" y="265"/>
                </a:cubicBezTo>
                <a:cubicBezTo>
                  <a:pt x="851" y="264"/>
                  <a:pt x="851" y="265"/>
                  <a:pt x="851" y="265"/>
                </a:cubicBezTo>
                <a:close/>
                <a:moveTo>
                  <a:pt x="869" y="265"/>
                </a:moveTo>
                <a:cubicBezTo>
                  <a:pt x="868" y="265"/>
                  <a:pt x="868" y="265"/>
                  <a:pt x="868" y="266"/>
                </a:cubicBezTo>
                <a:cubicBezTo>
                  <a:pt x="868" y="265"/>
                  <a:pt x="869" y="265"/>
                  <a:pt x="869" y="265"/>
                </a:cubicBezTo>
                <a:close/>
                <a:moveTo>
                  <a:pt x="829" y="267"/>
                </a:moveTo>
                <a:cubicBezTo>
                  <a:pt x="829" y="267"/>
                  <a:pt x="828" y="267"/>
                  <a:pt x="828" y="268"/>
                </a:cubicBezTo>
                <a:cubicBezTo>
                  <a:pt x="829" y="267"/>
                  <a:pt x="830" y="268"/>
                  <a:pt x="829" y="267"/>
                </a:cubicBezTo>
                <a:cubicBezTo>
                  <a:pt x="829" y="267"/>
                  <a:pt x="829" y="267"/>
                  <a:pt x="829" y="267"/>
                </a:cubicBezTo>
                <a:close/>
                <a:moveTo>
                  <a:pt x="858" y="267"/>
                </a:moveTo>
                <a:cubicBezTo>
                  <a:pt x="858" y="267"/>
                  <a:pt x="859" y="267"/>
                  <a:pt x="859" y="267"/>
                </a:cubicBezTo>
                <a:cubicBezTo>
                  <a:pt x="859" y="267"/>
                  <a:pt x="859" y="267"/>
                  <a:pt x="858" y="266"/>
                </a:cubicBezTo>
                <a:cubicBezTo>
                  <a:pt x="858" y="266"/>
                  <a:pt x="858" y="267"/>
                  <a:pt x="858" y="267"/>
                </a:cubicBezTo>
                <a:close/>
                <a:moveTo>
                  <a:pt x="828" y="268"/>
                </a:moveTo>
                <a:cubicBezTo>
                  <a:pt x="828" y="268"/>
                  <a:pt x="828" y="268"/>
                  <a:pt x="828" y="268"/>
                </a:cubicBezTo>
                <a:cubicBezTo>
                  <a:pt x="828" y="269"/>
                  <a:pt x="827" y="269"/>
                  <a:pt x="828" y="269"/>
                </a:cubicBezTo>
                <a:cubicBezTo>
                  <a:pt x="828" y="269"/>
                  <a:pt x="828" y="269"/>
                  <a:pt x="828" y="269"/>
                </a:cubicBezTo>
                <a:cubicBezTo>
                  <a:pt x="828" y="268"/>
                  <a:pt x="828" y="268"/>
                  <a:pt x="828" y="268"/>
                </a:cubicBezTo>
                <a:close/>
                <a:moveTo>
                  <a:pt x="827" y="269"/>
                </a:moveTo>
                <a:cubicBezTo>
                  <a:pt x="827" y="269"/>
                  <a:pt x="826" y="269"/>
                  <a:pt x="826" y="270"/>
                </a:cubicBezTo>
                <a:cubicBezTo>
                  <a:pt x="827" y="269"/>
                  <a:pt x="827" y="270"/>
                  <a:pt x="827" y="270"/>
                </a:cubicBezTo>
                <a:cubicBezTo>
                  <a:pt x="827" y="269"/>
                  <a:pt x="828" y="269"/>
                  <a:pt x="827" y="269"/>
                </a:cubicBezTo>
                <a:close/>
                <a:moveTo>
                  <a:pt x="863" y="270"/>
                </a:moveTo>
                <a:cubicBezTo>
                  <a:pt x="863" y="270"/>
                  <a:pt x="863" y="270"/>
                  <a:pt x="862" y="269"/>
                </a:cubicBezTo>
                <a:cubicBezTo>
                  <a:pt x="862" y="270"/>
                  <a:pt x="862" y="270"/>
                  <a:pt x="863" y="270"/>
                </a:cubicBezTo>
                <a:close/>
                <a:moveTo>
                  <a:pt x="826" y="271"/>
                </a:moveTo>
                <a:cubicBezTo>
                  <a:pt x="825" y="271"/>
                  <a:pt x="825" y="272"/>
                  <a:pt x="825" y="272"/>
                </a:cubicBezTo>
                <a:cubicBezTo>
                  <a:pt x="825" y="272"/>
                  <a:pt x="825" y="272"/>
                  <a:pt x="825" y="271"/>
                </a:cubicBezTo>
                <a:cubicBezTo>
                  <a:pt x="824" y="272"/>
                  <a:pt x="825" y="272"/>
                  <a:pt x="824" y="273"/>
                </a:cubicBezTo>
                <a:cubicBezTo>
                  <a:pt x="825" y="273"/>
                  <a:pt x="825" y="273"/>
                  <a:pt x="825" y="273"/>
                </a:cubicBezTo>
                <a:cubicBezTo>
                  <a:pt x="825" y="272"/>
                  <a:pt x="825" y="273"/>
                  <a:pt x="825" y="273"/>
                </a:cubicBezTo>
                <a:cubicBezTo>
                  <a:pt x="825" y="272"/>
                  <a:pt x="826" y="272"/>
                  <a:pt x="826" y="271"/>
                </a:cubicBezTo>
                <a:close/>
                <a:moveTo>
                  <a:pt x="844" y="272"/>
                </a:moveTo>
                <a:cubicBezTo>
                  <a:pt x="843" y="273"/>
                  <a:pt x="843" y="273"/>
                  <a:pt x="844" y="274"/>
                </a:cubicBezTo>
                <a:cubicBezTo>
                  <a:pt x="844" y="273"/>
                  <a:pt x="844" y="273"/>
                  <a:pt x="844" y="272"/>
                </a:cubicBezTo>
                <a:close/>
                <a:moveTo>
                  <a:pt x="853" y="272"/>
                </a:moveTo>
                <a:cubicBezTo>
                  <a:pt x="853" y="273"/>
                  <a:pt x="853" y="273"/>
                  <a:pt x="853" y="273"/>
                </a:cubicBezTo>
                <a:cubicBezTo>
                  <a:pt x="854" y="273"/>
                  <a:pt x="853" y="273"/>
                  <a:pt x="853" y="272"/>
                </a:cubicBezTo>
                <a:cubicBezTo>
                  <a:pt x="853" y="273"/>
                  <a:pt x="853" y="272"/>
                  <a:pt x="853" y="272"/>
                </a:cubicBezTo>
                <a:close/>
                <a:moveTo>
                  <a:pt x="848" y="279"/>
                </a:moveTo>
                <a:cubicBezTo>
                  <a:pt x="848" y="278"/>
                  <a:pt x="848" y="278"/>
                  <a:pt x="848" y="278"/>
                </a:cubicBezTo>
                <a:cubicBezTo>
                  <a:pt x="848" y="278"/>
                  <a:pt x="847" y="278"/>
                  <a:pt x="848" y="279"/>
                </a:cubicBezTo>
                <a:close/>
                <a:moveTo>
                  <a:pt x="861" y="281"/>
                </a:moveTo>
                <a:cubicBezTo>
                  <a:pt x="861" y="281"/>
                  <a:pt x="862" y="281"/>
                  <a:pt x="862" y="281"/>
                </a:cubicBezTo>
                <a:cubicBezTo>
                  <a:pt x="862" y="281"/>
                  <a:pt x="862" y="281"/>
                  <a:pt x="862" y="281"/>
                </a:cubicBezTo>
                <a:cubicBezTo>
                  <a:pt x="862" y="281"/>
                  <a:pt x="862" y="281"/>
                  <a:pt x="861" y="281"/>
                </a:cubicBezTo>
                <a:close/>
                <a:moveTo>
                  <a:pt x="869" y="281"/>
                </a:moveTo>
                <a:cubicBezTo>
                  <a:pt x="869" y="281"/>
                  <a:pt x="870" y="281"/>
                  <a:pt x="869" y="280"/>
                </a:cubicBezTo>
                <a:cubicBezTo>
                  <a:pt x="869" y="281"/>
                  <a:pt x="869" y="281"/>
                  <a:pt x="869" y="281"/>
                </a:cubicBezTo>
                <a:close/>
                <a:moveTo>
                  <a:pt x="841" y="283"/>
                </a:moveTo>
                <a:cubicBezTo>
                  <a:pt x="840" y="283"/>
                  <a:pt x="840" y="283"/>
                  <a:pt x="840" y="283"/>
                </a:cubicBezTo>
                <a:cubicBezTo>
                  <a:pt x="840" y="283"/>
                  <a:pt x="840" y="283"/>
                  <a:pt x="840" y="283"/>
                </a:cubicBezTo>
                <a:cubicBezTo>
                  <a:pt x="840" y="284"/>
                  <a:pt x="841" y="283"/>
                  <a:pt x="841" y="283"/>
                </a:cubicBezTo>
                <a:close/>
                <a:moveTo>
                  <a:pt x="863" y="285"/>
                </a:moveTo>
                <a:cubicBezTo>
                  <a:pt x="863" y="285"/>
                  <a:pt x="862" y="284"/>
                  <a:pt x="863" y="285"/>
                </a:cubicBezTo>
                <a:cubicBezTo>
                  <a:pt x="862" y="284"/>
                  <a:pt x="863" y="284"/>
                  <a:pt x="863" y="283"/>
                </a:cubicBezTo>
                <a:cubicBezTo>
                  <a:pt x="862" y="284"/>
                  <a:pt x="863" y="284"/>
                  <a:pt x="862" y="284"/>
                </a:cubicBezTo>
                <a:cubicBezTo>
                  <a:pt x="862" y="284"/>
                  <a:pt x="862" y="284"/>
                  <a:pt x="863" y="284"/>
                </a:cubicBezTo>
                <a:cubicBezTo>
                  <a:pt x="863" y="285"/>
                  <a:pt x="862" y="285"/>
                  <a:pt x="863" y="285"/>
                </a:cubicBezTo>
                <a:close/>
                <a:moveTo>
                  <a:pt x="842" y="286"/>
                </a:moveTo>
                <a:cubicBezTo>
                  <a:pt x="842" y="286"/>
                  <a:pt x="842" y="286"/>
                  <a:pt x="842" y="286"/>
                </a:cubicBezTo>
                <a:cubicBezTo>
                  <a:pt x="842" y="286"/>
                  <a:pt x="842" y="286"/>
                  <a:pt x="842" y="286"/>
                </a:cubicBezTo>
                <a:cubicBezTo>
                  <a:pt x="842" y="286"/>
                  <a:pt x="842" y="286"/>
                  <a:pt x="842" y="286"/>
                </a:cubicBezTo>
                <a:close/>
                <a:moveTo>
                  <a:pt x="860" y="288"/>
                </a:moveTo>
                <a:cubicBezTo>
                  <a:pt x="860" y="288"/>
                  <a:pt x="860" y="288"/>
                  <a:pt x="861" y="287"/>
                </a:cubicBezTo>
                <a:cubicBezTo>
                  <a:pt x="860" y="287"/>
                  <a:pt x="860" y="288"/>
                  <a:pt x="860" y="288"/>
                </a:cubicBezTo>
                <a:close/>
                <a:moveTo>
                  <a:pt x="864" y="290"/>
                </a:moveTo>
                <a:cubicBezTo>
                  <a:pt x="864" y="289"/>
                  <a:pt x="865" y="289"/>
                  <a:pt x="865" y="289"/>
                </a:cubicBezTo>
                <a:cubicBezTo>
                  <a:pt x="864" y="289"/>
                  <a:pt x="864" y="289"/>
                  <a:pt x="864" y="290"/>
                </a:cubicBezTo>
                <a:close/>
                <a:moveTo>
                  <a:pt x="857" y="290"/>
                </a:moveTo>
                <a:cubicBezTo>
                  <a:pt x="857" y="290"/>
                  <a:pt x="856" y="290"/>
                  <a:pt x="857" y="290"/>
                </a:cubicBezTo>
                <a:cubicBezTo>
                  <a:pt x="857" y="290"/>
                  <a:pt x="857" y="290"/>
                  <a:pt x="857" y="290"/>
                </a:cubicBezTo>
                <a:close/>
                <a:moveTo>
                  <a:pt x="855" y="292"/>
                </a:moveTo>
                <a:cubicBezTo>
                  <a:pt x="854" y="292"/>
                  <a:pt x="855" y="292"/>
                  <a:pt x="854" y="292"/>
                </a:cubicBezTo>
                <a:cubicBezTo>
                  <a:pt x="854" y="292"/>
                  <a:pt x="855" y="292"/>
                  <a:pt x="855" y="292"/>
                </a:cubicBezTo>
                <a:close/>
                <a:moveTo>
                  <a:pt x="854" y="293"/>
                </a:moveTo>
                <a:cubicBezTo>
                  <a:pt x="854" y="293"/>
                  <a:pt x="854" y="293"/>
                  <a:pt x="854" y="293"/>
                </a:cubicBezTo>
                <a:cubicBezTo>
                  <a:pt x="854" y="294"/>
                  <a:pt x="855" y="293"/>
                  <a:pt x="854" y="293"/>
                </a:cubicBezTo>
                <a:close/>
                <a:moveTo>
                  <a:pt x="835" y="296"/>
                </a:moveTo>
                <a:cubicBezTo>
                  <a:pt x="835" y="296"/>
                  <a:pt x="836" y="295"/>
                  <a:pt x="835" y="295"/>
                </a:cubicBezTo>
                <a:cubicBezTo>
                  <a:pt x="835" y="295"/>
                  <a:pt x="835" y="295"/>
                  <a:pt x="835" y="295"/>
                </a:cubicBezTo>
                <a:cubicBezTo>
                  <a:pt x="835" y="295"/>
                  <a:pt x="835" y="295"/>
                  <a:pt x="835" y="295"/>
                </a:cubicBezTo>
                <a:cubicBezTo>
                  <a:pt x="835" y="296"/>
                  <a:pt x="835" y="296"/>
                  <a:pt x="835" y="296"/>
                </a:cubicBezTo>
                <a:cubicBezTo>
                  <a:pt x="835" y="296"/>
                  <a:pt x="835" y="296"/>
                  <a:pt x="835" y="296"/>
                </a:cubicBezTo>
                <a:close/>
                <a:moveTo>
                  <a:pt x="834" y="296"/>
                </a:moveTo>
                <a:cubicBezTo>
                  <a:pt x="834" y="296"/>
                  <a:pt x="834" y="297"/>
                  <a:pt x="834" y="297"/>
                </a:cubicBezTo>
                <a:cubicBezTo>
                  <a:pt x="835" y="297"/>
                  <a:pt x="835" y="297"/>
                  <a:pt x="835" y="297"/>
                </a:cubicBezTo>
                <a:cubicBezTo>
                  <a:pt x="835" y="296"/>
                  <a:pt x="835" y="296"/>
                  <a:pt x="835" y="296"/>
                </a:cubicBezTo>
                <a:cubicBezTo>
                  <a:pt x="835" y="296"/>
                  <a:pt x="835" y="296"/>
                  <a:pt x="835" y="296"/>
                </a:cubicBezTo>
                <a:cubicBezTo>
                  <a:pt x="835" y="296"/>
                  <a:pt x="835" y="296"/>
                  <a:pt x="834" y="296"/>
                </a:cubicBezTo>
                <a:close/>
                <a:moveTo>
                  <a:pt x="832" y="297"/>
                </a:moveTo>
                <a:cubicBezTo>
                  <a:pt x="833" y="297"/>
                  <a:pt x="832" y="297"/>
                  <a:pt x="832" y="297"/>
                </a:cubicBezTo>
                <a:cubicBezTo>
                  <a:pt x="832" y="297"/>
                  <a:pt x="832" y="297"/>
                  <a:pt x="832" y="297"/>
                </a:cubicBezTo>
                <a:close/>
                <a:moveTo>
                  <a:pt x="851" y="296"/>
                </a:moveTo>
                <a:cubicBezTo>
                  <a:pt x="851" y="296"/>
                  <a:pt x="851" y="296"/>
                  <a:pt x="852" y="296"/>
                </a:cubicBezTo>
                <a:cubicBezTo>
                  <a:pt x="852" y="296"/>
                  <a:pt x="851" y="296"/>
                  <a:pt x="851" y="296"/>
                </a:cubicBezTo>
                <a:close/>
                <a:moveTo>
                  <a:pt x="852" y="297"/>
                </a:moveTo>
                <a:cubicBezTo>
                  <a:pt x="852" y="297"/>
                  <a:pt x="853" y="297"/>
                  <a:pt x="852" y="296"/>
                </a:cubicBezTo>
                <a:cubicBezTo>
                  <a:pt x="852" y="296"/>
                  <a:pt x="851" y="297"/>
                  <a:pt x="852" y="297"/>
                </a:cubicBezTo>
                <a:close/>
                <a:moveTo>
                  <a:pt x="851" y="296"/>
                </a:moveTo>
                <a:cubicBezTo>
                  <a:pt x="851" y="297"/>
                  <a:pt x="850" y="297"/>
                  <a:pt x="850" y="297"/>
                </a:cubicBezTo>
                <a:cubicBezTo>
                  <a:pt x="851" y="297"/>
                  <a:pt x="851" y="297"/>
                  <a:pt x="851" y="297"/>
                </a:cubicBezTo>
                <a:cubicBezTo>
                  <a:pt x="851" y="296"/>
                  <a:pt x="851" y="297"/>
                  <a:pt x="851" y="296"/>
                </a:cubicBezTo>
                <a:close/>
                <a:moveTo>
                  <a:pt x="848" y="297"/>
                </a:moveTo>
                <a:cubicBezTo>
                  <a:pt x="848" y="297"/>
                  <a:pt x="848" y="297"/>
                  <a:pt x="849" y="297"/>
                </a:cubicBezTo>
                <a:cubicBezTo>
                  <a:pt x="849" y="297"/>
                  <a:pt x="848" y="297"/>
                  <a:pt x="848" y="297"/>
                </a:cubicBezTo>
                <a:close/>
                <a:moveTo>
                  <a:pt x="831" y="300"/>
                </a:moveTo>
                <a:cubicBezTo>
                  <a:pt x="831" y="299"/>
                  <a:pt x="831" y="299"/>
                  <a:pt x="831" y="299"/>
                </a:cubicBezTo>
                <a:cubicBezTo>
                  <a:pt x="831" y="299"/>
                  <a:pt x="831" y="299"/>
                  <a:pt x="831" y="300"/>
                </a:cubicBezTo>
                <a:close/>
                <a:moveTo>
                  <a:pt x="828" y="304"/>
                </a:moveTo>
                <a:cubicBezTo>
                  <a:pt x="828" y="303"/>
                  <a:pt x="829" y="303"/>
                  <a:pt x="829" y="302"/>
                </a:cubicBezTo>
                <a:cubicBezTo>
                  <a:pt x="829" y="302"/>
                  <a:pt x="829" y="302"/>
                  <a:pt x="829" y="303"/>
                </a:cubicBezTo>
                <a:cubicBezTo>
                  <a:pt x="830" y="302"/>
                  <a:pt x="829" y="302"/>
                  <a:pt x="828" y="302"/>
                </a:cubicBezTo>
                <a:cubicBezTo>
                  <a:pt x="828" y="303"/>
                  <a:pt x="828" y="303"/>
                  <a:pt x="828" y="304"/>
                </a:cubicBezTo>
                <a:close/>
                <a:moveTo>
                  <a:pt x="847" y="301"/>
                </a:moveTo>
                <a:cubicBezTo>
                  <a:pt x="846" y="301"/>
                  <a:pt x="847" y="302"/>
                  <a:pt x="847" y="302"/>
                </a:cubicBezTo>
                <a:cubicBezTo>
                  <a:pt x="848" y="302"/>
                  <a:pt x="847" y="301"/>
                  <a:pt x="847" y="301"/>
                </a:cubicBezTo>
                <a:close/>
                <a:moveTo>
                  <a:pt x="847" y="302"/>
                </a:moveTo>
                <a:cubicBezTo>
                  <a:pt x="847" y="302"/>
                  <a:pt x="847" y="302"/>
                  <a:pt x="847" y="302"/>
                </a:cubicBezTo>
                <a:cubicBezTo>
                  <a:pt x="847" y="302"/>
                  <a:pt x="846" y="302"/>
                  <a:pt x="847" y="302"/>
                </a:cubicBezTo>
                <a:close/>
                <a:moveTo>
                  <a:pt x="827" y="306"/>
                </a:moveTo>
                <a:cubicBezTo>
                  <a:pt x="827" y="306"/>
                  <a:pt x="827" y="306"/>
                  <a:pt x="827" y="306"/>
                </a:cubicBezTo>
                <a:cubicBezTo>
                  <a:pt x="827" y="306"/>
                  <a:pt x="827" y="306"/>
                  <a:pt x="827" y="306"/>
                </a:cubicBezTo>
                <a:cubicBezTo>
                  <a:pt x="827" y="306"/>
                  <a:pt x="827" y="306"/>
                  <a:pt x="827" y="306"/>
                </a:cubicBezTo>
                <a:close/>
                <a:moveTo>
                  <a:pt x="842" y="305"/>
                </a:moveTo>
                <a:cubicBezTo>
                  <a:pt x="842" y="305"/>
                  <a:pt x="842" y="305"/>
                  <a:pt x="842" y="305"/>
                </a:cubicBezTo>
                <a:cubicBezTo>
                  <a:pt x="842" y="305"/>
                  <a:pt x="842" y="304"/>
                  <a:pt x="842" y="305"/>
                </a:cubicBezTo>
                <a:close/>
                <a:moveTo>
                  <a:pt x="845" y="319"/>
                </a:moveTo>
                <a:cubicBezTo>
                  <a:pt x="844" y="319"/>
                  <a:pt x="845" y="320"/>
                  <a:pt x="845" y="320"/>
                </a:cubicBezTo>
                <a:cubicBezTo>
                  <a:pt x="845" y="320"/>
                  <a:pt x="845" y="319"/>
                  <a:pt x="845" y="319"/>
                </a:cubicBezTo>
                <a:close/>
                <a:moveTo>
                  <a:pt x="842" y="326"/>
                </a:moveTo>
                <a:cubicBezTo>
                  <a:pt x="841" y="326"/>
                  <a:pt x="841" y="326"/>
                  <a:pt x="841" y="326"/>
                </a:cubicBezTo>
                <a:cubicBezTo>
                  <a:pt x="840" y="326"/>
                  <a:pt x="841" y="326"/>
                  <a:pt x="841" y="326"/>
                </a:cubicBezTo>
                <a:cubicBezTo>
                  <a:pt x="840" y="326"/>
                  <a:pt x="840" y="326"/>
                  <a:pt x="840" y="326"/>
                </a:cubicBezTo>
                <a:cubicBezTo>
                  <a:pt x="840" y="326"/>
                  <a:pt x="840" y="326"/>
                  <a:pt x="840" y="327"/>
                </a:cubicBezTo>
                <a:cubicBezTo>
                  <a:pt x="841" y="326"/>
                  <a:pt x="841" y="326"/>
                  <a:pt x="841" y="327"/>
                </a:cubicBezTo>
                <a:cubicBezTo>
                  <a:pt x="841" y="327"/>
                  <a:pt x="840" y="327"/>
                  <a:pt x="841" y="328"/>
                </a:cubicBezTo>
                <a:cubicBezTo>
                  <a:pt x="841" y="327"/>
                  <a:pt x="841" y="327"/>
                  <a:pt x="841" y="327"/>
                </a:cubicBezTo>
                <a:cubicBezTo>
                  <a:pt x="841" y="327"/>
                  <a:pt x="841" y="326"/>
                  <a:pt x="842" y="326"/>
                </a:cubicBezTo>
                <a:close/>
                <a:moveTo>
                  <a:pt x="840" y="328"/>
                </a:moveTo>
                <a:cubicBezTo>
                  <a:pt x="839" y="328"/>
                  <a:pt x="839" y="328"/>
                  <a:pt x="839" y="328"/>
                </a:cubicBezTo>
                <a:cubicBezTo>
                  <a:pt x="839" y="329"/>
                  <a:pt x="839" y="329"/>
                  <a:pt x="839" y="329"/>
                </a:cubicBezTo>
                <a:cubicBezTo>
                  <a:pt x="840" y="329"/>
                  <a:pt x="839" y="328"/>
                  <a:pt x="840" y="329"/>
                </a:cubicBezTo>
                <a:cubicBezTo>
                  <a:pt x="840" y="329"/>
                  <a:pt x="840" y="328"/>
                  <a:pt x="840" y="328"/>
                </a:cubicBezTo>
                <a:close/>
                <a:moveTo>
                  <a:pt x="839" y="329"/>
                </a:moveTo>
                <a:cubicBezTo>
                  <a:pt x="839" y="329"/>
                  <a:pt x="839" y="329"/>
                  <a:pt x="839" y="329"/>
                </a:cubicBezTo>
                <a:cubicBezTo>
                  <a:pt x="839" y="329"/>
                  <a:pt x="839" y="330"/>
                  <a:pt x="839" y="330"/>
                </a:cubicBezTo>
                <a:cubicBezTo>
                  <a:pt x="840" y="330"/>
                  <a:pt x="840" y="330"/>
                  <a:pt x="840" y="330"/>
                </a:cubicBezTo>
                <a:cubicBezTo>
                  <a:pt x="839" y="330"/>
                  <a:pt x="839" y="330"/>
                  <a:pt x="840" y="330"/>
                </a:cubicBezTo>
                <a:cubicBezTo>
                  <a:pt x="839" y="329"/>
                  <a:pt x="839" y="330"/>
                  <a:pt x="839" y="329"/>
                </a:cubicBezTo>
                <a:close/>
                <a:moveTo>
                  <a:pt x="838" y="330"/>
                </a:moveTo>
                <a:cubicBezTo>
                  <a:pt x="838" y="330"/>
                  <a:pt x="837" y="331"/>
                  <a:pt x="838" y="331"/>
                </a:cubicBezTo>
                <a:cubicBezTo>
                  <a:pt x="838" y="331"/>
                  <a:pt x="838" y="330"/>
                  <a:pt x="838" y="330"/>
                </a:cubicBezTo>
                <a:cubicBezTo>
                  <a:pt x="838" y="330"/>
                  <a:pt x="838" y="330"/>
                  <a:pt x="838" y="330"/>
                </a:cubicBezTo>
                <a:close/>
                <a:moveTo>
                  <a:pt x="837" y="331"/>
                </a:moveTo>
                <a:cubicBezTo>
                  <a:pt x="837" y="331"/>
                  <a:pt x="837" y="331"/>
                  <a:pt x="837" y="332"/>
                </a:cubicBezTo>
                <a:cubicBezTo>
                  <a:pt x="837" y="332"/>
                  <a:pt x="838" y="332"/>
                  <a:pt x="838" y="332"/>
                </a:cubicBezTo>
                <a:cubicBezTo>
                  <a:pt x="838" y="331"/>
                  <a:pt x="838" y="331"/>
                  <a:pt x="837" y="331"/>
                </a:cubicBezTo>
                <a:close/>
                <a:moveTo>
                  <a:pt x="837" y="332"/>
                </a:moveTo>
                <a:cubicBezTo>
                  <a:pt x="837" y="332"/>
                  <a:pt x="838" y="332"/>
                  <a:pt x="838" y="332"/>
                </a:cubicBezTo>
                <a:cubicBezTo>
                  <a:pt x="838" y="332"/>
                  <a:pt x="838" y="332"/>
                  <a:pt x="838" y="332"/>
                </a:cubicBezTo>
                <a:cubicBezTo>
                  <a:pt x="837" y="332"/>
                  <a:pt x="837" y="332"/>
                  <a:pt x="837" y="332"/>
                </a:cubicBezTo>
                <a:cubicBezTo>
                  <a:pt x="837" y="332"/>
                  <a:pt x="837" y="332"/>
                  <a:pt x="837" y="332"/>
                </a:cubicBezTo>
                <a:close/>
                <a:moveTo>
                  <a:pt x="837" y="333"/>
                </a:moveTo>
                <a:cubicBezTo>
                  <a:pt x="838" y="333"/>
                  <a:pt x="838" y="333"/>
                  <a:pt x="838" y="332"/>
                </a:cubicBezTo>
                <a:cubicBezTo>
                  <a:pt x="838" y="332"/>
                  <a:pt x="837" y="333"/>
                  <a:pt x="837" y="333"/>
                </a:cubicBezTo>
                <a:close/>
                <a:moveTo>
                  <a:pt x="835" y="336"/>
                </a:moveTo>
                <a:cubicBezTo>
                  <a:pt x="835" y="336"/>
                  <a:pt x="835" y="336"/>
                  <a:pt x="835" y="337"/>
                </a:cubicBezTo>
                <a:cubicBezTo>
                  <a:pt x="836" y="337"/>
                  <a:pt x="835" y="336"/>
                  <a:pt x="836" y="336"/>
                </a:cubicBezTo>
                <a:cubicBezTo>
                  <a:pt x="836" y="336"/>
                  <a:pt x="835" y="336"/>
                  <a:pt x="835" y="336"/>
                </a:cubicBezTo>
                <a:close/>
                <a:moveTo>
                  <a:pt x="834" y="338"/>
                </a:moveTo>
                <a:cubicBezTo>
                  <a:pt x="834" y="338"/>
                  <a:pt x="834" y="339"/>
                  <a:pt x="834" y="339"/>
                </a:cubicBezTo>
                <a:cubicBezTo>
                  <a:pt x="834" y="339"/>
                  <a:pt x="834" y="339"/>
                  <a:pt x="834" y="339"/>
                </a:cubicBezTo>
                <a:lnTo>
                  <a:pt x="834" y="338"/>
                </a:lnTo>
                <a:close/>
                <a:moveTo>
                  <a:pt x="833" y="340"/>
                </a:moveTo>
                <a:cubicBezTo>
                  <a:pt x="833" y="340"/>
                  <a:pt x="833" y="340"/>
                  <a:pt x="833" y="340"/>
                </a:cubicBezTo>
                <a:cubicBezTo>
                  <a:pt x="833" y="341"/>
                  <a:pt x="834" y="340"/>
                  <a:pt x="834" y="340"/>
                </a:cubicBezTo>
                <a:cubicBezTo>
                  <a:pt x="834" y="340"/>
                  <a:pt x="834" y="340"/>
                  <a:pt x="833" y="340"/>
                </a:cubicBezTo>
                <a:cubicBezTo>
                  <a:pt x="833" y="340"/>
                  <a:pt x="834" y="340"/>
                  <a:pt x="833" y="340"/>
                </a:cubicBezTo>
                <a:close/>
                <a:moveTo>
                  <a:pt x="834" y="341"/>
                </a:moveTo>
                <a:cubicBezTo>
                  <a:pt x="834" y="342"/>
                  <a:pt x="835" y="341"/>
                  <a:pt x="835" y="341"/>
                </a:cubicBezTo>
                <a:cubicBezTo>
                  <a:pt x="835" y="341"/>
                  <a:pt x="834" y="341"/>
                  <a:pt x="834" y="341"/>
                </a:cubicBezTo>
                <a:cubicBezTo>
                  <a:pt x="834" y="341"/>
                  <a:pt x="834" y="341"/>
                  <a:pt x="834" y="341"/>
                </a:cubicBezTo>
                <a:close/>
                <a:moveTo>
                  <a:pt x="831" y="343"/>
                </a:moveTo>
                <a:cubicBezTo>
                  <a:pt x="832" y="344"/>
                  <a:pt x="832" y="343"/>
                  <a:pt x="833" y="343"/>
                </a:cubicBezTo>
                <a:cubicBezTo>
                  <a:pt x="832" y="343"/>
                  <a:pt x="832" y="343"/>
                  <a:pt x="832" y="342"/>
                </a:cubicBezTo>
                <a:cubicBezTo>
                  <a:pt x="833" y="342"/>
                  <a:pt x="833" y="342"/>
                  <a:pt x="833" y="342"/>
                </a:cubicBezTo>
                <a:cubicBezTo>
                  <a:pt x="833" y="342"/>
                  <a:pt x="832" y="342"/>
                  <a:pt x="832" y="342"/>
                </a:cubicBezTo>
                <a:cubicBezTo>
                  <a:pt x="832" y="343"/>
                  <a:pt x="831" y="343"/>
                  <a:pt x="831" y="343"/>
                </a:cubicBezTo>
                <a:close/>
                <a:moveTo>
                  <a:pt x="833" y="343"/>
                </a:moveTo>
                <a:cubicBezTo>
                  <a:pt x="833" y="343"/>
                  <a:pt x="833" y="343"/>
                  <a:pt x="833" y="343"/>
                </a:cubicBezTo>
                <a:cubicBezTo>
                  <a:pt x="833" y="343"/>
                  <a:pt x="834" y="343"/>
                  <a:pt x="833" y="343"/>
                </a:cubicBezTo>
                <a:close/>
                <a:moveTo>
                  <a:pt x="833" y="344"/>
                </a:moveTo>
                <a:cubicBezTo>
                  <a:pt x="833" y="344"/>
                  <a:pt x="833" y="344"/>
                  <a:pt x="832" y="344"/>
                </a:cubicBezTo>
                <a:cubicBezTo>
                  <a:pt x="833" y="345"/>
                  <a:pt x="833" y="345"/>
                  <a:pt x="833" y="345"/>
                </a:cubicBezTo>
                <a:cubicBezTo>
                  <a:pt x="833" y="345"/>
                  <a:pt x="833" y="345"/>
                  <a:pt x="833" y="344"/>
                </a:cubicBezTo>
                <a:cubicBezTo>
                  <a:pt x="833" y="345"/>
                  <a:pt x="833" y="345"/>
                  <a:pt x="833" y="344"/>
                </a:cubicBezTo>
                <a:close/>
                <a:moveTo>
                  <a:pt x="832" y="346"/>
                </a:moveTo>
                <a:cubicBezTo>
                  <a:pt x="832" y="346"/>
                  <a:pt x="832" y="347"/>
                  <a:pt x="831" y="347"/>
                </a:cubicBezTo>
                <a:cubicBezTo>
                  <a:pt x="832" y="347"/>
                  <a:pt x="832" y="347"/>
                  <a:pt x="832" y="347"/>
                </a:cubicBezTo>
                <a:cubicBezTo>
                  <a:pt x="832" y="347"/>
                  <a:pt x="832" y="347"/>
                  <a:pt x="832" y="346"/>
                </a:cubicBezTo>
                <a:close/>
                <a:moveTo>
                  <a:pt x="813" y="393"/>
                </a:moveTo>
                <a:cubicBezTo>
                  <a:pt x="814" y="393"/>
                  <a:pt x="814" y="393"/>
                  <a:pt x="814" y="392"/>
                </a:cubicBezTo>
                <a:cubicBezTo>
                  <a:pt x="814" y="391"/>
                  <a:pt x="814" y="391"/>
                  <a:pt x="814" y="391"/>
                </a:cubicBezTo>
                <a:cubicBezTo>
                  <a:pt x="813" y="391"/>
                  <a:pt x="813" y="392"/>
                  <a:pt x="813" y="393"/>
                </a:cubicBezTo>
                <a:close/>
                <a:moveTo>
                  <a:pt x="809" y="403"/>
                </a:moveTo>
                <a:cubicBezTo>
                  <a:pt x="809" y="403"/>
                  <a:pt x="810" y="404"/>
                  <a:pt x="810" y="404"/>
                </a:cubicBezTo>
                <a:cubicBezTo>
                  <a:pt x="810" y="403"/>
                  <a:pt x="810" y="403"/>
                  <a:pt x="809" y="403"/>
                </a:cubicBezTo>
                <a:close/>
                <a:moveTo>
                  <a:pt x="797" y="392"/>
                </a:moveTo>
                <a:cubicBezTo>
                  <a:pt x="797" y="393"/>
                  <a:pt x="798" y="393"/>
                  <a:pt x="798" y="393"/>
                </a:cubicBezTo>
                <a:cubicBezTo>
                  <a:pt x="798" y="393"/>
                  <a:pt x="797" y="392"/>
                  <a:pt x="797" y="392"/>
                </a:cubicBezTo>
                <a:close/>
                <a:moveTo>
                  <a:pt x="791" y="388"/>
                </a:moveTo>
                <a:cubicBezTo>
                  <a:pt x="792" y="389"/>
                  <a:pt x="793" y="389"/>
                  <a:pt x="793" y="389"/>
                </a:cubicBezTo>
                <a:cubicBezTo>
                  <a:pt x="792" y="389"/>
                  <a:pt x="791" y="388"/>
                  <a:pt x="791" y="388"/>
                </a:cubicBezTo>
                <a:close/>
                <a:moveTo>
                  <a:pt x="781" y="380"/>
                </a:moveTo>
                <a:cubicBezTo>
                  <a:pt x="781" y="381"/>
                  <a:pt x="782" y="382"/>
                  <a:pt x="782" y="381"/>
                </a:cubicBezTo>
                <a:cubicBezTo>
                  <a:pt x="782" y="381"/>
                  <a:pt x="781" y="381"/>
                  <a:pt x="781" y="380"/>
                </a:cubicBezTo>
                <a:close/>
                <a:moveTo>
                  <a:pt x="771" y="372"/>
                </a:moveTo>
                <a:cubicBezTo>
                  <a:pt x="771" y="372"/>
                  <a:pt x="771" y="372"/>
                  <a:pt x="771" y="372"/>
                </a:cubicBezTo>
                <a:cubicBezTo>
                  <a:pt x="771" y="372"/>
                  <a:pt x="771" y="371"/>
                  <a:pt x="771" y="371"/>
                </a:cubicBezTo>
                <a:cubicBezTo>
                  <a:pt x="771" y="371"/>
                  <a:pt x="771" y="371"/>
                  <a:pt x="771" y="372"/>
                </a:cubicBezTo>
                <a:close/>
                <a:moveTo>
                  <a:pt x="765" y="320"/>
                </a:moveTo>
                <a:cubicBezTo>
                  <a:pt x="765" y="321"/>
                  <a:pt x="766" y="321"/>
                  <a:pt x="767" y="321"/>
                </a:cubicBezTo>
                <a:cubicBezTo>
                  <a:pt x="766" y="320"/>
                  <a:pt x="765" y="321"/>
                  <a:pt x="765" y="320"/>
                </a:cubicBezTo>
                <a:close/>
                <a:moveTo>
                  <a:pt x="764" y="320"/>
                </a:moveTo>
                <a:cubicBezTo>
                  <a:pt x="764" y="320"/>
                  <a:pt x="764" y="320"/>
                  <a:pt x="765" y="320"/>
                </a:cubicBezTo>
                <a:cubicBezTo>
                  <a:pt x="765" y="320"/>
                  <a:pt x="764" y="320"/>
                  <a:pt x="764" y="320"/>
                </a:cubicBezTo>
                <a:close/>
                <a:moveTo>
                  <a:pt x="753" y="361"/>
                </a:moveTo>
                <a:cubicBezTo>
                  <a:pt x="753" y="361"/>
                  <a:pt x="753" y="362"/>
                  <a:pt x="754" y="362"/>
                </a:cubicBezTo>
                <a:cubicBezTo>
                  <a:pt x="754" y="361"/>
                  <a:pt x="754" y="361"/>
                  <a:pt x="754" y="361"/>
                </a:cubicBezTo>
                <a:cubicBezTo>
                  <a:pt x="754" y="361"/>
                  <a:pt x="754" y="361"/>
                  <a:pt x="754" y="362"/>
                </a:cubicBezTo>
                <a:cubicBezTo>
                  <a:pt x="753" y="361"/>
                  <a:pt x="753" y="361"/>
                  <a:pt x="753" y="361"/>
                </a:cubicBezTo>
                <a:close/>
                <a:moveTo>
                  <a:pt x="753" y="358"/>
                </a:moveTo>
                <a:cubicBezTo>
                  <a:pt x="753" y="358"/>
                  <a:pt x="752" y="358"/>
                  <a:pt x="752" y="359"/>
                </a:cubicBezTo>
                <a:cubicBezTo>
                  <a:pt x="753" y="359"/>
                  <a:pt x="753" y="359"/>
                  <a:pt x="753" y="358"/>
                </a:cubicBezTo>
                <a:close/>
                <a:moveTo>
                  <a:pt x="752" y="360"/>
                </a:moveTo>
                <a:cubicBezTo>
                  <a:pt x="752" y="360"/>
                  <a:pt x="752" y="360"/>
                  <a:pt x="752" y="360"/>
                </a:cubicBezTo>
                <a:cubicBezTo>
                  <a:pt x="752" y="360"/>
                  <a:pt x="752" y="360"/>
                  <a:pt x="752" y="360"/>
                </a:cubicBezTo>
                <a:cubicBezTo>
                  <a:pt x="752" y="360"/>
                  <a:pt x="752" y="360"/>
                  <a:pt x="752" y="360"/>
                </a:cubicBezTo>
                <a:close/>
                <a:moveTo>
                  <a:pt x="735" y="351"/>
                </a:moveTo>
                <a:cubicBezTo>
                  <a:pt x="735" y="351"/>
                  <a:pt x="735" y="351"/>
                  <a:pt x="735" y="351"/>
                </a:cubicBezTo>
                <a:cubicBezTo>
                  <a:pt x="735" y="351"/>
                  <a:pt x="735" y="351"/>
                  <a:pt x="735" y="351"/>
                </a:cubicBezTo>
                <a:cubicBezTo>
                  <a:pt x="735" y="351"/>
                  <a:pt x="735" y="351"/>
                  <a:pt x="735" y="351"/>
                </a:cubicBezTo>
                <a:close/>
                <a:moveTo>
                  <a:pt x="733" y="352"/>
                </a:moveTo>
                <a:cubicBezTo>
                  <a:pt x="733" y="352"/>
                  <a:pt x="733" y="352"/>
                  <a:pt x="734" y="351"/>
                </a:cubicBezTo>
                <a:cubicBezTo>
                  <a:pt x="734" y="351"/>
                  <a:pt x="733" y="352"/>
                  <a:pt x="733" y="352"/>
                </a:cubicBezTo>
                <a:close/>
                <a:moveTo>
                  <a:pt x="731" y="349"/>
                </a:moveTo>
                <a:cubicBezTo>
                  <a:pt x="731" y="349"/>
                  <a:pt x="731" y="349"/>
                  <a:pt x="730" y="349"/>
                </a:cubicBezTo>
                <a:cubicBezTo>
                  <a:pt x="731" y="350"/>
                  <a:pt x="732" y="350"/>
                  <a:pt x="733" y="350"/>
                </a:cubicBezTo>
                <a:cubicBezTo>
                  <a:pt x="733" y="349"/>
                  <a:pt x="732" y="349"/>
                  <a:pt x="731" y="349"/>
                </a:cubicBezTo>
                <a:close/>
                <a:moveTo>
                  <a:pt x="730" y="349"/>
                </a:moveTo>
                <a:cubicBezTo>
                  <a:pt x="730" y="349"/>
                  <a:pt x="730" y="349"/>
                  <a:pt x="731" y="349"/>
                </a:cubicBezTo>
                <a:cubicBezTo>
                  <a:pt x="731" y="348"/>
                  <a:pt x="730" y="349"/>
                  <a:pt x="730" y="349"/>
                </a:cubicBezTo>
                <a:close/>
                <a:moveTo>
                  <a:pt x="729" y="348"/>
                </a:moveTo>
                <a:cubicBezTo>
                  <a:pt x="729" y="348"/>
                  <a:pt x="729" y="349"/>
                  <a:pt x="730" y="348"/>
                </a:cubicBezTo>
                <a:cubicBezTo>
                  <a:pt x="729" y="348"/>
                  <a:pt x="729" y="348"/>
                  <a:pt x="729" y="348"/>
                </a:cubicBezTo>
                <a:close/>
                <a:moveTo>
                  <a:pt x="729" y="346"/>
                </a:moveTo>
                <a:cubicBezTo>
                  <a:pt x="729" y="347"/>
                  <a:pt x="728" y="347"/>
                  <a:pt x="728" y="347"/>
                </a:cubicBezTo>
                <a:cubicBezTo>
                  <a:pt x="729" y="347"/>
                  <a:pt x="729" y="347"/>
                  <a:pt x="729" y="347"/>
                </a:cubicBezTo>
                <a:cubicBezTo>
                  <a:pt x="729" y="347"/>
                  <a:pt x="729" y="347"/>
                  <a:pt x="729" y="346"/>
                </a:cubicBezTo>
                <a:close/>
                <a:moveTo>
                  <a:pt x="725" y="352"/>
                </a:moveTo>
                <a:cubicBezTo>
                  <a:pt x="725" y="352"/>
                  <a:pt x="725" y="352"/>
                  <a:pt x="725" y="352"/>
                </a:cubicBezTo>
                <a:cubicBezTo>
                  <a:pt x="725" y="352"/>
                  <a:pt x="725" y="352"/>
                  <a:pt x="725" y="352"/>
                </a:cubicBezTo>
                <a:cubicBezTo>
                  <a:pt x="726" y="352"/>
                  <a:pt x="725" y="352"/>
                  <a:pt x="725" y="352"/>
                </a:cubicBezTo>
                <a:close/>
                <a:moveTo>
                  <a:pt x="725" y="346"/>
                </a:moveTo>
                <a:cubicBezTo>
                  <a:pt x="724" y="346"/>
                  <a:pt x="724" y="345"/>
                  <a:pt x="723" y="346"/>
                </a:cubicBezTo>
                <a:cubicBezTo>
                  <a:pt x="723" y="346"/>
                  <a:pt x="723" y="346"/>
                  <a:pt x="723" y="346"/>
                </a:cubicBezTo>
                <a:cubicBezTo>
                  <a:pt x="724" y="346"/>
                  <a:pt x="724" y="346"/>
                  <a:pt x="724" y="346"/>
                </a:cubicBezTo>
                <a:cubicBezTo>
                  <a:pt x="724" y="347"/>
                  <a:pt x="724" y="346"/>
                  <a:pt x="724" y="347"/>
                </a:cubicBezTo>
                <a:cubicBezTo>
                  <a:pt x="724" y="347"/>
                  <a:pt x="724" y="346"/>
                  <a:pt x="724" y="347"/>
                </a:cubicBezTo>
                <a:cubicBezTo>
                  <a:pt x="725" y="347"/>
                  <a:pt x="725" y="346"/>
                  <a:pt x="725" y="346"/>
                </a:cubicBezTo>
                <a:cubicBezTo>
                  <a:pt x="725" y="346"/>
                  <a:pt x="725" y="346"/>
                  <a:pt x="725" y="346"/>
                </a:cubicBezTo>
                <a:close/>
                <a:moveTo>
                  <a:pt x="724" y="351"/>
                </a:moveTo>
                <a:cubicBezTo>
                  <a:pt x="724" y="351"/>
                  <a:pt x="723" y="351"/>
                  <a:pt x="723" y="351"/>
                </a:cubicBezTo>
                <a:cubicBezTo>
                  <a:pt x="723" y="351"/>
                  <a:pt x="724" y="351"/>
                  <a:pt x="724" y="351"/>
                </a:cubicBezTo>
                <a:close/>
                <a:moveTo>
                  <a:pt x="723" y="345"/>
                </a:moveTo>
                <a:cubicBezTo>
                  <a:pt x="723" y="345"/>
                  <a:pt x="722" y="345"/>
                  <a:pt x="722" y="345"/>
                </a:cubicBezTo>
                <a:cubicBezTo>
                  <a:pt x="722" y="346"/>
                  <a:pt x="722" y="346"/>
                  <a:pt x="723" y="346"/>
                </a:cubicBezTo>
                <a:cubicBezTo>
                  <a:pt x="723" y="346"/>
                  <a:pt x="723" y="345"/>
                  <a:pt x="723" y="345"/>
                </a:cubicBezTo>
                <a:close/>
                <a:moveTo>
                  <a:pt x="721" y="346"/>
                </a:moveTo>
                <a:cubicBezTo>
                  <a:pt x="721" y="346"/>
                  <a:pt x="721" y="346"/>
                  <a:pt x="722" y="346"/>
                </a:cubicBezTo>
                <a:cubicBezTo>
                  <a:pt x="722" y="346"/>
                  <a:pt x="721" y="346"/>
                  <a:pt x="721" y="346"/>
                </a:cubicBezTo>
                <a:close/>
                <a:moveTo>
                  <a:pt x="719" y="344"/>
                </a:moveTo>
                <a:cubicBezTo>
                  <a:pt x="719" y="344"/>
                  <a:pt x="719" y="344"/>
                  <a:pt x="719" y="344"/>
                </a:cubicBezTo>
                <a:cubicBezTo>
                  <a:pt x="719" y="345"/>
                  <a:pt x="720" y="344"/>
                  <a:pt x="720" y="345"/>
                </a:cubicBezTo>
                <a:cubicBezTo>
                  <a:pt x="721" y="344"/>
                  <a:pt x="719" y="345"/>
                  <a:pt x="719" y="344"/>
                </a:cubicBezTo>
                <a:close/>
                <a:moveTo>
                  <a:pt x="718" y="345"/>
                </a:moveTo>
                <a:cubicBezTo>
                  <a:pt x="719" y="346"/>
                  <a:pt x="720" y="345"/>
                  <a:pt x="720" y="345"/>
                </a:cubicBezTo>
                <a:cubicBezTo>
                  <a:pt x="720" y="345"/>
                  <a:pt x="719" y="345"/>
                  <a:pt x="718" y="345"/>
                </a:cubicBezTo>
                <a:close/>
                <a:moveTo>
                  <a:pt x="717" y="346"/>
                </a:moveTo>
                <a:cubicBezTo>
                  <a:pt x="717" y="346"/>
                  <a:pt x="718" y="346"/>
                  <a:pt x="718" y="346"/>
                </a:cubicBezTo>
                <a:cubicBezTo>
                  <a:pt x="718" y="346"/>
                  <a:pt x="718" y="346"/>
                  <a:pt x="717" y="346"/>
                </a:cubicBezTo>
                <a:close/>
                <a:moveTo>
                  <a:pt x="717" y="345"/>
                </a:moveTo>
                <a:cubicBezTo>
                  <a:pt x="718" y="345"/>
                  <a:pt x="718" y="346"/>
                  <a:pt x="718" y="345"/>
                </a:cubicBezTo>
                <a:cubicBezTo>
                  <a:pt x="718" y="345"/>
                  <a:pt x="718" y="344"/>
                  <a:pt x="717" y="345"/>
                </a:cubicBezTo>
                <a:close/>
                <a:moveTo>
                  <a:pt x="718" y="344"/>
                </a:moveTo>
                <a:cubicBezTo>
                  <a:pt x="718" y="343"/>
                  <a:pt x="717" y="343"/>
                  <a:pt x="717" y="343"/>
                </a:cubicBezTo>
                <a:cubicBezTo>
                  <a:pt x="717" y="344"/>
                  <a:pt x="716" y="344"/>
                  <a:pt x="716" y="344"/>
                </a:cubicBezTo>
                <a:cubicBezTo>
                  <a:pt x="716" y="343"/>
                  <a:pt x="717" y="343"/>
                  <a:pt x="717" y="343"/>
                </a:cubicBezTo>
                <a:cubicBezTo>
                  <a:pt x="717" y="343"/>
                  <a:pt x="716" y="343"/>
                  <a:pt x="716" y="343"/>
                </a:cubicBezTo>
                <a:cubicBezTo>
                  <a:pt x="716" y="344"/>
                  <a:pt x="714" y="344"/>
                  <a:pt x="714" y="344"/>
                </a:cubicBezTo>
                <a:cubicBezTo>
                  <a:pt x="713" y="345"/>
                  <a:pt x="715" y="344"/>
                  <a:pt x="715" y="344"/>
                </a:cubicBezTo>
                <a:cubicBezTo>
                  <a:pt x="715" y="344"/>
                  <a:pt x="716" y="344"/>
                  <a:pt x="715" y="345"/>
                </a:cubicBezTo>
                <a:cubicBezTo>
                  <a:pt x="716" y="344"/>
                  <a:pt x="717" y="344"/>
                  <a:pt x="718" y="344"/>
                </a:cubicBezTo>
                <a:close/>
                <a:moveTo>
                  <a:pt x="714" y="343"/>
                </a:moveTo>
                <a:cubicBezTo>
                  <a:pt x="715" y="343"/>
                  <a:pt x="714" y="343"/>
                  <a:pt x="715" y="343"/>
                </a:cubicBezTo>
                <a:cubicBezTo>
                  <a:pt x="714" y="343"/>
                  <a:pt x="714" y="343"/>
                  <a:pt x="714" y="343"/>
                </a:cubicBezTo>
                <a:cubicBezTo>
                  <a:pt x="714" y="343"/>
                  <a:pt x="714" y="343"/>
                  <a:pt x="713" y="343"/>
                </a:cubicBezTo>
                <a:cubicBezTo>
                  <a:pt x="713" y="343"/>
                  <a:pt x="714" y="343"/>
                  <a:pt x="714" y="343"/>
                </a:cubicBezTo>
                <a:cubicBezTo>
                  <a:pt x="714" y="343"/>
                  <a:pt x="714" y="343"/>
                  <a:pt x="714" y="343"/>
                </a:cubicBezTo>
                <a:close/>
                <a:moveTo>
                  <a:pt x="713" y="342"/>
                </a:moveTo>
                <a:cubicBezTo>
                  <a:pt x="714" y="342"/>
                  <a:pt x="714" y="342"/>
                  <a:pt x="714" y="342"/>
                </a:cubicBezTo>
                <a:cubicBezTo>
                  <a:pt x="714" y="342"/>
                  <a:pt x="713" y="342"/>
                  <a:pt x="713" y="342"/>
                </a:cubicBezTo>
                <a:close/>
                <a:moveTo>
                  <a:pt x="713" y="342"/>
                </a:moveTo>
                <a:cubicBezTo>
                  <a:pt x="713" y="342"/>
                  <a:pt x="713" y="342"/>
                  <a:pt x="712" y="342"/>
                </a:cubicBezTo>
                <a:cubicBezTo>
                  <a:pt x="712" y="343"/>
                  <a:pt x="713" y="343"/>
                  <a:pt x="713" y="343"/>
                </a:cubicBezTo>
                <a:cubicBezTo>
                  <a:pt x="713" y="342"/>
                  <a:pt x="713" y="342"/>
                  <a:pt x="713" y="342"/>
                </a:cubicBezTo>
                <a:close/>
                <a:moveTo>
                  <a:pt x="861" y="242"/>
                </a:moveTo>
                <a:cubicBezTo>
                  <a:pt x="862" y="243"/>
                  <a:pt x="861" y="242"/>
                  <a:pt x="862" y="242"/>
                </a:cubicBezTo>
                <a:cubicBezTo>
                  <a:pt x="863" y="242"/>
                  <a:pt x="863" y="241"/>
                  <a:pt x="863" y="241"/>
                </a:cubicBezTo>
                <a:cubicBezTo>
                  <a:pt x="863" y="241"/>
                  <a:pt x="862" y="241"/>
                  <a:pt x="862" y="241"/>
                </a:cubicBezTo>
                <a:cubicBezTo>
                  <a:pt x="862" y="241"/>
                  <a:pt x="863" y="241"/>
                  <a:pt x="863" y="240"/>
                </a:cubicBezTo>
                <a:cubicBezTo>
                  <a:pt x="863" y="240"/>
                  <a:pt x="863" y="241"/>
                  <a:pt x="863" y="241"/>
                </a:cubicBezTo>
                <a:cubicBezTo>
                  <a:pt x="863" y="240"/>
                  <a:pt x="863" y="240"/>
                  <a:pt x="863" y="240"/>
                </a:cubicBezTo>
                <a:cubicBezTo>
                  <a:pt x="863" y="241"/>
                  <a:pt x="862" y="239"/>
                  <a:pt x="863" y="240"/>
                </a:cubicBezTo>
                <a:cubicBezTo>
                  <a:pt x="862" y="241"/>
                  <a:pt x="862" y="241"/>
                  <a:pt x="861" y="241"/>
                </a:cubicBezTo>
                <a:cubicBezTo>
                  <a:pt x="861" y="242"/>
                  <a:pt x="861" y="242"/>
                  <a:pt x="861" y="242"/>
                </a:cubicBezTo>
                <a:cubicBezTo>
                  <a:pt x="861" y="242"/>
                  <a:pt x="861" y="242"/>
                  <a:pt x="861" y="242"/>
                </a:cubicBezTo>
                <a:cubicBezTo>
                  <a:pt x="861" y="243"/>
                  <a:pt x="861" y="242"/>
                  <a:pt x="860" y="242"/>
                </a:cubicBezTo>
                <a:cubicBezTo>
                  <a:pt x="861" y="243"/>
                  <a:pt x="860" y="243"/>
                  <a:pt x="861" y="243"/>
                </a:cubicBezTo>
                <a:cubicBezTo>
                  <a:pt x="861" y="243"/>
                  <a:pt x="861" y="243"/>
                  <a:pt x="861" y="242"/>
                </a:cubicBezTo>
                <a:close/>
                <a:moveTo>
                  <a:pt x="855" y="243"/>
                </a:moveTo>
                <a:cubicBezTo>
                  <a:pt x="854" y="244"/>
                  <a:pt x="854" y="244"/>
                  <a:pt x="854" y="245"/>
                </a:cubicBezTo>
                <a:cubicBezTo>
                  <a:pt x="855" y="244"/>
                  <a:pt x="855" y="245"/>
                  <a:pt x="855" y="245"/>
                </a:cubicBezTo>
                <a:cubicBezTo>
                  <a:pt x="854" y="244"/>
                  <a:pt x="855" y="244"/>
                  <a:pt x="855" y="243"/>
                </a:cubicBezTo>
                <a:close/>
                <a:moveTo>
                  <a:pt x="829" y="258"/>
                </a:moveTo>
                <a:cubicBezTo>
                  <a:pt x="829" y="259"/>
                  <a:pt x="829" y="259"/>
                  <a:pt x="829" y="259"/>
                </a:cubicBezTo>
                <a:cubicBezTo>
                  <a:pt x="829" y="259"/>
                  <a:pt x="830" y="259"/>
                  <a:pt x="829" y="258"/>
                </a:cubicBezTo>
                <a:close/>
                <a:moveTo>
                  <a:pt x="873" y="266"/>
                </a:moveTo>
                <a:cubicBezTo>
                  <a:pt x="873" y="266"/>
                  <a:pt x="874" y="266"/>
                  <a:pt x="873" y="266"/>
                </a:cubicBezTo>
                <a:cubicBezTo>
                  <a:pt x="873" y="266"/>
                  <a:pt x="873" y="267"/>
                  <a:pt x="873" y="267"/>
                </a:cubicBezTo>
                <a:cubicBezTo>
                  <a:pt x="873" y="267"/>
                  <a:pt x="873" y="267"/>
                  <a:pt x="872" y="267"/>
                </a:cubicBezTo>
                <a:cubicBezTo>
                  <a:pt x="872" y="268"/>
                  <a:pt x="872" y="268"/>
                  <a:pt x="872" y="268"/>
                </a:cubicBezTo>
                <a:cubicBezTo>
                  <a:pt x="871" y="268"/>
                  <a:pt x="872" y="268"/>
                  <a:pt x="872" y="268"/>
                </a:cubicBezTo>
                <a:cubicBezTo>
                  <a:pt x="872" y="267"/>
                  <a:pt x="872" y="267"/>
                  <a:pt x="871" y="267"/>
                </a:cubicBezTo>
                <a:cubicBezTo>
                  <a:pt x="871" y="267"/>
                  <a:pt x="871" y="267"/>
                  <a:pt x="871" y="267"/>
                </a:cubicBezTo>
                <a:cubicBezTo>
                  <a:pt x="871" y="267"/>
                  <a:pt x="871" y="268"/>
                  <a:pt x="871" y="268"/>
                </a:cubicBezTo>
                <a:cubicBezTo>
                  <a:pt x="871" y="268"/>
                  <a:pt x="871" y="267"/>
                  <a:pt x="870" y="268"/>
                </a:cubicBezTo>
                <a:cubicBezTo>
                  <a:pt x="871" y="268"/>
                  <a:pt x="871" y="268"/>
                  <a:pt x="870" y="269"/>
                </a:cubicBezTo>
                <a:cubicBezTo>
                  <a:pt x="871" y="269"/>
                  <a:pt x="871" y="269"/>
                  <a:pt x="871" y="269"/>
                </a:cubicBezTo>
                <a:cubicBezTo>
                  <a:pt x="871" y="270"/>
                  <a:pt x="871" y="270"/>
                  <a:pt x="870" y="270"/>
                </a:cubicBezTo>
                <a:cubicBezTo>
                  <a:pt x="870" y="270"/>
                  <a:pt x="870" y="270"/>
                  <a:pt x="870" y="270"/>
                </a:cubicBezTo>
                <a:cubicBezTo>
                  <a:pt x="870" y="270"/>
                  <a:pt x="869" y="270"/>
                  <a:pt x="869" y="271"/>
                </a:cubicBezTo>
                <a:cubicBezTo>
                  <a:pt x="869" y="270"/>
                  <a:pt x="868" y="271"/>
                  <a:pt x="868" y="271"/>
                </a:cubicBezTo>
                <a:cubicBezTo>
                  <a:pt x="868" y="271"/>
                  <a:pt x="868" y="271"/>
                  <a:pt x="867" y="271"/>
                </a:cubicBezTo>
                <a:cubicBezTo>
                  <a:pt x="868" y="271"/>
                  <a:pt x="867" y="271"/>
                  <a:pt x="868" y="272"/>
                </a:cubicBezTo>
                <a:cubicBezTo>
                  <a:pt x="867" y="272"/>
                  <a:pt x="867" y="272"/>
                  <a:pt x="867" y="272"/>
                </a:cubicBezTo>
                <a:cubicBezTo>
                  <a:pt x="867" y="272"/>
                  <a:pt x="867" y="272"/>
                  <a:pt x="867" y="272"/>
                </a:cubicBezTo>
                <a:cubicBezTo>
                  <a:pt x="867" y="272"/>
                  <a:pt x="867" y="272"/>
                  <a:pt x="867" y="272"/>
                </a:cubicBezTo>
                <a:cubicBezTo>
                  <a:pt x="866" y="272"/>
                  <a:pt x="866" y="272"/>
                  <a:pt x="866" y="272"/>
                </a:cubicBezTo>
                <a:cubicBezTo>
                  <a:pt x="866" y="273"/>
                  <a:pt x="866" y="273"/>
                  <a:pt x="866" y="273"/>
                </a:cubicBezTo>
                <a:cubicBezTo>
                  <a:pt x="866" y="273"/>
                  <a:pt x="866" y="273"/>
                  <a:pt x="867" y="273"/>
                </a:cubicBezTo>
                <a:cubicBezTo>
                  <a:pt x="867" y="273"/>
                  <a:pt x="866" y="273"/>
                  <a:pt x="866" y="274"/>
                </a:cubicBezTo>
                <a:cubicBezTo>
                  <a:pt x="866" y="273"/>
                  <a:pt x="867" y="273"/>
                  <a:pt x="867" y="273"/>
                </a:cubicBezTo>
                <a:cubicBezTo>
                  <a:pt x="867" y="273"/>
                  <a:pt x="867" y="273"/>
                  <a:pt x="867" y="272"/>
                </a:cubicBezTo>
                <a:cubicBezTo>
                  <a:pt x="867" y="272"/>
                  <a:pt x="867" y="273"/>
                  <a:pt x="868" y="272"/>
                </a:cubicBezTo>
                <a:cubicBezTo>
                  <a:pt x="868" y="273"/>
                  <a:pt x="868" y="273"/>
                  <a:pt x="868" y="273"/>
                </a:cubicBezTo>
                <a:cubicBezTo>
                  <a:pt x="867" y="273"/>
                  <a:pt x="866" y="274"/>
                  <a:pt x="867" y="274"/>
                </a:cubicBezTo>
                <a:cubicBezTo>
                  <a:pt x="867" y="274"/>
                  <a:pt x="866" y="274"/>
                  <a:pt x="867" y="275"/>
                </a:cubicBezTo>
                <a:cubicBezTo>
                  <a:pt x="866" y="275"/>
                  <a:pt x="866" y="274"/>
                  <a:pt x="866" y="274"/>
                </a:cubicBezTo>
                <a:cubicBezTo>
                  <a:pt x="866" y="274"/>
                  <a:pt x="865" y="274"/>
                  <a:pt x="865" y="275"/>
                </a:cubicBezTo>
                <a:cubicBezTo>
                  <a:pt x="866" y="275"/>
                  <a:pt x="866" y="274"/>
                  <a:pt x="866" y="275"/>
                </a:cubicBezTo>
                <a:cubicBezTo>
                  <a:pt x="866" y="275"/>
                  <a:pt x="865" y="275"/>
                  <a:pt x="866" y="275"/>
                </a:cubicBezTo>
                <a:cubicBezTo>
                  <a:pt x="866" y="276"/>
                  <a:pt x="866" y="275"/>
                  <a:pt x="866" y="276"/>
                </a:cubicBezTo>
                <a:cubicBezTo>
                  <a:pt x="866" y="276"/>
                  <a:pt x="867" y="276"/>
                  <a:pt x="867" y="276"/>
                </a:cubicBezTo>
                <a:cubicBezTo>
                  <a:pt x="866" y="276"/>
                  <a:pt x="867" y="277"/>
                  <a:pt x="867" y="277"/>
                </a:cubicBezTo>
                <a:cubicBezTo>
                  <a:pt x="866" y="277"/>
                  <a:pt x="866" y="276"/>
                  <a:pt x="866" y="276"/>
                </a:cubicBezTo>
                <a:cubicBezTo>
                  <a:pt x="866" y="277"/>
                  <a:pt x="866" y="277"/>
                  <a:pt x="865" y="277"/>
                </a:cubicBezTo>
                <a:cubicBezTo>
                  <a:pt x="865" y="277"/>
                  <a:pt x="866" y="277"/>
                  <a:pt x="865" y="277"/>
                </a:cubicBezTo>
                <a:cubicBezTo>
                  <a:pt x="865" y="277"/>
                  <a:pt x="865" y="277"/>
                  <a:pt x="864" y="277"/>
                </a:cubicBezTo>
                <a:cubicBezTo>
                  <a:pt x="865" y="277"/>
                  <a:pt x="864" y="277"/>
                  <a:pt x="864" y="277"/>
                </a:cubicBezTo>
                <a:cubicBezTo>
                  <a:pt x="864" y="278"/>
                  <a:pt x="864" y="278"/>
                  <a:pt x="864" y="278"/>
                </a:cubicBezTo>
                <a:cubicBezTo>
                  <a:pt x="864" y="278"/>
                  <a:pt x="863" y="278"/>
                  <a:pt x="863" y="278"/>
                </a:cubicBezTo>
                <a:cubicBezTo>
                  <a:pt x="863" y="279"/>
                  <a:pt x="862" y="279"/>
                  <a:pt x="863" y="279"/>
                </a:cubicBezTo>
                <a:cubicBezTo>
                  <a:pt x="863" y="279"/>
                  <a:pt x="862" y="279"/>
                  <a:pt x="862" y="279"/>
                </a:cubicBezTo>
                <a:cubicBezTo>
                  <a:pt x="863" y="280"/>
                  <a:pt x="864" y="278"/>
                  <a:pt x="865" y="279"/>
                </a:cubicBezTo>
                <a:cubicBezTo>
                  <a:pt x="864" y="279"/>
                  <a:pt x="864" y="279"/>
                  <a:pt x="863" y="280"/>
                </a:cubicBezTo>
                <a:cubicBezTo>
                  <a:pt x="864" y="280"/>
                  <a:pt x="864" y="281"/>
                  <a:pt x="865" y="281"/>
                </a:cubicBezTo>
                <a:cubicBezTo>
                  <a:pt x="864" y="281"/>
                  <a:pt x="865" y="282"/>
                  <a:pt x="864" y="283"/>
                </a:cubicBezTo>
                <a:cubicBezTo>
                  <a:pt x="864" y="282"/>
                  <a:pt x="864" y="282"/>
                  <a:pt x="864" y="282"/>
                </a:cubicBezTo>
                <a:cubicBezTo>
                  <a:pt x="863" y="282"/>
                  <a:pt x="862" y="282"/>
                  <a:pt x="862" y="283"/>
                </a:cubicBezTo>
                <a:cubicBezTo>
                  <a:pt x="861" y="283"/>
                  <a:pt x="862" y="284"/>
                  <a:pt x="860" y="284"/>
                </a:cubicBezTo>
                <a:cubicBezTo>
                  <a:pt x="860" y="285"/>
                  <a:pt x="860" y="285"/>
                  <a:pt x="860" y="285"/>
                </a:cubicBezTo>
                <a:cubicBezTo>
                  <a:pt x="859" y="285"/>
                  <a:pt x="859" y="285"/>
                  <a:pt x="859" y="285"/>
                </a:cubicBezTo>
                <a:cubicBezTo>
                  <a:pt x="859" y="286"/>
                  <a:pt x="858" y="286"/>
                  <a:pt x="857" y="287"/>
                </a:cubicBezTo>
                <a:cubicBezTo>
                  <a:pt x="858" y="287"/>
                  <a:pt x="858" y="287"/>
                  <a:pt x="858" y="287"/>
                </a:cubicBezTo>
                <a:cubicBezTo>
                  <a:pt x="858" y="287"/>
                  <a:pt x="858" y="287"/>
                  <a:pt x="858" y="287"/>
                </a:cubicBezTo>
                <a:cubicBezTo>
                  <a:pt x="858" y="287"/>
                  <a:pt x="857" y="287"/>
                  <a:pt x="857" y="287"/>
                </a:cubicBezTo>
                <a:cubicBezTo>
                  <a:pt x="857" y="287"/>
                  <a:pt x="856" y="288"/>
                  <a:pt x="856" y="288"/>
                </a:cubicBezTo>
                <a:cubicBezTo>
                  <a:pt x="856" y="288"/>
                  <a:pt x="856" y="287"/>
                  <a:pt x="856" y="287"/>
                </a:cubicBezTo>
                <a:cubicBezTo>
                  <a:pt x="856" y="287"/>
                  <a:pt x="856" y="288"/>
                  <a:pt x="855" y="288"/>
                </a:cubicBezTo>
                <a:cubicBezTo>
                  <a:pt x="856" y="288"/>
                  <a:pt x="856" y="288"/>
                  <a:pt x="856" y="289"/>
                </a:cubicBezTo>
                <a:cubicBezTo>
                  <a:pt x="856" y="288"/>
                  <a:pt x="854" y="288"/>
                  <a:pt x="854" y="289"/>
                </a:cubicBezTo>
                <a:cubicBezTo>
                  <a:pt x="855" y="289"/>
                  <a:pt x="855" y="289"/>
                  <a:pt x="855" y="289"/>
                </a:cubicBezTo>
                <a:cubicBezTo>
                  <a:pt x="855" y="290"/>
                  <a:pt x="855" y="290"/>
                  <a:pt x="855" y="291"/>
                </a:cubicBezTo>
                <a:cubicBezTo>
                  <a:pt x="854" y="291"/>
                  <a:pt x="854" y="292"/>
                  <a:pt x="853" y="292"/>
                </a:cubicBezTo>
                <a:cubicBezTo>
                  <a:pt x="853" y="292"/>
                  <a:pt x="853" y="292"/>
                  <a:pt x="853" y="292"/>
                </a:cubicBezTo>
                <a:cubicBezTo>
                  <a:pt x="853" y="292"/>
                  <a:pt x="853" y="292"/>
                  <a:pt x="853" y="293"/>
                </a:cubicBezTo>
                <a:cubicBezTo>
                  <a:pt x="853" y="293"/>
                  <a:pt x="853" y="294"/>
                  <a:pt x="852" y="294"/>
                </a:cubicBezTo>
                <a:cubicBezTo>
                  <a:pt x="852" y="293"/>
                  <a:pt x="853" y="293"/>
                  <a:pt x="852" y="293"/>
                </a:cubicBezTo>
                <a:cubicBezTo>
                  <a:pt x="852" y="293"/>
                  <a:pt x="851" y="295"/>
                  <a:pt x="851" y="294"/>
                </a:cubicBezTo>
                <a:cubicBezTo>
                  <a:pt x="851" y="294"/>
                  <a:pt x="851" y="295"/>
                  <a:pt x="850" y="296"/>
                </a:cubicBezTo>
                <a:cubicBezTo>
                  <a:pt x="849" y="296"/>
                  <a:pt x="849" y="296"/>
                  <a:pt x="849" y="296"/>
                </a:cubicBezTo>
                <a:cubicBezTo>
                  <a:pt x="848" y="296"/>
                  <a:pt x="849" y="295"/>
                  <a:pt x="848" y="295"/>
                </a:cubicBezTo>
                <a:cubicBezTo>
                  <a:pt x="848" y="295"/>
                  <a:pt x="848" y="295"/>
                  <a:pt x="848" y="296"/>
                </a:cubicBezTo>
                <a:cubicBezTo>
                  <a:pt x="848" y="296"/>
                  <a:pt x="848" y="296"/>
                  <a:pt x="849" y="296"/>
                </a:cubicBezTo>
                <a:cubicBezTo>
                  <a:pt x="848" y="296"/>
                  <a:pt x="848" y="296"/>
                  <a:pt x="848" y="296"/>
                </a:cubicBezTo>
                <a:cubicBezTo>
                  <a:pt x="847" y="296"/>
                  <a:pt x="848" y="296"/>
                  <a:pt x="848" y="297"/>
                </a:cubicBezTo>
                <a:cubicBezTo>
                  <a:pt x="848" y="296"/>
                  <a:pt x="847" y="296"/>
                  <a:pt x="847" y="296"/>
                </a:cubicBezTo>
                <a:cubicBezTo>
                  <a:pt x="847" y="297"/>
                  <a:pt x="847" y="297"/>
                  <a:pt x="848" y="297"/>
                </a:cubicBezTo>
                <a:cubicBezTo>
                  <a:pt x="847" y="297"/>
                  <a:pt x="848" y="297"/>
                  <a:pt x="847" y="297"/>
                </a:cubicBezTo>
                <a:cubicBezTo>
                  <a:pt x="847" y="297"/>
                  <a:pt x="847" y="297"/>
                  <a:pt x="847" y="297"/>
                </a:cubicBezTo>
                <a:cubicBezTo>
                  <a:pt x="846" y="297"/>
                  <a:pt x="847" y="298"/>
                  <a:pt x="847" y="298"/>
                </a:cubicBezTo>
                <a:cubicBezTo>
                  <a:pt x="847" y="298"/>
                  <a:pt x="848" y="297"/>
                  <a:pt x="848" y="298"/>
                </a:cubicBezTo>
                <a:cubicBezTo>
                  <a:pt x="848" y="298"/>
                  <a:pt x="847" y="299"/>
                  <a:pt x="847" y="299"/>
                </a:cubicBezTo>
                <a:cubicBezTo>
                  <a:pt x="847" y="299"/>
                  <a:pt x="847" y="299"/>
                  <a:pt x="847" y="300"/>
                </a:cubicBezTo>
                <a:cubicBezTo>
                  <a:pt x="847" y="300"/>
                  <a:pt x="847" y="299"/>
                  <a:pt x="846" y="299"/>
                </a:cubicBezTo>
                <a:cubicBezTo>
                  <a:pt x="846" y="300"/>
                  <a:pt x="845" y="299"/>
                  <a:pt x="845" y="300"/>
                </a:cubicBezTo>
                <a:cubicBezTo>
                  <a:pt x="846" y="300"/>
                  <a:pt x="846" y="299"/>
                  <a:pt x="847" y="300"/>
                </a:cubicBezTo>
                <a:cubicBezTo>
                  <a:pt x="846" y="300"/>
                  <a:pt x="846" y="300"/>
                  <a:pt x="846" y="300"/>
                </a:cubicBezTo>
                <a:cubicBezTo>
                  <a:pt x="846" y="301"/>
                  <a:pt x="846" y="301"/>
                  <a:pt x="846" y="301"/>
                </a:cubicBezTo>
                <a:cubicBezTo>
                  <a:pt x="845" y="301"/>
                  <a:pt x="845" y="302"/>
                  <a:pt x="845" y="302"/>
                </a:cubicBezTo>
                <a:cubicBezTo>
                  <a:pt x="845" y="301"/>
                  <a:pt x="845" y="302"/>
                  <a:pt x="845" y="302"/>
                </a:cubicBezTo>
                <a:cubicBezTo>
                  <a:pt x="845" y="301"/>
                  <a:pt x="845" y="301"/>
                  <a:pt x="844" y="301"/>
                </a:cubicBezTo>
                <a:cubicBezTo>
                  <a:pt x="845" y="302"/>
                  <a:pt x="845" y="303"/>
                  <a:pt x="844" y="303"/>
                </a:cubicBezTo>
                <a:cubicBezTo>
                  <a:pt x="844" y="303"/>
                  <a:pt x="844" y="303"/>
                  <a:pt x="843" y="303"/>
                </a:cubicBezTo>
                <a:cubicBezTo>
                  <a:pt x="843" y="303"/>
                  <a:pt x="843" y="303"/>
                  <a:pt x="843" y="304"/>
                </a:cubicBezTo>
                <a:cubicBezTo>
                  <a:pt x="843" y="304"/>
                  <a:pt x="843" y="303"/>
                  <a:pt x="842" y="303"/>
                </a:cubicBezTo>
                <a:cubicBezTo>
                  <a:pt x="842" y="304"/>
                  <a:pt x="842" y="304"/>
                  <a:pt x="842" y="304"/>
                </a:cubicBezTo>
                <a:cubicBezTo>
                  <a:pt x="842" y="304"/>
                  <a:pt x="842" y="304"/>
                  <a:pt x="842" y="304"/>
                </a:cubicBezTo>
                <a:cubicBezTo>
                  <a:pt x="842" y="303"/>
                  <a:pt x="843" y="303"/>
                  <a:pt x="843" y="302"/>
                </a:cubicBezTo>
                <a:cubicBezTo>
                  <a:pt x="843" y="302"/>
                  <a:pt x="843" y="302"/>
                  <a:pt x="842" y="302"/>
                </a:cubicBezTo>
                <a:cubicBezTo>
                  <a:pt x="842" y="302"/>
                  <a:pt x="840" y="303"/>
                  <a:pt x="841" y="305"/>
                </a:cubicBezTo>
                <a:cubicBezTo>
                  <a:pt x="841" y="305"/>
                  <a:pt x="841" y="304"/>
                  <a:pt x="840" y="305"/>
                </a:cubicBezTo>
                <a:cubicBezTo>
                  <a:pt x="841" y="305"/>
                  <a:pt x="840" y="305"/>
                  <a:pt x="840" y="305"/>
                </a:cubicBezTo>
                <a:cubicBezTo>
                  <a:pt x="841" y="306"/>
                  <a:pt x="840" y="306"/>
                  <a:pt x="841" y="306"/>
                </a:cubicBezTo>
                <a:cubicBezTo>
                  <a:pt x="841" y="306"/>
                  <a:pt x="841" y="306"/>
                  <a:pt x="841" y="305"/>
                </a:cubicBezTo>
                <a:cubicBezTo>
                  <a:pt x="841" y="305"/>
                  <a:pt x="841" y="305"/>
                  <a:pt x="841" y="305"/>
                </a:cubicBezTo>
                <a:cubicBezTo>
                  <a:pt x="841" y="305"/>
                  <a:pt x="841" y="305"/>
                  <a:pt x="841" y="305"/>
                </a:cubicBezTo>
                <a:cubicBezTo>
                  <a:pt x="841" y="305"/>
                  <a:pt x="842" y="305"/>
                  <a:pt x="842" y="306"/>
                </a:cubicBezTo>
                <a:cubicBezTo>
                  <a:pt x="842" y="306"/>
                  <a:pt x="842" y="305"/>
                  <a:pt x="841" y="306"/>
                </a:cubicBezTo>
                <a:cubicBezTo>
                  <a:pt x="842" y="306"/>
                  <a:pt x="840" y="306"/>
                  <a:pt x="841" y="307"/>
                </a:cubicBezTo>
                <a:cubicBezTo>
                  <a:pt x="841" y="307"/>
                  <a:pt x="841" y="307"/>
                  <a:pt x="841" y="307"/>
                </a:cubicBezTo>
                <a:cubicBezTo>
                  <a:pt x="841" y="307"/>
                  <a:pt x="840" y="307"/>
                  <a:pt x="840" y="307"/>
                </a:cubicBezTo>
                <a:cubicBezTo>
                  <a:pt x="841" y="308"/>
                  <a:pt x="841" y="307"/>
                  <a:pt x="841" y="308"/>
                </a:cubicBezTo>
                <a:cubicBezTo>
                  <a:pt x="841" y="308"/>
                  <a:pt x="840" y="308"/>
                  <a:pt x="840" y="308"/>
                </a:cubicBezTo>
                <a:cubicBezTo>
                  <a:pt x="841" y="308"/>
                  <a:pt x="840" y="309"/>
                  <a:pt x="840" y="309"/>
                </a:cubicBezTo>
                <a:cubicBezTo>
                  <a:pt x="840" y="308"/>
                  <a:pt x="841" y="308"/>
                  <a:pt x="841" y="308"/>
                </a:cubicBezTo>
                <a:cubicBezTo>
                  <a:pt x="841" y="308"/>
                  <a:pt x="841" y="309"/>
                  <a:pt x="841" y="309"/>
                </a:cubicBezTo>
                <a:cubicBezTo>
                  <a:pt x="841" y="309"/>
                  <a:pt x="841" y="309"/>
                  <a:pt x="840" y="309"/>
                </a:cubicBezTo>
                <a:cubicBezTo>
                  <a:pt x="840" y="309"/>
                  <a:pt x="840" y="309"/>
                  <a:pt x="840" y="309"/>
                </a:cubicBezTo>
                <a:cubicBezTo>
                  <a:pt x="841" y="309"/>
                  <a:pt x="841" y="310"/>
                  <a:pt x="841" y="310"/>
                </a:cubicBezTo>
                <a:cubicBezTo>
                  <a:pt x="841" y="309"/>
                  <a:pt x="842" y="309"/>
                  <a:pt x="841" y="309"/>
                </a:cubicBezTo>
                <a:cubicBezTo>
                  <a:pt x="842" y="309"/>
                  <a:pt x="842" y="309"/>
                  <a:pt x="842" y="309"/>
                </a:cubicBezTo>
                <a:cubicBezTo>
                  <a:pt x="842" y="308"/>
                  <a:pt x="842" y="307"/>
                  <a:pt x="843" y="307"/>
                </a:cubicBezTo>
                <a:cubicBezTo>
                  <a:pt x="843" y="307"/>
                  <a:pt x="843" y="308"/>
                  <a:pt x="843" y="308"/>
                </a:cubicBezTo>
                <a:cubicBezTo>
                  <a:pt x="843" y="307"/>
                  <a:pt x="843" y="307"/>
                  <a:pt x="843" y="307"/>
                </a:cubicBezTo>
                <a:cubicBezTo>
                  <a:pt x="843" y="307"/>
                  <a:pt x="843" y="307"/>
                  <a:pt x="844" y="307"/>
                </a:cubicBezTo>
                <a:cubicBezTo>
                  <a:pt x="843" y="307"/>
                  <a:pt x="844" y="307"/>
                  <a:pt x="843" y="306"/>
                </a:cubicBezTo>
                <a:cubicBezTo>
                  <a:pt x="844" y="306"/>
                  <a:pt x="843" y="307"/>
                  <a:pt x="844" y="307"/>
                </a:cubicBezTo>
                <a:cubicBezTo>
                  <a:pt x="844" y="306"/>
                  <a:pt x="844" y="306"/>
                  <a:pt x="843" y="306"/>
                </a:cubicBezTo>
                <a:cubicBezTo>
                  <a:pt x="844" y="306"/>
                  <a:pt x="844" y="306"/>
                  <a:pt x="844" y="305"/>
                </a:cubicBezTo>
                <a:cubicBezTo>
                  <a:pt x="844" y="305"/>
                  <a:pt x="844" y="305"/>
                  <a:pt x="844" y="305"/>
                </a:cubicBezTo>
                <a:cubicBezTo>
                  <a:pt x="844" y="305"/>
                  <a:pt x="845" y="306"/>
                  <a:pt x="845" y="305"/>
                </a:cubicBezTo>
                <a:cubicBezTo>
                  <a:pt x="845" y="305"/>
                  <a:pt x="844" y="305"/>
                  <a:pt x="844" y="305"/>
                </a:cubicBezTo>
                <a:cubicBezTo>
                  <a:pt x="844" y="304"/>
                  <a:pt x="844" y="304"/>
                  <a:pt x="845" y="304"/>
                </a:cubicBezTo>
                <a:cubicBezTo>
                  <a:pt x="845" y="304"/>
                  <a:pt x="845" y="304"/>
                  <a:pt x="845" y="305"/>
                </a:cubicBezTo>
                <a:cubicBezTo>
                  <a:pt x="845" y="304"/>
                  <a:pt x="845" y="303"/>
                  <a:pt x="846" y="304"/>
                </a:cubicBezTo>
                <a:cubicBezTo>
                  <a:pt x="846" y="303"/>
                  <a:pt x="847" y="303"/>
                  <a:pt x="847" y="303"/>
                </a:cubicBezTo>
                <a:cubicBezTo>
                  <a:pt x="847" y="303"/>
                  <a:pt x="846" y="303"/>
                  <a:pt x="846" y="303"/>
                </a:cubicBezTo>
                <a:cubicBezTo>
                  <a:pt x="846" y="304"/>
                  <a:pt x="846" y="304"/>
                  <a:pt x="846" y="304"/>
                </a:cubicBezTo>
                <a:cubicBezTo>
                  <a:pt x="845" y="303"/>
                  <a:pt x="845" y="303"/>
                  <a:pt x="845" y="303"/>
                </a:cubicBezTo>
                <a:cubicBezTo>
                  <a:pt x="846" y="303"/>
                  <a:pt x="846" y="303"/>
                  <a:pt x="847" y="302"/>
                </a:cubicBezTo>
                <a:cubicBezTo>
                  <a:pt x="847" y="303"/>
                  <a:pt x="847" y="303"/>
                  <a:pt x="847" y="303"/>
                </a:cubicBezTo>
                <a:cubicBezTo>
                  <a:pt x="847" y="302"/>
                  <a:pt x="848" y="302"/>
                  <a:pt x="848" y="302"/>
                </a:cubicBezTo>
                <a:cubicBezTo>
                  <a:pt x="848" y="301"/>
                  <a:pt x="848" y="301"/>
                  <a:pt x="847" y="301"/>
                </a:cubicBezTo>
                <a:cubicBezTo>
                  <a:pt x="848" y="301"/>
                  <a:pt x="848" y="301"/>
                  <a:pt x="847" y="301"/>
                </a:cubicBezTo>
                <a:cubicBezTo>
                  <a:pt x="848" y="301"/>
                  <a:pt x="848" y="300"/>
                  <a:pt x="849" y="301"/>
                </a:cubicBezTo>
                <a:cubicBezTo>
                  <a:pt x="849" y="301"/>
                  <a:pt x="848" y="300"/>
                  <a:pt x="848" y="300"/>
                </a:cubicBezTo>
                <a:cubicBezTo>
                  <a:pt x="849" y="300"/>
                  <a:pt x="848" y="299"/>
                  <a:pt x="849" y="300"/>
                </a:cubicBezTo>
                <a:cubicBezTo>
                  <a:pt x="849" y="299"/>
                  <a:pt x="849" y="299"/>
                  <a:pt x="850" y="299"/>
                </a:cubicBezTo>
                <a:cubicBezTo>
                  <a:pt x="850" y="299"/>
                  <a:pt x="849" y="299"/>
                  <a:pt x="850" y="300"/>
                </a:cubicBezTo>
                <a:cubicBezTo>
                  <a:pt x="850" y="300"/>
                  <a:pt x="850" y="299"/>
                  <a:pt x="850" y="299"/>
                </a:cubicBezTo>
                <a:cubicBezTo>
                  <a:pt x="850" y="299"/>
                  <a:pt x="850" y="299"/>
                  <a:pt x="850" y="299"/>
                </a:cubicBezTo>
                <a:cubicBezTo>
                  <a:pt x="851" y="299"/>
                  <a:pt x="851" y="300"/>
                  <a:pt x="851" y="300"/>
                </a:cubicBezTo>
                <a:cubicBezTo>
                  <a:pt x="850" y="300"/>
                  <a:pt x="850" y="300"/>
                  <a:pt x="850" y="300"/>
                </a:cubicBezTo>
                <a:cubicBezTo>
                  <a:pt x="850" y="300"/>
                  <a:pt x="850" y="300"/>
                  <a:pt x="850" y="300"/>
                </a:cubicBezTo>
                <a:cubicBezTo>
                  <a:pt x="851" y="300"/>
                  <a:pt x="851" y="300"/>
                  <a:pt x="851" y="299"/>
                </a:cubicBezTo>
                <a:cubicBezTo>
                  <a:pt x="851" y="299"/>
                  <a:pt x="852" y="298"/>
                  <a:pt x="852" y="298"/>
                </a:cubicBezTo>
                <a:cubicBezTo>
                  <a:pt x="851" y="298"/>
                  <a:pt x="851" y="297"/>
                  <a:pt x="851" y="297"/>
                </a:cubicBezTo>
                <a:cubicBezTo>
                  <a:pt x="852" y="298"/>
                  <a:pt x="851" y="297"/>
                  <a:pt x="851" y="297"/>
                </a:cubicBezTo>
                <a:cubicBezTo>
                  <a:pt x="852" y="297"/>
                  <a:pt x="851" y="298"/>
                  <a:pt x="852" y="298"/>
                </a:cubicBezTo>
                <a:cubicBezTo>
                  <a:pt x="852" y="297"/>
                  <a:pt x="853" y="297"/>
                  <a:pt x="853" y="296"/>
                </a:cubicBezTo>
                <a:cubicBezTo>
                  <a:pt x="854" y="296"/>
                  <a:pt x="854" y="295"/>
                  <a:pt x="855" y="295"/>
                </a:cubicBezTo>
                <a:cubicBezTo>
                  <a:pt x="855" y="295"/>
                  <a:pt x="855" y="295"/>
                  <a:pt x="855" y="295"/>
                </a:cubicBezTo>
                <a:cubicBezTo>
                  <a:pt x="855" y="295"/>
                  <a:pt x="856" y="296"/>
                  <a:pt x="856" y="295"/>
                </a:cubicBezTo>
                <a:cubicBezTo>
                  <a:pt x="856" y="295"/>
                  <a:pt x="855" y="295"/>
                  <a:pt x="855" y="295"/>
                </a:cubicBezTo>
                <a:cubicBezTo>
                  <a:pt x="855" y="294"/>
                  <a:pt x="856" y="294"/>
                  <a:pt x="856" y="293"/>
                </a:cubicBezTo>
                <a:cubicBezTo>
                  <a:pt x="855" y="293"/>
                  <a:pt x="855" y="294"/>
                  <a:pt x="855" y="293"/>
                </a:cubicBezTo>
                <a:cubicBezTo>
                  <a:pt x="855" y="293"/>
                  <a:pt x="855" y="293"/>
                  <a:pt x="855" y="293"/>
                </a:cubicBezTo>
                <a:cubicBezTo>
                  <a:pt x="855" y="293"/>
                  <a:pt x="856" y="293"/>
                  <a:pt x="856" y="293"/>
                </a:cubicBezTo>
                <a:cubicBezTo>
                  <a:pt x="855" y="293"/>
                  <a:pt x="855" y="293"/>
                  <a:pt x="855" y="293"/>
                </a:cubicBezTo>
                <a:cubicBezTo>
                  <a:pt x="856" y="293"/>
                  <a:pt x="855" y="293"/>
                  <a:pt x="856" y="293"/>
                </a:cubicBezTo>
                <a:cubicBezTo>
                  <a:pt x="856" y="293"/>
                  <a:pt x="857" y="293"/>
                  <a:pt x="857" y="292"/>
                </a:cubicBezTo>
                <a:cubicBezTo>
                  <a:pt x="857" y="293"/>
                  <a:pt x="858" y="293"/>
                  <a:pt x="858" y="293"/>
                </a:cubicBezTo>
                <a:cubicBezTo>
                  <a:pt x="858" y="293"/>
                  <a:pt x="857" y="293"/>
                  <a:pt x="858" y="293"/>
                </a:cubicBezTo>
                <a:cubicBezTo>
                  <a:pt x="858" y="293"/>
                  <a:pt x="859" y="293"/>
                  <a:pt x="858" y="292"/>
                </a:cubicBezTo>
                <a:cubicBezTo>
                  <a:pt x="858" y="292"/>
                  <a:pt x="858" y="292"/>
                  <a:pt x="858" y="292"/>
                </a:cubicBezTo>
                <a:cubicBezTo>
                  <a:pt x="857" y="292"/>
                  <a:pt x="858" y="293"/>
                  <a:pt x="857" y="293"/>
                </a:cubicBezTo>
                <a:cubicBezTo>
                  <a:pt x="857" y="292"/>
                  <a:pt x="857" y="292"/>
                  <a:pt x="857" y="292"/>
                </a:cubicBezTo>
                <a:cubicBezTo>
                  <a:pt x="858" y="291"/>
                  <a:pt x="859" y="291"/>
                  <a:pt x="858" y="290"/>
                </a:cubicBezTo>
                <a:cubicBezTo>
                  <a:pt x="859" y="290"/>
                  <a:pt x="859" y="290"/>
                  <a:pt x="859" y="290"/>
                </a:cubicBezTo>
                <a:cubicBezTo>
                  <a:pt x="859" y="290"/>
                  <a:pt x="859" y="290"/>
                  <a:pt x="859" y="290"/>
                </a:cubicBezTo>
                <a:cubicBezTo>
                  <a:pt x="859" y="290"/>
                  <a:pt x="859" y="290"/>
                  <a:pt x="859" y="289"/>
                </a:cubicBezTo>
                <a:cubicBezTo>
                  <a:pt x="860" y="289"/>
                  <a:pt x="861" y="289"/>
                  <a:pt x="860" y="288"/>
                </a:cubicBezTo>
                <a:cubicBezTo>
                  <a:pt x="861" y="288"/>
                  <a:pt x="861" y="288"/>
                  <a:pt x="861" y="288"/>
                </a:cubicBezTo>
                <a:cubicBezTo>
                  <a:pt x="861" y="288"/>
                  <a:pt x="861" y="288"/>
                  <a:pt x="861" y="288"/>
                </a:cubicBezTo>
                <a:cubicBezTo>
                  <a:pt x="861" y="288"/>
                  <a:pt x="861" y="288"/>
                  <a:pt x="862" y="288"/>
                </a:cubicBezTo>
                <a:cubicBezTo>
                  <a:pt x="862" y="287"/>
                  <a:pt x="862" y="287"/>
                  <a:pt x="862" y="287"/>
                </a:cubicBezTo>
                <a:cubicBezTo>
                  <a:pt x="862" y="287"/>
                  <a:pt x="862" y="287"/>
                  <a:pt x="862" y="287"/>
                </a:cubicBezTo>
                <a:cubicBezTo>
                  <a:pt x="862" y="287"/>
                  <a:pt x="863" y="287"/>
                  <a:pt x="863" y="287"/>
                </a:cubicBezTo>
                <a:cubicBezTo>
                  <a:pt x="863" y="287"/>
                  <a:pt x="863" y="287"/>
                  <a:pt x="863" y="287"/>
                </a:cubicBezTo>
                <a:cubicBezTo>
                  <a:pt x="863" y="287"/>
                  <a:pt x="863" y="287"/>
                  <a:pt x="862" y="287"/>
                </a:cubicBezTo>
                <a:cubicBezTo>
                  <a:pt x="862" y="287"/>
                  <a:pt x="863" y="286"/>
                  <a:pt x="862" y="286"/>
                </a:cubicBezTo>
                <a:cubicBezTo>
                  <a:pt x="863" y="287"/>
                  <a:pt x="863" y="286"/>
                  <a:pt x="864" y="286"/>
                </a:cubicBezTo>
                <a:cubicBezTo>
                  <a:pt x="864" y="285"/>
                  <a:pt x="864" y="285"/>
                  <a:pt x="865" y="284"/>
                </a:cubicBezTo>
                <a:cubicBezTo>
                  <a:pt x="865" y="284"/>
                  <a:pt x="865" y="284"/>
                  <a:pt x="866" y="284"/>
                </a:cubicBezTo>
                <a:cubicBezTo>
                  <a:pt x="866" y="284"/>
                  <a:pt x="866" y="283"/>
                  <a:pt x="867" y="283"/>
                </a:cubicBezTo>
                <a:cubicBezTo>
                  <a:pt x="866" y="282"/>
                  <a:pt x="868" y="282"/>
                  <a:pt x="868" y="282"/>
                </a:cubicBezTo>
                <a:cubicBezTo>
                  <a:pt x="868" y="282"/>
                  <a:pt x="868" y="283"/>
                  <a:pt x="868" y="283"/>
                </a:cubicBezTo>
                <a:cubicBezTo>
                  <a:pt x="868" y="283"/>
                  <a:pt x="869" y="282"/>
                  <a:pt x="869" y="282"/>
                </a:cubicBezTo>
                <a:cubicBezTo>
                  <a:pt x="868" y="282"/>
                  <a:pt x="868" y="282"/>
                  <a:pt x="868" y="282"/>
                </a:cubicBezTo>
                <a:cubicBezTo>
                  <a:pt x="869" y="282"/>
                  <a:pt x="868" y="281"/>
                  <a:pt x="869" y="281"/>
                </a:cubicBezTo>
                <a:cubicBezTo>
                  <a:pt x="869" y="282"/>
                  <a:pt x="869" y="283"/>
                  <a:pt x="869" y="283"/>
                </a:cubicBezTo>
                <a:cubicBezTo>
                  <a:pt x="869" y="283"/>
                  <a:pt x="868" y="283"/>
                  <a:pt x="868" y="284"/>
                </a:cubicBezTo>
                <a:cubicBezTo>
                  <a:pt x="868" y="284"/>
                  <a:pt x="868" y="284"/>
                  <a:pt x="867" y="284"/>
                </a:cubicBezTo>
                <a:cubicBezTo>
                  <a:pt x="867" y="284"/>
                  <a:pt x="868" y="284"/>
                  <a:pt x="867" y="284"/>
                </a:cubicBezTo>
                <a:cubicBezTo>
                  <a:pt x="867" y="284"/>
                  <a:pt x="866" y="285"/>
                  <a:pt x="867" y="286"/>
                </a:cubicBezTo>
                <a:cubicBezTo>
                  <a:pt x="866" y="286"/>
                  <a:pt x="866" y="285"/>
                  <a:pt x="866" y="285"/>
                </a:cubicBezTo>
                <a:cubicBezTo>
                  <a:pt x="866" y="286"/>
                  <a:pt x="865" y="286"/>
                  <a:pt x="865" y="286"/>
                </a:cubicBezTo>
                <a:cubicBezTo>
                  <a:pt x="865" y="286"/>
                  <a:pt x="865" y="286"/>
                  <a:pt x="865" y="285"/>
                </a:cubicBezTo>
                <a:cubicBezTo>
                  <a:pt x="866" y="286"/>
                  <a:pt x="866" y="285"/>
                  <a:pt x="865" y="285"/>
                </a:cubicBezTo>
                <a:cubicBezTo>
                  <a:pt x="865" y="285"/>
                  <a:pt x="865" y="285"/>
                  <a:pt x="864" y="286"/>
                </a:cubicBezTo>
                <a:cubicBezTo>
                  <a:pt x="864" y="286"/>
                  <a:pt x="864" y="286"/>
                  <a:pt x="864" y="286"/>
                </a:cubicBezTo>
                <a:cubicBezTo>
                  <a:pt x="865" y="286"/>
                  <a:pt x="865" y="286"/>
                  <a:pt x="865" y="286"/>
                </a:cubicBezTo>
                <a:cubicBezTo>
                  <a:pt x="865" y="286"/>
                  <a:pt x="865" y="286"/>
                  <a:pt x="865" y="287"/>
                </a:cubicBezTo>
                <a:cubicBezTo>
                  <a:pt x="864" y="287"/>
                  <a:pt x="865" y="288"/>
                  <a:pt x="865" y="288"/>
                </a:cubicBezTo>
                <a:cubicBezTo>
                  <a:pt x="864" y="288"/>
                  <a:pt x="865" y="287"/>
                  <a:pt x="864" y="287"/>
                </a:cubicBezTo>
                <a:cubicBezTo>
                  <a:pt x="864" y="288"/>
                  <a:pt x="864" y="288"/>
                  <a:pt x="864" y="288"/>
                </a:cubicBezTo>
                <a:cubicBezTo>
                  <a:pt x="863" y="289"/>
                  <a:pt x="863" y="288"/>
                  <a:pt x="863" y="288"/>
                </a:cubicBezTo>
                <a:cubicBezTo>
                  <a:pt x="863" y="289"/>
                  <a:pt x="863" y="289"/>
                  <a:pt x="863" y="289"/>
                </a:cubicBezTo>
                <a:cubicBezTo>
                  <a:pt x="863" y="289"/>
                  <a:pt x="862" y="288"/>
                  <a:pt x="862" y="288"/>
                </a:cubicBezTo>
                <a:cubicBezTo>
                  <a:pt x="862" y="288"/>
                  <a:pt x="862" y="289"/>
                  <a:pt x="862" y="289"/>
                </a:cubicBezTo>
                <a:cubicBezTo>
                  <a:pt x="862" y="289"/>
                  <a:pt x="862" y="289"/>
                  <a:pt x="862" y="289"/>
                </a:cubicBezTo>
                <a:cubicBezTo>
                  <a:pt x="862" y="290"/>
                  <a:pt x="862" y="290"/>
                  <a:pt x="862" y="290"/>
                </a:cubicBezTo>
                <a:cubicBezTo>
                  <a:pt x="862" y="290"/>
                  <a:pt x="862" y="290"/>
                  <a:pt x="862" y="290"/>
                </a:cubicBezTo>
                <a:cubicBezTo>
                  <a:pt x="862" y="290"/>
                  <a:pt x="862" y="290"/>
                  <a:pt x="861" y="290"/>
                </a:cubicBezTo>
                <a:cubicBezTo>
                  <a:pt x="861" y="290"/>
                  <a:pt x="862" y="291"/>
                  <a:pt x="861" y="291"/>
                </a:cubicBezTo>
                <a:cubicBezTo>
                  <a:pt x="861" y="291"/>
                  <a:pt x="861" y="291"/>
                  <a:pt x="861" y="290"/>
                </a:cubicBezTo>
                <a:cubicBezTo>
                  <a:pt x="860" y="291"/>
                  <a:pt x="861" y="292"/>
                  <a:pt x="861" y="292"/>
                </a:cubicBezTo>
                <a:cubicBezTo>
                  <a:pt x="861" y="292"/>
                  <a:pt x="861" y="292"/>
                  <a:pt x="860" y="292"/>
                </a:cubicBezTo>
                <a:cubicBezTo>
                  <a:pt x="860" y="291"/>
                  <a:pt x="861" y="291"/>
                  <a:pt x="860" y="291"/>
                </a:cubicBezTo>
                <a:cubicBezTo>
                  <a:pt x="859" y="291"/>
                  <a:pt x="860" y="292"/>
                  <a:pt x="860" y="292"/>
                </a:cubicBezTo>
                <a:cubicBezTo>
                  <a:pt x="860" y="292"/>
                  <a:pt x="860" y="292"/>
                  <a:pt x="860" y="292"/>
                </a:cubicBezTo>
                <a:cubicBezTo>
                  <a:pt x="860" y="293"/>
                  <a:pt x="860" y="293"/>
                  <a:pt x="860" y="293"/>
                </a:cubicBezTo>
                <a:cubicBezTo>
                  <a:pt x="860" y="293"/>
                  <a:pt x="860" y="292"/>
                  <a:pt x="860" y="293"/>
                </a:cubicBezTo>
                <a:cubicBezTo>
                  <a:pt x="860" y="293"/>
                  <a:pt x="860" y="293"/>
                  <a:pt x="860" y="293"/>
                </a:cubicBezTo>
                <a:cubicBezTo>
                  <a:pt x="861" y="293"/>
                  <a:pt x="861" y="292"/>
                  <a:pt x="862" y="291"/>
                </a:cubicBezTo>
                <a:cubicBezTo>
                  <a:pt x="862" y="292"/>
                  <a:pt x="860" y="293"/>
                  <a:pt x="861" y="294"/>
                </a:cubicBezTo>
                <a:cubicBezTo>
                  <a:pt x="861" y="294"/>
                  <a:pt x="861" y="294"/>
                  <a:pt x="860" y="294"/>
                </a:cubicBezTo>
                <a:cubicBezTo>
                  <a:pt x="860" y="294"/>
                  <a:pt x="860" y="294"/>
                  <a:pt x="860" y="294"/>
                </a:cubicBezTo>
                <a:cubicBezTo>
                  <a:pt x="860" y="294"/>
                  <a:pt x="859" y="295"/>
                  <a:pt x="859" y="295"/>
                </a:cubicBezTo>
                <a:cubicBezTo>
                  <a:pt x="859" y="295"/>
                  <a:pt x="859" y="295"/>
                  <a:pt x="859" y="295"/>
                </a:cubicBezTo>
                <a:cubicBezTo>
                  <a:pt x="859" y="295"/>
                  <a:pt x="858" y="295"/>
                  <a:pt x="858" y="295"/>
                </a:cubicBezTo>
                <a:cubicBezTo>
                  <a:pt x="859" y="295"/>
                  <a:pt x="859" y="295"/>
                  <a:pt x="859" y="295"/>
                </a:cubicBezTo>
                <a:cubicBezTo>
                  <a:pt x="859" y="296"/>
                  <a:pt x="859" y="296"/>
                  <a:pt x="859" y="297"/>
                </a:cubicBezTo>
                <a:cubicBezTo>
                  <a:pt x="859" y="297"/>
                  <a:pt x="860" y="297"/>
                  <a:pt x="859" y="297"/>
                </a:cubicBezTo>
                <a:cubicBezTo>
                  <a:pt x="859" y="298"/>
                  <a:pt x="858" y="299"/>
                  <a:pt x="857" y="299"/>
                </a:cubicBezTo>
                <a:cubicBezTo>
                  <a:pt x="857" y="299"/>
                  <a:pt x="857" y="299"/>
                  <a:pt x="857" y="299"/>
                </a:cubicBezTo>
                <a:cubicBezTo>
                  <a:pt x="857" y="299"/>
                  <a:pt x="857" y="299"/>
                  <a:pt x="857" y="299"/>
                </a:cubicBezTo>
                <a:cubicBezTo>
                  <a:pt x="857" y="299"/>
                  <a:pt x="857" y="300"/>
                  <a:pt x="857" y="300"/>
                </a:cubicBezTo>
                <a:cubicBezTo>
                  <a:pt x="857" y="300"/>
                  <a:pt x="857" y="300"/>
                  <a:pt x="856" y="300"/>
                </a:cubicBezTo>
                <a:cubicBezTo>
                  <a:pt x="857" y="300"/>
                  <a:pt x="857" y="300"/>
                  <a:pt x="857" y="300"/>
                </a:cubicBezTo>
                <a:cubicBezTo>
                  <a:pt x="856" y="300"/>
                  <a:pt x="856" y="300"/>
                  <a:pt x="856" y="300"/>
                </a:cubicBezTo>
                <a:cubicBezTo>
                  <a:pt x="856" y="300"/>
                  <a:pt x="856" y="300"/>
                  <a:pt x="857" y="300"/>
                </a:cubicBezTo>
                <a:cubicBezTo>
                  <a:pt x="856" y="301"/>
                  <a:pt x="855" y="301"/>
                  <a:pt x="856" y="302"/>
                </a:cubicBezTo>
                <a:cubicBezTo>
                  <a:pt x="855" y="302"/>
                  <a:pt x="855" y="301"/>
                  <a:pt x="855" y="301"/>
                </a:cubicBezTo>
                <a:cubicBezTo>
                  <a:pt x="856" y="303"/>
                  <a:pt x="855" y="303"/>
                  <a:pt x="854" y="303"/>
                </a:cubicBezTo>
                <a:cubicBezTo>
                  <a:pt x="854" y="303"/>
                  <a:pt x="854" y="303"/>
                  <a:pt x="854" y="303"/>
                </a:cubicBezTo>
                <a:cubicBezTo>
                  <a:pt x="854" y="303"/>
                  <a:pt x="853" y="302"/>
                  <a:pt x="853" y="302"/>
                </a:cubicBezTo>
                <a:cubicBezTo>
                  <a:pt x="853" y="302"/>
                  <a:pt x="853" y="302"/>
                  <a:pt x="853" y="302"/>
                </a:cubicBezTo>
                <a:cubicBezTo>
                  <a:pt x="853" y="303"/>
                  <a:pt x="853" y="303"/>
                  <a:pt x="853" y="303"/>
                </a:cubicBezTo>
                <a:cubicBezTo>
                  <a:pt x="853" y="303"/>
                  <a:pt x="853" y="303"/>
                  <a:pt x="853" y="303"/>
                </a:cubicBezTo>
                <a:cubicBezTo>
                  <a:pt x="852" y="303"/>
                  <a:pt x="852" y="303"/>
                  <a:pt x="852" y="303"/>
                </a:cubicBezTo>
                <a:cubicBezTo>
                  <a:pt x="853" y="304"/>
                  <a:pt x="852" y="305"/>
                  <a:pt x="852" y="306"/>
                </a:cubicBezTo>
                <a:cubicBezTo>
                  <a:pt x="852" y="305"/>
                  <a:pt x="852" y="305"/>
                  <a:pt x="851" y="305"/>
                </a:cubicBezTo>
                <a:cubicBezTo>
                  <a:pt x="851" y="306"/>
                  <a:pt x="851" y="306"/>
                  <a:pt x="852" y="306"/>
                </a:cubicBezTo>
                <a:cubicBezTo>
                  <a:pt x="851" y="306"/>
                  <a:pt x="852" y="307"/>
                  <a:pt x="851" y="307"/>
                </a:cubicBezTo>
                <a:cubicBezTo>
                  <a:pt x="851" y="306"/>
                  <a:pt x="851" y="306"/>
                  <a:pt x="851" y="306"/>
                </a:cubicBezTo>
                <a:cubicBezTo>
                  <a:pt x="851" y="306"/>
                  <a:pt x="851" y="306"/>
                  <a:pt x="851" y="306"/>
                </a:cubicBezTo>
                <a:cubicBezTo>
                  <a:pt x="851" y="306"/>
                  <a:pt x="851" y="306"/>
                  <a:pt x="851" y="307"/>
                </a:cubicBezTo>
                <a:cubicBezTo>
                  <a:pt x="850" y="307"/>
                  <a:pt x="851" y="307"/>
                  <a:pt x="851" y="307"/>
                </a:cubicBezTo>
                <a:cubicBezTo>
                  <a:pt x="850" y="308"/>
                  <a:pt x="850" y="310"/>
                  <a:pt x="848" y="310"/>
                </a:cubicBezTo>
                <a:cubicBezTo>
                  <a:pt x="848" y="311"/>
                  <a:pt x="848" y="311"/>
                  <a:pt x="848" y="311"/>
                </a:cubicBezTo>
                <a:cubicBezTo>
                  <a:pt x="847" y="311"/>
                  <a:pt x="848" y="311"/>
                  <a:pt x="848" y="312"/>
                </a:cubicBezTo>
                <a:cubicBezTo>
                  <a:pt x="848" y="312"/>
                  <a:pt x="847" y="312"/>
                  <a:pt x="848" y="313"/>
                </a:cubicBezTo>
                <a:cubicBezTo>
                  <a:pt x="847" y="313"/>
                  <a:pt x="847" y="312"/>
                  <a:pt x="847" y="312"/>
                </a:cubicBezTo>
                <a:cubicBezTo>
                  <a:pt x="846" y="313"/>
                  <a:pt x="847" y="313"/>
                  <a:pt x="846" y="313"/>
                </a:cubicBezTo>
                <a:cubicBezTo>
                  <a:pt x="847" y="313"/>
                  <a:pt x="846" y="313"/>
                  <a:pt x="846" y="313"/>
                </a:cubicBezTo>
                <a:cubicBezTo>
                  <a:pt x="846" y="313"/>
                  <a:pt x="846" y="313"/>
                  <a:pt x="846" y="313"/>
                </a:cubicBezTo>
                <a:cubicBezTo>
                  <a:pt x="845" y="315"/>
                  <a:pt x="844" y="316"/>
                  <a:pt x="844" y="317"/>
                </a:cubicBezTo>
                <a:cubicBezTo>
                  <a:pt x="844" y="317"/>
                  <a:pt x="844" y="316"/>
                  <a:pt x="845" y="316"/>
                </a:cubicBezTo>
                <a:cubicBezTo>
                  <a:pt x="845" y="316"/>
                  <a:pt x="845" y="317"/>
                  <a:pt x="845" y="317"/>
                </a:cubicBezTo>
                <a:cubicBezTo>
                  <a:pt x="845" y="317"/>
                  <a:pt x="846" y="316"/>
                  <a:pt x="845" y="316"/>
                </a:cubicBezTo>
                <a:cubicBezTo>
                  <a:pt x="845" y="316"/>
                  <a:pt x="846" y="316"/>
                  <a:pt x="846" y="317"/>
                </a:cubicBezTo>
                <a:cubicBezTo>
                  <a:pt x="845" y="317"/>
                  <a:pt x="844" y="317"/>
                  <a:pt x="845" y="318"/>
                </a:cubicBezTo>
                <a:cubicBezTo>
                  <a:pt x="845" y="318"/>
                  <a:pt x="845" y="318"/>
                  <a:pt x="845" y="318"/>
                </a:cubicBezTo>
                <a:cubicBezTo>
                  <a:pt x="844" y="318"/>
                  <a:pt x="845" y="318"/>
                  <a:pt x="844" y="318"/>
                </a:cubicBezTo>
                <a:cubicBezTo>
                  <a:pt x="844" y="318"/>
                  <a:pt x="844" y="318"/>
                  <a:pt x="844" y="319"/>
                </a:cubicBezTo>
                <a:cubicBezTo>
                  <a:pt x="844" y="319"/>
                  <a:pt x="844" y="319"/>
                  <a:pt x="844" y="319"/>
                </a:cubicBezTo>
                <a:cubicBezTo>
                  <a:pt x="844" y="319"/>
                  <a:pt x="844" y="318"/>
                  <a:pt x="844" y="318"/>
                </a:cubicBezTo>
                <a:cubicBezTo>
                  <a:pt x="844" y="318"/>
                  <a:pt x="844" y="318"/>
                  <a:pt x="844" y="317"/>
                </a:cubicBezTo>
                <a:cubicBezTo>
                  <a:pt x="843" y="318"/>
                  <a:pt x="843" y="317"/>
                  <a:pt x="843" y="317"/>
                </a:cubicBezTo>
                <a:cubicBezTo>
                  <a:pt x="843" y="317"/>
                  <a:pt x="843" y="317"/>
                  <a:pt x="843" y="318"/>
                </a:cubicBezTo>
                <a:cubicBezTo>
                  <a:pt x="844" y="318"/>
                  <a:pt x="844" y="319"/>
                  <a:pt x="844" y="320"/>
                </a:cubicBezTo>
                <a:cubicBezTo>
                  <a:pt x="843" y="320"/>
                  <a:pt x="843" y="320"/>
                  <a:pt x="843" y="320"/>
                </a:cubicBezTo>
                <a:cubicBezTo>
                  <a:pt x="844" y="321"/>
                  <a:pt x="843" y="321"/>
                  <a:pt x="842" y="321"/>
                </a:cubicBezTo>
                <a:cubicBezTo>
                  <a:pt x="842" y="321"/>
                  <a:pt x="842" y="321"/>
                  <a:pt x="842" y="321"/>
                </a:cubicBezTo>
                <a:cubicBezTo>
                  <a:pt x="842" y="321"/>
                  <a:pt x="843" y="322"/>
                  <a:pt x="842" y="322"/>
                </a:cubicBezTo>
                <a:cubicBezTo>
                  <a:pt x="842" y="321"/>
                  <a:pt x="842" y="322"/>
                  <a:pt x="842" y="322"/>
                </a:cubicBezTo>
                <a:cubicBezTo>
                  <a:pt x="842" y="322"/>
                  <a:pt x="841" y="322"/>
                  <a:pt x="841" y="322"/>
                </a:cubicBezTo>
                <a:cubicBezTo>
                  <a:pt x="841" y="322"/>
                  <a:pt x="841" y="323"/>
                  <a:pt x="841" y="323"/>
                </a:cubicBezTo>
                <a:cubicBezTo>
                  <a:pt x="841" y="322"/>
                  <a:pt x="841" y="322"/>
                  <a:pt x="842" y="323"/>
                </a:cubicBezTo>
                <a:cubicBezTo>
                  <a:pt x="841" y="323"/>
                  <a:pt x="841" y="323"/>
                  <a:pt x="842" y="323"/>
                </a:cubicBezTo>
                <a:cubicBezTo>
                  <a:pt x="841" y="324"/>
                  <a:pt x="841" y="323"/>
                  <a:pt x="841" y="323"/>
                </a:cubicBezTo>
                <a:cubicBezTo>
                  <a:pt x="841" y="324"/>
                  <a:pt x="841" y="324"/>
                  <a:pt x="841" y="324"/>
                </a:cubicBezTo>
                <a:cubicBezTo>
                  <a:pt x="841" y="324"/>
                  <a:pt x="841" y="324"/>
                  <a:pt x="841" y="324"/>
                </a:cubicBezTo>
                <a:cubicBezTo>
                  <a:pt x="841" y="324"/>
                  <a:pt x="842" y="324"/>
                  <a:pt x="842" y="323"/>
                </a:cubicBezTo>
                <a:cubicBezTo>
                  <a:pt x="842" y="324"/>
                  <a:pt x="842" y="324"/>
                  <a:pt x="842" y="324"/>
                </a:cubicBezTo>
                <a:cubicBezTo>
                  <a:pt x="842" y="324"/>
                  <a:pt x="842" y="324"/>
                  <a:pt x="842" y="324"/>
                </a:cubicBezTo>
                <a:cubicBezTo>
                  <a:pt x="843" y="325"/>
                  <a:pt x="843" y="324"/>
                  <a:pt x="843" y="324"/>
                </a:cubicBezTo>
                <a:cubicBezTo>
                  <a:pt x="843" y="325"/>
                  <a:pt x="842" y="325"/>
                  <a:pt x="842" y="325"/>
                </a:cubicBezTo>
                <a:cubicBezTo>
                  <a:pt x="842" y="325"/>
                  <a:pt x="841" y="325"/>
                  <a:pt x="840" y="325"/>
                </a:cubicBezTo>
                <a:cubicBezTo>
                  <a:pt x="840" y="325"/>
                  <a:pt x="840" y="325"/>
                  <a:pt x="840" y="325"/>
                </a:cubicBezTo>
                <a:cubicBezTo>
                  <a:pt x="840" y="325"/>
                  <a:pt x="839" y="325"/>
                  <a:pt x="839" y="326"/>
                </a:cubicBezTo>
                <a:cubicBezTo>
                  <a:pt x="839" y="326"/>
                  <a:pt x="840" y="326"/>
                  <a:pt x="839" y="326"/>
                </a:cubicBezTo>
                <a:cubicBezTo>
                  <a:pt x="839" y="326"/>
                  <a:pt x="839" y="326"/>
                  <a:pt x="839" y="326"/>
                </a:cubicBezTo>
                <a:cubicBezTo>
                  <a:pt x="839" y="326"/>
                  <a:pt x="839" y="326"/>
                  <a:pt x="839" y="326"/>
                </a:cubicBezTo>
                <a:cubicBezTo>
                  <a:pt x="839" y="327"/>
                  <a:pt x="839" y="327"/>
                  <a:pt x="839" y="327"/>
                </a:cubicBezTo>
                <a:cubicBezTo>
                  <a:pt x="839" y="327"/>
                  <a:pt x="840" y="326"/>
                  <a:pt x="840" y="327"/>
                </a:cubicBezTo>
                <a:cubicBezTo>
                  <a:pt x="840" y="327"/>
                  <a:pt x="839" y="327"/>
                  <a:pt x="840" y="327"/>
                </a:cubicBezTo>
                <a:cubicBezTo>
                  <a:pt x="840" y="327"/>
                  <a:pt x="840" y="327"/>
                  <a:pt x="840" y="327"/>
                </a:cubicBezTo>
                <a:cubicBezTo>
                  <a:pt x="840" y="327"/>
                  <a:pt x="840" y="327"/>
                  <a:pt x="840" y="328"/>
                </a:cubicBezTo>
                <a:cubicBezTo>
                  <a:pt x="840" y="328"/>
                  <a:pt x="840" y="328"/>
                  <a:pt x="839" y="327"/>
                </a:cubicBezTo>
                <a:cubicBezTo>
                  <a:pt x="839" y="328"/>
                  <a:pt x="839" y="328"/>
                  <a:pt x="839" y="328"/>
                </a:cubicBezTo>
                <a:cubicBezTo>
                  <a:pt x="839" y="328"/>
                  <a:pt x="838" y="328"/>
                  <a:pt x="838" y="328"/>
                </a:cubicBezTo>
                <a:cubicBezTo>
                  <a:pt x="838" y="329"/>
                  <a:pt x="839" y="328"/>
                  <a:pt x="839" y="329"/>
                </a:cubicBezTo>
                <a:cubicBezTo>
                  <a:pt x="838" y="329"/>
                  <a:pt x="838" y="328"/>
                  <a:pt x="838" y="328"/>
                </a:cubicBezTo>
                <a:cubicBezTo>
                  <a:pt x="837" y="329"/>
                  <a:pt x="837" y="329"/>
                  <a:pt x="837" y="330"/>
                </a:cubicBezTo>
                <a:cubicBezTo>
                  <a:pt x="837" y="330"/>
                  <a:pt x="837" y="331"/>
                  <a:pt x="837" y="331"/>
                </a:cubicBezTo>
                <a:cubicBezTo>
                  <a:pt x="837" y="331"/>
                  <a:pt x="836" y="330"/>
                  <a:pt x="836" y="331"/>
                </a:cubicBezTo>
                <a:cubicBezTo>
                  <a:pt x="836" y="331"/>
                  <a:pt x="837" y="332"/>
                  <a:pt x="837" y="332"/>
                </a:cubicBezTo>
                <a:cubicBezTo>
                  <a:pt x="836" y="332"/>
                  <a:pt x="836" y="332"/>
                  <a:pt x="836" y="332"/>
                </a:cubicBezTo>
                <a:cubicBezTo>
                  <a:pt x="835" y="332"/>
                  <a:pt x="836" y="332"/>
                  <a:pt x="836" y="332"/>
                </a:cubicBezTo>
                <a:cubicBezTo>
                  <a:pt x="835" y="332"/>
                  <a:pt x="835" y="333"/>
                  <a:pt x="835" y="333"/>
                </a:cubicBezTo>
                <a:cubicBezTo>
                  <a:pt x="836" y="333"/>
                  <a:pt x="835" y="332"/>
                  <a:pt x="836" y="333"/>
                </a:cubicBezTo>
                <a:cubicBezTo>
                  <a:pt x="836" y="333"/>
                  <a:pt x="835" y="334"/>
                  <a:pt x="835" y="335"/>
                </a:cubicBezTo>
                <a:cubicBezTo>
                  <a:pt x="834" y="335"/>
                  <a:pt x="833" y="335"/>
                  <a:pt x="834" y="336"/>
                </a:cubicBezTo>
                <a:cubicBezTo>
                  <a:pt x="834" y="336"/>
                  <a:pt x="833" y="336"/>
                  <a:pt x="833" y="336"/>
                </a:cubicBezTo>
                <a:cubicBezTo>
                  <a:pt x="834" y="336"/>
                  <a:pt x="834" y="336"/>
                  <a:pt x="834" y="336"/>
                </a:cubicBezTo>
                <a:cubicBezTo>
                  <a:pt x="834" y="337"/>
                  <a:pt x="834" y="337"/>
                  <a:pt x="834" y="337"/>
                </a:cubicBezTo>
                <a:cubicBezTo>
                  <a:pt x="833" y="337"/>
                  <a:pt x="834" y="338"/>
                  <a:pt x="833" y="338"/>
                </a:cubicBezTo>
                <a:cubicBezTo>
                  <a:pt x="834" y="338"/>
                  <a:pt x="834" y="337"/>
                  <a:pt x="833" y="337"/>
                </a:cubicBezTo>
                <a:cubicBezTo>
                  <a:pt x="833" y="338"/>
                  <a:pt x="833" y="338"/>
                  <a:pt x="833" y="338"/>
                </a:cubicBezTo>
                <a:cubicBezTo>
                  <a:pt x="833" y="338"/>
                  <a:pt x="833" y="338"/>
                  <a:pt x="833" y="339"/>
                </a:cubicBezTo>
                <a:cubicBezTo>
                  <a:pt x="833" y="339"/>
                  <a:pt x="833" y="338"/>
                  <a:pt x="832" y="339"/>
                </a:cubicBezTo>
                <a:cubicBezTo>
                  <a:pt x="832" y="339"/>
                  <a:pt x="833" y="339"/>
                  <a:pt x="832" y="339"/>
                </a:cubicBezTo>
                <a:cubicBezTo>
                  <a:pt x="832" y="339"/>
                  <a:pt x="833" y="338"/>
                  <a:pt x="832" y="338"/>
                </a:cubicBezTo>
                <a:cubicBezTo>
                  <a:pt x="832" y="338"/>
                  <a:pt x="831" y="339"/>
                  <a:pt x="832" y="339"/>
                </a:cubicBezTo>
                <a:cubicBezTo>
                  <a:pt x="831" y="339"/>
                  <a:pt x="831" y="339"/>
                  <a:pt x="831" y="339"/>
                </a:cubicBezTo>
                <a:cubicBezTo>
                  <a:pt x="831" y="340"/>
                  <a:pt x="831" y="340"/>
                  <a:pt x="831" y="340"/>
                </a:cubicBezTo>
                <a:cubicBezTo>
                  <a:pt x="832" y="340"/>
                  <a:pt x="831" y="340"/>
                  <a:pt x="832" y="340"/>
                </a:cubicBezTo>
                <a:cubicBezTo>
                  <a:pt x="832" y="340"/>
                  <a:pt x="831" y="341"/>
                  <a:pt x="832" y="341"/>
                </a:cubicBezTo>
                <a:cubicBezTo>
                  <a:pt x="831" y="341"/>
                  <a:pt x="831" y="341"/>
                  <a:pt x="831" y="341"/>
                </a:cubicBezTo>
                <a:cubicBezTo>
                  <a:pt x="832" y="341"/>
                  <a:pt x="831" y="340"/>
                  <a:pt x="831" y="340"/>
                </a:cubicBezTo>
                <a:cubicBezTo>
                  <a:pt x="831" y="341"/>
                  <a:pt x="830" y="341"/>
                  <a:pt x="831" y="341"/>
                </a:cubicBezTo>
                <a:cubicBezTo>
                  <a:pt x="831" y="341"/>
                  <a:pt x="831" y="341"/>
                  <a:pt x="831" y="341"/>
                </a:cubicBezTo>
                <a:cubicBezTo>
                  <a:pt x="832" y="342"/>
                  <a:pt x="831" y="342"/>
                  <a:pt x="831" y="342"/>
                </a:cubicBezTo>
                <a:cubicBezTo>
                  <a:pt x="831" y="342"/>
                  <a:pt x="831" y="342"/>
                  <a:pt x="831" y="342"/>
                </a:cubicBezTo>
                <a:cubicBezTo>
                  <a:pt x="831" y="343"/>
                  <a:pt x="830" y="344"/>
                  <a:pt x="830" y="344"/>
                </a:cubicBezTo>
                <a:cubicBezTo>
                  <a:pt x="830" y="344"/>
                  <a:pt x="830" y="344"/>
                  <a:pt x="830" y="344"/>
                </a:cubicBezTo>
                <a:cubicBezTo>
                  <a:pt x="829" y="344"/>
                  <a:pt x="830" y="344"/>
                  <a:pt x="830" y="345"/>
                </a:cubicBezTo>
                <a:cubicBezTo>
                  <a:pt x="830" y="345"/>
                  <a:pt x="830" y="344"/>
                  <a:pt x="829" y="344"/>
                </a:cubicBezTo>
                <a:cubicBezTo>
                  <a:pt x="829" y="345"/>
                  <a:pt x="829" y="345"/>
                  <a:pt x="830" y="345"/>
                </a:cubicBezTo>
                <a:cubicBezTo>
                  <a:pt x="830" y="345"/>
                  <a:pt x="830" y="345"/>
                  <a:pt x="830" y="345"/>
                </a:cubicBezTo>
                <a:cubicBezTo>
                  <a:pt x="830" y="345"/>
                  <a:pt x="831" y="345"/>
                  <a:pt x="831" y="345"/>
                </a:cubicBezTo>
                <a:cubicBezTo>
                  <a:pt x="831" y="345"/>
                  <a:pt x="831" y="345"/>
                  <a:pt x="831" y="345"/>
                </a:cubicBezTo>
                <a:cubicBezTo>
                  <a:pt x="830" y="346"/>
                  <a:pt x="830" y="346"/>
                  <a:pt x="830" y="347"/>
                </a:cubicBezTo>
                <a:cubicBezTo>
                  <a:pt x="830" y="348"/>
                  <a:pt x="830" y="347"/>
                  <a:pt x="831" y="347"/>
                </a:cubicBezTo>
                <a:cubicBezTo>
                  <a:pt x="830" y="348"/>
                  <a:pt x="830" y="347"/>
                  <a:pt x="830" y="348"/>
                </a:cubicBezTo>
                <a:cubicBezTo>
                  <a:pt x="829" y="346"/>
                  <a:pt x="830" y="346"/>
                  <a:pt x="830" y="345"/>
                </a:cubicBezTo>
                <a:cubicBezTo>
                  <a:pt x="830" y="345"/>
                  <a:pt x="830" y="345"/>
                  <a:pt x="829" y="346"/>
                </a:cubicBezTo>
                <a:cubicBezTo>
                  <a:pt x="829" y="345"/>
                  <a:pt x="829" y="345"/>
                  <a:pt x="828" y="345"/>
                </a:cubicBezTo>
                <a:cubicBezTo>
                  <a:pt x="829" y="345"/>
                  <a:pt x="828" y="344"/>
                  <a:pt x="828" y="344"/>
                </a:cubicBezTo>
                <a:cubicBezTo>
                  <a:pt x="828" y="344"/>
                  <a:pt x="828" y="344"/>
                  <a:pt x="828" y="344"/>
                </a:cubicBezTo>
                <a:cubicBezTo>
                  <a:pt x="828" y="345"/>
                  <a:pt x="828" y="345"/>
                  <a:pt x="828" y="345"/>
                </a:cubicBezTo>
                <a:cubicBezTo>
                  <a:pt x="828" y="345"/>
                  <a:pt x="828" y="346"/>
                  <a:pt x="828" y="347"/>
                </a:cubicBezTo>
                <a:cubicBezTo>
                  <a:pt x="829" y="346"/>
                  <a:pt x="828" y="346"/>
                  <a:pt x="829" y="346"/>
                </a:cubicBezTo>
                <a:cubicBezTo>
                  <a:pt x="829" y="346"/>
                  <a:pt x="829" y="346"/>
                  <a:pt x="829" y="346"/>
                </a:cubicBezTo>
                <a:cubicBezTo>
                  <a:pt x="829" y="348"/>
                  <a:pt x="826" y="351"/>
                  <a:pt x="828" y="352"/>
                </a:cubicBezTo>
                <a:cubicBezTo>
                  <a:pt x="827" y="352"/>
                  <a:pt x="828" y="351"/>
                  <a:pt x="828" y="351"/>
                </a:cubicBezTo>
                <a:cubicBezTo>
                  <a:pt x="828" y="352"/>
                  <a:pt x="827" y="352"/>
                  <a:pt x="828" y="352"/>
                </a:cubicBezTo>
                <a:cubicBezTo>
                  <a:pt x="828" y="352"/>
                  <a:pt x="828" y="351"/>
                  <a:pt x="828" y="350"/>
                </a:cubicBezTo>
                <a:cubicBezTo>
                  <a:pt x="829" y="350"/>
                  <a:pt x="828" y="349"/>
                  <a:pt x="829" y="348"/>
                </a:cubicBezTo>
                <a:cubicBezTo>
                  <a:pt x="829" y="349"/>
                  <a:pt x="829" y="349"/>
                  <a:pt x="829" y="349"/>
                </a:cubicBezTo>
                <a:cubicBezTo>
                  <a:pt x="829" y="349"/>
                  <a:pt x="829" y="350"/>
                  <a:pt x="829" y="350"/>
                </a:cubicBezTo>
                <a:cubicBezTo>
                  <a:pt x="829" y="350"/>
                  <a:pt x="830" y="350"/>
                  <a:pt x="829" y="351"/>
                </a:cubicBezTo>
                <a:cubicBezTo>
                  <a:pt x="829" y="351"/>
                  <a:pt x="829" y="350"/>
                  <a:pt x="828" y="350"/>
                </a:cubicBezTo>
                <a:cubicBezTo>
                  <a:pt x="829" y="351"/>
                  <a:pt x="829" y="352"/>
                  <a:pt x="829" y="352"/>
                </a:cubicBezTo>
                <a:cubicBezTo>
                  <a:pt x="830" y="352"/>
                  <a:pt x="829" y="351"/>
                  <a:pt x="830" y="351"/>
                </a:cubicBezTo>
                <a:cubicBezTo>
                  <a:pt x="830" y="351"/>
                  <a:pt x="830" y="352"/>
                  <a:pt x="830" y="352"/>
                </a:cubicBezTo>
                <a:cubicBezTo>
                  <a:pt x="829" y="352"/>
                  <a:pt x="829" y="353"/>
                  <a:pt x="828" y="353"/>
                </a:cubicBezTo>
                <a:cubicBezTo>
                  <a:pt x="828" y="353"/>
                  <a:pt x="828" y="356"/>
                  <a:pt x="827" y="356"/>
                </a:cubicBezTo>
                <a:cubicBezTo>
                  <a:pt x="827" y="356"/>
                  <a:pt x="828" y="356"/>
                  <a:pt x="828" y="356"/>
                </a:cubicBezTo>
                <a:cubicBezTo>
                  <a:pt x="828" y="356"/>
                  <a:pt x="827" y="357"/>
                  <a:pt x="827" y="357"/>
                </a:cubicBezTo>
                <a:cubicBezTo>
                  <a:pt x="827" y="357"/>
                  <a:pt x="827" y="357"/>
                  <a:pt x="827" y="356"/>
                </a:cubicBezTo>
                <a:cubicBezTo>
                  <a:pt x="827" y="356"/>
                  <a:pt x="827" y="355"/>
                  <a:pt x="828" y="354"/>
                </a:cubicBezTo>
                <a:cubicBezTo>
                  <a:pt x="827" y="354"/>
                  <a:pt x="827" y="354"/>
                  <a:pt x="827" y="354"/>
                </a:cubicBezTo>
                <a:cubicBezTo>
                  <a:pt x="827" y="355"/>
                  <a:pt x="826" y="356"/>
                  <a:pt x="826" y="357"/>
                </a:cubicBezTo>
                <a:cubicBezTo>
                  <a:pt x="827" y="357"/>
                  <a:pt x="827" y="357"/>
                  <a:pt x="827" y="357"/>
                </a:cubicBezTo>
                <a:cubicBezTo>
                  <a:pt x="827" y="358"/>
                  <a:pt x="826" y="359"/>
                  <a:pt x="827" y="360"/>
                </a:cubicBezTo>
                <a:cubicBezTo>
                  <a:pt x="826" y="360"/>
                  <a:pt x="825" y="360"/>
                  <a:pt x="826" y="361"/>
                </a:cubicBezTo>
                <a:cubicBezTo>
                  <a:pt x="826" y="361"/>
                  <a:pt x="825" y="361"/>
                  <a:pt x="825" y="361"/>
                </a:cubicBezTo>
                <a:cubicBezTo>
                  <a:pt x="825" y="360"/>
                  <a:pt x="826" y="361"/>
                  <a:pt x="825" y="360"/>
                </a:cubicBezTo>
                <a:cubicBezTo>
                  <a:pt x="824" y="361"/>
                  <a:pt x="825" y="359"/>
                  <a:pt x="825" y="359"/>
                </a:cubicBezTo>
                <a:cubicBezTo>
                  <a:pt x="825" y="360"/>
                  <a:pt x="825" y="360"/>
                  <a:pt x="825" y="361"/>
                </a:cubicBezTo>
                <a:cubicBezTo>
                  <a:pt x="825" y="361"/>
                  <a:pt x="825" y="362"/>
                  <a:pt x="825" y="362"/>
                </a:cubicBezTo>
                <a:cubicBezTo>
                  <a:pt x="825" y="362"/>
                  <a:pt x="824" y="362"/>
                  <a:pt x="825" y="363"/>
                </a:cubicBezTo>
                <a:cubicBezTo>
                  <a:pt x="824" y="363"/>
                  <a:pt x="824" y="363"/>
                  <a:pt x="824" y="363"/>
                </a:cubicBezTo>
                <a:cubicBezTo>
                  <a:pt x="823" y="363"/>
                  <a:pt x="824" y="361"/>
                  <a:pt x="824" y="362"/>
                </a:cubicBezTo>
                <a:cubicBezTo>
                  <a:pt x="825" y="360"/>
                  <a:pt x="824" y="358"/>
                  <a:pt x="825" y="357"/>
                </a:cubicBezTo>
                <a:cubicBezTo>
                  <a:pt x="824" y="357"/>
                  <a:pt x="825" y="358"/>
                  <a:pt x="824" y="358"/>
                </a:cubicBezTo>
                <a:cubicBezTo>
                  <a:pt x="824" y="359"/>
                  <a:pt x="824" y="359"/>
                  <a:pt x="824" y="359"/>
                </a:cubicBezTo>
                <a:cubicBezTo>
                  <a:pt x="824" y="360"/>
                  <a:pt x="824" y="360"/>
                  <a:pt x="824" y="359"/>
                </a:cubicBezTo>
                <a:cubicBezTo>
                  <a:pt x="824" y="360"/>
                  <a:pt x="823" y="360"/>
                  <a:pt x="824" y="360"/>
                </a:cubicBezTo>
                <a:cubicBezTo>
                  <a:pt x="823" y="361"/>
                  <a:pt x="823" y="359"/>
                  <a:pt x="823" y="359"/>
                </a:cubicBezTo>
                <a:cubicBezTo>
                  <a:pt x="823" y="360"/>
                  <a:pt x="822" y="360"/>
                  <a:pt x="822" y="361"/>
                </a:cubicBezTo>
                <a:cubicBezTo>
                  <a:pt x="822" y="361"/>
                  <a:pt x="823" y="361"/>
                  <a:pt x="823" y="361"/>
                </a:cubicBezTo>
                <a:cubicBezTo>
                  <a:pt x="823" y="361"/>
                  <a:pt x="823" y="361"/>
                  <a:pt x="823" y="360"/>
                </a:cubicBezTo>
                <a:cubicBezTo>
                  <a:pt x="823" y="360"/>
                  <a:pt x="824" y="361"/>
                  <a:pt x="823" y="361"/>
                </a:cubicBezTo>
                <a:cubicBezTo>
                  <a:pt x="823" y="361"/>
                  <a:pt x="823" y="360"/>
                  <a:pt x="823" y="361"/>
                </a:cubicBezTo>
                <a:cubicBezTo>
                  <a:pt x="823" y="361"/>
                  <a:pt x="823" y="361"/>
                  <a:pt x="823" y="362"/>
                </a:cubicBezTo>
                <a:cubicBezTo>
                  <a:pt x="823" y="362"/>
                  <a:pt x="822" y="363"/>
                  <a:pt x="823" y="363"/>
                </a:cubicBezTo>
                <a:cubicBezTo>
                  <a:pt x="823" y="363"/>
                  <a:pt x="823" y="362"/>
                  <a:pt x="823" y="362"/>
                </a:cubicBezTo>
                <a:cubicBezTo>
                  <a:pt x="824" y="363"/>
                  <a:pt x="823" y="363"/>
                  <a:pt x="824" y="363"/>
                </a:cubicBezTo>
                <a:cubicBezTo>
                  <a:pt x="823" y="363"/>
                  <a:pt x="822" y="365"/>
                  <a:pt x="823" y="366"/>
                </a:cubicBezTo>
                <a:cubicBezTo>
                  <a:pt x="822" y="366"/>
                  <a:pt x="822" y="366"/>
                  <a:pt x="822" y="366"/>
                </a:cubicBezTo>
                <a:cubicBezTo>
                  <a:pt x="822" y="367"/>
                  <a:pt x="822" y="367"/>
                  <a:pt x="822" y="367"/>
                </a:cubicBezTo>
                <a:cubicBezTo>
                  <a:pt x="822" y="367"/>
                  <a:pt x="822" y="368"/>
                  <a:pt x="822" y="368"/>
                </a:cubicBezTo>
                <a:cubicBezTo>
                  <a:pt x="822" y="368"/>
                  <a:pt x="822" y="369"/>
                  <a:pt x="822" y="369"/>
                </a:cubicBezTo>
                <a:cubicBezTo>
                  <a:pt x="822" y="368"/>
                  <a:pt x="821" y="367"/>
                  <a:pt x="821" y="366"/>
                </a:cubicBezTo>
                <a:cubicBezTo>
                  <a:pt x="821" y="366"/>
                  <a:pt x="821" y="366"/>
                  <a:pt x="821" y="366"/>
                </a:cubicBezTo>
                <a:cubicBezTo>
                  <a:pt x="821" y="366"/>
                  <a:pt x="821" y="366"/>
                  <a:pt x="821" y="366"/>
                </a:cubicBezTo>
                <a:cubicBezTo>
                  <a:pt x="821" y="366"/>
                  <a:pt x="821" y="365"/>
                  <a:pt x="821" y="365"/>
                </a:cubicBezTo>
                <a:cubicBezTo>
                  <a:pt x="821" y="366"/>
                  <a:pt x="821" y="366"/>
                  <a:pt x="821" y="366"/>
                </a:cubicBezTo>
                <a:cubicBezTo>
                  <a:pt x="821" y="366"/>
                  <a:pt x="821" y="366"/>
                  <a:pt x="821" y="366"/>
                </a:cubicBezTo>
                <a:cubicBezTo>
                  <a:pt x="821" y="366"/>
                  <a:pt x="821" y="367"/>
                  <a:pt x="821" y="367"/>
                </a:cubicBezTo>
                <a:cubicBezTo>
                  <a:pt x="820" y="367"/>
                  <a:pt x="820" y="367"/>
                  <a:pt x="820" y="367"/>
                </a:cubicBezTo>
                <a:cubicBezTo>
                  <a:pt x="820" y="368"/>
                  <a:pt x="819" y="368"/>
                  <a:pt x="819" y="368"/>
                </a:cubicBezTo>
                <a:cubicBezTo>
                  <a:pt x="819" y="369"/>
                  <a:pt x="820" y="369"/>
                  <a:pt x="820" y="369"/>
                </a:cubicBezTo>
                <a:cubicBezTo>
                  <a:pt x="820" y="369"/>
                  <a:pt x="820" y="368"/>
                  <a:pt x="820" y="369"/>
                </a:cubicBezTo>
                <a:cubicBezTo>
                  <a:pt x="820" y="369"/>
                  <a:pt x="820" y="370"/>
                  <a:pt x="820" y="370"/>
                </a:cubicBezTo>
                <a:cubicBezTo>
                  <a:pt x="820" y="369"/>
                  <a:pt x="820" y="369"/>
                  <a:pt x="821" y="369"/>
                </a:cubicBezTo>
                <a:cubicBezTo>
                  <a:pt x="821" y="371"/>
                  <a:pt x="820" y="371"/>
                  <a:pt x="821" y="372"/>
                </a:cubicBezTo>
                <a:cubicBezTo>
                  <a:pt x="821" y="372"/>
                  <a:pt x="820" y="371"/>
                  <a:pt x="820" y="371"/>
                </a:cubicBezTo>
                <a:cubicBezTo>
                  <a:pt x="820" y="372"/>
                  <a:pt x="820" y="373"/>
                  <a:pt x="820" y="374"/>
                </a:cubicBezTo>
                <a:cubicBezTo>
                  <a:pt x="819" y="374"/>
                  <a:pt x="820" y="375"/>
                  <a:pt x="820" y="376"/>
                </a:cubicBezTo>
                <a:cubicBezTo>
                  <a:pt x="820" y="376"/>
                  <a:pt x="819" y="376"/>
                  <a:pt x="819" y="377"/>
                </a:cubicBezTo>
                <a:cubicBezTo>
                  <a:pt x="819" y="377"/>
                  <a:pt x="819" y="377"/>
                  <a:pt x="819" y="377"/>
                </a:cubicBezTo>
                <a:cubicBezTo>
                  <a:pt x="819" y="378"/>
                  <a:pt x="818" y="379"/>
                  <a:pt x="818" y="380"/>
                </a:cubicBezTo>
                <a:cubicBezTo>
                  <a:pt x="818" y="379"/>
                  <a:pt x="818" y="379"/>
                  <a:pt x="818" y="379"/>
                </a:cubicBezTo>
                <a:cubicBezTo>
                  <a:pt x="817" y="379"/>
                  <a:pt x="818" y="380"/>
                  <a:pt x="818" y="380"/>
                </a:cubicBezTo>
                <a:cubicBezTo>
                  <a:pt x="818" y="380"/>
                  <a:pt x="818" y="380"/>
                  <a:pt x="817" y="380"/>
                </a:cubicBezTo>
                <a:cubicBezTo>
                  <a:pt x="818" y="381"/>
                  <a:pt x="817" y="380"/>
                  <a:pt x="817" y="380"/>
                </a:cubicBezTo>
                <a:cubicBezTo>
                  <a:pt x="817" y="381"/>
                  <a:pt x="817" y="381"/>
                  <a:pt x="818" y="381"/>
                </a:cubicBezTo>
                <a:cubicBezTo>
                  <a:pt x="817" y="382"/>
                  <a:pt x="817" y="384"/>
                  <a:pt x="817" y="384"/>
                </a:cubicBezTo>
                <a:cubicBezTo>
                  <a:pt x="817" y="384"/>
                  <a:pt x="817" y="383"/>
                  <a:pt x="817" y="383"/>
                </a:cubicBezTo>
                <a:cubicBezTo>
                  <a:pt x="817" y="385"/>
                  <a:pt x="817" y="385"/>
                  <a:pt x="816" y="384"/>
                </a:cubicBezTo>
                <a:cubicBezTo>
                  <a:pt x="816" y="386"/>
                  <a:pt x="816" y="388"/>
                  <a:pt x="815" y="387"/>
                </a:cubicBezTo>
                <a:cubicBezTo>
                  <a:pt x="815" y="388"/>
                  <a:pt x="815" y="388"/>
                  <a:pt x="815" y="389"/>
                </a:cubicBezTo>
                <a:cubicBezTo>
                  <a:pt x="815" y="389"/>
                  <a:pt x="815" y="389"/>
                  <a:pt x="815" y="390"/>
                </a:cubicBezTo>
                <a:cubicBezTo>
                  <a:pt x="815" y="390"/>
                  <a:pt x="815" y="390"/>
                  <a:pt x="815" y="391"/>
                </a:cubicBezTo>
                <a:cubicBezTo>
                  <a:pt x="814" y="390"/>
                  <a:pt x="815" y="389"/>
                  <a:pt x="815" y="389"/>
                </a:cubicBezTo>
                <a:cubicBezTo>
                  <a:pt x="814" y="389"/>
                  <a:pt x="814" y="387"/>
                  <a:pt x="814" y="387"/>
                </a:cubicBezTo>
                <a:cubicBezTo>
                  <a:pt x="814" y="387"/>
                  <a:pt x="814" y="387"/>
                  <a:pt x="814" y="389"/>
                </a:cubicBezTo>
                <a:cubicBezTo>
                  <a:pt x="814" y="389"/>
                  <a:pt x="813" y="389"/>
                  <a:pt x="813" y="391"/>
                </a:cubicBezTo>
                <a:cubicBezTo>
                  <a:pt x="813" y="391"/>
                  <a:pt x="813" y="390"/>
                  <a:pt x="813" y="391"/>
                </a:cubicBezTo>
                <a:cubicBezTo>
                  <a:pt x="813" y="391"/>
                  <a:pt x="813" y="391"/>
                  <a:pt x="813" y="391"/>
                </a:cubicBezTo>
                <a:cubicBezTo>
                  <a:pt x="812" y="391"/>
                  <a:pt x="812" y="395"/>
                  <a:pt x="811" y="395"/>
                </a:cubicBezTo>
                <a:cubicBezTo>
                  <a:pt x="812" y="396"/>
                  <a:pt x="812" y="395"/>
                  <a:pt x="812" y="396"/>
                </a:cubicBezTo>
                <a:cubicBezTo>
                  <a:pt x="812" y="395"/>
                  <a:pt x="813" y="396"/>
                  <a:pt x="812" y="395"/>
                </a:cubicBezTo>
                <a:cubicBezTo>
                  <a:pt x="812" y="395"/>
                  <a:pt x="812" y="395"/>
                  <a:pt x="812" y="395"/>
                </a:cubicBezTo>
                <a:cubicBezTo>
                  <a:pt x="812" y="393"/>
                  <a:pt x="813" y="393"/>
                  <a:pt x="813" y="392"/>
                </a:cubicBezTo>
                <a:cubicBezTo>
                  <a:pt x="813" y="393"/>
                  <a:pt x="813" y="393"/>
                  <a:pt x="813" y="393"/>
                </a:cubicBezTo>
                <a:cubicBezTo>
                  <a:pt x="814" y="394"/>
                  <a:pt x="813" y="394"/>
                  <a:pt x="813" y="394"/>
                </a:cubicBezTo>
                <a:cubicBezTo>
                  <a:pt x="813" y="395"/>
                  <a:pt x="813" y="397"/>
                  <a:pt x="813" y="397"/>
                </a:cubicBezTo>
                <a:cubicBezTo>
                  <a:pt x="813" y="397"/>
                  <a:pt x="812" y="396"/>
                  <a:pt x="812" y="396"/>
                </a:cubicBezTo>
                <a:cubicBezTo>
                  <a:pt x="812" y="396"/>
                  <a:pt x="812" y="397"/>
                  <a:pt x="812" y="398"/>
                </a:cubicBezTo>
                <a:cubicBezTo>
                  <a:pt x="812" y="398"/>
                  <a:pt x="812" y="398"/>
                  <a:pt x="812" y="398"/>
                </a:cubicBezTo>
                <a:cubicBezTo>
                  <a:pt x="812" y="399"/>
                  <a:pt x="812" y="401"/>
                  <a:pt x="811" y="402"/>
                </a:cubicBezTo>
                <a:cubicBezTo>
                  <a:pt x="811" y="402"/>
                  <a:pt x="811" y="401"/>
                  <a:pt x="811" y="401"/>
                </a:cubicBezTo>
                <a:cubicBezTo>
                  <a:pt x="811" y="402"/>
                  <a:pt x="811" y="402"/>
                  <a:pt x="811" y="402"/>
                </a:cubicBezTo>
                <a:cubicBezTo>
                  <a:pt x="811" y="402"/>
                  <a:pt x="811" y="402"/>
                  <a:pt x="811" y="402"/>
                </a:cubicBezTo>
                <a:cubicBezTo>
                  <a:pt x="811" y="402"/>
                  <a:pt x="811" y="402"/>
                  <a:pt x="810" y="401"/>
                </a:cubicBezTo>
                <a:cubicBezTo>
                  <a:pt x="810" y="402"/>
                  <a:pt x="810" y="401"/>
                  <a:pt x="810" y="401"/>
                </a:cubicBezTo>
                <a:cubicBezTo>
                  <a:pt x="810" y="402"/>
                  <a:pt x="810" y="402"/>
                  <a:pt x="810" y="402"/>
                </a:cubicBezTo>
                <a:cubicBezTo>
                  <a:pt x="810" y="402"/>
                  <a:pt x="810" y="402"/>
                  <a:pt x="809" y="401"/>
                </a:cubicBezTo>
                <a:cubicBezTo>
                  <a:pt x="810" y="401"/>
                  <a:pt x="810" y="401"/>
                  <a:pt x="809" y="401"/>
                </a:cubicBezTo>
                <a:cubicBezTo>
                  <a:pt x="809" y="401"/>
                  <a:pt x="809" y="400"/>
                  <a:pt x="809" y="401"/>
                </a:cubicBezTo>
                <a:cubicBezTo>
                  <a:pt x="809" y="401"/>
                  <a:pt x="809" y="402"/>
                  <a:pt x="809" y="402"/>
                </a:cubicBezTo>
                <a:cubicBezTo>
                  <a:pt x="808" y="400"/>
                  <a:pt x="808" y="401"/>
                  <a:pt x="807" y="400"/>
                </a:cubicBezTo>
                <a:cubicBezTo>
                  <a:pt x="807" y="400"/>
                  <a:pt x="807" y="400"/>
                  <a:pt x="807" y="399"/>
                </a:cubicBezTo>
                <a:cubicBezTo>
                  <a:pt x="806" y="397"/>
                  <a:pt x="804" y="397"/>
                  <a:pt x="802" y="394"/>
                </a:cubicBezTo>
                <a:cubicBezTo>
                  <a:pt x="802" y="394"/>
                  <a:pt x="802" y="395"/>
                  <a:pt x="802" y="395"/>
                </a:cubicBezTo>
                <a:cubicBezTo>
                  <a:pt x="801" y="394"/>
                  <a:pt x="802" y="395"/>
                  <a:pt x="801" y="394"/>
                </a:cubicBezTo>
                <a:cubicBezTo>
                  <a:pt x="801" y="393"/>
                  <a:pt x="802" y="394"/>
                  <a:pt x="801" y="394"/>
                </a:cubicBezTo>
                <a:cubicBezTo>
                  <a:pt x="801" y="394"/>
                  <a:pt x="801" y="394"/>
                  <a:pt x="801" y="393"/>
                </a:cubicBezTo>
                <a:cubicBezTo>
                  <a:pt x="800" y="393"/>
                  <a:pt x="800" y="392"/>
                  <a:pt x="799" y="392"/>
                </a:cubicBezTo>
                <a:cubicBezTo>
                  <a:pt x="799" y="393"/>
                  <a:pt x="800" y="393"/>
                  <a:pt x="799" y="393"/>
                </a:cubicBezTo>
                <a:cubicBezTo>
                  <a:pt x="799" y="393"/>
                  <a:pt x="799" y="393"/>
                  <a:pt x="799" y="393"/>
                </a:cubicBezTo>
                <a:cubicBezTo>
                  <a:pt x="798" y="392"/>
                  <a:pt x="798" y="392"/>
                  <a:pt x="797" y="391"/>
                </a:cubicBezTo>
                <a:cubicBezTo>
                  <a:pt x="797" y="391"/>
                  <a:pt x="798" y="392"/>
                  <a:pt x="798" y="392"/>
                </a:cubicBezTo>
                <a:cubicBezTo>
                  <a:pt x="798" y="391"/>
                  <a:pt x="798" y="391"/>
                  <a:pt x="798" y="391"/>
                </a:cubicBezTo>
                <a:cubicBezTo>
                  <a:pt x="797" y="391"/>
                  <a:pt x="796" y="390"/>
                  <a:pt x="796" y="389"/>
                </a:cubicBezTo>
                <a:cubicBezTo>
                  <a:pt x="796" y="390"/>
                  <a:pt x="797" y="391"/>
                  <a:pt x="797" y="391"/>
                </a:cubicBezTo>
                <a:cubicBezTo>
                  <a:pt x="797" y="391"/>
                  <a:pt x="797" y="391"/>
                  <a:pt x="797" y="392"/>
                </a:cubicBezTo>
                <a:cubicBezTo>
                  <a:pt x="796" y="390"/>
                  <a:pt x="797" y="391"/>
                  <a:pt x="796" y="391"/>
                </a:cubicBezTo>
                <a:cubicBezTo>
                  <a:pt x="796" y="390"/>
                  <a:pt x="795" y="389"/>
                  <a:pt x="795" y="389"/>
                </a:cubicBezTo>
                <a:cubicBezTo>
                  <a:pt x="795" y="390"/>
                  <a:pt x="795" y="390"/>
                  <a:pt x="795" y="390"/>
                </a:cubicBezTo>
                <a:cubicBezTo>
                  <a:pt x="795" y="390"/>
                  <a:pt x="795" y="390"/>
                  <a:pt x="794" y="389"/>
                </a:cubicBezTo>
                <a:cubicBezTo>
                  <a:pt x="794" y="389"/>
                  <a:pt x="794" y="389"/>
                  <a:pt x="793" y="388"/>
                </a:cubicBezTo>
                <a:cubicBezTo>
                  <a:pt x="793" y="388"/>
                  <a:pt x="792" y="387"/>
                  <a:pt x="791" y="387"/>
                </a:cubicBezTo>
                <a:cubicBezTo>
                  <a:pt x="790" y="386"/>
                  <a:pt x="791" y="387"/>
                  <a:pt x="790" y="387"/>
                </a:cubicBezTo>
                <a:cubicBezTo>
                  <a:pt x="790" y="386"/>
                  <a:pt x="790" y="386"/>
                  <a:pt x="790" y="385"/>
                </a:cubicBezTo>
                <a:cubicBezTo>
                  <a:pt x="789" y="386"/>
                  <a:pt x="788" y="384"/>
                  <a:pt x="787" y="385"/>
                </a:cubicBezTo>
                <a:cubicBezTo>
                  <a:pt x="787" y="384"/>
                  <a:pt x="786" y="385"/>
                  <a:pt x="786" y="384"/>
                </a:cubicBezTo>
                <a:cubicBezTo>
                  <a:pt x="787" y="383"/>
                  <a:pt x="784" y="382"/>
                  <a:pt x="783" y="382"/>
                </a:cubicBezTo>
                <a:cubicBezTo>
                  <a:pt x="783" y="381"/>
                  <a:pt x="784" y="382"/>
                  <a:pt x="784" y="382"/>
                </a:cubicBezTo>
                <a:cubicBezTo>
                  <a:pt x="784" y="381"/>
                  <a:pt x="784" y="381"/>
                  <a:pt x="783" y="380"/>
                </a:cubicBezTo>
                <a:cubicBezTo>
                  <a:pt x="783" y="381"/>
                  <a:pt x="783" y="381"/>
                  <a:pt x="783" y="380"/>
                </a:cubicBezTo>
                <a:cubicBezTo>
                  <a:pt x="783" y="381"/>
                  <a:pt x="783" y="381"/>
                  <a:pt x="782" y="381"/>
                </a:cubicBezTo>
                <a:cubicBezTo>
                  <a:pt x="782" y="380"/>
                  <a:pt x="783" y="381"/>
                  <a:pt x="783" y="380"/>
                </a:cubicBezTo>
                <a:cubicBezTo>
                  <a:pt x="782" y="379"/>
                  <a:pt x="782" y="379"/>
                  <a:pt x="782" y="378"/>
                </a:cubicBezTo>
                <a:cubicBezTo>
                  <a:pt x="782" y="379"/>
                  <a:pt x="782" y="379"/>
                  <a:pt x="781" y="379"/>
                </a:cubicBezTo>
                <a:cubicBezTo>
                  <a:pt x="781" y="379"/>
                  <a:pt x="780" y="378"/>
                  <a:pt x="780" y="377"/>
                </a:cubicBezTo>
                <a:cubicBezTo>
                  <a:pt x="780" y="378"/>
                  <a:pt x="781" y="379"/>
                  <a:pt x="781" y="380"/>
                </a:cubicBezTo>
                <a:cubicBezTo>
                  <a:pt x="780" y="379"/>
                  <a:pt x="780" y="377"/>
                  <a:pt x="779" y="378"/>
                </a:cubicBezTo>
                <a:cubicBezTo>
                  <a:pt x="780" y="379"/>
                  <a:pt x="779" y="379"/>
                  <a:pt x="780" y="381"/>
                </a:cubicBezTo>
                <a:cubicBezTo>
                  <a:pt x="780" y="380"/>
                  <a:pt x="779" y="380"/>
                  <a:pt x="779" y="379"/>
                </a:cubicBezTo>
                <a:cubicBezTo>
                  <a:pt x="779" y="379"/>
                  <a:pt x="779" y="379"/>
                  <a:pt x="779" y="379"/>
                </a:cubicBezTo>
                <a:cubicBezTo>
                  <a:pt x="779" y="378"/>
                  <a:pt x="779" y="378"/>
                  <a:pt x="778" y="377"/>
                </a:cubicBezTo>
                <a:cubicBezTo>
                  <a:pt x="778" y="377"/>
                  <a:pt x="779" y="377"/>
                  <a:pt x="778" y="376"/>
                </a:cubicBezTo>
                <a:cubicBezTo>
                  <a:pt x="778" y="376"/>
                  <a:pt x="778" y="376"/>
                  <a:pt x="778" y="376"/>
                </a:cubicBezTo>
                <a:cubicBezTo>
                  <a:pt x="778" y="376"/>
                  <a:pt x="778" y="376"/>
                  <a:pt x="778" y="376"/>
                </a:cubicBezTo>
                <a:cubicBezTo>
                  <a:pt x="777" y="376"/>
                  <a:pt x="777" y="375"/>
                  <a:pt x="776" y="376"/>
                </a:cubicBezTo>
                <a:cubicBezTo>
                  <a:pt x="776" y="375"/>
                  <a:pt x="775" y="374"/>
                  <a:pt x="775" y="375"/>
                </a:cubicBezTo>
                <a:cubicBezTo>
                  <a:pt x="775" y="374"/>
                  <a:pt x="775" y="374"/>
                  <a:pt x="775" y="374"/>
                </a:cubicBezTo>
                <a:cubicBezTo>
                  <a:pt x="774" y="375"/>
                  <a:pt x="774" y="374"/>
                  <a:pt x="774" y="374"/>
                </a:cubicBezTo>
                <a:cubicBezTo>
                  <a:pt x="773" y="373"/>
                  <a:pt x="774" y="373"/>
                  <a:pt x="773" y="373"/>
                </a:cubicBezTo>
                <a:cubicBezTo>
                  <a:pt x="773" y="373"/>
                  <a:pt x="772" y="373"/>
                  <a:pt x="772" y="372"/>
                </a:cubicBezTo>
                <a:cubicBezTo>
                  <a:pt x="772" y="372"/>
                  <a:pt x="773" y="373"/>
                  <a:pt x="773" y="372"/>
                </a:cubicBezTo>
                <a:cubicBezTo>
                  <a:pt x="772" y="372"/>
                  <a:pt x="772" y="371"/>
                  <a:pt x="772" y="371"/>
                </a:cubicBezTo>
                <a:cubicBezTo>
                  <a:pt x="771" y="371"/>
                  <a:pt x="771" y="371"/>
                  <a:pt x="770" y="371"/>
                </a:cubicBezTo>
                <a:cubicBezTo>
                  <a:pt x="770" y="370"/>
                  <a:pt x="768" y="371"/>
                  <a:pt x="767" y="369"/>
                </a:cubicBezTo>
                <a:cubicBezTo>
                  <a:pt x="767" y="369"/>
                  <a:pt x="767" y="369"/>
                  <a:pt x="767" y="369"/>
                </a:cubicBezTo>
                <a:cubicBezTo>
                  <a:pt x="766" y="368"/>
                  <a:pt x="767" y="368"/>
                  <a:pt x="766" y="367"/>
                </a:cubicBezTo>
                <a:cubicBezTo>
                  <a:pt x="766" y="367"/>
                  <a:pt x="766" y="368"/>
                  <a:pt x="766" y="368"/>
                </a:cubicBezTo>
                <a:cubicBezTo>
                  <a:pt x="765" y="368"/>
                  <a:pt x="765" y="367"/>
                  <a:pt x="764" y="367"/>
                </a:cubicBezTo>
                <a:cubicBezTo>
                  <a:pt x="764" y="366"/>
                  <a:pt x="764" y="367"/>
                  <a:pt x="764" y="367"/>
                </a:cubicBezTo>
                <a:cubicBezTo>
                  <a:pt x="764" y="366"/>
                  <a:pt x="763" y="365"/>
                  <a:pt x="762" y="366"/>
                </a:cubicBezTo>
                <a:cubicBezTo>
                  <a:pt x="762" y="365"/>
                  <a:pt x="762" y="365"/>
                  <a:pt x="761" y="365"/>
                </a:cubicBezTo>
                <a:cubicBezTo>
                  <a:pt x="761" y="364"/>
                  <a:pt x="761" y="364"/>
                  <a:pt x="761" y="364"/>
                </a:cubicBezTo>
                <a:cubicBezTo>
                  <a:pt x="760" y="364"/>
                  <a:pt x="761" y="363"/>
                  <a:pt x="760" y="364"/>
                </a:cubicBezTo>
                <a:cubicBezTo>
                  <a:pt x="760" y="364"/>
                  <a:pt x="760" y="364"/>
                  <a:pt x="760" y="364"/>
                </a:cubicBezTo>
                <a:cubicBezTo>
                  <a:pt x="760" y="364"/>
                  <a:pt x="760" y="364"/>
                  <a:pt x="760" y="363"/>
                </a:cubicBezTo>
                <a:cubicBezTo>
                  <a:pt x="760" y="363"/>
                  <a:pt x="760" y="363"/>
                  <a:pt x="760" y="363"/>
                </a:cubicBezTo>
                <a:cubicBezTo>
                  <a:pt x="760" y="363"/>
                  <a:pt x="760" y="363"/>
                  <a:pt x="759" y="363"/>
                </a:cubicBezTo>
                <a:cubicBezTo>
                  <a:pt x="759" y="363"/>
                  <a:pt x="760" y="363"/>
                  <a:pt x="760" y="363"/>
                </a:cubicBezTo>
                <a:cubicBezTo>
                  <a:pt x="759" y="363"/>
                  <a:pt x="759" y="363"/>
                  <a:pt x="759" y="364"/>
                </a:cubicBezTo>
                <a:cubicBezTo>
                  <a:pt x="759" y="363"/>
                  <a:pt x="759" y="364"/>
                  <a:pt x="759" y="363"/>
                </a:cubicBezTo>
                <a:cubicBezTo>
                  <a:pt x="759" y="363"/>
                  <a:pt x="759" y="363"/>
                  <a:pt x="759" y="363"/>
                </a:cubicBezTo>
                <a:cubicBezTo>
                  <a:pt x="759" y="363"/>
                  <a:pt x="759" y="363"/>
                  <a:pt x="759" y="363"/>
                </a:cubicBezTo>
                <a:cubicBezTo>
                  <a:pt x="759" y="362"/>
                  <a:pt x="759" y="362"/>
                  <a:pt x="758" y="362"/>
                </a:cubicBezTo>
                <a:cubicBezTo>
                  <a:pt x="758" y="363"/>
                  <a:pt x="759" y="362"/>
                  <a:pt x="759" y="363"/>
                </a:cubicBezTo>
                <a:cubicBezTo>
                  <a:pt x="758" y="363"/>
                  <a:pt x="758" y="362"/>
                  <a:pt x="757" y="363"/>
                </a:cubicBezTo>
                <a:cubicBezTo>
                  <a:pt x="758" y="363"/>
                  <a:pt x="757" y="363"/>
                  <a:pt x="758" y="362"/>
                </a:cubicBezTo>
                <a:cubicBezTo>
                  <a:pt x="758" y="362"/>
                  <a:pt x="758" y="362"/>
                  <a:pt x="758" y="362"/>
                </a:cubicBezTo>
                <a:cubicBezTo>
                  <a:pt x="758" y="362"/>
                  <a:pt x="758" y="361"/>
                  <a:pt x="757" y="361"/>
                </a:cubicBezTo>
                <a:cubicBezTo>
                  <a:pt x="758" y="361"/>
                  <a:pt x="758" y="362"/>
                  <a:pt x="757" y="362"/>
                </a:cubicBezTo>
                <a:cubicBezTo>
                  <a:pt x="757" y="362"/>
                  <a:pt x="757" y="362"/>
                  <a:pt x="756" y="362"/>
                </a:cubicBezTo>
                <a:cubicBezTo>
                  <a:pt x="756" y="361"/>
                  <a:pt x="755" y="362"/>
                  <a:pt x="755" y="361"/>
                </a:cubicBezTo>
                <a:cubicBezTo>
                  <a:pt x="755" y="361"/>
                  <a:pt x="755" y="361"/>
                  <a:pt x="754" y="361"/>
                </a:cubicBezTo>
                <a:cubicBezTo>
                  <a:pt x="755" y="360"/>
                  <a:pt x="754" y="361"/>
                  <a:pt x="754" y="360"/>
                </a:cubicBezTo>
                <a:cubicBezTo>
                  <a:pt x="754" y="360"/>
                  <a:pt x="754" y="360"/>
                  <a:pt x="755" y="360"/>
                </a:cubicBezTo>
                <a:cubicBezTo>
                  <a:pt x="754" y="359"/>
                  <a:pt x="755" y="360"/>
                  <a:pt x="755" y="360"/>
                </a:cubicBezTo>
                <a:cubicBezTo>
                  <a:pt x="755" y="359"/>
                  <a:pt x="755" y="359"/>
                  <a:pt x="755" y="359"/>
                </a:cubicBezTo>
                <a:cubicBezTo>
                  <a:pt x="754" y="360"/>
                  <a:pt x="754" y="359"/>
                  <a:pt x="753" y="360"/>
                </a:cubicBezTo>
                <a:cubicBezTo>
                  <a:pt x="753" y="359"/>
                  <a:pt x="753" y="359"/>
                  <a:pt x="754" y="359"/>
                </a:cubicBezTo>
                <a:cubicBezTo>
                  <a:pt x="754" y="359"/>
                  <a:pt x="754" y="359"/>
                  <a:pt x="754" y="359"/>
                </a:cubicBezTo>
                <a:cubicBezTo>
                  <a:pt x="754" y="359"/>
                  <a:pt x="753" y="359"/>
                  <a:pt x="753" y="358"/>
                </a:cubicBezTo>
                <a:cubicBezTo>
                  <a:pt x="753" y="358"/>
                  <a:pt x="752" y="358"/>
                  <a:pt x="752" y="357"/>
                </a:cubicBezTo>
                <a:cubicBezTo>
                  <a:pt x="752" y="357"/>
                  <a:pt x="751" y="358"/>
                  <a:pt x="751" y="357"/>
                </a:cubicBezTo>
                <a:cubicBezTo>
                  <a:pt x="751" y="357"/>
                  <a:pt x="751" y="357"/>
                  <a:pt x="752" y="357"/>
                </a:cubicBezTo>
                <a:cubicBezTo>
                  <a:pt x="751" y="357"/>
                  <a:pt x="750" y="356"/>
                  <a:pt x="750" y="356"/>
                </a:cubicBezTo>
                <a:cubicBezTo>
                  <a:pt x="749" y="357"/>
                  <a:pt x="750" y="356"/>
                  <a:pt x="750" y="356"/>
                </a:cubicBezTo>
                <a:cubicBezTo>
                  <a:pt x="749" y="357"/>
                  <a:pt x="749" y="357"/>
                  <a:pt x="749" y="357"/>
                </a:cubicBezTo>
                <a:cubicBezTo>
                  <a:pt x="749" y="356"/>
                  <a:pt x="749" y="356"/>
                  <a:pt x="749" y="356"/>
                </a:cubicBezTo>
                <a:cubicBezTo>
                  <a:pt x="748" y="356"/>
                  <a:pt x="748" y="356"/>
                  <a:pt x="747" y="356"/>
                </a:cubicBezTo>
                <a:cubicBezTo>
                  <a:pt x="747" y="355"/>
                  <a:pt x="748" y="355"/>
                  <a:pt x="747" y="355"/>
                </a:cubicBezTo>
                <a:cubicBezTo>
                  <a:pt x="747" y="355"/>
                  <a:pt x="748" y="356"/>
                  <a:pt x="747" y="356"/>
                </a:cubicBezTo>
                <a:cubicBezTo>
                  <a:pt x="747" y="356"/>
                  <a:pt x="747" y="354"/>
                  <a:pt x="746" y="354"/>
                </a:cubicBezTo>
                <a:cubicBezTo>
                  <a:pt x="746" y="355"/>
                  <a:pt x="746" y="355"/>
                  <a:pt x="746" y="355"/>
                </a:cubicBezTo>
                <a:cubicBezTo>
                  <a:pt x="746" y="354"/>
                  <a:pt x="746" y="354"/>
                  <a:pt x="746" y="354"/>
                </a:cubicBezTo>
                <a:cubicBezTo>
                  <a:pt x="745" y="354"/>
                  <a:pt x="745" y="354"/>
                  <a:pt x="745" y="354"/>
                </a:cubicBezTo>
                <a:cubicBezTo>
                  <a:pt x="745" y="354"/>
                  <a:pt x="745" y="354"/>
                  <a:pt x="745" y="354"/>
                </a:cubicBezTo>
                <a:cubicBezTo>
                  <a:pt x="744" y="354"/>
                  <a:pt x="745" y="354"/>
                  <a:pt x="745" y="354"/>
                </a:cubicBezTo>
                <a:cubicBezTo>
                  <a:pt x="744" y="354"/>
                  <a:pt x="744" y="354"/>
                  <a:pt x="744" y="353"/>
                </a:cubicBezTo>
                <a:cubicBezTo>
                  <a:pt x="743" y="353"/>
                  <a:pt x="743" y="354"/>
                  <a:pt x="743" y="354"/>
                </a:cubicBezTo>
                <a:cubicBezTo>
                  <a:pt x="743" y="353"/>
                  <a:pt x="743" y="353"/>
                  <a:pt x="742" y="353"/>
                </a:cubicBezTo>
                <a:cubicBezTo>
                  <a:pt x="743" y="353"/>
                  <a:pt x="743" y="353"/>
                  <a:pt x="743" y="353"/>
                </a:cubicBezTo>
                <a:cubicBezTo>
                  <a:pt x="742" y="352"/>
                  <a:pt x="741" y="352"/>
                  <a:pt x="739" y="351"/>
                </a:cubicBezTo>
                <a:cubicBezTo>
                  <a:pt x="739" y="351"/>
                  <a:pt x="739" y="351"/>
                  <a:pt x="739" y="351"/>
                </a:cubicBezTo>
                <a:cubicBezTo>
                  <a:pt x="739" y="351"/>
                  <a:pt x="739" y="351"/>
                  <a:pt x="739" y="351"/>
                </a:cubicBezTo>
                <a:cubicBezTo>
                  <a:pt x="739" y="351"/>
                  <a:pt x="739" y="351"/>
                  <a:pt x="739" y="350"/>
                </a:cubicBezTo>
                <a:cubicBezTo>
                  <a:pt x="739" y="350"/>
                  <a:pt x="739" y="350"/>
                  <a:pt x="738" y="350"/>
                </a:cubicBezTo>
                <a:cubicBezTo>
                  <a:pt x="738" y="350"/>
                  <a:pt x="738" y="350"/>
                  <a:pt x="738" y="349"/>
                </a:cubicBezTo>
                <a:cubicBezTo>
                  <a:pt x="737" y="350"/>
                  <a:pt x="737" y="349"/>
                  <a:pt x="737" y="349"/>
                </a:cubicBezTo>
                <a:cubicBezTo>
                  <a:pt x="737" y="349"/>
                  <a:pt x="737" y="349"/>
                  <a:pt x="737" y="349"/>
                </a:cubicBezTo>
                <a:cubicBezTo>
                  <a:pt x="737" y="349"/>
                  <a:pt x="737" y="349"/>
                  <a:pt x="737" y="350"/>
                </a:cubicBezTo>
                <a:cubicBezTo>
                  <a:pt x="737" y="350"/>
                  <a:pt x="736" y="350"/>
                  <a:pt x="736" y="350"/>
                </a:cubicBezTo>
                <a:cubicBezTo>
                  <a:pt x="736" y="349"/>
                  <a:pt x="736" y="350"/>
                  <a:pt x="736" y="349"/>
                </a:cubicBezTo>
                <a:cubicBezTo>
                  <a:pt x="735" y="349"/>
                  <a:pt x="733" y="349"/>
                  <a:pt x="732" y="348"/>
                </a:cubicBezTo>
                <a:cubicBezTo>
                  <a:pt x="732" y="349"/>
                  <a:pt x="732" y="348"/>
                  <a:pt x="732" y="348"/>
                </a:cubicBezTo>
                <a:cubicBezTo>
                  <a:pt x="732" y="347"/>
                  <a:pt x="733" y="348"/>
                  <a:pt x="733" y="348"/>
                </a:cubicBezTo>
                <a:cubicBezTo>
                  <a:pt x="732" y="347"/>
                  <a:pt x="732" y="347"/>
                  <a:pt x="731" y="347"/>
                </a:cubicBezTo>
                <a:cubicBezTo>
                  <a:pt x="731" y="346"/>
                  <a:pt x="731" y="346"/>
                  <a:pt x="731" y="347"/>
                </a:cubicBezTo>
                <a:cubicBezTo>
                  <a:pt x="731" y="346"/>
                  <a:pt x="732" y="347"/>
                  <a:pt x="732" y="346"/>
                </a:cubicBezTo>
                <a:cubicBezTo>
                  <a:pt x="732" y="346"/>
                  <a:pt x="731" y="346"/>
                  <a:pt x="730" y="346"/>
                </a:cubicBezTo>
                <a:cubicBezTo>
                  <a:pt x="730" y="346"/>
                  <a:pt x="730" y="346"/>
                  <a:pt x="730" y="346"/>
                </a:cubicBezTo>
                <a:cubicBezTo>
                  <a:pt x="729" y="346"/>
                  <a:pt x="728" y="345"/>
                  <a:pt x="726" y="346"/>
                </a:cubicBezTo>
                <a:cubicBezTo>
                  <a:pt x="726" y="346"/>
                  <a:pt x="727" y="345"/>
                  <a:pt x="727" y="345"/>
                </a:cubicBezTo>
                <a:cubicBezTo>
                  <a:pt x="727" y="345"/>
                  <a:pt x="727" y="346"/>
                  <a:pt x="727" y="346"/>
                </a:cubicBezTo>
                <a:cubicBezTo>
                  <a:pt x="727" y="346"/>
                  <a:pt x="727" y="346"/>
                  <a:pt x="727" y="345"/>
                </a:cubicBezTo>
                <a:cubicBezTo>
                  <a:pt x="727" y="345"/>
                  <a:pt x="727" y="345"/>
                  <a:pt x="727" y="345"/>
                </a:cubicBezTo>
                <a:cubicBezTo>
                  <a:pt x="726" y="345"/>
                  <a:pt x="726" y="345"/>
                  <a:pt x="726" y="345"/>
                </a:cubicBezTo>
                <a:cubicBezTo>
                  <a:pt x="726" y="345"/>
                  <a:pt x="726" y="345"/>
                  <a:pt x="726" y="345"/>
                </a:cubicBezTo>
                <a:cubicBezTo>
                  <a:pt x="726" y="345"/>
                  <a:pt x="726" y="345"/>
                  <a:pt x="726" y="345"/>
                </a:cubicBezTo>
                <a:cubicBezTo>
                  <a:pt x="726" y="345"/>
                  <a:pt x="726" y="345"/>
                  <a:pt x="726" y="345"/>
                </a:cubicBezTo>
                <a:cubicBezTo>
                  <a:pt x="726" y="345"/>
                  <a:pt x="726" y="346"/>
                  <a:pt x="726" y="346"/>
                </a:cubicBezTo>
                <a:cubicBezTo>
                  <a:pt x="726" y="346"/>
                  <a:pt x="727" y="346"/>
                  <a:pt x="726" y="346"/>
                </a:cubicBezTo>
                <a:cubicBezTo>
                  <a:pt x="726" y="346"/>
                  <a:pt x="726" y="346"/>
                  <a:pt x="726" y="346"/>
                </a:cubicBezTo>
                <a:cubicBezTo>
                  <a:pt x="725" y="345"/>
                  <a:pt x="725" y="346"/>
                  <a:pt x="724" y="346"/>
                </a:cubicBezTo>
                <a:cubicBezTo>
                  <a:pt x="725" y="345"/>
                  <a:pt x="726" y="345"/>
                  <a:pt x="726" y="344"/>
                </a:cubicBezTo>
                <a:cubicBezTo>
                  <a:pt x="725" y="344"/>
                  <a:pt x="724" y="344"/>
                  <a:pt x="724" y="344"/>
                </a:cubicBezTo>
                <a:cubicBezTo>
                  <a:pt x="724" y="343"/>
                  <a:pt x="724" y="344"/>
                  <a:pt x="723" y="343"/>
                </a:cubicBezTo>
                <a:cubicBezTo>
                  <a:pt x="723" y="344"/>
                  <a:pt x="722" y="344"/>
                  <a:pt x="722" y="343"/>
                </a:cubicBezTo>
                <a:cubicBezTo>
                  <a:pt x="722" y="343"/>
                  <a:pt x="723" y="343"/>
                  <a:pt x="723" y="343"/>
                </a:cubicBezTo>
                <a:cubicBezTo>
                  <a:pt x="723" y="343"/>
                  <a:pt x="722" y="343"/>
                  <a:pt x="722" y="343"/>
                </a:cubicBezTo>
                <a:cubicBezTo>
                  <a:pt x="722" y="343"/>
                  <a:pt x="722" y="343"/>
                  <a:pt x="722" y="343"/>
                </a:cubicBezTo>
                <a:cubicBezTo>
                  <a:pt x="721" y="343"/>
                  <a:pt x="721" y="343"/>
                  <a:pt x="721" y="343"/>
                </a:cubicBezTo>
                <a:cubicBezTo>
                  <a:pt x="721" y="342"/>
                  <a:pt x="719" y="344"/>
                  <a:pt x="719" y="342"/>
                </a:cubicBezTo>
                <a:cubicBezTo>
                  <a:pt x="719" y="342"/>
                  <a:pt x="719" y="342"/>
                  <a:pt x="718" y="342"/>
                </a:cubicBezTo>
                <a:cubicBezTo>
                  <a:pt x="719" y="342"/>
                  <a:pt x="719" y="341"/>
                  <a:pt x="720" y="341"/>
                </a:cubicBezTo>
                <a:cubicBezTo>
                  <a:pt x="719" y="340"/>
                  <a:pt x="718" y="340"/>
                  <a:pt x="717" y="341"/>
                </a:cubicBezTo>
                <a:cubicBezTo>
                  <a:pt x="716" y="340"/>
                  <a:pt x="715" y="340"/>
                  <a:pt x="714" y="340"/>
                </a:cubicBezTo>
                <a:cubicBezTo>
                  <a:pt x="714" y="342"/>
                  <a:pt x="717" y="340"/>
                  <a:pt x="717" y="341"/>
                </a:cubicBezTo>
                <a:cubicBezTo>
                  <a:pt x="717" y="341"/>
                  <a:pt x="717" y="341"/>
                  <a:pt x="717" y="341"/>
                </a:cubicBezTo>
                <a:cubicBezTo>
                  <a:pt x="717" y="341"/>
                  <a:pt x="717" y="341"/>
                  <a:pt x="717" y="342"/>
                </a:cubicBezTo>
                <a:cubicBezTo>
                  <a:pt x="718" y="342"/>
                  <a:pt x="719" y="341"/>
                  <a:pt x="719" y="341"/>
                </a:cubicBezTo>
                <a:cubicBezTo>
                  <a:pt x="719" y="342"/>
                  <a:pt x="717" y="342"/>
                  <a:pt x="716" y="342"/>
                </a:cubicBezTo>
                <a:cubicBezTo>
                  <a:pt x="717" y="342"/>
                  <a:pt x="717" y="342"/>
                  <a:pt x="717" y="342"/>
                </a:cubicBezTo>
                <a:cubicBezTo>
                  <a:pt x="716" y="342"/>
                  <a:pt x="716" y="342"/>
                  <a:pt x="715" y="342"/>
                </a:cubicBezTo>
                <a:cubicBezTo>
                  <a:pt x="715" y="342"/>
                  <a:pt x="714" y="342"/>
                  <a:pt x="714" y="341"/>
                </a:cubicBezTo>
                <a:cubicBezTo>
                  <a:pt x="713" y="342"/>
                  <a:pt x="713" y="341"/>
                  <a:pt x="712" y="342"/>
                </a:cubicBezTo>
                <a:cubicBezTo>
                  <a:pt x="712" y="341"/>
                  <a:pt x="713" y="342"/>
                  <a:pt x="713" y="341"/>
                </a:cubicBezTo>
                <a:cubicBezTo>
                  <a:pt x="712" y="341"/>
                  <a:pt x="712" y="341"/>
                  <a:pt x="713" y="340"/>
                </a:cubicBezTo>
                <a:cubicBezTo>
                  <a:pt x="711" y="341"/>
                  <a:pt x="711" y="341"/>
                  <a:pt x="711" y="341"/>
                </a:cubicBezTo>
                <a:cubicBezTo>
                  <a:pt x="711" y="340"/>
                  <a:pt x="711" y="340"/>
                  <a:pt x="711" y="340"/>
                </a:cubicBezTo>
                <a:cubicBezTo>
                  <a:pt x="711" y="341"/>
                  <a:pt x="711" y="341"/>
                  <a:pt x="711" y="341"/>
                </a:cubicBezTo>
                <a:cubicBezTo>
                  <a:pt x="711" y="341"/>
                  <a:pt x="710" y="341"/>
                  <a:pt x="710" y="341"/>
                </a:cubicBezTo>
                <a:cubicBezTo>
                  <a:pt x="710" y="341"/>
                  <a:pt x="710" y="341"/>
                  <a:pt x="710" y="341"/>
                </a:cubicBezTo>
                <a:cubicBezTo>
                  <a:pt x="710" y="341"/>
                  <a:pt x="710" y="340"/>
                  <a:pt x="710" y="340"/>
                </a:cubicBezTo>
                <a:cubicBezTo>
                  <a:pt x="708" y="341"/>
                  <a:pt x="708" y="341"/>
                  <a:pt x="708" y="341"/>
                </a:cubicBezTo>
                <a:cubicBezTo>
                  <a:pt x="709" y="340"/>
                  <a:pt x="707" y="341"/>
                  <a:pt x="707" y="340"/>
                </a:cubicBezTo>
                <a:cubicBezTo>
                  <a:pt x="708" y="340"/>
                  <a:pt x="708" y="340"/>
                  <a:pt x="708" y="340"/>
                </a:cubicBezTo>
                <a:cubicBezTo>
                  <a:pt x="708" y="340"/>
                  <a:pt x="708" y="340"/>
                  <a:pt x="709" y="340"/>
                </a:cubicBezTo>
                <a:cubicBezTo>
                  <a:pt x="709" y="340"/>
                  <a:pt x="709" y="340"/>
                  <a:pt x="709" y="340"/>
                </a:cubicBezTo>
                <a:cubicBezTo>
                  <a:pt x="708" y="340"/>
                  <a:pt x="708" y="340"/>
                  <a:pt x="708" y="340"/>
                </a:cubicBezTo>
                <a:cubicBezTo>
                  <a:pt x="708" y="339"/>
                  <a:pt x="708" y="340"/>
                  <a:pt x="707" y="339"/>
                </a:cubicBezTo>
                <a:cubicBezTo>
                  <a:pt x="708" y="339"/>
                  <a:pt x="709" y="340"/>
                  <a:pt x="710" y="338"/>
                </a:cubicBezTo>
                <a:cubicBezTo>
                  <a:pt x="709" y="338"/>
                  <a:pt x="707" y="339"/>
                  <a:pt x="708" y="337"/>
                </a:cubicBezTo>
                <a:cubicBezTo>
                  <a:pt x="708" y="337"/>
                  <a:pt x="708" y="337"/>
                  <a:pt x="707" y="337"/>
                </a:cubicBezTo>
                <a:cubicBezTo>
                  <a:pt x="707" y="338"/>
                  <a:pt x="707" y="338"/>
                  <a:pt x="707" y="338"/>
                </a:cubicBezTo>
                <a:cubicBezTo>
                  <a:pt x="706" y="337"/>
                  <a:pt x="705" y="337"/>
                  <a:pt x="704" y="336"/>
                </a:cubicBezTo>
                <a:cubicBezTo>
                  <a:pt x="704" y="336"/>
                  <a:pt x="704" y="337"/>
                  <a:pt x="704" y="337"/>
                </a:cubicBezTo>
                <a:cubicBezTo>
                  <a:pt x="704" y="336"/>
                  <a:pt x="703" y="337"/>
                  <a:pt x="703" y="336"/>
                </a:cubicBezTo>
                <a:cubicBezTo>
                  <a:pt x="704" y="336"/>
                  <a:pt x="704" y="336"/>
                  <a:pt x="704" y="336"/>
                </a:cubicBezTo>
                <a:cubicBezTo>
                  <a:pt x="703" y="336"/>
                  <a:pt x="703" y="335"/>
                  <a:pt x="703" y="335"/>
                </a:cubicBezTo>
                <a:cubicBezTo>
                  <a:pt x="702" y="335"/>
                  <a:pt x="703" y="335"/>
                  <a:pt x="703" y="334"/>
                </a:cubicBezTo>
                <a:cubicBezTo>
                  <a:pt x="703" y="335"/>
                  <a:pt x="702" y="335"/>
                  <a:pt x="702" y="335"/>
                </a:cubicBezTo>
                <a:cubicBezTo>
                  <a:pt x="702" y="334"/>
                  <a:pt x="702" y="334"/>
                  <a:pt x="702" y="334"/>
                </a:cubicBezTo>
                <a:cubicBezTo>
                  <a:pt x="702" y="334"/>
                  <a:pt x="702" y="334"/>
                  <a:pt x="702" y="334"/>
                </a:cubicBezTo>
                <a:cubicBezTo>
                  <a:pt x="702" y="334"/>
                  <a:pt x="702" y="333"/>
                  <a:pt x="702" y="333"/>
                </a:cubicBezTo>
                <a:cubicBezTo>
                  <a:pt x="702" y="333"/>
                  <a:pt x="701" y="333"/>
                  <a:pt x="701" y="333"/>
                </a:cubicBezTo>
                <a:cubicBezTo>
                  <a:pt x="701" y="332"/>
                  <a:pt x="701" y="332"/>
                  <a:pt x="701" y="332"/>
                </a:cubicBezTo>
                <a:cubicBezTo>
                  <a:pt x="701" y="332"/>
                  <a:pt x="701" y="332"/>
                  <a:pt x="702" y="332"/>
                </a:cubicBezTo>
                <a:cubicBezTo>
                  <a:pt x="701" y="333"/>
                  <a:pt x="702" y="333"/>
                  <a:pt x="702" y="333"/>
                </a:cubicBezTo>
                <a:cubicBezTo>
                  <a:pt x="702" y="332"/>
                  <a:pt x="701" y="332"/>
                  <a:pt x="701" y="332"/>
                </a:cubicBezTo>
                <a:cubicBezTo>
                  <a:pt x="701" y="332"/>
                  <a:pt x="700" y="332"/>
                  <a:pt x="701" y="331"/>
                </a:cubicBezTo>
                <a:cubicBezTo>
                  <a:pt x="700" y="332"/>
                  <a:pt x="700" y="332"/>
                  <a:pt x="700" y="331"/>
                </a:cubicBezTo>
                <a:cubicBezTo>
                  <a:pt x="701" y="331"/>
                  <a:pt x="701" y="331"/>
                  <a:pt x="701" y="330"/>
                </a:cubicBezTo>
                <a:cubicBezTo>
                  <a:pt x="701" y="330"/>
                  <a:pt x="701" y="331"/>
                  <a:pt x="702" y="331"/>
                </a:cubicBezTo>
                <a:cubicBezTo>
                  <a:pt x="702" y="330"/>
                  <a:pt x="702" y="330"/>
                  <a:pt x="702" y="330"/>
                </a:cubicBezTo>
                <a:cubicBezTo>
                  <a:pt x="701" y="330"/>
                  <a:pt x="701" y="330"/>
                  <a:pt x="700" y="330"/>
                </a:cubicBezTo>
                <a:cubicBezTo>
                  <a:pt x="700" y="330"/>
                  <a:pt x="700" y="331"/>
                  <a:pt x="699" y="330"/>
                </a:cubicBezTo>
                <a:cubicBezTo>
                  <a:pt x="700" y="330"/>
                  <a:pt x="700" y="330"/>
                  <a:pt x="700" y="330"/>
                </a:cubicBezTo>
                <a:cubicBezTo>
                  <a:pt x="700" y="330"/>
                  <a:pt x="700" y="329"/>
                  <a:pt x="700" y="329"/>
                </a:cubicBezTo>
                <a:cubicBezTo>
                  <a:pt x="700" y="329"/>
                  <a:pt x="700" y="330"/>
                  <a:pt x="699" y="330"/>
                </a:cubicBezTo>
                <a:cubicBezTo>
                  <a:pt x="700" y="330"/>
                  <a:pt x="700" y="329"/>
                  <a:pt x="700" y="329"/>
                </a:cubicBezTo>
                <a:cubicBezTo>
                  <a:pt x="699" y="329"/>
                  <a:pt x="699" y="330"/>
                  <a:pt x="699" y="330"/>
                </a:cubicBezTo>
                <a:cubicBezTo>
                  <a:pt x="699" y="329"/>
                  <a:pt x="699" y="329"/>
                  <a:pt x="699" y="329"/>
                </a:cubicBezTo>
                <a:cubicBezTo>
                  <a:pt x="699" y="329"/>
                  <a:pt x="698" y="330"/>
                  <a:pt x="698" y="330"/>
                </a:cubicBezTo>
                <a:cubicBezTo>
                  <a:pt x="698" y="329"/>
                  <a:pt x="698" y="329"/>
                  <a:pt x="698" y="329"/>
                </a:cubicBezTo>
                <a:cubicBezTo>
                  <a:pt x="698" y="329"/>
                  <a:pt x="699" y="328"/>
                  <a:pt x="698" y="329"/>
                </a:cubicBezTo>
                <a:cubicBezTo>
                  <a:pt x="698" y="329"/>
                  <a:pt x="697" y="329"/>
                  <a:pt x="697" y="329"/>
                </a:cubicBezTo>
                <a:cubicBezTo>
                  <a:pt x="696" y="329"/>
                  <a:pt x="696" y="329"/>
                  <a:pt x="696" y="330"/>
                </a:cubicBezTo>
                <a:cubicBezTo>
                  <a:pt x="696" y="329"/>
                  <a:pt x="696" y="329"/>
                  <a:pt x="696" y="330"/>
                </a:cubicBezTo>
                <a:cubicBezTo>
                  <a:pt x="696" y="329"/>
                  <a:pt x="695" y="329"/>
                  <a:pt x="695" y="329"/>
                </a:cubicBezTo>
                <a:cubicBezTo>
                  <a:pt x="696" y="329"/>
                  <a:pt x="697" y="329"/>
                  <a:pt x="697" y="329"/>
                </a:cubicBezTo>
                <a:cubicBezTo>
                  <a:pt x="697" y="329"/>
                  <a:pt x="697" y="329"/>
                  <a:pt x="697" y="328"/>
                </a:cubicBezTo>
                <a:cubicBezTo>
                  <a:pt x="696" y="328"/>
                  <a:pt x="695" y="328"/>
                  <a:pt x="693" y="328"/>
                </a:cubicBezTo>
                <a:cubicBezTo>
                  <a:pt x="693" y="328"/>
                  <a:pt x="693" y="328"/>
                  <a:pt x="693" y="327"/>
                </a:cubicBezTo>
                <a:cubicBezTo>
                  <a:pt x="694" y="327"/>
                  <a:pt x="695" y="327"/>
                  <a:pt x="696" y="326"/>
                </a:cubicBezTo>
                <a:cubicBezTo>
                  <a:pt x="696" y="326"/>
                  <a:pt x="696" y="326"/>
                  <a:pt x="696" y="326"/>
                </a:cubicBezTo>
                <a:cubicBezTo>
                  <a:pt x="694" y="326"/>
                  <a:pt x="693" y="327"/>
                  <a:pt x="693" y="326"/>
                </a:cubicBezTo>
                <a:cubicBezTo>
                  <a:pt x="692" y="326"/>
                  <a:pt x="691" y="326"/>
                  <a:pt x="691" y="325"/>
                </a:cubicBezTo>
                <a:cubicBezTo>
                  <a:pt x="690" y="325"/>
                  <a:pt x="690" y="325"/>
                  <a:pt x="690" y="325"/>
                </a:cubicBezTo>
                <a:cubicBezTo>
                  <a:pt x="690" y="325"/>
                  <a:pt x="691" y="325"/>
                  <a:pt x="691" y="324"/>
                </a:cubicBezTo>
                <a:cubicBezTo>
                  <a:pt x="690" y="324"/>
                  <a:pt x="690" y="324"/>
                  <a:pt x="690" y="324"/>
                </a:cubicBezTo>
                <a:cubicBezTo>
                  <a:pt x="690" y="324"/>
                  <a:pt x="690" y="324"/>
                  <a:pt x="690" y="324"/>
                </a:cubicBezTo>
                <a:cubicBezTo>
                  <a:pt x="690" y="324"/>
                  <a:pt x="690" y="324"/>
                  <a:pt x="690" y="324"/>
                </a:cubicBezTo>
                <a:cubicBezTo>
                  <a:pt x="690" y="325"/>
                  <a:pt x="689" y="324"/>
                  <a:pt x="689" y="324"/>
                </a:cubicBezTo>
                <a:cubicBezTo>
                  <a:pt x="689" y="323"/>
                  <a:pt x="688" y="323"/>
                  <a:pt x="688" y="322"/>
                </a:cubicBezTo>
                <a:cubicBezTo>
                  <a:pt x="688" y="321"/>
                  <a:pt x="688" y="321"/>
                  <a:pt x="688" y="320"/>
                </a:cubicBezTo>
                <a:cubicBezTo>
                  <a:pt x="689" y="319"/>
                  <a:pt x="690" y="319"/>
                  <a:pt x="692" y="319"/>
                </a:cubicBezTo>
                <a:cubicBezTo>
                  <a:pt x="692" y="319"/>
                  <a:pt x="692" y="319"/>
                  <a:pt x="691" y="319"/>
                </a:cubicBezTo>
                <a:cubicBezTo>
                  <a:pt x="692" y="320"/>
                  <a:pt x="692" y="319"/>
                  <a:pt x="693" y="320"/>
                </a:cubicBezTo>
                <a:cubicBezTo>
                  <a:pt x="694" y="318"/>
                  <a:pt x="695" y="320"/>
                  <a:pt x="696" y="320"/>
                </a:cubicBezTo>
                <a:cubicBezTo>
                  <a:pt x="697" y="321"/>
                  <a:pt x="698" y="321"/>
                  <a:pt x="699" y="321"/>
                </a:cubicBezTo>
                <a:cubicBezTo>
                  <a:pt x="699" y="320"/>
                  <a:pt x="698" y="321"/>
                  <a:pt x="699" y="320"/>
                </a:cubicBezTo>
                <a:cubicBezTo>
                  <a:pt x="699" y="320"/>
                  <a:pt x="700" y="321"/>
                  <a:pt x="700" y="320"/>
                </a:cubicBezTo>
                <a:cubicBezTo>
                  <a:pt x="701" y="321"/>
                  <a:pt x="702" y="321"/>
                  <a:pt x="702" y="321"/>
                </a:cubicBezTo>
                <a:cubicBezTo>
                  <a:pt x="703" y="321"/>
                  <a:pt x="702" y="321"/>
                  <a:pt x="702" y="321"/>
                </a:cubicBezTo>
                <a:cubicBezTo>
                  <a:pt x="703" y="321"/>
                  <a:pt x="703" y="321"/>
                  <a:pt x="703" y="321"/>
                </a:cubicBezTo>
                <a:cubicBezTo>
                  <a:pt x="703" y="322"/>
                  <a:pt x="703" y="321"/>
                  <a:pt x="703" y="321"/>
                </a:cubicBezTo>
                <a:cubicBezTo>
                  <a:pt x="703" y="322"/>
                  <a:pt x="704" y="322"/>
                  <a:pt x="704" y="321"/>
                </a:cubicBezTo>
                <a:cubicBezTo>
                  <a:pt x="705" y="322"/>
                  <a:pt x="706" y="322"/>
                  <a:pt x="707" y="323"/>
                </a:cubicBezTo>
                <a:cubicBezTo>
                  <a:pt x="707" y="322"/>
                  <a:pt x="708" y="322"/>
                  <a:pt x="709" y="322"/>
                </a:cubicBezTo>
                <a:cubicBezTo>
                  <a:pt x="709" y="322"/>
                  <a:pt x="709" y="321"/>
                  <a:pt x="710" y="321"/>
                </a:cubicBezTo>
                <a:cubicBezTo>
                  <a:pt x="709" y="321"/>
                  <a:pt x="709" y="321"/>
                  <a:pt x="709" y="321"/>
                </a:cubicBezTo>
                <a:cubicBezTo>
                  <a:pt x="709" y="321"/>
                  <a:pt x="709" y="321"/>
                  <a:pt x="708" y="322"/>
                </a:cubicBezTo>
                <a:cubicBezTo>
                  <a:pt x="708" y="321"/>
                  <a:pt x="708" y="321"/>
                  <a:pt x="707" y="321"/>
                </a:cubicBezTo>
                <a:cubicBezTo>
                  <a:pt x="707" y="321"/>
                  <a:pt x="707" y="321"/>
                  <a:pt x="707" y="320"/>
                </a:cubicBezTo>
                <a:cubicBezTo>
                  <a:pt x="707" y="321"/>
                  <a:pt x="707" y="320"/>
                  <a:pt x="706" y="320"/>
                </a:cubicBezTo>
                <a:cubicBezTo>
                  <a:pt x="706" y="320"/>
                  <a:pt x="706" y="321"/>
                  <a:pt x="706" y="321"/>
                </a:cubicBezTo>
                <a:cubicBezTo>
                  <a:pt x="706" y="320"/>
                  <a:pt x="706" y="320"/>
                  <a:pt x="706" y="320"/>
                </a:cubicBezTo>
                <a:cubicBezTo>
                  <a:pt x="706" y="320"/>
                  <a:pt x="707" y="320"/>
                  <a:pt x="708" y="319"/>
                </a:cubicBezTo>
                <a:cubicBezTo>
                  <a:pt x="707" y="319"/>
                  <a:pt x="706" y="320"/>
                  <a:pt x="706" y="319"/>
                </a:cubicBezTo>
                <a:cubicBezTo>
                  <a:pt x="706" y="319"/>
                  <a:pt x="706" y="319"/>
                  <a:pt x="706" y="318"/>
                </a:cubicBezTo>
                <a:cubicBezTo>
                  <a:pt x="706" y="318"/>
                  <a:pt x="705" y="318"/>
                  <a:pt x="705" y="318"/>
                </a:cubicBezTo>
                <a:cubicBezTo>
                  <a:pt x="705" y="318"/>
                  <a:pt x="706" y="317"/>
                  <a:pt x="706" y="317"/>
                </a:cubicBezTo>
                <a:cubicBezTo>
                  <a:pt x="706" y="317"/>
                  <a:pt x="705" y="317"/>
                  <a:pt x="705" y="316"/>
                </a:cubicBezTo>
                <a:cubicBezTo>
                  <a:pt x="705" y="316"/>
                  <a:pt x="705" y="317"/>
                  <a:pt x="705" y="317"/>
                </a:cubicBezTo>
                <a:cubicBezTo>
                  <a:pt x="704" y="316"/>
                  <a:pt x="704" y="316"/>
                  <a:pt x="704" y="315"/>
                </a:cubicBezTo>
                <a:cubicBezTo>
                  <a:pt x="704" y="315"/>
                  <a:pt x="703" y="315"/>
                  <a:pt x="703" y="314"/>
                </a:cubicBezTo>
                <a:cubicBezTo>
                  <a:pt x="705" y="314"/>
                  <a:pt x="707" y="315"/>
                  <a:pt x="709" y="315"/>
                </a:cubicBezTo>
                <a:cubicBezTo>
                  <a:pt x="709" y="316"/>
                  <a:pt x="710" y="316"/>
                  <a:pt x="711" y="315"/>
                </a:cubicBezTo>
                <a:cubicBezTo>
                  <a:pt x="711" y="316"/>
                  <a:pt x="712" y="316"/>
                  <a:pt x="713" y="316"/>
                </a:cubicBezTo>
                <a:cubicBezTo>
                  <a:pt x="712" y="316"/>
                  <a:pt x="712" y="316"/>
                  <a:pt x="711" y="316"/>
                </a:cubicBezTo>
                <a:cubicBezTo>
                  <a:pt x="712" y="316"/>
                  <a:pt x="714" y="315"/>
                  <a:pt x="714" y="316"/>
                </a:cubicBezTo>
                <a:cubicBezTo>
                  <a:pt x="714" y="315"/>
                  <a:pt x="715" y="316"/>
                  <a:pt x="715" y="316"/>
                </a:cubicBezTo>
                <a:cubicBezTo>
                  <a:pt x="715" y="316"/>
                  <a:pt x="714" y="316"/>
                  <a:pt x="714" y="316"/>
                </a:cubicBezTo>
                <a:cubicBezTo>
                  <a:pt x="714" y="316"/>
                  <a:pt x="715" y="316"/>
                  <a:pt x="716" y="316"/>
                </a:cubicBezTo>
                <a:cubicBezTo>
                  <a:pt x="716" y="316"/>
                  <a:pt x="716" y="316"/>
                  <a:pt x="716" y="316"/>
                </a:cubicBezTo>
                <a:cubicBezTo>
                  <a:pt x="716" y="316"/>
                  <a:pt x="717" y="316"/>
                  <a:pt x="716" y="317"/>
                </a:cubicBezTo>
                <a:cubicBezTo>
                  <a:pt x="717" y="317"/>
                  <a:pt x="717" y="317"/>
                  <a:pt x="717" y="317"/>
                </a:cubicBezTo>
                <a:cubicBezTo>
                  <a:pt x="717" y="316"/>
                  <a:pt x="717" y="316"/>
                  <a:pt x="718" y="316"/>
                </a:cubicBezTo>
                <a:cubicBezTo>
                  <a:pt x="718" y="316"/>
                  <a:pt x="717" y="316"/>
                  <a:pt x="717" y="316"/>
                </a:cubicBezTo>
                <a:cubicBezTo>
                  <a:pt x="717" y="316"/>
                  <a:pt x="717" y="316"/>
                  <a:pt x="717" y="316"/>
                </a:cubicBezTo>
                <a:cubicBezTo>
                  <a:pt x="717" y="316"/>
                  <a:pt x="716" y="316"/>
                  <a:pt x="716" y="316"/>
                </a:cubicBezTo>
                <a:cubicBezTo>
                  <a:pt x="717" y="316"/>
                  <a:pt x="717" y="316"/>
                  <a:pt x="717" y="316"/>
                </a:cubicBezTo>
                <a:cubicBezTo>
                  <a:pt x="717" y="315"/>
                  <a:pt x="717" y="315"/>
                  <a:pt x="717" y="315"/>
                </a:cubicBezTo>
                <a:cubicBezTo>
                  <a:pt x="717" y="315"/>
                  <a:pt x="718" y="315"/>
                  <a:pt x="718" y="314"/>
                </a:cubicBezTo>
                <a:cubicBezTo>
                  <a:pt x="717" y="315"/>
                  <a:pt x="715" y="316"/>
                  <a:pt x="716" y="314"/>
                </a:cubicBezTo>
                <a:cubicBezTo>
                  <a:pt x="715" y="314"/>
                  <a:pt x="715" y="314"/>
                  <a:pt x="715" y="314"/>
                </a:cubicBezTo>
                <a:cubicBezTo>
                  <a:pt x="715" y="315"/>
                  <a:pt x="715" y="315"/>
                  <a:pt x="715" y="315"/>
                </a:cubicBezTo>
                <a:cubicBezTo>
                  <a:pt x="715" y="315"/>
                  <a:pt x="715" y="314"/>
                  <a:pt x="714" y="314"/>
                </a:cubicBezTo>
                <a:cubicBezTo>
                  <a:pt x="712" y="314"/>
                  <a:pt x="709" y="313"/>
                  <a:pt x="707" y="312"/>
                </a:cubicBezTo>
                <a:cubicBezTo>
                  <a:pt x="708" y="312"/>
                  <a:pt x="709" y="312"/>
                  <a:pt x="709" y="312"/>
                </a:cubicBezTo>
                <a:cubicBezTo>
                  <a:pt x="709" y="312"/>
                  <a:pt x="708" y="311"/>
                  <a:pt x="708" y="311"/>
                </a:cubicBezTo>
                <a:cubicBezTo>
                  <a:pt x="708" y="311"/>
                  <a:pt x="708" y="310"/>
                  <a:pt x="708" y="310"/>
                </a:cubicBezTo>
                <a:cubicBezTo>
                  <a:pt x="707" y="311"/>
                  <a:pt x="707" y="310"/>
                  <a:pt x="706" y="310"/>
                </a:cubicBezTo>
                <a:cubicBezTo>
                  <a:pt x="706" y="310"/>
                  <a:pt x="706" y="310"/>
                  <a:pt x="706" y="310"/>
                </a:cubicBezTo>
                <a:cubicBezTo>
                  <a:pt x="706" y="309"/>
                  <a:pt x="706" y="310"/>
                  <a:pt x="707" y="310"/>
                </a:cubicBezTo>
                <a:cubicBezTo>
                  <a:pt x="707" y="309"/>
                  <a:pt x="707" y="309"/>
                  <a:pt x="707" y="309"/>
                </a:cubicBezTo>
                <a:cubicBezTo>
                  <a:pt x="708" y="308"/>
                  <a:pt x="709" y="308"/>
                  <a:pt x="711" y="308"/>
                </a:cubicBezTo>
                <a:cubicBezTo>
                  <a:pt x="711" y="308"/>
                  <a:pt x="713" y="308"/>
                  <a:pt x="714" y="308"/>
                </a:cubicBezTo>
                <a:cubicBezTo>
                  <a:pt x="716" y="307"/>
                  <a:pt x="717" y="308"/>
                  <a:pt x="718" y="308"/>
                </a:cubicBezTo>
                <a:cubicBezTo>
                  <a:pt x="720" y="308"/>
                  <a:pt x="721" y="309"/>
                  <a:pt x="722" y="309"/>
                </a:cubicBezTo>
                <a:cubicBezTo>
                  <a:pt x="722" y="309"/>
                  <a:pt x="722" y="309"/>
                  <a:pt x="722" y="309"/>
                </a:cubicBezTo>
                <a:cubicBezTo>
                  <a:pt x="722" y="309"/>
                  <a:pt x="723" y="310"/>
                  <a:pt x="723" y="309"/>
                </a:cubicBezTo>
                <a:cubicBezTo>
                  <a:pt x="723" y="310"/>
                  <a:pt x="723" y="310"/>
                  <a:pt x="723" y="310"/>
                </a:cubicBezTo>
                <a:cubicBezTo>
                  <a:pt x="725" y="310"/>
                  <a:pt x="726" y="310"/>
                  <a:pt x="728" y="309"/>
                </a:cubicBezTo>
                <a:cubicBezTo>
                  <a:pt x="728" y="310"/>
                  <a:pt x="729" y="310"/>
                  <a:pt x="730" y="309"/>
                </a:cubicBezTo>
                <a:cubicBezTo>
                  <a:pt x="730" y="311"/>
                  <a:pt x="732" y="312"/>
                  <a:pt x="733" y="312"/>
                </a:cubicBezTo>
                <a:cubicBezTo>
                  <a:pt x="733" y="311"/>
                  <a:pt x="732" y="312"/>
                  <a:pt x="732" y="311"/>
                </a:cubicBezTo>
                <a:cubicBezTo>
                  <a:pt x="733" y="311"/>
                  <a:pt x="733" y="311"/>
                  <a:pt x="734" y="311"/>
                </a:cubicBezTo>
                <a:cubicBezTo>
                  <a:pt x="734" y="311"/>
                  <a:pt x="734" y="311"/>
                  <a:pt x="734" y="311"/>
                </a:cubicBezTo>
                <a:cubicBezTo>
                  <a:pt x="734" y="311"/>
                  <a:pt x="734" y="312"/>
                  <a:pt x="735" y="312"/>
                </a:cubicBezTo>
                <a:cubicBezTo>
                  <a:pt x="735" y="311"/>
                  <a:pt x="735" y="311"/>
                  <a:pt x="736" y="311"/>
                </a:cubicBezTo>
                <a:cubicBezTo>
                  <a:pt x="736" y="313"/>
                  <a:pt x="738" y="314"/>
                  <a:pt x="740" y="314"/>
                </a:cubicBezTo>
                <a:cubicBezTo>
                  <a:pt x="740" y="315"/>
                  <a:pt x="741" y="314"/>
                  <a:pt x="741" y="314"/>
                </a:cubicBezTo>
                <a:cubicBezTo>
                  <a:pt x="742" y="313"/>
                  <a:pt x="743" y="314"/>
                  <a:pt x="744" y="313"/>
                </a:cubicBezTo>
                <a:cubicBezTo>
                  <a:pt x="744" y="315"/>
                  <a:pt x="748" y="315"/>
                  <a:pt x="749" y="316"/>
                </a:cubicBezTo>
                <a:cubicBezTo>
                  <a:pt x="750" y="316"/>
                  <a:pt x="751" y="316"/>
                  <a:pt x="752" y="316"/>
                </a:cubicBezTo>
                <a:cubicBezTo>
                  <a:pt x="754" y="316"/>
                  <a:pt x="755" y="317"/>
                  <a:pt x="756" y="318"/>
                </a:cubicBezTo>
                <a:cubicBezTo>
                  <a:pt x="757" y="317"/>
                  <a:pt x="758" y="318"/>
                  <a:pt x="759" y="318"/>
                </a:cubicBezTo>
                <a:cubicBezTo>
                  <a:pt x="759" y="318"/>
                  <a:pt x="759" y="318"/>
                  <a:pt x="759" y="318"/>
                </a:cubicBezTo>
                <a:cubicBezTo>
                  <a:pt x="759" y="318"/>
                  <a:pt x="760" y="318"/>
                  <a:pt x="761" y="318"/>
                </a:cubicBezTo>
                <a:cubicBezTo>
                  <a:pt x="761" y="318"/>
                  <a:pt x="760" y="318"/>
                  <a:pt x="760" y="319"/>
                </a:cubicBezTo>
                <a:cubicBezTo>
                  <a:pt x="762" y="318"/>
                  <a:pt x="763" y="319"/>
                  <a:pt x="764" y="320"/>
                </a:cubicBezTo>
                <a:cubicBezTo>
                  <a:pt x="763" y="320"/>
                  <a:pt x="762" y="320"/>
                  <a:pt x="762" y="319"/>
                </a:cubicBezTo>
                <a:cubicBezTo>
                  <a:pt x="762" y="319"/>
                  <a:pt x="761" y="319"/>
                  <a:pt x="760" y="319"/>
                </a:cubicBezTo>
                <a:cubicBezTo>
                  <a:pt x="760" y="320"/>
                  <a:pt x="761" y="320"/>
                  <a:pt x="761" y="320"/>
                </a:cubicBezTo>
                <a:cubicBezTo>
                  <a:pt x="760" y="320"/>
                  <a:pt x="760" y="319"/>
                  <a:pt x="759" y="320"/>
                </a:cubicBezTo>
                <a:cubicBezTo>
                  <a:pt x="760" y="320"/>
                  <a:pt x="761" y="321"/>
                  <a:pt x="761" y="320"/>
                </a:cubicBezTo>
                <a:cubicBezTo>
                  <a:pt x="762" y="322"/>
                  <a:pt x="764" y="321"/>
                  <a:pt x="765" y="322"/>
                </a:cubicBezTo>
                <a:cubicBezTo>
                  <a:pt x="766" y="322"/>
                  <a:pt x="766" y="323"/>
                  <a:pt x="766" y="322"/>
                </a:cubicBezTo>
                <a:cubicBezTo>
                  <a:pt x="766" y="322"/>
                  <a:pt x="766" y="322"/>
                  <a:pt x="766" y="322"/>
                </a:cubicBezTo>
                <a:cubicBezTo>
                  <a:pt x="766" y="322"/>
                  <a:pt x="766" y="322"/>
                  <a:pt x="766" y="323"/>
                </a:cubicBezTo>
                <a:cubicBezTo>
                  <a:pt x="767" y="322"/>
                  <a:pt x="767" y="323"/>
                  <a:pt x="768" y="323"/>
                </a:cubicBezTo>
                <a:cubicBezTo>
                  <a:pt x="768" y="323"/>
                  <a:pt x="767" y="323"/>
                  <a:pt x="768" y="323"/>
                </a:cubicBezTo>
                <a:cubicBezTo>
                  <a:pt x="768" y="323"/>
                  <a:pt x="768" y="323"/>
                  <a:pt x="768" y="323"/>
                </a:cubicBezTo>
                <a:cubicBezTo>
                  <a:pt x="768" y="323"/>
                  <a:pt x="768" y="323"/>
                  <a:pt x="768" y="324"/>
                </a:cubicBezTo>
                <a:cubicBezTo>
                  <a:pt x="769" y="324"/>
                  <a:pt x="769" y="324"/>
                  <a:pt x="770" y="324"/>
                </a:cubicBezTo>
                <a:cubicBezTo>
                  <a:pt x="770" y="324"/>
                  <a:pt x="770" y="323"/>
                  <a:pt x="770" y="324"/>
                </a:cubicBezTo>
                <a:cubicBezTo>
                  <a:pt x="770" y="324"/>
                  <a:pt x="770" y="324"/>
                  <a:pt x="770" y="324"/>
                </a:cubicBezTo>
                <a:cubicBezTo>
                  <a:pt x="771" y="324"/>
                  <a:pt x="772" y="325"/>
                  <a:pt x="773" y="325"/>
                </a:cubicBezTo>
                <a:cubicBezTo>
                  <a:pt x="773" y="325"/>
                  <a:pt x="773" y="325"/>
                  <a:pt x="772" y="325"/>
                </a:cubicBezTo>
                <a:cubicBezTo>
                  <a:pt x="773" y="326"/>
                  <a:pt x="773" y="326"/>
                  <a:pt x="774" y="326"/>
                </a:cubicBezTo>
                <a:cubicBezTo>
                  <a:pt x="774" y="326"/>
                  <a:pt x="774" y="326"/>
                  <a:pt x="774" y="326"/>
                </a:cubicBezTo>
                <a:cubicBezTo>
                  <a:pt x="774" y="326"/>
                  <a:pt x="774" y="326"/>
                  <a:pt x="774" y="326"/>
                </a:cubicBezTo>
                <a:cubicBezTo>
                  <a:pt x="774" y="326"/>
                  <a:pt x="774" y="326"/>
                  <a:pt x="775" y="326"/>
                </a:cubicBezTo>
                <a:cubicBezTo>
                  <a:pt x="775" y="326"/>
                  <a:pt x="775" y="326"/>
                  <a:pt x="775" y="326"/>
                </a:cubicBezTo>
                <a:cubicBezTo>
                  <a:pt x="775" y="326"/>
                  <a:pt x="775" y="326"/>
                  <a:pt x="775" y="326"/>
                </a:cubicBezTo>
                <a:cubicBezTo>
                  <a:pt x="776" y="327"/>
                  <a:pt x="777" y="328"/>
                  <a:pt x="778" y="328"/>
                </a:cubicBezTo>
                <a:cubicBezTo>
                  <a:pt x="778" y="328"/>
                  <a:pt x="778" y="329"/>
                  <a:pt x="778" y="328"/>
                </a:cubicBezTo>
                <a:cubicBezTo>
                  <a:pt x="778" y="328"/>
                  <a:pt x="778" y="328"/>
                  <a:pt x="778" y="329"/>
                </a:cubicBezTo>
                <a:cubicBezTo>
                  <a:pt x="779" y="328"/>
                  <a:pt x="780" y="329"/>
                  <a:pt x="780" y="329"/>
                </a:cubicBezTo>
                <a:cubicBezTo>
                  <a:pt x="780" y="329"/>
                  <a:pt x="780" y="329"/>
                  <a:pt x="780" y="329"/>
                </a:cubicBezTo>
                <a:cubicBezTo>
                  <a:pt x="781" y="330"/>
                  <a:pt x="781" y="331"/>
                  <a:pt x="782" y="331"/>
                </a:cubicBezTo>
                <a:cubicBezTo>
                  <a:pt x="782" y="331"/>
                  <a:pt x="782" y="331"/>
                  <a:pt x="783" y="332"/>
                </a:cubicBezTo>
                <a:cubicBezTo>
                  <a:pt x="783" y="332"/>
                  <a:pt x="784" y="332"/>
                  <a:pt x="784" y="332"/>
                </a:cubicBezTo>
                <a:cubicBezTo>
                  <a:pt x="784" y="332"/>
                  <a:pt x="784" y="332"/>
                  <a:pt x="784" y="332"/>
                </a:cubicBezTo>
                <a:cubicBezTo>
                  <a:pt x="784" y="332"/>
                  <a:pt x="785" y="332"/>
                  <a:pt x="785" y="332"/>
                </a:cubicBezTo>
                <a:cubicBezTo>
                  <a:pt x="785" y="332"/>
                  <a:pt x="785" y="332"/>
                  <a:pt x="785" y="332"/>
                </a:cubicBezTo>
                <a:cubicBezTo>
                  <a:pt x="785" y="333"/>
                  <a:pt x="785" y="332"/>
                  <a:pt x="785" y="332"/>
                </a:cubicBezTo>
                <a:cubicBezTo>
                  <a:pt x="785" y="333"/>
                  <a:pt x="785" y="332"/>
                  <a:pt x="785" y="332"/>
                </a:cubicBezTo>
                <a:cubicBezTo>
                  <a:pt x="785" y="333"/>
                  <a:pt x="786" y="332"/>
                  <a:pt x="786" y="332"/>
                </a:cubicBezTo>
                <a:cubicBezTo>
                  <a:pt x="786" y="332"/>
                  <a:pt x="786" y="332"/>
                  <a:pt x="786" y="332"/>
                </a:cubicBezTo>
                <a:cubicBezTo>
                  <a:pt x="787" y="332"/>
                  <a:pt x="787" y="332"/>
                  <a:pt x="787" y="331"/>
                </a:cubicBezTo>
                <a:cubicBezTo>
                  <a:pt x="787" y="330"/>
                  <a:pt x="787" y="329"/>
                  <a:pt x="787" y="329"/>
                </a:cubicBezTo>
                <a:cubicBezTo>
                  <a:pt x="787" y="329"/>
                  <a:pt x="787" y="329"/>
                  <a:pt x="787" y="329"/>
                </a:cubicBezTo>
                <a:cubicBezTo>
                  <a:pt x="787" y="329"/>
                  <a:pt x="787" y="329"/>
                  <a:pt x="787" y="329"/>
                </a:cubicBezTo>
                <a:cubicBezTo>
                  <a:pt x="787" y="329"/>
                  <a:pt x="787" y="329"/>
                  <a:pt x="787" y="329"/>
                </a:cubicBezTo>
                <a:cubicBezTo>
                  <a:pt x="787" y="329"/>
                  <a:pt x="787" y="329"/>
                  <a:pt x="787" y="329"/>
                </a:cubicBezTo>
                <a:cubicBezTo>
                  <a:pt x="787" y="329"/>
                  <a:pt x="787" y="329"/>
                  <a:pt x="787" y="328"/>
                </a:cubicBezTo>
                <a:cubicBezTo>
                  <a:pt x="787" y="329"/>
                  <a:pt x="787" y="329"/>
                  <a:pt x="787" y="329"/>
                </a:cubicBezTo>
                <a:cubicBezTo>
                  <a:pt x="787" y="328"/>
                  <a:pt x="787" y="328"/>
                  <a:pt x="787" y="328"/>
                </a:cubicBezTo>
                <a:cubicBezTo>
                  <a:pt x="787" y="329"/>
                  <a:pt x="787" y="328"/>
                  <a:pt x="787" y="328"/>
                </a:cubicBezTo>
                <a:cubicBezTo>
                  <a:pt x="787" y="328"/>
                  <a:pt x="786" y="329"/>
                  <a:pt x="787" y="327"/>
                </a:cubicBezTo>
                <a:cubicBezTo>
                  <a:pt x="787" y="327"/>
                  <a:pt x="788" y="326"/>
                  <a:pt x="788" y="325"/>
                </a:cubicBezTo>
                <a:cubicBezTo>
                  <a:pt x="787" y="322"/>
                  <a:pt x="786" y="319"/>
                  <a:pt x="785" y="318"/>
                </a:cubicBezTo>
                <a:cubicBezTo>
                  <a:pt x="785" y="319"/>
                  <a:pt x="787" y="321"/>
                  <a:pt x="786" y="321"/>
                </a:cubicBezTo>
                <a:cubicBezTo>
                  <a:pt x="785" y="319"/>
                  <a:pt x="784" y="316"/>
                  <a:pt x="783" y="315"/>
                </a:cubicBezTo>
                <a:cubicBezTo>
                  <a:pt x="782" y="312"/>
                  <a:pt x="781" y="308"/>
                  <a:pt x="780" y="308"/>
                </a:cubicBezTo>
                <a:cubicBezTo>
                  <a:pt x="779" y="306"/>
                  <a:pt x="780" y="308"/>
                  <a:pt x="780" y="307"/>
                </a:cubicBezTo>
                <a:cubicBezTo>
                  <a:pt x="780" y="305"/>
                  <a:pt x="778" y="303"/>
                  <a:pt x="778" y="302"/>
                </a:cubicBezTo>
                <a:cubicBezTo>
                  <a:pt x="778" y="302"/>
                  <a:pt x="779" y="304"/>
                  <a:pt x="779" y="304"/>
                </a:cubicBezTo>
                <a:cubicBezTo>
                  <a:pt x="779" y="302"/>
                  <a:pt x="778" y="299"/>
                  <a:pt x="777" y="300"/>
                </a:cubicBezTo>
                <a:cubicBezTo>
                  <a:pt x="776" y="296"/>
                  <a:pt x="775" y="292"/>
                  <a:pt x="773" y="289"/>
                </a:cubicBezTo>
                <a:cubicBezTo>
                  <a:pt x="772" y="288"/>
                  <a:pt x="770" y="284"/>
                  <a:pt x="768" y="282"/>
                </a:cubicBezTo>
                <a:cubicBezTo>
                  <a:pt x="768" y="282"/>
                  <a:pt x="768" y="283"/>
                  <a:pt x="768" y="284"/>
                </a:cubicBezTo>
                <a:cubicBezTo>
                  <a:pt x="768" y="284"/>
                  <a:pt x="768" y="285"/>
                  <a:pt x="769" y="285"/>
                </a:cubicBezTo>
                <a:cubicBezTo>
                  <a:pt x="769" y="285"/>
                  <a:pt x="769" y="284"/>
                  <a:pt x="770" y="285"/>
                </a:cubicBezTo>
                <a:cubicBezTo>
                  <a:pt x="770" y="287"/>
                  <a:pt x="771" y="289"/>
                  <a:pt x="772" y="291"/>
                </a:cubicBezTo>
                <a:cubicBezTo>
                  <a:pt x="772" y="292"/>
                  <a:pt x="772" y="292"/>
                  <a:pt x="772" y="293"/>
                </a:cubicBezTo>
                <a:cubicBezTo>
                  <a:pt x="773" y="293"/>
                  <a:pt x="772" y="294"/>
                  <a:pt x="773" y="295"/>
                </a:cubicBezTo>
                <a:cubicBezTo>
                  <a:pt x="773" y="295"/>
                  <a:pt x="773" y="294"/>
                  <a:pt x="773" y="295"/>
                </a:cubicBezTo>
                <a:cubicBezTo>
                  <a:pt x="773" y="295"/>
                  <a:pt x="773" y="296"/>
                  <a:pt x="774" y="296"/>
                </a:cubicBezTo>
                <a:cubicBezTo>
                  <a:pt x="773" y="295"/>
                  <a:pt x="771" y="292"/>
                  <a:pt x="771" y="293"/>
                </a:cubicBezTo>
                <a:cubicBezTo>
                  <a:pt x="772" y="296"/>
                  <a:pt x="773" y="297"/>
                  <a:pt x="774" y="300"/>
                </a:cubicBezTo>
                <a:cubicBezTo>
                  <a:pt x="774" y="301"/>
                  <a:pt x="773" y="299"/>
                  <a:pt x="773" y="300"/>
                </a:cubicBezTo>
                <a:cubicBezTo>
                  <a:pt x="774" y="302"/>
                  <a:pt x="775" y="303"/>
                  <a:pt x="775" y="305"/>
                </a:cubicBezTo>
                <a:cubicBezTo>
                  <a:pt x="774" y="304"/>
                  <a:pt x="774" y="304"/>
                  <a:pt x="774" y="304"/>
                </a:cubicBezTo>
                <a:cubicBezTo>
                  <a:pt x="774" y="306"/>
                  <a:pt x="775" y="307"/>
                  <a:pt x="775" y="309"/>
                </a:cubicBezTo>
                <a:cubicBezTo>
                  <a:pt x="775" y="309"/>
                  <a:pt x="775" y="309"/>
                  <a:pt x="776" y="309"/>
                </a:cubicBezTo>
                <a:cubicBezTo>
                  <a:pt x="776" y="311"/>
                  <a:pt x="776" y="313"/>
                  <a:pt x="777" y="315"/>
                </a:cubicBezTo>
                <a:cubicBezTo>
                  <a:pt x="777" y="316"/>
                  <a:pt x="778" y="318"/>
                  <a:pt x="778" y="320"/>
                </a:cubicBezTo>
                <a:cubicBezTo>
                  <a:pt x="774" y="313"/>
                  <a:pt x="772" y="305"/>
                  <a:pt x="768" y="298"/>
                </a:cubicBezTo>
                <a:cubicBezTo>
                  <a:pt x="767" y="295"/>
                  <a:pt x="766" y="293"/>
                  <a:pt x="765" y="291"/>
                </a:cubicBezTo>
                <a:cubicBezTo>
                  <a:pt x="764" y="288"/>
                  <a:pt x="763" y="285"/>
                  <a:pt x="761" y="284"/>
                </a:cubicBezTo>
                <a:cubicBezTo>
                  <a:pt x="762" y="286"/>
                  <a:pt x="764" y="287"/>
                  <a:pt x="764" y="289"/>
                </a:cubicBezTo>
                <a:cubicBezTo>
                  <a:pt x="762" y="287"/>
                  <a:pt x="760" y="284"/>
                  <a:pt x="760" y="281"/>
                </a:cubicBezTo>
                <a:cubicBezTo>
                  <a:pt x="759" y="281"/>
                  <a:pt x="758" y="279"/>
                  <a:pt x="758" y="278"/>
                </a:cubicBezTo>
                <a:cubicBezTo>
                  <a:pt x="758" y="279"/>
                  <a:pt x="760" y="281"/>
                  <a:pt x="760" y="281"/>
                </a:cubicBezTo>
                <a:cubicBezTo>
                  <a:pt x="759" y="278"/>
                  <a:pt x="758" y="278"/>
                  <a:pt x="756" y="275"/>
                </a:cubicBezTo>
                <a:cubicBezTo>
                  <a:pt x="756" y="275"/>
                  <a:pt x="756" y="275"/>
                  <a:pt x="756" y="274"/>
                </a:cubicBezTo>
                <a:cubicBezTo>
                  <a:pt x="756" y="273"/>
                  <a:pt x="754" y="271"/>
                  <a:pt x="755" y="271"/>
                </a:cubicBezTo>
                <a:cubicBezTo>
                  <a:pt x="755" y="271"/>
                  <a:pt x="755" y="271"/>
                  <a:pt x="755" y="270"/>
                </a:cubicBezTo>
                <a:cubicBezTo>
                  <a:pt x="754" y="270"/>
                  <a:pt x="753" y="269"/>
                  <a:pt x="753" y="269"/>
                </a:cubicBezTo>
                <a:cubicBezTo>
                  <a:pt x="753" y="270"/>
                  <a:pt x="753" y="270"/>
                  <a:pt x="754" y="271"/>
                </a:cubicBezTo>
                <a:cubicBezTo>
                  <a:pt x="754" y="271"/>
                  <a:pt x="754" y="271"/>
                  <a:pt x="755" y="272"/>
                </a:cubicBezTo>
                <a:cubicBezTo>
                  <a:pt x="754" y="273"/>
                  <a:pt x="756" y="273"/>
                  <a:pt x="756" y="274"/>
                </a:cubicBezTo>
                <a:cubicBezTo>
                  <a:pt x="755" y="273"/>
                  <a:pt x="755" y="273"/>
                  <a:pt x="754" y="271"/>
                </a:cubicBezTo>
                <a:cubicBezTo>
                  <a:pt x="753" y="271"/>
                  <a:pt x="754" y="273"/>
                  <a:pt x="754" y="273"/>
                </a:cubicBezTo>
                <a:cubicBezTo>
                  <a:pt x="753" y="273"/>
                  <a:pt x="753" y="272"/>
                  <a:pt x="753" y="273"/>
                </a:cubicBezTo>
                <a:cubicBezTo>
                  <a:pt x="754" y="274"/>
                  <a:pt x="757" y="277"/>
                  <a:pt x="756" y="279"/>
                </a:cubicBezTo>
                <a:cubicBezTo>
                  <a:pt x="757" y="280"/>
                  <a:pt x="757" y="280"/>
                  <a:pt x="758" y="281"/>
                </a:cubicBezTo>
                <a:cubicBezTo>
                  <a:pt x="758" y="281"/>
                  <a:pt x="758" y="281"/>
                  <a:pt x="758" y="281"/>
                </a:cubicBezTo>
                <a:cubicBezTo>
                  <a:pt x="758" y="282"/>
                  <a:pt x="759" y="283"/>
                  <a:pt x="759" y="283"/>
                </a:cubicBezTo>
                <a:cubicBezTo>
                  <a:pt x="764" y="292"/>
                  <a:pt x="767" y="302"/>
                  <a:pt x="770" y="309"/>
                </a:cubicBezTo>
                <a:cubicBezTo>
                  <a:pt x="769" y="307"/>
                  <a:pt x="768" y="306"/>
                  <a:pt x="767" y="304"/>
                </a:cubicBezTo>
                <a:cubicBezTo>
                  <a:pt x="768" y="306"/>
                  <a:pt x="768" y="308"/>
                  <a:pt x="769" y="310"/>
                </a:cubicBezTo>
                <a:cubicBezTo>
                  <a:pt x="769" y="311"/>
                  <a:pt x="769" y="312"/>
                  <a:pt x="769" y="313"/>
                </a:cubicBezTo>
                <a:cubicBezTo>
                  <a:pt x="770" y="313"/>
                  <a:pt x="770" y="316"/>
                  <a:pt x="771" y="317"/>
                </a:cubicBezTo>
                <a:cubicBezTo>
                  <a:pt x="771" y="318"/>
                  <a:pt x="772" y="319"/>
                  <a:pt x="772" y="320"/>
                </a:cubicBezTo>
                <a:cubicBezTo>
                  <a:pt x="772" y="320"/>
                  <a:pt x="772" y="319"/>
                  <a:pt x="771" y="318"/>
                </a:cubicBezTo>
                <a:cubicBezTo>
                  <a:pt x="771" y="319"/>
                  <a:pt x="771" y="319"/>
                  <a:pt x="771" y="320"/>
                </a:cubicBezTo>
                <a:cubicBezTo>
                  <a:pt x="769" y="317"/>
                  <a:pt x="767" y="313"/>
                  <a:pt x="764" y="309"/>
                </a:cubicBezTo>
                <a:cubicBezTo>
                  <a:pt x="763" y="307"/>
                  <a:pt x="760" y="301"/>
                  <a:pt x="759" y="298"/>
                </a:cubicBezTo>
                <a:cubicBezTo>
                  <a:pt x="756" y="295"/>
                  <a:pt x="754" y="288"/>
                  <a:pt x="751" y="284"/>
                </a:cubicBezTo>
                <a:cubicBezTo>
                  <a:pt x="749" y="281"/>
                  <a:pt x="747" y="277"/>
                  <a:pt x="745" y="272"/>
                </a:cubicBezTo>
                <a:cubicBezTo>
                  <a:pt x="746" y="273"/>
                  <a:pt x="746" y="272"/>
                  <a:pt x="746" y="272"/>
                </a:cubicBezTo>
                <a:cubicBezTo>
                  <a:pt x="745" y="271"/>
                  <a:pt x="744" y="268"/>
                  <a:pt x="743" y="269"/>
                </a:cubicBezTo>
                <a:cubicBezTo>
                  <a:pt x="743" y="267"/>
                  <a:pt x="743" y="267"/>
                  <a:pt x="743" y="267"/>
                </a:cubicBezTo>
                <a:cubicBezTo>
                  <a:pt x="740" y="262"/>
                  <a:pt x="737" y="257"/>
                  <a:pt x="734" y="254"/>
                </a:cubicBezTo>
                <a:cubicBezTo>
                  <a:pt x="733" y="252"/>
                  <a:pt x="733" y="251"/>
                  <a:pt x="731" y="250"/>
                </a:cubicBezTo>
                <a:cubicBezTo>
                  <a:pt x="730" y="245"/>
                  <a:pt x="727" y="239"/>
                  <a:pt x="725" y="235"/>
                </a:cubicBezTo>
                <a:cubicBezTo>
                  <a:pt x="725" y="236"/>
                  <a:pt x="725" y="237"/>
                  <a:pt x="725" y="237"/>
                </a:cubicBezTo>
                <a:cubicBezTo>
                  <a:pt x="725" y="237"/>
                  <a:pt x="724" y="236"/>
                  <a:pt x="723" y="236"/>
                </a:cubicBezTo>
                <a:cubicBezTo>
                  <a:pt x="723" y="235"/>
                  <a:pt x="723" y="234"/>
                  <a:pt x="722" y="233"/>
                </a:cubicBezTo>
                <a:cubicBezTo>
                  <a:pt x="722" y="232"/>
                  <a:pt x="721" y="231"/>
                  <a:pt x="721" y="230"/>
                </a:cubicBezTo>
                <a:cubicBezTo>
                  <a:pt x="721" y="231"/>
                  <a:pt x="720" y="230"/>
                  <a:pt x="719" y="229"/>
                </a:cubicBezTo>
                <a:cubicBezTo>
                  <a:pt x="717" y="223"/>
                  <a:pt x="714" y="217"/>
                  <a:pt x="709" y="212"/>
                </a:cubicBezTo>
                <a:cubicBezTo>
                  <a:pt x="709" y="210"/>
                  <a:pt x="707" y="209"/>
                  <a:pt x="706" y="207"/>
                </a:cubicBezTo>
                <a:cubicBezTo>
                  <a:pt x="705" y="208"/>
                  <a:pt x="702" y="202"/>
                  <a:pt x="702" y="205"/>
                </a:cubicBezTo>
                <a:cubicBezTo>
                  <a:pt x="699" y="197"/>
                  <a:pt x="691" y="189"/>
                  <a:pt x="688" y="184"/>
                </a:cubicBezTo>
                <a:cubicBezTo>
                  <a:pt x="686" y="183"/>
                  <a:pt x="683" y="179"/>
                  <a:pt x="681" y="177"/>
                </a:cubicBezTo>
                <a:cubicBezTo>
                  <a:pt x="678" y="174"/>
                  <a:pt x="675" y="170"/>
                  <a:pt x="672" y="166"/>
                </a:cubicBezTo>
                <a:cubicBezTo>
                  <a:pt x="669" y="163"/>
                  <a:pt x="667" y="161"/>
                  <a:pt x="664" y="159"/>
                </a:cubicBezTo>
                <a:cubicBezTo>
                  <a:pt x="664" y="158"/>
                  <a:pt x="665" y="158"/>
                  <a:pt x="664" y="158"/>
                </a:cubicBezTo>
                <a:cubicBezTo>
                  <a:pt x="663" y="158"/>
                  <a:pt x="660" y="155"/>
                  <a:pt x="659" y="154"/>
                </a:cubicBezTo>
                <a:cubicBezTo>
                  <a:pt x="659" y="154"/>
                  <a:pt x="660" y="154"/>
                  <a:pt x="660" y="154"/>
                </a:cubicBezTo>
                <a:cubicBezTo>
                  <a:pt x="657" y="152"/>
                  <a:pt x="653" y="148"/>
                  <a:pt x="651" y="145"/>
                </a:cubicBezTo>
                <a:cubicBezTo>
                  <a:pt x="652" y="145"/>
                  <a:pt x="656" y="148"/>
                  <a:pt x="655" y="149"/>
                </a:cubicBezTo>
                <a:cubicBezTo>
                  <a:pt x="656" y="150"/>
                  <a:pt x="658" y="151"/>
                  <a:pt x="659" y="152"/>
                </a:cubicBezTo>
                <a:cubicBezTo>
                  <a:pt x="659" y="152"/>
                  <a:pt x="659" y="151"/>
                  <a:pt x="658" y="151"/>
                </a:cubicBezTo>
                <a:cubicBezTo>
                  <a:pt x="660" y="151"/>
                  <a:pt x="661" y="154"/>
                  <a:pt x="661" y="153"/>
                </a:cubicBezTo>
                <a:cubicBezTo>
                  <a:pt x="660" y="152"/>
                  <a:pt x="658" y="149"/>
                  <a:pt x="656" y="149"/>
                </a:cubicBezTo>
                <a:cubicBezTo>
                  <a:pt x="654" y="145"/>
                  <a:pt x="648" y="142"/>
                  <a:pt x="645" y="137"/>
                </a:cubicBezTo>
                <a:cubicBezTo>
                  <a:pt x="644" y="137"/>
                  <a:pt x="643" y="135"/>
                  <a:pt x="643" y="136"/>
                </a:cubicBezTo>
                <a:cubicBezTo>
                  <a:pt x="643" y="135"/>
                  <a:pt x="642" y="135"/>
                  <a:pt x="642" y="135"/>
                </a:cubicBezTo>
                <a:cubicBezTo>
                  <a:pt x="642" y="135"/>
                  <a:pt x="643" y="135"/>
                  <a:pt x="643" y="135"/>
                </a:cubicBezTo>
                <a:cubicBezTo>
                  <a:pt x="641" y="134"/>
                  <a:pt x="640" y="132"/>
                  <a:pt x="638" y="131"/>
                </a:cubicBezTo>
                <a:cubicBezTo>
                  <a:pt x="638" y="131"/>
                  <a:pt x="639" y="132"/>
                  <a:pt x="638" y="132"/>
                </a:cubicBezTo>
                <a:cubicBezTo>
                  <a:pt x="637" y="130"/>
                  <a:pt x="637" y="130"/>
                  <a:pt x="636" y="129"/>
                </a:cubicBezTo>
                <a:cubicBezTo>
                  <a:pt x="637" y="130"/>
                  <a:pt x="636" y="129"/>
                  <a:pt x="636" y="128"/>
                </a:cubicBezTo>
                <a:cubicBezTo>
                  <a:pt x="634" y="127"/>
                  <a:pt x="633" y="126"/>
                  <a:pt x="631" y="125"/>
                </a:cubicBezTo>
                <a:cubicBezTo>
                  <a:pt x="632" y="126"/>
                  <a:pt x="630" y="126"/>
                  <a:pt x="631" y="126"/>
                </a:cubicBezTo>
                <a:cubicBezTo>
                  <a:pt x="630" y="124"/>
                  <a:pt x="630" y="124"/>
                  <a:pt x="630" y="124"/>
                </a:cubicBezTo>
                <a:cubicBezTo>
                  <a:pt x="627" y="122"/>
                  <a:pt x="624" y="119"/>
                  <a:pt x="621" y="117"/>
                </a:cubicBezTo>
                <a:cubicBezTo>
                  <a:pt x="622" y="118"/>
                  <a:pt x="623" y="119"/>
                  <a:pt x="623" y="118"/>
                </a:cubicBezTo>
                <a:cubicBezTo>
                  <a:pt x="622" y="117"/>
                  <a:pt x="620" y="116"/>
                  <a:pt x="619" y="115"/>
                </a:cubicBezTo>
                <a:cubicBezTo>
                  <a:pt x="619" y="115"/>
                  <a:pt x="619" y="115"/>
                  <a:pt x="619" y="115"/>
                </a:cubicBezTo>
                <a:cubicBezTo>
                  <a:pt x="618" y="115"/>
                  <a:pt x="618" y="114"/>
                  <a:pt x="617" y="113"/>
                </a:cubicBezTo>
                <a:cubicBezTo>
                  <a:pt x="617" y="113"/>
                  <a:pt x="617" y="114"/>
                  <a:pt x="617" y="114"/>
                </a:cubicBezTo>
                <a:cubicBezTo>
                  <a:pt x="616" y="112"/>
                  <a:pt x="615" y="113"/>
                  <a:pt x="614" y="112"/>
                </a:cubicBezTo>
                <a:cubicBezTo>
                  <a:pt x="615" y="112"/>
                  <a:pt x="615" y="112"/>
                  <a:pt x="614" y="112"/>
                </a:cubicBezTo>
                <a:cubicBezTo>
                  <a:pt x="611" y="109"/>
                  <a:pt x="609" y="107"/>
                  <a:pt x="606" y="105"/>
                </a:cubicBezTo>
                <a:cubicBezTo>
                  <a:pt x="605" y="105"/>
                  <a:pt x="605" y="103"/>
                  <a:pt x="604" y="104"/>
                </a:cubicBezTo>
                <a:cubicBezTo>
                  <a:pt x="603" y="103"/>
                  <a:pt x="604" y="103"/>
                  <a:pt x="603" y="103"/>
                </a:cubicBezTo>
                <a:cubicBezTo>
                  <a:pt x="602" y="102"/>
                  <a:pt x="599" y="101"/>
                  <a:pt x="598" y="99"/>
                </a:cubicBezTo>
                <a:cubicBezTo>
                  <a:pt x="597" y="99"/>
                  <a:pt x="597" y="99"/>
                  <a:pt x="597" y="99"/>
                </a:cubicBezTo>
                <a:cubicBezTo>
                  <a:pt x="588" y="91"/>
                  <a:pt x="578" y="86"/>
                  <a:pt x="568" y="80"/>
                </a:cubicBezTo>
                <a:cubicBezTo>
                  <a:pt x="566" y="79"/>
                  <a:pt x="564" y="78"/>
                  <a:pt x="562" y="77"/>
                </a:cubicBezTo>
                <a:cubicBezTo>
                  <a:pt x="560" y="76"/>
                  <a:pt x="560" y="76"/>
                  <a:pt x="560" y="76"/>
                </a:cubicBezTo>
                <a:cubicBezTo>
                  <a:pt x="559" y="75"/>
                  <a:pt x="556" y="74"/>
                  <a:pt x="555" y="74"/>
                </a:cubicBezTo>
                <a:cubicBezTo>
                  <a:pt x="556" y="73"/>
                  <a:pt x="554" y="73"/>
                  <a:pt x="553" y="73"/>
                </a:cubicBezTo>
                <a:cubicBezTo>
                  <a:pt x="547" y="69"/>
                  <a:pt x="541" y="68"/>
                  <a:pt x="535" y="65"/>
                </a:cubicBezTo>
                <a:cubicBezTo>
                  <a:pt x="534" y="65"/>
                  <a:pt x="534" y="65"/>
                  <a:pt x="534" y="65"/>
                </a:cubicBezTo>
                <a:cubicBezTo>
                  <a:pt x="487" y="46"/>
                  <a:pt x="438" y="42"/>
                  <a:pt x="388" y="46"/>
                </a:cubicBezTo>
                <a:cubicBezTo>
                  <a:pt x="388" y="47"/>
                  <a:pt x="387" y="47"/>
                  <a:pt x="386" y="47"/>
                </a:cubicBezTo>
                <a:cubicBezTo>
                  <a:pt x="387" y="47"/>
                  <a:pt x="387" y="47"/>
                  <a:pt x="387" y="46"/>
                </a:cubicBezTo>
                <a:cubicBezTo>
                  <a:pt x="385" y="46"/>
                  <a:pt x="386" y="47"/>
                  <a:pt x="385" y="47"/>
                </a:cubicBezTo>
                <a:cubicBezTo>
                  <a:pt x="383" y="47"/>
                  <a:pt x="383" y="47"/>
                  <a:pt x="383" y="47"/>
                </a:cubicBezTo>
                <a:cubicBezTo>
                  <a:pt x="377" y="48"/>
                  <a:pt x="372" y="49"/>
                  <a:pt x="365" y="50"/>
                </a:cubicBezTo>
                <a:cubicBezTo>
                  <a:pt x="365" y="50"/>
                  <a:pt x="365" y="50"/>
                  <a:pt x="365" y="50"/>
                </a:cubicBezTo>
                <a:cubicBezTo>
                  <a:pt x="364" y="50"/>
                  <a:pt x="364" y="50"/>
                  <a:pt x="364" y="50"/>
                </a:cubicBezTo>
                <a:cubicBezTo>
                  <a:pt x="351" y="52"/>
                  <a:pt x="339" y="56"/>
                  <a:pt x="327" y="59"/>
                </a:cubicBezTo>
                <a:cubicBezTo>
                  <a:pt x="321" y="61"/>
                  <a:pt x="316" y="63"/>
                  <a:pt x="310" y="64"/>
                </a:cubicBezTo>
                <a:cubicBezTo>
                  <a:pt x="308" y="66"/>
                  <a:pt x="306" y="65"/>
                  <a:pt x="304" y="67"/>
                </a:cubicBezTo>
                <a:cubicBezTo>
                  <a:pt x="301" y="67"/>
                  <a:pt x="298" y="70"/>
                  <a:pt x="294" y="70"/>
                </a:cubicBezTo>
                <a:cubicBezTo>
                  <a:pt x="287" y="74"/>
                  <a:pt x="280" y="76"/>
                  <a:pt x="273" y="80"/>
                </a:cubicBezTo>
                <a:cubicBezTo>
                  <a:pt x="271" y="80"/>
                  <a:pt x="271" y="80"/>
                  <a:pt x="271" y="80"/>
                </a:cubicBezTo>
                <a:cubicBezTo>
                  <a:pt x="266" y="83"/>
                  <a:pt x="259" y="86"/>
                  <a:pt x="254" y="89"/>
                </a:cubicBezTo>
                <a:cubicBezTo>
                  <a:pt x="252" y="89"/>
                  <a:pt x="250" y="91"/>
                  <a:pt x="249" y="91"/>
                </a:cubicBezTo>
                <a:cubicBezTo>
                  <a:pt x="248" y="92"/>
                  <a:pt x="248" y="92"/>
                  <a:pt x="248" y="92"/>
                </a:cubicBezTo>
                <a:cubicBezTo>
                  <a:pt x="246" y="93"/>
                  <a:pt x="244" y="94"/>
                  <a:pt x="242" y="95"/>
                </a:cubicBezTo>
                <a:cubicBezTo>
                  <a:pt x="238" y="98"/>
                  <a:pt x="231" y="101"/>
                  <a:pt x="230" y="102"/>
                </a:cubicBezTo>
                <a:cubicBezTo>
                  <a:pt x="220" y="108"/>
                  <a:pt x="211" y="114"/>
                  <a:pt x="202" y="120"/>
                </a:cubicBezTo>
                <a:cubicBezTo>
                  <a:pt x="202" y="121"/>
                  <a:pt x="202" y="121"/>
                  <a:pt x="202" y="121"/>
                </a:cubicBezTo>
                <a:cubicBezTo>
                  <a:pt x="197" y="124"/>
                  <a:pt x="191" y="128"/>
                  <a:pt x="186" y="132"/>
                </a:cubicBezTo>
                <a:cubicBezTo>
                  <a:pt x="185" y="133"/>
                  <a:pt x="185" y="133"/>
                  <a:pt x="185" y="133"/>
                </a:cubicBezTo>
                <a:cubicBezTo>
                  <a:pt x="183" y="135"/>
                  <a:pt x="181" y="136"/>
                  <a:pt x="179" y="137"/>
                </a:cubicBezTo>
                <a:cubicBezTo>
                  <a:pt x="179" y="137"/>
                  <a:pt x="180" y="137"/>
                  <a:pt x="179" y="137"/>
                </a:cubicBezTo>
                <a:cubicBezTo>
                  <a:pt x="178" y="138"/>
                  <a:pt x="177" y="139"/>
                  <a:pt x="176" y="140"/>
                </a:cubicBezTo>
                <a:cubicBezTo>
                  <a:pt x="171" y="144"/>
                  <a:pt x="166" y="148"/>
                  <a:pt x="162" y="151"/>
                </a:cubicBezTo>
                <a:cubicBezTo>
                  <a:pt x="163" y="151"/>
                  <a:pt x="162" y="151"/>
                  <a:pt x="162" y="152"/>
                </a:cubicBezTo>
                <a:cubicBezTo>
                  <a:pt x="156" y="156"/>
                  <a:pt x="151" y="161"/>
                  <a:pt x="146" y="166"/>
                </a:cubicBezTo>
                <a:cubicBezTo>
                  <a:pt x="145" y="167"/>
                  <a:pt x="145" y="166"/>
                  <a:pt x="144" y="167"/>
                </a:cubicBezTo>
                <a:cubicBezTo>
                  <a:pt x="144" y="168"/>
                  <a:pt x="142" y="169"/>
                  <a:pt x="142" y="170"/>
                </a:cubicBezTo>
                <a:cubicBezTo>
                  <a:pt x="140" y="171"/>
                  <a:pt x="139" y="173"/>
                  <a:pt x="137" y="174"/>
                </a:cubicBezTo>
                <a:cubicBezTo>
                  <a:pt x="135" y="176"/>
                  <a:pt x="131" y="180"/>
                  <a:pt x="128" y="183"/>
                </a:cubicBezTo>
                <a:cubicBezTo>
                  <a:pt x="128" y="182"/>
                  <a:pt x="124" y="187"/>
                  <a:pt x="122" y="189"/>
                </a:cubicBezTo>
                <a:cubicBezTo>
                  <a:pt x="122" y="190"/>
                  <a:pt x="123" y="189"/>
                  <a:pt x="122" y="190"/>
                </a:cubicBezTo>
                <a:cubicBezTo>
                  <a:pt x="122" y="190"/>
                  <a:pt x="120" y="191"/>
                  <a:pt x="120" y="192"/>
                </a:cubicBezTo>
                <a:cubicBezTo>
                  <a:pt x="117" y="194"/>
                  <a:pt x="115" y="197"/>
                  <a:pt x="113" y="200"/>
                </a:cubicBezTo>
                <a:cubicBezTo>
                  <a:pt x="111" y="201"/>
                  <a:pt x="113" y="198"/>
                  <a:pt x="112" y="199"/>
                </a:cubicBezTo>
                <a:cubicBezTo>
                  <a:pt x="110" y="202"/>
                  <a:pt x="108" y="205"/>
                  <a:pt x="106" y="208"/>
                </a:cubicBezTo>
                <a:cubicBezTo>
                  <a:pt x="105" y="207"/>
                  <a:pt x="106" y="206"/>
                  <a:pt x="107" y="205"/>
                </a:cubicBezTo>
                <a:cubicBezTo>
                  <a:pt x="106" y="206"/>
                  <a:pt x="107" y="205"/>
                  <a:pt x="106" y="206"/>
                </a:cubicBezTo>
                <a:cubicBezTo>
                  <a:pt x="105" y="207"/>
                  <a:pt x="104" y="209"/>
                  <a:pt x="102" y="210"/>
                </a:cubicBezTo>
                <a:cubicBezTo>
                  <a:pt x="103" y="210"/>
                  <a:pt x="104" y="208"/>
                  <a:pt x="104" y="208"/>
                </a:cubicBezTo>
                <a:cubicBezTo>
                  <a:pt x="102" y="210"/>
                  <a:pt x="101" y="211"/>
                  <a:pt x="100" y="213"/>
                </a:cubicBezTo>
                <a:cubicBezTo>
                  <a:pt x="99" y="214"/>
                  <a:pt x="100" y="213"/>
                  <a:pt x="99" y="213"/>
                </a:cubicBezTo>
                <a:cubicBezTo>
                  <a:pt x="98" y="215"/>
                  <a:pt x="97" y="216"/>
                  <a:pt x="97" y="217"/>
                </a:cubicBezTo>
                <a:cubicBezTo>
                  <a:pt x="94" y="219"/>
                  <a:pt x="93" y="221"/>
                  <a:pt x="92" y="223"/>
                </a:cubicBezTo>
                <a:cubicBezTo>
                  <a:pt x="91" y="224"/>
                  <a:pt x="93" y="222"/>
                  <a:pt x="92" y="223"/>
                </a:cubicBezTo>
                <a:cubicBezTo>
                  <a:pt x="91" y="225"/>
                  <a:pt x="92" y="223"/>
                  <a:pt x="91" y="224"/>
                </a:cubicBezTo>
                <a:cubicBezTo>
                  <a:pt x="91" y="224"/>
                  <a:pt x="91" y="226"/>
                  <a:pt x="90" y="227"/>
                </a:cubicBezTo>
                <a:cubicBezTo>
                  <a:pt x="90" y="226"/>
                  <a:pt x="90" y="225"/>
                  <a:pt x="90" y="225"/>
                </a:cubicBezTo>
                <a:cubicBezTo>
                  <a:pt x="87" y="228"/>
                  <a:pt x="85" y="231"/>
                  <a:pt x="83" y="234"/>
                </a:cubicBezTo>
                <a:cubicBezTo>
                  <a:pt x="83" y="234"/>
                  <a:pt x="83" y="234"/>
                  <a:pt x="83" y="234"/>
                </a:cubicBezTo>
                <a:cubicBezTo>
                  <a:pt x="81" y="236"/>
                  <a:pt x="77" y="240"/>
                  <a:pt x="78" y="241"/>
                </a:cubicBezTo>
                <a:cubicBezTo>
                  <a:pt x="77" y="241"/>
                  <a:pt x="77" y="242"/>
                  <a:pt x="77" y="242"/>
                </a:cubicBezTo>
                <a:cubicBezTo>
                  <a:pt x="77" y="242"/>
                  <a:pt x="77" y="241"/>
                  <a:pt x="76" y="242"/>
                </a:cubicBezTo>
                <a:cubicBezTo>
                  <a:pt x="76" y="243"/>
                  <a:pt x="75" y="243"/>
                  <a:pt x="75" y="244"/>
                </a:cubicBezTo>
                <a:cubicBezTo>
                  <a:pt x="77" y="243"/>
                  <a:pt x="77" y="243"/>
                  <a:pt x="77" y="243"/>
                </a:cubicBezTo>
                <a:cubicBezTo>
                  <a:pt x="76" y="245"/>
                  <a:pt x="75" y="244"/>
                  <a:pt x="74" y="246"/>
                </a:cubicBezTo>
                <a:cubicBezTo>
                  <a:pt x="73" y="246"/>
                  <a:pt x="73" y="247"/>
                  <a:pt x="72" y="248"/>
                </a:cubicBezTo>
                <a:cubicBezTo>
                  <a:pt x="72" y="248"/>
                  <a:pt x="73" y="246"/>
                  <a:pt x="72" y="247"/>
                </a:cubicBezTo>
                <a:cubicBezTo>
                  <a:pt x="71" y="249"/>
                  <a:pt x="69" y="251"/>
                  <a:pt x="68" y="254"/>
                </a:cubicBezTo>
                <a:cubicBezTo>
                  <a:pt x="68" y="253"/>
                  <a:pt x="68" y="253"/>
                  <a:pt x="68" y="253"/>
                </a:cubicBezTo>
                <a:cubicBezTo>
                  <a:pt x="67" y="254"/>
                  <a:pt x="67" y="254"/>
                  <a:pt x="66" y="255"/>
                </a:cubicBezTo>
                <a:cubicBezTo>
                  <a:pt x="66" y="255"/>
                  <a:pt x="67" y="255"/>
                  <a:pt x="67" y="256"/>
                </a:cubicBezTo>
                <a:cubicBezTo>
                  <a:pt x="66" y="256"/>
                  <a:pt x="65" y="257"/>
                  <a:pt x="64" y="258"/>
                </a:cubicBezTo>
                <a:cubicBezTo>
                  <a:pt x="65" y="258"/>
                  <a:pt x="65" y="259"/>
                  <a:pt x="64" y="259"/>
                </a:cubicBezTo>
                <a:cubicBezTo>
                  <a:pt x="64" y="258"/>
                  <a:pt x="63" y="261"/>
                  <a:pt x="62" y="262"/>
                </a:cubicBezTo>
                <a:cubicBezTo>
                  <a:pt x="62" y="262"/>
                  <a:pt x="62" y="260"/>
                  <a:pt x="62" y="260"/>
                </a:cubicBezTo>
                <a:cubicBezTo>
                  <a:pt x="62" y="262"/>
                  <a:pt x="61" y="263"/>
                  <a:pt x="60" y="264"/>
                </a:cubicBezTo>
                <a:cubicBezTo>
                  <a:pt x="61" y="263"/>
                  <a:pt x="59" y="266"/>
                  <a:pt x="59" y="267"/>
                </a:cubicBezTo>
                <a:cubicBezTo>
                  <a:pt x="59" y="266"/>
                  <a:pt x="60" y="265"/>
                  <a:pt x="59" y="265"/>
                </a:cubicBezTo>
                <a:cubicBezTo>
                  <a:pt x="58" y="266"/>
                  <a:pt x="58" y="267"/>
                  <a:pt x="58" y="267"/>
                </a:cubicBezTo>
                <a:cubicBezTo>
                  <a:pt x="58" y="265"/>
                  <a:pt x="55" y="271"/>
                  <a:pt x="53" y="273"/>
                </a:cubicBezTo>
                <a:cubicBezTo>
                  <a:pt x="54" y="272"/>
                  <a:pt x="54" y="272"/>
                  <a:pt x="54" y="273"/>
                </a:cubicBezTo>
                <a:cubicBezTo>
                  <a:pt x="53" y="274"/>
                  <a:pt x="53" y="273"/>
                  <a:pt x="53" y="274"/>
                </a:cubicBezTo>
                <a:cubicBezTo>
                  <a:pt x="51" y="275"/>
                  <a:pt x="51" y="275"/>
                  <a:pt x="51" y="275"/>
                </a:cubicBezTo>
                <a:cubicBezTo>
                  <a:pt x="52" y="274"/>
                  <a:pt x="51" y="275"/>
                  <a:pt x="51" y="274"/>
                </a:cubicBezTo>
                <a:cubicBezTo>
                  <a:pt x="52" y="273"/>
                  <a:pt x="53" y="273"/>
                  <a:pt x="53" y="270"/>
                </a:cubicBezTo>
                <a:cubicBezTo>
                  <a:pt x="55" y="270"/>
                  <a:pt x="54" y="269"/>
                  <a:pt x="56" y="268"/>
                </a:cubicBezTo>
                <a:cubicBezTo>
                  <a:pt x="56" y="268"/>
                  <a:pt x="56" y="266"/>
                  <a:pt x="57" y="266"/>
                </a:cubicBezTo>
                <a:cubicBezTo>
                  <a:pt x="57" y="266"/>
                  <a:pt x="57" y="267"/>
                  <a:pt x="57" y="267"/>
                </a:cubicBezTo>
                <a:cubicBezTo>
                  <a:pt x="57" y="266"/>
                  <a:pt x="58" y="267"/>
                  <a:pt x="58" y="265"/>
                </a:cubicBezTo>
                <a:cubicBezTo>
                  <a:pt x="58" y="265"/>
                  <a:pt x="57" y="265"/>
                  <a:pt x="58" y="264"/>
                </a:cubicBezTo>
                <a:cubicBezTo>
                  <a:pt x="59" y="263"/>
                  <a:pt x="57" y="266"/>
                  <a:pt x="59" y="264"/>
                </a:cubicBezTo>
                <a:cubicBezTo>
                  <a:pt x="59" y="262"/>
                  <a:pt x="61" y="262"/>
                  <a:pt x="62" y="260"/>
                </a:cubicBezTo>
                <a:cubicBezTo>
                  <a:pt x="61" y="260"/>
                  <a:pt x="60" y="261"/>
                  <a:pt x="60" y="260"/>
                </a:cubicBezTo>
                <a:cubicBezTo>
                  <a:pt x="61" y="259"/>
                  <a:pt x="61" y="259"/>
                  <a:pt x="62" y="259"/>
                </a:cubicBezTo>
                <a:cubicBezTo>
                  <a:pt x="63" y="256"/>
                  <a:pt x="65" y="254"/>
                  <a:pt x="67" y="251"/>
                </a:cubicBezTo>
                <a:cubicBezTo>
                  <a:pt x="67" y="251"/>
                  <a:pt x="67" y="251"/>
                  <a:pt x="67" y="251"/>
                </a:cubicBezTo>
                <a:cubicBezTo>
                  <a:pt x="66" y="251"/>
                  <a:pt x="66" y="252"/>
                  <a:pt x="66" y="252"/>
                </a:cubicBezTo>
                <a:cubicBezTo>
                  <a:pt x="66" y="250"/>
                  <a:pt x="67" y="251"/>
                  <a:pt x="68" y="250"/>
                </a:cubicBezTo>
                <a:cubicBezTo>
                  <a:pt x="68" y="249"/>
                  <a:pt x="68" y="249"/>
                  <a:pt x="69" y="248"/>
                </a:cubicBezTo>
                <a:cubicBezTo>
                  <a:pt x="68" y="250"/>
                  <a:pt x="69" y="248"/>
                  <a:pt x="70" y="248"/>
                </a:cubicBezTo>
                <a:cubicBezTo>
                  <a:pt x="71" y="245"/>
                  <a:pt x="75" y="240"/>
                  <a:pt x="75" y="239"/>
                </a:cubicBezTo>
                <a:cubicBezTo>
                  <a:pt x="76" y="238"/>
                  <a:pt x="76" y="239"/>
                  <a:pt x="76" y="238"/>
                </a:cubicBezTo>
                <a:cubicBezTo>
                  <a:pt x="78" y="237"/>
                  <a:pt x="79" y="235"/>
                  <a:pt x="80" y="233"/>
                </a:cubicBezTo>
                <a:cubicBezTo>
                  <a:pt x="80" y="234"/>
                  <a:pt x="80" y="234"/>
                  <a:pt x="80" y="234"/>
                </a:cubicBezTo>
                <a:cubicBezTo>
                  <a:pt x="81" y="233"/>
                  <a:pt x="81" y="233"/>
                  <a:pt x="81" y="232"/>
                </a:cubicBezTo>
                <a:cubicBezTo>
                  <a:pt x="81" y="232"/>
                  <a:pt x="80" y="232"/>
                  <a:pt x="80" y="232"/>
                </a:cubicBezTo>
                <a:cubicBezTo>
                  <a:pt x="81" y="231"/>
                  <a:pt x="81" y="230"/>
                  <a:pt x="82" y="230"/>
                </a:cubicBezTo>
                <a:cubicBezTo>
                  <a:pt x="82" y="231"/>
                  <a:pt x="82" y="231"/>
                  <a:pt x="83" y="231"/>
                </a:cubicBezTo>
                <a:cubicBezTo>
                  <a:pt x="84" y="228"/>
                  <a:pt x="87" y="226"/>
                  <a:pt x="87" y="224"/>
                </a:cubicBezTo>
                <a:cubicBezTo>
                  <a:pt x="88" y="223"/>
                  <a:pt x="88" y="223"/>
                  <a:pt x="88" y="223"/>
                </a:cubicBezTo>
                <a:cubicBezTo>
                  <a:pt x="88" y="223"/>
                  <a:pt x="90" y="221"/>
                  <a:pt x="89" y="222"/>
                </a:cubicBezTo>
                <a:cubicBezTo>
                  <a:pt x="89" y="222"/>
                  <a:pt x="88" y="223"/>
                  <a:pt x="88" y="222"/>
                </a:cubicBezTo>
                <a:cubicBezTo>
                  <a:pt x="90" y="221"/>
                  <a:pt x="91" y="219"/>
                  <a:pt x="92" y="218"/>
                </a:cubicBezTo>
                <a:cubicBezTo>
                  <a:pt x="92" y="218"/>
                  <a:pt x="92" y="218"/>
                  <a:pt x="92" y="218"/>
                </a:cubicBezTo>
                <a:cubicBezTo>
                  <a:pt x="92" y="218"/>
                  <a:pt x="91" y="218"/>
                  <a:pt x="91" y="219"/>
                </a:cubicBezTo>
                <a:cubicBezTo>
                  <a:pt x="93" y="215"/>
                  <a:pt x="97" y="213"/>
                  <a:pt x="99" y="209"/>
                </a:cubicBezTo>
                <a:cubicBezTo>
                  <a:pt x="100" y="208"/>
                  <a:pt x="98" y="209"/>
                  <a:pt x="99" y="209"/>
                </a:cubicBezTo>
                <a:cubicBezTo>
                  <a:pt x="101" y="207"/>
                  <a:pt x="103" y="205"/>
                  <a:pt x="104" y="203"/>
                </a:cubicBezTo>
                <a:cubicBezTo>
                  <a:pt x="106" y="200"/>
                  <a:pt x="110" y="198"/>
                  <a:pt x="110" y="196"/>
                </a:cubicBezTo>
                <a:cubicBezTo>
                  <a:pt x="111" y="196"/>
                  <a:pt x="112" y="193"/>
                  <a:pt x="114" y="193"/>
                </a:cubicBezTo>
                <a:cubicBezTo>
                  <a:pt x="114" y="191"/>
                  <a:pt x="115" y="191"/>
                  <a:pt x="116" y="189"/>
                </a:cubicBezTo>
                <a:cubicBezTo>
                  <a:pt x="117" y="190"/>
                  <a:pt x="120" y="186"/>
                  <a:pt x="120" y="185"/>
                </a:cubicBezTo>
                <a:cubicBezTo>
                  <a:pt x="122" y="184"/>
                  <a:pt x="121" y="185"/>
                  <a:pt x="121" y="185"/>
                </a:cubicBezTo>
                <a:cubicBezTo>
                  <a:pt x="122" y="184"/>
                  <a:pt x="123" y="184"/>
                  <a:pt x="123" y="183"/>
                </a:cubicBezTo>
                <a:cubicBezTo>
                  <a:pt x="123" y="183"/>
                  <a:pt x="123" y="182"/>
                  <a:pt x="124" y="181"/>
                </a:cubicBezTo>
                <a:cubicBezTo>
                  <a:pt x="124" y="181"/>
                  <a:pt x="123" y="183"/>
                  <a:pt x="124" y="182"/>
                </a:cubicBezTo>
                <a:cubicBezTo>
                  <a:pt x="125" y="182"/>
                  <a:pt x="125" y="180"/>
                  <a:pt x="126" y="179"/>
                </a:cubicBezTo>
                <a:cubicBezTo>
                  <a:pt x="126" y="180"/>
                  <a:pt x="127" y="179"/>
                  <a:pt x="128" y="179"/>
                </a:cubicBezTo>
                <a:cubicBezTo>
                  <a:pt x="128" y="177"/>
                  <a:pt x="130" y="176"/>
                  <a:pt x="130" y="174"/>
                </a:cubicBezTo>
                <a:cubicBezTo>
                  <a:pt x="130" y="175"/>
                  <a:pt x="129" y="175"/>
                  <a:pt x="129" y="174"/>
                </a:cubicBezTo>
                <a:cubicBezTo>
                  <a:pt x="130" y="174"/>
                  <a:pt x="130" y="174"/>
                  <a:pt x="130" y="174"/>
                </a:cubicBezTo>
                <a:cubicBezTo>
                  <a:pt x="130" y="173"/>
                  <a:pt x="129" y="174"/>
                  <a:pt x="129" y="174"/>
                </a:cubicBezTo>
                <a:cubicBezTo>
                  <a:pt x="132" y="172"/>
                  <a:pt x="131" y="172"/>
                  <a:pt x="134" y="170"/>
                </a:cubicBezTo>
                <a:cubicBezTo>
                  <a:pt x="133" y="171"/>
                  <a:pt x="131" y="173"/>
                  <a:pt x="133" y="172"/>
                </a:cubicBezTo>
                <a:cubicBezTo>
                  <a:pt x="133" y="173"/>
                  <a:pt x="131" y="174"/>
                  <a:pt x="131" y="174"/>
                </a:cubicBezTo>
                <a:cubicBezTo>
                  <a:pt x="132" y="173"/>
                  <a:pt x="132" y="172"/>
                  <a:pt x="134" y="172"/>
                </a:cubicBezTo>
                <a:cubicBezTo>
                  <a:pt x="134" y="171"/>
                  <a:pt x="135" y="171"/>
                  <a:pt x="136" y="169"/>
                </a:cubicBezTo>
                <a:cubicBezTo>
                  <a:pt x="135" y="170"/>
                  <a:pt x="135" y="170"/>
                  <a:pt x="134" y="171"/>
                </a:cubicBezTo>
                <a:cubicBezTo>
                  <a:pt x="135" y="170"/>
                  <a:pt x="134" y="170"/>
                  <a:pt x="134" y="170"/>
                </a:cubicBezTo>
                <a:cubicBezTo>
                  <a:pt x="134" y="169"/>
                  <a:pt x="135" y="168"/>
                  <a:pt x="136" y="168"/>
                </a:cubicBezTo>
                <a:cubicBezTo>
                  <a:pt x="135" y="168"/>
                  <a:pt x="135" y="169"/>
                  <a:pt x="135" y="169"/>
                </a:cubicBezTo>
                <a:cubicBezTo>
                  <a:pt x="136" y="169"/>
                  <a:pt x="136" y="169"/>
                  <a:pt x="136" y="168"/>
                </a:cubicBezTo>
                <a:cubicBezTo>
                  <a:pt x="137" y="167"/>
                  <a:pt x="136" y="168"/>
                  <a:pt x="136" y="167"/>
                </a:cubicBezTo>
                <a:cubicBezTo>
                  <a:pt x="139" y="165"/>
                  <a:pt x="142" y="161"/>
                  <a:pt x="144" y="161"/>
                </a:cubicBezTo>
                <a:cubicBezTo>
                  <a:pt x="144" y="161"/>
                  <a:pt x="146" y="159"/>
                  <a:pt x="145" y="159"/>
                </a:cubicBezTo>
                <a:cubicBezTo>
                  <a:pt x="145" y="159"/>
                  <a:pt x="143" y="161"/>
                  <a:pt x="143" y="160"/>
                </a:cubicBezTo>
                <a:cubicBezTo>
                  <a:pt x="145" y="159"/>
                  <a:pt x="148" y="155"/>
                  <a:pt x="148" y="157"/>
                </a:cubicBezTo>
                <a:cubicBezTo>
                  <a:pt x="149" y="157"/>
                  <a:pt x="149" y="157"/>
                  <a:pt x="149" y="156"/>
                </a:cubicBezTo>
                <a:cubicBezTo>
                  <a:pt x="150" y="155"/>
                  <a:pt x="149" y="156"/>
                  <a:pt x="149" y="155"/>
                </a:cubicBezTo>
                <a:cubicBezTo>
                  <a:pt x="153" y="152"/>
                  <a:pt x="159" y="147"/>
                  <a:pt x="161" y="144"/>
                </a:cubicBezTo>
                <a:cubicBezTo>
                  <a:pt x="166" y="141"/>
                  <a:pt x="170" y="137"/>
                  <a:pt x="175" y="134"/>
                </a:cubicBezTo>
                <a:cubicBezTo>
                  <a:pt x="175" y="134"/>
                  <a:pt x="174" y="134"/>
                  <a:pt x="174" y="134"/>
                </a:cubicBezTo>
                <a:cubicBezTo>
                  <a:pt x="178" y="132"/>
                  <a:pt x="183" y="127"/>
                  <a:pt x="187" y="124"/>
                </a:cubicBezTo>
                <a:cubicBezTo>
                  <a:pt x="188" y="124"/>
                  <a:pt x="187" y="124"/>
                  <a:pt x="187" y="123"/>
                </a:cubicBezTo>
                <a:cubicBezTo>
                  <a:pt x="191" y="122"/>
                  <a:pt x="193" y="119"/>
                  <a:pt x="196" y="117"/>
                </a:cubicBezTo>
                <a:cubicBezTo>
                  <a:pt x="196" y="117"/>
                  <a:pt x="196" y="117"/>
                  <a:pt x="196" y="117"/>
                </a:cubicBezTo>
                <a:cubicBezTo>
                  <a:pt x="198" y="116"/>
                  <a:pt x="200" y="115"/>
                  <a:pt x="201" y="114"/>
                </a:cubicBezTo>
                <a:cubicBezTo>
                  <a:pt x="204" y="112"/>
                  <a:pt x="207" y="109"/>
                  <a:pt x="211" y="108"/>
                </a:cubicBezTo>
                <a:cubicBezTo>
                  <a:pt x="210" y="107"/>
                  <a:pt x="213" y="106"/>
                  <a:pt x="213" y="107"/>
                </a:cubicBezTo>
                <a:cubicBezTo>
                  <a:pt x="212" y="107"/>
                  <a:pt x="210" y="108"/>
                  <a:pt x="211" y="108"/>
                </a:cubicBezTo>
                <a:cubicBezTo>
                  <a:pt x="212" y="107"/>
                  <a:pt x="212" y="108"/>
                  <a:pt x="213" y="108"/>
                </a:cubicBezTo>
                <a:cubicBezTo>
                  <a:pt x="215" y="106"/>
                  <a:pt x="214" y="106"/>
                  <a:pt x="214" y="106"/>
                </a:cubicBezTo>
                <a:cubicBezTo>
                  <a:pt x="216" y="104"/>
                  <a:pt x="219" y="102"/>
                  <a:pt x="221" y="101"/>
                </a:cubicBezTo>
                <a:cubicBezTo>
                  <a:pt x="222" y="100"/>
                  <a:pt x="222" y="101"/>
                  <a:pt x="222" y="101"/>
                </a:cubicBezTo>
                <a:cubicBezTo>
                  <a:pt x="228" y="96"/>
                  <a:pt x="237" y="92"/>
                  <a:pt x="242" y="88"/>
                </a:cubicBezTo>
                <a:cubicBezTo>
                  <a:pt x="244" y="88"/>
                  <a:pt x="244" y="88"/>
                  <a:pt x="245" y="87"/>
                </a:cubicBezTo>
                <a:cubicBezTo>
                  <a:pt x="245" y="87"/>
                  <a:pt x="245" y="87"/>
                  <a:pt x="245" y="87"/>
                </a:cubicBezTo>
                <a:cubicBezTo>
                  <a:pt x="256" y="81"/>
                  <a:pt x="266" y="76"/>
                  <a:pt x="277" y="71"/>
                </a:cubicBezTo>
                <a:cubicBezTo>
                  <a:pt x="277" y="71"/>
                  <a:pt x="280" y="70"/>
                  <a:pt x="282" y="69"/>
                </a:cubicBezTo>
                <a:cubicBezTo>
                  <a:pt x="284" y="68"/>
                  <a:pt x="285" y="68"/>
                  <a:pt x="287" y="67"/>
                </a:cubicBezTo>
                <a:cubicBezTo>
                  <a:pt x="288" y="66"/>
                  <a:pt x="296" y="63"/>
                  <a:pt x="299" y="62"/>
                </a:cubicBezTo>
                <a:cubicBezTo>
                  <a:pt x="299" y="62"/>
                  <a:pt x="299" y="62"/>
                  <a:pt x="300" y="62"/>
                </a:cubicBezTo>
                <a:cubicBezTo>
                  <a:pt x="302" y="60"/>
                  <a:pt x="306" y="60"/>
                  <a:pt x="307" y="59"/>
                </a:cubicBezTo>
                <a:cubicBezTo>
                  <a:pt x="307" y="59"/>
                  <a:pt x="308" y="59"/>
                  <a:pt x="308" y="59"/>
                </a:cubicBezTo>
                <a:cubicBezTo>
                  <a:pt x="309" y="59"/>
                  <a:pt x="309" y="59"/>
                  <a:pt x="309" y="58"/>
                </a:cubicBezTo>
                <a:cubicBezTo>
                  <a:pt x="311" y="58"/>
                  <a:pt x="311" y="58"/>
                  <a:pt x="311" y="58"/>
                </a:cubicBezTo>
                <a:cubicBezTo>
                  <a:pt x="313" y="57"/>
                  <a:pt x="315" y="57"/>
                  <a:pt x="317" y="56"/>
                </a:cubicBezTo>
                <a:cubicBezTo>
                  <a:pt x="317" y="56"/>
                  <a:pt x="317" y="56"/>
                  <a:pt x="317" y="56"/>
                </a:cubicBezTo>
                <a:cubicBezTo>
                  <a:pt x="319" y="55"/>
                  <a:pt x="321" y="55"/>
                  <a:pt x="322" y="54"/>
                </a:cubicBezTo>
                <a:cubicBezTo>
                  <a:pt x="321" y="55"/>
                  <a:pt x="323" y="55"/>
                  <a:pt x="323" y="54"/>
                </a:cubicBezTo>
                <a:cubicBezTo>
                  <a:pt x="325" y="54"/>
                  <a:pt x="322" y="54"/>
                  <a:pt x="324" y="54"/>
                </a:cubicBezTo>
                <a:cubicBezTo>
                  <a:pt x="326" y="54"/>
                  <a:pt x="329" y="53"/>
                  <a:pt x="331" y="52"/>
                </a:cubicBezTo>
                <a:cubicBezTo>
                  <a:pt x="332" y="52"/>
                  <a:pt x="334" y="51"/>
                  <a:pt x="337" y="50"/>
                </a:cubicBezTo>
                <a:cubicBezTo>
                  <a:pt x="339" y="50"/>
                  <a:pt x="342" y="49"/>
                  <a:pt x="343" y="49"/>
                </a:cubicBezTo>
                <a:cubicBezTo>
                  <a:pt x="350" y="48"/>
                  <a:pt x="356" y="45"/>
                  <a:pt x="363" y="45"/>
                </a:cubicBezTo>
                <a:cubicBezTo>
                  <a:pt x="362" y="45"/>
                  <a:pt x="362" y="45"/>
                  <a:pt x="362" y="44"/>
                </a:cubicBezTo>
                <a:cubicBezTo>
                  <a:pt x="363" y="44"/>
                  <a:pt x="362" y="45"/>
                  <a:pt x="363" y="45"/>
                </a:cubicBezTo>
                <a:cubicBezTo>
                  <a:pt x="367" y="43"/>
                  <a:pt x="374" y="43"/>
                  <a:pt x="380" y="42"/>
                </a:cubicBezTo>
                <a:cubicBezTo>
                  <a:pt x="380" y="42"/>
                  <a:pt x="380" y="42"/>
                  <a:pt x="380" y="42"/>
                </a:cubicBezTo>
                <a:cubicBezTo>
                  <a:pt x="384" y="41"/>
                  <a:pt x="387" y="41"/>
                  <a:pt x="391" y="41"/>
                </a:cubicBezTo>
                <a:cubicBezTo>
                  <a:pt x="395" y="40"/>
                  <a:pt x="400" y="39"/>
                  <a:pt x="404" y="40"/>
                </a:cubicBezTo>
                <a:cubicBezTo>
                  <a:pt x="405" y="40"/>
                  <a:pt x="404" y="39"/>
                  <a:pt x="404" y="39"/>
                </a:cubicBezTo>
                <a:cubicBezTo>
                  <a:pt x="406" y="40"/>
                  <a:pt x="407" y="39"/>
                  <a:pt x="408" y="39"/>
                </a:cubicBezTo>
                <a:cubicBezTo>
                  <a:pt x="408" y="39"/>
                  <a:pt x="407" y="39"/>
                  <a:pt x="407" y="39"/>
                </a:cubicBezTo>
                <a:cubicBezTo>
                  <a:pt x="408" y="39"/>
                  <a:pt x="409" y="39"/>
                  <a:pt x="409" y="39"/>
                </a:cubicBezTo>
                <a:cubicBezTo>
                  <a:pt x="417" y="39"/>
                  <a:pt x="425" y="38"/>
                  <a:pt x="433" y="39"/>
                </a:cubicBezTo>
                <a:cubicBezTo>
                  <a:pt x="434" y="39"/>
                  <a:pt x="434" y="39"/>
                  <a:pt x="434" y="38"/>
                </a:cubicBezTo>
                <a:cubicBezTo>
                  <a:pt x="381" y="36"/>
                  <a:pt x="328" y="48"/>
                  <a:pt x="279" y="69"/>
                </a:cubicBezTo>
                <a:cubicBezTo>
                  <a:pt x="230" y="90"/>
                  <a:pt x="185" y="121"/>
                  <a:pt x="145" y="157"/>
                </a:cubicBezTo>
                <a:cubicBezTo>
                  <a:pt x="142" y="160"/>
                  <a:pt x="138" y="164"/>
                  <a:pt x="136" y="165"/>
                </a:cubicBezTo>
                <a:cubicBezTo>
                  <a:pt x="134" y="167"/>
                  <a:pt x="133" y="169"/>
                  <a:pt x="131" y="170"/>
                </a:cubicBezTo>
                <a:cubicBezTo>
                  <a:pt x="131" y="171"/>
                  <a:pt x="130" y="171"/>
                  <a:pt x="130" y="171"/>
                </a:cubicBezTo>
                <a:cubicBezTo>
                  <a:pt x="130" y="172"/>
                  <a:pt x="127" y="174"/>
                  <a:pt x="126" y="175"/>
                </a:cubicBezTo>
                <a:cubicBezTo>
                  <a:pt x="124" y="176"/>
                  <a:pt x="123" y="179"/>
                  <a:pt x="122" y="180"/>
                </a:cubicBezTo>
                <a:cubicBezTo>
                  <a:pt x="122" y="179"/>
                  <a:pt x="123" y="178"/>
                  <a:pt x="124" y="177"/>
                </a:cubicBezTo>
                <a:cubicBezTo>
                  <a:pt x="121" y="178"/>
                  <a:pt x="119" y="183"/>
                  <a:pt x="116" y="185"/>
                </a:cubicBezTo>
                <a:cubicBezTo>
                  <a:pt x="114" y="188"/>
                  <a:pt x="109" y="192"/>
                  <a:pt x="109" y="194"/>
                </a:cubicBezTo>
                <a:cubicBezTo>
                  <a:pt x="108" y="194"/>
                  <a:pt x="108" y="195"/>
                  <a:pt x="107" y="195"/>
                </a:cubicBezTo>
                <a:cubicBezTo>
                  <a:pt x="107" y="196"/>
                  <a:pt x="105" y="199"/>
                  <a:pt x="104" y="198"/>
                </a:cubicBezTo>
                <a:cubicBezTo>
                  <a:pt x="102" y="200"/>
                  <a:pt x="101" y="203"/>
                  <a:pt x="98" y="205"/>
                </a:cubicBezTo>
                <a:cubicBezTo>
                  <a:pt x="98" y="205"/>
                  <a:pt x="99" y="203"/>
                  <a:pt x="98" y="204"/>
                </a:cubicBezTo>
                <a:cubicBezTo>
                  <a:pt x="98" y="204"/>
                  <a:pt x="97" y="206"/>
                  <a:pt x="98" y="205"/>
                </a:cubicBezTo>
                <a:cubicBezTo>
                  <a:pt x="96" y="208"/>
                  <a:pt x="93" y="210"/>
                  <a:pt x="91" y="213"/>
                </a:cubicBezTo>
                <a:cubicBezTo>
                  <a:pt x="91" y="213"/>
                  <a:pt x="90" y="215"/>
                  <a:pt x="90" y="215"/>
                </a:cubicBezTo>
                <a:cubicBezTo>
                  <a:pt x="90" y="216"/>
                  <a:pt x="90" y="215"/>
                  <a:pt x="90" y="215"/>
                </a:cubicBezTo>
                <a:cubicBezTo>
                  <a:pt x="89" y="217"/>
                  <a:pt x="87" y="218"/>
                  <a:pt x="87" y="219"/>
                </a:cubicBezTo>
                <a:cubicBezTo>
                  <a:pt x="86" y="220"/>
                  <a:pt x="85" y="221"/>
                  <a:pt x="85" y="222"/>
                </a:cubicBezTo>
                <a:cubicBezTo>
                  <a:pt x="82" y="223"/>
                  <a:pt x="79" y="229"/>
                  <a:pt x="76" y="232"/>
                </a:cubicBezTo>
                <a:cubicBezTo>
                  <a:pt x="74" y="236"/>
                  <a:pt x="70" y="238"/>
                  <a:pt x="68" y="243"/>
                </a:cubicBezTo>
                <a:cubicBezTo>
                  <a:pt x="67" y="243"/>
                  <a:pt x="68" y="244"/>
                  <a:pt x="67" y="244"/>
                </a:cubicBezTo>
                <a:cubicBezTo>
                  <a:pt x="68" y="242"/>
                  <a:pt x="70" y="239"/>
                  <a:pt x="72" y="236"/>
                </a:cubicBezTo>
                <a:cubicBezTo>
                  <a:pt x="72" y="236"/>
                  <a:pt x="72" y="236"/>
                  <a:pt x="71" y="236"/>
                </a:cubicBezTo>
                <a:cubicBezTo>
                  <a:pt x="71" y="236"/>
                  <a:pt x="70" y="237"/>
                  <a:pt x="70" y="238"/>
                </a:cubicBezTo>
                <a:cubicBezTo>
                  <a:pt x="69" y="239"/>
                  <a:pt x="71" y="236"/>
                  <a:pt x="69" y="238"/>
                </a:cubicBezTo>
                <a:cubicBezTo>
                  <a:pt x="69" y="238"/>
                  <a:pt x="67" y="241"/>
                  <a:pt x="68" y="241"/>
                </a:cubicBezTo>
                <a:cubicBezTo>
                  <a:pt x="67" y="242"/>
                  <a:pt x="67" y="243"/>
                  <a:pt x="66" y="244"/>
                </a:cubicBezTo>
                <a:cubicBezTo>
                  <a:pt x="67" y="243"/>
                  <a:pt x="66" y="244"/>
                  <a:pt x="66" y="245"/>
                </a:cubicBezTo>
                <a:cubicBezTo>
                  <a:pt x="64" y="246"/>
                  <a:pt x="64" y="248"/>
                  <a:pt x="63" y="249"/>
                </a:cubicBezTo>
                <a:cubicBezTo>
                  <a:pt x="63" y="250"/>
                  <a:pt x="63" y="249"/>
                  <a:pt x="63" y="249"/>
                </a:cubicBezTo>
                <a:cubicBezTo>
                  <a:pt x="62" y="251"/>
                  <a:pt x="59" y="254"/>
                  <a:pt x="59" y="255"/>
                </a:cubicBezTo>
                <a:cubicBezTo>
                  <a:pt x="60" y="253"/>
                  <a:pt x="60" y="252"/>
                  <a:pt x="61" y="250"/>
                </a:cubicBezTo>
                <a:cubicBezTo>
                  <a:pt x="60" y="251"/>
                  <a:pt x="61" y="250"/>
                  <a:pt x="59" y="251"/>
                </a:cubicBezTo>
                <a:cubicBezTo>
                  <a:pt x="60" y="251"/>
                  <a:pt x="59" y="252"/>
                  <a:pt x="59" y="253"/>
                </a:cubicBezTo>
                <a:cubicBezTo>
                  <a:pt x="59" y="252"/>
                  <a:pt x="54" y="258"/>
                  <a:pt x="54" y="260"/>
                </a:cubicBezTo>
                <a:cubicBezTo>
                  <a:pt x="53" y="261"/>
                  <a:pt x="54" y="259"/>
                  <a:pt x="53" y="260"/>
                </a:cubicBezTo>
                <a:cubicBezTo>
                  <a:pt x="53" y="260"/>
                  <a:pt x="53" y="260"/>
                  <a:pt x="52" y="261"/>
                </a:cubicBezTo>
                <a:cubicBezTo>
                  <a:pt x="53" y="261"/>
                  <a:pt x="52" y="262"/>
                  <a:pt x="54" y="261"/>
                </a:cubicBezTo>
                <a:cubicBezTo>
                  <a:pt x="53" y="262"/>
                  <a:pt x="52" y="263"/>
                  <a:pt x="52" y="264"/>
                </a:cubicBezTo>
                <a:cubicBezTo>
                  <a:pt x="52" y="264"/>
                  <a:pt x="53" y="262"/>
                  <a:pt x="53" y="262"/>
                </a:cubicBezTo>
                <a:cubicBezTo>
                  <a:pt x="52" y="263"/>
                  <a:pt x="52" y="265"/>
                  <a:pt x="51" y="265"/>
                </a:cubicBezTo>
                <a:cubicBezTo>
                  <a:pt x="51" y="264"/>
                  <a:pt x="52" y="263"/>
                  <a:pt x="52" y="263"/>
                </a:cubicBezTo>
                <a:cubicBezTo>
                  <a:pt x="51" y="264"/>
                  <a:pt x="50" y="265"/>
                  <a:pt x="50" y="266"/>
                </a:cubicBezTo>
                <a:cubicBezTo>
                  <a:pt x="50" y="265"/>
                  <a:pt x="49" y="266"/>
                  <a:pt x="49" y="265"/>
                </a:cubicBezTo>
                <a:cubicBezTo>
                  <a:pt x="49" y="265"/>
                  <a:pt x="50" y="262"/>
                  <a:pt x="49" y="263"/>
                </a:cubicBezTo>
                <a:cubicBezTo>
                  <a:pt x="49" y="264"/>
                  <a:pt x="49" y="265"/>
                  <a:pt x="48" y="265"/>
                </a:cubicBezTo>
                <a:cubicBezTo>
                  <a:pt x="49" y="264"/>
                  <a:pt x="47" y="267"/>
                  <a:pt x="47" y="265"/>
                </a:cubicBezTo>
                <a:cubicBezTo>
                  <a:pt x="47" y="266"/>
                  <a:pt x="46" y="269"/>
                  <a:pt x="47" y="267"/>
                </a:cubicBezTo>
                <a:cubicBezTo>
                  <a:pt x="47" y="266"/>
                  <a:pt x="48" y="267"/>
                  <a:pt x="48" y="267"/>
                </a:cubicBezTo>
                <a:cubicBezTo>
                  <a:pt x="48" y="266"/>
                  <a:pt x="48" y="266"/>
                  <a:pt x="49" y="266"/>
                </a:cubicBezTo>
                <a:cubicBezTo>
                  <a:pt x="48" y="266"/>
                  <a:pt x="49" y="266"/>
                  <a:pt x="49" y="267"/>
                </a:cubicBezTo>
                <a:cubicBezTo>
                  <a:pt x="48" y="268"/>
                  <a:pt x="48" y="267"/>
                  <a:pt x="47" y="268"/>
                </a:cubicBezTo>
                <a:cubicBezTo>
                  <a:pt x="47" y="268"/>
                  <a:pt x="46" y="269"/>
                  <a:pt x="46" y="270"/>
                </a:cubicBezTo>
                <a:cubicBezTo>
                  <a:pt x="47" y="269"/>
                  <a:pt x="47" y="268"/>
                  <a:pt x="47" y="269"/>
                </a:cubicBezTo>
                <a:cubicBezTo>
                  <a:pt x="46" y="270"/>
                  <a:pt x="45" y="273"/>
                  <a:pt x="43" y="274"/>
                </a:cubicBezTo>
                <a:cubicBezTo>
                  <a:pt x="45" y="272"/>
                  <a:pt x="45" y="271"/>
                  <a:pt x="46" y="268"/>
                </a:cubicBezTo>
                <a:cubicBezTo>
                  <a:pt x="46" y="268"/>
                  <a:pt x="46" y="268"/>
                  <a:pt x="46" y="268"/>
                </a:cubicBezTo>
                <a:cubicBezTo>
                  <a:pt x="44" y="271"/>
                  <a:pt x="43" y="273"/>
                  <a:pt x="42" y="276"/>
                </a:cubicBezTo>
                <a:cubicBezTo>
                  <a:pt x="41" y="276"/>
                  <a:pt x="41" y="276"/>
                  <a:pt x="41" y="275"/>
                </a:cubicBezTo>
                <a:cubicBezTo>
                  <a:pt x="41" y="276"/>
                  <a:pt x="41" y="276"/>
                  <a:pt x="41" y="276"/>
                </a:cubicBezTo>
                <a:cubicBezTo>
                  <a:pt x="41" y="277"/>
                  <a:pt x="41" y="276"/>
                  <a:pt x="41" y="277"/>
                </a:cubicBezTo>
                <a:cubicBezTo>
                  <a:pt x="41" y="278"/>
                  <a:pt x="40" y="280"/>
                  <a:pt x="39" y="280"/>
                </a:cubicBezTo>
                <a:cubicBezTo>
                  <a:pt x="38" y="281"/>
                  <a:pt x="37" y="285"/>
                  <a:pt x="36" y="286"/>
                </a:cubicBezTo>
                <a:cubicBezTo>
                  <a:pt x="36" y="285"/>
                  <a:pt x="37" y="283"/>
                  <a:pt x="38" y="280"/>
                </a:cubicBezTo>
                <a:cubicBezTo>
                  <a:pt x="37" y="282"/>
                  <a:pt x="36" y="285"/>
                  <a:pt x="35" y="286"/>
                </a:cubicBezTo>
                <a:cubicBezTo>
                  <a:pt x="36" y="285"/>
                  <a:pt x="35" y="287"/>
                  <a:pt x="35" y="287"/>
                </a:cubicBezTo>
                <a:cubicBezTo>
                  <a:pt x="35" y="287"/>
                  <a:pt x="35" y="288"/>
                  <a:pt x="35" y="288"/>
                </a:cubicBezTo>
                <a:cubicBezTo>
                  <a:pt x="35" y="287"/>
                  <a:pt x="35" y="286"/>
                  <a:pt x="34" y="287"/>
                </a:cubicBezTo>
                <a:cubicBezTo>
                  <a:pt x="34" y="289"/>
                  <a:pt x="33" y="289"/>
                  <a:pt x="32" y="290"/>
                </a:cubicBezTo>
                <a:cubicBezTo>
                  <a:pt x="31" y="294"/>
                  <a:pt x="29" y="295"/>
                  <a:pt x="28" y="298"/>
                </a:cubicBezTo>
                <a:cubicBezTo>
                  <a:pt x="27" y="298"/>
                  <a:pt x="29" y="295"/>
                  <a:pt x="29" y="294"/>
                </a:cubicBezTo>
                <a:cubicBezTo>
                  <a:pt x="27" y="296"/>
                  <a:pt x="27" y="299"/>
                  <a:pt x="25" y="300"/>
                </a:cubicBezTo>
                <a:cubicBezTo>
                  <a:pt x="24" y="302"/>
                  <a:pt x="23" y="304"/>
                  <a:pt x="22" y="306"/>
                </a:cubicBezTo>
                <a:cubicBezTo>
                  <a:pt x="22" y="307"/>
                  <a:pt x="22" y="306"/>
                  <a:pt x="22" y="308"/>
                </a:cubicBezTo>
                <a:cubicBezTo>
                  <a:pt x="22" y="308"/>
                  <a:pt x="21" y="308"/>
                  <a:pt x="21" y="309"/>
                </a:cubicBezTo>
                <a:cubicBezTo>
                  <a:pt x="22" y="308"/>
                  <a:pt x="22" y="308"/>
                  <a:pt x="22" y="309"/>
                </a:cubicBezTo>
                <a:cubicBezTo>
                  <a:pt x="20" y="310"/>
                  <a:pt x="21" y="308"/>
                  <a:pt x="22" y="307"/>
                </a:cubicBezTo>
                <a:cubicBezTo>
                  <a:pt x="21" y="309"/>
                  <a:pt x="22" y="306"/>
                  <a:pt x="21" y="307"/>
                </a:cubicBezTo>
                <a:cubicBezTo>
                  <a:pt x="21" y="308"/>
                  <a:pt x="20" y="310"/>
                  <a:pt x="20" y="309"/>
                </a:cubicBezTo>
                <a:cubicBezTo>
                  <a:pt x="20" y="308"/>
                  <a:pt x="20" y="307"/>
                  <a:pt x="21" y="306"/>
                </a:cubicBezTo>
                <a:cubicBezTo>
                  <a:pt x="21" y="306"/>
                  <a:pt x="21" y="306"/>
                  <a:pt x="21" y="306"/>
                </a:cubicBezTo>
                <a:cubicBezTo>
                  <a:pt x="20" y="306"/>
                  <a:pt x="20" y="308"/>
                  <a:pt x="19" y="308"/>
                </a:cubicBezTo>
                <a:cubicBezTo>
                  <a:pt x="20" y="306"/>
                  <a:pt x="22" y="304"/>
                  <a:pt x="22" y="302"/>
                </a:cubicBezTo>
                <a:cubicBezTo>
                  <a:pt x="22" y="301"/>
                  <a:pt x="22" y="303"/>
                  <a:pt x="22" y="302"/>
                </a:cubicBezTo>
                <a:cubicBezTo>
                  <a:pt x="22" y="301"/>
                  <a:pt x="22" y="300"/>
                  <a:pt x="23" y="300"/>
                </a:cubicBezTo>
                <a:cubicBezTo>
                  <a:pt x="23" y="300"/>
                  <a:pt x="23" y="301"/>
                  <a:pt x="23" y="301"/>
                </a:cubicBezTo>
                <a:cubicBezTo>
                  <a:pt x="24" y="300"/>
                  <a:pt x="25" y="297"/>
                  <a:pt x="24" y="297"/>
                </a:cubicBezTo>
                <a:cubicBezTo>
                  <a:pt x="25" y="297"/>
                  <a:pt x="25" y="296"/>
                  <a:pt x="26" y="295"/>
                </a:cubicBezTo>
                <a:cubicBezTo>
                  <a:pt x="26" y="297"/>
                  <a:pt x="25" y="297"/>
                  <a:pt x="25" y="299"/>
                </a:cubicBezTo>
                <a:cubicBezTo>
                  <a:pt x="26" y="297"/>
                  <a:pt x="26" y="296"/>
                  <a:pt x="27" y="295"/>
                </a:cubicBezTo>
                <a:cubicBezTo>
                  <a:pt x="28" y="295"/>
                  <a:pt x="28" y="294"/>
                  <a:pt x="28" y="294"/>
                </a:cubicBezTo>
                <a:cubicBezTo>
                  <a:pt x="28" y="294"/>
                  <a:pt x="28" y="294"/>
                  <a:pt x="27" y="295"/>
                </a:cubicBezTo>
                <a:cubicBezTo>
                  <a:pt x="27" y="294"/>
                  <a:pt x="27" y="294"/>
                  <a:pt x="27" y="294"/>
                </a:cubicBezTo>
                <a:cubicBezTo>
                  <a:pt x="27" y="293"/>
                  <a:pt x="28" y="292"/>
                  <a:pt x="28" y="291"/>
                </a:cubicBezTo>
                <a:cubicBezTo>
                  <a:pt x="27" y="291"/>
                  <a:pt x="26" y="294"/>
                  <a:pt x="27" y="292"/>
                </a:cubicBezTo>
                <a:cubicBezTo>
                  <a:pt x="28" y="291"/>
                  <a:pt x="29" y="288"/>
                  <a:pt x="30" y="287"/>
                </a:cubicBezTo>
                <a:cubicBezTo>
                  <a:pt x="29" y="288"/>
                  <a:pt x="29" y="289"/>
                  <a:pt x="29" y="290"/>
                </a:cubicBezTo>
                <a:cubicBezTo>
                  <a:pt x="31" y="288"/>
                  <a:pt x="32" y="284"/>
                  <a:pt x="33" y="284"/>
                </a:cubicBezTo>
                <a:cubicBezTo>
                  <a:pt x="33" y="283"/>
                  <a:pt x="33" y="283"/>
                  <a:pt x="32" y="284"/>
                </a:cubicBezTo>
                <a:cubicBezTo>
                  <a:pt x="33" y="282"/>
                  <a:pt x="33" y="281"/>
                  <a:pt x="34" y="280"/>
                </a:cubicBezTo>
                <a:cubicBezTo>
                  <a:pt x="36" y="279"/>
                  <a:pt x="37" y="276"/>
                  <a:pt x="39" y="272"/>
                </a:cubicBezTo>
                <a:cubicBezTo>
                  <a:pt x="39" y="273"/>
                  <a:pt x="38" y="274"/>
                  <a:pt x="38" y="274"/>
                </a:cubicBezTo>
                <a:cubicBezTo>
                  <a:pt x="39" y="273"/>
                  <a:pt x="39" y="272"/>
                  <a:pt x="40" y="271"/>
                </a:cubicBezTo>
                <a:cubicBezTo>
                  <a:pt x="40" y="271"/>
                  <a:pt x="40" y="272"/>
                  <a:pt x="41" y="271"/>
                </a:cubicBezTo>
                <a:cubicBezTo>
                  <a:pt x="41" y="270"/>
                  <a:pt x="41" y="270"/>
                  <a:pt x="41" y="270"/>
                </a:cubicBezTo>
                <a:cubicBezTo>
                  <a:pt x="43" y="268"/>
                  <a:pt x="43" y="265"/>
                  <a:pt x="44" y="264"/>
                </a:cubicBezTo>
                <a:cubicBezTo>
                  <a:pt x="46" y="263"/>
                  <a:pt x="47" y="259"/>
                  <a:pt x="47" y="259"/>
                </a:cubicBezTo>
                <a:cubicBezTo>
                  <a:pt x="46" y="259"/>
                  <a:pt x="46" y="261"/>
                  <a:pt x="45" y="261"/>
                </a:cubicBezTo>
                <a:cubicBezTo>
                  <a:pt x="46" y="260"/>
                  <a:pt x="45" y="261"/>
                  <a:pt x="45" y="260"/>
                </a:cubicBezTo>
                <a:cubicBezTo>
                  <a:pt x="48" y="258"/>
                  <a:pt x="48" y="258"/>
                  <a:pt x="48" y="258"/>
                </a:cubicBezTo>
                <a:cubicBezTo>
                  <a:pt x="47" y="259"/>
                  <a:pt x="47" y="259"/>
                  <a:pt x="47" y="261"/>
                </a:cubicBezTo>
                <a:cubicBezTo>
                  <a:pt x="49" y="258"/>
                  <a:pt x="50" y="255"/>
                  <a:pt x="51" y="254"/>
                </a:cubicBezTo>
                <a:cubicBezTo>
                  <a:pt x="51" y="254"/>
                  <a:pt x="52" y="253"/>
                  <a:pt x="52" y="252"/>
                </a:cubicBezTo>
                <a:cubicBezTo>
                  <a:pt x="52" y="251"/>
                  <a:pt x="54" y="250"/>
                  <a:pt x="55" y="249"/>
                </a:cubicBezTo>
                <a:cubicBezTo>
                  <a:pt x="54" y="248"/>
                  <a:pt x="55" y="247"/>
                  <a:pt x="55" y="246"/>
                </a:cubicBezTo>
                <a:cubicBezTo>
                  <a:pt x="56" y="246"/>
                  <a:pt x="56" y="247"/>
                  <a:pt x="56" y="247"/>
                </a:cubicBezTo>
                <a:cubicBezTo>
                  <a:pt x="57" y="244"/>
                  <a:pt x="58" y="245"/>
                  <a:pt x="59" y="243"/>
                </a:cubicBezTo>
                <a:cubicBezTo>
                  <a:pt x="58" y="244"/>
                  <a:pt x="58" y="243"/>
                  <a:pt x="58" y="243"/>
                </a:cubicBezTo>
                <a:cubicBezTo>
                  <a:pt x="59" y="241"/>
                  <a:pt x="61" y="238"/>
                  <a:pt x="60" y="240"/>
                </a:cubicBezTo>
                <a:cubicBezTo>
                  <a:pt x="61" y="239"/>
                  <a:pt x="63" y="236"/>
                  <a:pt x="65" y="234"/>
                </a:cubicBezTo>
                <a:cubicBezTo>
                  <a:pt x="65" y="232"/>
                  <a:pt x="65" y="232"/>
                  <a:pt x="65" y="232"/>
                </a:cubicBezTo>
                <a:cubicBezTo>
                  <a:pt x="66" y="231"/>
                  <a:pt x="65" y="234"/>
                  <a:pt x="66" y="233"/>
                </a:cubicBezTo>
                <a:cubicBezTo>
                  <a:pt x="67" y="231"/>
                  <a:pt x="67" y="229"/>
                  <a:pt x="69" y="227"/>
                </a:cubicBezTo>
                <a:cubicBezTo>
                  <a:pt x="68" y="227"/>
                  <a:pt x="68" y="228"/>
                  <a:pt x="68" y="229"/>
                </a:cubicBezTo>
                <a:cubicBezTo>
                  <a:pt x="69" y="227"/>
                  <a:pt x="70" y="224"/>
                  <a:pt x="71" y="224"/>
                </a:cubicBezTo>
                <a:cubicBezTo>
                  <a:pt x="71" y="224"/>
                  <a:pt x="69" y="226"/>
                  <a:pt x="70" y="226"/>
                </a:cubicBezTo>
                <a:cubicBezTo>
                  <a:pt x="71" y="225"/>
                  <a:pt x="72" y="224"/>
                  <a:pt x="73" y="222"/>
                </a:cubicBezTo>
                <a:cubicBezTo>
                  <a:pt x="72" y="223"/>
                  <a:pt x="71" y="224"/>
                  <a:pt x="71" y="223"/>
                </a:cubicBezTo>
                <a:cubicBezTo>
                  <a:pt x="72" y="222"/>
                  <a:pt x="73" y="221"/>
                  <a:pt x="73" y="222"/>
                </a:cubicBezTo>
                <a:cubicBezTo>
                  <a:pt x="73" y="221"/>
                  <a:pt x="74" y="220"/>
                  <a:pt x="74" y="219"/>
                </a:cubicBezTo>
                <a:cubicBezTo>
                  <a:pt x="74" y="219"/>
                  <a:pt x="73" y="220"/>
                  <a:pt x="72" y="220"/>
                </a:cubicBezTo>
                <a:cubicBezTo>
                  <a:pt x="72" y="221"/>
                  <a:pt x="72" y="221"/>
                  <a:pt x="71" y="222"/>
                </a:cubicBezTo>
                <a:cubicBezTo>
                  <a:pt x="69" y="223"/>
                  <a:pt x="67" y="228"/>
                  <a:pt x="64" y="231"/>
                </a:cubicBezTo>
                <a:cubicBezTo>
                  <a:pt x="64" y="232"/>
                  <a:pt x="62" y="233"/>
                  <a:pt x="61" y="236"/>
                </a:cubicBezTo>
                <a:cubicBezTo>
                  <a:pt x="59" y="238"/>
                  <a:pt x="57" y="241"/>
                  <a:pt x="55" y="244"/>
                </a:cubicBezTo>
                <a:cubicBezTo>
                  <a:pt x="55" y="244"/>
                  <a:pt x="54" y="244"/>
                  <a:pt x="54" y="244"/>
                </a:cubicBezTo>
                <a:cubicBezTo>
                  <a:pt x="54" y="245"/>
                  <a:pt x="53" y="245"/>
                  <a:pt x="53" y="246"/>
                </a:cubicBezTo>
                <a:cubicBezTo>
                  <a:pt x="52" y="247"/>
                  <a:pt x="52" y="246"/>
                  <a:pt x="51" y="246"/>
                </a:cubicBezTo>
                <a:cubicBezTo>
                  <a:pt x="51" y="247"/>
                  <a:pt x="50" y="248"/>
                  <a:pt x="51" y="249"/>
                </a:cubicBezTo>
                <a:cubicBezTo>
                  <a:pt x="50" y="250"/>
                  <a:pt x="49" y="251"/>
                  <a:pt x="48" y="251"/>
                </a:cubicBezTo>
                <a:cubicBezTo>
                  <a:pt x="48" y="252"/>
                  <a:pt x="48" y="252"/>
                  <a:pt x="48" y="253"/>
                </a:cubicBezTo>
                <a:cubicBezTo>
                  <a:pt x="47" y="252"/>
                  <a:pt x="49" y="250"/>
                  <a:pt x="48" y="251"/>
                </a:cubicBezTo>
                <a:cubicBezTo>
                  <a:pt x="47" y="252"/>
                  <a:pt x="46" y="254"/>
                  <a:pt x="46" y="253"/>
                </a:cubicBezTo>
                <a:cubicBezTo>
                  <a:pt x="45" y="254"/>
                  <a:pt x="45" y="255"/>
                  <a:pt x="45" y="256"/>
                </a:cubicBezTo>
                <a:cubicBezTo>
                  <a:pt x="45" y="255"/>
                  <a:pt x="45" y="256"/>
                  <a:pt x="45" y="257"/>
                </a:cubicBezTo>
                <a:cubicBezTo>
                  <a:pt x="44" y="258"/>
                  <a:pt x="45" y="256"/>
                  <a:pt x="44" y="257"/>
                </a:cubicBezTo>
                <a:cubicBezTo>
                  <a:pt x="43" y="259"/>
                  <a:pt x="42" y="259"/>
                  <a:pt x="41" y="261"/>
                </a:cubicBezTo>
                <a:cubicBezTo>
                  <a:pt x="42" y="260"/>
                  <a:pt x="42" y="259"/>
                  <a:pt x="41" y="259"/>
                </a:cubicBezTo>
                <a:cubicBezTo>
                  <a:pt x="42" y="259"/>
                  <a:pt x="42" y="258"/>
                  <a:pt x="42" y="257"/>
                </a:cubicBezTo>
                <a:cubicBezTo>
                  <a:pt x="43" y="257"/>
                  <a:pt x="43" y="256"/>
                  <a:pt x="44" y="254"/>
                </a:cubicBezTo>
                <a:cubicBezTo>
                  <a:pt x="44" y="255"/>
                  <a:pt x="43" y="257"/>
                  <a:pt x="43" y="256"/>
                </a:cubicBezTo>
                <a:cubicBezTo>
                  <a:pt x="44" y="255"/>
                  <a:pt x="46" y="254"/>
                  <a:pt x="45" y="253"/>
                </a:cubicBezTo>
                <a:cubicBezTo>
                  <a:pt x="47" y="251"/>
                  <a:pt x="48" y="250"/>
                  <a:pt x="50" y="248"/>
                </a:cubicBezTo>
                <a:cubicBezTo>
                  <a:pt x="50" y="247"/>
                  <a:pt x="50" y="247"/>
                  <a:pt x="50" y="247"/>
                </a:cubicBezTo>
                <a:cubicBezTo>
                  <a:pt x="50" y="247"/>
                  <a:pt x="50" y="246"/>
                  <a:pt x="50" y="246"/>
                </a:cubicBezTo>
                <a:cubicBezTo>
                  <a:pt x="51" y="244"/>
                  <a:pt x="50" y="247"/>
                  <a:pt x="51" y="246"/>
                </a:cubicBezTo>
                <a:cubicBezTo>
                  <a:pt x="52" y="245"/>
                  <a:pt x="52" y="244"/>
                  <a:pt x="52" y="244"/>
                </a:cubicBezTo>
                <a:cubicBezTo>
                  <a:pt x="53" y="243"/>
                  <a:pt x="52" y="244"/>
                  <a:pt x="53" y="243"/>
                </a:cubicBezTo>
                <a:cubicBezTo>
                  <a:pt x="54" y="241"/>
                  <a:pt x="54" y="240"/>
                  <a:pt x="56" y="239"/>
                </a:cubicBezTo>
                <a:cubicBezTo>
                  <a:pt x="56" y="238"/>
                  <a:pt x="56" y="239"/>
                  <a:pt x="56" y="238"/>
                </a:cubicBezTo>
                <a:cubicBezTo>
                  <a:pt x="57" y="237"/>
                  <a:pt x="58" y="236"/>
                  <a:pt x="57" y="237"/>
                </a:cubicBezTo>
                <a:cubicBezTo>
                  <a:pt x="57" y="236"/>
                  <a:pt x="58" y="235"/>
                  <a:pt x="59" y="235"/>
                </a:cubicBezTo>
                <a:cubicBezTo>
                  <a:pt x="60" y="231"/>
                  <a:pt x="63" y="229"/>
                  <a:pt x="64" y="227"/>
                </a:cubicBezTo>
                <a:cubicBezTo>
                  <a:pt x="65" y="226"/>
                  <a:pt x="66" y="224"/>
                  <a:pt x="65" y="224"/>
                </a:cubicBezTo>
                <a:cubicBezTo>
                  <a:pt x="64" y="225"/>
                  <a:pt x="65" y="225"/>
                  <a:pt x="64" y="226"/>
                </a:cubicBezTo>
                <a:cubicBezTo>
                  <a:pt x="63" y="227"/>
                  <a:pt x="64" y="225"/>
                  <a:pt x="63" y="226"/>
                </a:cubicBezTo>
                <a:cubicBezTo>
                  <a:pt x="60" y="230"/>
                  <a:pt x="57" y="234"/>
                  <a:pt x="54" y="238"/>
                </a:cubicBezTo>
                <a:cubicBezTo>
                  <a:pt x="54" y="237"/>
                  <a:pt x="55" y="237"/>
                  <a:pt x="55" y="236"/>
                </a:cubicBezTo>
                <a:cubicBezTo>
                  <a:pt x="55" y="235"/>
                  <a:pt x="54" y="236"/>
                  <a:pt x="55" y="235"/>
                </a:cubicBezTo>
                <a:cubicBezTo>
                  <a:pt x="55" y="235"/>
                  <a:pt x="55" y="235"/>
                  <a:pt x="55" y="235"/>
                </a:cubicBezTo>
                <a:cubicBezTo>
                  <a:pt x="56" y="233"/>
                  <a:pt x="56" y="233"/>
                  <a:pt x="57" y="231"/>
                </a:cubicBezTo>
                <a:cubicBezTo>
                  <a:pt x="56" y="233"/>
                  <a:pt x="57" y="232"/>
                  <a:pt x="57" y="233"/>
                </a:cubicBezTo>
                <a:cubicBezTo>
                  <a:pt x="57" y="233"/>
                  <a:pt x="56" y="234"/>
                  <a:pt x="56" y="234"/>
                </a:cubicBezTo>
                <a:cubicBezTo>
                  <a:pt x="56" y="234"/>
                  <a:pt x="56" y="235"/>
                  <a:pt x="56" y="235"/>
                </a:cubicBezTo>
                <a:cubicBezTo>
                  <a:pt x="56" y="234"/>
                  <a:pt x="57" y="233"/>
                  <a:pt x="58" y="232"/>
                </a:cubicBezTo>
                <a:cubicBezTo>
                  <a:pt x="57" y="232"/>
                  <a:pt x="58" y="230"/>
                  <a:pt x="58" y="230"/>
                </a:cubicBezTo>
                <a:cubicBezTo>
                  <a:pt x="60" y="228"/>
                  <a:pt x="64" y="221"/>
                  <a:pt x="66" y="220"/>
                </a:cubicBezTo>
                <a:cubicBezTo>
                  <a:pt x="66" y="219"/>
                  <a:pt x="65" y="220"/>
                  <a:pt x="66" y="219"/>
                </a:cubicBezTo>
                <a:cubicBezTo>
                  <a:pt x="67" y="218"/>
                  <a:pt x="68" y="218"/>
                  <a:pt x="69" y="216"/>
                </a:cubicBezTo>
                <a:cubicBezTo>
                  <a:pt x="68" y="217"/>
                  <a:pt x="69" y="217"/>
                  <a:pt x="68" y="218"/>
                </a:cubicBezTo>
                <a:cubicBezTo>
                  <a:pt x="68" y="218"/>
                  <a:pt x="68" y="218"/>
                  <a:pt x="67" y="218"/>
                </a:cubicBezTo>
                <a:cubicBezTo>
                  <a:pt x="67" y="219"/>
                  <a:pt x="66" y="220"/>
                  <a:pt x="67" y="220"/>
                </a:cubicBezTo>
                <a:cubicBezTo>
                  <a:pt x="67" y="219"/>
                  <a:pt x="70" y="216"/>
                  <a:pt x="70" y="215"/>
                </a:cubicBezTo>
                <a:cubicBezTo>
                  <a:pt x="71" y="214"/>
                  <a:pt x="71" y="213"/>
                  <a:pt x="72" y="212"/>
                </a:cubicBezTo>
                <a:cubicBezTo>
                  <a:pt x="72" y="213"/>
                  <a:pt x="71" y="214"/>
                  <a:pt x="71" y="214"/>
                </a:cubicBezTo>
                <a:cubicBezTo>
                  <a:pt x="72" y="213"/>
                  <a:pt x="72" y="212"/>
                  <a:pt x="73" y="211"/>
                </a:cubicBezTo>
                <a:cubicBezTo>
                  <a:pt x="72" y="211"/>
                  <a:pt x="76" y="207"/>
                  <a:pt x="76" y="206"/>
                </a:cubicBezTo>
                <a:cubicBezTo>
                  <a:pt x="76" y="206"/>
                  <a:pt x="76" y="207"/>
                  <a:pt x="76" y="207"/>
                </a:cubicBezTo>
                <a:cubicBezTo>
                  <a:pt x="77" y="206"/>
                  <a:pt x="78" y="205"/>
                  <a:pt x="77" y="205"/>
                </a:cubicBezTo>
                <a:cubicBezTo>
                  <a:pt x="79" y="204"/>
                  <a:pt x="78" y="203"/>
                  <a:pt x="79" y="203"/>
                </a:cubicBezTo>
                <a:cubicBezTo>
                  <a:pt x="80" y="202"/>
                  <a:pt x="81" y="201"/>
                  <a:pt x="80" y="201"/>
                </a:cubicBezTo>
                <a:cubicBezTo>
                  <a:pt x="81" y="199"/>
                  <a:pt x="81" y="201"/>
                  <a:pt x="82" y="200"/>
                </a:cubicBezTo>
                <a:cubicBezTo>
                  <a:pt x="81" y="199"/>
                  <a:pt x="82" y="199"/>
                  <a:pt x="83" y="197"/>
                </a:cubicBezTo>
                <a:cubicBezTo>
                  <a:pt x="84" y="197"/>
                  <a:pt x="83" y="198"/>
                  <a:pt x="83" y="198"/>
                </a:cubicBezTo>
                <a:cubicBezTo>
                  <a:pt x="84" y="197"/>
                  <a:pt x="84" y="197"/>
                  <a:pt x="84" y="197"/>
                </a:cubicBezTo>
                <a:cubicBezTo>
                  <a:pt x="84" y="197"/>
                  <a:pt x="84" y="196"/>
                  <a:pt x="85" y="196"/>
                </a:cubicBezTo>
                <a:cubicBezTo>
                  <a:pt x="86" y="196"/>
                  <a:pt x="83" y="197"/>
                  <a:pt x="84" y="197"/>
                </a:cubicBezTo>
                <a:cubicBezTo>
                  <a:pt x="86" y="196"/>
                  <a:pt x="87" y="194"/>
                  <a:pt x="86" y="194"/>
                </a:cubicBezTo>
                <a:cubicBezTo>
                  <a:pt x="87" y="194"/>
                  <a:pt x="89" y="193"/>
                  <a:pt x="88" y="192"/>
                </a:cubicBezTo>
                <a:cubicBezTo>
                  <a:pt x="89" y="191"/>
                  <a:pt x="89" y="192"/>
                  <a:pt x="89" y="191"/>
                </a:cubicBezTo>
                <a:cubicBezTo>
                  <a:pt x="92" y="188"/>
                  <a:pt x="93" y="187"/>
                  <a:pt x="96" y="183"/>
                </a:cubicBezTo>
                <a:cubicBezTo>
                  <a:pt x="97" y="182"/>
                  <a:pt x="96" y="183"/>
                  <a:pt x="97" y="183"/>
                </a:cubicBezTo>
                <a:cubicBezTo>
                  <a:pt x="98" y="181"/>
                  <a:pt x="99" y="179"/>
                  <a:pt x="100" y="179"/>
                </a:cubicBezTo>
                <a:cubicBezTo>
                  <a:pt x="100" y="178"/>
                  <a:pt x="102" y="177"/>
                  <a:pt x="102" y="177"/>
                </a:cubicBezTo>
                <a:cubicBezTo>
                  <a:pt x="102" y="177"/>
                  <a:pt x="102" y="177"/>
                  <a:pt x="102" y="176"/>
                </a:cubicBezTo>
                <a:cubicBezTo>
                  <a:pt x="103" y="176"/>
                  <a:pt x="106" y="171"/>
                  <a:pt x="106" y="172"/>
                </a:cubicBezTo>
                <a:cubicBezTo>
                  <a:pt x="107" y="170"/>
                  <a:pt x="109" y="168"/>
                  <a:pt x="109" y="167"/>
                </a:cubicBezTo>
                <a:cubicBezTo>
                  <a:pt x="111" y="166"/>
                  <a:pt x="115" y="160"/>
                  <a:pt x="115" y="163"/>
                </a:cubicBezTo>
                <a:cubicBezTo>
                  <a:pt x="116" y="162"/>
                  <a:pt x="115" y="161"/>
                  <a:pt x="117" y="160"/>
                </a:cubicBezTo>
                <a:cubicBezTo>
                  <a:pt x="118" y="160"/>
                  <a:pt x="115" y="162"/>
                  <a:pt x="116" y="162"/>
                </a:cubicBezTo>
                <a:cubicBezTo>
                  <a:pt x="117" y="161"/>
                  <a:pt x="119" y="159"/>
                  <a:pt x="119" y="158"/>
                </a:cubicBezTo>
                <a:cubicBezTo>
                  <a:pt x="118" y="159"/>
                  <a:pt x="117" y="160"/>
                  <a:pt x="117" y="160"/>
                </a:cubicBezTo>
                <a:cubicBezTo>
                  <a:pt x="118" y="158"/>
                  <a:pt x="121" y="156"/>
                  <a:pt x="122" y="155"/>
                </a:cubicBezTo>
                <a:cubicBezTo>
                  <a:pt x="123" y="154"/>
                  <a:pt x="121" y="156"/>
                  <a:pt x="122" y="154"/>
                </a:cubicBezTo>
                <a:cubicBezTo>
                  <a:pt x="123" y="154"/>
                  <a:pt x="123" y="153"/>
                  <a:pt x="124" y="152"/>
                </a:cubicBezTo>
                <a:cubicBezTo>
                  <a:pt x="123" y="153"/>
                  <a:pt x="123" y="153"/>
                  <a:pt x="122" y="153"/>
                </a:cubicBezTo>
                <a:cubicBezTo>
                  <a:pt x="122" y="154"/>
                  <a:pt x="121" y="155"/>
                  <a:pt x="120" y="156"/>
                </a:cubicBezTo>
                <a:cubicBezTo>
                  <a:pt x="120" y="154"/>
                  <a:pt x="121" y="154"/>
                  <a:pt x="122" y="153"/>
                </a:cubicBezTo>
                <a:cubicBezTo>
                  <a:pt x="124" y="152"/>
                  <a:pt x="124" y="153"/>
                  <a:pt x="125" y="151"/>
                </a:cubicBezTo>
                <a:cubicBezTo>
                  <a:pt x="126" y="150"/>
                  <a:pt x="125" y="151"/>
                  <a:pt x="125" y="150"/>
                </a:cubicBezTo>
                <a:cubicBezTo>
                  <a:pt x="126" y="149"/>
                  <a:pt x="126" y="149"/>
                  <a:pt x="126" y="149"/>
                </a:cubicBezTo>
                <a:cubicBezTo>
                  <a:pt x="126" y="149"/>
                  <a:pt x="126" y="149"/>
                  <a:pt x="126" y="149"/>
                </a:cubicBezTo>
                <a:cubicBezTo>
                  <a:pt x="126" y="150"/>
                  <a:pt x="125" y="151"/>
                  <a:pt x="126" y="151"/>
                </a:cubicBezTo>
                <a:cubicBezTo>
                  <a:pt x="127" y="149"/>
                  <a:pt x="127" y="151"/>
                  <a:pt x="127" y="151"/>
                </a:cubicBezTo>
                <a:cubicBezTo>
                  <a:pt x="128" y="150"/>
                  <a:pt x="128" y="149"/>
                  <a:pt x="129" y="148"/>
                </a:cubicBezTo>
                <a:cubicBezTo>
                  <a:pt x="131" y="147"/>
                  <a:pt x="134" y="144"/>
                  <a:pt x="133" y="143"/>
                </a:cubicBezTo>
                <a:cubicBezTo>
                  <a:pt x="134" y="143"/>
                  <a:pt x="133" y="145"/>
                  <a:pt x="134" y="144"/>
                </a:cubicBezTo>
                <a:cubicBezTo>
                  <a:pt x="134" y="144"/>
                  <a:pt x="135" y="143"/>
                  <a:pt x="135" y="142"/>
                </a:cubicBezTo>
                <a:cubicBezTo>
                  <a:pt x="136" y="141"/>
                  <a:pt x="137" y="140"/>
                  <a:pt x="138" y="139"/>
                </a:cubicBezTo>
                <a:cubicBezTo>
                  <a:pt x="139" y="138"/>
                  <a:pt x="137" y="141"/>
                  <a:pt x="139" y="140"/>
                </a:cubicBezTo>
                <a:cubicBezTo>
                  <a:pt x="140" y="137"/>
                  <a:pt x="140" y="137"/>
                  <a:pt x="140" y="137"/>
                </a:cubicBezTo>
                <a:cubicBezTo>
                  <a:pt x="141" y="138"/>
                  <a:pt x="142" y="136"/>
                  <a:pt x="143" y="136"/>
                </a:cubicBezTo>
                <a:cubicBezTo>
                  <a:pt x="143" y="135"/>
                  <a:pt x="143" y="135"/>
                  <a:pt x="144" y="135"/>
                </a:cubicBezTo>
                <a:cubicBezTo>
                  <a:pt x="145" y="134"/>
                  <a:pt x="148" y="132"/>
                  <a:pt x="148" y="130"/>
                </a:cubicBezTo>
                <a:cubicBezTo>
                  <a:pt x="148" y="130"/>
                  <a:pt x="151" y="128"/>
                  <a:pt x="150" y="128"/>
                </a:cubicBezTo>
                <a:cubicBezTo>
                  <a:pt x="152" y="128"/>
                  <a:pt x="153" y="125"/>
                  <a:pt x="155" y="125"/>
                </a:cubicBezTo>
                <a:cubicBezTo>
                  <a:pt x="155" y="124"/>
                  <a:pt x="155" y="124"/>
                  <a:pt x="156" y="124"/>
                </a:cubicBezTo>
                <a:cubicBezTo>
                  <a:pt x="155" y="124"/>
                  <a:pt x="155" y="124"/>
                  <a:pt x="155" y="124"/>
                </a:cubicBezTo>
                <a:cubicBezTo>
                  <a:pt x="156" y="123"/>
                  <a:pt x="156" y="122"/>
                  <a:pt x="158" y="121"/>
                </a:cubicBezTo>
                <a:cubicBezTo>
                  <a:pt x="157" y="122"/>
                  <a:pt x="155" y="123"/>
                  <a:pt x="156" y="123"/>
                </a:cubicBezTo>
                <a:cubicBezTo>
                  <a:pt x="158" y="121"/>
                  <a:pt x="161" y="121"/>
                  <a:pt x="163" y="119"/>
                </a:cubicBezTo>
                <a:cubicBezTo>
                  <a:pt x="163" y="118"/>
                  <a:pt x="164" y="117"/>
                  <a:pt x="163" y="117"/>
                </a:cubicBezTo>
                <a:cubicBezTo>
                  <a:pt x="161" y="118"/>
                  <a:pt x="163" y="119"/>
                  <a:pt x="161" y="120"/>
                </a:cubicBezTo>
                <a:cubicBezTo>
                  <a:pt x="162" y="118"/>
                  <a:pt x="160" y="119"/>
                  <a:pt x="161" y="118"/>
                </a:cubicBezTo>
                <a:cubicBezTo>
                  <a:pt x="161" y="118"/>
                  <a:pt x="163" y="117"/>
                  <a:pt x="164" y="116"/>
                </a:cubicBezTo>
                <a:cubicBezTo>
                  <a:pt x="164" y="117"/>
                  <a:pt x="163" y="118"/>
                  <a:pt x="165" y="117"/>
                </a:cubicBezTo>
                <a:cubicBezTo>
                  <a:pt x="165" y="116"/>
                  <a:pt x="164" y="116"/>
                  <a:pt x="166" y="116"/>
                </a:cubicBezTo>
                <a:cubicBezTo>
                  <a:pt x="166" y="116"/>
                  <a:pt x="165" y="116"/>
                  <a:pt x="166" y="116"/>
                </a:cubicBezTo>
                <a:cubicBezTo>
                  <a:pt x="167" y="115"/>
                  <a:pt x="168" y="114"/>
                  <a:pt x="169" y="113"/>
                </a:cubicBezTo>
                <a:cubicBezTo>
                  <a:pt x="170" y="113"/>
                  <a:pt x="173" y="110"/>
                  <a:pt x="175" y="109"/>
                </a:cubicBezTo>
                <a:cubicBezTo>
                  <a:pt x="175" y="109"/>
                  <a:pt x="175" y="108"/>
                  <a:pt x="175" y="108"/>
                </a:cubicBezTo>
                <a:cubicBezTo>
                  <a:pt x="176" y="108"/>
                  <a:pt x="177" y="108"/>
                  <a:pt x="177" y="107"/>
                </a:cubicBezTo>
                <a:cubicBezTo>
                  <a:pt x="179" y="107"/>
                  <a:pt x="180" y="105"/>
                  <a:pt x="181" y="104"/>
                </a:cubicBezTo>
                <a:cubicBezTo>
                  <a:pt x="181" y="104"/>
                  <a:pt x="183" y="103"/>
                  <a:pt x="183" y="103"/>
                </a:cubicBezTo>
                <a:cubicBezTo>
                  <a:pt x="182" y="104"/>
                  <a:pt x="181" y="105"/>
                  <a:pt x="181" y="105"/>
                </a:cubicBezTo>
                <a:cubicBezTo>
                  <a:pt x="182" y="106"/>
                  <a:pt x="184" y="104"/>
                  <a:pt x="186" y="102"/>
                </a:cubicBezTo>
                <a:cubicBezTo>
                  <a:pt x="185" y="103"/>
                  <a:pt x="184" y="103"/>
                  <a:pt x="183" y="104"/>
                </a:cubicBezTo>
                <a:cubicBezTo>
                  <a:pt x="185" y="101"/>
                  <a:pt x="188" y="100"/>
                  <a:pt x="190" y="98"/>
                </a:cubicBezTo>
                <a:cubicBezTo>
                  <a:pt x="190" y="97"/>
                  <a:pt x="190" y="97"/>
                  <a:pt x="189" y="98"/>
                </a:cubicBezTo>
                <a:cubicBezTo>
                  <a:pt x="191" y="96"/>
                  <a:pt x="191" y="96"/>
                  <a:pt x="191" y="96"/>
                </a:cubicBezTo>
                <a:cubicBezTo>
                  <a:pt x="192" y="96"/>
                  <a:pt x="191" y="97"/>
                  <a:pt x="192" y="96"/>
                </a:cubicBezTo>
                <a:cubicBezTo>
                  <a:pt x="194" y="95"/>
                  <a:pt x="194" y="95"/>
                  <a:pt x="195" y="94"/>
                </a:cubicBezTo>
                <a:cubicBezTo>
                  <a:pt x="196" y="93"/>
                  <a:pt x="193" y="94"/>
                  <a:pt x="193" y="95"/>
                </a:cubicBezTo>
                <a:cubicBezTo>
                  <a:pt x="193" y="94"/>
                  <a:pt x="195" y="94"/>
                  <a:pt x="195" y="93"/>
                </a:cubicBezTo>
                <a:cubicBezTo>
                  <a:pt x="197" y="92"/>
                  <a:pt x="195" y="94"/>
                  <a:pt x="197" y="93"/>
                </a:cubicBezTo>
                <a:cubicBezTo>
                  <a:pt x="198" y="92"/>
                  <a:pt x="203" y="90"/>
                  <a:pt x="202" y="89"/>
                </a:cubicBezTo>
                <a:cubicBezTo>
                  <a:pt x="201" y="90"/>
                  <a:pt x="199" y="91"/>
                  <a:pt x="198" y="92"/>
                </a:cubicBezTo>
                <a:cubicBezTo>
                  <a:pt x="198" y="91"/>
                  <a:pt x="200" y="90"/>
                  <a:pt x="199" y="90"/>
                </a:cubicBezTo>
                <a:cubicBezTo>
                  <a:pt x="201" y="89"/>
                  <a:pt x="205" y="86"/>
                  <a:pt x="206" y="86"/>
                </a:cubicBezTo>
                <a:cubicBezTo>
                  <a:pt x="206" y="86"/>
                  <a:pt x="205" y="86"/>
                  <a:pt x="205" y="87"/>
                </a:cubicBezTo>
                <a:cubicBezTo>
                  <a:pt x="206" y="86"/>
                  <a:pt x="207" y="85"/>
                  <a:pt x="206" y="87"/>
                </a:cubicBezTo>
                <a:cubicBezTo>
                  <a:pt x="205" y="88"/>
                  <a:pt x="206" y="86"/>
                  <a:pt x="205" y="87"/>
                </a:cubicBezTo>
                <a:cubicBezTo>
                  <a:pt x="203" y="89"/>
                  <a:pt x="205" y="87"/>
                  <a:pt x="205" y="88"/>
                </a:cubicBezTo>
                <a:cubicBezTo>
                  <a:pt x="203" y="89"/>
                  <a:pt x="204" y="89"/>
                  <a:pt x="202" y="90"/>
                </a:cubicBezTo>
                <a:cubicBezTo>
                  <a:pt x="203" y="90"/>
                  <a:pt x="204" y="89"/>
                  <a:pt x="205" y="89"/>
                </a:cubicBezTo>
                <a:cubicBezTo>
                  <a:pt x="205" y="88"/>
                  <a:pt x="206" y="87"/>
                  <a:pt x="207" y="87"/>
                </a:cubicBezTo>
                <a:cubicBezTo>
                  <a:pt x="207" y="87"/>
                  <a:pt x="206" y="88"/>
                  <a:pt x="207" y="88"/>
                </a:cubicBezTo>
                <a:cubicBezTo>
                  <a:pt x="208" y="87"/>
                  <a:pt x="209" y="86"/>
                  <a:pt x="208" y="86"/>
                </a:cubicBezTo>
                <a:cubicBezTo>
                  <a:pt x="207" y="87"/>
                  <a:pt x="207" y="86"/>
                  <a:pt x="206" y="87"/>
                </a:cubicBezTo>
                <a:cubicBezTo>
                  <a:pt x="207" y="86"/>
                  <a:pt x="208" y="86"/>
                  <a:pt x="209" y="85"/>
                </a:cubicBezTo>
                <a:cubicBezTo>
                  <a:pt x="209" y="84"/>
                  <a:pt x="210" y="84"/>
                  <a:pt x="210" y="84"/>
                </a:cubicBezTo>
                <a:cubicBezTo>
                  <a:pt x="209" y="85"/>
                  <a:pt x="208" y="85"/>
                  <a:pt x="207" y="85"/>
                </a:cubicBezTo>
                <a:cubicBezTo>
                  <a:pt x="207" y="84"/>
                  <a:pt x="208" y="85"/>
                  <a:pt x="209" y="84"/>
                </a:cubicBezTo>
                <a:cubicBezTo>
                  <a:pt x="207" y="84"/>
                  <a:pt x="206" y="85"/>
                  <a:pt x="205" y="86"/>
                </a:cubicBezTo>
                <a:cubicBezTo>
                  <a:pt x="205" y="86"/>
                  <a:pt x="205" y="85"/>
                  <a:pt x="205" y="85"/>
                </a:cubicBezTo>
                <a:cubicBezTo>
                  <a:pt x="204" y="86"/>
                  <a:pt x="203" y="87"/>
                  <a:pt x="204" y="87"/>
                </a:cubicBezTo>
                <a:cubicBezTo>
                  <a:pt x="202" y="88"/>
                  <a:pt x="201" y="88"/>
                  <a:pt x="200" y="89"/>
                </a:cubicBezTo>
                <a:cubicBezTo>
                  <a:pt x="201" y="89"/>
                  <a:pt x="199" y="90"/>
                  <a:pt x="199" y="90"/>
                </a:cubicBezTo>
                <a:cubicBezTo>
                  <a:pt x="198" y="90"/>
                  <a:pt x="198" y="90"/>
                  <a:pt x="198" y="90"/>
                </a:cubicBezTo>
                <a:cubicBezTo>
                  <a:pt x="198" y="90"/>
                  <a:pt x="197" y="91"/>
                  <a:pt x="197" y="92"/>
                </a:cubicBezTo>
                <a:cubicBezTo>
                  <a:pt x="195" y="92"/>
                  <a:pt x="194" y="93"/>
                  <a:pt x="193" y="94"/>
                </a:cubicBezTo>
                <a:cubicBezTo>
                  <a:pt x="193" y="94"/>
                  <a:pt x="192" y="94"/>
                  <a:pt x="192" y="94"/>
                </a:cubicBezTo>
                <a:cubicBezTo>
                  <a:pt x="190" y="96"/>
                  <a:pt x="186" y="97"/>
                  <a:pt x="185" y="99"/>
                </a:cubicBezTo>
                <a:cubicBezTo>
                  <a:pt x="184" y="99"/>
                  <a:pt x="183" y="100"/>
                  <a:pt x="183" y="101"/>
                </a:cubicBezTo>
                <a:cubicBezTo>
                  <a:pt x="182" y="102"/>
                  <a:pt x="182" y="101"/>
                  <a:pt x="181" y="101"/>
                </a:cubicBezTo>
                <a:cubicBezTo>
                  <a:pt x="181" y="103"/>
                  <a:pt x="177" y="104"/>
                  <a:pt x="175" y="105"/>
                </a:cubicBezTo>
                <a:cubicBezTo>
                  <a:pt x="175" y="106"/>
                  <a:pt x="175" y="106"/>
                  <a:pt x="175" y="106"/>
                </a:cubicBezTo>
                <a:cubicBezTo>
                  <a:pt x="174" y="107"/>
                  <a:pt x="174" y="107"/>
                  <a:pt x="172" y="109"/>
                </a:cubicBezTo>
                <a:cubicBezTo>
                  <a:pt x="172" y="108"/>
                  <a:pt x="173" y="107"/>
                  <a:pt x="172" y="107"/>
                </a:cubicBezTo>
                <a:cubicBezTo>
                  <a:pt x="171" y="110"/>
                  <a:pt x="166" y="113"/>
                  <a:pt x="164" y="115"/>
                </a:cubicBezTo>
                <a:cubicBezTo>
                  <a:pt x="164" y="115"/>
                  <a:pt x="164" y="115"/>
                  <a:pt x="164" y="116"/>
                </a:cubicBezTo>
                <a:cubicBezTo>
                  <a:pt x="163" y="116"/>
                  <a:pt x="162" y="117"/>
                  <a:pt x="161" y="118"/>
                </a:cubicBezTo>
                <a:cubicBezTo>
                  <a:pt x="161" y="117"/>
                  <a:pt x="162" y="116"/>
                  <a:pt x="161" y="116"/>
                </a:cubicBezTo>
                <a:cubicBezTo>
                  <a:pt x="156" y="120"/>
                  <a:pt x="151" y="126"/>
                  <a:pt x="147" y="128"/>
                </a:cubicBezTo>
                <a:cubicBezTo>
                  <a:pt x="147" y="128"/>
                  <a:pt x="148" y="127"/>
                  <a:pt x="148" y="126"/>
                </a:cubicBezTo>
                <a:cubicBezTo>
                  <a:pt x="147" y="127"/>
                  <a:pt x="148" y="126"/>
                  <a:pt x="147" y="127"/>
                </a:cubicBezTo>
                <a:cubicBezTo>
                  <a:pt x="146" y="129"/>
                  <a:pt x="145" y="128"/>
                  <a:pt x="144" y="129"/>
                </a:cubicBezTo>
                <a:cubicBezTo>
                  <a:pt x="143" y="130"/>
                  <a:pt x="144" y="130"/>
                  <a:pt x="143" y="131"/>
                </a:cubicBezTo>
                <a:cubicBezTo>
                  <a:pt x="142" y="131"/>
                  <a:pt x="142" y="131"/>
                  <a:pt x="141" y="132"/>
                </a:cubicBezTo>
                <a:cubicBezTo>
                  <a:pt x="140" y="133"/>
                  <a:pt x="141" y="132"/>
                  <a:pt x="141" y="133"/>
                </a:cubicBezTo>
                <a:cubicBezTo>
                  <a:pt x="140" y="133"/>
                  <a:pt x="138" y="136"/>
                  <a:pt x="138" y="135"/>
                </a:cubicBezTo>
                <a:cubicBezTo>
                  <a:pt x="138" y="135"/>
                  <a:pt x="139" y="134"/>
                  <a:pt x="139" y="134"/>
                </a:cubicBezTo>
                <a:cubicBezTo>
                  <a:pt x="137" y="135"/>
                  <a:pt x="139" y="134"/>
                  <a:pt x="137" y="134"/>
                </a:cubicBezTo>
                <a:cubicBezTo>
                  <a:pt x="136" y="135"/>
                  <a:pt x="137" y="135"/>
                  <a:pt x="137" y="135"/>
                </a:cubicBezTo>
                <a:cubicBezTo>
                  <a:pt x="136" y="137"/>
                  <a:pt x="133" y="139"/>
                  <a:pt x="131" y="140"/>
                </a:cubicBezTo>
                <a:cubicBezTo>
                  <a:pt x="131" y="141"/>
                  <a:pt x="130" y="142"/>
                  <a:pt x="130" y="143"/>
                </a:cubicBezTo>
                <a:cubicBezTo>
                  <a:pt x="128" y="144"/>
                  <a:pt x="130" y="142"/>
                  <a:pt x="129" y="143"/>
                </a:cubicBezTo>
                <a:cubicBezTo>
                  <a:pt x="128" y="144"/>
                  <a:pt x="127" y="145"/>
                  <a:pt x="126" y="146"/>
                </a:cubicBezTo>
                <a:cubicBezTo>
                  <a:pt x="127" y="146"/>
                  <a:pt x="127" y="145"/>
                  <a:pt x="127" y="146"/>
                </a:cubicBezTo>
                <a:cubicBezTo>
                  <a:pt x="126" y="146"/>
                  <a:pt x="126" y="148"/>
                  <a:pt x="126" y="147"/>
                </a:cubicBezTo>
                <a:cubicBezTo>
                  <a:pt x="125" y="148"/>
                  <a:pt x="125" y="149"/>
                  <a:pt x="124" y="150"/>
                </a:cubicBezTo>
                <a:cubicBezTo>
                  <a:pt x="124" y="149"/>
                  <a:pt x="125" y="149"/>
                  <a:pt x="125" y="148"/>
                </a:cubicBezTo>
                <a:cubicBezTo>
                  <a:pt x="124" y="149"/>
                  <a:pt x="125" y="148"/>
                  <a:pt x="125" y="147"/>
                </a:cubicBezTo>
                <a:cubicBezTo>
                  <a:pt x="124" y="148"/>
                  <a:pt x="123" y="149"/>
                  <a:pt x="122" y="149"/>
                </a:cubicBezTo>
                <a:cubicBezTo>
                  <a:pt x="123" y="149"/>
                  <a:pt x="124" y="147"/>
                  <a:pt x="123" y="148"/>
                </a:cubicBezTo>
                <a:cubicBezTo>
                  <a:pt x="121" y="149"/>
                  <a:pt x="120" y="152"/>
                  <a:pt x="119" y="153"/>
                </a:cubicBezTo>
                <a:cubicBezTo>
                  <a:pt x="119" y="152"/>
                  <a:pt x="120" y="151"/>
                  <a:pt x="119" y="152"/>
                </a:cubicBezTo>
                <a:cubicBezTo>
                  <a:pt x="118" y="153"/>
                  <a:pt x="117" y="156"/>
                  <a:pt x="115" y="156"/>
                </a:cubicBezTo>
                <a:cubicBezTo>
                  <a:pt x="116" y="156"/>
                  <a:pt x="117" y="155"/>
                  <a:pt x="116" y="155"/>
                </a:cubicBezTo>
                <a:cubicBezTo>
                  <a:pt x="115" y="156"/>
                  <a:pt x="114" y="157"/>
                  <a:pt x="113" y="159"/>
                </a:cubicBezTo>
                <a:cubicBezTo>
                  <a:pt x="112" y="159"/>
                  <a:pt x="112" y="159"/>
                  <a:pt x="111" y="159"/>
                </a:cubicBezTo>
                <a:cubicBezTo>
                  <a:pt x="111" y="160"/>
                  <a:pt x="111" y="160"/>
                  <a:pt x="110" y="161"/>
                </a:cubicBezTo>
                <a:cubicBezTo>
                  <a:pt x="110" y="161"/>
                  <a:pt x="110" y="162"/>
                  <a:pt x="109" y="162"/>
                </a:cubicBezTo>
                <a:cubicBezTo>
                  <a:pt x="109" y="162"/>
                  <a:pt x="109" y="162"/>
                  <a:pt x="109" y="162"/>
                </a:cubicBezTo>
                <a:cubicBezTo>
                  <a:pt x="106" y="164"/>
                  <a:pt x="105" y="167"/>
                  <a:pt x="103" y="169"/>
                </a:cubicBezTo>
                <a:cubicBezTo>
                  <a:pt x="103" y="169"/>
                  <a:pt x="103" y="168"/>
                  <a:pt x="102" y="168"/>
                </a:cubicBezTo>
                <a:cubicBezTo>
                  <a:pt x="102" y="169"/>
                  <a:pt x="101" y="170"/>
                  <a:pt x="100" y="171"/>
                </a:cubicBezTo>
                <a:cubicBezTo>
                  <a:pt x="101" y="170"/>
                  <a:pt x="102" y="168"/>
                  <a:pt x="102" y="169"/>
                </a:cubicBezTo>
                <a:cubicBezTo>
                  <a:pt x="101" y="171"/>
                  <a:pt x="100" y="171"/>
                  <a:pt x="98" y="172"/>
                </a:cubicBezTo>
                <a:cubicBezTo>
                  <a:pt x="97" y="174"/>
                  <a:pt x="99" y="172"/>
                  <a:pt x="99" y="173"/>
                </a:cubicBezTo>
                <a:cubicBezTo>
                  <a:pt x="96" y="175"/>
                  <a:pt x="94" y="179"/>
                  <a:pt x="92" y="181"/>
                </a:cubicBezTo>
                <a:cubicBezTo>
                  <a:pt x="92" y="180"/>
                  <a:pt x="93" y="180"/>
                  <a:pt x="93" y="179"/>
                </a:cubicBezTo>
                <a:cubicBezTo>
                  <a:pt x="92" y="180"/>
                  <a:pt x="93" y="179"/>
                  <a:pt x="92" y="180"/>
                </a:cubicBezTo>
                <a:cubicBezTo>
                  <a:pt x="90" y="183"/>
                  <a:pt x="87" y="186"/>
                  <a:pt x="84" y="189"/>
                </a:cubicBezTo>
                <a:cubicBezTo>
                  <a:pt x="85" y="188"/>
                  <a:pt x="85" y="188"/>
                  <a:pt x="84" y="188"/>
                </a:cubicBezTo>
                <a:cubicBezTo>
                  <a:pt x="83" y="190"/>
                  <a:pt x="83" y="191"/>
                  <a:pt x="82" y="192"/>
                </a:cubicBezTo>
                <a:cubicBezTo>
                  <a:pt x="82" y="191"/>
                  <a:pt x="82" y="191"/>
                  <a:pt x="82" y="191"/>
                </a:cubicBezTo>
                <a:cubicBezTo>
                  <a:pt x="80" y="194"/>
                  <a:pt x="78" y="196"/>
                  <a:pt x="76" y="199"/>
                </a:cubicBezTo>
                <a:cubicBezTo>
                  <a:pt x="76" y="198"/>
                  <a:pt x="76" y="198"/>
                  <a:pt x="76" y="198"/>
                </a:cubicBezTo>
                <a:cubicBezTo>
                  <a:pt x="73" y="202"/>
                  <a:pt x="73" y="202"/>
                  <a:pt x="71" y="205"/>
                </a:cubicBezTo>
                <a:cubicBezTo>
                  <a:pt x="71" y="204"/>
                  <a:pt x="71" y="203"/>
                  <a:pt x="70" y="204"/>
                </a:cubicBezTo>
                <a:cubicBezTo>
                  <a:pt x="70" y="205"/>
                  <a:pt x="69" y="204"/>
                  <a:pt x="69" y="206"/>
                </a:cubicBezTo>
                <a:cubicBezTo>
                  <a:pt x="68" y="207"/>
                  <a:pt x="68" y="207"/>
                  <a:pt x="68" y="207"/>
                </a:cubicBezTo>
                <a:cubicBezTo>
                  <a:pt x="68" y="208"/>
                  <a:pt x="67" y="208"/>
                  <a:pt x="67" y="209"/>
                </a:cubicBezTo>
                <a:cubicBezTo>
                  <a:pt x="67" y="209"/>
                  <a:pt x="68" y="208"/>
                  <a:pt x="68" y="209"/>
                </a:cubicBezTo>
                <a:cubicBezTo>
                  <a:pt x="66" y="211"/>
                  <a:pt x="67" y="210"/>
                  <a:pt x="65" y="212"/>
                </a:cubicBezTo>
                <a:cubicBezTo>
                  <a:pt x="65" y="212"/>
                  <a:pt x="66" y="210"/>
                  <a:pt x="66" y="212"/>
                </a:cubicBezTo>
                <a:cubicBezTo>
                  <a:pt x="63" y="213"/>
                  <a:pt x="60" y="218"/>
                  <a:pt x="61" y="216"/>
                </a:cubicBezTo>
                <a:cubicBezTo>
                  <a:pt x="59" y="217"/>
                  <a:pt x="59" y="219"/>
                  <a:pt x="58" y="220"/>
                </a:cubicBezTo>
                <a:cubicBezTo>
                  <a:pt x="58" y="220"/>
                  <a:pt x="58" y="219"/>
                  <a:pt x="58" y="219"/>
                </a:cubicBezTo>
                <a:cubicBezTo>
                  <a:pt x="57" y="221"/>
                  <a:pt x="56" y="220"/>
                  <a:pt x="55" y="222"/>
                </a:cubicBezTo>
                <a:cubicBezTo>
                  <a:pt x="55" y="223"/>
                  <a:pt x="56" y="222"/>
                  <a:pt x="56" y="223"/>
                </a:cubicBezTo>
                <a:cubicBezTo>
                  <a:pt x="55" y="223"/>
                  <a:pt x="53" y="226"/>
                  <a:pt x="53" y="227"/>
                </a:cubicBezTo>
                <a:cubicBezTo>
                  <a:pt x="47" y="235"/>
                  <a:pt x="41" y="244"/>
                  <a:pt x="35" y="252"/>
                </a:cubicBezTo>
                <a:cubicBezTo>
                  <a:pt x="35" y="251"/>
                  <a:pt x="36" y="250"/>
                  <a:pt x="36" y="249"/>
                </a:cubicBezTo>
                <a:cubicBezTo>
                  <a:pt x="36" y="249"/>
                  <a:pt x="37" y="248"/>
                  <a:pt x="36" y="248"/>
                </a:cubicBezTo>
                <a:cubicBezTo>
                  <a:pt x="36" y="249"/>
                  <a:pt x="36" y="249"/>
                  <a:pt x="36" y="250"/>
                </a:cubicBezTo>
                <a:cubicBezTo>
                  <a:pt x="35" y="250"/>
                  <a:pt x="36" y="250"/>
                  <a:pt x="35" y="251"/>
                </a:cubicBezTo>
                <a:cubicBezTo>
                  <a:pt x="34" y="252"/>
                  <a:pt x="35" y="251"/>
                  <a:pt x="34" y="251"/>
                </a:cubicBezTo>
                <a:cubicBezTo>
                  <a:pt x="34" y="251"/>
                  <a:pt x="34" y="252"/>
                  <a:pt x="33" y="253"/>
                </a:cubicBezTo>
                <a:cubicBezTo>
                  <a:pt x="33" y="253"/>
                  <a:pt x="33" y="253"/>
                  <a:pt x="33" y="253"/>
                </a:cubicBezTo>
                <a:cubicBezTo>
                  <a:pt x="35" y="252"/>
                  <a:pt x="35" y="252"/>
                  <a:pt x="36" y="252"/>
                </a:cubicBezTo>
                <a:cubicBezTo>
                  <a:pt x="35" y="253"/>
                  <a:pt x="35" y="254"/>
                  <a:pt x="34" y="254"/>
                </a:cubicBezTo>
                <a:cubicBezTo>
                  <a:pt x="34" y="254"/>
                  <a:pt x="35" y="252"/>
                  <a:pt x="34" y="253"/>
                </a:cubicBezTo>
                <a:cubicBezTo>
                  <a:pt x="33" y="256"/>
                  <a:pt x="30" y="257"/>
                  <a:pt x="30" y="260"/>
                </a:cubicBezTo>
                <a:cubicBezTo>
                  <a:pt x="29" y="260"/>
                  <a:pt x="29" y="260"/>
                  <a:pt x="29" y="261"/>
                </a:cubicBezTo>
                <a:cubicBezTo>
                  <a:pt x="28" y="261"/>
                  <a:pt x="28" y="262"/>
                  <a:pt x="27" y="263"/>
                </a:cubicBezTo>
                <a:cubicBezTo>
                  <a:pt x="28" y="262"/>
                  <a:pt x="28" y="261"/>
                  <a:pt x="29" y="259"/>
                </a:cubicBezTo>
                <a:cubicBezTo>
                  <a:pt x="27" y="261"/>
                  <a:pt x="26" y="263"/>
                  <a:pt x="25" y="265"/>
                </a:cubicBezTo>
                <a:cubicBezTo>
                  <a:pt x="25" y="264"/>
                  <a:pt x="24" y="267"/>
                  <a:pt x="23" y="267"/>
                </a:cubicBezTo>
                <a:cubicBezTo>
                  <a:pt x="23" y="267"/>
                  <a:pt x="24" y="264"/>
                  <a:pt x="23" y="265"/>
                </a:cubicBezTo>
                <a:cubicBezTo>
                  <a:pt x="23" y="266"/>
                  <a:pt x="22" y="267"/>
                  <a:pt x="21" y="269"/>
                </a:cubicBezTo>
                <a:cubicBezTo>
                  <a:pt x="21" y="270"/>
                  <a:pt x="21" y="270"/>
                  <a:pt x="21" y="271"/>
                </a:cubicBezTo>
                <a:cubicBezTo>
                  <a:pt x="20" y="271"/>
                  <a:pt x="20" y="271"/>
                  <a:pt x="19" y="272"/>
                </a:cubicBezTo>
                <a:cubicBezTo>
                  <a:pt x="19" y="271"/>
                  <a:pt x="19" y="272"/>
                  <a:pt x="19" y="271"/>
                </a:cubicBezTo>
                <a:cubicBezTo>
                  <a:pt x="19" y="270"/>
                  <a:pt x="20" y="269"/>
                  <a:pt x="20" y="268"/>
                </a:cubicBezTo>
                <a:cubicBezTo>
                  <a:pt x="22" y="266"/>
                  <a:pt x="23" y="263"/>
                  <a:pt x="26" y="260"/>
                </a:cubicBezTo>
                <a:cubicBezTo>
                  <a:pt x="26" y="258"/>
                  <a:pt x="28" y="257"/>
                  <a:pt x="29" y="255"/>
                </a:cubicBezTo>
                <a:cubicBezTo>
                  <a:pt x="28" y="255"/>
                  <a:pt x="28" y="255"/>
                  <a:pt x="28" y="255"/>
                </a:cubicBezTo>
                <a:cubicBezTo>
                  <a:pt x="29" y="254"/>
                  <a:pt x="29" y="253"/>
                  <a:pt x="30" y="253"/>
                </a:cubicBezTo>
                <a:cubicBezTo>
                  <a:pt x="30" y="253"/>
                  <a:pt x="30" y="254"/>
                  <a:pt x="31" y="253"/>
                </a:cubicBezTo>
                <a:cubicBezTo>
                  <a:pt x="31" y="253"/>
                  <a:pt x="31" y="253"/>
                  <a:pt x="31" y="252"/>
                </a:cubicBezTo>
                <a:cubicBezTo>
                  <a:pt x="32" y="250"/>
                  <a:pt x="31" y="252"/>
                  <a:pt x="31" y="250"/>
                </a:cubicBezTo>
                <a:cubicBezTo>
                  <a:pt x="32" y="249"/>
                  <a:pt x="32" y="249"/>
                  <a:pt x="33" y="247"/>
                </a:cubicBezTo>
                <a:cubicBezTo>
                  <a:pt x="33" y="247"/>
                  <a:pt x="33" y="247"/>
                  <a:pt x="34" y="247"/>
                </a:cubicBezTo>
                <a:cubicBezTo>
                  <a:pt x="34" y="246"/>
                  <a:pt x="34" y="245"/>
                  <a:pt x="35" y="244"/>
                </a:cubicBezTo>
                <a:cubicBezTo>
                  <a:pt x="36" y="245"/>
                  <a:pt x="34" y="247"/>
                  <a:pt x="33" y="249"/>
                </a:cubicBezTo>
                <a:cubicBezTo>
                  <a:pt x="33" y="248"/>
                  <a:pt x="33" y="250"/>
                  <a:pt x="34" y="249"/>
                </a:cubicBezTo>
                <a:cubicBezTo>
                  <a:pt x="34" y="247"/>
                  <a:pt x="35" y="246"/>
                  <a:pt x="36" y="245"/>
                </a:cubicBezTo>
                <a:cubicBezTo>
                  <a:pt x="37" y="243"/>
                  <a:pt x="37" y="244"/>
                  <a:pt x="37" y="243"/>
                </a:cubicBezTo>
                <a:cubicBezTo>
                  <a:pt x="38" y="242"/>
                  <a:pt x="38" y="243"/>
                  <a:pt x="38" y="242"/>
                </a:cubicBezTo>
                <a:cubicBezTo>
                  <a:pt x="39" y="241"/>
                  <a:pt x="39" y="240"/>
                  <a:pt x="39" y="240"/>
                </a:cubicBezTo>
                <a:cubicBezTo>
                  <a:pt x="40" y="239"/>
                  <a:pt x="40" y="240"/>
                  <a:pt x="41" y="238"/>
                </a:cubicBezTo>
                <a:cubicBezTo>
                  <a:pt x="40" y="239"/>
                  <a:pt x="40" y="239"/>
                  <a:pt x="40" y="237"/>
                </a:cubicBezTo>
                <a:cubicBezTo>
                  <a:pt x="41" y="237"/>
                  <a:pt x="41" y="236"/>
                  <a:pt x="43" y="236"/>
                </a:cubicBezTo>
                <a:cubicBezTo>
                  <a:pt x="43" y="234"/>
                  <a:pt x="43" y="235"/>
                  <a:pt x="44" y="233"/>
                </a:cubicBezTo>
                <a:cubicBezTo>
                  <a:pt x="43" y="234"/>
                  <a:pt x="42" y="236"/>
                  <a:pt x="41" y="236"/>
                </a:cubicBezTo>
                <a:cubicBezTo>
                  <a:pt x="42" y="234"/>
                  <a:pt x="44" y="232"/>
                  <a:pt x="45" y="231"/>
                </a:cubicBezTo>
                <a:cubicBezTo>
                  <a:pt x="44" y="230"/>
                  <a:pt x="48" y="227"/>
                  <a:pt x="49" y="225"/>
                </a:cubicBezTo>
                <a:cubicBezTo>
                  <a:pt x="47" y="226"/>
                  <a:pt x="44" y="230"/>
                  <a:pt x="44" y="228"/>
                </a:cubicBezTo>
                <a:cubicBezTo>
                  <a:pt x="44" y="229"/>
                  <a:pt x="43" y="230"/>
                  <a:pt x="43" y="230"/>
                </a:cubicBezTo>
                <a:cubicBezTo>
                  <a:pt x="44" y="230"/>
                  <a:pt x="44" y="230"/>
                  <a:pt x="44" y="230"/>
                </a:cubicBezTo>
                <a:cubicBezTo>
                  <a:pt x="42" y="232"/>
                  <a:pt x="43" y="232"/>
                  <a:pt x="42" y="234"/>
                </a:cubicBezTo>
                <a:cubicBezTo>
                  <a:pt x="42" y="233"/>
                  <a:pt x="42" y="232"/>
                  <a:pt x="42" y="233"/>
                </a:cubicBezTo>
                <a:cubicBezTo>
                  <a:pt x="41" y="233"/>
                  <a:pt x="41" y="234"/>
                  <a:pt x="41" y="234"/>
                </a:cubicBezTo>
                <a:cubicBezTo>
                  <a:pt x="40" y="236"/>
                  <a:pt x="40" y="236"/>
                  <a:pt x="40" y="236"/>
                </a:cubicBezTo>
                <a:cubicBezTo>
                  <a:pt x="40" y="236"/>
                  <a:pt x="39" y="237"/>
                  <a:pt x="38" y="238"/>
                </a:cubicBezTo>
                <a:cubicBezTo>
                  <a:pt x="38" y="236"/>
                  <a:pt x="39" y="236"/>
                  <a:pt x="40" y="235"/>
                </a:cubicBezTo>
                <a:cubicBezTo>
                  <a:pt x="39" y="235"/>
                  <a:pt x="39" y="236"/>
                  <a:pt x="38" y="236"/>
                </a:cubicBezTo>
                <a:cubicBezTo>
                  <a:pt x="38" y="238"/>
                  <a:pt x="38" y="238"/>
                  <a:pt x="38" y="238"/>
                </a:cubicBezTo>
                <a:cubicBezTo>
                  <a:pt x="38" y="238"/>
                  <a:pt x="38" y="238"/>
                  <a:pt x="38" y="238"/>
                </a:cubicBezTo>
                <a:cubicBezTo>
                  <a:pt x="37" y="240"/>
                  <a:pt x="36" y="242"/>
                  <a:pt x="34" y="243"/>
                </a:cubicBezTo>
                <a:cubicBezTo>
                  <a:pt x="34" y="247"/>
                  <a:pt x="29" y="251"/>
                  <a:pt x="28" y="254"/>
                </a:cubicBezTo>
                <a:cubicBezTo>
                  <a:pt x="28" y="253"/>
                  <a:pt x="28" y="253"/>
                  <a:pt x="28" y="252"/>
                </a:cubicBezTo>
                <a:cubicBezTo>
                  <a:pt x="29" y="251"/>
                  <a:pt x="32" y="249"/>
                  <a:pt x="32" y="247"/>
                </a:cubicBezTo>
                <a:cubicBezTo>
                  <a:pt x="33" y="246"/>
                  <a:pt x="33" y="245"/>
                  <a:pt x="34" y="244"/>
                </a:cubicBezTo>
                <a:cubicBezTo>
                  <a:pt x="33" y="244"/>
                  <a:pt x="33" y="246"/>
                  <a:pt x="32" y="245"/>
                </a:cubicBezTo>
                <a:cubicBezTo>
                  <a:pt x="32" y="247"/>
                  <a:pt x="30" y="248"/>
                  <a:pt x="31" y="249"/>
                </a:cubicBezTo>
                <a:cubicBezTo>
                  <a:pt x="29" y="250"/>
                  <a:pt x="28" y="252"/>
                  <a:pt x="27" y="253"/>
                </a:cubicBezTo>
                <a:cubicBezTo>
                  <a:pt x="27" y="252"/>
                  <a:pt x="28" y="251"/>
                  <a:pt x="27" y="252"/>
                </a:cubicBezTo>
                <a:cubicBezTo>
                  <a:pt x="27" y="253"/>
                  <a:pt x="26" y="253"/>
                  <a:pt x="26" y="253"/>
                </a:cubicBezTo>
                <a:cubicBezTo>
                  <a:pt x="27" y="253"/>
                  <a:pt x="25" y="254"/>
                  <a:pt x="25" y="255"/>
                </a:cubicBezTo>
                <a:cubicBezTo>
                  <a:pt x="26" y="254"/>
                  <a:pt x="26" y="254"/>
                  <a:pt x="26" y="255"/>
                </a:cubicBezTo>
                <a:cubicBezTo>
                  <a:pt x="25" y="256"/>
                  <a:pt x="25" y="257"/>
                  <a:pt x="23" y="258"/>
                </a:cubicBezTo>
                <a:cubicBezTo>
                  <a:pt x="23" y="258"/>
                  <a:pt x="24" y="257"/>
                  <a:pt x="23" y="257"/>
                </a:cubicBezTo>
                <a:cubicBezTo>
                  <a:pt x="22" y="258"/>
                  <a:pt x="23" y="259"/>
                  <a:pt x="22" y="260"/>
                </a:cubicBezTo>
                <a:cubicBezTo>
                  <a:pt x="21" y="261"/>
                  <a:pt x="20" y="263"/>
                  <a:pt x="19" y="263"/>
                </a:cubicBezTo>
                <a:cubicBezTo>
                  <a:pt x="18" y="265"/>
                  <a:pt x="17" y="266"/>
                  <a:pt x="16" y="267"/>
                </a:cubicBezTo>
                <a:cubicBezTo>
                  <a:pt x="17" y="266"/>
                  <a:pt x="16" y="266"/>
                  <a:pt x="16" y="266"/>
                </a:cubicBezTo>
                <a:cubicBezTo>
                  <a:pt x="16" y="267"/>
                  <a:pt x="14" y="268"/>
                  <a:pt x="15" y="268"/>
                </a:cubicBezTo>
                <a:cubicBezTo>
                  <a:pt x="14" y="270"/>
                  <a:pt x="14" y="268"/>
                  <a:pt x="14" y="269"/>
                </a:cubicBezTo>
                <a:cubicBezTo>
                  <a:pt x="13" y="269"/>
                  <a:pt x="13" y="270"/>
                  <a:pt x="12" y="270"/>
                </a:cubicBezTo>
                <a:cubicBezTo>
                  <a:pt x="13" y="271"/>
                  <a:pt x="13" y="270"/>
                  <a:pt x="14" y="269"/>
                </a:cubicBezTo>
                <a:cubicBezTo>
                  <a:pt x="14" y="270"/>
                  <a:pt x="13" y="270"/>
                  <a:pt x="13" y="271"/>
                </a:cubicBezTo>
                <a:cubicBezTo>
                  <a:pt x="13" y="272"/>
                  <a:pt x="12" y="272"/>
                  <a:pt x="12" y="273"/>
                </a:cubicBezTo>
                <a:cubicBezTo>
                  <a:pt x="12" y="273"/>
                  <a:pt x="10" y="275"/>
                  <a:pt x="11" y="274"/>
                </a:cubicBezTo>
                <a:cubicBezTo>
                  <a:pt x="11" y="273"/>
                  <a:pt x="12" y="273"/>
                  <a:pt x="12" y="271"/>
                </a:cubicBezTo>
                <a:cubicBezTo>
                  <a:pt x="11" y="273"/>
                  <a:pt x="11" y="272"/>
                  <a:pt x="10" y="272"/>
                </a:cubicBezTo>
                <a:cubicBezTo>
                  <a:pt x="10" y="274"/>
                  <a:pt x="9" y="274"/>
                  <a:pt x="8" y="276"/>
                </a:cubicBezTo>
                <a:cubicBezTo>
                  <a:pt x="8" y="275"/>
                  <a:pt x="9" y="274"/>
                  <a:pt x="9" y="273"/>
                </a:cubicBezTo>
                <a:cubicBezTo>
                  <a:pt x="10" y="273"/>
                  <a:pt x="10" y="272"/>
                  <a:pt x="11" y="270"/>
                </a:cubicBezTo>
                <a:cubicBezTo>
                  <a:pt x="11" y="271"/>
                  <a:pt x="11" y="270"/>
                  <a:pt x="11" y="270"/>
                </a:cubicBezTo>
                <a:cubicBezTo>
                  <a:pt x="12" y="270"/>
                  <a:pt x="13" y="266"/>
                  <a:pt x="14" y="265"/>
                </a:cubicBezTo>
                <a:cubicBezTo>
                  <a:pt x="14" y="264"/>
                  <a:pt x="14" y="265"/>
                  <a:pt x="15" y="264"/>
                </a:cubicBezTo>
                <a:cubicBezTo>
                  <a:pt x="15" y="262"/>
                  <a:pt x="17" y="260"/>
                  <a:pt x="17" y="260"/>
                </a:cubicBezTo>
                <a:cubicBezTo>
                  <a:pt x="17" y="261"/>
                  <a:pt x="16" y="261"/>
                  <a:pt x="16" y="262"/>
                </a:cubicBezTo>
                <a:cubicBezTo>
                  <a:pt x="16" y="262"/>
                  <a:pt x="15" y="265"/>
                  <a:pt x="16" y="264"/>
                </a:cubicBezTo>
                <a:cubicBezTo>
                  <a:pt x="17" y="263"/>
                  <a:pt x="16" y="264"/>
                  <a:pt x="17" y="262"/>
                </a:cubicBezTo>
                <a:cubicBezTo>
                  <a:pt x="17" y="262"/>
                  <a:pt x="18" y="260"/>
                  <a:pt x="18" y="260"/>
                </a:cubicBezTo>
                <a:cubicBezTo>
                  <a:pt x="19" y="259"/>
                  <a:pt x="18" y="261"/>
                  <a:pt x="19" y="260"/>
                </a:cubicBezTo>
                <a:cubicBezTo>
                  <a:pt x="19" y="259"/>
                  <a:pt x="20" y="257"/>
                  <a:pt x="20" y="256"/>
                </a:cubicBezTo>
                <a:cubicBezTo>
                  <a:pt x="20" y="256"/>
                  <a:pt x="20" y="256"/>
                  <a:pt x="20" y="255"/>
                </a:cubicBezTo>
                <a:cubicBezTo>
                  <a:pt x="21" y="253"/>
                  <a:pt x="22" y="251"/>
                  <a:pt x="23" y="250"/>
                </a:cubicBezTo>
                <a:cubicBezTo>
                  <a:pt x="24" y="250"/>
                  <a:pt x="22" y="252"/>
                  <a:pt x="23" y="251"/>
                </a:cubicBezTo>
                <a:cubicBezTo>
                  <a:pt x="24" y="250"/>
                  <a:pt x="24" y="250"/>
                  <a:pt x="25" y="248"/>
                </a:cubicBezTo>
                <a:cubicBezTo>
                  <a:pt x="26" y="248"/>
                  <a:pt x="28" y="246"/>
                  <a:pt x="28" y="244"/>
                </a:cubicBezTo>
                <a:cubicBezTo>
                  <a:pt x="29" y="243"/>
                  <a:pt x="29" y="245"/>
                  <a:pt x="30" y="244"/>
                </a:cubicBezTo>
                <a:cubicBezTo>
                  <a:pt x="29" y="243"/>
                  <a:pt x="31" y="242"/>
                  <a:pt x="31" y="241"/>
                </a:cubicBezTo>
                <a:cubicBezTo>
                  <a:pt x="31" y="241"/>
                  <a:pt x="31" y="240"/>
                  <a:pt x="32" y="239"/>
                </a:cubicBezTo>
                <a:cubicBezTo>
                  <a:pt x="32" y="240"/>
                  <a:pt x="32" y="241"/>
                  <a:pt x="32" y="240"/>
                </a:cubicBezTo>
                <a:cubicBezTo>
                  <a:pt x="32" y="239"/>
                  <a:pt x="33" y="239"/>
                  <a:pt x="33" y="238"/>
                </a:cubicBezTo>
                <a:cubicBezTo>
                  <a:pt x="34" y="238"/>
                  <a:pt x="33" y="239"/>
                  <a:pt x="34" y="238"/>
                </a:cubicBezTo>
                <a:cubicBezTo>
                  <a:pt x="34" y="237"/>
                  <a:pt x="35" y="236"/>
                  <a:pt x="36" y="235"/>
                </a:cubicBezTo>
                <a:cubicBezTo>
                  <a:pt x="35" y="236"/>
                  <a:pt x="34" y="236"/>
                  <a:pt x="33" y="237"/>
                </a:cubicBezTo>
                <a:cubicBezTo>
                  <a:pt x="34" y="235"/>
                  <a:pt x="36" y="234"/>
                  <a:pt x="37" y="232"/>
                </a:cubicBezTo>
                <a:cubicBezTo>
                  <a:pt x="36" y="234"/>
                  <a:pt x="34" y="236"/>
                  <a:pt x="32" y="238"/>
                </a:cubicBezTo>
                <a:cubicBezTo>
                  <a:pt x="33" y="238"/>
                  <a:pt x="33" y="237"/>
                  <a:pt x="33" y="238"/>
                </a:cubicBezTo>
                <a:cubicBezTo>
                  <a:pt x="32" y="239"/>
                  <a:pt x="32" y="238"/>
                  <a:pt x="31" y="239"/>
                </a:cubicBezTo>
                <a:cubicBezTo>
                  <a:pt x="31" y="239"/>
                  <a:pt x="31" y="238"/>
                  <a:pt x="31" y="238"/>
                </a:cubicBezTo>
                <a:cubicBezTo>
                  <a:pt x="33" y="236"/>
                  <a:pt x="36" y="234"/>
                  <a:pt x="36" y="231"/>
                </a:cubicBezTo>
                <a:cubicBezTo>
                  <a:pt x="36" y="232"/>
                  <a:pt x="37" y="231"/>
                  <a:pt x="37" y="230"/>
                </a:cubicBezTo>
                <a:cubicBezTo>
                  <a:pt x="38" y="229"/>
                  <a:pt x="37" y="231"/>
                  <a:pt x="38" y="231"/>
                </a:cubicBezTo>
                <a:cubicBezTo>
                  <a:pt x="38" y="230"/>
                  <a:pt x="39" y="229"/>
                  <a:pt x="39" y="228"/>
                </a:cubicBezTo>
                <a:cubicBezTo>
                  <a:pt x="39" y="229"/>
                  <a:pt x="38" y="231"/>
                  <a:pt x="38" y="229"/>
                </a:cubicBezTo>
                <a:cubicBezTo>
                  <a:pt x="38" y="228"/>
                  <a:pt x="39" y="228"/>
                  <a:pt x="39" y="227"/>
                </a:cubicBezTo>
                <a:cubicBezTo>
                  <a:pt x="39" y="226"/>
                  <a:pt x="39" y="227"/>
                  <a:pt x="40" y="225"/>
                </a:cubicBezTo>
                <a:cubicBezTo>
                  <a:pt x="39" y="226"/>
                  <a:pt x="39" y="225"/>
                  <a:pt x="39" y="225"/>
                </a:cubicBezTo>
                <a:cubicBezTo>
                  <a:pt x="41" y="224"/>
                  <a:pt x="40" y="223"/>
                  <a:pt x="40" y="222"/>
                </a:cubicBezTo>
                <a:cubicBezTo>
                  <a:pt x="41" y="222"/>
                  <a:pt x="40" y="224"/>
                  <a:pt x="41" y="223"/>
                </a:cubicBezTo>
                <a:cubicBezTo>
                  <a:pt x="42" y="222"/>
                  <a:pt x="43" y="221"/>
                  <a:pt x="44" y="219"/>
                </a:cubicBezTo>
                <a:cubicBezTo>
                  <a:pt x="43" y="220"/>
                  <a:pt x="43" y="221"/>
                  <a:pt x="44" y="221"/>
                </a:cubicBezTo>
                <a:cubicBezTo>
                  <a:pt x="44" y="219"/>
                  <a:pt x="44" y="220"/>
                  <a:pt x="45" y="219"/>
                </a:cubicBezTo>
                <a:cubicBezTo>
                  <a:pt x="45" y="219"/>
                  <a:pt x="46" y="218"/>
                  <a:pt x="47" y="217"/>
                </a:cubicBezTo>
                <a:cubicBezTo>
                  <a:pt x="48" y="216"/>
                  <a:pt x="48" y="215"/>
                  <a:pt x="48" y="214"/>
                </a:cubicBezTo>
                <a:cubicBezTo>
                  <a:pt x="49" y="213"/>
                  <a:pt x="49" y="214"/>
                  <a:pt x="50" y="214"/>
                </a:cubicBezTo>
                <a:cubicBezTo>
                  <a:pt x="50" y="213"/>
                  <a:pt x="52" y="211"/>
                  <a:pt x="51" y="210"/>
                </a:cubicBezTo>
                <a:cubicBezTo>
                  <a:pt x="52" y="210"/>
                  <a:pt x="53" y="210"/>
                  <a:pt x="53" y="209"/>
                </a:cubicBezTo>
                <a:cubicBezTo>
                  <a:pt x="52" y="208"/>
                  <a:pt x="49" y="213"/>
                  <a:pt x="48" y="213"/>
                </a:cubicBezTo>
                <a:cubicBezTo>
                  <a:pt x="52" y="209"/>
                  <a:pt x="52" y="209"/>
                  <a:pt x="52" y="209"/>
                </a:cubicBezTo>
                <a:cubicBezTo>
                  <a:pt x="50" y="209"/>
                  <a:pt x="51" y="207"/>
                  <a:pt x="51" y="206"/>
                </a:cubicBezTo>
                <a:cubicBezTo>
                  <a:pt x="52" y="205"/>
                  <a:pt x="54" y="202"/>
                  <a:pt x="56" y="199"/>
                </a:cubicBezTo>
                <a:cubicBezTo>
                  <a:pt x="55" y="201"/>
                  <a:pt x="55" y="201"/>
                  <a:pt x="54" y="203"/>
                </a:cubicBezTo>
                <a:cubicBezTo>
                  <a:pt x="57" y="201"/>
                  <a:pt x="59" y="199"/>
                  <a:pt x="60" y="196"/>
                </a:cubicBezTo>
                <a:cubicBezTo>
                  <a:pt x="63" y="194"/>
                  <a:pt x="64" y="191"/>
                  <a:pt x="67" y="190"/>
                </a:cubicBezTo>
                <a:cubicBezTo>
                  <a:pt x="67" y="189"/>
                  <a:pt x="68" y="189"/>
                  <a:pt x="68" y="188"/>
                </a:cubicBezTo>
                <a:cubicBezTo>
                  <a:pt x="69" y="187"/>
                  <a:pt x="69" y="187"/>
                  <a:pt x="69" y="187"/>
                </a:cubicBezTo>
                <a:cubicBezTo>
                  <a:pt x="71" y="184"/>
                  <a:pt x="75" y="181"/>
                  <a:pt x="77" y="179"/>
                </a:cubicBezTo>
                <a:cubicBezTo>
                  <a:pt x="77" y="179"/>
                  <a:pt x="76" y="180"/>
                  <a:pt x="76" y="179"/>
                </a:cubicBezTo>
                <a:cubicBezTo>
                  <a:pt x="77" y="179"/>
                  <a:pt x="77" y="177"/>
                  <a:pt x="77" y="178"/>
                </a:cubicBezTo>
                <a:cubicBezTo>
                  <a:pt x="77" y="178"/>
                  <a:pt x="77" y="179"/>
                  <a:pt x="78" y="178"/>
                </a:cubicBezTo>
                <a:cubicBezTo>
                  <a:pt x="78" y="177"/>
                  <a:pt x="81" y="175"/>
                  <a:pt x="82" y="174"/>
                </a:cubicBezTo>
                <a:cubicBezTo>
                  <a:pt x="81" y="175"/>
                  <a:pt x="80" y="176"/>
                  <a:pt x="81" y="176"/>
                </a:cubicBezTo>
                <a:cubicBezTo>
                  <a:pt x="82" y="175"/>
                  <a:pt x="83" y="174"/>
                  <a:pt x="84" y="173"/>
                </a:cubicBezTo>
                <a:cubicBezTo>
                  <a:pt x="84" y="172"/>
                  <a:pt x="83" y="172"/>
                  <a:pt x="83" y="171"/>
                </a:cubicBezTo>
                <a:cubicBezTo>
                  <a:pt x="84" y="172"/>
                  <a:pt x="86" y="172"/>
                  <a:pt x="88" y="168"/>
                </a:cubicBezTo>
                <a:cubicBezTo>
                  <a:pt x="87" y="169"/>
                  <a:pt x="87" y="168"/>
                  <a:pt x="87" y="169"/>
                </a:cubicBezTo>
                <a:cubicBezTo>
                  <a:pt x="88" y="167"/>
                  <a:pt x="89" y="166"/>
                  <a:pt x="91" y="163"/>
                </a:cubicBezTo>
                <a:cubicBezTo>
                  <a:pt x="93" y="163"/>
                  <a:pt x="94" y="159"/>
                  <a:pt x="97" y="158"/>
                </a:cubicBezTo>
                <a:cubicBezTo>
                  <a:pt x="97" y="157"/>
                  <a:pt x="98" y="157"/>
                  <a:pt x="98" y="156"/>
                </a:cubicBezTo>
                <a:cubicBezTo>
                  <a:pt x="98" y="156"/>
                  <a:pt x="98" y="156"/>
                  <a:pt x="98" y="156"/>
                </a:cubicBezTo>
                <a:cubicBezTo>
                  <a:pt x="100" y="155"/>
                  <a:pt x="100" y="153"/>
                  <a:pt x="103" y="151"/>
                </a:cubicBezTo>
                <a:cubicBezTo>
                  <a:pt x="102" y="152"/>
                  <a:pt x="100" y="154"/>
                  <a:pt x="100" y="155"/>
                </a:cubicBezTo>
                <a:cubicBezTo>
                  <a:pt x="102" y="153"/>
                  <a:pt x="107" y="148"/>
                  <a:pt x="106" y="150"/>
                </a:cubicBezTo>
                <a:cubicBezTo>
                  <a:pt x="108" y="148"/>
                  <a:pt x="110" y="145"/>
                  <a:pt x="112" y="143"/>
                </a:cubicBezTo>
                <a:cubicBezTo>
                  <a:pt x="114" y="142"/>
                  <a:pt x="114" y="143"/>
                  <a:pt x="115" y="142"/>
                </a:cubicBezTo>
                <a:cubicBezTo>
                  <a:pt x="115" y="142"/>
                  <a:pt x="114" y="143"/>
                  <a:pt x="114" y="143"/>
                </a:cubicBezTo>
                <a:cubicBezTo>
                  <a:pt x="115" y="143"/>
                  <a:pt x="115" y="143"/>
                  <a:pt x="115" y="142"/>
                </a:cubicBezTo>
                <a:cubicBezTo>
                  <a:pt x="116" y="142"/>
                  <a:pt x="115" y="142"/>
                  <a:pt x="116" y="140"/>
                </a:cubicBezTo>
                <a:cubicBezTo>
                  <a:pt x="117" y="140"/>
                  <a:pt x="116" y="142"/>
                  <a:pt x="116" y="142"/>
                </a:cubicBezTo>
                <a:cubicBezTo>
                  <a:pt x="118" y="141"/>
                  <a:pt x="117" y="140"/>
                  <a:pt x="119" y="139"/>
                </a:cubicBezTo>
                <a:cubicBezTo>
                  <a:pt x="118" y="140"/>
                  <a:pt x="118" y="140"/>
                  <a:pt x="119" y="139"/>
                </a:cubicBezTo>
                <a:cubicBezTo>
                  <a:pt x="120" y="138"/>
                  <a:pt x="119" y="138"/>
                  <a:pt x="120" y="138"/>
                </a:cubicBezTo>
                <a:cubicBezTo>
                  <a:pt x="121" y="137"/>
                  <a:pt x="121" y="136"/>
                  <a:pt x="121" y="136"/>
                </a:cubicBezTo>
                <a:cubicBezTo>
                  <a:pt x="122" y="136"/>
                  <a:pt x="120" y="138"/>
                  <a:pt x="121" y="137"/>
                </a:cubicBezTo>
                <a:cubicBezTo>
                  <a:pt x="122" y="137"/>
                  <a:pt x="122" y="135"/>
                  <a:pt x="123" y="134"/>
                </a:cubicBezTo>
                <a:cubicBezTo>
                  <a:pt x="122" y="135"/>
                  <a:pt x="121" y="136"/>
                  <a:pt x="121" y="135"/>
                </a:cubicBezTo>
                <a:cubicBezTo>
                  <a:pt x="123" y="133"/>
                  <a:pt x="125" y="132"/>
                  <a:pt x="127" y="130"/>
                </a:cubicBezTo>
                <a:cubicBezTo>
                  <a:pt x="127" y="130"/>
                  <a:pt x="126" y="130"/>
                  <a:pt x="127" y="130"/>
                </a:cubicBezTo>
                <a:cubicBezTo>
                  <a:pt x="128" y="129"/>
                  <a:pt x="126" y="131"/>
                  <a:pt x="128" y="130"/>
                </a:cubicBezTo>
                <a:cubicBezTo>
                  <a:pt x="128" y="129"/>
                  <a:pt x="130" y="129"/>
                  <a:pt x="131" y="128"/>
                </a:cubicBezTo>
                <a:cubicBezTo>
                  <a:pt x="130" y="128"/>
                  <a:pt x="128" y="129"/>
                  <a:pt x="129" y="128"/>
                </a:cubicBezTo>
                <a:cubicBezTo>
                  <a:pt x="130" y="127"/>
                  <a:pt x="130" y="127"/>
                  <a:pt x="131" y="127"/>
                </a:cubicBezTo>
                <a:cubicBezTo>
                  <a:pt x="132" y="125"/>
                  <a:pt x="132" y="125"/>
                  <a:pt x="132" y="125"/>
                </a:cubicBezTo>
                <a:cubicBezTo>
                  <a:pt x="134" y="124"/>
                  <a:pt x="135" y="122"/>
                  <a:pt x="137" y="121"/>
                </a:cubicBezTo>
                <a:cubicBezTo>
                  <a:pt x="137" y="123"/>
                  <a:pt x="137" y="121"/>
                  <a:pt x="136" y="122"/>
                </a:cubicBezTo>
                <a:cubicBezTo>
                  <a:pt x="136" y="123"/>
                  <a:pt x="137" y="122"/>
                  <a:pt x="137" y="122"/>
                </a:cubicBezTo>
                <a:cubicBezTo>
                  <a:pt x="138" y="121"/>
                  <a:pt x="140" y="119"/>
                  <a:pt x="142" y="117"/>
                </a:cubicBezTo>
                <a:cubicBezTo>
                  <a:pt x="143" y="117"/>
                  <a:pt x="142" y="118"/>
                  <a:pt x="143" y="117"/>
                </a:cubicBezTo>
                <a:cubicBezTo>
                  <a:pt x="144" y="116"/>
                  <a:pt x="144" y="116"/>
                  <a:pt x="145" y="115"/>
                </a:cubicBezTo>
                <a:cubicBezTo>
                  <a:pt x="146" y="114"/>
                  <a:pt x="146" y="115"/>
                  <a:pt x="146" y="115"/>
                </a:cubicBezTo>
                <a:cubicBezTo>
                  <a:pt x="147" y="115"/>
                  <a:pt x="148" y="114"/>
                  <a:pt x="148" y="113"/>
                </a:cubicBezTo>
                <a:cubicBezTo>
                  <a:pt x="148" y="114"/>
                  <a:pt x="149" y="114"/>
                  <a:pt x="149" y="113"/>
                </a:cubicBezTo>
                <a:cubicBezTo>
                  <a:pt x="147" y="115"/>
                  <a:pt x="144" y="117"/>
                  <a:pt x="142" y="119"/>
                </a:cubicBezTo>
                <a:cubicBezTo>
                  <a:pt x="142" y="119"/>
                  <a:pt x="141" y="120"/>
                  <a:pt x="142" y="120"/>
                </a:cubicBezTo>
                <a:cubicBezTo>
                  <a:pt x="145" y="118"/>
                  <a:pt x="151" y="114"/>
                  <a:pt x="152" y="111"/>
                </a:cubicBezTo>
                <a:cubicBezTo>
                  <a:pt x="153" y="110"/>
                  <a:pt x="152" y="111"/>
                  <a:pt x="153" y="111"/>
                </a:cubicBezTo>
                <a:cubicBezTo>
                  <a:pt x="154" y="110"/>
                  <a:pt x="155" y="109"/>
                  <a:pt x="156" y="108"/>
                </a:cubicBezTo>
                <a:cubicBezTo>
                  <a:pt x="156" y="107"/>
                  <a:pt x="157" y="107"/>
                  <a:pt x="157" y="107"/>
                </a:cubicBezTo>
                <a:cubicBezTo>
                  <a:pt x="156" y="107"/>
                  <a:pt x="155" y="108"/>
                  <a:pt x="154" y="109"/>
                </a:cubicBezTo>
                <a:cubicBezTo>
                  <a:pt x="155" y="109"/>
                  <a:pt x="155" y="108"/>
                  <a:pt x="155" y="109"/>
                </a:cubicBezTo>
                <a:cubicBezTo>
                  <a:pt x="154" y="109"/>
                  <a:pt x="154" y="110"/>
                  <a:pt x="153" y="110"/>
                </a:cubicBezTo>
                <a:cubicBezTo>
                  <a:pt x="154" y="109"/>
                  <a:pt x="152" y="110"/>
                  <a:pt x="153" y="109"/>
                </a:cubicBezTo>
                <a:cubicBezTo>
                  <a:pt x="154" y="108"/>
                  <a:pt x="153" y="109"/>
                  <a:pt x="154" y="108"/>
                </a:cubicBezTo>
                <a:cubicBezTo>
                  <a:pt x="155" y="106"/>
                  <a:pt x="159" y="106"/>
                  <a:pt x="158" y="105"/>
                </a:cubicBezTo>
                <a:cubicBezTo>
                  <a:pt x="158" y="104"/>
                  <a:pt x="159" y="104"/>
                  <a:pt x="159" y="104"/>
                </a:cubicBezTo>
                <a:cubicBezTo>
                  <a:pt x="160" y="103"/>
                  <a:pt x="160" y="104"/>
                  <a:pt x="161" y="103"/>
                </a:cubicBezTo>
                <a:cubicBezTo>
                  <a:pt x="161" y="103"/>
                  <a:pt x="160" y="103"/>
                  <a:pt x="161" y="103"/>
                </a:cubicBezTo>
                <a:cubicBezTo>
                  <a:pt x="162" y="102"/>
                  <a:pt x="163" y="101"/>
                  <a:pt x="164" y="100"/>
                </a:cubicBezTo>
                <a:cubicBezTo>
                  <a:pt x="163" y="100"/>
                  <a:pt x="166" y="99"/>
                  <a:pt x="165" y="99"/>
                </a:cubicBezTo>
                <a:cubicBezTo>
                  <a:pt x="164" y="100"/>
                  <a:pt x="162" y="101"/>
                  <a:pt x="161" y="101"/>
                </a:cubicBezTo>
                <a:cubicBezTo>
                  <a:pt x="163" y="100"/>
                  <a:pt x="163" y="99"/>
                  <a:pt x="165" y="98"/>
                </a:cubicBezTo>
                <a:cubicBezTo>
                  <a:pt x="165" y="98"/>
                  <a:pt x="164" y="99"/>
                  <a:pt x="165" y="99"/>
                </a:cubicBezTo>
                <a:cubicBezTo>
                  <a:pt x="166" y="98"/>
                  <a:pt x="166" y="98"/>
                  <a:pt x="166" y="98"/>
                </a:cubicBezTo>
                <a:cubicBezTo>
                  <a:pt x="166" y="98"/>
                  <a:pt x="166" y="97"/>
                  <a:pt x="166" y="97"/>
                </a:cubicBezTo>
                <a:cubicBezTo>
                  <a:pt x="165" y="98"/>
                  <a:pt x="163" y="98"/>
                  <a:pt x="162" y="100"/>
                </a:cubicBezTo>
                <a:cubicBezTo>
                  <a:pt x="161" y="100"/>
                  <a:pt x="162" y="100"/>
                  <a:pt x="161" y="100"/>
                </a:cubicBezTo>
                <a:cubicBezTo>
                  <a:pt x="159" y="102"/>
                  <a:pt x="158" y="104"/>
                  <a:pt x="156" y="105"/>
                </a:cubicBezTo>
                <a:cubicBezTo>
                  <a:pt x="155" y="105"/>
                  <a:pt x="157" y="103"/>
                  <a:pt x="156" y="104"/>
                </a:cubicBezTo>
                <a:cubicBezTo>
                  <a:pt x="155" y="105"/>
                  <a:pt x="155" y="105"/>
                  <a:pt x="154" y="106"/>
                </a:cubicBezTo>
                <a:cubicBezTo>
                  <a:pt x="153" y="106"/>
                  <a:pt x="156" y="104"/>
                  <a:pt x="154" y="105"/>
                </a:cubicBezTo>
                <a:cubicBezTo>
                  <a:pt x="154" y="106"/>
                  <a:pt x="153" y="106"/>
                  <a:pt x="153" y="107"/>
                </a:cubicBezTo>
                <a:cubicBezTo>
                  <a:pt x="151" y="108"/>
                  <a:pt x="154" y="106"/>
                  <a:pt x="152" y="106"/>
                </a:cubicBezTo>
                <a:cubicBezTo>
                  <a:pt x="151" y="108"/>
                  <a:pt x="150" y="108"/>
                  <a:pt x="151" y="108"/>
                </a:cubicBezTo>
                <a:cubicBezTo>
                  <a:pt x="149" y="109"/>
                  <a:pt x="148" y="110"/>
                  <a:pt x="148" y="110"/>
                </a:cubicBezTo>
                <a:cubicBezTo>
                  <a:pt x="148" y="111"/>
                  <a:pt x="148" y="111"/>
                  <a:pt x="147" y="111"/>
                </a:cubicBezTo>
                <a:cubicBezTo>
                  <a:pt x="147" y="112"/>
                  <a:pt x="147" y="110"/>
                  <a:pt x="146" y="112"/>
                </a:cubicBezTo>
                <a:cubicBezTo>
                  <a:pt x="145" y="112"/>
                  <a:pt x="146" y="113"/>
                  <a:pt x="146" y="113"/>
                </a:cubicBezTo>
                <a:cubicBezTo>
                  <a:pt x="145" y="114"/>
                  <a:pt x="143" y="116"/>
                  <a:pt x="142" y="115"/>
                </a:cubicBezTo>
                <a:cubicBezTo>
                  <a:pt x="143" y="115"/>
                  <a:pt x="144" y="114"/>
                  <a:pt x="145" y="113"/>
                </a:cubicBezTo>
                <a:cubicBezTo>
                  <a:pt x="142" y="114"/>
                  <a:pt x="140" y="118"/>
                  <a:pt x="139" y="116"/>
                </a:cubicBezTo>
                <a:cubicBezTo>
                  <a:pt x="138" y="118"/>
                  <a:pt x="137" y="118"/>
                  <a:pt x="136" y="120"/>
                </a:cubicBezTo>
                <a:cubicBezTo>
                  <a:pt x="137" y="119"/>
                  <a:pt x="138" y="119"/>
                  <a:pt x="139" y="117"/>
                </a:cubicBezTo>
                <a:cubicBezTo>
                  <a:pt x="140" y="117"/>
                  <a:pt x="140" y="117"/>
                  <a:pt x="140" y="117"/>
                </a:cubicBezTo>
                <a:cubicBezTo>
                  <a:pt x="139" y="118"/>
                  <a:pt x="139" y="118"/>
                  <a:pt x="139" y="118"/>
                </a:cubicBezTo>
                <a:cubicBezTo>
                  <a:pt x="138" y="118"/>
                  <a:pt x="137" y="120"/>
                  <a:pt x="135" y="121"/>
                </a:cubicBezTo>
                <a:cubicBezTo>
                  <a:pt x="135" y="120"/>
                  <a:pt x="136" y="119"/>
                  <a:pt x="135" y="120"/>
                </a:cubicBezTo>
                <a:cubicBezTo>
                  <a:pt x="134" y="122"/>
                  <a:pt x="131" y="123"/>
                  <a:pt x="130" y="124"/>
                </a:cubicBezTo>
                <a:cubicBezTo>
                  <a:pt x="130" y="124"/>
                  <a:pt x="129" y="126"/>
                  <a:pt x="129" y="126"/>
                </a:cubicBezTo>
                <a:cubicBezTo>
                  <a:pt x="129" y="126"/>
                  <a:pt x="129" y="126"/>
                  <a:pt x="129" y="127"/>
                </a:cubicBezTo>
                <a:cubicBezTo>
                  <a:pt x="128" y="126"/>
                  <a:pt x="127" y="128"/>
                  <a:pt x="127" y="126"/>
                </a:cubicBezTo>
                <a:cubicBezTo>
                  <a:pt x="126" y="127"/>
                  <a:pt x="126" y="128"/>
                  <a:pt x="127" y="128"/>
                </a:cubicBezTo>
                <a:cubicBezTo>
                  <a:pt x="125" y="129"/>
                  <a:pt x="122" y="133"/>
                  <a:pt x="123" y="131"/>
                </a:cubicBezTo>
                <a:cubicBezTo>
                  <a:pt x="122" y="131"/>
                  <a:pt x="121" y="133"/>
                  <a:pt x="121" y="132"/>
                </a:cubicBezTo>
                <a:cubicBezTo>
                  <a:pt x="121" y="132"/>
                  <a:pt x="122" y="132"/>
                  <a:pt x="122" y="131"/>
                </a:cubicBezTo>
                <a:cubicBezTo>
                  <a:pt x="121" y="131"/>
                  <a:pt x="121" y="132"/>
                  <a:pt x="119" y="133"/>
                </a:cubicBezTo>
                <a:cubicBezTo>
                  <a:pt x="120" y="132"/>
                  <a:pt x="120" y="132"/>
                  <a:pt x="120" y="132"/>
                </a:cubicBezTo>
                <a:cubicBezTo>
                  <a:pt x="120" y="132"/>
                  <a:pt x="120" y="132"/>
                  <a:pt x="120" y="132"/>
                </a:cubicBezTo>
                <a:cubicBezTo>
                  <a:pt x="120" y="132"/>
                  <a:pt x="121" y="131"/>
                  <a:pt x="121" y="131"/>
                </a:cubicBezTo>
                <a:cubicBezTo>
                  <a:pt x="121" y="131"/>
                  <a:pt x="122" y="130"/>
                  <a:pt x="122" y="130"/>
                </a:cubicBezTo>
                <a:cubicBezTo>
                  <a:pt x="120" y="131"/>
                  <a:pt x="118" y="133"/>
                  <a:pt x="118" y="134"/>
                </a:cubicBezTo>
                <a:cubicBezTo>
                  <a:pt x="116" y="135"/>
                  <a:pt x="115" y="137"/>
                  <a:pt x="113" y="139"/>
                </a:cubicBezTo>
                <a:cubicBezTo>
                  <a:pt x="114" y="139"/>
                  <a:pt x="114" y="139"/>
                  <a:pt x="114" y="140"/>
                </a:cubicBezTo>
                <a:cubicBezTo>
                  <a:pt x="113" y="139"/>
                  <a:pt x="113" y="140"/>
                  <a:pt x="111" y="142"/>
                </a:cubicBezTo>
                <a:cubicBezTo>
                  <a:pt x="111" y="141"/>
                  <a:pt x="113" y="139"/>
                  <a:pt x="112" y="139"/>
                </a:cubicBezTo>
                <a:cubicBezTo>
                  <a:pt x="110" y="141"/>
                  <a:pt x="108" y="143"/>
                  <a:pt x="106" y="145"/>
                </a:cubicBezTo>
                <a:cubicBezTo>
                  <a:pt x="104" y="146"/>
                  <a:pt x="101" y="150"/>
                  <a:pt x="99" y="151"/>
                </a:cubicBezTo>
                <a:cubicBezTo>
                  <a:pt x="100" y="150"/>
                  <a:pt x="100" y="150"/>
                  <a:pt x="100" y="150"/>
                </a:cubicBezTo>
                <a:cubicBezTo>
                  <a:pt x="99" y="151"/>
                  <a:pt x="100" y="149"/>
                  <a:pt x="98" y="150"/>
                </a:cubicBezTo>
                <a:cubicBezTo>
                  <a:pt x="98" y="151"/>
                  <a:pt x="99" y="151"/>
                  <a:pt x="99" y="151"/>
                </a:cubicBezTo>
                <a:cubicBezTo>
                  <a:pt x="98" y="153"/>
                  <a:pt x="96" y="154"/>
                  <a:pt x="95" y="155"/>
                </a:cubicBezTo>
                <a:cubicBezTo>
                  <a:pt x="96" y="155"/>
                  <a:pt x="97" y="154"/>
                  <a:pt x="97" y="155"/>
                </a:cubicBezTo>
                <a:cubicBezTo>
                  <a:pt x="96" y="156"/>
                  <a:pt x="95" y="157"/>
                  <a:pt x="94" y="158"/>
                </a:cubicBezTo>
                <a:cubicBezTo>
                  <a:pt x="94" y="157"/>
                  <a:pt x="93" y="158"/>
                  <a:pt x="93" y="157"/>
                </a:cubicBezTo>
                <a:cubicBezTo>
                  <a:pt x="95" y="157"/>
                  <a:pt x="95" y="156"/>
                  <a:pt x="96" y="155"/>
                </a:cubicBezTo>
                <a:cubicBezTo>
                  <a:pt x="95" y="156"/>
                  <a:pt x="95" y="157"/>
                  <a:pt x="95" y="156"/>
                </a:cubicBezTo>
                <a:cubicBezTo>
                  <a:pt x="93" y="157"/>
                  <a:pt x="92" y="159"/>
                  <a:pt x="90" y="160"/>
                </a:cubicBezTo>
                <a:cubicBezTo>
                  <a:pt x="91" y="159"/>
                  <a:pt x="90" y="159"/>
                  <a:pt x="89" y="160"/>
                </a:cubicBezTo>
                <a:cubicBezTo>
                  <a:pt x="89" y="159"/>
                  <a:pt x="90" y="159"/>
                  <a:pt x="91" y="158"/>
                </a:cubicBezTo>
                <a:cubicBezTo>
                  <a:pt x="90" y="158"/>
                  <a:pt x="88" y="159"/>
                  <a:pt x="87" y="161"/>
                </a:cubicBezTo>
                <a:cubicBezTo>
                  <a:pt x="88" y="161"/>
                  <a:pt x="88" y="161"/>
                  <a:pt x="88" y="162"/>
                </a:cubicBezTo>
                <a:cubicBezTo>
                  <a:pt x="89" y="161"/>
                  <a:pt x="88" y="160"/>
                  <a:pt x="90" y="159"/>
                </a:cubicBezTo>
                <a:cubicBezTo>
                  <a:pt x="90" y="160"/>
                  <a:pt x="89" y="161"/>
                  <a:pt x="89" y="162"/>
                </a:cubicBezTo>
                <a:cubicBezTo>
                  <a:pt x="86" y="164"/>
                  <a:pt x="83" y="167"/>
                  <a:pt x="82" y="169"/>
                </a:cubicBezTo>
                <a:cubicBezTo>
                  <a:pt x="81" y="170"/>
                  <a:pt x="81" y="169"/>
                  <a:pt x="80" y="170"/>
                </a:cubicBezTo>
                <a:cubicBezTo>
                  <a:pt x="80" y="170"/>
                  <a:pt x="80" y="170"/>
                  <a:pt x="80" y="171"/>
                </a:cubicBezTo>
                <a:cubicBezTo>
                  <a:pt x="79" y="171"/>
                  <a:pt x="80" y="171"/>
                  <a:pt x="79" y="172"/>
                </a:cubicBezTo>
                <a:cubicBezTo>
                  <a:pt x="78" y="172"/>
                  <a:pt x="74" y="177"/>
                  <a:pt x="73" y="178"/>
                </a:cubicBezTo>
                <a:cubicBezTo>
                  <a:pt x="72" y="180"/>
                  <a:pt x="74" y="177"/>
                  <a:pt x="73" y="178"/>
                </a:cubicBezTo>
                <a:cubicBezTo>
                  <a:pt x="73" y="178"/>
                  <a:pt x="72" y="179"/>
                  <a:pt x="72" y="179"/>
                </a:cubicBezTo>
                <a:cubicBezTo>
                  <a:pt x="71" y="180"/>
                  <a:pt x="71" y="180"/>
                  <a:pt x="70" y="181"/>
                </a:cubicBezTo>
                <a:cubicBezTo>
                  <a:pt x="70" y="181"/>
                  <a:pt x="70" y="181"/>
                  <a:pt x="70" y="182"/>
                </a:cubicBezTo>
                <a:cubicBezTo>
                  <a:pt x="69" y="182"/>
                  <a:pt x="69" y="183"/>
                  <a:pt x="68" y="183"/>
                </a:cubicBezTo>
                <a:cubicBezTo>
                  <a:pt x="68" y="183"/>
                  <a:pt x="68" y="183"/>
                  <a:pt x="68" y="183"/>
                </a:cubicBezTo>
                <a:cubicBezTo>
                  <a:pt x="66" y="184"/>
                  <a:pt x="66" y="184"/>
                  <a:pt x="66" y="184"/>
                </a:cubicBezTo>
                <a:cubicBezTo>
                  <a:pt x="67" y="184"/>
                  <a:pt x="67" y="184"/>
                  <a:pt x="68" y="183"/>
                </a:cubicBezTo>
                <a:cubicBezTo>
                  <a:pt x="67" y="185"/>
                  <a:pt x="66" y="185"/>
                  <a:pt x="66" y="186"/>
                </a:cubicBezTo>
                <a:cubicBezTo>
                  <a:pt x="66" y="185"/>
                  <a:pt x="64" y="188"/>
                  <a:pt x="64" y="187"/>
                </a:cubicBezTo>
                <a:cubicBezTo>
                  <a:pt x="62" y="190"/>
                  <a:pt x="59" y="193"/>
                  <a:pt x="57" y="195"/>
                </a:cubicBezTo>
                <a:cubicBezTo>
                  <a:pt x="56" y="197"/>
                  <a:pt x="56" y="196"/>
                  <a:pt x="56" y="197"/>
                </a:cubicBezTo>
                <a:cubicBezTo>
                  <a:pt x="54" y="199"/>
                  <a:pt x="52" y="202"/>
                  <a:pt x="51" y="202"/>
                </a:cubicBezTo>
                <a:cubicBezTo>
                  <a:pt x="50" y="204"/>
                  <a:pt x="48" y="206"/>
                  <a:pt x="47" y="206"/>
                </a:cubicBezTo>
                <a:cubicBezTo>
                  <a:pt x="47" y="206"/>
                  <a:pt x="48" y="204"/>
                  <a:pt x="48" y="205"/>
                </a:cubicBezTo>
                <a:cubicBezTo>
                  <a:pt x="47" y="205"/>
                  <a:pt x="47" y="206"/>
                  <a:pt x="46" y="207"/>
                </a:cubicBezTo>
                <a:cubicBezTo>
                  <a:pt x="46" y="207"/>
                  <a:pt x="47" y="207"/>
                  <a:pt x="46" y="207"/>
                </a:cubicBezTo>
                <a:cubicBezTo>
                  <a:pt x="45" y="208"/>
                  <a:pt x="45" y="210"/>
                  <a:pt x="44" y="211"/>
                </a:cubicBezTo>
                <a:cubicBezTo>
                  <a:pt x="46" y="208"/>
                  <a:pt x="45" y="207"/>
                  <a:pt x="47" y="205"/>
                </a:cubicBezTo>
                <a:cubicBezTo>
                  <a:pt x="48" y="204"/>
                  <a:pt x="49" y="202"/>
                  <a:pt x="50" y="201"/>
                </a:cubicBezTo>
                <a:cubicBezTo>
                  <a:pt x="51" y="200"/>
                  <a:pt x="51" y="201"/>
                  <a:pt x="52" y="200"/>
                </a:cubicBezTo>
                <a:cubicBezTo>
                  <a:pt x="52" y="200"/>
                  <a:pt x="50" y="201"/>
                  <a:pt x="51" y="201"/>
                </a:cubicBezTo>
                <a:cubicBezTo>
                  <a:pt x="53" y="198"/>
                  <a:pt x="56" y="195"/>
                  <a:pt x="56" y="194"/>
                </a:cubicBezTo>
                <a:cubicBezTo>
                  <a:pt x="57" y="193"/>
                  <a:pt x="56" y="194"/>
                  <a:pt x="57" y="193"/>
                </a:cubicBezTo>
                <a:cubicBezTo>
                  <a:pt x="58" y="192"/>
                  <a:pt x="60" y="190"/>
                  <a:pt x="61" y="189"/>
                </a:cubicBezTo>
                <a:cubicBezTo>
                  <a:pt x="60" y="190"/>
                  <a:pt x="60" y="191"/>
                  <a:pt x="59" y="192"/>
                </a:cubicBezTo>
                <a:cubicBezTo>
                  <a:pt x="58" y="192"/>
                  <a:pt x="56" y="194"/>
                  <a:pt x="57" y="195"/>
                </a:cubicBezTo>
                <a:cubicBezTo>
                  <a:pt x="59" y="193"/>
                  <a:pt x="60" y="191"/>
                  <a:pt x="61" y="190"/>
                </a:cubicBezTo>
                <a:cubicBezTo>
                  <a:pt x="62" y="189"/>
                  <a:pt x="62" y="189"/>
                  <a:pt x="62" y="189"/>
                </a:cubicBezTo>
                <a:cubicBezTo>
                  <a:pt x="61" y="189"/>
                  <a:pt x="60" y="191"/>
                  <a:pt x="60" y="190"/>
                </a:cubicBezTo>
                <a:cubicBezTo>
                  <a:pt x="61" y="190"/>
                  <a:pt x="61" y="189"/>
                  <a:pt x="61" y="188"/>
                </a:cubicBezTo>
                <a:cubicBezTo>
                  <a:pt x="64" y="186"/>
                  <a:pt x="63" y="185"/>
                  <a:pt x="65" y="183"/>
                </a:cubicBezTo>
                <a:cubicBezTo>
                  <a:pt x="65" y="184"/>
                  <a:pt x="63" y="185"/>
                  <a:pt x="64" y="185"/>
                </a:cubicBezTo>
                <a:cubicBezTo>
                  <a:pt x="65" y="183"/>
                  <a:pt x="67" y="182"/>
                  <a:pt x="68" y="180"/>
                </a:cubicBezTo>
                <a:cubicBezTo>
                  <a:pt x="69" y="179"/>
                  <a:pt x="69" y="180"/>
                  <a:pt x="69" y="180"/>
                </a:cubicBezTo>
                <a:cubicBezTo>
                  <a:pt x="70" y="179"/>
                  <a:pt x="71" y="177"/>
                  <a:pt x="71" y="177"/>
                </a:cubicBezTo>
                <a:cubicBezTo>
                  <a:pt x="72" y="177"/>
                  <a:pt x="70" y="179"/>
                  <a:pt x="71" y="179"/>
                </a:cubicBezTo>
                <a:cubicBezTo>
                  <a:pt x="71" y="179"/>
                  <a:pt x="72" y="178"/>
                  <a:pt x="72" y="177"/>
                </a:cubicBezTo>
                <a:cubicBezTo>
                  <a:pt x="72" y="177"/>
                  <a:pt x="73" y="175"/>
                  <a:pt x="74" y="175"/>
                </a:cubicBezTo>
                <a:cubicBezTo>
                  <a:pt x="73" y="175"/>
                  <a:pt x="74" y="174"/>
                  <a:pt x="74" y="174"/>
                </a:cubicBezTo>
                <a:cubicBezTo>
                  <a:pt x="74" y="174"/>
                  <a:pt x="74" y="174"/>
                  <a:pt x="74" y="173"/>
                </a:cubicBezTo>
                <a:cubicBezTo>
                  <a:pt x="75" y="172"/>
                  <a:pt x="74" y="174"/>
                  <a:pt x="75" y="174"/>
                </a:cubicBezTo>
                <a:cubicBezTo>
                  <a:pt x="77" y="172"/>
                  <a:pt x="77" y="170"/>
                  <a:pt x="78" y="169"/>
                </a:cubicBezTo>
                <a:cubicBezTo>
                  <a:pt x="77" y="170"/>
                  <a:pt x="77" y="171"/>
                  <a:pt x="78" y="170"/>
                </a:cubicBezTo>
                <a:cubicBezTo>
                  <a:pt x="80" y="169"/>
                  <a:pt x="80" y="166"/>
                  <a:pt x="81" y="166"/>
                </a:cubicBezTo>
                <a:cubicBezTo>
                  <a:pt x="80" y="166"/>
                  <a:pt x="81" y="166"/>
                  <a:pt x="81" y="166"/>
                </a:cubicBezTo>
                <a:cubicBezTo>
                  <a:pt x="81" y="167"/>
                  <a:pt x="79" y="169"/>
                  <a:pt x="80" y="169"/>
                </a:cubicBezTo>
                <a:cubicBezTo>
                  <a:pt x="82" y="167"/>
                  <a:pt x="82" y="166"/>
                  <a:pt x="83" y="164"/>
                </a:cubicBezTo>
                <a:cubicBezTo>
                  <a:pt x="84" y="163"/>
                  <a:pt x="84" y="164"/>
                  <a:pt x="84" y="163"/>
                </a:cubicBezTo>
                <a:cubicBezTo>
                  <a:pt x="85" y="161"/>
                  <a:pt x="85" y="161"/>
                  <a:pt x="85" y="161"/>
                </a:cubicBezTo>
                <a:cubicBezTo>
                  <a:pt x="85" y="162"/>
                  <a:pt x="83" y="164"/>
                  <a:pt x="83" y="163"/>
                </a:cubicBezTo>
                <a:cubicBezTo>
                  <a:pt x="84" y="162"/>
                  <a:pt x="85" y="161"/>
                  <a:pt x="86" y="160"/>
                </a:cubicBezTo>
                <a:cubicBezTo>
                  <a:pt x="83" y="163"/>
                  <a:pt x="81" y="165"/>
                  <a:pt x="78" y="168"/>
                </a:cubicBezTo>
                <a:cubicBezTo>
                  <a:pt x="79" y="165"/>
                  <a:pt x="85" y="161"/>
                  <a:pt x="85" y="160"/>
                </a:cubicBezTo>
                <a:cubicBezTo>
                  <a:pt x="86" y="159"/>
                  <a:pt x="86" y="158"/>
                  <a:pt x="87" y="157"/>
                </a:cubicBezTo>
                <a:cubicBezTo>
                  <a:pt x="87" y="158"/>
                  <a:pt x="87" y="158"/>
                  <a:pt x="87" y="158"/>
                </a:cubicBezTo>
                <a:cubicBezTo>
                  <a:pt x="89" y="156"/>
                  <a:pt x="90" y="155"/>
                  <a:pt x="92" y="154"/>
                </a:cubicBezTo>
                <a:cubicBezTo>
                  <a:pt x="92" y="154"/>
                  <a:pt x="91" y="155"/>
                  <a:pt x="92" y="155"/>
                </a:cubicBezTo>
                <a:cubicBezTo>
                  <a:pt x="92" y="154"/>
                  <a:pt x="93" y="153"/>
                  <a:pt x="94" y="152"/>
                </a:cubicBezTo>
                <a:cubicBezTo>
                  <a:pt x="93" y="153"/>
                  <a:pt x="93" y="153"/>
                  <a:pt x="92" y="154"/>
                </a:cubicBezTo>
                <a:cubicBezTo>
                  <a:pt x="93" y="152"/>
                  <a:pt x="94" y="151"/>
                  <a:pt x="95" y="149"/>
                </a:cubicBezTo>
                <a:cubicBezTo>
                  <a:pt x="96" y="148"/>
                  <a:pt x="95" y="148"/>
                  <a:pt x="98" y="146"/>
                </a:cubicBezTo>
                <a:cubicBezTo>
                  <a:pt x="99" y="144"/>
                  <a:pt x="103" y="141"/>
                  <a:pt x="105" y="139"/>
                </a:cubicBezTo>
                <a:cubicBezTo>
                  <a:pt x="105" y="139"/>
                  <a:pt x="104" y="140"/>
                  <a:pt x="105" y="140"/>
                </a:cubicBezTo>
                <a:cubicBezTo>
                  <a:pt x="105" y="139"/>
                  <a:pt x="105" y="139"/>
                  <a:pt x="106" y="139"/>
                </a:cubicBezTo>
                <a:cubicBezTo>
                  <a:pt x="105" y="139"/>
                  <a:pt x="106" y="137"/>
                  <a:pt x="107" y="137"/>
                </a:cubicBezTo>
                <a:cubicBezTo>
                  <a:pt x="108" y="136"/>
                  <a:pt x="107" y="137"/>
                  <a:pt x="107" y="137"/>
                </a:cubicBezTo>
                <a:cubicBezTo>
                  <a:pt x="108" y="136"/>
                  <a:pt x="107" y="137"/>
                  <a:pt x="108" y="136"/>
                </a:cubicBezTo>
                <a:cubicBezTo>
                  <a:pt x="109" y="135"/>
                  <a:pt x="109" y="136"/>
                  <a:pt x="109" y="136"/>
                </a:cubicBezTo>
                <a:cubicBezTo>
                  <a:pt x="109" y="135"/>
                  <a:pt x="109" y="135"/>
                  <a:pt x="109" y="135"/>
                </a:cubicBezTo>
                <a:cubicBezTo>
                  <a:pt x="111" y="133"/>
                  <a:pt x="114" y="131"/>
                  <a:pt x="114" y="130"/>
                </a:cubicBezTo>
                <a:cubicBezTo>
                  <a:pt x="115" y="129"/>
                  <a:pt x="114" y="131"/>
                  <a:pt x="115" y="131"/>
                </a:cubicBezTo>
                <a:cubicBezTo>
                  <a:pt x="117" y="127"/>
                  <a:pt x="119" y="125"/>
                  <a:pt x="122" y="124"/>
                </a:cubicBezTo>
                <a:cubicBezTo>
                  <a:pt x="121" y="124"/>
                  <a:pt x="121" y="125"/>
                  <a:pt x="122" y="124"/>
                </a:cubicBezTo>
                <a:cubicBezTo>
                  <a:pt x="121" y="126"/>
                  <a:pt x="119" y="128"/>
                  <a:pt x="120" y="127"/>
                </a:cubicBezTo>
                <a:cubicBezTo>
                  <a:pt x="121" y="126"/>
                  <a:pt x="121" y="126"/>
                  <a:pt x="122" y="125"/>
                </a:cubicBezTo>
                <a:cubicBezTo>
                  <a:pt x="122" y="125"/>
                  <a:pt x="121" y="125"/>
                  <a:pt x="122" y="124"/>
                </a:cubicBezTo>
                <a:cubicBezTo>
                  <a:pt x="123" y="123"/>
                  <a:pt x="122" y="125"/>
                  <a:pt x="123" y="125"/>
                </a:cubicBezTo>
                <a:cubicBezTo>
                  <a:pt x="124" y="124"/>
                  <a:pt x="124" y="124"/>
                  <a:pt x="125" y="123"/>
                </a:cubicBezTo>
                <a:cubicBezTo>
                  <a:pt x="126" y="120"/>
                  <a:pt x="130" y="117"/>
                  <a:pt x="132" y="115"/>
                </a:cubicBezTo>
                <a:cubicBezTo>
                  <a:pt x="132" y="115"/>
                  <a:pt x="131" y="116"/>
                  <a:pt x="132" y="116"/>
                </a:cubicBezTo>
                <a:cubicBezTo>
                  <a:pt x="134" y="115"/>
                  <a:pt x="134" y="114"/>
                  <a:pt x="134" y="113"/>
                </a:cubicBezTo>
                <a:cubicBezTo>
                  <a:pt x="136" y="113"/>
                  <a:pt x="134" y="112"/>
                  <a:pt x="136" y="111"/>
                </a:cubicBezTo>
                <a:cubicBezTo>
                  <a:pt x="135" y="113"/>
                  <a:pt x="136" y="113"/>
                  <a:pt x="136" y="113"/>
                </a:cubicBezTo>
                <a:cubicBezTo>
                  <a:pt x="136" y="113"/>
                  <a:pt x="137" y="112"/>
                  <a:pt x="137" y="112"/>
                </a:cubicBezTo>
                <a:cubicBezTo>
                  <a:pt x="137" y="112"/>
                  <a:pt x="136" y="112"/>
                  <a:pt x="137" y="111"/>
                </a:cubicBezTo>
                <a:cubicBezTo>
                  <a:pt x="138" y="111"/>
                  <a:pt x="139" y="110"/>
                  <a:pt x="139" y="109"/>
                </a:cubicBezTo>
                <a:cubicBezTo>
                  <a:pt x="144" y="106"/>
                  <a:pt x="148" y="101"/>
                  <a:pt x="152" y="100"/>
                </a:cubicBezTo>
                <a:cubicBezTo>
                  <a:pt x="153" y="98"/>
                  <a:pt x="154" y="98"/>
                  <a:pt x="154" y="97"/>
                </a:cubicBezTo>
                <a:cubicBezTo>
                  <a:pt x="156" y="96"/>
                  <a:pt x="157" y="95"/>
                  <a:pt x="158" y="94"/>
                </a:cubicBezTo>
                <a:cubicBezTo>
                  <a:pt x="160" y="93"/>
                  <a:pt x="161" y="93"/>
                  <a:pt x="161" y="91"/>
                </a:cubicBezTo>
                <a:cubicBezTo>
                  <a:pt x="163" y="90"/>
                  <a:pt x="160" y="93"/>
                  <a:pt x="161" y="92"/>
                </a:cubicBezTo>
                <a:cubicBezTo>
                  <a:pt x="163" y="92"/>
                  <a:pt x="163" y="91"/>
                  <a:pt x="164" y="91"/>
                </a:cubicBezTo>
                <a:cubicBezTo>
                  <a:pt x="164" y="90"/>
                  <a:pt x="165" y="90"/>
                  <a:pt x="166" y="89"/>
                </a:cubicBezTo>
                <a:cubicBezTo>
                  <a:pt x="166" y="89"/>
                  <a:pt x="165" y="90"/>
                  <a:pt x="165" y="90"/>
                </a:cubicBezTo>
                <a:cubicBezTo>
                  <a:pt x="171" y="86"/>
                  <a:pt x="178" y="81"/>
                  <a:pt x="182" y="77"/>
                </a:cubicBezTo>
                <a:cubicBezTo>
                  <a:pt x="181" y="78"/>
                  <a:pt x="178" y="80"/>
                  <a:pt x="177" y="80"/>
                </a:cubicBezTo>
                <a:cubicBezTo>
                  <a:pt x="178" y="80"/>
                  <a:pt x="178" y="80"/>
                  <a:pt x="178" y="80"/>
                </a:cubicBezTo>
                <a:cubicBezTo>
                  <a:pt x="177" y="80"/>
                  <a:pt x="176" y="81"/>
                  <a:pt x="176" y="81"/>
                </a:cubicBezTo>
                <a:cubicBezTo>
                  <a:pt x="174" y="82"/>
                  <a:pt x="175" y="81"/>
                  <a:pt x="175" y="80"/>
                </a:cubicBezTo>
                <a:cubicBezTo>
                  <a:pt x="178" y="79"/>
                  <a:pt x="181" y="78"/>
                  <a:pt x="181" y="76"/>
                </a:cubicBezTo>
                <a:cubicBezTo>
                  <a:pt x="182" y="76"/>
                  <a:pt x="183" y="75"/>
                  <a:pt x="184" y="75"/>
                </a:cubicBezTo>
                <a:cubicBezTo>
                  <a:pt x="184" y="76"/>
                  <a:pt x="182" y="76"/>
                  <a:pt x="183" y="76"/>
                </a:cubicBezTo>
                <a:cubicBezTo>
                  <a:pt x="184" y="76"/>
                  <a:pt x="184" y="75"/>
                  <a:pt x="185" y="74"/>
                </a:cubicBezTo>
                <a:cubicBezTo>
                  <a:pt x="185" y="74"/>
                  <a:pt x="185" y="75"/>
                  <a:pt x="185" y="74"/>
                </a:cubicBezTo>
                <a:cubicBezTo>
                  <a:pt x="186" y="74"/>
                  <a:pt x="186" y="74"/>
                  <a:pt x="185" y="76"/>
                </a:cubicBezTo>
                <a:cubicBezTo>
                  <a:pt x="184" y="76"/>
                  <a:pt x="184" y="76"/>
                  <a:pt x="182" y="77"/>
                </a:cubicBezTo>
                <a:cubicBezTo>
                  <a:pt x="184" y="76"/>
                  <a:pt x="182" y="78"/>
                  <a:pt x="183" y="78"/>
                </a:cubicBezTo>
                <a:cubicBezTo>
                  <a:pt x="184" y="77"/>
                  <a:pt x="185" y="77"/>
                  <a:pt x="185" y="76"/>
                </a:cubicBezTo>
                <a:cubicBezTo>
                  <a:pt x="186" y="75"/>
                  <a:pt x="189" y="72"/>
                  <a:pt x="191" y="70"/>
                </a:cubicBezTo>
                <a:cubicBezTo>
                  <a:pt x="190" y="71"/>
                  <a:pt x="192" y="70"/>
                  <a:pt x="193" y="70"/>
                </a:cubicBezTo>
                <a:cubicBezTo>
                  <a:pt x="193" y="69"/>
                  <a:pt x="196" y="68"/>
                  <a:pt x="197" y="67"/>
                </a:cubicBezTo>
                <a:cubicBezTo>
                  <a:pt x="197" y="67"/>
                  <a:pt x="196" y="68"/>
                  <a:pt x="197" y="68"/>
                </a:cubicBezTo>
                <a:cubicBezTo>
                  <a:pt x="198" y="67"/>
                  <a:pt x="198" y="66"/>
                  <a:pt x="199" y="65"/>
                </a:cubicBezTo>
                <a:cubicBezTo>
                  <a:pt x="199" y="66"/>
                  <a:pt x="201" y="64"/>
                  <a:pt x="201" y="64"/>
                </a:cubicBezTo>
                <a:cubicBezTo>
                  <a:pt x="201" y="65"/>
                  <a:pt x="203" y="64"/>
                  <a:pt x="203" y="64"/>
                </a:cubicBezTo>
                <a:cubicBezTo>
                  <a:pt x="204" y="64"/>
                  <a:pt x="204" y="63"/>
                  <a:pt x="204" y="63"/>
                </a:cubicBezTo>
                <a:cubicBezTo>
                  <a:pt x="204" y="63"/>
                  <a:pt x="203" y="64"/>
                  <a:pt x="203" y="63"/>
                </a:cubicBezTo>
                <a:cubicBezTo>
                  <a:pt x="205" y="63"/>
                  <a:pt x="206" y="62"/>
                  <a:pt x="206" y="61"/>
                </a:cubicBezTo>
                <a:cubicBezTo>
                  <a:pt x="207" y="61"/>
                  <a:pt x="205" y="62"/>
                  <a:pt x="206" y="61"/>
                </a:cubicBezTo>
                <a:cubicBezTo>
                  <a:pt x="208" y="60"/>
                  <a:pt x="208" y="61"/>
                  <a:pt x="209" y="60"/>
                </a:cubicBezTo>
                <a:cubicBezTo>
                  <a:pt x="209" y="59"/>
                  <a:pt x="209" y="59"/>
                  <a:pt x="209" y="59"/>
                </a:cubicBezTo>
                <a:cubicBezTo>
                  <a:pt x="209" y="60"/>
                  <a:pt x="206" y="61"/>
                  <a:pt x="205" y="61"/>
                </a:cubicBezTo>
                <a:cubicBezTo>
                  <a:pt x="206" y="61"/>
                  <a:pt x="205" y="61"/>
                  <a:pt x="205" y="60"/>
                </a:cubicBezTo>
                <a:cubicBezTo>
                  <a:pt x="206" y="60"/>
                  <a:pt x="207" y="59"/>
                  <a:pt x="208" y="59"/>
                </a:cubicBezTo>
                <a:cubicBezTo>
                  <a:pt x="208" y="58"/>
                  <a:pt x="207" y="59"/>
                  <a:pt x="206" y="59"/>
                </a:cubicBezTo>
                <a:cubicBezTo>
                  <a:pt x="209" y="58"/>
                  <a:pt x="209" y="58"/>
                  <a:pt x="210" y="58"/>
                </a:cubicBezTo>
                <a:cubicBezTo>
                  <a:pt x="212" y="56"/>
                  <a:pt x="214" y="56"/>
                  <a:pt x="215" y="56"/>
                </a:cubicBezTo>
                <a:cubicBezTo>
                  <a:pt x="215" y="56"/>
                  <a:pt x="214" y="57"/>
                  <a:pt x="214" y="57"/>
                </a:cubicBezTo>
                <a:cubicBezTo>
                  <a:pt x="216" y="56"/>
                  <a:pt x="217" y="56"/>
                  <a:pt x="219" y="55"/>
                </a:cubicBezTo>
                <a:cubicBezTo>
                  <a:pt x="219" y="54"/>
                  <a:pt x="219" y="54"/>
                  <a:pt x="220" y="54"/>
                </a:cubicBezTo>
                <a:cubicBezTo>
                  <a:pt x="220" y="54"/>
                  <a:pt x="218" y="55"/>
                  <a:pt x="220" y="54"/>
                </a:cubicBezTo>
                <a:cubicBezTo>
                  <a:pt x="220" y="54"/>
                  <a:pt x="221" y="54"/>
                  <a:pt x="222" y="53"/>
                </a:cubicBezTo>
                <a:cubicBezTo>
                  <a:pt x="222" y="53"/>
                  <a:pt x="222" y="53"/>
                  <a:pt x="222" y="52"/>
                </a:cubicBezTo>
                <a:cubicBezTo>
                  <a:pt x="221" y="53"/>
                  <a:pt x="220" y="54"/>
                  <a:pt x="220" y="53"/>
                </a:cubicBezTo>
                <a:cubicBezTo>
                  <a:pt x="221" y="52"/>
                  <a:pt x="222" y="52"/>
                  <a:pt x="223" y="52"/>
                </a:cubicBezTo>
                <a:cubicBezTo>
                  <a:pt x="222" y="51"/>
                  <a:pt x="221" y="52"/>
                  <a:pt x="221" y="52"/>
                </a:cubicBezTo>
                <a:cubicBezTo>
                  <a:pt x="222" y="52"/>
                  <a:pt x="222" y="51"/>
                  <a:pt x="222" y="51"/>
                </a:cubicBezTo>
                <a:cubicBezTo>
                  <a:pt x="223" y="51"/>
                  <a:pt x="224" y="51"/>
                  <a:pt x="223" y="51"/>
                </a:cubicBezTo>
                <a:cubicBezTo>
                  <a:pt x="224" y="51"/>
                  <a:pt x="225" y="51"/>
                  <a:pt x="226" y="50"/>
                </a:cubicBezTo>
                <a:cubicBezTo>
                  <a:pt x="227" y="50"/>
                  <a:pt x="227" y="50"/>
                  <a:pt x="229" y="49"/>
                </a:cubicBezTo>
                <a:cubicBezTo>
                  <a:pt x="230" y="48"/>
                  <a:pt x="228" y="49"/>
                  <a:pt x="229" y="48"/>
                </a:cubicBezTo>
                <a:cubicBezTo>
                  <a:pt x="231" y="48"/>
                  <a:pt x="228" y="49"/>
                  <a:pt x="230" y="49"/>
                </a:cubicBezTo>
                <a:cubicBezTo>
                  <a:pt x="232" y="48"/>
                  <a:pt x="235" y="47"/>
                  <a:pt x="237" y="45"/>
                </a:cubicBezTo>
                <a:cubicBezTo>
                  <a:pt x="237" y="46"/>
                  <a:pt x="239" y="44"/>
                  <a:pt x="240" y="44"/>
                </a:cubicBezTo>
                <a:cubicBezTo>
                  <a:pt x="241" y="43"/>
                  <a:pt x="241" y="44"/>
                  <a:pt x="242" y="43"/>
                </a:cubicBezTo>
                <a:cubicBezTo>
                  <a:pt x="243" y="42"/>
                  <a:pt x="244" y="41"/>
                  <a:pt x="245" y="40"/>
                </a:cubicBezTo>
                <a:cubicBezTo>
                  <a:pt x="245" y="41"/>
                  <a:pt x="246" y="40"/>
                  <a:pt x="247" y="40"/>
                </a:cubicBezTo>
                <a:cubicBezTo>
                  <a:pt x="248" y="41"/>
                  <a:pt x="245" y="41"/>
                  <a:pt x="246" y="41"/>
                </a:cubicBezTo>
                <a:cubicBezTo>
                  <a:pt x="247" y="41"/>
                  <a:pt x="250" y="39"/>
                  <a:pt x="250" y="39"/>
                </a:cubicBezTo>
                <a:cubicBezTo>
                  <a:pt x="250" y="39"/>
                  <a:pt x="248" y="40"/>
                  <a:pt x="248" y="39"/>
                </a:cubicBezTo>
                <a:cubicBezTo>
                  <a:pt x="251" y="38"/>
                  <a:pt x="255" y="37"/>
                  <a:pt x="257" y="35"/>
                </a:cubicBezTo>
                <a:cubicBezTo>
                  <a:pt x="260" y="34"/>
                  <a:pt x="263" y="34"/>
                  <a:pt x="264" y="32"/>
                </a:cubicBezTo>
                <a:cubicBezTo>
                  <a:pt x="265" y="32"/>
                  <a:pt x="265" y="33"/>
                  <a:pt x="266" y="32"/>
                </a:cubicBezTo>
                <a:cubicBezTo>
                  <a:pt x="266" y="32"/>
                  <a:pt x="266" y="32"/>
                  <a:pt x="265" y="32"/>
                </a:cubicBezTo>
                <a:cubicBezTo>
                  <a:pt x="267" y="30"/>
                  <a:pt x="267" y="30"/>
                  <a:pt x="267" y="30"/>
                </a:cubicBezTo>
                <a:cubicBezTo>
                  <a:pt x="268" y="31"/>
                  <a:pt x="271" y="28"/>
                  <a:pt x="272" y="29"/>
                </a:cubicBezTo>
                <a:cubicBezTo>
                  <a:pt x="271" y="29"/>
                  <a:pt x="270" y="30"/>
                  <a:pt x="270" y="30"/>
                </a:cubicBezTo>
                <a:cubicBezTo>
                  <a:pt x="272" y="29"/>
                  <a:pt x="273" y="30"/>
                  <a:pt x="274" y="29"/>
                </a:cubicBezTo>
                <a:cubicBezTo>
                  <a:pt x="273" y="28"/>
                  <a:pt x="275" y="28"/>
                  <a:pt x="276" y="27"/>
                </a:cubicBezTo>
                <a:cubicBezTo>
                  <a:pt x="277" y="27"/>
                  <a:pt x="275" y="28"/>
                  <a:pt x="277" y="28"/>
                </a:cubicBezTo>
                <a:cubicBezTo>
                  <a:pt x="277" y="27"/>
                  <a:pt x="277" y="27"/>
                  <a:pt x="278" y="27"/>
                </a:cubicBezTo>
                <a:cubicBezTo>
                  <a:pt x="278" y="28"/>
                  <a:pt x="274" y="29"/>
                  <a:pt x="275" y="29"/>
                </a:cubicBezTo>
                <a:cubicBezTo>
                  <a:pt x="277" y="28"/>
                  <a:pt x="280" y="28"/>
                  <a:pt x="281" y="27"/>
                </a:cubicBezTo>
                <a:cubicBezTo>
                  <a:pt x="281" y="27"/>
                  <a:pt x="281" y="27"/>
                  <a:pt x="282" y="27"/>
                </a:cubicBezTo>
                <a:cubicBezTo>
                  <a:pt x="283" y="26"/>
                  <a:pt x="285" y="26"/>
                  <a:pt x="285" y="25"/>
                </a:cubicBezTo>
                <a:cubicBezTo>
                  <a:pt x="284" y="25"/>
                  <a:pt x="283" y="26"/>
                  <a:pt x="282" y="26"/>
                </a:cubicBezTo>
                <a:cubicBezTo>
                  <a:pt x="285" y="24"/>
                  <a:pt x="286" y="24"/>
                  <a:pt x="288" y="23"/>
                </a:cubicBezTo>
                <a:cubicBezTo>
                  <a:pt x="288" y="23"/>
                  <a:pt x="287" y="24"/>
                  <a:pt x="288" y="24"/>
                </a:cubicBezTo>
                <a:cubicBezTo>
                  <a:pt x="286" y="24"/>
                  <a:pt x="285" y="25"/>
                  <a:pt x="286" y="25"/>
                </a:cubicBezTo>
                <a:cubicBezTo>
                  <a:pt x="287" y="24"/>
                  <a:pt x="289" y="24"/>
                  <a:pt x="290" y="23"/>
                </a:cubicBezTo>
                <a:cubicBezTo>
                  <a:pt x="290" y="23"/>
                  <a:pt x="290" y="23"/>
                  <a:pt x="289" y="23"/>
                </a:cubicBezTo>
                <a:cubicBezTo>
                  <a:pt x="290" y="22"/>
                  <a:pt x="291" y="22"/>
                  <a:pt x="292" y="21"/>
                </a:cubicBezTo>
                <a:cubicBezTo>
                  <a:pt x="294" y="21"/>
                  <a:pt x="293" y="22"/>
                  <a:pt x="293" y="22"/>
                </a:cubicBezTo>
                <a:cubicBezTo>
                  <a:pt x="296" y="20"/>
                  <a:pt x="300" y="19"/>
                  <a:pt x="302" y="18"/>
                </a:cubicBezTo>
                <a:cubicBezTo>
                  <a:pt x="303" y="18"/>
                  <a:pt x="302" y="19"/>
                  <a:pt x="302" y="19"/>
                </a:cubicBezTo>
                <a:cubicBezTo>
                  <a:pt x="305" y="19"/>
                  <a:pt x="303" y="18"/>
                  <a:pt x="305" y="18"/>
                </a:cubicBezTo>
                <a:cubicBezTo>
                  <a:pt x="305" y="18"/>
                  <a:pt x="304" y="18"/>
                  <a:pt x="305" y="18"/>
                </a:cubicBezTo>
                <a:cubicBezTo>
                  <a:pt x="306" y="18"/>
                  <a:pt x="307" y="17"/>
                  <a:pt x="307" y="17"/>
                </a:cubicBezTo>
                <a:cubicBezTo>
                  <a:pt x="306" y="17"/>
                  <a:pt x="305" y="18"/>
                  <a:pt x="304" y="18"/>
                </a:cubicBezTo>
                <a:cubicBezTo>
                  <a:pt x="304" y="17"/>
                  <a:pt x="304" y="17"/>
                  <a:pt x="303" y="17"/>
                </a:cubicBezTo>
                <a:cubicBezTo>
                  <a:pt x="305" y="16"/>
                  <a:pt x="307" y="16"/>
                  <a:pt x="310" y="15"/>
                </a:cubicBezTo>
                <a:cubicBezTo>
                  <a:pt x="312" y="14"/>
                  <a:pt x="310" y="14"/>
                  <a:pt x="310" y="14"/>
                </a:cubicBezTo>
                <a:cubicBezTo>
                  <a:pt x="312" y="14"/>
                  <a:pt x="311" y="14"/>
                  <a:pt x="312" y="14"/>
                </a:cubicBezTo>
                <a:cubicBezTo>
                  <a:pt x="310" y="16"/>
                  <a:pt x="308" y="16"/>
                  <a:pt x="306" y="17"/>
                </a:cubicBezTo>
                <a:cubicBezTo>
                  <a:pt x="307" y="17"/>
                  <a:pt x="307" y="17"/>
                  <a:pt x="309" y="17"/>
                </a:cubicBezTo>
                <a:cubicBezTo>
                  <a:pt x="308" y="17"/>
                  <a:pt x="307" y="18"/>
                  <a:pt x="308" y="18"/>
                </a:cubicBezTo>
                <a:cubicBezTo>
                  <a:pt x="307" y="18"/>
                  <a:pt x="305" y="19"/>
                  <a:pt x="305" y="19"/>
                </a:cubicBezTo>
                <a:cubicBezTo>
                  <a:pt x="306" y="20"/>
                  <a:pt x="309" y="18"/>
                  <a:pt x="308" y="18"/>
                </a:cubicBezTo>
                <a:cubicBezTo>
                  <a:pt x="309" y="18"/>
                  <a:pt x="312" y="17"/>
                  <a:pt x="312" y="17"/>
                </a:cubicBezTo>
                <a:cubicBezTo>
                  <a:pt x="311" y="16"/>
                  <a:pt x="310" y="17"/>
                  <a:pt x="309" y="17"/>
                </a:cubicBezTo>
                <a:cubicBezTo>
                  <a:pt x="310" y="17"/>
                  <a:pt x="309" y="17"/>
                  <a:pt x="309" y="17"/>
                </a:cubicBezTo>
                <a:cubicBezTo>
                  <a:pt x="313" y="15"/>
                  <a:pt x="323" y="14"/>
                  <a:pt x="323" y="12"/>
                </a:cubicBezTo>
                <a:cubicBezTo>
                  <a:pt x="323" y="12"/>
                  <a:pt x="321" y="13"/>
                  <a:pt x="322" y="12"/>
                </a:cubicBezTo>
                <a:cubicBezTo>
                  <a:pt x="322" y="12"/>
                  <a:pt x="324" y="11"/>
                  <a:pt x="324" y="11"/>
                </a:cubicBezTo>
                <a:cubicBezTo>
                  <a:pt x="322" y="12"/>
                  <a:pt x="320" y="12"/>
                  <a:pt x="319" y="13"/>
                </a:cubicBezTo>
                <a:cubicBezTo>
                  <a:pt x="317" y="13"/>
                  <a:pt x="316" y="14"/>
                  <a:pt x="314" y="14"/>
                </a:cubicBezTo>
                <a:cubicBezTo>
                  <a:pt x="315" y="14"/>
                  <a:pt x="316" y="14"/>
                  <a:pt x="317" y="13"/>
                </a:cubicBezTo>
                <a:cubicBezTo>
                  <a:pt x="317" y="13"/>
                  <a:pt x="317" y="13"/>
                  <a:pt x="316" y="13"/>
                </a:cubicBezTo>
                <a:cubicBezTo>
                  <a:pt x="318" y="12"/>
                  <a:pt x="318" y="12"/>
                  <a:pt x="319" y="12"/>
                </a:cubicBezTo>
                <a:cubicBezTo>
                  <a:pt x="319" y="12"/>
                  <a:pt x="316" y="13"/>
                  <a:pt x="318" y="13"/>
                </a:cubicBezTo>
                <a:cubicBezTo>
                  <a:pt x="320" y="12"/>
                  <a:pt x="322" y="11"/>
                  <a:pt x="321" y="11"/>
                </a:cubicBezTo>
                <a:cubicBezTo>
                  <a:pt x="320" y="11"/>
                  <a:pt x="318" y="12"/>
                  <a:pt x="319" y="11"/>
                </a:cubicBezTo>
                <a:cubicBezTo>
                  <a:pt x="319" y="11"/>
                  <a:pt x="320" y="11"/>
                  <a:pt x="321" y="10"/>
                </a:cubicBezTo>
                <a:cubicBezTo>
                  <a:pt x="322" y="11"/>
                  <a:pt x="325" y="10"/>
                  <a:pt x="324" y="11"/>
                </a:cubicBezTo>
                <a:cubicBezTo>
                  <a:pt x="325" y="10"/>
                  <a:pt x="330" y="8"/>
                  <a:pt x="332" y="8"/>
                </a:cubicBezTo>
                <a:cubicBezTo>
                  <a:pt x="332" y="8"/>
                  <a:pt x="332" y="8"/>
                  <a:pt x="332" y="8"/>
                </a:cubicBezTo>
                <a:cubicBezTo>
                  <a:pt x="333" y="8"/>
                  <a:pt x="333" y="8"/>
                  <a:pt x="334" y="8"/>
                </a:cubicBezTo>
                <a:cubicBezTo>
                  <a:pt x="334" y="8"/>
                  <a:pt x="334" y="8"/>
                  <a:pt x="334" y="8"/>
                </a:cubicBezTo>
                <a:cubicBezTo>
                  <a:pt x="332" y="9"/>
                  <a:pt x="330" y="9"/>
                  <a:pt x="328" y="10"/>
                </a:cubicBezTo>
                <a:cubicBezTo>
                  <a:pt x="329" y="10"/>
                  <a:pt x="327" y="10"/>
                  <a:pt x="329" y="10"/>
                </a:cubicBezTo>
                <a:cubicBezTo>
                  <a:pt x="330" y="9"/>
                  <a:pt x="334" y="9"/>
                  <a:pt x="336" y="8"/>
                </a:cubicBezTo>
                <a:cubicBezTo>
                  <a:pt x="335" y="8"/>
                  <a:pt x="334" y="8"/>
                  <a:pt x="335" y="8"/>
                </a:cubicBezTo>
                <a:cubicBezTo>
                  <a:pt x="337" y="7"/>
                  <a:pt x="341" y="7"/>
                  <a:pt x="341" y="6"/>
                </a:cubicBezTo>
                <a:cubicBezTo>
                  <a:pt x="342" y="6"/>
                  <a:pt x="342" y="7"/>
                  <a:pt x="344" y="5"/>
                </a:cubicBezTo>
                <a:cubicBezTo>
                  <a:pt x="345" y="5"/>
                  <a:pt x="345" y="6"/>
                  <a:pt x="345" y="6"/>
                </a:cubicBezTo>
                <a:cubicBezTo>
                  <a:pt x="345" y="6"/>
                  <a:pt x="344" y="6"/>
                  <a:pt x="343" y="6"/>
                </a:cubicBezTo>
                <a:cubicBezTo>
                  <a:pt x="346" y="7"/>
                  <a:pt x="342" y="7"/>
                  <a:pt x="343" y="7"/>
                </a:cubicBezTo>
                <a:cubicBezTo>
                  <a:pt x="344" y="7"/>
                  <a:pt x="345" y="7"/>
                  <a:pt x="346" y="7"/>
                </a:cubicBezTo>
                <a:cubicBezTo>
                  <a:pt x="344" y="6"/>
                  <a:pt x="347" y="6"/>
                  <a:pt x="346" y="5"/>
                </a:cubicBezTo>
                <a:cubicBezTo>
                  <a:pt x="347" y="6"/>
                  <a:pt x="350" y="6"/>
                  <a:pt x="350" y="5"/>
                </a:cubicBezTo>
                <a:cubicBezTo>
                  <a:pt x="351" y="5"/>
                  <a:pt x="351" y="5"/>
                  <a:pt x="352" y="5"/>
                </a:cubicBezTo>
                <a:cubicBezTo>
                  <a:pt x="353" y="6"/>
                  <a:pt x="348" y="6"/>
                  <a:pt x="349" y="6"/>
                </a:cubicBezTo>
                <a:cubicBezTo>
                  <a:pt x="345" y="7"/>
                  <a:pt x="342" y="8"/>
                  <a:pt x="338" y="9"/>
                </a:cubicBezTo>
                <a:cubicBezTo>
                  <a:pt x="339" y="10"/>
                  <a:pt x="341" y="8"/>
                  <a:pt x="342" y="9"/>
                </a:cubicBezTo>
                <a:cubicBezTo>
                  <a:pt x="343" y="8"/>
                  <a:pt x="343" y="8"/>
                  <a:pt x="343" y="8"/>
                </a:cubicBezTo>
                <a:cubicBezTo>
                  <a:pt x="346" y="7"/>
                  <a:pt x="344" y="7"/>
                  <a:pt x="345" y="8"/>
                </a:cubicBezTo>
                <a:cubicBezTo>
                  <a:pt x="346" y="7"/>
                  <a:pt x="347" y="8"/>
                  <a:pt x="346" y="7"/>
                </a:cubicBezTo>
                <a:cubicBezTo>
                  <a:pt x="349" y="7"/>
                  <a:pt x="346" y="8"/>
                  <a:pt x="346" y="8"/>
                </a:cubicBezTo>
                <a:cubicBezTo>
                  <a:pt x="348" y="8"/>
                  <a:pt x="350" y="8"/>
                  <a:pt x="351" y="8"/>
                </a:cubicBezTo>
                <a:cubicBezTo>
                  <a:pt x="351" y="7"/>
                  <a:pt x="351" y="7"/>
                  <a:pt x="351" y="7"/>
                </a:cubicBezTo>
                <a:cubicBezTo>
                  <a:pt x="350" y="8"/>
                  <a:pt x="349" y="7"/>
                  <a:pt x="348" y="8"/>
                </a:cubicBezTo>
                <a:cubicBezTo>
                  <a:pt x="347" y="8"/>
                  <a:pt x="347" y="7"/>
                  <a:pt x="348" y="7"/>
                </a:cubicBezTo>
                <a:cubicBezTo>
                  <a:pt x="348" y="7"/>
                  <a:pt x="348" y="8"/>
                  <a:pt x="348" y="7"/>
                </a:cubicBezTo>
                <a:cubicBezTo>
                  <a:pt x="349" y="7"/>
                  <a:pt x="350" y="7"/>
                  <a:pt x="350" y="6"/>
                </a:cubicBezTo>
                <a:cubicBezTo>
                  <a:pt x="351" y="6"/>
                  <a:pt x="354" y="6"/>
                  <a:pt x="354" y="6"/>
                </a:cubicBezTo>
                <a:cubicBezTo>
                  <a:pt x="353" y="6"/>
                  <a:pt x="352" y="6"/>
                  <a:pt x="350" y="6"/>
                </a:cubicBezTo>
                <a:cubicBezTo>
                  <a:pt x="351" y="5"/>
                  <a:pt x="353" y="6"/>
                  <a:pt x="353" y="5"/>
                </a:cubicBezTo>
                <a:cubicBezTo>
                  <a:pt x="354" y="6"/>
                  <a:pt x="360" y="5"/>
                  <a:pt x="359" y="4"/>
                </a:cubicBezTo>
                <a:cubicBezTo>
                  <a:pt x="361" y="4"/>
                  <a:pt x="360" y="5"/>
                  <a:pt x="362" y="4"/>
                </a:cubicBezTo>
                <a:cubicBezTo>
                  <a:pt x="362" y="4"/>
                  <a:pt x="362" y="4"/>
                  <a:pt x="362" y="4"/>
                </a:cubicBezTo>
                <a:cubicBezTo>
                  <a:pt x="363" y="4"/>
                  <a:pt x="363" y="3"/>
                  <a:pt x="364" y="3"/>
                </a:cubicBezTo>
                <a:cubicBezTo>
                  <a:pt x="365" y="3"/>
                  <a:pt x="366" y="3"/>
                  <a:pt x="367" y="3"/>
                </a:cubicBezTo>
                <a:cubicBezTo>
                  <a:pt x="365" y="4"/>
                  <a:pt x="362" y="5"/>
                  <a:pt x="362" y="6"/>
                </a:cubicBezTo>
                <a:cubicBezTo>
                  <a:pt x="363" y="5"/>
                  <a:pt x="363" y="5"/>
                  <a:pt x="363" y="5"/>
                </a:cubicBezTo>
                <a:cubicBezTo>
                  <a:pt x="364" y="5"/>
                  <a:pt x="365" y="4"/>
                  <a:pt x="367" y="5"/>
                </a:cubicBezTo>
                <a:cubicBezTo>
                  <a:pt x="366" y="5"/>
                  <a:pt x="367" y="5"/>
                  <a:pt x="368" y="5"/>
                </a:cubicBezTo>
                <a:cubicBezTo>
                  <a:pt x="369" y="4"/>
                  <a:pt x="371" y="5"/>
                  <a:pt x="371" y="5"/>
                </a:cubicBezTo>
                <a:cubicBezTo>
                  <a:pt x="372" y="5"/>
                  <a:pt x="373" y="4"/>
                  <a:pt x="372" y="4"/>
                </a:cubicBezTo>
                <a:cubicBezTo>
                  <a:pt x="372" y="4"/>
                  <a:pt x="369" y="5"/>
                  <a:pt x="370" y="4"/>
                </a:cubicBezTo>
                <a:cubicBezTo>
                  <a:pt x="371" y="4"/>
                  <a:pt x="373" y="4"/>
                  <a:pt x="372" y="3"/>
                </a:cubicBezTo>
                <a:cubicBezTo>
                  <a:pt x="372" y="4"/>
                  <a:pt x="369" y="4"/>
                  <a:pt x="370" y="3"/>
                </a:cubicBezTo>
                <a:cubicBezTo>
                  <a:pt x="372" y="2"/>
                  <a:pt x="373" y="3"/>
                  <a:pt x="374" y="2"/>
                </a:cubicBezTo>
                <a:cubicBezTo>
                  <a:pt x="375" y="2"/>
                  <a:pt x="375" y="2"/>
                  <a:pt x="375" y="3"/>
                </a:cubicBezTo>
                <a:cubicBezTo>
                  <a:pt x="376" y="2"/>
                  <a:pt x="379" y="2"/>
                  <a:pt x="380" y="2"/>
                </a:cubicBezTo>
                <a:cubicBezTo>
                  <a:pt x="382" y="2"/>
                  <a:pt x="383" y="1"/>
                  <a:pt x="385" y="1"/>
                </a:cubicBezTo>
                <a:cubicBezTo>
                  <a:pt x="385" y="1"/>
                  <a:pt x="387" y="1"/>
                  <a:pt x="387" y="1"/>
                </a:cubicBezTo>
                <a:cubicBezTo>
                  <a:pt x="388" y="1"/>
                  <a:pt x="388" y="1"/>
                  <a:pt x="389" y="1"/>
                </a:cubicBezTo>
                <a:cubicBezTo>
                  <a:pt x="389" y="0"/>
                  <a:pt x="392" y="1"/>
                  <a:pt x="394" y="0"/>
                </a:cubicBezTo>
                <a:cubicBezTo>
                  <a:pt x="394" y="1"/>
                  <a:pt x="394" y="1"/>
                  <a:pt x="395" y="1"/>
                </a:cubicBezTo>
                <a:cubicBezTo>
                  <a:pt x="397" y="1"/>
                  <a:pt x="395" y="1"/>
                  <a:pt x="397" y="1"/>
                </a:cubicBezTo>
                <a:cubicBezTo>
                  <a:pt x="396" y="1"/>
                  <a:pt x="396" y="1"/>
                  <a:pt x="397" y="1"/>
                </a:cubicBezTo>
                <a:cubicBezTo>
                  <a:pt x="398" y="1"/>
                  <a:pt x="398" y="1"/>
                  <a:pt x="399" y="1"/>
                </a:cubicBezTo>
                <a:cubicBezTo>
                  <a:pt x="400" y="1"/>
                  <a:pt x="398" y="1"/>
                  <a:pt x="399" y="0"/>
                </a:cubicBezTo>
                <a:cubicBezTo>
                  <a:pt x="401" y="0"/>
                  <a:pt x="404" y="0"/>
                  <a:pt x="406" y="0"/>
                </a:cubicBezTo>
                <a:cubicBezTo>
                  <a:pt x="405" y="0"/>
                  <a:pt x="405" y="0"/>
                  <a:pt x="406" y="0"/>
                </a:cubicBezTo>
                <a:cubicBezTo>
                  <a:pt x="407" y="0"/>
                  <a:pt x="409" y="0"/>
                  <a:pt x="409" y="1"/>
                </a:cubicBezTo>
                <a:cubicBezTo>
                  <a:pt x="411" y="0"/>
                  <a:pt x="414" y="0"/>
                  <a:pt x="416" y="0"/>
                </a:cubicBezTo>
                <a:cubicBezTo>
                  <a:pt x="417" y="0"/>
                  <a:pt x="418" y="0"/>
                  <a:pt x="419" y="0"/>
                </a:cubicBezTo>
                <a:cubicBezTo>
                  <a:pt x="420" y="0"/>
                  <a:pt x="421" y="0"/>
                  <a:pt x="421" y="0"/>
                </a:cubicBezTo>
                <a:cubicBezTo>
                  <a:pt x="422" y="0"/>
                  <a:pt x="422" y="0"/>
                  <a:pt x="423" y="0"/>
                </a:cubicBezTo>
                <a:cubicBezTo>
                  <a:pt x="423" y="0"/>
                  <a:pt x="421" y="0"/>
                  <a:pt x="420" y="0"/>
                </a:cubicBezTo>
                <a:cubicBezTo>
                  <a:pt x="421" y="1"/>
                  <a:pt x="420" y="1"/>
                  <a:pt x="419" y="2"/>
                </a:cubicBezTo>
                <a:cubicBezTo>
                  <a:pt x="421" y="2"/>
                  <a:pt x="422" y="2"/>
                  <a:pt x="423" y="1"/>
                </a:cubicBezTo>
                <a:cubicBezTo>
                  <a:pt x="425" y="2"/>
                  <a:pt x="427" y="2"/>
                  <a:pt x="429" y="1"/>
                </a:cubicBezTo>
                <a:cubicBezTo>
                  <a:pt x="431" y="2"/>
                  <a:pt x="429" y="2"/>
                  <a:pt x="430" y="2"/>
                </a:cubicBezTo>
                <a:cubicBezTo>
                  <a:pt x="431" y="2"/>
                  <a:pt x="430" y="2"/>
                  <a:pt x="431" y="2"/>
                </a:cubicBezTo>
                <a:cubicBezTo>
                  <a:pt x="433" y="2"/>
                  <a:pt x="439" y="2"/>
                  <a:pt x="443" y="3"/>
                </a:cubicBezTo>
                <a:cubicBezTo>
                  <a:pt x="442" y="2"/>
                  <a:pt x="441" y="2"/>
                  <a:pt x="440" y="2"/>
                </a:cubicBezTo>
                <a:cubicBezTo>
                  <a:pt x="440" y="2"/>
                  <a:pt x="439" y="1"/>
                  <a:pt x="438" y="2"/>
                </a:cubicBezTo>
                <a:cubicBezTo>
                  <a:pt x="439" y="2"/>
                  <a:pt x="439" y="2"/>
                  <a:pt x="439" y="2"/>
                </a:cubicBezTo>
                <a:cubicBezTo>
                  <a:pt x="436" y="2"/>
                  <a:pt x="434" y="1"/>
                  <a:pt x="431" y="1"/>
                </a:cubicBezTo>
                <a:cubicBezTo>
                  <a:pt x="432" y="1"/>
                  <a:pt x="434" y="1"/>
                  <a:pt x="432" y="1"/>
                </a:cubicBezTo>
                <a:cubicBezTo>
                  <a:pt x="433" y="0"/>
                  <a:pt x="434" y="1"/>
                  <a:pt x="435" y="1"/>
                </a:cubicBezTo>
                <a:cubicBezTo>
                  <a:pt x="436" y="1"/>
                  <a:pt x="439" y="1"/>
                  <a:pt x="441" y="1"/>
                </a:cubicBezTo>
                <a:cubicBezTo>
                  <a:pt x="441" y="1"/>
                  <a:pt x="440" y="1"/>
                  <a:pt x="441" y="1"/>
                </a:cubicBezTo>
                <a:cubicBezTo>
                  <a:pt x="442" y="2"/>
                  <a:pt x="443" y="1"/>
                  <a:pt x="444" y="1"/>
                </a:cubicBezTo>
                <a:cubicBezTo>
                  <a:pt x="443" y="1"/>
                  <a:pt x="443" y="1"/>
                  <a:pt x="443" y="1"/>
                </a:cubicBezTo>
                <a:cubicBezTo>
                  <a:pt x="446" y="1"/>
                  <a:pt x="449" y="1"/>
                  <a:pt x="453" y="2"/>
                </a:cubicBezTo>
                <a:cubicBezTo>
                  <a:pt x="454" y="2"/>
                  <a:pt x="453" y="2"/>
                  <a:pt x="454" y="2"/>
                </a:cubicBezTo>
                <a:cubicBezTo>
                  <a:pt x="456" y="2"/>
                  <a:pt x="456" y="2"/>
                  <a:pt x="456" y="2"/>
                </a:cubicBezTo>
                <a:cubicBezTo>
                  <a:pt x="456" y="3"/>
                  <a:pt x="456" y="3"/>
                  <a:pt x="456" y="3"/>
                </a:cubicBezTo>
                <a:cubicBezTo>
                  <a:pt x="457" y="3"/>
                  <a:pt x="457" y="3"/>
                  <a:pt x="458" y="3"/>
                </a:cubicBezTo>
                <a:cubicBezTo>
                  <a:pt x="458" y="3"/>
                  <a:pt x="457" y="2"/>
                  <a:pt x="457" y="2"/>
                </a:cubicBezTo>
                <a:cubicBezTo>
                  <a:pt x="458" y="3"/>
                  <a:pt x="460" y="2"/>
                  <a:pt x="460" y="3"/>
                </a:cubicBezTo>
                <a:cubicBezTo>
                  <a:pt x="460" y="3"/>
                  <a:pt x="459" y="3"/>
                  <a:pt x="460" y="3"/>
                </a:cubicBezTo>
                <a:cubicBezTo>
                  <a:pt x="461" y="3"/>
                  <a:pt x="461" y="3"/>
                  <a:pt x="462" y="3"/>
                </a:cubicBezTo>
                <a:cubicBezTo>
                  <a:pt x="462" y="3"/>
                  <a:pt x="462" y="3"/>
                  <a:pt x="462" y="3"/>
                </a:cubicBezTo>
                <a:cubicBezTo>
                  <a:pt x="464" y="4"/>
                  <a:pt x="466" y="3"/>
                  <a:pt x="468" y="4"/>
                </a:cubicBezTo>
                <a:cubicBezTo>
                  <a:pt x="468" y="4"/>
                  <a:pt x="466" y="4"/>
                  <a:pt x="467" y="4"/>
                </a:cubicBezTo>
                <a:cubicBezTo>
                  <a:pt x="471" y="5"/>
                  <a:pt x="478" y="5"/>
                  <a:pt x="483" y="8"/>
                </a:cubicBezTo>
                <a:cubicBezTo>
                  <a:pt x="484" y="7"/>
                  <a:pt x="482" y="7"/>
                  <a:pt x="483" y="7"/>
                </a:cubicBezTo>
                <a:cubicBezTo>
                  <a:pt x="485" y="7"/>
                  <a:pt x="483" y="7"/>
                  <a:pt x="484" y="8"/>
                </a:cubicBezTo>
                <a:cubicBezTo>
                  <a:pt x="486" y="8"/>
                  <a:pt x="484" y="7"/>
                  <a:pt x="486" y="7"/>
                </a:cubicBezTo>
                <a:cubicBezTo>
                  <a:pt x="486" y="8"/>
                  <a:pt x="485" y="8"/>
                  <a:pt x="487" y="8"/>
                </a:cubicBezTo>
                <a:cubicBezTo>
                  <a:pt x="488" y="8"/>
                  <a:pt x="490" y="9"/>
                  <a:pt x="491" y="9"/>
                </a:cubicBezTo>
                <a:cubicBezTo>
                  <a:pt x="491" y="9"/>
                  <a:pt x="491" y="9"/>
                  <a:pt x="491" y="8"/>
                </a:cubicBezTo>
                <a:cubicBezTo>
                  <a:pt x="491" y="9"/>
                  <a:pt x="492" y="9"/>
                  <a:pt x="492" y="9"/>
                </a:cubicBezTo>
                <a:cubicBezTo>
                  <a:pt x="495" y="10"/>
                  <a:pt x="497" y="9"/>
                  <a:pt x="498" y="10"/>
                </a:cubicBezTo>
                <a:cubicBezTo>
                  <a:pt x="498" y="11"/>
                  <a:pt x="496" y="10"/>
                  <a:pt x="495" y="10"/>
                </a:cubicBezTo>
                <a:cubicBezTo>
                  <a:pt x="495" y="10"/>
                  <a:pt x="495" y="10"/>
                  <a:pt x="495" y="10"/>
                </a:cubicBezTo>
                <a:cubicBezTo>
                  <a:pt x="497" y="11"/>
                  <a:pt x="500" y="11"/>
                  <a:pt x="502" y="12"/>
                </a:cubicBezTo>
                <a:cubicBezTo>
                  <a:pt x="501" y="11"/>
                  <a:pt x="500" y="11"/>
                  <a:pt x="498" y="10"/>
                </a:cubicBezTo>
                <a:cubicBezTo>
                  <a:pt x="499" y="10"/>
                  <a:pt x="498" y="10"/>
                  <a:pt x="499" y="10"/>
                </a:cubicBezTo>
                <a:cubicBezTo>
                  <a:pt x="501" y="11"/>
                  <a:pt x="500" y="10"/>
                  <a:pt x="502" y="11"/>
                </a:cubicBezTo>
                <a:cubicBezTo>
                  <a:pt x="502" y="11"/>
                  <a:pt x="504" y="12"/>
                  <a:pt x="505" y="12"/>
                </a:cubicBezTo>
                <a:cubicBezTo>
                  <a:pt x="505" y="12"/>
                  <a:pt x="504" y="12"/>
                  <a:pt x="504" y="11"/>
                </a:cubicBezTo>
                <a:cubicBezTo>
                  <a:pt x="505" y="12"/>
                  <a:pt x="506" y="12"/>
                  <a:pt x="507" y="13"/>
                </a:cubicBezTo>
                <a:cubicBezTo>
                  <a:pt x="507" y="12"/>
                  <a:pt x="510" y="13"/>
                  <a:pt x="510" y="13"/>
                </a:cubicBezTo>
                <a:cubicBezTo>
                  <a:pt x="512" y="13"/>
                  <a:pt x="515" y="15"/>
                  <a:pt x="517" y="15"/>
                </a:cubicBezTo>
                <a:cubicBezTo>
                  <a:pt x="519" y="16"/>
                  <a:pt x="519" y="15"/>
                  <a:pt x="520" y="15"/>
                </a:cubicBezTo>
                <a:cubicBezTo>
                  <a:pt x="519" y="16"/>
                  <a:pt x="521" y="16"/>
                  <a:pt x="522" y="17"/>
                </a:cubicBezTo>
                <a:cubicBezTo>
                  <a:pt x="525" y="17"/>
                  <a:pt x="528" y="19"/>
                  <a:pt x="530" y="18"/>
                </a:cubicBezTo>
                <a:cubicBezTo>
                  <a:pt x="530" y="19"/>
                  <a:pt x="532" y="19"/>
                  <a:pt x="533" y="19"/>
                </a:cubicBezTo>
                <a:cubicBezTo>
                  <a:pt x="531" y="20"/>
                  <a:pt x="539" y="22"/>
                  <a:pt x="541" y="22"/>
                </a:cubicBezTo>
                <a:cubicBezTo>
                  <a:pt x="541" y="23"/>
                  <a:pt x="538" y="22"/>
                  <a:pt x="538" y="22"/>
                </a:cubicBezTo>
                <a:cubicBezTo>
                  <a:pt x="539" y="23"/>
                  <a:pt x="540" y="23"/>
                  <a:pt x="541" y="24"/>
                </a:cubicBezTo>
                <a:cubicBezTo>
                  <a:pt x="540" y="23"/>
                  <a:pt x="541" y="24"/>
                  <a:pt x="542" y="24"/>
                </a:cubicBezTo>
                <a:cubicBezTo>
                  <a:pt x="542" y="23"/>
                  <a:pt x="543" y="23"/>
                  <a:pt x="543" y="23"/>
                </a:cubicBezTo>
                <a:cubicBezTo>
                  <a:pt x="545" y="24"/>
                  <a:pt x="542" y="24"/>
                  <a:pt x="543" y="24"/>
                </a:cubicBezTo>
                <a:cubicBezTo>
                  <a:pt x="544" y="25"/>
                  <a:pt x="546" y="26"/>
                  <a:pt x="545" y="26"/>
                </a:cubicBezTo>
                <a:cubicBezTo>
                  <a:pt x="546" y="26"/>
                  <a:pt x="546" y="26"/>
                  <a:pt x="547" y="26"/>
                </a:cubicBezTo>
                <a:cubicBezTo>
                  <a:pt x="548" y="26"/>
                  <a:pt x="550" y="27"/>
                  <a:pt x="551" y="28"/>
                </a:cubicBezTo>
                <a:cubicBezTo>
                  <a:pt x="551" y="28"/>
                  <a:pt x="549" y="26"/>
                  <a:pt x="549" y="26"/>
                </a:cubicBezTo>
                <a:cubicBezTo>
                  <a:pt x="552" y="27"/>
                  <a:pt x="551" y="28"/>
                  <a:pt x="555" y="29"/>
                </a:cubicBezTo>
                <a:cubicBezTo>
                  <a:pt x="552" y="27"/>
                  <a:pt x="552" y="27"/>
                  <a:pt x="549" y="25"/>
                </a:cubicBezTo>
                <a:cubicBezTo>
                  <a:pt x="551" y="26"/>
                  <a:pt x="554" y="27"/>
                  <a:pt x="554" y="27"/>
                </a:cubicBezTo>
                <a:cubicBezTo>
                  <a:pt x="553" y="27"/>
                  <a:pt x="553" y="27"/>
                  <a:pt x="553" y="27"/>
                </a:cubicBezTo>
                <a:cubicBezTo>
                  <a:pt x="554" y="28"/>
                  <a:pt x="555" y="29"/>
                  <a:pt x="556" y="29"/>
                </a:cubicBezTo>
                <a:cubicBezTo>
                  <a:pt x="556" y="29"/>
                  <a:pt x="555" y="29"/>
                  <a:pt x="556" y="30"/>
                </a:cubicBezTo>
                <a:cubicBezTo>
                  <a:pt x="557" y="30"/>
                  <a:pt x="557" y="31"/>
                  <a:pt x="558" y="31"/>
                </a:cubicBezTo>
                <a:cubicBezTo>
                  <a:pt x="558" y="31"/>
                  <a:pt x="556" y="30"/>
                  <a:pt x="558" y="30"/>
                </a:cubicBezTo>
                <a:cubicBezTo>
                  <a:pt x="559" y="31"/>
                  <a:pt x="560" y="32"/>
                  <a:pt x="561" y="32"/>
                </a:cubicBezTo>
                <a:cubicBezTo>
                  <a:pt x="562" y="33"/>
                  <a:pt x="566" y="34"/>
                  <a:pt x="566" y="34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67" y="34"/>
                  <a:pt x="568" y="35"/>
                  <a:pt x="569" y="35"/>
                </a:cubicBezTo>
                <a:cubicBezTo>
                  <a:pt x="570" y="36"/>
                  <a:pt x="569" y="36"/>
                  <a:pt x="571" y="37"/>
                </a:cubicBezTo>
                <a:cubicBezTo>
                  <a:pt x="572" y="37"/>
                  <a:pt x="574" y="38"/>
                  <a:pt x="576" y="39"/>
                </a:cubicBezTo>
                <a:cubicBezTo>
                  <a:pt x="575" y="39"/>
                  <a:pt x="573" y="38"/>
                  <a:pt x="573" y="38"/>
                </a:cubicBezTo>
                <a:cubicBezTo>
                  <a:pt x="574" y="39"/>
                  <a:pt x="574" y="39"/>
                  <a:pt x="575" y="40"/>
                </a:cubicBezTo>
                <a:cubicBezTo>
                  <a:pt x="577" y="40"/>
                  <a:pt x="578" y="41"/>
                  <a:pt x="579" y="41"/>
                </a:cubicBezTo>
                <a:cubicBezTo>
                  <a:pt x="582" y="43"/>
                  <a:pt x="586" y="43"/>
                  <a:pt x="588" y="46"/>
                </a:cubicBezTo>
                <a:cubicBezTo>
                  <a:pt x="588" y="46"/>
                  <a:pt x="589" y="46"/>
                  <a:pt x="590" y="46"/>
                </a:cubicBezTo>
                <a:cubicBezTo>
                  <a:pt x="591" y="47"/>
                  <a:pt x="589" y="47"/>
                  <a:pt x="591" y="48"/>
                </a:cubicBezTo>
                <a:cubicBezTo>
                  <a:pt x="592" y="48"/>
                  <a:pt x="590" y="47"/>
                  <a:pt x="592" y="48"/>
                </a:cubicBezTo>
                <a:cubicBezTo>
                  <a:pt x="594" y="49"/>
                  <a:pt x="595" y="50"/>
                  <a:pt x="597" y="50"/>
                </a:cubicBezTo>
                <a:cubicBezTo>
                  <a:pt x="598" y="51"/>
                  <a:pt x="596" y="50"/>
                  <a:pt x="596" y="51"/>
                </a:cubicBezTo>
                <a:cubicBezTo>
                  <a:pt x="598" y="52"/>
                  <a:pt x="600" y="53"/>
                  <a:pt x="601" y="53"/>
                </a:cubicBezTo>
                <a:cubicBezTo>
                  <a:pt x="602" y="54"/>
                  <a:pt x="603" y="55"/>
                  <a:pt x="605" y="56"/>
                </a:cubicBezTo>
                <a:cubicBezTo>
                  <a:pt x="605" y="56"/>
                  <a:pt x="605" y="56"/>
                  <a:pt x="606" y="57"/>
                </a:cubicBezTo>
                <a:cubicBezTo>
                  <a:pt x="607" y="57"/>
                  <a:pt x="608" y="59"/>
                  <a:pt x="609" y="59"/>
                </a:cubicBezTo>
                <a:cubicBezTo>
                  <a:pt x="609" y="59"/>
                  <a:pt x="609" y="59"/>
                  <a:pt x="610" y="59"/>
                </a:cubicBezTo>
                <a:cubicBezTo>
                  <a:pt x="611" y="60"/>
                  <a:pt x="608" y="58"/>
                  <a:pt x="609" y="60"/>
                </a:cubicBezTo>
                <a:cubicBezTo>
                  <a:pt x="610" y="60"/>
                  <a:pt x="610" y="61"/>
                  <a:pt x="611" y="61"/>
                </a:cubicBezTo>
                <a:cubicBezTo>
                  <a:pt x="611" y="60"/>
                  <a:pt x="611" y="60"/>
                  <a:pt x="612" y="60"/>
                </a:cubicBezTo>
                <a:cubicBezTo>
                  <a:pt x="612" y="61"/>
                  <a:pt x="611" y="61"/>
                  <a:pt x="612" y="62"/>
                </a:cubicBezTo>
                <a:cubicBezTo>
                  <a:pt x="613" y="62"/>
                  <a:pt x="613" y="61"/>
                  <a:pt x="613" y="61"/>
                </a:cubicBezTo>
                <a:cubicBezTo>
                  <a:pt x="614" y="62"/>
                  <a:pt x="614" y="61"/>
                  <a:pt x="615" y="62"/>
                </a:cubicBezTo>
                <a:cubicBezTo>
                  <a:pt x="614" y="62"/>
                  <a:pt x="615" y="62"/>
                  <a:pt x="615" y="63"/>
                </a:cubicBezTo>
                <a:cubicBezTo>
                  <a:pt x="615" y="63"/>
                  <a:pt x="614" y="62"/>
                  <a:pt x="614" y="62"/>
                </a:cubicBezTo>
                <a:cubicBezTo>
                  <a:pt x="615" y="63"/>
                  <a:pt x="616" y="64"/>
                  <a:pt x="617" y="64"/>
                </a:cubicBezTo>
                <a:cubicBezTo>
                  <a:pt x="617" y="64"/>
                  <a:pt x="615" y="64"/>
                  <a:pt x="615" y="63"/>
                </a:cubicBezTo>
                <a:cubicBezTo>
                  <a:pt x="617" y="63"/>
                  <a:pt x="618" y="65"/>
                  <a:pt x="619" y="64"/>
                </a:cubicBezTo>
                <a:cubicBezTo>
                  <a:pt x="619" y="65"/>
                  <a:pt x="619" y="65"/>
                  <a:pt x="619" y="66"/>
                </a:cubicBezTo>
                <a:cubicBezTo>
                  <a:pt x="619" y="65"/>
                  <a:pt x="618" y="65"/>
                  <a:pt x="618" y="66"/>
                </a:cubicBezTo>
                <a:cubicBezTo>
                  <a:pt x="619" y="66"/>
                  <a:pt x="621" y="69"/>
                  <a:pt x="622" y="68"/>
                </a:cubicBezTo>
                <a:cubicBezTo>
                  <a:pt x="621" y="68"/>
                  <a:pt x="620" y="66"/>
                  <a:pt x="620" y="66"/>
                </a:cubicBezTo>
                <a:cubicBezTo>
                  <a:pt x="622" y="67"/>
                  <a:pt x="624" y="68"/>
                  <a:pt x="626" y="69"/>
                </a:cubicBezTo>
                <a:cubicBezTo>
                  <a:pt x="627" y="71"/>
                  <a:pt x="629" y="71"/>
                  <a:pt x="628" y="72"/>
                </a:cubicBezTo>
                <a:cubicBezTo>
                  <a:pt x="630" y="73"/>
                  <a:pt x="631" y="74"/>
                  <a:pt x="632" y="74"/>
                </a:cubicBezTo>
                <a:cubicBezTo>
                  <a:pt x="631" y="75"/>
                  <a:pt x="634" y="76"/>
                  <a:pt x="635" y="77"/>
                </a:cubicBezTo>
                <a:cubicBezTo>
                  <a:pt x="634" y="76"/>
                  <a:pt x="633" y="75"/>
                  <a:pt x="632" y="75"/>
                </a:cubicBezTo>
                <a:cubicBezTo>
                  <a:pt x="634" y="77"/>
                  <a:pt x="630" y="74"/>
                  <a:pt x="630" y="75"/>
                </a:cubicBezTo>
                <a:cubicBezTo>
                  <a:pt x="631" y="76"/>
                  <a:pt x="632" y="76"/>
                  <a:pt x="632" y="77"/>
                </a:cubicBezTo>
                <a:cubicBezTo>
                  <a:pt x="634" y="77"/>
                  <a:pt x="636" y="79"/>
                  <a:pt x="638" y="80"/>
                </a:cubicBezTo>
                <a:cubicBezTo>
                  <a:pt x="638" y="80"/>
                  <a:pt x="637" y="79"/>
                  <a:pt x="637" y="80"/>
                </a:cubicBezTo>
                <a:cubicBezTo>
                  <a:pt x="637" y="80"/>
                  <a:pt x="635" y="78"/>
                  <a:pt x="635" y="79"/>
                </a:cubicBezTo>
                <a:cubicBezTo>
                  <a:pt x="637" y="80"/>
                  <a:pt x="638" y="81"/>
                  <a:pt x="639" y="83"/>
                </a:cubicBezTo>
                <a:cubicBezTo>
                  <a:pt x="641" y="84"/>
                  <a:pt x="643" y="84"/>
                  <a:pt x="643" y="86"/>
                </a:cubicBezTo>
                <a:cubicBezTo>
                  <a:pt x="645" y="87"/>
                  <a:pt x="647" y="87"/>
                  <a:pt x="648" y="89"/>
                </a:cubicBezTo>
                <a:cubicBezTo>
                  <a:pt x="647" y="88"/>
                  <a:pt x="647" y="88"/>
                  <a:pt x="646" y="88"/>
                </a:cubicBezTo>
                <a:cubicBezTo>
                  <a:pt x="649" y="90"/>
                  <a:pt x="652" y="93"/>
                  <a:pt x="653" y="94"/>
                </a:cubicBezTo>
                <a:cubicBezTo>
                  <a:pt x="653" y="92"/>
                  <a:pt x="652" y="94"/>
                  <a:pt x="652" y="92"/>
                </a:cubicBezTo>
                <a:cubicBezTo>
                  <a:pt x="654" y="93"/>
                  <a:pt x="654" y="93"/>
                  <a:pt x="654" y="93"/>
                </a:cubicBezTo>
                <a:cubicBezTo>
                  <a:pt x="654" y="94"/>
                  <a:pt x="655" y="95"/>
                  <a:pt x="656" y="96"/>
                </a:cubicBezTo>
                <a:cubicBezTo>
                  <a:pt x="657" y="96"/>
                  <a:pt x="658" y="98"/>
                  <a:pt x="660" y="98"/>
                </a:cubicBezTo>
                <a:cubicBezTo>
                  <a:pt x="661" y="100"/>
                  <a:pt x="660" y="100"/>
                  <a:pt x="661" y="100"/>
                </a:cubicBezTo>
                <a:cubicBezTo>
                  <a:pt x="663" y="101"/>
                  <a:pt x="659" y="97"/>
                  <a:pt x="662" y="99"/>
                </a:cubicBezTo>
                <a:cubicBezTo>
                  <a:pt x="661" y="100"/>
                  <a:pt x="664" y="103"/>
                  <a:pt x="666" y="105"/>
                </a:cubicBezTo>
                <a:cubicBezTo>
                  <a:pt x="665" y="104"/>
                  <a:pt x="665" y="104"/>
                  <a:pt x="666" y="104"/>
                </a:cubicBezTo>
                <a:cubicBezTo>
                  <a:pt x="666" y="105"/>
                  <a:pt x="666" y="105"/>
                  <a:pt x="666" y="106"/>
                </a:cubicBezTo>
                <a:cubicBezTo>
                  <a:pt x="668" y="107"/>
                  <a:pt x="668" y="107"/>
                  <a:pt x="669" y="108"/>
                </a:cubicBezTo>
                <a:cubicBezTo>
                  <a:pt x="670" y="109"/>
                  <a:pt x="670" y="108"/>
                  <a:pt x="670" y="108"/>
                </a:cubicBezTo>
                <a:cubicBezTo>
                  <a:pt x="671" y="109"/>
                  <a:pt x="670" y="109"/>
                  <a:pt x="671" y="110"/>
                </a:cubicBezTo>
                <a:cubicBezTo>
                  <a:pt x="672" y="111"/>
                  <a:pt x="673" y="112"/>
                  <a:pt x="674" y="113"/>
                </a:cubicBezTo>
                <a:cubicBezTo>
                  <a:pt x="675" y="114"/>
                  <a:pt x="674" y="112"/>
                  <a:pt x="675" y="113"/>
                </a:cubicBezTo>
                <a:cubicBezTo>
                  <a:pt x="676" y="114"/>
                  <a:pt x="677" y="114"/>
                  <a:pt x="677" y="115"/>
                </a:cubicBezTo>
                <a:cubicBezTo>
                  <a:pt x="677" y="115"/>
                  <a:pt x="676" y="115"/>
                  <a:pt x="676" y="115"/>
                </a:cubicBezTo>
                <a:cubicBezTo>
                  <a:pt x="681" y="120"/>
                  <a:pt x="684" y="123"/>
                  <a:pt x="688" y="128"/>
                </a:cubicBezTo>
                <a:cubicBezTo>
                  <a:pt x="688" y="127"/>
                  <a:pt x="688" y="127"/>
                  <a:pt x="688" y="127"/>
                </a:cubicBezTo>
                <a:cubicBezTo>
                  <a:pt x="689" y="128"/>
                  <a:pt x="689" y="129"/>
                  <a:pt x="690" y="129"/>
                </a:cubicBezTo>
                <a:cubicBezTo>
                  <a:pt x="689" y="129"/>
                  <a:pt x="689" y="129"/>
                  <a:pt x="690" y="130"/>
                </a:cubicBezTo>
                <a:cubicBezTo>
                  <a:pt x="691" y="131"/>
                  <a:pt x="692" y="132"/>
                  <a:pt x="693" y="133"/>
                </a:cubicBezTo>
                <a:cubicBezTo>
                  <a:pt x="693" y="134"/>
                  <a:pt x="693" y="134"/>
                  <a:pt x="693" y="135"/>
                </a:cubicBezTo>
                <a:cubicBezTo>
                  <a:pt x="695" y="136"/>
                  <a:pt x="696" y="138"/>
                  <a:pt x="697" y="139"/>
                </a:cubicBezTo>
                <a:cubicBezTo>
                  <a:pt x="697" y="139"/>
                  <a:pt x="698" y="139"/>
                  <a:pt x="698" y="139"/>
                </a:cubicBezTo>
                <a:cubicBezTo>
                  <a:pt x="697" y="138"/>
                  <a:pt x="696" y="137"/>
                  <a:pt x="696" y="136"/>
                </a:cubicBezTo>
                <a:cubicBezTo>
                  <a:pt x="697" y="137"/>
                  <a:pt x="698" y="139"/>
                  <a:pt x="699" y="139"/>
                </a:cubicBezTo>
                <a:cubicBezTo>
                  <a:pt x="700" y="140"/>
                  <a:pt x="697" y="138"/>
                  <a:pt x="698" y="139"/>
                </a:cubicBezTo>
                <a:cubicBezTo>
                  <a:pt x="701" y="142"/>
                  <a:pt x="707" y="148"/>
                  <a:pt x="709" y="152"/>
                </a:cubicBezTo>
                <a:cubicBezTo>
                  <a:pt x="710" y="152"/>
                  <a:pt x="710" y="152"/>
                  <a:pt x="711" y="154"/>
                </a:cubicBezTo>
                <a:cubicBezTo>
                  <a:pt x="710" y="154"/>
                  <a:pt x="708" y="150"/>
                  <a:pt x="708" y="151"/>
                </a:cubicBezTo>
                <a:cubicBezTo>
                  <a:pt x="710" y="154"/>
                  <a:pt x="712" y="157"/>
                  <a:pt x="715" y="159"/>
                </a:cubicBezTo>
                <a:cubicBezTo>
                  <a:pt x="715" y="161"/>
                  <a:pt x="715" y="160"/>
                  <a:pt x="714" y="159"/>
                </a:cubicBezTo>
                <a:cubicBezTo>
                  <a:pt x="714" y="160"/>
                  <a:pt x="712" y="157"/>
                  <a:pt x="712" y="157"/>
                </a:cubicBezTo>
                <a:cubicBezTo>
                  <a:pt x="713" y="159"/>
                  <a:pt x="716" y="162"/>
                  <a:pt x="716" y="162"/>
                </a:cubicBezTo>
                <a:cubicBezTo>
                  <a:pt x="716" y="162"/>
                  <a:pt x="716" y="162"/>
                  <a:pt x="716" y="163"/>
                </a:cubicBezTo>
                <a:cubicBezTo>
                  <a:pt x="719" y="166"/>
                  <a:pt x="722" y="170"/>
                  <a:pt x="726" y="173"/>
                </a:cubicBezTo>
                <a:cubicBezTo>
                  <a:pt x="726" y="174"/>
                  <a:pt x="726" y="174"/>
                  <a:pt x="725" y="174"/>
                </a:cubicBezTo>
                <a:cubicBezTo>
                  <a:pt x="725" y="173"/>
                  <a:pt x="726" y="173"/>
                  <a:pt x="725" y="173"/>
                </a:cubicBezTo>
                <a:cubicBezTo>
                  <a:pt x="725" y="172"/>
                  <a:pt x="724" y="172"/>
                  <a:pt x="724" y="172"/>
                </a:cubicBezTo>
                <a:cubicBezTo>
                  <a:pt x="725" y="173"/>
                  <a:pt x="725" y="174"/>
                  <a:pt x="726" y="175"/>
                </a:cubicBezTo>
                <a:cubicBezTo>
                  <a:pt x="726" y="175"/>
                  <a:pt x="727" y="175"/>
                  <a:pt x="727" y="175"/>
                </a:cubicBezTo>
                <a:cubicBezTo>
                  <a:pt x="727" y="176"/>
                  <a:pt x="727" y="177"/>
                  <a:pt x="728" y="178"/>
                </a:cubicBezTo>
                <a:cubicBezTo>
                  <a:pt x="728" y="178"/>
                  <a:pt x="729" y="179"/>
                  <a:pt x="729" y="178"/>
                </a:cubicBezTo>
                <a:cubicBezTo>
                  <a:pt x="728" y="177"/>
                  <a:pt x="728" y="177"/>
                  <a:pt x="728" y="176"/>
                </a:cubicBezTo>
                <a:cubicBezTo>
                  <a:pt x="727" y="175"/>
                  <a:pt x="727" y="175"/>
                  <a:pt x="726" y="174"/>
                </a:cubicBezTo>
                <a:cubicBezTo>
                  <a:pt x="727" y="174"/>
                  <a:pt x="725" y="172"/>
                  <a:pt x="726" y="173"/>
                </a:cubicBezTo>
                <a:cubicBezTo>
                  <a:pt x="727" y="174"/>
                  <a:pt x="727" y="173"/>
                  <a:pt x="727" y="175"/>
                </a:cubicBezTo>
                <a:cubicBezTo>
                  <a:pt x="729" y="177"/>
                  <a:pt x="730" y="178"/>
                  <a:pt x="731" y="180"/>
                </a:cubicBezTo>
                <a:cubicBezTo>
                  <a:pt x="730" y="179"/>
                  <a:pt x="729" y="178"/>
                  <a:pt x="729" y="179"/>
                </a:cubicBezTo>
                <a:cubicBezTo>
                  <a:pt x="729" y="181"/>
                  <a:pt x="731" y="182"/>
                  <a:pt x="732" y="184"/>
                </a:cubicBezTo>
                <a:cubicBezTo>
                  <a:pt x="733" y="185"/>
                  <a:pt x="734" y="187"/>
                  <a:pt x="734" y="188"/>
                </a:cubicBezTo>
                <a:cubicBezTo>
                  <a:pt x="735" y="187"/>
                  <a:pt x="737" y="191"/>
                  <a:pt x="737" y="191"/>
                </a:cubicBezTo>
                <a:cubicBezTo>
                  <a:pt x="737" y="190"/>
                  <a:pt x="735" y="189"/>
                  <a:pt x="736" y="190"/>
                </a:cubicBezTo>
                <a:cubicBezTo>
                  <a:pt x="737" y="191"/>
                  <a:pt x="737" y="192"/>
                  <a:pt x="738" y="192"/>
                </a:cubicBezTo>
                <a:cubicBezTo>
                  <a:pt x="737" y="192"/>
                  <a:pt x="738" y="193"/>
                  <a:pt x="738" y="192"/>
                </a:cubicBezTo>
                <a:cubicBezTo>
                  <a:pt x="740" y="194"/>
                  <a:pt x="739" y="193"/>
                  <a:pt x="741" y="196"/>
                </a:cubicBezTo>
                <a:cubicBezTo>
                  <a:pt x="742" y="199"/>
                  <a:pt x="744" y="199"/>
                  <a:pt x="744" y="203"/>
                </a:cubicBezTo>
                <a:cubicBezTo>
                  <a:pt x="745" y="203"/>
                  <a:pt x="745" y="204"/>
                  <a:pt x="746" y="205"/>
                </a:cubicBezTo>
                <a:cubicBezTo>
                  <a:pt x="745" y="205"/>
                  <a:pt x="745" y="204"/>
                  <a:pt x="743" y="204"/>
                </a:cubicBezTo>
                <a:cubicBezTo>
                  <a:pt x="746" y="207"/>
                  <a:pt x="748" y="212"/>
                  <a:pt x="750" y="213"/>
                </a:cubicBezTo>
                <a:cubicBezTo>
                  <a:pt x="752" y="216"/>
                  <a:pt x="754" y="221"/>
                  <a:pt x="756" y="223"/>
                </a:cubicBezTo>
                <a:cubicBezTo>
                  <a:pt x="756" y="219"/>
                  <a:pt x="751" y="215"/>
                  <a:pt x="750" y="212"/>
                </a:cubicBezTo>
                <a:cubicBezTo>
                  <a:pt x="750" y="212"/>
                  <a:pt x="749" y="212"/>
                  <a:pt x="749" y="211"/>
                </a:cubicBezTo>
                <a:cubicBezTo>
                  <a:pt x="749" y="211"/>
                  <a:pt x="749" y="211"/>
                  <a:pt x="749" y="210"/>
                </a:cubicBezTo>
                <a:cubicBezTo>
                  <a:pt x="748" y="208"/>
                  <a:pt x="746" y="208"/>
                  <a:pt x="745" y="205"/>
                </a:cubicBezTo>
                <a:cubicBezTo>
                  <a:pt x="746" y="206"/>
                  <a:pt x="749" y="208"/>
                  <a:pt x="751" y="211"/>
                </a:cubicBezTo>
                <a:cubicBezTo>
                  <a:pt x="751" y="212"/>
                  <a:pt x="749" y="209"/>
                  <a:pt x="750" y="211"/>
                </a:cubicBezTo>
                <a:cubicBezTo>
                  <a:pt x="751" y="213"/>
                  <a:pt x="752" y="214"/>
                  <a:pt x="754" y="215"/>
                </a:cubicBezTo>
                <a:cubicBezTo>
                  <a:pt x="755" y="217"/>
                  <a:pt x="756" y="219"/>
                  <a:pt x="756" y="221"/>
                </a:cubicBezTo>
                <a:cubicBezTo>
                  <a:pt x="758" y="223"/>
                  <a:pt x="759" y="225"/>
                  <a:pt x="760" y="225"/>
                </a:cubicBezTo>
                <a:cubicBezTo>
                  <a:pt x="760" y="226"/>
                  <a:pt x="759" y="224"/>
                  <a:pt x="759" y="226"/>
                </a:cubicBezTo>
                <a:cubicBezTo>
                  <a:pt x="760" y="228"/>
                  <a:pt x="760" y="227"/>
                  <a:pt x="760" y="227"/>
                </a:cubicBezTo>
                <a:cubicBezTo>
                  <a:pt x="762" y="230"/>
                  <a:pt x="762" y="230"/>
                  <a:pt x="762" y="230"/>
                </a:cubicBezTo>
                <a:cubicBezTo>
                  <a:pt x="762" y="231"/>
                  <a:pt x="763" y="232"/>
                  <a:pt x="763" y="233"/>
                </a:cubicBezTo>
                <a:cubicBezTo>
                  <a:pt x="764" y="232"/>
                  <a:pt x="763" y="232"/>
                  <a:pt x="763" y="231"/>
                </a:cubicBezTo>
                <a:cubicBezTo>
                  <a:pt x="764" y="232"/>
                  <a:pt x="764" y="232"/>
                  <a:pt x="764" y="232"/>
                </a:cubicBezTo>
                <a:cubicBezTo>
                  <a:pt x="765" y="233"/>
                  <a:pt x="766" y="234"/>
                  <a:pt x="765" y="235"/>
                </a:cubicBezTo>
                <a:cubicBezTo>
                  <a:pt x="765" y="235"/>
                  <a:pt x="764" y="234"/>
                  <a:pt x="765" y="235"/>
                </a:cubicBezTo>
                <a:cubicBezTo>
                  <a:pt x="766" y="237"/>
                  <a:pt x="767" y="238"/>
                  <a:pt x="768" y="239"/>
                </a:cubicBezTo>
                <a:cubicBezTo>
                  <a:pt x="768" y="241"/>
                  <a:pt x="771" y="242"/>
                  <a:pt x="770" y="243"/>
                </a:cubicBezTo>
                <a:cubicBezTo>
                  <a:pt x="770" y="243"/>
                  <a:pt x="770" y="242"/>
                  <a:pt x="769" y="243"/>
                </a:cubicBezTo>
                <a:cubicBezTo>
                  <a:pt x="769" y="242"/>
                  <a:pt x="768" y="241"/>
                  <a:pt x="768" y="240"/>
                </a:cubicBezTo>
                <a:cubicBezTo>
                  <a:pt x="768" y="241"/>
                  <a:pt x="768" y="240"/>
                  <a:pt x="768" y="241"/>
                </a:cubicBezTo>
                <a:cubicBezTo>
                  <a:pt x="769" y="243"/>
                  <a:pt x="769" y="243"/>
                  <a:pt x="769" y="243"/>
                </a:cubicBezTo>
                <a:cubicBezTo>
                  <a:pt x="769" y="244"/>
                  <a:pt x="770" y="245"/>
                  <a:pt x="770" y="247"/>
                </a:cubicBezTo>
                <a:cubicBezTo>
                  <a:pt x="769" y="244"/>
                  <a:pt x="768" y="241"/>
                  <a:pt x="766" y="241"/>
                </a:cubicBezTo>
                <a:cubicBezTo>
                  <a:pt x="767" y="243"/>
                  <a:pt x="771" y="248"/>
                  <a:pt x="770" y="249"/>
                </a:cubicBezTo>
                <a:cubicBezTo>
                  <a:pt x="770" y="250"/>
                  <a:pt x="771" y="251"/>
                  <a:pt x="771" y="251"/>
                </a:cubicBezTo>
                <a:cubicBezTo>
                  <a:pt x="771" y="251"/>
                  <a:pt x="771" y="250"/>
                  <a:pt x="771" y="251"/>
                </a:cubicBezTo>
                <a:cubicBezTo>
                  <a:pt x="773" y="255"/>
                  <a:pt x="776" y="260"/>
                  <a:pt x="778" y="265"/>
                </a:cubicBezTo>
                <a:cubicBezTo>
                  <a:pt x="778" y="264"/>
                  <a:pt x="778" y="265"/>
                  <a:pt x="778" y="265"/>
                </a:cubicBezTo>
                <a:cubicBezTo>
                  <a:pt x="778" y="266"/>
                  <a:pt x="779" y="267"/>
                  <a:pt x="779" y="268"/>
                </a:cubicBezTo>
                <a:cubicBezTo>
                  <a:pt x="778" y="267"/>
                  <a:pt x="778" y="265"/>
                  <a:pt x="778" y="266"/>
                </a:cubicBezTo>
                <a:cubicBezTo>
                  <a:pt x="779" y="268"/>
                  <a:pt x="779" y="270"/>
                  <a:pt x="780" y="272"/>
                </a:cubicBezTo>
                <a:cubicBezTo>
                  <a:pt x="780" y="273"/>
                  <a:pt x="780" y="273"/>
                  <a:pt x="780" y="274"/>
                </a:cubicBezTo>
                <a:cubicBezTo>
                  <a:pt x="780" y="274"/>
                  <a:pt x="780" y="274"/>
                  <a:pt x="781" y="274"/>
                </a:cubicBezTo>
                <a:cubicBezTo>
                  <a:pt x="781" y="275"/>
                  <a:pt x="781" y="275"/>
                  <a:pt x="781" y="276"/>
                </a:cubicBezTo>
                <a:cubicBezTo>
                  <a:pt x="782" y="277"/>
                  <a:pt x="781" y="277"/>
                  <a:pt x="782" y="278"/>
                </a:cubicBezTo>
                <a:cubicBezTo>
                  <a:pt x="782" y="279"/>
                  <a:pt x="781" y="278"/>
                  <a:pt x="781" y="279"/>
                </a:cubicBezTo>
                <a:cubicBezTo>
                  <a:pt x="782" y="280"/>
                  <a:pt x="783" y="281"/>
                  <a:pt x="783" y="283"/>
                </a:cubicBezTo>
                <a:cubicBezTo>
                  <a:pt x="782" y="282"/>
                  <a:pt x="782" y="282"/>
                  <a:pt x="782" y="282"/>
                </a:cubicBezTo>
                <a:cubicBezTo>
                  <a:pt x="782" y="282"/>
                  <a:pt x="782" y="282"/>
                  <a:pt x="782" y="282"/>
                </a:cubicBezTo>
                <a:cubicBezTo>
                  <a:pt x="782" y="281"/>
                  <a:pt x="781" y="279"/>
                  <a:pt x="781" y="280"/>
                </a:cubicBezTo>
                <a:cubicBezTo>
                  <a:pt x="782" y="282"/>
                  <a:pt x="783" y="284"/>
                  <a:pt x="784" y="286"/>
                </a:cubicBezTo>
                <a:cubicBezTo>
                  <a:pt x="783" y="286"/>
                  <a:pt x="784" y="287"/>
                  <a:pt x="784" y="288"/>
                </a:cubicBezTo>
                <a:cubicBezTo>
                  <a:pt x="784" y="288"/>
                  <a:pt x="785" y="288"/>
                  <a:pt x="785" y="289"/>
                </a:cubicBezTo>
                <a:cubicBezTo>
                  <a:pt x="784" y="288"/>
                  <a:pt x="783" y="288"/>
                  <a:pt x="783" y="289"/>
                </a:cubicBezTo>
                <a:cubicBezTo>
                  <a:pt x="783" y="288"/>
                  <a:pt x="782" y="287"/>
                  <a:pt x="782" y="286"/>
                </a:cubicBezTo>
                <a:cubicBezTo>
                  <a:pt x="782" y="287"/>
                  <a:pt x="781" y="285"/>
                  <a:pt x="781" y="287"/>
                </a:cubicBezTo>
                <a:cubicBezTo>
                  <a:pt x="782" y="288"/>
                  <a:pt x="783" y="290"/>
                  <a:pt x="784" y="292"/>
                </a:cubicBezTo>
                <a:cubicBezTo>
                  <a:pt x="784" y="292"/>
                  <a:pt x="786" y="293"/>
                  <a:pt x="786" y="295"/>
                </a:cubicBezTo>
                <a:cubicBezTo>
                  <a:pt x="785" y="294"/>
                  <a:pt x="785" y="293"/>
                  <a:pt x="784" y="292"/>
                </a:cubicBezTo>
                <a:cubicBezTo>
                  <a:pt x="784" y="293"/>
                  <a:pt x="784" y="294"/>
                  <a:pt x="784" y="294"/>
                </a:cubicBezTo>
                <a:cubicBezTo>
                  <a:pt x="785" y="295"/>
                  <a:pt x="785" y="294"/>
                  <a:pt x="786" y="296"/>
                </a:cubicBezTo>
                <a:cubicBezTo>
                  <a:pt x="785" y="295"/>
                  <a:pt x="785" y="296"/>
                  <a:pt x="785" y="296"/>
                </a:cubicBezTo>
                <a:cubicBezTo>
                  <a:pt x="786" y="297"/>
                  <a:pt x="786" y="296"/>
                  <a:pt x="787" y="298"/>
                </a:cubicBezTo>
                <a:cubicBezTo>
                  <a:pt x="787" y="299"/>
                  <a:pt x="786" y="299"/>
                  <a:pt x="787" y="300"/>
                </a:cubicBezTo>
                <a:cubicBezTo>
                  <a:pt x="787" y="299"/>
                  <a:pt x="788" y="300"/>
                  <a:pt x="788" y="301"/>
                </a:cubicBezTo>
                <a:cubicBezTo>
                  <a:pt x="788" y="302"/>
                  <a:pt x="788" y="301"/>
                  <a:pt x="787" y="301"/>
                </a:cubicBezTo>
                <a:cubicBezTo>
                  <a:pt x="788" y="302"/>
                  <a:pt x="787" y="302"/>
                  <a:pt x="788" y="302"/>
                </a:cubicBezTo>
                <a:cubicBezTo>
                  <a:pt x="788" y="301"/>
                  <a:pt x="790" y="306"/>
                  <a:pt x="790" y="308"/>
                </a:cubicBezTo>
                <a:cubicBezTo>
                  <a:pt x="791" y="308"/>
                  <a:pt x="791" y="308"/>
                  <a:pt x="791" y="307"/>
                </a:cubicBezTo>
                <a:cubicBezTo>
                  <a:pt x="791" y="309"/>
                  <a:pt x="792" y="309"/>
                  <a:pt x="792" y="309"/>
                </a:cubicBezTo>
                <a:cubicBezTo>
                  <a:pt x="792" y="310"/>
                  <a:pt x="793" y="311"/>
                  <a:pt x="793" y="312"/>
                </a:cubicBezTo>
                <a:cubicBezTo>
                  <a:pt x="792" y="311"/>
                  <a:pt x="790" y="308"/>
                  <a:pt x="790" y="306"/>
                </a:cubicBezTo>
                <a:cubicBezTo>
                  <a:pt x="790" y="306"/>
                  <a:pt x="789" y="306"/>
                  <a:pt x="789" y="306"/>
                </a:cubicBezTo>
                <a:cubicBezTo>
                  <a:pt x="791" y="309"/>
                  <a:pt x="792" y="312"/>
                  <a:pt x="793" y="315"/>
                </a:cubicBezTo>
                <a:cubicBezTo>
                  <a:pt x="793" y="315"/>
                  <a:pt x="793" y="315"/>
                  <a:pt x="793" y="315"/>
                </a:cubicBezTo>
                <a:cubicBezTo>
                  <a:pt x="793" y="313"/>
                  <a:pt x="795" y="311"/>
                  <a:pt x="795" y="310"/>
                </a:cubicBezTo>
                <a:cubicBezTo>
                  <a:pt x="796" y="309"/>
                  <a:pt x="795" y="308"/>
                  <a:pt x="796" y="308"/>
                </a:cubicBezTo>
                <a:cubicBezTo>
                  <a:pt x="796" y="308"/>
                  <a:pt x="796" y="308"/>
                  <a:pt x="796" y="308"/>
                </a:cubicBezTo>
                <a:cubicBezTo>
                  <a:pt x="797" y="308"/>
                  <a:pt x="796" y="307"/>
                  <a:pt x="797" y="306"/>
                </a:cubicBezTo>
                <a:cubicBezTo>
                  <a:pt x="797" y="305"/>
                  <a:pt x="799" y="303"/>
                  <a:pt x="798" y="303"/>
                </a:cubicBezTo>
                <a:cubicBezTo>
                  <a:pt x="800" y="300"/>
                  <a:pt x="801" y="297"/>
                  <a:pt x="803" y="295"/>
                </a:cubicBezTo>
                <a:cubicBezTo>
                  <a:pt x="803" y="295"/>
                  <a:pt x="803" y="295"/>
                  <a:pt x="803" y="295"/>
                </a:cubicBezTo>
                <a:cubicBezTo>
                  <a:pt x="804" y="293"/>
                  <a:pt x="805" y="292"/>
                  <a:pt x="806" y="290"/>
                </a:cubicBezTo>
                <a:cubicBezTo>
                  <a:pt x="806" y="290"/>
                  <a:pt x="806" y="290"/>
                  <a:pt x="806" y="290"/>
                </a:cubicBezTo>
                <a:cubicBezTo>
                  <a:pt x="806" y="289"/>
                  <a:pt x="807" y="289"/>
                  <a:pt x="807" y="288"/>
                </a:cubicBezTo>
                <a:cubicBezTo>
                  <a:pt x="807" y="288"/>
                  <a:pt x="807" y="288"/>
                  <a:pt x="807" y="288"/>
                </a:cubicBezTo>
                <a:cubicBezTo>
                  <a:pt x="807" y="288"/>
                  <a:pt x="808" y="288"/>
                  <a:pt x="808" y="287"/>
                </a:cubicBezTo>
                <a:cubicBezTo>
                  <a:pt x="808" y="286"/>
                  <a:pt x="810" y="285"/>
                  <a:pt x="811" y="283"/>
                </a:cubicBezTo>
                <a:cubicBezTo>
                  <a:pt x="811" y="284"/>
                  <a:pt x="810" y="283"/>
                  <a:pt x="810" y="283"/>
                </a:cubicBezTo>
                <a:cubicBezTo>
                  <a:pt x="812" y="282"/>
                  <a:pt x="813" y="280"/>
                  <a:pt x="814" y="278"/>
                </a:cubicBezTo>
                <a:cubicBezTo>
                  <a:pt x="814" y="278"/>
                  <a:pt x="814" y="278"/>
                  <a:pt x="814" y="278"/>
                </a:cubicBezTo>
                <a:cubicBezTo>
                  <a:pt x="814" y="278"/>
                  <a:pt x="815" y="278"/>
                  <a:pt x="814" y="277"/>
                </a:cubicBezTo>
                <a:cubicBezTo>
                  <a:pt x="815" y="277"/>
                  <a:pt x="815" y="276"/>
                  <a:pt x="816" y="276"/>
                </a:cubicBezTo>
                <a:cubicBezTo>
                  <a:pt x="816" y="275"/>
                  <a:pt x="817" y="274"/>
                  <a:pt x="818" y="273"/>
                </a:cubicBezTo>
                <a:cubicBezTo>
                  <a:pt x="819" y="274"/>
                  <a:pt x="818" y="272"/>
                  <a:pt x="819" y="272"/>
                </a:cubicBezTo>
                <a:cubicBezTo>
                  <a:pt x="819" y="271"/>
                  <a:pt x="819" y="271"/>
                  <a:pt x="819" y="271"/>
                </a:cubicBezTo>
                <a:cubicBezTo>
                  <a:pt x="819" y="271"/>
                  <a:pt x="820" y="271"/>
                  <a:pt x="819" y="270"/>
                </a:cubicBezTo>
                <a:cubicBezTo>
                  <a:pt x="820" y="270"/>
                  <a:pt x="821" y="269"/>
                  <a:pt x="821" y="268"/>
                </a:cubicBezTo>
                <a:cubicBezTo>
                  <a:pt x="822" y="268"/>
                  <a:pt x="822" y="269"/>
                  <a:pt x="822" y="269"/>
                </a:cubicBezTo>
                <a:cubicBezTo>
                  <a:pt x="822" y="268"/>
                  <a:pt x="822" y="267"/>
                  <a:pt x="823" y="266"/>
                </a:cubicBezTo>
                <a:cubicBezTo>
                  <a:pt x="823" y="266"/>
                  <a:pt x="823" y="266"/>
                  <a:pt x="823" y="267"/>
                </a:cubicBezTo>
                <a:cubicBezTo>
                  <a:pt x="823" y="267"/>
                  <a:pt x="823" y="267"/>
                  <a:pt x="824" y="267"/>
                </a:cubicBezTo>
                <a:cubicBezTo>
                  <a:pt x="824" y="266"/>
                  <a:pt x="824" y="266"/>
                  <a:pt x="824" y="266"/>
                </a:cubicBezTo>
                <a:cubicBezTo>
                  <a:pt x="824" y="266"/>
                  <a:pt x="824" y="266"/>
                  <a:pt x="824" y="266"/>
                </a:cubicBezTo>
                <a:cubicBezTo>
                  <a:pt x="825" y="266"/>
                  <a:pt x="825" y="265"/>
                  <a:pt x="825" y="265"/>
                </a:cubicBezTo>
                <a:cubicBezTo>
                  <a:pt x="825" y="265"/>
                  <a:pt x="825" y="265"/>
                  <a:pt x="826" y="265"/>
                </a:cubicBezTo>
                <a:cubicBezTo>
                  <a:pt x="826" y="264"/>
                  <a:pt x="826" y="264"/>
                  <a:pt x="826" y="264"/>
                </a:cubicBezTo>
                <a:cubicBezTo>
                  <a:pt x="827" y="263"/>
                  <a:pt x="826" y="262"/>
                  <a:pt x="827" y="262"/>
                </a:cubicBezTo>
                <a:cubicBezTo>
                  <a:pt x="827" y="261"/>
                  <a:pt x="826" y="262"/>
                  <a:pt x="826" y="261"/>
                </a:cubicBezTo>
                <a:cubicBezTo>
                  <a:pt x="827" y="261"/>
                  <a:pt x="827" y="262"/>
                  <a:pt x="827" y="262"/>
                </a:cubicBezTo>
                <a:cubicBezTo>
                  <a:pt x="827" y="261"/>
                  <a:pt x="826" y="261"/>
                  <a:pt x="827" y="261"/>
                </a:cubicBezTo>
                <a:cubicBezTo>
                  <a:pt x="827" y="261"/>
                  <a:pt x="827" y="261"/>
                  <a:pt x="827" y="261"/>
                </a:cubicBezTo>
                <a:cubicBezTo>
                  <a:pt x="828" y="261"/>
                  <a:pt x="829" y="260"/>
                  <a:pt x="829" y="259"/>
                </a:cubicBezTo>
                <a:cubicBezTo>
                  <a:pt x="829" y="259"/>
                  <a:pt x="829" y="259"/>
                  <a:pt x="829" y="259"/>
                </a:cubicBezTo>
                <a:cubicBezTo>
                  <a:pt x="830" y="259"/>
                  <a:pt x="831" y="258"/>
                  <a:pt x="831" y="257"/>
                </a:cubicBezTo>
                <a:cubicBezTo>
                  <a:pt x="831" y="257"/>
                  <a:pt x="831" y="257"/>
                  <a:pt x="831" y="257"/>
                </a:cubicBezTo>
                <a:cubicBezTo>
                  <a:pt x="831" y="257"/>
                  <a:pt x="831" y="257"/>
                  <a:pt x="831" y="257"/>
                </a:cubicBezTo>
                <a:cubicBezTo>
                  <a:pt x="831" y="257"/>
                  <a:pt x="832" y="257"/>
                  <a:pt x="831" y="256"/>
                </a:cubicBezTo>
                <a:cubicBezTo>
                  <a:pt x="831" y="256"/>
                  <a:pt x="831" y="257"/>
                  <a:pt x="831" y="257"/>
                </a:cubicBezTo>
                <a:cubicBezTo>
                  <a:pt x="831" y="256"/>
                  <a:pt x="832" y="257"/>
                  <a:pt x="832" y="256"/>
                </a:cubicBezTo>
                <a:cubicBezTo>
                  <a:pt x="832" y="256"/>
                  <a:pt x="832" y="256"/>
                  <a:pt x="832" y="255"/>
                </a:cubicBezTo>
                <a:cubicBezTo>
                  <a:pt x="833" y="256"/>
                  <a:pt x="832" y="256"/>
                  <a:pt x="833" y="256"/>
                </a:cubicBezTo>
                <a:cubicBezTo>
                  <a:pt x="833" y="256"/>
                  <a:pt x="834" y="255"/>
                  <a:pt x="834" y="254"/>
                </a:cubicBezTo>
                <a:cubicBezTo>
                  <a:pt x="834" y="254"/>
                  <a:pt x="834" y="254"/>
                  <a:pt x="834" y="254"/>
                </a:cubicBezTo>
                <a:cubicBezTo>
                  <a:pt x="834" y="254"/>
                  <a:pt x="834" y="254"/>
                  <a:pt x="834" y="254"/>
                </a:cubicBezTo>
                <a:cubicBezTo>
                  <a:pt x="834" y="254"/>
                  <a:pt x="834" y="254"/>
                  <a:pt x="834" y="254"/>
                </a:cubicBezTo>
                <a:cubicBezTo>
                  <a:pt x="834" y="253"/>
                  <a:pt x="835" y="253"/>
                  <a:pt x="835" y="253"/>
                </a:cubicBezTo>
                <a:cubicBezTo>
                  <a:pt x="835" y="253"/>
                  <a:pt x="834" y="253"/>
                  <a:pt x="834" y="253"/>
                </a:cubicBezTo>
                <a:cubicBezTo>
                  <a:pt x="835" y="253"/>
                  <a:pt x="835" y="252"/>
                  <a:pt x="835" y="252"/>
                </a:cubicBezTo>
                <a:cubicBezTo>
                  <a:pt x="836" y="252"/>
                  <a:pt x="836" y="253"/>
                  <a:pt x="836" y="253"/>
                </a:cubicBezTo>
                <a:cubicBezTo>
                  <a:pt x="836" y="252"/>
                  <a:pt x="836" y="252"/>
                  <a:pt x="836" y="252"/>
                </a:cubicBezTo>
                <a:cubicBezTo>
                  <a:pt x="836" y="252"/>
                  <a:pt x="836" y="251"/>
                  <a:pt x="836" y="251"/>
                </a:cubicBezTo>
                <a:cubicBezTo>
                  <a:pt x="836" y="251"/>
                  <a:pt x="836" y="252"/>
                  <a:pt x="837" y="252"/>
                </a:cubicBezTo>
                <a:cubicBezTo>
                  <a:pt x="837" y="251"/>
                  <a:pt x="837" y="251"/>
                  <a:pt x="837" y="251"/>
                </a:cubicBezTo>
                <a:cubicBezTo>
                  <a:pt x="838" y="252"/>
                  <a:pt x="838" y="250"/>
                  <a:pt x="839" y="250"/>
                </a:cubicBezTo>
                <a:cubicBezTo>
                  <a:pt x="839" y="250"/>
                  <a:pt x="838" y="250"/>
                  <a:pt x="838" y="250"/>
                </a:cubicBezTo>
                <a:cubicBezTo>
                  <a:pt x="839" y="250"/>
                  <a:pt x="838" y="250"/>
                  <a:pt x="839" y="249"/>
                </a:cubicBezTo>
                <a:cubicBezTo>
                  <a:pt x="839" y="249"/>
                  <a:pt x="839" y="249"/>
                  <a:pt x="839" y="249"/>
                </a:cubicBezTo>
                <a:cubicBezTo>
                  <a:pt x="839" y="250"/>
                  <a:pt x="840" y="250"/>
                  <a:pt x="840" y="250"/>
                </a:cubicBezTo>
                <a:cubicBezTo>
                  <a:pt x="839" y="250"/>
                  <a:pt x="839" y="250"/>
                  <a:pt x="839" y="251"/>
                </a:cubicBezTo>
                <a:cubicBezTo>
                  <a:pt x="838" y="251"/>
                  <a:pt x="839" y="251"/>
                  <a:pt x="838" y="251"/>
                </a:cubicBezTo>
                <a:cubicBezTo>
                  <a:pt x="838" y="251"/>
                  <a:pt x="838" y="252"/>
                  <a:pt x="838" y="252"/>
                </a:cubicBezTo>
                <a:cubicBezTo>
                  <a:pt x="838" y="252"/>
                  <a:pt x="838" y="252"/>
                  <a:pt x="838" y="251"/>
                </a:cubicBezTo>
                <a:cubicBezTo>
                  <a:pt x="838" y="252"/>
                  <a:pt x="837" y="251"/>
                  <a:pt x="837" y="252"/>
                </a:cubicBezTo>
                <a:cubicBezTo>
                  <a:pt x="838" y="252"/>
                  <a:pt x="838" y="252"/>
                  <a:pt x="838" y="253"/>
                </a:cubicBezTo>
                <a:cubicBezTo>
                  <a:pt x="838" y="253"/>
                  <a:pt x="838" y="252"/>
                  <a:pt x="837" y="252"/>
                </a:cubicBezTo>
                <a:cubicBezTo>
                  <a:pt x="838" y="253"/>
                  <a:pt x="836" y="252"/>
                  <a:pt x="837" y="253"/>
                </a:cubicBezTo>
                <a:cubicBezTo>
                  <a:pt x="837" y="253"/>
                  <a:pt x="837" y="253"/>
                  <a:pt x="838" y="254"/>
                </a:cubicBezTo>
                <a:cubicBezTo>
                  <a:pt x="837" y="254"/>
                  <a:pt x="837" y="254"/>
                  <a:pt x="836" y="253"/>
                </a:cubicBezTo>
                <a:cubicBezTo>
                  <a:pt x="837" y="254"/>
                  <a:pt x="836" y="255"/>
                  <a:pt x="835" y="255"/>
                </a:cubicBezTo>
                <a:cubicBezTo>
                  <a:pt x="835" y="255"/>
                  <a:pt x="835" y="256"/>
                  <a:pt x="835" y="256"/>
                </a:cubicBezTo>
                <a:cubicBezTo>
                  <a:pt x="836" y="256"/>
                  <a:pt x="835" y="255"/>
                  <a:pt x="836" y="255"/>
                </a:cubicBezTo>
                <a:cubicBezTo>
                  <a:pt x="836" y="256"/>
                  <a:pt x="835" y="256"/>
                  <a:pt x="835" y="256"/>
                </a:cubicBezTo>
                <a:cubicBezTo>
                  <a:pt x="835" y="256"/>
                  <a:pt x="835" y="256"/>
                  <a:pt x="835" y="257"/>
                </a:cubicBezTo>
                <a:cubicBezTo>
                  <a:pt x="835" y="256"/>
                  <a:pt x="835" y="256"/>
                  <a:pt x="834" y="256"/>
                </a:cubicBezTo>
                <a:cubicBezTo>
                  <a:pt x="834" y="257"/>
                  <a:pt x="833" y="258"/>
                  <a:pt x="833" y="259"/>
                </a:cubicBezTo>
                <a:cubicBezTo>
                  <a:pt x="833" y="259"/>
                  <a:pt x="833" y="259"/>
                  <a:pt x="833" y="259"/>
                </a:cubicBezTo>
                <a:cubicBezTo>
                  <a:pt x="832" y="259"/>
                  <a:pt x="832" y="260"/>
                  <a:pt x="832" y="260"/>
                </a:cubicBezTo>
                <a:cubicBezTo>
                  <a:pt x="832" y="260"/>
                  <a:pt x="832" y="260"/>
                  <a:pt x="831" y="260"/>
                </a:cubicBezTo>
                <a:cubicBezTo>
                  <a:pt x="831" y="260"/>
                  <a:pt x="831" y="260"/>
                  <a:pt x="831" y="261"/>
                </a:cubicBezTo>
                <a:cubicBezTo>
                  <a:pt x="832" y="261"/>
                  <a:pt x="832" y="261"/>
                  <a:pt x="832" y="261"/>
                </a:cubicBezTo>
                <a:cubicBezTo>
                  <a:pt x="832" y="261"/>
                  <a:pt x="832" y="261"/>
                  <a:pt x="831" y="261"/>
                </a:cubicBezTo>
                <a:cubicBezTo>
                  <a:pt x="831" y="261"/>
                  <a:pt x="831" y="261"/>
                  <a:pt x="831" y="261"/>
                </a:cubicBezTo>
                <a:cubicBezTo>
                  <a:pt x="831" y="262"/>
                  <a:pt x="829" y="262"/>
                  <a:pt x="830" y="263"/>
                </a:cubicBezTo>
                <a:cubicBezTo>
                  <a:pt x="830" y="263"/>
                  <a:pt x="830" y="263"/>
                  <a:pt x="829" y="263"/>
                </a:cubicBezTo>
                <a:cubicBezTo>
                  <a:pt x="830" y="263"/>
                  <a:pt x="829" y="263"/>
                  <a:pt x="829" y="263"/>
                </a:cubicBezTo>
                <a:cubicBezTo>
                  <a:pt x="830" y="263"/>
                  <a:pt x="830" y="263"/>
                  <a:pt x="830" y="263"/>
                </a:cubicBezTo>
                <a:cubicBezTo>
                  <a:pt x="830" y="264"/>
                  <a:pt x="829" y="264"/>
                  <a:pt x="828" y="264"/>
                </a:cubicBezTo>
                <a:cubicBezTo>
                  <a:pt x="829" y="264"/>
                  <a:pt x="829" y="264"/>
                  <a:pt x="829" y="264"/>
                </a:cubicBezTo>
                <a:cubicBezTo>
                  <a:pt x="829" y="264"/>
                  <a:pt x="829" y="264"/>
                  <a:pt x="829" y="264"/>
                </a:cubicBezTo>
                <a:cubicBezTo>
                  <a:pt x="829" y="265"/>
                  <a:pt x="827" y="266"/>
                  <a:pt x="828" y="267"/>
                </a:cubicBezTo>
                <a:cubicBezTo>
                  <a:pt x="827" y="267"/>
                  <a:pt x="828" y="267"/>
                  <a:pt x="827" y="267"/>
                </a:cubicBezTo>
                <a:cubicBezTo>
                  <a:pt x="827" y="267"/>
                  <a:pt x="827" y="268"/>
                  <a:pt x="826" y="268"/>
                </a:cubicBezTo>
                <a:cubicBezTo>
                  <a:pt x="826" y="270"/>
                  <a:pt x="824" y="269"/>
                  <a:pt x="825" y="271"/>
                </a:cubicBezTo>
                <a:cubicBezTo>
                  <a:pt x="824" y="270"/>
                  <a:pt x="825" y="271"/>
                  <a:pt x="824" y="271"/>
                </a:cubicBezTo>
                <a:cubicBezTo>
                  <a:pt x="824" y="272"/>
                  <a:pt x="823" y="272"/>
                  <a:pt x="823" y="272"/>
                </a:cubicBezTo>
                <a:cubicBezTo>
                  <a:pt x="823" y="272"/>
                  <a:pt x="822" y="273"/>
                  <a:pt x="823" y="274"/>
                </a:cubicBezTo>
                <a:cubicBezTo>
                  <a:pt x="822" y="274"/>
                  <a:pt x="822" y="274"/>
                  <a:pt x="822" y="274"/>
                </a:cubicBezTo>
                <a:cubicBezTo>
                  <a:pt x="822" y="274"/>
                  <a:pt x="821" y="274"/>
                  <a:pt x="821" y="274"/>
                </a:cubicBezTo>
                <a:cubicBezTo>
                  <a:pt x="822" y="274"/>
                  <a:pt x="822" y="275"/>
                  <a:pt x="822" y="275"/>
                </a:cubicBezTo>
                <a:cubicBezTo>
                  <a:pt x="822" y="275"/>
                  <a:pt x="822" y="274"/>
                  <a:pt x="821" y="274"/>
                </a:cubicBezTo>
                <a:cubicBezTo>
                  <a:pt x="821" y="274"/>
                  <a:pt x="821" y="275"/>
                  <a:pt x="821" y="276"/>
                </a:cubicBezTo>
                <a:cubicBezTo>
                  <a:pt x="821" y="275"/>
                  <a:pt x="821" y="275"/>
                  <a:pt x="820" y="275"/>
                </a:cubicBezTo>
                <a:cubicBezTo>
                  <a:pt x="821" y="276"/>
                  <a:pt x="820" y="276"/>
                  <a:pt x="821" y="277"/>
                </a:cubicBezTo>
                <a:cubicBezTo>
                  <a:pt x="821" y="277"/>
                  <a:pt x="821" y="277"/>
                  <a:pt x="821" y="277"/>
                </a:cubicBezTo>
                <a:cubicBezTo>
                  <a:pt x="821" y="277"/>
                  <a:pt x="821" y="277"/>
                  <a:pt x="821" y="277"/>
                </a:cubicBezTo>
                <a:cubicBezTo>
                  <a:pt x="821" y="277"/>
                  <a:pt x="821" y="277"/>
                  <a:pt x="822" y="277"/>
                </a:cubicBezTo>
                <a:cubicBezTo>
                  <a:pt x="821" y="278"/>
                  <a:pt x="821" y="278"/>
                  <a:pt x="820" y="279"/>
                </a:cubicBezTo>
                <a:cubicBezTo>
                  <a:pt x="820" y="278"/>
                  <a:pt x="821" y="278"/>
                  <a:pt x="820" y="278"/>
                </a:cubicBezTo>
                <a:cubicBezTo>
                  <a:pt x="820" y="277"/>
                  <a:pt x="821" y="277"/>
                  <a:pt x="820" y="277"/>
                </a:cubicBezTo>
                <a:cubicBezTo>
                  <a:pt x="820" y="277"/>
                  <a:pt x="820" y="278"/>
                  <a:pt x="819" y="278"/>
                </a:cubicBezTo>
                <a:cubicBezTo>
                  <a:pt x="820" y="278"/>
                  <a:pt x="819" y="278"/>
                  <a:pt x="819" y="279"/>
                </a:cubicBezTo>
                <a:cubicBezTo>
                  <a:pt x="820" y="279"/>
                  <a:pt x="819" y="278"/>
                  <a:pt x="820" y="278"/>
                </a:cubicBezTo>
                <a:cubicBezTo>
                  <a:pt x="820" y="279"/>
                  <a:pt x="820" y="278"/>
                  <a:pt x="820" y="279"/>
                </a:cubicBezTo>
                <a:cubicBezTo>
                  <a:pt x="821" y="279"/>
                  <a:pt x="820" y="279"/>
                  <a:pt x="820" y="279"/>
                </a:cubicBezTo>
                <a:cubicBezTo>
                  <a:pt x="820" y="279"/>
                  <a:pt x="820" y="279"/>
                  <a:pt x="820" y="279"/>
                </a:cubicBezTo>
                <a:cubicBezTo>
                  <a:pt x="820" y="279"/>
                  <a:pt x="819" y="279"/>
                  <a:pt x="819" y="279"/>
                </a:cubicBezTo>
                <a:cubicBezTo>
                  <a:pt x="820" y="279"/>
                  <a:pt x="820" y="279"/>
                  <a:pt x="820" y="280"/>
                </a:cubicBezTo>
                <a:cubicBezTo>
                  <a:pt x="819" y="280"/>
                  <a:pt x="819" y="281"/>
                  <a:pt x="818" y="281"/>
                </a:cubicBezTo>
                <a:cubicBezTo>
                  <a:pt x="818" y="281"/>
                  <a:pt x="817" y="282"/>
                  <a:pt x="818" y="282"/>
                </a:cubicBezTo>
                <a:cubicBezTo>
                  <a:pt x="818" y="282"/>
                  <a:pt x="818" y="281"/>
                  <a:pt x="818" y="282"/>
                </a:cubicBezTo>
                <a:cubicBezTo>
                  <a:pt x="818" y="282"/>
                  <a:pt x="818" y="283"/>
                  <a:pt x="817" y="282"/>
                </a:cubicBezTo>
                <a:cubicBezTo>
                  <a:pt x="817" y="283"/>
                  <a:pt x="817" y="283"/>
                  <a:pt x="817" y="283"/>
                </a:cubicBezTo>
                <a:cubicBezTo>
                  <a:pt x="817" y="283"/>
                  <a:pt x="817" y="283"/>
                  <a:pt x="817" y="283"/>
                </a:cubicBezTo>
                <a:cubicBezTo>
                  <a:pt x="817" y="285"/>
                  <a:pt x="815" y="286"/>
                  <a:pt x="815" y="287"/>
                </a:cubicBezTo>
                <a:cubicBezTo>
                  <a:pt x="814" y="288"/>
                  <a:pt x="813" y="289"/>
                  <a:pt x="812" y="291"/>
                </a:cubicBezTo>
                <a:cubicBezTo>
                  <a:pt x="812" y="291"/>
                  <a:pt x="813" y="291"/>
                  <a:pt x="813" y="291"/>
                </a:cubicBezTo>
                <a:cubicBezTo>
                  <a:pt x="811" y="291"/>
                  <a:pt x="811" y="293"/>
                  <a:pt x="810" y="294"/>
                </a:cubicBezTo>
                <a:cubicBezTo>
                  <a:pt x="810" y="294"/>
                  <a:pt x="810" y="294"/>
                  <a:pt x="810" y="295"/>
                </a:cubicBezTo>
                <a:cubicBezTo>
                  <a:pt x="810" y="295"/>
                  <a:pt x="809" y="296"/>
                  <a:pt x="809" y="297"/>
                </a:cubicBezTo>
                <a:cubicBezTo>
                  <a:pt x="809" y="297"/>
                  <a:pt x="809" y="297"/>
                  <a:pt x="809" y="297"/>
                </a:cubicBezTo>
                <a:cubicBezTo>
                  <a:pt x="808" y="297"/>
                  <a:pt x="808" y="298"/>
                  <a:pt x="808" y="298"/>
                </a:cubicBezTo>
                <a:cubicBezTo>
                  <a:pt x="807" y="299"/>
                  <a:pt x="807" y="300"/>
                  <a:pt x="806" y="301"/>
                </a:cubicBezTo>
                <a:cubicBezTo>
                  <a:pt x="807" y="301"/>
                  <a:pt x="806" y="302"/>
                  <a:pt x="806" y="301"/>
                </a:cubicBezTo>
                <a:cubicBezTo>
                  <a:pt x="806" y="301"/>
                  <a:pt x="806" y="301"/>
                  <a:pt x="806" y="300"/>
                </a:cubicBezTo>
                <a:cubicBezTo>
                  <a:pt x="805" y="301"/>
                  <a:pt x="805" y="301"/>
                  <a:pt x="805" y="301"/>
                </a:cubicBezTo>
                <a:cubicBezTo>
                  <a:pt x="805" y="301"/>
                  <a:pt x="806" y="302"/>
                  <a:pt x="806" y="302"/>
                </a:cubicBezTo>
                <a:cubicBezTo>
                  <a:pt x="805" y="302"/>
                  <a:pt x="805" y="303"/>
                  <a:pt x="805" y="304"/>
                </a:cubicBezTo>
                <a:cubicBezTo>
                  <a:pt x="805" y="304"/>
                  <a:pt x="805" y="304"/>
                  <a:pt x="804" y="304"/>
                </a:cubicBezTo>
                <a:cubicBezTo>
                  <a:pt x="804" y="306"/>
                  <a:pt x="802" y="308"/>
                  <a:pt x="802" y="310"/>
                </a:cubicBezTo>
                <a:cubicBezTo>
                  <a:pt x="801" y="310"/>
                  <a:pt x="801" y="310"/>
                  <a:pt x="801" y="310"/>
                </a:cubicBezTo>
                <a:cubicBezTo>
                  <a:pt x="801" y="310"/>
                  <a:pt x="801" y="310"/>
                  <a:pt x="801" y="310"/>
                </a:cubicBezTo>
                <a:cubicBezTo>
                  <a:pt x="799" y="313"/>
                  <a:pt x="799" y="316"/>
                  <a:pt x="797" y="319"/>
                </a:cubicBezTo>
                <a:cubicBezTo>
                  <a:pt x="797" y="319"/>
                  <a:pt x="797" y="320"/>
                  <a:pt x="796" y="320"/>
                </a:cubicBezTo>
                <a:cubicBezTo>
                  <a:pt x="797" y="321"/>
                  <a:pt x="796" y="321"/>
                  <a:pt x="796" y="322"/>
                </a:cubicBezTo>
                <a:cubicBezTo>
                  <a:pt x="796" y="322"/>
                  <a:pt x="796" y="322"/>
                  <a:pt x="796" y="322"/>
                </a:cubicBezTo>
                <a:cubicBezTo>
                  <a:pt x="796" y="322"/>
                  <a:pt x="796" y="322"/>
                  <a:pt x="796" y="322"/>
                </a:cubicBezTo>
                <a:cubicBezTo>
                  <a:pt x="796" y="322"/>
                  <a:pt x="796" y="322"/>
                  <a:pt x="796" y="322"/>
                </a:cubicBezTo>
                <a:cubicBezTo>
                  <a:pt x="795" y="323"/>
                  <a:pt x="795" y="323"/>
                  <a:pt x="795" y="324"/>
                </a:cubicBezTo>
                <a:cubicBezTo>
                  <a:pt x="795" y="324"/>
                  <a:pt x="796" y="325"/>
                  <a:pt x="796" y="325"/>
                </a:cubicBezTo>
                <a:cubicBezTo>
                  <a:pt x="796" y="323"/>
                  <a:pt x="797" y="322"/>
                  <a:pt x="798" y="320"/>
                </a:cubicBezTo>
                <a:cubicBezTo>
                  <a:pt x="804" y="307"/>
                  <a:pt x="811" y="295"/>
                  <a:pt x="819" y="283"/>
                </a:cubicBezTo>
                <a:cubicBezTo>
                  <a:pt x="820" y="282"/>
                  <a:pt x="821" y="281"/>
                  <a:pt x="821" y="281"/>
                </a:cubicBezTo>
                <a:cubicBezTo>
                  <a:pt x="821" y="280"/>
                  <a:pt x="822" y="279"/>
                  <a:pt x="822" y="279"/>
                </a:cubicBezTo>
                <a:cubicBezTo>
                  <a:pt x="822" y="279"/>
                  <a:pt x="823" y="279"/>
                  <a:pt x="823" y="279"/>
                </a:cubicBezTo>
                <a:cubicBezTo>
                  <a:pt x="822" y="278"/>
                  <a:pt x="823" y="278"/>
                  <a:pt x="823" y="278"/>
                </a:cubicBezTo>
                <a:cubicBezTo>
                  <a:pt x="824" y="277"/>
                  <a:pt x="824" y="276"/>
                  <a:pt x="824" y="276"/>
                </a:cubicBezTo>
                <a:cubicBezTo>
                  <a:pt x="824" y="276"/>
                  <a:pt x="824" y="277"/>
                  <a:pt x="824" y="277"/>
                </a:cubicBezTo>
                <a:cubicBezTo>
                  <a:pt x="825" y="277"/>
                  <a:pt x="824" y="275"/>
                  <a:pt x="826" y="275"/>
                </a:cubicBezTo>
                <a:cubicBezTo>
                  <a:pt x="825" y="273"/>
                  <a:pt x="828" y="273"/>
                  <a:pt x="827" y="272"/>
                </a:cubicBezTo>
                <a:cubicBezTo>
                  <a:pt x="827" y="272"/>
                  <a:pt x="827" y="272"/>
                  <a:pt x="828" y="272"/>
                </a:cubicBezTo>
                <a:cubicBezTo>
                  <a:pt x="827" y="271"/>
                  <a:pt x="828" y="271"/>
                  <a:pt x="828" y="271"/>
                </a:cubicBezTo>
                <a:cubicBezTo>
                  <a:pt x="829" y="270"/>
                  <a:pt x="829" y="269"/>
                  <a:pt x="830" y="269"/>
                </a:cubicBezTo>
                <a:cubicBezTo>
                  <a:pt x="830" y="269"/>
                  <a:pt x="830" y="270"/>
                  <a:pt x="830" y="270"/>
                </a:cubicBezTo>
                <a:cubicBezTo>
                  <a:pt x="830" y="269"/>
                  <a:pt x="830" y="269"/>
                  <a:pt x="830" y="269"/>
                </a:cubicBezTo>
                <a:cubicBezTo>
                  <a:pt x="830" y="268"/>
                  <a:pt x="831" y="268"/>
                  <a:pt x="831" y="267"/>
                </a:cubicBezTo>
                <a:cubicBezTo>
                  <a:pt x="832" y="267"/>
                  <a:pt x="832" y="266"/>
                  <a:pt x="831" y="266"/>
                </a:cubicBezTo>
                <a:cubicBezTo>
                  <a:pt x="832" y="266"/>
                  <a:pt x="832" y="266"/>
                  <a:pt x="832" y="266"/>
                </a:cubicBezTo>
                <a:cubicBezTo>
                  <a:pt x="832" y="266"/>
                  <a:pt x="833" y="266"/>
                  <a:pt x="832" y="265"/>
                </a:cubicBezTo>
                <a:cubicBezTo>
                  <a:pt x="832" y="265"/>
                  <a:pt x="833" y="265"/>
                  <a:pt x="833" y="264"/>
                </a:cubicBezTo>
                <a:cubicBezTo>
                  <a:pt x="834" y="265"/>
                  <a:pt x="834" y="262"/>
                  <a:pt x="836" y="262"/>
                </a:cubicBezTo>
                <a:cubicBezTo>
                  <a:pt x="836" y="261"/>
                  <a:pt x="838" y="261"/>
                  <a:pt x="837" y="259"/>
                </a:cubicBezTo>
                <a:cubicBezTo>
                  <a:pt x="838" y="259"/>
                  <a:pt x="838" y="259"/>
                  <a:pt x="838" y="259"/>
                </a:cubicBezTo>
                <a:cubicBezTo>
                  <a:pt x="838" y="260"/>
                  <a:pt x="837" y="260"/>
                  <a:pt x="837" y="261"/>
                </a:cubicBezTo>
                <a:cubicBezTo>
                  <a:pt x="837" y="261"/>
                  <a:pt x="837" y="261"/>
                  <a:pt x="838" y="262"/>
                </a:cubicBezTo>
                <a:cubicBezTo>
                  <a:pt x="838" y="261"/>
                  <a:pt x="838" y="261"/>
                  <a:pt x="838" y="261"/>
                </a:cubicBezTo>
                <a:cubicBezTo>
                  <a:pt x="838" y="261"/>
                  <a:pt x="838" y="262"/>
                  <a:pt x="839" y="261"/>
                </a:cubicBezTo>
                <a:cubicBezTo>
                  <a:pt x="838" y="261"/>
                  <a:pt x="839" y="260"/>
                  <a:pt x="838" y="260"/>
                </a:cubicBezTo>
                <a:cubicBezTo>
                  <a:pt x="839" y="260"/>
                  <a:pt x="839" y="259"/>
                  <a:pt x="839" y="259"/>
                </a:cubicBezTo>
                <a:cubicBezTo>
                  <a:pt x="838" y="259"/>
                  <a:pt x="839" y="259"/>
                  <a:pt x="838" y="259"/>
                </a:cubicBezTo>
                <a:cubicBezTo>
                  <a:pt x="839" y="259"/>
                  <a:pt x="839" y="258"/>
                  <a:pt x="839" y="258"/>
                </a:cubicBezTo>
                <a:cubicBezTo>
                  <a:pt x="839" y="258"/>
                  <a:pt x="839" y="258"/>
                  <a:pt x="839" y="258"/>
                </a:cubicBezTo>
                <a:cubicBezTo>
                  <a:pt x="840" y="257"/>
                  <a:pt x="840" y="257"/>
                  <a:pt x="841" y="257"/>
                </a:cubicBezTo>
                <a:cubicBezTo>
                  <a:pt x="840" y="257"/>
                  <a:pt x="840" y="257"/>
                  <a:pt x="840" y="258"/>
                </a:cubicBezTo>
                <a:cubicBezTo>
                  <a:pt x="841" y="258"/>
                  <a:pt x="841" y="258"/>
                  <a:pt x="841" y="258"/>
                </a:cubicBezTo>
                <a:cubicBezTo>
                  <a:pt x="841" y="258"/>
                  <a:pt x="841" y="258"/>
                  <a:pt x="841" y="257"/>
                </a:cubicBezTo>
                <a:cubicBezTo>
                  <a:pt x="842" y="258"/>
                  <a:pt x="843" y="256"/>
                  <a:pt x="843" y="256"/>
                </a:cubicBezTo>
                <a:cubicBezTo>
                  <a:pt x="843" y="256"/>
                  <a:pt x="843" y="256"/>
                  <a:pt x="843" y="256"/>
                </a:cubicBezTo>
                <a:cubicBezTo>
                  <a:pt x="843" y="256"/>
                  <a:pt x="843" y="256"/>
                  <a:pt x="843" y="256"/>
                </a:cubicBezTo>
                <a:cubicBezTo>
                  <a:pt x="843" y="255"/>
                  <a:pt x="843" y="255"/>
                  <a:pt x="842" y="255"/>
                </a:cubicBezTo>
                <a:cubicBezTo>
                  <a:pt x="843" y="255"/>
                  <a:pt x="843" y="255"/>
                  <a:pt x="843" y="255"/>
                </a:cubicBezTo>
                <a:cubicBezTo>
                  <a:pt x="842" y="254"/>
                  <a:pt x="842" y="255"/>
                  <a:pt x="842" y="255"/>
                </a:cubicBezTo>
                <a:cubicBezTo>
                  <a:pt x="843" y="255"/>
                  <a:pt x="842" y="254"/>
                  <a:pt x="843" y="254"/>
                </a:cubicBezTo>
                <a:cubicBezTo>
                  <a:pt x="843" y="254"/>
                  <a:pt x="843" y="255"/>
                  <a:pt x="843" y="255"/>
                </a:cubicBezTo>
                <a:cubicBezTo>
                  <a:pt x="844" y="255"/>
                  <a:pt x="844" y="254"/>
                  <a:pt x="844" y="254"/>
                </a:cubicBezTo>
                <a:cubicBezTo>
                  <a:pt x="844" y="255"/>
                  <a:pt x="845" y="254"/>
                  <a:pt x="845" y="255"/>
                </a:cubicBezTo>
                <a:cubicBezTo>
                  <a:pt x="845" y="255"/>
                  <a:pt x="845" y="256"/>
                  <a:pt x="845" y="256"/>
                </a:cubicBezTo>
                <a:cubicBezTo>
                  <a:pt x="845" y="256"/>
                  <a:pt x="845" y="255"/>
                  <a:pt x="845" y="255"/>
                </a:cubicBezTo>
                <a:cubicBezTo>
                  <a:pt x="845" y="255"/>
                  <a:pt x="846" y="255"/>
                  <a:pt x="846" y="255"/>
                </a:cubicBezTo>
                <a:cubicBezTo>
                  <a:pt x="846" y="255"/>
                  <a:pt x="846" y="254"/>
                  <a:pt x="845" y="254"/>
                </a:cubicBezTo>
                <a:cubicBezTo>
                  <a:pt x="846" y="255"/>
                  <a:pt x="845" y="254"/>
                  <a:pt x="845" y="254"/>
                </a:cubicBezTo>
                <a:cubicBezTo>
                  <a:pt x="845" y="255"/>
                  <a:pt x="845" y="255"/>
                  <a:pt x="845" y="255"/>
                </a:cubicBezTo>
                <a:cubicBezTo>
                  <a:pt x="845" y="255"/>
                  <a:pt x="845" y="254"/>
                  <a:pt x="845" y="254"/>
                </a:cubicBezTo>
                <a:cubicBezTo>
                  <a:pt x="845" y="254"/>
                  <a:pt x="845" y="254"/>
                  <a:pt x="846" y="254"/>
                </a:cubicBezTo>
                <a:cubicBezTo>
                  <a:pt x="846" y="254"/>
                  <a:pt x="846" y="254"/>
                  <a:pt x="845" y="254"/>
                </a:cubicBezTo>
                <a:cubicBezTo>
                  <a:pt x="845" y="254"/>
                  <a:pt x="845" y="254"/>
                  <a:pt x="845" y="254"/>
                </a:cubicBezTo>
                <a:cubicBezTo>
                  <a:pt x="845" y="254"/>
                  <a:pt x="845" y="253"/>
                  <a:pt x="846" y="253"/>
                </a:cubicBezTo>
                <a:cubicBezTo>
                  <a:pt x="846" y="253"/>
                  <a:pt x="846" y="254"/>
                  <a:pt x="846" y="254"/>
                </a:cubicBezTo>
                <a:cubicBezTo>
                  <a:pt x="846" y="254"/>
                  <a:pt x="846" y="255"/>
                  <a:pt x="846" y="255"/>
                </a:cubicBezTo>
                <a:cubicBezTo>
                  <a:pt x="847" y="254"/>
                  <a:pt x="847" y="253"/>
                  <a:pt x="847" y="253"/>
                </a:cubicBezTo>
                <a:cubicBezTo>
                  <a:pt x="847" y="253"/>
                  <a:pt x="847" y="253"/>
                  <a:pt x="848" y="253"/>
                </a:cubicBezTo>
                <a:cubicBezTo>
                  <a:pt x="848" y="253"/>
                  <a:pt x="848" y="253"/>
                  <a:pt x="848" y="253"/>
                </a:cubicBezTo>
                <a:cubicBezTo>
                  <a:pt x="848" y="252"/>
                  <a:pt x="847" y="252"/>
                  <a:pt x="847" y="252"/>
                </a:cubicBezTo>
                <a:cubicBezTo>
                  <a:pt x="847" y="252"/>
                  <a:pt x="848" y="251"/>
                  <a:pt x="848" y="252"/>
                </a:cubicBezTo>
                <a:cubicBezTo>
                  <a:pt x="848" y="251"/>
                  <a:pt x="848" y="250"/>
                  <a:pt x="849" y="250"/>
                </a:cubicBezTo>
                <a:cubicBezTo>
                  <a:pt x="849" y="250"/>
                  <a:pt x="849" y="251"/>
                  <a:pt x="849" y="252"/>
                </a:cubicBezTo>
                <a:cubicBezTo>
                  <a:pt x="849" y="251"/>
                  <a:pt x="849" y="250"/>
                  <a:pt x="850" y="250"/>
                </a:cubicBezTo>
                <a:cubicBezTo>
                  <a:pt x="849" y="250"/>
                  <a:pt x="849" y="250"/>
                  <a:pt x="849" y="250"/>
                </a:cubicBezTo>
                <a:cubicBezTo>
                  <a:pt x="849" y="250"/>
                  <a:pt x="849" y="249"/>
                  <a:pt x="849" y="249"/>
                </a:cubicBezTo>
                <a:cubicBezTo>
                  <a:pt x="849" y="250"/>
                  <a:pt x="849" y="250"/>
                  <a:pt x="850" y="250"/>
                </a:cubicBezTo>
                <a:cubicBezTo>
                  <a:pt x="850" y="250"/>
                  <a:pt x="850" y="250"/>
                  <a:pt x="851" y="250"/>
                </a:cubicBezTo>
                <a:cubicBezTo>
                  <a:pt x="850" y="248"/>
                  <a:pt x="851" y="248"/>
                  <a:pt x="852" y="247"/>
                </a:cubicBezTo>
                <a:cubicBezTo>
                  <a:pt x="852" y="248"/>
                  <a:pt x="851" y="248"/>
                  <a:pt x="852" y="249"/>
                </a:cubicBezTo>
                <a:cubicBezTo>
                  <a:pt x="853" y="249"/>
                  <a:pt x="852" y="248"/>
                  <a:pt x="853" y="248"/>
                </a:cubicBezTo>
                <a:cubicBezTo>
                  <a:pt x="853" y="247"/>
                  <a:pt x="854" y="247"/>
                  <a:pt x="854" y="246"/>
                </a:cubicBezTo>
                <a:cubicBezTo>
                  <a:pt x="854" y="246"/>
                  <a:pt x="854" y="246"/>
                  <a:pt x="854" y="246"/>
                </a:cubicBezTo>
                <a:cubicBezTo>
                  <a:pt x="854" y="246"/>
                  <a:pt x="854" y="246"/>
                  <a:pt x="854" y="245"/>
                </a:cubicBezTo>
                <a:cubicBezTo>
                  <a:pt x="854" y="245"/>
                  <a:pt x="854" y="245"/>
                  <a:pt x="854" y="245"/>
                </a:cubicBezTo>
                <a:cubicBezTo>
                  <a:pt x="854" y="245"/>
                  <a:pt x="854" y="246"/>
                  <a:pt x="854" y="246"/>
                </a:cubicBezTo>
                <a:cubicBezTo>
                  <a:pt x="855" y="246"/>
                  <a:pt x="854" y="246"/>
                  <a:pt x="855" y="246"/>
                </a:cubicBezTo>
                <a:cubicBezTo>
                  <a:pt x="855" y="246"/>
                  <a:pt x="855" y="245"/>
                  <a:pt x="855" y="246"/>
                </a:cubicBezTo>
                <a:cubicBezTo>
                  <a:pt x="855" y="246"/>
                  <a:pt x="855" y="247"/>
                  <a:pt x="855" y="247"/>
                </a:cubicBezTo>
                <a:cubicBezTo>
                  <a:pt x="855" y="247"/>
                  <a:pt x="855" y="247"/>
                  <a:pt x="855" y="247"/>
                </a:cubicBezTo>
                <a:cubicBezTo>
                  <a:pt x="856" y="247"/>
                  <a:pt x="855" y="246"/>
                  <a:pt x="856" y="246"/>
                </a:cubicBezTo>
                <a:cubicBezTo>
                  <a:pt x="856" y="247"/>
                  <a:pt x="855" y="247"/>
                  <a:pt x="855" y="248"/>
                </a:cubicBezTo>
                <a:cubicBezTo>
                  <a:pt x="855" y="248"/>
                  <a:pt x="855" y="248"/>
                  <a:pt x="856" y="248"/>
                </a:cubicBezTo>
                <a:cubicBezTo>
                  <a:pt x="855" y="248"/>
                  <a:pt x="855" y="249"/>
                  <a:pt x="855" y="248"/>
                </a:cubicBezTo>
                <a:cubicBezTo>
                  <a:pt x="855" y="248"/>
                  <a:pt x="855" y="248"/>
                  <a:pt x="854" y="248"/>
                </a:cubicBezTo>
                <a:cubicBezTo>
                  <a:pt x="854" y="248"/>
                  <a:pt x="854" y="249"/>
                  <a:pt x="855" y="249"/>
                </a:cubicBezTo>
                <a:cubicBezTo>
                  <a:pt x="854" y="249"/>
                  <a:pt x="854" y="249"/>
                  <a:pt x="854" y="249"/>
                </a:cubicBezTo>
                <a:cubicBezTo>
                  <a:pt x="854" y="249"/>
                  <a:pt x="854" y="249"/>
                  <a:pt x="854" y="249"/>
                </a:cubicBezTo>
                <a:cubicBezTo>
                  <a:pt x="853" y="249"/>
                  <a:pt x="854" y="249"/>
                  <a:pt x="853" y="249"/>
                </a:cubicBezTo>
                <a:cubicBezTo>
                  <a:pt x="853" y="249"/>
                  <a:pt x="853" y="249"/>
                  <a:pt x="853" y="249"/>
                </a:cubicBezTo>
                <a:cubicBezTo>
                  <a:pt x="853" y="249"/>
                  <a:pt x="853" y="249"/>
                  <a:pt x="853" y="249"/>
                </a:cubicBezTo>
                <a:cubicBezTo>
                  <a:pt x="853" y="249"/>
                  <a:pt x="853" y="250"/>
                  <a:pt x="854" y="250"/>
                </a:cubicBezTo>
                <a:cubicBezTo>
                  <a:pt x="854" y="250"/>
                  <a:pt x="853" y="250"/>
                  <a:pt x="853" y="251"/>
                </a:cubicBezTo>
                <a:cubicBezTo>
                  <a:pt x="854" y="251"/>
                  <a:pt x="854" y="250"/>
                  <a:pt x="854" y="251"/>
                </a:cubicBezTo>
                <a:cubicBezTo>
                  <a:pt x="854" y="251"/>
                  <a:pt x="853" y="252"/>
                  <a:pt x="853" y="251"/>
                </a:cubicBezTo>
                <a:cubicBezTo>
                  <a:pt x="853" y="251"/>
                  <a:pt x="853" y="251"/>
                  <a:pt x="853" y="251"/>
                </a:cubicBezTo>
                <a:cubicBezTo>
                  <a:pt x="852" y="251"/>
                  <a:pt x="852" y="252"/>
                  <a:pt x="852" y="252"/>
                </a:cubicBezTo>
                <a:cubicBezTo>
                  <a:pt x="852" y="252"/>
                  <a:pt x="852" y="252"/>
                  <a:pt x="852" y="252"/>
                </a:cubicBezTo>
                <a:cubicBezTo>
                  <a:pt x="852" y="253"/>
                  <a:pt x="852" y="253"/>
                  <a:pt x="852" y="253"/>
                </a:cubicBezTo>
                <a:cubicBezTo>
                  <a:pt x="851" y="253"/>
                  <a:pt x="851" y="254"/>
                  <a:pt x="851" y="255"/>
                </a:cubicBezTo>
                <a:cubicBezTo>
                  <a:pt x="850" y="255"/>
                  <a:pt x="851" y="255"/>
                  <a:pt x="850" y="254"/>
                </a:cubicBezTo>
                <a:cubicBezTo>
                  <a:pt x="850" y="254"/>
                  <a:pt x="850" y="255"/>
                  <a:pt x="850" y="255"/>
                </a:cubicBezTo>
                <a:cubicBezTo>
                  <a:pt x="850" y="255"/>
                  <a:pt x="850" y="255"/>
                  <a:pt x="849" y="255"/>
                </a:cubicBezTo>
                <a:cubicBezTo>
                  <a:pt x="850" y="255"/>
                  <a:pt x="850" y="255"/>
                  <a:pt x="850" y="255"/>
                </a:cubicBezTo>
                <a:cubicBezTo>
                  <a:pt x="849" y="256"/>
                  <a:pt x="849" y="257"/>
                  <a:pt x="849" y="257"/>
                </a:cubicBezTo>
                <a:cubicBezTo>
                  <a:pt x="848" y="257"/>
                  <a:pt x="848" y="258"/>
                  <a:pt x="849" y="259"/>
                </a:cubicBezTo>
                <a:cubicBezTo>
                  <a:pt x="849" y="258"/>
                  <a:pt x="849" y="258"/>
                  <a:pt x="849" y="258"/>
                </a:cubicBezTo>
                <a:cubicBezTo>
                  <a:pt x="849" y="258"/>
                  <a:pt x="849" y="258"/>
                  <a:pt x="849" y="259"/>
                </a:cubicBezTo>
                <a:cubicBezTo>
                  <a:pt x="848" y="259"/>
                  <a:pt x="848" y="259"/>
                  <a:pt x="848" y="259"/>
                </a:cubicBezTo>
                <a:cubicBezTo>
                  <a:pt x="848" y="258"/>
                  <a:pt x="848" y="258"/>
                  <a:pt x="848" y="258"/>
                </a:cubicBezTo>
                <a:cubicBezTo>
                  <a:pt x="847" y="258"/>
                  <a:pt x="847" y="259"/>
                  <a:pt x="847" y="260"/>
                </a:cubicBezTo>
                <a:cubicBezTo>
                  <a:pt x="847" y="259"/>
                  <a:pt x="847" y="260"/>
                  <a:pt x="846" y="260"/>
                </a:cubicBezTo>
                <a:cubicBezTo>
                  <a:pt x="847" y="260"/>
                  <a:pt x="846" y="260"/>
                  <a:pt x="846" y="261"/>
                </a:cubicBezTo>
                <a:cubicBezTo>
                  <a:pt x="846" y="261"/>
                  <a:pt x="847" y="261"/>
                  <a:pt x="846" y="262"/>
                </a:cubicBezTo>
                <a:cubicBezTo>
                  <a:pt x="846" y="261"/>
                  <a:pt x="846" y="261"/>
                  <a:pt x="845" y="261"/>
                </a:cubicBezTo>
                <a:cubicBezTo>
                  <a:pt x="846" y="262"/>
                  <a:pt x="844" y="261"/>
                  <a:pt x="845" y="262"/>
                </a:cubicBezTo>
                <a:cubicBezTo>
                  <a:pt x="845" y="262"/>
                  <a:pt x="845" y="262"/>
                  <a:pt x="845" y="262"/>
                </a:cubicBezTo>
                <a:cubicBezTo>
                  <a:pt x="845" y="263"/>
                  <a:pt x="845" y="263"/>
                  <a:pt x="844" y="263"/>
                </a:cubicBezTo>
                <a:cubicBezTo>
                  <a:pt x="845" y="263"/>
                  <a:pt x="844" y="264"/>
                  <a:pt x="844" y="265"/>
                </a:cubicBezTo>
                <a:cubicBezTo>
                  <a:pt x="844" y="265"/>
                  <a:pt x="844" y="265"/>
                  <a:pt x="844" y="265"/>
                </a:cubicBezTo>
                <a:cubicBezTo>
                  <a:pt x="843" y="265"/>
                  <a:pt x="844" y="264"/>
                  <a:pt x="843" y="265"/>
                </a:cubicBezTo>
                <a:cubicBezTo>
                  <a:pt x="843" y="265"/>
                  <a:pt x="843" y="266"/>
                  <a:pt x="843" y="266"/>
                </a:cubicBezTo>
                <a:cubicBezTo>
                  <a:pt x="843" y="266"/>
                  <a:pt x="843" y="266"/>
                  <a:pt x="843" y="266"/>
                </a:cubicBezTo>
                <a:cubicBezTo>
                  <a:pt x="843" y="266"/>
                  <a:pt x="843" y="267"/>
                  <a:pt x="842" y="267"/>
                </a:cubicBezTo>
                <a:cubicBezTo>
                  <a:pt x="843" y="267"/>
                  <a:pt x="843" y="267"/>
                  <a:pt x="843" y="267"/>
                </a:cubicBezTo>
                <a:cubicBezTo>
                  <a:pt x="842" y="267"/>
                  <a:pt x="842" y="267"/>
                  <a:pt x="842" y="268"/>
                </a:cubicBezTo>
                <a:cubicBezTo>
                  <a:pt x="842" y="267"/>
                  <a:pt x="842" y="267"/>
                  <a:pt x="843" y="268"/>
                </a:cubicBezTo>
                <a:cubicBezTo>
                  <a:pt x="842" y="268"/>
                  <a:pt x="842" y="268"/>
                  <a:pt x="842" y="268"/>
                </a:cubicBezTo>
                <a:cubicBezTo>
                  <a:pt x="843" y="268"/>
                  <a:pt x="842" y="268"/>
                  <a:pt x="842" y="269"/>
                </a:cubicBezTo>
                <a:cubicBezTo>
                  <a:pt x="842" y="269"/>
                  <a:pt x="842" y="268"/>
                  <a:pt x="843" y="268"/>
                </a:cubicBezTo>
                <a:cubicBezTo>
                  <a:pt x="843" y="268"/>
                  <a:pt x="843" y="268"/>
                  <a:pt x="843" y="268"/>
                </a:cubicBezTo>
                <a:cubicBezTo>
                  <a:pt x="844" y="268"/>
                  <a:pt x="844" y="266"/>
                  <a:pt x="845" y="266"/>
                </a:cubicBezTo>
                <a:cubicBezTo>
                  <a:pt x="845" y="265"/>
                  <a:pt x="846" y="265"/>
                  <a:pt x="846" y="265"/>
                </a:cubicBezTo>
                <a:cubicBezTo>
                  <a:pt x="846" y="264"/>
                  <a:pt x="847" y="263"/>
                  <a:pt x="847" y="263"/>
                </a:cubicBezTo>
                <a:cubicBezTo>
                  <a:pt x="848" y="263"/>
                  <a:pt x="848" y="263"/>
                  <a:pt x="848" y="263"/>
                </a:cubicBezTo>
                <a:cubicBezTo>
                  <a:pt x="848" y="263"/>
                  <a:pt x="849" y="263"/>
                  <a:pt x="848" y="262"/>
                </a:cubicBezTo>
                <a:cubicBezTo>
                  <a:pt x="849" y="262"/>
                  <a:pt x="849" y="263"/>
                  <a:pt x="850" y="263"/>
                </a:cubicBezTo>
                <a:cubicBezTo>
                  <a:pt x="849" y="262"/>
                  <a:pt x="849" y="262"/>
                  <a:pt x="849" y="262"/>
                </a:cubicBezTo>
                <a:cubicBezTo>
                  <a:pt x="849" y="262"/>
                  <a:pt x="850" y="262"/>
                  <a:pt x="850" y="262"/>
                </a:cubicBezTo>
                <a:cubicBezTo>
                  <a:pt x="850" y="261"/>
                  <a:pt x="850" y="261"/>
                  <a:pt x="850" y="261"/>
                </a:cubicBezTo>
                <a:cubicBezTo>
                  <a:pt x="850" y="261"/>
                  <a:pt x="850" y="262"/>
                  <a:pt x="851" y="262"/>
                </a:cubicBezTo>
                <a:cubicBezTo>
                  <a:pt x="851" y="262"/>
                  <a:pt x="851" y="261"/>
                  <a:pt x="851" y="261"/>
                </a:cubicBezTo>
                <a:cubicBezTo>
                  <a:pt x="851" y="261"/>
                  <a:pt x="851" y="261"/>
                  <a:pt x="851" y="261"/>
                </a:cubicBezTo>
                <a:cubicBezTo>
                  <a:pt x="851" y="261"/>
                  <a:pt x="851" y="260"/>
                  <a:pt x="851" y="260"/>
                </a:cubicBezTo>
                <a:cubicBezTo>
                  <a:pt x="851" y="260"/>
                  <a:pt x="851" y="260"/>
                  <a:pt x="851" y="260"/>
                </a:cubicBezTo>
                <a:cubicBezTo>
                  <a:pt x="851" y="260"/>
                  <a:pt x="852" y="260"/>
                  <a:pt x="852" y="259"/>
                </a:cubicBezTo>
                <a:cubicBezTo>
                  <a:pt x="852" y="260"/>
                  <a:pt x="852" y="260"/>
                  <a:pt x="853" y="260"/>
                </a:cubicBezTo>
                <a:cubicBezTo>
                  <a:pt x="853" y="260"/>
                  <a:pt x="853" y="261"/>
                  <a:pt x="853" y="261"/>
                </a:cubicBezTo>
                <a:cubicBezTo>
                  <a:pt x="853" y="261"/>
                  <a:pt x="852" y="261"/>
                  <a:pt x="852" y="261"/>
                </a:cubicBezTo>
                <a:cubicBezTo>
                  <a:pt x="852" y="261"/>
                  <a:pt x="853" y="261"/>
                  <a:pt x="852" y="261"/>
                </a:cubicBezTo>
                <a:cubicBezTo>
                  <a:pt x="852" y="261"/>
                  <a:pt x="851" y="261"/>
                  <a:pt x="852" y="262"/>
                </a:cubicBezTo>
                <a:cubicBezTo>
                  <a:pt x="851" y="262"/>
                  <a:pt x="851" y="262"/>
                  <a:pt x="850" y="263"/>
                </a:cubicBezTo>
                <a:cubicBezTo>
                  <a:pt x="850" y="263"/>
                  <a:pt x="850" y="263"/>
                  <a:pt x="850" y="263"/>
                </a:cubicBezTo>
                <a:cubicBezTo>
                  <a:pt x="850" y="263"/>
                  <a:pt x="850" y="263"/>
                  <a:pt x="850" y="263"/>
                </a:cubicBezTo>
                <a:cubicBezTo>
                  <a:pt x="850" y="264"/>
                  <a:pt x="850" y="263"/>
                  <a:pt x="850" y="263"/>
                </a:cubicBezTo>
                <a:cubicBezTo>
                  <a:pt x="849" y="263"/>
                  <a:pt x="849" y="263"/>
                  <a:pt x="850" y="264"/>
                </a:cubicBezTo>
                <a:cubicBezTo>
                  <a:pt x="850" y="264"/>
                  <a:pt x="849" y="264"/>
                  <a:pt x="849" y="264"/>
                </a:cubicBezTo>
                <a:cubicBezTo>
                  <a:pt x="849" y="264"/>
                  <a:pt x="849" y="265"/>
                  <a:pt x="848" y="265"/>
                </a:cubicBezTo>
                <a:cubicBezTo>
                  <a:pt x="848" y="265"/>
                  <a:pt x="849" y="265"/>
                  <a:pt x="849" y="265"/>
                </a:cubicBezTo>
                <a:cubicBezTo>
                  <a:pt x="848" y="265"/>
                  <a:pt x="848" y="265"/>
                  <a:pt x="849" y="265"/>
                </a:cubicBezTo>
                <a:cubicBezTo>
                  <a:pt x="849" y="266"/>
                  <a:pt x="848" y="266"/>
                  <a:pt x="848" y="266"/>
                </a:cubicBezTo>
                <a:cubicBezTo>
                  <a:pt x="848" y="267"/>
                  <a:pt x="847" y="267"/>
                  <a:pt x="846" y="268"/>
                </a:cubicBezTo>
                <a:cubicBezTo>
                  <a:pt x="847" y="268"/>
                  <a:pt x="847" y="269"/>
                  <a:pt x="847" y="269"/>
                </a:cubicBezTo>
                <a:cubicBezTo>
                  <a:pt x="847" y="268"/>
                  <a:pt x="847" y="268"/>
                  <a:pt x="847" y="268"/>
                </a:cubicBezTo>
                <a:cubicBezTo>
                  <a:pt x="847" y="268"/>
                  <a:pt x="847" y="269"/>
                  <a:pt x="848" y="268"/>
                </a:cubicBezTo>
                <a:cubicBezTo>
                  <a:pt x="848" y="267"/>
                  <a:pt x="849" y="266"/>
                  <a:pt x="850" y="266"/>
                </a:cubicBezTo>
                <a:cubicBezTo>
                  <a:pt x="851" y="266"/>
                  <a:pt x="850" y="266"/>
                  <a:pt x="850" y="266"/>
                </a:cubicBezTo>
                <a:cubicBezTo>
                  <a:pt x="851" y="267"/>
                  <a:pt x="851" y="266"/>
                  <a:pt x="851" y="267"/>
                </a:cubicBezTo>
                <a:cubicBezTo>
                  <a:pt x="851" y="267"/>
                  <a:pt x="851" y="267"/>
                  <a:pt x="850" y="267"/>
                </a:cubicBezTo>
                <a:cubicBezTo>
                  <a:pt x="850" y="267"/>
                  <a:pt x="851" y="267"/>
                  <a:pt x="850" y="268"/>
                </a:cubicBezTo>
                <a:cubicBezTo>
                  <a:pt x="851" y="267"/>
                  <a:pt x="850" y="268"/>
                  <a:pt x="850" y="267"/>
                </a:cubicBezTo>
                <a:cubicBezTo>
                  <a:pt x="850" y="267"/>
                  <a:pt x="850" y="267"/>
                  <a:pt x="850" y="267"/>
                </a:cubicBezTo>
                <a:cubicBezTo>
                  <a:pt x="850" y="267"/>
                  <a:pt x="850" y="266"/>
                  <a:pt x="850" y="266"/>
                </a:cubicBezTo>
                <a:cubicBezTo>
                  <a:pt x="850" y="267"/>
                  <a:pt x="849" y="267"/>
                  <a:pt x="850" y="267"/>
                </a:cubicBezTo>
                <a:cubicBezTo>
                  <a:pt x="850" y="267"/>
                  <a:pt x="850" y="268"/>
                  <a:pt x="850" y="268"/>
                </a:cubicBezTo>
                <a:cubicBezTo>
                  <a:pt x="849" y="269"/>
                  <a:pt x="849" y="271"/>
                  <a:pt x="848" y="271"/>
                </a:cubicBezTo>
                <a:cubicBezTo>
                  <a:pt x="848" y="271"/>
                  <a:pt x="849" y="271"/>
                  <a:pt x="849" y="271"/>
                </a:cubicBezTo>
                <a:cubicBezTo>
                  <a:pt x="848" y="271"/>
                  <a:pt x="848" y="271"/>
                  <a:pt x="847" y="271"/>
                </a:cubicBezTo>
                <a:cubicBezTo>
                  <a:pt x="847" y="271"/>
                  <a:pt x="847" y="271"/>
                  <a:pt x="847" y="271"/>
                </a:cubicBezTo>
                <a:cubicBezTo>
                  <a:pt x="847" y="271"/>
                  <a:pt x="847" y="271"/>
                  <a:pt x="848" y="271"/>
                </a:cubicBezTo>
                <a:cubicBezTo>
                  <a:pt x="848" y="271"/>
                  <a:pt x="848" y="270"/>
                  <a:pt x="847" y="270"/>
                </a:cubicBezTo>
                <a:cubicBezTo>
                  <a:pt x="847" y="270"/>
                  <a:pt x="846" y="271"/>
                  <a:pt x="847" y="272"/>
                </a:cubicBezTo>
                <a:cubicBezTo>
                  <a:pt x="847" y="272"/>
                  <a:pt x="847" y="272"/>
                  <a:pt x="847" y="273"/>
                </a:cubicBezTo>
                <a:cubicBezTo>
                  <a:pt x="846" y="272"/>
                  <a:pt x="847" y="272"/>
                  <a:pt x="846" y="272"/>
                </a:cubicBezTo>
                <a:cubicBezTo>
                  <a:pt x="846" y="272"/>
                  <a:pt x="846" y="273"/>
                  <a:pt x="846" y="273"/>
                </a:cubicBezTo>
                <a:cubicBezTo>
                  <a:pt x="847" y="273"/>
                  <a:pt x="846" y="274"/>
                  <a:pt x="846" y="274"/>
                </a:cubicBezTo>
                <a:cubicBezTo>
                  <a:pt x="846" y="274"/>
                  <a:pt x="846" y="274"/>
                  <a:pt x="846" y="274"/>
                </a:cubicBezTo>
                <a:cubicBezTo>
                  <a:pt x="845" y="274"/>
                  <a:pt x="845" y="274"/>
                  <a:pt x="846" y="274"/>
                </a:cubicBezTo>
                <a:cubicBezTo>
                  <a:pt x="845" y="274"/>
                  <a:pt x="845" y="275"/>
                  <a:pt x="845" y="275"/>
                </a:cubicBezTo>
                <a:cubicBezTo>
                  <a:pt x="845" y="275"/>
                  <a:pt x="845" y="275"/>
                  <a:pt x="845" y="276"/>
                </a:cubicBezTo>
                <a:cubicBezTo>
                  <a:pt x="845" y="276"/>
                  <a:pt x="844" y="275"/>
                  <a:pt x="844" y="276"/>
                </a:cubicBezTo>
                <a:cubicBezTo>
                  <a:pt x="845" y="276"/>
                  <a:pt x="845" y="276"/>
                  <a:pt x="844" y="276"/>
                </a:cubicBezTo>
                <a:cubicBezTo>
                  <a:pt x="844" y="276"/>
                  <a:pt x="844" y="276"/>
                  <a:pt x="844" y="276"/>
                </a:cubicBezTo>
                <a:cubicBezTo>
                  <a:pt x="844" y="276"/>
                  <a:pt x="844" y="276"/>
                  <a:pt x="844" y="277"/>
                </a:cubicBezTo>
                <a:cubicBezTo>
                  <a:pt x="844" y="277"/>
                  <a:pt x="844" y="277"/>
                  <a:pt x="844" y="277"/>
                </a:cubicBezTo>
                <a:cubicBezTo>
                  <a:pt x="843" y="277"/>
                  <a:pt x="844" y="276"/>
                  <a:pt x="844" y="276"/>
                </a:cubicBezTo>
                <a:cubicBezTo>
                  <a:pt x="843" y="276"/>
                  <a:pt x="843" y="277"/>
                  <a:pt x="844" y="277"/>
                </a:cubicBezTo>
                <a:cubicBezTo>
                  <a:pt x="843" y="277"/>
                  <a:pt x="843" y="277"/>
                  <a:pt x="843" y="278"/>
                </a:cubicBezTo>
                <a:cubicBezTo>
                  <a:pt x="843" y="278"/>
                  <a:pt x="843" y="278"/>
                  <a:pt x="843" y="278"/>
                </a:cubicBezTo>
                <a:cubicBezTo>
                  <a:pt x="842" y="279"/>
                  <a:pt x="842" y="279"/>
                  <a:pt x="842" y="280"/>
                </a:cubicBezTo>
                <a:cubicBezTo>
                  <a:pt x="841" y="280"/>
                  <a:pt x="841" y="280"/>
                  <a:pt x="841" y="280"/>
                </a:cubicBezTo>
                <a:cubicBezTo>
                  <a:pt x="841" y="281"/>
                  <a:pt x="841" y="281"/>
                  <a:pt x="840" y="281"/>
                </a:cubicBezTo>
                <a:cubicBezTo>
                  <a:pt x="841" y="282"/>
                  <a:pt x="840" y="282"/>
                  <a:pt x="840" y="282"/>
                </a:cubicBezTo>
                <a:cubicBezTo>
                  <a:pt x="840" y="282"/>
                  <a:pt x="840" y="282"/>
                  <a:pt x="840" y="282"/>
                </a:cubicBezTo>
                <a:cubicBezTo>
                  <a:pt x="840" y="282"/>
                  <a:pt x="840" y="284"/>
                  <a:pt x="839" y="283"/>
                </a:cubicBezTo>
                <a:cubicBezTo>
                  <a:pt x="839" y="284"/>
                  <a:pt x="839" y="284"/>
                  <a:pt x="840" y="285"/>
                </a:cubicBezTo>
                <a:cubicBezTo>
                  <a:pt x="838" y="285"/>
                  <a:pt x="839" y="287"/>
                  <a:pt x="838" y="286"/>
                </a:cubicBezTo>
                <a:cubicBezTo>
                  <a:pt x="837" y="286"/>
                  <a:pt x="838" y="287"/>
                  <a:pt x="838" y="287"/>
                </a:cubicBezTo>
                <a:cubicBezTo>
                  <a:pt x="837" y="287"/>
                  <a:pt x="838" y="286"/>
                  <a:pt x="837" y="286"/>
                </a:cubicBezTo>
                <a:cubicBezTo>
                  <a:pt x="837" y="286"/>
                  <a:pt x="837" y="287"/>
                  <a:pt x="837" y="287"/>
                </a:cubicBezTo>
                <a:cubicBezTo>
                  <a:pt x="837" y="287"/>
                  <a:pt x="838" y="287"/>
                  <a:pt x="838" y="287"/>
                </a:cubicBezTo>
                <a:cubicBezTo>
                  <a:pt x="837" y="287"/>
                  <a:pt x="837" y="288"/>
                  <a:pt x="836" y="288"/>
                </a:cubicBezTo>
                <a:cubicBezTo>
                  <a:pt x="836" y="288"/>
                  <a:pt x="837" y="288"/>
                  <a:pt x="837" y="288"/>
                </a:cubicBezTo>
                <a:cubicBezTo>
                  <a:pt x="836" y="289"/>
                  <a:pt x="837" y="289"/>
                  <a:pt x="836" y="289"/>
                </a:cubicBezTo>
                <a:cubicBezTo>
                  <a:pt x="837" y="289"/>
                  <a:pt x="837" y="289"/>
                  <a:pt x="837" y="289"/>
                </a:cubicBezTo>
                <a:cubicBezTo>
                  <a:pt x="837" y="289"/>
                  <a:pt x="837" y="288"/>
                  <a:pt x="838" y="288"/>
                </a:cubicBezTo>
                <a:cubicBezTo>
                  <a:pt x="838" y="289"/>
                  <a:pt x="837" y="289"/>
                  <a:pt x="838" y="289"/>
                </a:cubicBezTo>
                <a:cubicBezTo>
                  <a:pt x="837" y="289"/>
                  <a:pt x="836" y="289"/>
                  <a:pt x="836" y="289"/>
                </a:cubicBezTo>
                <a:cubicBezTo>
                  <a:pt x="837" y="290"/>
                  <a:pt x="837" y="290"/>
                  <a:pt x="837" y="290"/>
                </a:cubicBezTo>
                <a:cubicBezTo>
                  <a:pt x="837" y="290"/>
                  <a:pt x="837" y="290"/>
                  <a:pt x="837" y="290"/>
                </a:cubicBezTo>
                <a:cubicBezTo>
                  <a:pt x="837" y="290"/>
                  <a:pt x="837" y="290"/>
                  <a:pt x="837" y="290"/>
                </a:cubicBezTo>
                <a:cubicBezTo>
                  <a:pt x="837" y="290"/>
                  <a:pt x="836" y="290"/>
                  <a:pt x="836" y="289"/>
                </a:cubicBezTo>
                <a:cubicBezTo>
                  <a:pt x="836" y="290"/>
                  <a:pt x="836" y="289"/>
                  <a:pt x="835" y="289"/>
                </a:cubicBezTo>
                <a:cubicBezTo>
                  <a:pt x="835" y="289"/>
                  <a:pt x="836" y="290"/>
                  <a:pt x="836" y="290"/>
                </a:cubicBezTo>
                <a:cubicBezTo>
                  <a:pt x="835" y="290"/>
                  <a:pt x="834" y="291"/>
                  <a:pt x="835" y="292"/>
                </a:cubicBezTo>
                <a:cubicBezTo>
                  <a:pt x="835" y="292"/>
                  <a:pt x="835" y="291"/>
                  <a:pt x="834" y="291"/>
                </a:cubicBezTo>
                <a:cubicBezTo>
                  <a:pt x="834" y="291"/>
                  <a:pt x="834" y="292"/>
                  <a:pt x="835" y="292"/>
                </a:cubicBezTo>
                <a:cubicBezTo>
                  <a:pt x="834" y="292"/>
                  <a:pt x="834" y="293"/>
                  <a:pt x="834" y="293"/>
                </a:cubicBezTo>
                <a:cubicBezTo>
                  <a:pt x="834" y="293"/>
                  <a:pt x="834" y="292"/>
                  <a:pt x="833" y="293"/>
                </a:cubicBezTo>
                <a:cubicBezTo>
                  <a:pt x="834" y="294"/>
                  <a:pt x="834" y="294"/>
                  <a:pt x="834" y="294"/>
                </a:cubicBezTo>
                <a:cubicBezTo>
                  <a:pt x="833" y="293"/>
                  <a:pt x="833" y="294"/>
                  <a:pt x="832" y="294"/>
                </a:cubicBezTo>
                <a:cubicBezTo>
                  <a:pt x="833" y="294"/>
                  <a:pt x="833" y="294"/>
                  <a:pt x="833" y="294"/>
                </a:cubicBezTo>
                <a:cubicBezTo>
                  <a:pt x="832" y="295"/>
                  <a:pt x="832" y="295"/>
                  <a:pt x="832" y="296"/>
                </a:cubicBezTo>
                <a:cubicBezTo>
                  <a:pt x="832" y="296"/>
                  <a:pt x="832" y="296"/>
                  <a:pt x="832" y="297"/>
                </a:cubicBezTo>
                <a:cubicBezTo>
                  <a:pt x="831" y="296"/>
                  <a:pt x="832" y="297"/>
                  <a:pt x="831" y="298"/>
                </a:cubicBezTo>
                <a:cubicBezTo>
                  <a:pt x="831" y="298"/>
                  <a:pt x="831" y="298"/>
                  <a:pt x="831" y="298"/>
                </a:cubicBezTo>
                <a:cubicBezTo>
                  <a:pt x="831" y="298"/>
                  <a:pt x="831" y="298"/>
                  <a:pt x="832" y="298"/>
                </a:cubicBezTo>
                <a:cubicBezTo>
                  <a:pt x="832" y="298"/>
                  <a:pt x="832" y="299"/>
                  <a:pt x="831" y="299"/>
                </a:cubicBezTo>
                <a:cubicBezTo>
                  <a:pt x="831" y="299"/>
                  <a:pt x="832" y="298"/>
                  <a:pt x="831" y="298"/>
                </a:cubicBezTo>
                <a:cubicBezTo>
                  <a:pt x="831" y="299"/>
                  <a:pt x="830" y="299"/>
                  <a:pt x="830" y="299"/>
                </a:cubicBezTo>
                <a:cubicBezTo>
                  <a:pt x="830" y="300"/>
                  <a:pt x="830" y="300"/>
                  <a:pt x="830" y="300"/>
                </a:cubicBezTo>
                <a:cubicBezTo>
                  <a:pt x="831" y="300"/>
                  <a:pt x="830" y="300"/>
                  <a:pt x="830" y="299"/>
                </a:cubicBezTo>
                <a:cubicBezTo>
                  <a:pt x="830" y="300"/>
                  <a:pt x="831" y="300"/>
                  <a:pt x="831" y="300"/>
                </a:cubicBezTo>
                <a:cubicBezTo>
                  <a:pt x="831" y="300"/>
                  <a:pt x="831" y="300"/>
                  <a:pt x="830" y="301"/>
                </a:cubicBezTo>
                <a:cubicBezTo>
                  <a:pt x="830" y="300"/>
                  <a:pt x="830" y="300"/>
                  <a:pt x="829" y="300"/>
                </a:cubicBezTo>
                <a:cubicBezTo>
                  <a:pt x="829" y="300"/>
                  <a:pt x="830" y="301"/>
                  <a:pt x="829" y="301"/>
                </a:cubicBezTo>
                <a:cubicBezTo>
                  <a:pt x="829" y="301"/>
                  <a:pt x="829" y="300"/>
                  <a:pt x="829" y="300"/>
                </a:cubicBezTo>
                <a:cubicBezTo>
                  <a:pt x="829" y="301"/>
                  <a:pt x="829" y="301"/>
                  <a:pt x="829" y="301"/>
                </a:cubicBezTo>
                <a:cubicBezTo>
                  <a:pt x="828" y="301"/>
                  <a:pt x="828" y="303"/>
                  <a:pt x="827" y="303"/>
                </a:cubicBezTo>
                <a:cubicBezTo>
                  <a:pt x="828" y="303"/>
                  <a:pt x="828" y="303"/>
                  <a:pt x="828" y="303"/>
                </a:cubicBezTo>
                <a:cubicBezTo>
                  <a:pt x="828" y="303"/>
                  <a:pt x="827" y="303"/>
                  <a:pt x="828" y="304"/>
                </a:cubicBezTo>
                <a:cubicBezTo>
                  <a:pt x="827" y="304"/>
                  <a:pt x="827" y="304"/>
                  <a:pt x="827" y="305"/>
                </a:cubicBezTo>
                <a:cubicBezTo>
                  <a:pt x="827" y="305"/>
                  <a:pt x="827" y="305"/>
                  <a:pt x="826" y="305"/>
                </a:cubicBezTo>
                <a:cubicBezTo>
                  <a:pt x="826" y="304"/>
                  <a:pt x="826" y="304"/>
                  <a:pt x="826" y="304"/>
                </a:cubicBezTo>
                <a:cubicBezTo>
                  <a:pt x="825" y="304"/>
                  <a:pt x="825" y="305"/>
                  <a:pt x="825" y="305"/>
                </a:cubicBezTo>
                <a:cubicBezTo>
                  <a:pt x="826" y="305"/>
                  <a:pt x="825" y="305"/>
                  <a:pt x="826" y="305"/>
                </a:cubicBezTo>
                <a:cubicBezTo>
                  <a:pt x="826" y="306"/>
                  <a:pt x="825" y="306"/>
                  <a:pt x="825" y="307"/>
                </a:cubicBezTo>
                <a:cubicBezTo>
                  <a:pt x="826" y="307"/>
                  <a:pt x="826" y="307"/>
                  <a:pt x="826" y="307"/>
                </a:cubicBezTo>
                <a:cubicBezTo>
                  <a:pt x="826" y="308"/>
                  <a:pt x="826" y="308"/>
                  <a:pt x="826" y="308"/>
                </a:cubicBezTo>
                <a:cubicBezTo>
                  <a:pt x="826" y="308"/>
                  <a:pt x="826" y="307"/>
                  <a:pt x="825" y="307"/>
                </a:cubicBezTo>
                <a:cubicBezTo>
                  <a:pt x="824" y="308"/>
                  <a:pt x="825" y="308"/>
                  <a:pt x="825" y="308"/>
                </a:cubicBezTo>
                <a:cubicBezTo>
                  <a:pt x="825" y="309"/>
                  <a:pt x="826" y="308"/>
                  <a:pt x="826" y="308"/>
                </a:cubicBezTo>
                <a:cubicBezTo>
                  <a:pt x="826" y="309"/>
                  <a:pt x="825" y="309"/>
                  <a:pt x="826" y="309"/>
                </a:cubicBezTo>
                <a:cubicBezTo>
                  <a:pt x="825" y="309"/>
                  <a:pt x="825" y="308"/>
                  <a:pt x="824" y="309"/>
                </a:cubicBezTo>
                <a:cubicBezTo>
                  <a:pt x="824" y="309"/>
                  <a:pt x="823" y="310"/>
                  <a:pt x="824" y="311"/>
                </a:cubicBezTo>
                <a:cubicBezTo>
                  <a:pt x="824" y="310"/>
                  <a:pt x="824" y="310"/>
                  <a:pt x="825" y="309"/>
                </a:cubicBezTo>
                <a:cubicBezTo>
                  <a:pt x="825" y="310"/>
                  <a:pt x="824" y="310"/>
                  <a:pt x="825" y="310"/>
                </a:cubicBezTo>
                <a:cubicBezTo>
                  <a:pt x="824" y="310"/>
                  <a:pt x="825" y="312"/>
                  <a:pt x="824" y="312"/>
                </a:cubicBezTo>
                <a:cubicBezTo>
                  <a:pt x="824" y="312"/>
                  <a:pt x="824" y="312"/>
                  <a:pt x="824" y="311"/>
                </a:cubicBezTo>
                <a:cubicBezTo>
                  <a:pt x="824" y="311"/>
                  <a:pt x="824" y="312"/>
                  <a:pt x="823" y="311"/>
                </a:cubicBezTo>
                <a:cubicBezTo>
                  <a:pt x="823" y="311"/>
                  <a:pt x="824" y="312"/>
                  <a:pt x="824" y="311"/>
                </a:cubicBezTo>
                <a:cubicBezTo>
                  <a:pt x="824" y="310"/>
                  <a:pt x="824" y="311"/>
                  <a:pt x="823" y="311"/>
                </a:cubicBezTo>
                <a:cubicBezTo>
                  <a:pt x="824" y="311"/>
                  <a:pt x="823" y="310"/>
                  <a:pt x="823" y="310"/>
                </a:cubicBezTo>
                <a:cubicBezTo>
                  <a:pt x="823" y="310"/>
                  <a:pt x="823" y="310"/>
                  <a:pt x="823" y="310"/>
                </a:cubicBezTo>
                <a:cubicBezTo>
                  <a:pt x="823" y="311"/>
                  <a:pt x="823" y="311"/>
                  <a:pt x="823" y="311"/>
                </a:cubicBezTo>
                <a:cubicBezTo>
                  <a:pt x="823" y="311"/>
                  <a:pt x="823" y="311"/>
                  <a:pt x="822" y="311"/>
                </a:cubicBezTo>
                <a:cubicBezTo>
                  <a:pt x="822" y="311"/>
                  <a:pt x="822" y="311"/>
                  <a:pt x="823" y="311"/>
                </a:cubicBezTo>
                <a:cubicBezTo>
                  <a:pt x="823" y="311"/>
                  <a:pt x="823" y="312"/>
                  <a:pt x="823" y="311"/>
                </a:cubicBezTo>
                <a:cubicBezTo>
                  <a:pt x="824" y="312"/>
                  <a:pt x="823" y="312"/>
                  <a:pt x="823" y="312"/>
                </a:cubicBezTo>
                <a:cubicBezTo>
                  <a:pt x="823" y="312"/>
                  <a:pt x="823" y="312"/>
                  <a:pt x="823" y="312"/>
                </a:cubicBezTo>
                <a:cubicBezTo>
                  <a:pt x="823" y="312"/>
                  <a:pt x="823" y="312"/>
                  <a:pt x="824" y="312"/>
                </a:cubicBezTo>
                <a:cubicBezTo>
                  <a:pt x="824" y="312"/>
                  <a:pt x="824" y="312"/>
                  <a:pt x="824" y="313"/>
                </a:cubicBezTo>
                <a:cubicBezTo>
                  <a:pt x="824" y="312"/>
                  <a:pt x="824" y="312"/>
                  <a:pt x="825" y="312"/>
                </a:cubicBezTo>
                <a:cubicBezTo>
                  <a:pt x="825" y="312"/>
                  <a:pt x="825" y="312"/>
                  <a:pt x="825" y="312"/>
                </a:cubicBezTo>
                <a:cubicBezTo>
                  <a:pt x="825" y="312"/>
                  <a:pt x="825" y="311"/>
                  <a:pt x="825" y="311"/>
                </a:cubicBezTo>
                <a:cubicBezTo>
                  <a:pt x="825" y="311"/>
                  <a:pt x="825" y="311"/>
                  <a:pt x="825" y="310"/>
                </a:cubicBezTo>
                <a:cubicBezTo>
                  <a:pt x="825" y="311"/>
                  <a:pt x="826" y="310"/>
                  <a:pt x="825" y="310"/>
                </a:cubicBezTo>
                <a:cubicBezTo>
                  <a:pt x="825" y="310"/>
                  <a:pt x="826" y="310"/>
                  <a:pt x="826" y="310"/>
                </a:cubicBezTo>
                <a:cubicBezTo>
                  <a:pt x="826" y="310"/>
                  <a:pt x="826" y="310"/>
                  <a:pt x="826" y="309"/>
                </a:cubicBezTo>
                <a:cubicBezTo>
                  <a:pt x="826" y="310"/>
                  <a:pt x="826" y="309"/>
                  <a:pt x="826" y="308"/>
                </a:cubicBezTo>
                <a:cubicBezTo>
                  <a:pt x="826" y="309"/>
                  <a:pt x="827" y="309"/>
                  <a:pt x="827" y="309"/>
                </a:cubicBezTo>
                <a:cubicBezTo>
                  <a:pt x="827" y="308"/>
                  <a:pt x="828" y="308"/>
                  <a:pt x="828" y="307"/>
                </a:cubicBezTo>
                <a:cubicBezTo>
                  <a:pt x="828" y="307"/>
                  <a:pt x="828" y="306"/>
                  <a:pt x="828" y="306"/>
                </a:cubicBezTo>
                <a:cubicBezTo>
                  <a:pt x="828" y="306"/>
                  <a:pt x="828" y="306"/>
                  <a:pt x="829" y="306"/>
                </a:cubicBezTo>
                <a:cubicBezTo>
                  <a:pt x="828" y="305"/>
                  <a:pt x="830" y="305"/>
                  <a:pt x="830" y="305"/>
                </a:cubicBezTo>
                <a:cubicBezTo>
                  <a:pt x="830" y="304"/>
                  <a:pt x="829" y="304"/>
                  <a:pt x="829" y="304"/>
                </a:cubicBezTo>
                <a:cubicBezTo>
                  <a:pt x="830" y="304"/>
                  <a:pt x="830" y="304"/>
                  <a:pt x="830" y="303"/>
                </a:cubicBezTo>
                <a:cubicBezTo>
                  <a:pt x="830" y="304"/>
                  <a:pt x="830" y="304"/>
                  <a:pt x="830" y="304"/>
                </a:cubicBezTo>
                <a:cubicBezTo>
                  <a:pt x="829" y="303"/>
                  <a:pt x="831" y="302"/>
                  <a:pt x="831" y="301"/>
                </a:cubicBezTo>
                <a:cubicBezTo>
                  <a:pt x="831" y="301"/>
                  <a:pt x="831" y="301"/>
                  <a:pt x="831" y="301"/>
                </a:cubicBezTo>
                <a:cubicBezTo>
                  <a:pt x="831" y="301"/>
                  <a:pt x="831" y="300"/>
                  <a:pt x="831" y="300"/>
                </a:cubicBezTo>
                <a:cubicBezTo>
                  <a:pt x="831" y="301"/>
                  <a:pt x="832" y="301"/>
                  <a:pt x="832" y="301"/>
                </a:cubicBezTo>
                <a:cubicBezTo>
                  <a:pt x="833" y="300"/>
                  <a:pt x="833" y="298"/>
                  <a:pt x="835" y="297"/>
                </a:cubicBezTo>
                <a:cubicBezTo>
                  <a:pt x="834" y="297"/>
                  <a:pt x="834" y="297"/>
                  <a:pt x="834" y="298"/>
                </a:cubicBezTo>
                <a:cubicBezTo>
                  <a:pt x="835" y="298"/>
                  <a:pt x="835" y="298"/>
                  <a:pt x="835" y="298"/>
                </a:cubicBezTo>
                <a:cubicBezTo>
                  <a:pt x="835" y="297"/>
                  <a:pt x="836" y="297"/>
                  <a:pt x="836" y="297"/>
                </a:cubicBezTo>
                <a:cubicBezTo>
                  <a:pt x="836" y="297"/>
                  <a:pt x="835" y="297"/>
                  <a:pt x="835" y="296"/>
                </a:cubicBezTo>
                <a:cubicBezTo>
                  <a:pt x="836" y="296"/>
                  <a:pt x="836" y="296"/>
                  <a:pt x="836" y="296"/>
                </a:cubicBezTo>
                <a:cubicBezTo>
                  <a:pt x="836" y="296"/>
                  <a:pt x="836" y="296"/>
                  <a:pt x="836" y="296"/>
                </a:cubicBezTo>
                <a:cubicBezTo>
                  <a:pt x="836" y="296"/>
                  <a:pt x="836" y="295"/>
                  <a:pt x="836" y="295"/>
                </a:cubicBezTo>
                <a:cubicBezTo>
                  <a:pt x="836" y="295"/>
                  <a:pt x="836" y="295"/>
                  <a:pt x="836" y="296"/>
                </a:cubicBezTo>
                <a:cubicBezTo>
                  <a:pt x="837" y="295"/>
                  <a:pt x="837" y="296"/>
                  <a:pt x="837" y="296"/>
                </a:cubicBezTo>
                <a:cubicBezTo>
                  <a:pt x="837" y="295"/>
                  <a:pt x="837" y="295"/>
                  <a:pt x="837" y="295"/>
                </a:cubicBezTo>
                <a:cubicBezTo>
                  <a:pt x="837" y="295"/>
                  <a:pt x="838" y="294"/>
                  <a:pt x="838" y="294"/>
                </a:cubicBezTo>
                <a:cubicBezTo>
                  <a:pt x="838" y="293"/>
                  <a:pt x="838" y="293"/>
                  <a:pt x="838" y="293"/>
                </a:cubicBezTo>
                <a:cubicBezTo>
                  <a:pt x="838" y="292"/>
                  <a:pt x="838" y="293"/>
                  <a:pt x="839" y="293"/>
                </a:cubicBezTo>
                <a:cubicBezTo>
                  <a:pt x="838" y="292"/>
                  <a:pt x="838" y="292"/>
                  <a:pt x="838" y="292"/>
                </a:cubicBezTo>
                <a:cubicBezTo>
                  <a:pt x="838" y="292"/>
                  <a:pt x="838" y="292"/>
                  <a:pt x="838" y="292"/>
                </a:cubicBezTo>
                <a:cubicBezTo>
                  <a:pt x="838" y="292"/>
                  <a:pt x="838" y="291"/>
                  <a:pt x="838" y="291"/>
                </a:cubicBezTo>
                <a:cubicBezTo>
                  <a:pt x="838" y="291"/>
                  <a:pt x="838" y="290"/>
                  <a:pt x="838" y="290"/>
                </a:cubicBezTo>
                <a:cubicBezTo>
                  <a:pt x="839" y="291"/>
                  <a:pt x="838" y="291"/>
                  <a:pt x="838" y="291"/>
                </a:cubicBezTo>
                <a:cubicBezTo>
                  <a:pt x="839" y="291"/>
                  <a:pt x="838" y="291"/>
                  <a:pt x="838" y="291"/>
                </a:cubicBezTo>
                <a:cubicBezTo>
                  <a:pt x="839" y="291"/>
                  <a:pt x="839" y="291"/>
                  <a:pt x="839" y="291"/>
                </a:cubicBezTo>
                <a:cubicBezTo>
                  <a:pt x="839" y="291"/>
                  <a:pt x="839" y="291"/>
                  <a:pt x="839" y="291"/>
                </a:cubicBezTo>
                <a:cubicBezTo>
                  <a:pt x="840" y="291"/>
                  <a:pt x="840" y="290"/>
                  <a:pt x="840" y="290"/>
                </a:cubicBezTo>
                <a:cubicBezTo>
                  <a:pt x="840" y="290"/>
                  <a:pt x="840" y="290"/>
                  <a:pt x="841" y="290"/>
                </a:cubicBezTo>
                <a:cubicBezTo>
                  <a:pt x="840" y="290"/>
                  <a:pt x="840" y="289"/>
                  <a:pt x="841" y="289"/>
                </a:cubicBezTo>
                <a:cubicBezTo>
                  <a:pt x="840" y="289"/>
                  <a:pt x="840" y="289"/>
                  <a:pt x="841" y="289"/>
                </a:cubicBezTo>
                <a:cubicBezTo>
                  <a:pt x="841" y="289"/>
                  <a:pt x="841" y="289"/>
                  <a:pt x="841" y="288"/>
                </a:cubicBezTo>
                <a:cubicBezTo>
                  <a:pt x="841" y="288"/>
                  <a:pt x="842" y="288"/>
                  <a:pt x="842" y="288"/>
                </a:cubicBezTo>
                <a:cubicBezTo>
                  <a:pt x="842" y="288"/>
                  <a:pt x="842" y="288"/>
                  <a:pt x="842" y="287"/>
                </a:cubicBezTo>
                <a:cubicBezTo>
                  <a:pt x="842" y="287"/>
                  <a:pt x="842" y="287"/>
                  <a:pt x="842" y="287"/>
                </a:cubicBezTo>
                <a:cubicBezTo>
                  <a:pt x="842" y="287"/>
                  <a:pt x="842" y="287"/>
                  <a:pt x="842" y="287"/>
                </a:cubicBezTo>
                <a:cubicBezTo>
                  <a:pt x="843" y="287"/>
                  <a:pt x="843" y="286"/>
                  <a:pt x="843" y="285"/>
                </a:cubicBezTo>
                <a:cubicBezTo>
                  <a:pt x="844" y="285"/>
                  <a:pt x="844" y="286"/>
                  <a:pt x="844" y="286"/>
                </a:cubicBezTo>
                <a:cubicBezTo>
                  <a:pt x="844" y="286"/>
                  <a:pt x="845" y="285"/>
                  <a:pt x="844" y="285"/>
                </a:cubicBezTo>
                <a:cubicBezTo>
                  <a:pt x="844" y="285"/>
                  <a:pt x="844" y="286"/>
                  <a:pt x="844" y="285"/>
                </a:cubicBezTo>
                <a:cubicBezTo>
                  <a:pt x="844" y="285"/>
                  <a:pt x="844" y="285"/>
                  <a:pt x="845" y="285"/>
                </a:cubicBezTo>
                <a:cubicBezTo>
                  <a:pt x="845" y="284"/>
                  <a:pt x="844" y="285"/>
                  <a:pt x="844" y="284"/>
                </a:cubicBezTo>
                <a:cubicBezTo>
                  <a:pt x="845" y="284"/>
                  <a:pt x="845" y="283"/>
                  <a:pt x="845" y="282"/>
                </a:cubicBezTo>
                <a:cubicBezTo>
                  <a:pt x="845" y="282"/>
                  <a:pt x="845" y="282"/>
                  <a:pt x="845" y="282"/>
                </a:cubicBezTo>
                <a:cubicBezTo>
                  <a:pt x="846" y="282"/>
                  <a:pt x="846" y="283"/>
                  <a:pt x="846" y="283"/>
                </a:cubicBezTo>
                <a:cubicBezTo>
                  <a:pt x="845" y="281"/>
                  <a:pt x="847" y="281"/>
                  <a:pt x="847" y="280"/>
                </a:cubicBezTo>
                <a:cubicBezTo>
                  <a:pt x="847" y="280"/>
                  <a:pt x="848" y="281"/>
                  <a:pt x="848" y="280"/>
                </a:cubicBezTo>
                <a:cubicBezTo>
                  <a:pt x="848" y="280"/>
                  <a:pt x="848" y="280"/>
                  <a:pt x="848" y="279"/>
                </a:cubicBezTo>
                <a:cubicBezTo>
                  <a:pt x="848" y="279"/>
                  <a:pt x="848" y="280"/>
                  <a:pt x="848" y="280"/>
                </a:cubicBezTo>
                <a:cubicBezTo>
                  <a:pt x="848" y="279"/>
                  <a:pt x="849" y="278"/>
                  <a:pt x="849" y="277"/>
                </a:cubicBezTo>
                <a:cubicBezTo>
                  <a:pt x="849" y="278"/>
                  <a:pt x="849" y="278"/>
                  <a:pt x="849" y="278"/>
                </a:cubicBezTo>
                <a:cubicBezTo>
                  <a:pt x="850" y="277"/>
                  <a:pt x="850" y="277"/>
                  <a:pt x="851" y="276"/>
                </a:cubicBezTo>
                <a:cubicBezTo>
                  <a:pt x="851" y="277"/>
                  <a:pt x="851" y="277"/>
                  <a:pt x="851" y="277"/>
                </a:cubicBezTo>
                <a:cubicBezTo>
                  <a:pt x="851" y="276"/>
                  <a:pt x="852" y="277"/>
                  <a:pt x="852" y="276"/>
                </a:cubicBezTo>
                <a:cubicBezTo>
                  <a:pt x="852" y="276"/>
                  <a:pt x="851" y="276"/>
                  <a:pt x="851" y="276"/>
                </a:cubicBezTo>
                <a:cubicBezTo>
                  <a:pt x="852" y="276"/>
                  <a:pt x="852" y="276"/>
                  <a:pt x="852" y="275"/>
                </a:cubicBezTo>
                <a:cubicBezTo>
                  <a:pt x="852" y="275"/>
                  <a:pt x="851" y="275"/>
                  <a:pt x="851" y="275"/>
                </a:cubicBezTo>
                <a:cubicBezTo>
                  <a:pt x="852" y="275"/>
                  <a:pt x="852" y="275"/>
                  <a:pt x="852" y="275"/>
                </a:cubicBezTo>
                <a:cubicBezTo>
                  <a:pt x="852" y="275"/>
                  <a:pt x="852" y="275"/>
                  <a:pt x="852" y="274"/>
                </a:cubicBezTo>
                <a:cubicBezTo>
                  <a:pt x="853" y="274"/>
                  <a:pt x="853" y="273"/>
                  <a:pt x="854" y="274"/>
                </a:cubicBezTo>
                <a:cubicBezTo>
                  <a:pt x="854" y="274"/>
                  <a:pt x="854" y="273"/>
                  <a:pt x="854" y="273"/>
                </a:cubicBezTo>
                <a:cubicBezTo>
                  <a:pt x="854" y="273"/>
                  <a:pt x="854" y="273"/>
                  <a:pt x="855" y="273"/>
                </a:cubicBezTo>
                <a:cubicBezTo>
                  <a:pt x="855" y="273"/>
                  <a:pt x="855" y="273"/>
                  <a:pt x="855" y="273"/>
                </a:cubicBezTo>
                <a:cubicBezTo>
                  <a:pt x="855" y="272"/>
                  <a:pt x="855" y="272"/>
                  <a:pt x="854" y="272"/>
                </a:cubicBezTo>
                <a:cubicBezTo>
                  <a:pt x="855" y="272"/>
                  <a:pt x="856" y="272"/>
                  <a:pt x="855" y="271"/>
                </a:cubicBezTo>
                <a:cubicBezTo>
                  <a:pt x="857" y="269"/>
                  <a:pt x="859" y="267"/>
                  <a:pt x="860" y="266"/>
                </a:cubicBezTo>
                <a:cubicBezTo>
                  <a:pt x="861" y="266"/>
                  <a:pt x="860" y="266"/>
                  <a:pt x="860" y="266"/>
                </a:cubicBezTo>
                <a:cubicBezTo>
                  <a:pt x="860" y="266"/>
                  <a:pt x="860" y="267"/>
                  <a:pt x="861" y="267"/>
                </a:cubicBezTo>
                <a:cubicBezTo>
                  <a:pt x="860" y="267"/>
                  <a:pt x="861" y="267"/>
                  <a:pt x="861" y="266"/>
                </a:cubicBezTo>
                <a:cubicBezTo>
                  <a:pt x="861" y="266"/>
                  <a:pt x="860" y="266"/>
                  <a:pt x="860" y="266"/>
                </a:cubicBezTo>
                <a:cubicBezTo>
                  <a:pt x="861" y="266"/>
                  <a:pt x="861" y="266"/>
                  <a:pt x="861" y="266"/>
                </a:cubicBezTo>
                <a:cubicBezTo>
                  <a:pt x="861" y="266"/>
                  <a:pt x="861" y="266"/>
                  <a:pt x="861" y="266"/>
                </a:cubicBezTo>
                <a:cubicBezTo>
                  <a:pt x="861" y="266"/>
                  <a:pt x="861" y="265"/>
                  <a:pt x="861" y="265"/>
                </a:cubicBezTo>
                <a:cubicBezTo>
                  <a:pt x="860" y="265"/>
                  <a:pt x="860" y="265"/>
                  <a:pt x="860" y="265"/>
                </a:cubicBezTo>
                <a:cubicBezTo>
                  <a:pt x="860" y="265"/>
                  <a:pt x="860" y="265"/>
                  <a:pt x="860" y="265"/>
                </a:cubicBezTo>
                <a:cubicBezTo>
                  <a:pt x="860" y="265"/>
                  <a:pt x="860" y="265"/>
                  <a:pt x="861" y="265"/>
                </a:cubicBezTo>
                <a:cubicBezTo>
                  <a:pt x="861" y="265"/>
                  <a:pt x="862" y="265"/>
                  <a:pt x="862" y="264"/>
                </a:cubicBezTo>
                <a:cubicBezTo>
                  <a:pt x="862" y="264"/>
                  <a:pt x="862" y="264"/>
                  <a:pt x="862" y="264"/>
                </a:cubicBezTo>
                <a:cubicBezTo>
                  <a:pt x="863" y="264"/>
                  <a:pt x="863" y="263"/>
                  <a:pt x="863" y="263"/>
                </a:cubicBezTo>
                <a:cubicBezTo>
                  <a:pt x="863" y="264"/>
                  <a:pt x="862" y="264"/>
                  <a:pt x="863" y="264"/>
                </a:cubicBezTo>
                <a:cubicBezTo>
                  <a:pt x="864" y="264"/>
                  <a:pt x="863" y="263"/>
                  <a:pt x="864" y="263"/>
                </a:cubicBezTo>
                <a:cubicBezTo>
                  <a:pt x="864" y="264"/>
                  <a:pt x="864" y="263"/>
                  <a:pt x="865" y="263"/>
                </a:cubicBezTo>
                <a:cubicBezTo>
                  <a:pt x="865" y="263"/>
                  <a:pt x="865" y="264"/>
                  <a:pt x="865" y="264"/>
                </a:cubicBezTo>
                <a:cubicBezTo>
                  <a:pt x="865" y="263"/>
                  <a:pt x="866" y="263"/>
                  <a:pt x="866" y="263"/>
                </a:cubicBezTo>
                <a:cubicBezTo>
                  <a:pt x="865" y="262"/>
                  <a:pt x="866" y="263"/>
                  <a:pt x="865" y="262"/>
                </a:cubicBezTo>
                <a:cubicBezTo>
                  <a:pt x="866" y="262"/>
                  <a:pt x="866" y="262"/>
                  <a:pt x="866" y="262"/>
                </a:cubicBezTo>
                <a:cubicBezTo>
                  <a:pt x="866" y="262"/>
                  <a:pt x="867" y="262"/>
                  <a:pt x="867" y="263"/>
                </a:cubicBezTo>
                <a:cubicBezTo>
                  <a:pt x="867" y="263"/>
                  <a:pt x="866" y="263"/>
                  <a:pt x="867" y="264"/>
                </a:cubicBezTo>
                <a:cubicBezTo>
                  <a:pt x="866" y="264"/>
                  <a:pt x="866" y="265"/>
                  <a:pt x="865" y="265"/>
                </a:cubicBezTo>
                <a:cubicBezTo>
                  <a:pt x="865" y="266"/>
                  <a:pt x="864" y="266"/>
                  <a:pt x="864" y="266"/>
                </a:cubicBezTo>
                <a:cubicBezTo>
                  <a:pt x="864" y="266"/>
                  <a:pt x="865" y="266"/>
                  <a:pt x="865" y="267"/>
                </a:cubicBezTo>
                <a:cubicBezTo>
                  <a:pt x="864" y="267"/>
                  <a:pt x="864" y="267"/>
                  <a:pt x="864" y="267"/>
                </a:cubicBezTo>
                <a:cubicBezTo>
                  <a:pt x="864" y="267"/>
                  <a:pt x="863" y="266"/>
                  <a:pt x="863" y="266"/>
                </a:cubicBezTo>
                <a:cubicBezTo>
                  <a:pt x="863" y="266"/>
                  <a:pt x="863" y="267"/>
                  <a:pt x="863" y="267"/>
                </a:cubicBezTo>
                <a:cubicBezTo>
                  <a:pt x="863" y="267"/>
                  <a:pt x="864" y="267"/>
                  <a:pt x="864" y="268"/>
                </a:cubicBezTo>
                <a:cubicBezTo>
                  <a:pt x="863" y="268"/>
                  <a:pt x="863" y="268"/>
                  <a:pt x="863" y="268"/>
                </a:cubicBezTo>
                <a:cubicBezTo>
                  <a:pt x="863" y="268"/>
                  <a:pt x="863" y="268"/>
                  <a:pt x="863" y="268"/>
                </a:cubicBezTo>
                <a:cubicBezTo>
                  <a:pt x="863" y="268"/>
                  <a:pt x="863" y="269"/>
                  <a:pt x="863" y="269"/>
                </a:cubicBezTo>
                <a:cubicBezTo>
                  <a:pt x="862" y="268"/>
                  <a:pt x="863" y="268"/>
                  <a:pt x="863" y="268"/>
                </a:cubicBezTo>
                <a:cubicBezTo>
                  <a:pt x="863" y="268"/>
                  <a:pt x="863" y="267"/>
                  <a:pt x="862" y="267"/>
                </a:cubicBezTo>
                <a:cubicBezTo>
                  <a:pt x="863" y="268"/>
                  <a:pt x="862" y="268"/>
                  <a:pt x="862" y="269"/>
                </a:cubicBezTo>
                <a:cubicBezTo>
                  <a:pt x="862" y="269"/>
                  <a:pt x="862" y="268"/>
                  <a:pt x="862" y="269"/>
                </a:cubicBezTo>
                <a:cubicBezTo>
                  <a:pt x="861" y="269"/>
                  <a:pt x="861" y="269"/>
                  <a:pt x="861" y="269"/>
                </a:cubicBezTo>
                <a:cubicBezTo>
                  <a:pt x="861" y="269"/>
                  <a:pt x="861" y="269"/>
                  <a:pt x="861" y="270"/>
                </a:cubicBezTo>
                <a:cubicBezTo>
                  <a:pt x="861" y="270"/>
                  <a:pt x="860" y="269"/>
                  <a:pt x="860" y="270"/>
                </a:cubicBezTo>
                <a:cubicBezTo>
                  <a:pt x="861" y="270"/>
                  <a:pt x="861" y="270"/>
                  <a:pt x="861" y="270"/>
                </a:cubicBezTo>
                <a:cubicBezTo>
                  <a:pt x="860" y="270"/>
                  <a:pt x="861" y="271"/>
                  <a:pt x="860" y="270"/>
                </a:cubicBezTo>
                <a:cubicBezTo>
                  <a:pt x="860" y="271"/>
                  <a:pt x="860" y="271"/>
                  <a:pt x="860" y="271"/>
                </a:cubicBezTo>
                <a:cubicBezTo>
                  <a:pt x="861" y="271"/>
                  <a:pt x="861" y="270"/>
                  <a:pt x="861" y="271"/>
                </a:cubicBezTo>
                <a:cubicBezTo>
                  <a:pt x="861" y="271"/>
                  <a:pt x="860" y="271"/>
                  <a:pt x="860" y="272"/>
                </a:cubicBezTo>
                <a:cubicBezTo>
                  <a:pt x="861" y="272"/>
                  <a:pt x="860" y="273"/>
                  <a:pt x="860" y="273"/>
                </a:cubicBezTo>
                <a:cubicBezTo>
                  <a:pt x="860" y="273"/>
                  <a:pt x="861" y="272"/>
                  <a:pt x="862" y="273"/>
                </a:cubicBezTo>
                <a:cubicBezTo>
                  <a:pt x="862" y="273"/>
                  <a:pt x="862" y="273"/>
                  <a:pt x="862" y="273"/>
                </a:cubicBezTo>
                <a:cubicBezTo>
                  <a:pt x="862" y="273"/>
                  <a:pt x="861" y="273"/>
                  <a:pt x="861" y="272"/>
                </a:cubicBezTo>
                <a:cubicBezTo>
                  <a:pt x="862" y="272"/>
                  <a:pt x="861" y="272"/>
                  <a:pt x="861" y="271"/>
                </a:cubicBezTo>
                <a:cubicBezTo>
                  <a:pt x="861" y="272"/>
                  <a:pt x="861" y="272"/>
                  <a:pt x="862" y="272"/>
                </a:cubicBezTo>
                <a:cubicBezTo>
                  <a:pt x="862" y="272"/>
                  <a:pt x="862" y="272"/>
                  <a:pt x="862" y="272"/>
                </a:cubicBezTo>
                <a:cubicBezTo>
                  <a:pt x="862" y="271"/>
                  <a:pt x="862" y="271"/>
                  <a:pt x="862" y="271"/>
                </a:cubicBezTo>
                <a:cubicBezTo>
                  <a:pt x="862" y="271"/>
                  <a:pt x="862" y="271"/>
                  <a:pt x="863" y="271"/>
                </a:cubicBezTo>
                <a:cubicBezTo>
                  <a:pt x="863" y="271"/>
                  <a:pt x="863" y="271"/>
                  <a:pt x="863" y="272"/>
                </a:cubicBezTo>
                <a:cubicBezTo>
                  <a:pt x="863" y="272"/>
                  <a:pt x="863" y="272"/>
                  <a:pt x="863" y="271"/>
                </a:cubicBezTo>
                <a:cubicBezTo>
                  <a:pt x="863" y="271"/>
                  <a:pt x="863" y="271"/>
                  <a:pt x="863" y="271"/>
                </a:cubicBezTo>
                <a:cubicBezTo>
                  <a:pt x="863" y="271"/>
                  <a:pt x="863" y="271"/>
                  <a:pt x="863" y="271"/>
                </a:cubicBezTo>
                <a:cubicBezTo>
                  <a:pt x="863" y="270"/>
                  <a:pt x="863" y="270"/>
                  <a:pt x="864" y="270"/>
                </a:cubicBezTo>
                <a:cubicBezTo>
                  <a:pt x="862" y="268"/>
                  <a:pt x="866" y="268"/>
                  <a:pt x="865" y="267"/>
                </a:cubicBezTo>
                <a:cubicBezTo>
                  <a:pt x="865" y="267"/>
                  <a:pt x="865" y="268"/>
                  <a:pt x="866" y="268"/>
                </a:cubicBezTo>
                <a:cubicBezTo>
                  <a:pt x="865" y="268"/>
                  <a:pt x="864" y="268"/>
                  <a:pt x="865" y="269"/>
                </a:cubicBezTo>
                <a:cubicBezTo>
                  <a:pt x="864" y="269"/>
                  <a:pt x="864" y="269"/>
                  <a:pt x="864" y="269"/>
                </a:cubicBezTo>
                <a:cubicBezTo>
                  <a:pt x="864" y="270"/>
                  <a:pt x="864" y="269"/>
                  <a:pt x="865" y="269"/>
                </a:cubicBezTo>
                <a:cubicBezTo>
                  <a:pt x="864" y="269"/>
                  <a:pt x="866" y="269"/>
                  <a:pt x="865" y="268"/>
                </a:cubicBezTo>
                <a:cubicBezTo>
                  <a:pt x="866" y="268"/>
                  <a:pt x="866" y="268"/>
                  <a:pt x="866" y="268"/>
                </a:cubicBezTo>
                <a:cubicBezTo>
                  <a:pt x="866" y="268"/>
                  <a:pt x="866" y="268"/>
                  <a:pt x="866" y="268"/>
                </a:cubicBezTo>
                <a:cubicBezTo>
                  <a:pt x="866" y="268"/>
                  <a:pt x="867" y="268"/>
                  <a:pt x="867" y="268"/>
                </a:cubicBezTo>
                <a:cubicBezTo>
                  <a:pt x="867" y="268"/>
                  <a:pt x="867" y="268"/>
                  <a:pt x="867" y="267"/>
                </a:cubicBezTo>
                <a:cubicBezTo>
                  <a:pt x="867" y="268"/>
                  <a:pt x="867" y="268"/>
                  <a:pt x="866" y="267"/>
                </a:cubicBezTo>
                <a:cubicBezTo>
                  <a:pt x="867" y="267"/>
                  <a:pt x="867" y="267"/>
                  <a:pt x="867" y="267"/>
                </a:cubicBezTo>
                <a:cubicBezTo>
                  <a:pt x="868" y="267"/>
                  <a:pt x="868" y="267"/>
                  <a:pt x="868" y="267"/>
                </a:cubicBezTo>
                <a:cubicBezTo>
                  <a:pt x="868" y="267"/>
                  <a:pt x="868" y="267"/>
                  <a:pt x="868" y="266"/>
                </a:cubicBezTo>
                <a:cubicBezTo>
                  <a:pt x="869" y="267"/>
                  <a:pt x="868" y="266"/>
                  <a:pt x="869" y="266"/>
                </a:cubicBezTo>
                <a:cubicBezTo>
                  <a:pt x="869" y="266"/>
                  <a:pt x="870" y="266"/>
                  <a:pt x="870" y="265"/>
                </a:cubicBezTo>
                <a:cubicBezTo>
                  <a:pt x="870" y="266"/>
                  <a:pt x="870" y="266"/>
                  <a:pt x="871" y="266"/>
                </a:cubicBezTo>
                <a:cubicBezTo>
                  <a:pt x="871" y="266"/>
                  <a:pt x="872" y="266"/>
                  <a:pt x="871" y="265"/>
                </a:cubicBezTo>
                <a:cubicBezTo>
                  <a:pt x="871" y="265"/>
                  <a:pt x="871" y="266"/>
                  <a:pt x="872" y="266"/>
                </a:cubicBezTo>
                <a:cubicBezTo>
                  <a:pt x="872" y="265"/>
                  <a:pt x="872" y="266"/>
                  <a:pt x="872" y="265"/>
                </a:cubicBezTo>
                <a:cubicBezTo>
                  <a:pt x="872" y="265"/>
                  <a:pt x="872" y="265"/>
                  <a:pt x="872" y="265"/>
                </a:cubicBezTo>
                <a:cubicBezTo>
                  <a:pt x="871" y="265"/>
                  <a:pt x="872" y="265"/>
                  <a:pt x="871" y="265"/>
                </a:cubicBezTo>
                <a:cubicBezTo>
                  <a:pt x="872" y="265"/>
                  <a:pt x="872" y="265"/>
                  <a:pt x="872" y="264"/>
                </a:cubicBezTo>
                <a:cubicBezTo>
                  <a:pt x="872" y="265"/>
                  <a:pt x="872" y="264"/>
                  <a:pt x="872" y="265"/>
                </a:cubicBezTo>
                <a:cubicBezTo>
                  <a:pt x="872" y="265"/>
                  <a:pt x="872" y="264"/>
                  <a:pt x="872" y="265"/>
                </a:cubicBezTo>
                <a:cubicBezTo>
                  <a:pt x="873" y="265"/>
                  <a:pt x="873" y="265"/>
                  <a:pt x="873" y="265"/>
                </a:cubicBezTo>
                <a:cubicBezTo>
                  <a:pt x="873" y="265"/>
                  <a:pt x="874" y="265"/>
                  <a:pt x="874" y="265"/>
                </a:cubicBezTo>
                <a:cubicBezTo>
                  <a:pt x="874" y="265"/>
                  <a:pt x="874" y="265"/>
                  <a:pt x="874" y="265"/>
                </a:cubicBezTo>
                <a:cubicBezTo>
                  <a:pt x="873" y="265"/>
                  <a:pt x="873" y="266"/>
                  <a:pt x="873" y="266"/>
                </a:cubicBezTo>
                <a:close/>
                <a:moveTo>
                  <a:pt x="864" y="265"/>
                </a:moveTo>
                <a:cubicBezTo>
                  <a:pt x="865" y="266"/>
                  <a:pt x="865" y="265"/>
                  <a:pt x="865" y="265"/>
                </a:cubicBezTo>
                <a:cubicBezTo>
                  <a:pt x="864" y="265"/>
                  <a:pt x="864" y="266"/>
                  <a:pt x="864" y="265"/>
                </a:cubicBezTo>
                <a:close/>
                <a:moveTo>
                  <a:pt x="863" y="266"/>
                </a:moveTo>
                <a:cubicBezTo>
                  <a:pt x="863" y="266"/>
                  <a:pt x="863" y="266"/>
                  <a:pt x="863" y="266"/>
                </a:cubicBezTo>
                <a:cubicBezTo>
                  <a:pt x="864" y="266"/>
                  <a:pt x="863" y="266"/>
                  <a:pt x="864" y="266"/>
                </a:cubicBezTo>
                <a:cubicBezTo>
                  <a:pt x="864" y="266"/>
                  <a:pt x="864" y="266"/>
                  <a:pt x="864" y="266"/>
                </a:cubicBezTo>
                <a:cubicBezTo>
                  <a:pt x="863" y="266"/>
                  <a:pt x="863" y="266"/>
                  <a:pt x="863" y="266"/>
                </a:cubicBezTo>
                <a:cubicBezTo>
                  <a:pt x="864" y="266"/>
                  <a:pt x="863" y="266"/>
                  <a:pt x="863" y="266"/>
                </a:cubicBezTo>
                <a:close/>
                <a:moveTo>
                  <a:pt x="862" y="266"/>
                </a:moveTo>
                <a:cubicBezTo>
                  <a:pt x="862" y="266"/>
                  <a:pt x="862" y="266"/>
                  <a:pt x="862" y="267"/>
                </a:cubicBezTo>
                <a:cubicBezTo>
                  <a:pt x="862" y="267"/>
                  <a:pt x="863" y="266"/>
                  <a:pt x="862" y="266"/>
                </a:cubicBezTo>
                <a:close/>
                <a:moveTo>
                  <a:pt x="862" y="266"/>
                </a:moveTo>
                <a:cubicBezTo>
                  <a:pt x="862" y="265"/>
                  <a:pt x="862" y="265"/>
                  <a:pt x="862" y="264"/>
                </a:cubicBezTo>
                <a:cubicBezTo>
                  <a:pt x="862" y="264"/>
                  <a:pt x="861" y="265"/>
                  <a:pt x="862" y="266"/>
                </a:cubicBezTo>
                <a:close/>
                <a:moveTo>
                  <a:pt x="861" y="268"/>
                </a:moveTo>
                <a:cubicBezTo>
                  <a:pt x="861" y="269"/>
                  <a:pt x="861" y="269"/>
                  <a:pt x="861" y="269"/>
                </a:cubicBezTo>
                <a:cubicBezTo>
                  <a:pt x="861" y="269"/>
                  <a:pt x="861" y="269"/>
                  <a:pt x="861" y="268"/>
                </a:cubicBezTo>
                <a:close/>
                <a:moveTo>
                  <a:pt x="849" y="269"/>
                </a:moveTo>
                <a:cubicBezTo>
                  <a:pt x="849" y="269"/>
                  <a:pt x="849" y="269"/>
                  <a:pt x="849" y="269"/>
                </a:cubicBezTo>
                <a:cubicBezTo>
                  <a:pt x="848" y="269"/>
                  <a:pt x="849" y="269"/>
                  <a:pt x="849" y="269"/>
                </a:cubicBezTo>
                <a:close/>
                <a:moveTo>
                  <a:pt x="848" y="270"/>
                </a:moveTo>
                <a:cubicBezTo>
                  <a:pt x="848" y="270"/>
                  <a:pt x="848" y="270"/>
                  <a:pt x="848" y="270"/>
                </a:cubicBezTo>
                <a:cubicBezTo>
                  <a:pt x="848" y="269"/>
                  <a:pt x="848" y="270"/>
                  <a:pt x="848" y="269"/>
                </a:cubicBezTo>
                <a:cubicBezTo>
                  <a:pt x="847" y="269"/>
                  <a:pt x="847" y="270"/>
                  <a:pt x="848" y="270"/>
                </a:cubicBezTo>
                <a:close/>
                <a:moveTo>
                  <a:pt x="853" y="248"/>
                </a:moveTo>
                <a:cubicBezTo>
                  <a:pt x="853" y="248"/>
                  <a:pt x="854" y="248"/>
                  <a:pt x="853" y="248"/>
                </a:cubicBezTo>
                <a:cubicBezTo>
                  <a:pt x="854" y="249"/>
                  <a:pt x="854" y="248"/>
                  <a:pt x="854" y="248"/>
                </a:cubicBezTo>
                <a:cubicBezTo>
                  <a:pt x="853" y="247"/>
                  <a:pt x="854" y="248"/>
                  <a:pt x="853" y="248"/>
                </a:cubicBezTo>
                <a:close/>
                <a:moveTo>
                  <a:pt x="844" y="256"/>
                </a:moveTo>
                <a:cubicBezTo>
                  <a:pt x="844" y="256"/>
                  <a:pt x="845" y="256"/>
                  <a:pt x="845" y="256"/>
                </a:cubicBezTo>
                <a:cubicBezTo>
                  <a:pt x="844" y="256"/>
                  <a:pt x="844" y="256"/>
                  <a:pt x="844" y="256"/>
                </a:cubicBezTo>
                <a:close/>
                <a:moveTo>
                  <a:pt x="845" y="275"/>
                </a:moveTo>
                <a:cubicBezTo>
                  <a:pt x="844" y="275"/>
                  <a:pt x="844" y="276"/>
                  <a:pt x="844" y="276"/>
                </a:cubicBezTo>
                <a:cubicBezTo>
                  <a:pt x="844" y="276"/>
                  <a:pt x="844" y="275"/>
                  <a:pt x="845" y="275"/>
                </a:cubicBezTo>
                <a:close/>
                <a:moveTo>
                  <a:pt x="847" y="269"/>
                </a:moveTo>
                <a:cubicBezTo>
                  <a:pt x="847" y="269"/>
                  <a:pt x="847" y="269"/>
                  <a:pt x="847" y="269"/>
                </a:cubicBezTo>
                <a:cubicBezTo>
                  <a:pt x="846" y="269"/>
                  <a:pt x="847" y="268"/>
                  <a:pt x="846" y="268"/>
                </a:cubicBezTo>
                <a:cubicBezTo>
                  <a:pt x="845" y="269"/>
                  <a:pt x="847" y="269"/>
                  <a:pt x="847" y="269"/>
                </a:cubicBezTo>
                <a:close/>
                <a:moveTo>
                  <a:pt x="844" y="270"/>
                </a:moveTo>
                <a:cubicBezTo>
                  <a:pt x="844" y="271"/>
                  <a:pt x="845" y="272"/>
                  <a:pt x="844" y="272"/>
                </a:cubicBezTo>
                <a:cubicBezTo>
                  <a:pt x="845" y="272"/>
                  <a:pt x="845" y="272"/>
                  <a:pt x="845" y="271"/>
                </a:cubicBezTo>
                <a:cubicBezTo>
                  <a:pt x="846" y="272"/>
                  <a:pt x="845" y="271"/>
                  <a:pt x="846" y="271"/>
                </a:cubicBezTo>
                <a:cubicBezTo>
                  <a:pt x="845" y="270"/>
                  <a:pt x="846" y="270"/>
                  <a:pt x="846" y="269"/>
                </a:cubicBezTo>
                <a:cubicBezTo>
                  <a:pt x="846" y="269"/>
                  <a:pt x="846" y="269"/>
                  <a:pt x="846" y="269"/>
                </a:cubicBezTo>
                <a:cubicBezTo>
                  <a:pt x="846" y="269"/>
                  <a:pt x="846" y="269"/>
                  <a:pt x="846" y="270"/>
                </a:cubicBezTo>
                <a:cubicBezTo>
                  <a:pt x="845" y="270"/>
                  <a:pt x="845" y="269"/>
                  <a:pt x="846" y="269"/>
                </a:cubicBezTo>
                <a:cubicBezTo>
                  <a:pt x="845" y="269"/>
                  <a:pt x="845" y="270"/>
                  <a:pt x="845" y="270"/>
                </a:cubicBezTo>
                <a:cubicBezTo>
                  <a:pt x="844" y="270"/>
                  <a:pt x="845" y="271"/>
                  <a:pt x="844" y="270"/>
                </a:cubicBezTo>
                <a:close/>
                <a:moveTo>
                  <a:pt x="842" y="266"/>
                </a:moveTo>
                <a:cubicBezTo>
                  <a:pt x="842" y="267"/>
                  <a:pt x="843" y="266"/>
                  <a:pt x="842" y="266"/>
                </a:cubicBezTo>
                <a:cubicBezTo>
                  <a:pt x="842" y="266"/>
                  <a:pt x="842" y="266"/>
                  <a:pt x="842" y="266"/>
                </a:cubicBezTo>
                <a:close/>
                <a:moveTo>
                  <a:pt x="842" y="274"/>
                </a:moveTo>
                <a:cubicBezTo>
                  <a:pt x="842" y="274"/>
                  <a:pt x="842" y="274"/>
                  <a:pt x="842" y="275"/>
                </a:cubicBezTo>
                <a:cubicBezTo>
                  <a:pt x="843" y="275"/>
                  <a:pt x="842" y="274"/>
                  <a:pt x="842" y="273"/>
                </a:cubicBezTo>
                <a:cubicBezTo>
                  <a:pt x="842" y="273"/>
                  <a:pt x="843" y="273"/>
                  <a:pt x="843" y="273"/>
                </a:cubicBezTo>
                <a:cubicBezTo>
                  <a:pt x="843" y="273"/>
                  <a:pt x="843" y="273"/>
                  <a:pt x="843" y="273"/>
                </a:cubicBezTo>
                <a:cubicBezTo>
                  <a:pt x="843" y="274"/>
                  <a:pt x="842" y="274"/>
                  <a:pt x="843" y="275"/>
                </a:cubicBezTo>
                <a:cubicBezTo>
                  <a:pt x="843" y="275"/>
                  <a:pt x="843" y="274"/>
                  <a:pt x="843" y="274"/>
                </a:cubicBezTo>
                <a:cubicBezTo>
                  <a:pt x="844" y="274"/>
                  <a:pt x="844" y="274"/>
                  <a:pt x="844" y="274"/>
                </a:cubicBezTo>
                <a:cubicBezTo>
                  <a:pt x="844" y="273"/>
                  <a:pt x="845" y="273"/>
                  <a:pt x="844" y="272"/>
                </a:cubicBezTo>
                <a:cubicBezTo>
                  <a:pt x="844" y="272"/>
                  <a:pt x="844" y="272"/>
                  <a:pt x="844" y="272"/>
                </a:cubicBezTo>
                <a:cubicBezTo>
                  <a:pt x="845" y="272"/>
                  <a:pt x="844" y="271"/>
                  <a:pt x="843" y="271"/>
                </a:cubicBezTo>
                <a:cubicBezTo>
                  <a:pt x="844" y="272"/>
                  <a:pt x="843" y="272"/>
                  <a:pt x="843" y="272"/>
                </a:cubicBezTo>
                <a:cubicBezTo>
                  <a:pt x="843" y="272"/>
                  <a:pt x="842" y="272"/>
                  <a:pt x="842" y="273"/>
                </a:cubicBezTo>
                <a:cubicBezTo>
                  <a:pt x="842" y="273"/>
                  <a:pt x="842" y="273"/>
                  <a:pt x="842" y="273"/>
                </a:cubicBezTo>
                <a:cubicBezTo>
                  <a:pt x="842" y="274"/>
                  <a:pt x="842" y="274"/>
                  <a:pt x="842" y="274"/>
                </a:cubicBezTo>
                <a:close/>
                <a:moveTo>
                  <a:pt x="841" y="276"/>
                </a:moveTo>
                <a:cubicBezTo>
                  <a:pt x="841" y="276"/>
                  <a:pt x="841" y="276"/>
                  <a:pt x="841" y="276"/>
                </a:cubicBezTo>
                <a:cubicBezTo>
                  <a:pt x="842" y="276"/>
                  <a:pt x="842" y="276"/>
                  <a:pt x="842" y="275"/>
                </a:cubicBezTo>
                <a:cubicBezTo>
                  <a:pt x="842" y="275"/>
                  <a:pt x="842" y="275"/>
                  <a:pt x="842" y="275"/>
                </a:cubicBezTo>
                <a:cubicBezTo>
                  <a:pt x="842" y="275"/>
                  <a:pt x="842" y="276"/>
                  <a:pt x="841" y="276"/>
                </a:cubicBezTo>
                <a:close/>
                <a:moveTo>
                  <a:pt x="840" y="277"/>
                </a:moveTo>
                <a:cubicBezTo>
                  <a:pt x="840" y="277"/>
                  <a:pt x="841" y="277"/>
                  <a:pt x="841" y="276"/>
                </a:cubicBezTo>
                <a:cubicBezTo>
                  <a:pt x="840" y="276"/>
                  <a:pt x="840" y="277"/>
                  <a:pt x="840" y="277"/>
                </a:cubicBezTo>
                <a:close/>
                <a:moveTo>
                  <a:pt x="839" y="277"/>
                </a:moveTo>
                <a:cubicBezTo>
                  <a:pt x="839" y="277"/>
                  <a:pt x="839" y="277"/>
                  <a:pt x="840" y="278"/>
                </a:cubicBezTo>
                <a:cubicBezTo>
                  <a:pt x="840" y="278"/>
                  <a:pt x="840" y="278"/>
                  <a:pt x="839" y="278"/>
                </a:cubicBezTo>
                <a:cubicBezTo>
                  <a:pt x="839" y="279"/>
                  <a:pt x="840" y="279"/>
                  <a:pt x="840" y="279"/>
                </a:cubicBezTo>
                <a:cubicBezTo>
                  <a:pt x="840" y="278"/>
                  <a:pt x="840" y="278"/>
                  <a:pt x="840" y="278"/>
                </a:cubicBezTo>
                <a:cubicBezTo>
                  <a:pt x="841" y="277"/>
                  <a:pt x="841" y="277"/>
                  <a:pt x="841" y="277"/>
                </a:cubicBezTo>
                <a:cubicBezTo>
                  <a:pt x="841" y="277"/>
                  <a:pt x="841" y="277"/>
                  <a:pt x="841" y="277"/>
                </a:cubicBezTo>
                <a:cubicBezTo>
                  <a:pt x="840" y="277"/>
                  <a:pt x="840" y="278"/>
                  <a:pt x="840" y="277"/>
                </a:cubicBezTo>
                <a:cubicBezTo>
                  <a:pt x="840" y="277"/>
                  <a:pt x="840" y="277"/>
                  <a:pt x="840" y="276"/>
                </a:cubicBezTo>
                <a:cubicBezTo>
                  <a:pt x="839" y="277"/>
                  <a:pt x="839" y="277"/>
                  <a:pt x="839" y="277"/>
                </a:cubicBezTo>
                <a:close/>
                <a:moveTo>
                  <a:pt x="839" y="279"/>
                </a:moveTo>
                <a:cubicBezTo>
                  <a:pt x="839" y="280"/>
                  <a:pt x="839" y="279"/>
                  <a:pt x="839" y="279"/>
                </a:cubicBezTo>
                <a:cubicBezTo>
                  <a:pt x="838" y="279"/>
                  <a:pt x="839" y="279"/>
                  <a:pt x="839" y="279"/>
                </a:cubicBezTo>
                <a:close/>
                <a:moveTo>
                  <a:pt x="838" y="285"/>
                </a:moveTo>
                <a:cubicBezTo>
                  <a:pt x="839" y="285"/>
                  <a:pt x="839" y="284"/>
                  <a:pt x="839" y="284"/>
                </a:cubicBezTo>
                <a:cubicBezTo>
                  <a:pt x="838" y="284"/>
                  <a:pt x="839" y="285"/>
                  <a:pt x="838" y="285"/>
                </a:cubicBezTo>
                <a:close/>
                <a:moveTo>
                  <a:pt x="837" y="282"/>
                </a:moveTo>
                <a:cubicBezTo>
                  <a:pt x="837" y="281"/>
                  <a:pt x="838" y="281"/>
                  <a:pt x="838" y="281"/>
                </a:cubicBezTo>
                <a:cubicBezTo>
                  <a:pt x="837" y="280"/>
                  <a:pt x="837" y="281"/>
                  <a:pt x="837" y="282"/>
                </a:cubicBezTo>
                <a:close/>
                <a:moveTo>
                  <a:pt x="837" y="282"/>
                </a:moveTo>
                <a:cubicBezTo>
                  <a:pt x="837" y="282"/>
                  <a:pt x="837" y="282"/>
                  <a:pt x="837" y="282"/>
                </a:cubicBezTo>
                <a:cubicBezTo>
                  <a:pt x="836" y="282"/>
                  <a:pt x="836" y="282"/>
                  <a:pt x="837" y="282"/>
                </a:cubicBezTo>
                <a:close/>
                <a:moveTo>
                  <a:pt x="836" y="283"/>
                </a:moveTo>
                <a:cubicBezTo>
                  <a:pt x="836" y="283"/>
                  <a:pt x="836" y="284"/>
                  <a:pt x="836" y="284"/>
                </a:cubicBezTo>
                <a:cubicBezTo>
                  <a:pt x="836" y="284"/>
                  <a:pt x="836" y="284"/>
                  <a:pt x="836" y="284"/>
                </a:cubicBezTo>
                <a:cubicBezTo>
                  <a:pt x="836" y="284"/>
                  <a:pt x="836" y="284"/>
                  <a:pt x="836" y="284"/>
                </a:cubicBezTo>
                <a:cubicBezTo>
                  <a:pt x="837" y="284"/>
                  <a:pt x="836" y="283"/>
                  <a:pt x="836" y="283"/>
                </a:cubicBezTo>
                <a:close/>
                <a:moveTo>
                  <a:pt x="835" y="283"/>
                </a:moveTo>
                <a:cubicBezTo>
                  <a:pt x="836" y="283"/>
                  <a:pt x="836" y="283"/>
                  <a:pt x="836" y="283"/>
                </a:cubicBezTo>
                <a:cubicBezTo>
                  <a:pt x="836" y="283"/>
                  <a:pt x="836" y="283"/>
                  <a:pt x="836" y="283"/>
                </a:cubicBezTo>
                <a:cubicBezTo>
                  <a:pt x="836" y="282"/>
                  <a:pt x="836" y="283"/>
                  <a:pt x="835" y="283"/>
                </a:cubicBezTo>
                <a:close/>
                <a:moveTo>
                  <a:pt x="835" y="289"/>
                </a:moveTo>
                <a:cubicBezTo>
                  <a:pt x="836" y="289"/>
                  <a:pt x="836" y="288"/>
                  <a:pt x="836" y="288"/>
                </a:cubicBezTo>
                <a:cubicBezTo>
                  <a:pt x="836" y="288"/>
                  <a:pt x="836" y="288"/>
                  <a:pt x="835" y="289"/>
                </a:cubicBezTo>
                <a:close/>
                <a:moveTo>
                  <a:pt x="835" y="264"/>
                </a:moveTo>
                <a:cubicBezTo>
                  <a:pt x="835" y="264"/>
                  <a:pt x="836" y="263"/>
                  <a:pt x="835" y="263"/>
                </a:cubicBezTo>
                <a:cubicBezTo>
                  <a:pt x="835" y="263"/>
                  <a:pt x="834" y="263"/>
                  <a:pt x="835" y="264"/>
                </a:cubicBezTo>
                <a:close/>
                <a:moveTo>
                  <a:pt x="833" y="266"/>
                </a:moveTo>
                <a:cubicBezTo>
                  <a:pt x="834" y="266"/>
                  <a:pt x="834" y="265"/>
                  <a:pt x="834" y="265"/>
                </a:cubicBezTo>
                <a:cubicBezTo>
                  <a:pt x="834" y="265"/>
                  <a:pt x="833" y="265"/>
                  <a:pt x="833" y="266"/>
                </a:cubicBezTo>
                <a:close/>
                <a:moveTo>
                  <a:pt x="833" y="292"/>
                </a:moveTo>
                <a:cubicBezTo>
                  <a:pt x="833" y="292"/>
                  <a:pt x="833" y="292"/>
                  <a:pt x="834" y="292"/>
                </a:cubicBezTo>
                <a:cubicBezTo>
                  <a:pt x="834" y="292"/>
                  <a:pt x="834" y="292"/>
                  <a:pt x="834" y="291"/>
                </a:cubicBezTo>
                <a:cubicBezTo>
                  <a:pt x="834" y="292"/>
                  <a:pt x="833" y="292"/>
                  <a:pt x="833" y="292"/>
                </a:cubicBezTo>
                <a:close/>
                <a:moveTo>
                  <a:pt x="832" y="288"/>
                </a:moveTo>
                <a:cubicBezTo>
                  <a:pt x="832" y="288"/>
                  <a:pt x="832" y="288"/>
                  <a:pt x="832" y="288"/>
                </a:cubicBezTo>
                <a:cubicBezTo>
                  <a:pt x="831" y="288"/>
                  <a:pt x="831" y="288"/>
                  <a:pt x="832" y="288"/>
                </a:cubicBezTo>
                <a:close/>
                <a:moveTo>
                  <a:pt x="830" y="269"/>
                </a:moveTo>
                <a:cubicBezTo>
                  <a:pt x="831" y="268"/>
                  <a:pt x="831" y="268"/>
                  <a:pt x="831" y="268"/>
                </a:cubicBezTo>
                <a:cubicBezTo>
                  <a:pt x="831" y="268"/>
                  <a:pt x="830" y="268"/>
                  <a:pt x="830" y="269"/>
                </a:cubicBezTo>
                <a:close/>
                <a:moveTo>
                  <a:pt x="830" y="298"/>
                </a:moveTo>
                <a:cubicBezTo>
                  <a:pt x="830" y="298"/>
                  <a:pt x="831" y="298"/>
                  <a:pt x="830" y="297"/>
                </a:cubicBezTo>
                <a:cubicBezTo>
                  <a:pt x="830" y="297"/>
                  <a:pt x="830" y="298"/>
                  <a:pt x="830" y="298"/>
                </a:cubicBezTo>
                <a:close/>
                <a:moveTo>
                  <a:pt x="829" y="271"/>
                </a:moveTo>
                <a:cubicBezTo>
                  <a:pt x="830" y="271"/>
                  <a:pt x="830" y="270"/>
                  <a:pt x="830" y="270"/>
                </a:cubicBezTo>
                <a:cubicBezTo>
                  <a:pt x="829" y="270"/>
                  <a:pt x="829" y="271"/>
                  <a:pt x="829" y="271"/>
                </a:cubicBezTo>
                <a:close/>
                <a:moveTo>
                  <a:pt x="826" y="275"/>
                </a:moveTo>
                <a:cubicBezTo>
                  <a:pt x="827" y="275"/>
                  <a:pt x="826" y="275"/>
                  <a:pt x="827" y="274"/>
                </a:cubicBezTo>
                <a:cubicBezTo>
                  <a:pt x="827" y="274"/>
                  <a:pt x="826" y="274"/>
                  <a:pt x="826" y="275"/>
                </a:cubicBezTo>
                <a:close/>
                <a:moveTo>
                  <a:pt x="825" y="297"/>
                </a:moveTo>
                <a:cubicBezTo>
                  <a:pt x="826" y="297"/>
                  <a:pt x="825" y="297"/>
                  <a:pt x="826" y="298"/>
                </a:cubicBezTo>
                <a:cubicBezTo>
                  <a:pt x="826" y="298"/>
                  <a:pt x="826" y="297"/>
                  <a:pt x="826" y="297"/>
                </a:cubicBezTo>
                <a:cubicBezTo>
                  <a:pt x="826" y="297"/>
                  <a:pt x="826" y="297"/>
                  <a:pt x="826" y="297"/>
                </a:cubicBezTo>
                <a:lnTo>
                  <a:pt x="825" y="297"/>
                </a:lnTo>
                <a:close/>
                <a:moveTo>
                  <a:pt x="824" y="310"/>
                </a:moveTo>
                <a:cubicBezTo>
                  <a:pt x="823" y="310"/>
                  <a:pt x="824" y="311"/>
                  <a:pt x="824" y="311"/>
                </a:cubicBezTo>
                <a:cubicBezTo>
                  <a:pt x="824" y="310"/>
                  <a:pt x="824" y="310"/>
                  <a:pt x="824" y="310"/>
                </a:cubicBezTo>
                <a:close/>
                <a:moveTo>
                  <a:pt x="823" y="278"/>
                </a:moveTo>
                <a:cubicBezTo>
                  <a:pt x="824" y="278"/>
                  <a:pt x="824" y="277"/>
                  <a:pt x="824" y="277"/>
                </a:cubicBezTo>
                <a:cubicBezTo>
                  <a:pt x="824" y="277"/>
                  <a:pt x="823" y="278"/>
                  <a:pt x="823" y="278"/>
                </a:cubicBezTo>
                <a:close/>
                <a:moveTo>
                  <a:pt x="823" y="268"/>
                </a:moveTo>
                <a:cubicBezTo>
                  <a:pt x="823" y="268"/>
                  <a:pt x="824" y="267"/>
                  <a:pt x="823" y="267"/>
                </a:cubicBezTo>
                <a:cubicBezTo>
                  <a:pt x="823" y="267"/>
                  <a:pt x="822" y="267"/>
                  <a:pt x="823" y="268"/>
                </a:cubicBezTo>
                <a:close/>
                <a:moveTo>
                  <a:pt x="819" y="280"/>
                </a:moveTo>
                <a:cubicBezTo>
                  <a:pt x="819" y="279"/>
                  <a:pt x="819" y="279"/>
                  <a:pt x="819" y="279"/>
                </a:cubicBezTo>
                <a:cubicBezTo>
                  <a:pt x="818" y="279"/>
                  <a:pt x="819" y="279"/>
                  <a:pt x="819" y="280"/>
                </a:cubicBezTo>
                <a:close/>
                <a:moveTo>
                  <a:pt x="818" y="275"/>
                </a:moveTo>
                <a:cubicBezTo>
                  <a:pt x="818" y="275"/>
                  <a:pt x="818" y="274"/>
                  <a:pt x="818" y="274"/>
                </a:cubicBezTo>
                <a:cubicBezTo>
                  <a:pt x="817" y="274"/>
                  <a:pt x="817" y="274"/>
                  <a:pt x="818" y="275"/>
                </a:cubicBezTo>
                <a:close/>
                <a:moveTo>
                  <a:pt x="816" y="282"/>
                </a:moveTo>
                <a:cubicBezTo>
                  <a:pt x="817" y="282"/>
                  <a:pt x="817" y="282"/>
                  <a:pt x="817" y="282"/>
                </a:cubicBezTo>
                <a:cubicBezTo>
                  <a:pt x="816" y="282"/>
                  <a:pt x="816" y="282"/>
                  <a:pt x="816" y="282"/>
                </a:cubicBezTo>
                <a:close/>
                <a:moveTo>
                  <a:pt x="814" y="284"/>
                </a:moveTo>
                <a:cubicBezTo>
                  <a:pt x="814" y="285"/>
                  <a:pt x="814" y="285"/>
                  <a:pt x="815" y="286"/>
                </a:cubicBezTo>
                <a:cubicBezTo>
                  <a:pt x="815" y="286"/>
                  <a:pt x="815" y="286"/>
                  <a:pt x="815" y="286"/>
                </a:cubicBezTo>
                <a:cubicBezTo>
                  <a:pt x="815" y="285"/>
                  <a:pt x="815" y="285"/>
                  <a:pt x="815" y="285"/>
                </a:cubicBezTo>
                <a:cubicBezTo>
                  <a:pt x="815" y="285"/>
                  <a:pt x="815" y="285"/>
                  <a:pt x="815" y="285"/>
                </a:cubicBezTo>
                <a:cubicBezTo>
                  <a:pt x="816" y="285"/>
                  <a:pt x="816" y="284"/>
                  <a:pt x="815" y="284"/>
                </a:cubicBezTo>
                <a:cubicBezTo>
                  <a:pt x="815" y="284"/>
                  <a:pt x="815" y="284"/>
                  <a:pt x="814" y="284"/>
                </a:cubicBezTo>
                <a:close/>
                <a:moveTo>
                  <a:pt x="813" y="287"/>
                </a:moveTo>
                <a:cubicBezTo>
                  <a:pt x="814" y="287"/>
                  <a:pt x="813" y="287"/>
                  <a:pt x="814" y="288"/>
                </a:cubicBezTo>
                <a:cubicBezTo>
                  <a:pt x="814" y="288"/>
                  <a:pt x="814" y="287"/>
                  <a:pt x="814" y="287"/>
                </a:cubicBezTo>
                <a:cubicBezTo>
                  <a:pt x="814" y="287"/>
                  <a:pt x="814" y="287"/>
                  <a:pt x="814" y="287"/>
                </a:cubicBezTo>
                <a:cubicBezTo>
                  <a:pt x="814" y="287"/>
                  <a:pt x="814" y="287"/>
                  <a:pt x="815" y="287"/>
                </a:cubicBezTo>
                <a:cubicBezTo>
                  <a:pt x="814" y="286"/>
                  <a:pt x="814" y="286"/>
                  <a:pt x="814" y="286"/>
                </a:cubicBezTo>
                <a:cubicBezTo>
                  <a:pt x="814" y="286"/>
                  <a:pt x="813" y="286"/>
                  <a:pt x="813" y="287"/>
                </a:cubicBezTo>
                <a:close/>
                <a:moveTo>
                  <a:pt x="812" y="290"/>
                </a:moveTo>
                <a:cubicBezTo>
                  <a:pt x="812" y="290"/>
                  <a:pt x="812" y="290"/>
                  <a:pt x="812" y="289"/>
                </a:cubicBezTo>
                <a:cubicBezTo>
                  <a:pt x="812" y="289"/>
                  <a:pt x="812" y="289"/>
                  <a:pt x="812" y="290"/>
                </a:cubicBezTo>
                <a:close/>
                <a:moveTo>
                  <a:pt x="809" y="293"/>
                </a:moveTo>
                <a:cubicBezTo>
                  <a:pt x="810" y="293"/>
                  <a:pt x="810" y="293"/>
                  <a:pt x="810" y="292"/>
                </a:cubicBezTo>
                <a:cubicBezTo>
                  <a:pt x="809" y="292"/>
                  <a:pt x="809" y="293"/>
                  <a:pt x="809" y="293"/>
                </a:cubicBezTo>
                <a:close/>
                <a:moveTo>
                  <a:pt x="806" y="300"/>
                </a:moveTo>
                <a:cubicBezTo>
                  <a:pt x="806" y="300"/>
                  <a:pt x="806" y="300"/>
                  <a:pt x="806" y="300"/>
                </a:cubicBezTo>
                <a:cubicBezTo>
                  <a:pt x="806" y="299"/>
                  <a:pt x="805" y="299"/>
                  <a:pt x="806" y="300"/>
                </a:cubicBezTo>
                <a:close/>
                <a:moveTo>
                  <a:pt x="50" y="202"/>
                </a:moveTo>
                <a:cubicBezTo>
                  <a:pt x="50" y="202"/>
                  <a:pt x="50" y="201"/>
                  <a:pt x="50" y="202"/>
                </a:cubicBezTo>
                <a:cubicBezTo>
                  <a:pt x="50" y="202"/>
                  <a:pt x="49" y="204"/>
                  <a:pt x="49" y="203"/>
                </a:cubicBezTo>
                <a:cubicBezTo>
                  <a:pt x="49" y="204"/>
                  <a:pt x="48" y="204"/>
                  <a:pt x="48" y="205"/>
                </a:cubicBezTo>
                <a:cubicBezTo>
                  <a:pt x="50" y="203"/>
                  <a:pt x="49" y="203"/>
                  <a:pt x="50" y="202"/>
                </a:cubicBezTo>
                <a:close/>
                <a:moveTo>
                  <a:pt x="66" y="184"/>
                </a:moveTo>
                <a:cubicBezTo>
                  <a:pt x="65" y="183"/>
                  <a:pt x="64" y="186"/>
                  <a:pt x="63" y="187"/>
                </a:cubicBezTo>
                <a:cubicBezTo>
                  <a:pt x="64" y="186"/>
                  <a:pt x="65" y="185"/>
                  <a:pt x="66" y="184"/>
                </a:cubicBezTo>
                <a:close/>
                <a:moveTo>
                  <a:pt x="70" y="180"/>
                </a:moveTo>
                <a:cubicBezTo>
                  <a:pt x="70" y="180"/>
                  <a:pt x="68" y="181"/>
                  <a:pt x="67" y="182"/>
                </a:cubicBezTo>
                <a:cubicBezTo>
                  <a:pt x="67" y="182"/>
                  <a:pt x="69" y="181"/>
                  <a:pt x="70" y="180"/>
                </a:cubicBezTo>
                <a:close/>
                <a:moveTo>
                  <a:pt x="86" y="162"/>
                </a:moveTo>
                <a:cubicBezTo>
                  <a:pt x="85" y="163"/>
                  <a:pt x="85" y="164"/>
                  <a:pt x="84" y="165"/>
                </a:cubicBezTo>
                <a:cubicBezTo>
                  <a:pt x="85" y="165"/>
                  <a:pt x="86" y="163"/>
                  <a:pt x="86" y="162"/>
                </a:cubicBezTo>
                <a:close/>
                <a:moveTo>
                  <a:pt x="89" y="157"/>
                </a:moveTo>
                <a:cubicBezTo>
                  <a:pt x="87" y="157"/>
                  <a:pt x="87" y="160"/>
                  <a:pt x="85" y="161"/>
                </a:cubicBezTo>
                <a:cubicBezTo>
                  <a:pt x="87" y="161"/>
                  <a:pt x="87" y="160"/>
                  <a:pt x="88" y="160"/>
                </a:cubicBezTo>
                <a:cubicBezTo>
                  <a:pt x="88" y="159"/>
                  <a:pt x="88" y="159"/>
                  <a:pt x="89" y="157"/>
                </a:cubicBezTo>
                <a:close/>
                <a:moveTo>
                  <a:pt x="89" y="158"/>
                </a:moveTo>
                <a:cubicBezTo>
                  <a:pt x="90" y="157"/>
                  <a:pt x="91" y="156"/>
                  <a:pt x="91" y="156"/>
                </a:cubicBezTo>
                <a:cubicBezTo>
                  <a:pt x="90" y="156"/>
                  <a:pt x="90" y="156"/>
                  <a:pt x="89" y="156"/>
                </a:cubicBezTo>
                <a:cubicBezTo>
                  <a:pt x="89" y="157"/>
                  <a:pt x="90" y="157"/>
                  <a:pt x="89" y="158"/>
                </a:cubicBezTo>
                <a:close/>
                <a:moveTo>
                  <a:pt x="93" y="155"/>
                </a:moveTo>
                <a:cubicBezTo>
                  <a:pt x="93" y="156"/>
                  <a:pt x="92" y="156"/>
                  <a:pt x="93" y="155"/>
                </a:cubicBezTo>
                <a:cubicBezTo>
                  <a:pt x="91" y="156"/>
                  <a:pt x="91" y="157"/>
                  <a:pt x="90" y="158"/>
                </a:cubicBezTo>
                <a:cubicBezTo>
                  <a:pt x="90" y="159"/>
                  <a:pt x="91" y="156"/>
                  <a:pt x="92" y="156"/>
                </a:cubicBezTo>
                <a:cubicBezTo>
                  <a:pt x="93" y="156"/>
                  <a:pt x="91" y="158"/>
                  <a:pt x="91" y="158"/>
                </a:cubicBezTo>
                <a:cubicBezTo>
                  <a:pt x="92" y="157"/>
                  <a:pt x="93" y="156"/>
                  <a:pt x="93" y="155"/>
                </a:cubicBezTo>
                <a:close/>
                <a:moveTo>
                  <a:pt x="94" y="153"/>
                </a:moveTo>
                <a:cubicBezTo>
                  <a:pt x="94" y="153"/>
                  <a:pt x="92" y="154"/>
                  <a:pt x="91" y="155"/>
                </a:cubicBezTo>
                <a:cubicBezTo>
                  <a:pt x="92" y="155"/>
                  <a:pt x="93" y="154"/>
                  <a:pt x="94" y="153"/>
                </a:cubicBezTo>
                <a:close/>
                <a:moveTo>
                  <a:pt x="104" y="144"/>
                </a:moveTo>
                <a:cubicBezTo>
                  <a:pt x="103" y="144"/>
                  <a:pt x="100" y="147"/>
                  <a:pt x="99" y="149"/>
                </a:cubicBezTo>
                <a:cubicBezTo>
                  <a:pt x="100" y="149"/>
                  <a:pt x="101" y="148"/>
                  <a:pt x="102" y="147"/>
                </a:cubicBezTo>
                <a:cubicBezTo>
                  <a:pt x="102" y="146"/>
                  <a:pt x="101" y="148"/>
                  <a:pt x="101" y="148"/>
                </a:cubicBezTo>
                <a:cubicBezTo>
                  <a:pt x="102" y="146"/>
                  <a:pt x="102" y="146"/>
                  <a:pt x="103" y="145"/>
                </a:cubicBezTo>
                <a:cubicBezTo>
                  <a:pt x="103" y="145"/>
                  <a:pt x="103" y="145"/>
                  <a:pt x="104" y="144"/>
                </a:cubicBezTo>
                <a:close/>
                <a:moveTo>
                  <a:pt x="107" y="141"/>
                </a:moveTo>
                <a:cubicBezTo>
                  <a:pt x="107" y="141"/>
                  <a:pt x="106" y="142"/>
                  <a:pt x="105" y="143"/>
                </a:cubicBezTo>
                <a:cubicBezTo>
                  <a:pt x="106" y="142"/>
                  <a:pt x="107" y="142"/>
                  <a:pt x="107" y="142"/>
                </a:cubicBezTo>
                <a:cubicBezTo>
                  <a:pt x="107" y="141"/>
                  <a:pt x="107" y="141"/>
                  <a:pt x="107" y="141"/>
                </a:cubicBezTo>
                <a:close/>
                <a:moveTo>
                  <a:pt x="109" y="136"/>
                </a:moveTo>
                <a:cubicBezTo>
                  <a:pt x="107" y="137"/>
                  <a:pt x="106" y="139"/>
                  <a:pt x="105" y="140"/>
                </a:cubicBezTo>
                <a:cubicBezTo>
                  <a:pt x="106" y="139"/>
                  <a:pt x="108" y="138"/>
                  <a:pt x="109" y="136"/>
                </a:cubicBezTo>
                <a:close/>
                <a:moveTo>
                  <a:pt x="112" y="138"/>
                </a:moveTo>
                <a:cubicBezTo>
                  <a:pt x="111" y="139"/>
                  <a:pt x="110" y="139"/>
                  <a:pt x="109" y="140"/>
                </a:cubicBezTo>
                <a:cubicBezTo>
                  <a:pt x="110" y="140"/>
                  <a:pt x="111" y="140"/>
                  <a:pt x="112" y="138"/>
                </a:cubicBezTo>
                <a:close/>
                <a:moveTo>
                  <a:pt x="117" y="130"/>
                </a:moveTo>
                <a:cubicBezTo>
                  <a:pt x="116" y="131"/>
                  <a:pt x="116" y="132"/>
                  <a:pt x="115" y="132"/>
                </a:cubicBezTo>
                <a:cubicBezTo>
                  <a:pt x="114" y="133"/>
                  <a:pt x="116" y="130"/>
                  <a:pt x="115" y="131"/>
                </a:cubicBezTo>
                <a:cubicBezTo>
                  <a:pt x="115" y="133"/>
                  <a:pt x="113" y="134"/>
                  <a:pt x="113" y="134"/>
                </a:cubicBezTo>
                <a:cubicBezTo>
                  <a:pt x="115" y="133"/>
                  <a:pt x="116" y="132"/>
                  <a:pt x="117" y="130"/>
                </a:cubicBezTo>
                <a:close/>
                <a:moveTo>
                  <a:pt x="118" y="132"/>
                </a:moveTo>
                <a:cubicBezTo>
                  <a:pt x="117" y="132"/>
                  <a:pt x="117" y="133"/>
                  <a:pt x="117" y="134"/>
                </a:cubicBezTo>
                <a:cubicBezTo>
                  <a:pt x="119" y="133"/>
                  <a:pt x="118" y="132"/>
                  <a:pt x="118" y="132"/>
                </a:cubicBezTo>
                <a:close/>
                <a:moveTo>
                  <a:pt x="122" y="126"/>
                </a:moveTo>
                <a:cubicBezTo>
                  <a:pt x="121" y="127"/>
                  <a:pt x="121" y="128"/>
                  <a:pt x="123" y="128"/>
                </a:cubicBezTo>
                <a:cubicBezTo>
                  <a:pt x="123" y="126"/>
                  <a:pt x="123" y="126"/>
                  <a:pt x="122" y="126"/>
                </a:cubicBezTo>
                <a:close/>
                <a:moveTo>
                  <a:pt x="128" y="121"/>
                </a:moveTo>
                <a:cubicBezTo>
                  <a:pt x="127" y="122"/>
                  <a:pt x="127" y="122"/>
                  <a:pt x="126" y="122"/>
                </a:cubicBezTo>
                <a:cubicBezTo>
                  <a:pt x="126" y="124"/>
                  <a:pt x="124" y="124"/>
                  <a:pt x="123" y="126"/>
                </a:cubicBezTo>
                <a:cubicBezTo>
                  <a:pt x="125" y="125"/>
                  <a:pt x="125" y="124"/>
                  <a:pt x="126" y="124"/>
                </a:cubicBezTo>
                <a:cubicBezTo>
                  <a:pt x="126" y="123"/>
                  <a:pt x="127" y="123"/>
                  <a:pt x="128" y="121"/>
                </a:cubicBezTo>
                <a:close/>
                <a:moveTo>
                  <a:pt x="128" y="124"/>
                </a:moveTo>
                <a:cubicBezTo>
                  <a:pt x="127" y="126"/>
                  <a:pt x="127" y="126"/>
                  <a:pt x="127" y="126"/>
                </a:cubicBezTo>
                <a:cubicBezTo>
                  <a:pt x="127" y="126"/>
                  <a:pt x="128" y="126"/>
                  <a:pt x="128" y="125"/>
                </a:cubicBezTo>
                <a:cubicBezTo>
                  <a:pt x="128" y="125"/>
                  <a:pt x="129" y="124"/>
                  <a:pt x="128" y="124"/>
                </a:cubicBezTo>
                <a:close/>
                <a:moveTo>
                  <a:pt x="133" y="118"/>
                </a:moveTo>
                <a:cubicBezTo>
                  <a:pt x="131" y="119"/>
                  <a:pt x="132" y="119"/>
                  <a:pt x="131" y="120"/>
                </a:cubicBezTo>
                <a:cubicBezTo>
                  <a:pt x="132" y="120"/>
                  <a:pt x="132" y="119"/>
                  <a:pt x="133" y="119"/>
                </a:cubicBezTo>
                <a:cubicBezTo>
                  <a:pt x="133" y="118"/>
                  <a:pt x="132" y="119"/>
                  <a:pt x="133" y="118"/>
                </a:cubicBezTo>
                <a:close/>
                <a:moveTo>
                  <a:pt x="134" y="117"/>
                </a:moveTo>
                <a:cubicBezTo>
                  <a:pt x="134" y="116"/>
                  <a:pt x="130" y="120"/>
                  <a:pt x="128" y="121"/>
                </a:cubicBezTo>
                <a:cubicBezTo>
                  <a:pt x="130" y="121"/>
                  <a:pt x="132" y="118"/>
                  <a:pt x="134" y="117"/>
                </a:cubicBezTo>
                <a:close/>
                <a:moveTo>
                  <a:pt x="144" y="109"/>
                </a:moveTo>
                <a:cubicBezTo>
                  <a:pt x="143" y="109"/>
                  <a:pt x="142" y="110"/>
                  <a:pt x="142" y="110"/>
                </a:cubicBezTo>
                <a:cubicBezTo>
                  <a:pt x="141" y="110"/>
                  <a:pt x="142" y="110"/>
                  <a:pt x="142" y="111"/>
                </a:cubicBezTo>
                <a:cubicBezTo>
                  <a:pt x="142" y="110"/>
                  <a:pt x="143" y="109"/>
                  <a:pt x="144" y="109"/>
                </a:cubicBezTo>
                <a:close/>
                <a:moveTo>
                  <a:pt x="158" y="98"/>
                </a:moveTo>
                <a:cubicBezTo>
                  <a:pt x="157" y="98"/>
                  <a:pt x="156" y="100"/>
                  <a:pt x="155" y="100"/>
                </a:cubicBezTo>
                <a:cubicBezTo>
                  <a:pt x="154" y="102"/>
                  <a:pt x="154" y="102"/>
                  <a:pt x="154" y="102"/>
                </a:cubicBezTo>
                <a:cubicBezTo>
                  <a:pt x="155" y="101"/>
                  <a:pt x="156" y="100"/>
                  <a:pt x="158" y="98"/>
                </a:cubicBezTo>
                <a:close/>
                <a:moveTo>
                  <a:pt x="161" y="95"/>
                </a:moveTo>
                <a:cubicBezTo>
                  <a:pt x="160" y="96"/>
                  <a:pt x="160" y="97"/>
                  <a:pt x="159" y="98"/>
                </a:cubicBezTo>
                <a:cubicBezTo>
                  <a:pt x="160" y="97"/>
                  <a:pt x="161" y="96"/>
                  <a:pt x="161" y="95"/>
                </a:cubicBezTo>
                <a:close/>
                <a:moveTo>
                  <a:pt x="166" y="92"/>
                </a:moveTo>
                <a:cubicBezTo>
                  <a:pt x="164" y="93"/>
                  <a:pt x="163" y="94"/>
                  <a:pt x="162" y="95"/>
                </a:cubicBezTo>
                <a:cubicBezTo>
                  <a:pt x="162" y="96"/>
                  <a:pt x="165" y="94"/>
                  <a:pt x="166" y="92"/>
                </a:cubicBezTo>
                <a:close/>
                <a:moveTo>
                  <a:pt x="19" y="260"/>
                </a:moveTo>
                <a:cubicBezTo>
                  <a:pt x="18" y="260"/>
                  <a:pt x="18" y="261"/>
                  <a:pt x="17" y="261"/>
                </a:cubicBezTo>
                <a:cubicBezTo>
                  <a:pt x="17" y="262"/>
                  <a:pt x="17" y="262"/>
                  <a:pt x="17" y="262"/>
                </a:cubicBezTo>
                <a:cubicBezTo>
                  <a:pt x="18" y="262"/>
                  <a:pt x="18" y="261"/>
                  <a:pt x="19" y="260"/>
                </a:cubicBezTo>
                <a:close/>
                <a:moveTo>
                  <a:pt x="21" y="257"/>
                </a:moveTo>
                <a:cubicBezTo>
                  <a:pt x="21" y="256"/>
                  <a:pt x="21" y="255"/>
                  <a:pt x="22" y="255"/>
                </a:cubicBezTo>
                <a:cubicBezTo>
                  <a:pt x="23" y="253"/>
                  <a:pt x="20" y="257"/>
                  <a:pt x="21" y="257"/>
                </a:cubicBezTo>
                <a:close/>
                <a:moveTo>
                  <a:pt x="29" y="246"/>
                </a:moveTo>
                <a:cubicBezTo>
                  <a:pt x="28" y="247"/>
                  <a:pt x="27" y="247"/>
                  <a:pt x="26" y="249"/>
                </a:cubicBezTo>
                <a:cubicBezTo>
                  <a:pt x="27" y="248"/>
                  <a:pt x="27" y="249"/>
                  <a:pt x="28" y="248"/>
                </a:cubicBezTo>
                <a:cubicBezTo>
                  <a:pt x="28" y="247"/>
                  <a:pt x="29" y="247"/>
                  <a:pt x="29" y="246"/>
                </a:cubicBezTo>
                <a:close/>
                <a:moveTo>
                  <a:pt x="36" y="238"/>
                </a:moveTo>
                <a:cubicBezTo>
                  <a:pt x="35" y="239"/>
                  <a:pt x="33" y="242"/>
                  <a:pt x="35" y="242"/>
                </a:cubicBezTo>
                <a:cubicBezTo>
                  <a:pt x="35" y="241"/>
                  <a:pt x="35" y="239"/>
                  <a:pt x="35" y="240"/>
                </a:cubicBezTo>
                <a:cubicBezTo>
                  <a:pt x="36" y="239"/>
                  <a:pt x="36" y="238"/>
                  <a:pt x="36" y="238"/>
                </a:cubicBezTo>
                <a:close/>
                <a:moveTo>
                  <a:pt x="28" y="258"/>
                </a:moveTo>
                <a:cubicBezTo>
                  <a:pt x="28" y="256"/>
                  <a:pt x="27" y="258"/>
                  <a:pt x="26" y="259"/>
                </a:cubicBezTo>
                <a:cubicBezTo>
                  <a:pt x="26" y="260"/>
                  <a:pt x="27" y="258"/>
                  <a:pt x="28" y="258"/>
                </a:cubicBezTo>
                <a:close/>
                <a:moveTo>
                  <a:pt x="29" y="256"/>
                </a:moveTo>
                <a:cubicBezTo>
                  <a:pt x="30" y="255"/>
                  <a:pt x="30" y="255"/>
                  <a:pt x="31" y="254"/>
                </a:cubicBezTo>
                <a:cubicBezTo>
                  <a:pt x="31" y="253"/>
                  <a:pt x="30" y="254"/>
                  <a:pt x="30" y="254"/>
                </a:cubicBezTo>
                <a:cubicBezTo>
                  <a:pt x="29" y="255"/>
                  <a:pt x="29" y="255"/>
                  <a:pt x="29" y="256"/>
                </a:cubicBezTo>
                <a:cubicBezTo>
                  <a:pt x="28" y="256"/>
                  <a:pt x="29" y="256"/>
                  <a:pt x="28" y="257"/>
                </a:cubicBezTo>
                <a:lnTo>
                  <a:pt x="29" y="256"/>
                </a:lnTo>
                <a:close/>
                <a:moveTo>
                  <a:pt x="33" y="253"/>
                </a:moveTo>
                <a:cubicBezTo>
                  <a:pt x="31" y="255"/>
                  <a:pt x="30" y="257"/>
                  <a:pt x="29" y="259"/>
                </a:cubicBezTo>
                <a:cubicBezTo>
                  <a:pt x="30" y="258"/>
                  <a:pt x="32" y="255"/>
                  <a:pt x="33" y="253"/>
                </a:cubicBezTo>
                <a:close/>
                <a:moveTo>
                  <a:pt x="33" y="251"/>
                </a:moveTo>
                <a:cubicBezTo>
                  <a:pt x="32" y="252"/>
                  <a:pt x="32" y="253"/>
                  <a:pt x="31" y="254"/>
                </a:cubicBezTo>
                <a:cubicBezTo>
                  <a:pt x="32" y="253"/>
                  <a:pt x="33" y="252"/>
                  <a:pt x="33" y="251"/>
                </a:cubicBezTo>
                <a:close/>
                <a:moveTo>
                  <a:pt x="39" y="242"/>
                </a:moveTo>
                <a:cubicBezTo>
                  <a:pt x="38" y="243"/>
                  <a:pt x="38" y="243"/>
                  <a:pt x="37" y="244"/>
                </a:cubicBezTo>
                <a:cubicBezTo>
                  <a:pt x="38" y="243"/>
                  <a:pt x="38" y="243"/>
                  <a:pt x="38" y="243"/>
                </a:cubicBezTo>
                <a:lnTo>
                  <a:pt x="39" y="242"/>
                </a:lnTo>
                <a:close/>
                <a:moveTo>
                  <a:pt x="62" y="199"/>
                </a:moveTo>
                <a:cubicBezTo>
                  <a:pt x="63" y="197"/>
                  <a:pt x="61" y="198"/>
                  <a:pt x="61" y="199"/>
                </a:cubicBezTo>
                <a:cubicBezTo>
                  <a:pt x="61" y="199"/>
                  <a:pt x="61" y="199"/>
                  <a:pt x="62" y="199"/>
                </a:cubicBezTo>
                <a:close/>
                <a:moveTo>
                  <a:pt x="53" y="206"/>
                </a:moveTo>
                <a:cubicBezTo>
                  <a:pt x="54" y="205"/>
                  <a:pt x="53" y="206"/>
                  <a:pt x="53" y="206"/>
                </a:cubicBezTo>
                <a:cubicBezTo>
                  <a:pt x="52" y="207"/>
                  <a:pt x="53" y="208"/>
                  <a:pt x="53" y="206"/>
                </a:cubicBezTo>
                <a:close/>
                <a:moveTo>
                  <a:pt x="41" y="231"/>
                </a:moveTo>
                <a:cubicBezTo>
                  <a:pt x="40" y="232"/>
                  <a:pt x="41" y="233"/>
                  <a:pt x="40" y="233"/>
                </a:cubicBezTo>
                <a:cubicBezTo>
                  <a:pt x="40" y="233"/>
                  <a:pt x="40" y="233"/>
                  <a:pt x="41" y="233"/>
                </a:cubicBezTo>
                <a:lnTo>
                  <a:pt x="41" y="231"/>
                </a:lnTo>
                <a:close/>
                <a:moveTo>
                  <a:pt x="44" y="227"/>
                </a:moveTo>
                <a:cubicBezTo>
                  <a:pt x="44" y="226"/>
                  <a:pt x="41" y="231"/>
                  <a:pt x="42" y="228"/>
                </a:cubicBezTo>
                <a:cubicBezTo>
                  <a:pt x="42" y="228"/>
                  <a:pt x="41" y="229"/>
                  <a:pt x="41" y="230"/>
                </a:cubicBezTo>
                <a:cubicBezTo>
                  <a:pt x="41" y="230"/>
                  <a:pt x="42" y="230"/>
                  <a:pt x="41" y="231"/>
                </a:cubicBezTo>
                <a:cubicBezTo>
                  <a:pt x="41" y="231"/>
                  <a:pt x="41" y="231"/>
                  <a:pt x="41" y="231"/>
                </a:cubicBezTo>
                <a:cubicBezTo>
                  <a:pt x="42" y="231"/>
                  <a:pt x="43" y="228"/>
                  <a:pt x="44" y="227"/>
                </a:cubicBezTo>
                <a:close/>
                <a:moveTo>
                  <a:pt x="46" y="221"/>
                </a:moveTo>
                <a:cubicBezTo>
                  <a:pt x="46" y="222"/>
                  <a:pt x="46" y="222"/>
                  <a:pt x="47" y="220"/>
                </a:cubicBezTo>
                <a:cubicBezTo>
                  <a:pt x="47" y="220"/>
                  <a:pt x="47" y="220"/>
                  <a:pt x="47" y="220"/>
                </a:cubicBezTo>
                <a:cubicBezTo>
                  <a:pt x="48" y="218"/>
                  <a:pt x="51" y="216"/>
                  <a:pt x="51" y="214"/>
                </a:cubicBezTo>
                <a:cubicBezTo>
                  <a:pt x="49" y="216"/>
                  <a:pt x="48" y="217"/>
                  <a:pt x="47" y="218"/>
                </a:cubicBezTo>
                <a:cubicBezTo>
                  <a:pt x="46" y="219"/>
                  <a:pt x="45" y="220"/>
                  <a:pt x="45" y="222"/>
                </a:cubicBezTo>
                <a:cubicBezTo>
                  <a:pt x="45" y="222"/>
                  <a:pt x="45" y="221"/>
                  <a:pt x="44" y="221"/>
                </a:cubicBezTo>
                <a:cubicBezTo>
                  <a:pt x="44" y="222"/>
                  <a:pt x="43" y="223"/>
                  <a:pt x="43" y="223"/>
                </a:cubicBezTo>
                <a:cubicBezTo>
                  <a:pt x="43" y="224"/>
                  <a:pt x="42" y="225"/>
                  <a:pt x="43" y="225"/>
                </a:cubicBezTo>
                <a:cubicBezTo>
                  <a:pt x="42" y="226"/>
                  <a:pt x="42" y="226"/>
                  <a:pt x="41" y="227"/>
                </a:cubicBezTo>
                <a:cubicBezTo>
                  <a:pt x="43" y="227"/>
                  <a:pt x="45" y="222"/>
                  <a:pt x="46" y="221"/>
                </a:cubicBezTo>
                <a:close/>
                <a:moveTo>
                  <a:pt x="46" y="222"/>
                </a:moveTo>
                <a:cubicBezTo>
                  <a:pt x="46" y="223"/>
                  <a:pt x="48" y="221"/>
                  <a:pt x="48" y="220"/>
                </a:cubicBezTo>
                <a:cubicBezTo>
                  <a:pt x="47" y="221"/>
                  <a:pt x="47" y="221"/>
                  <a:pt x="46" y="222"/>
                </a:cubicBezTo>
                <a:close/>
                <a:moveTo>
                  <a:pt x="47" y="222"/>
                </a:moveTo>
                <a:cubicBezTo>
                  <a:pt x="47" y="224"/>
                  <a:pt x="45" y="225"/>
                  <a:pt x="44" y="226"/>
                </a:cubicBezTo>
                <a:cubicBezTo>
                  <a:pt x="45" y="226"/>
                  <a:pt x="45" y="226"/>
                  <a:pt x="45" y="226"/>
                </a:cubicBezTo>
                <a:cubicBezTo>
                  <a:pt x="46" y="224"/>
                  <a:pt x="47" y="224"/>
                  <a:pt x="47" y="222"/>
                </a:cubicBezTo>
                <a:close/>
                <a:moveTo>
                  <a:pt x="49" y="221"/>
                </a:moveTo>
                <a:cubicBezTo>
                  <a:pt x="49" y="220"/>
                  <a:pt x="47" y="222"/>
                  <a:pt x="47" y="223"/>
                </a:cubicBezTo>
                <a:cubicBezTo>
                  <a:pt x="48" y="223"/>
                  <a:pt x="48" y="222"/>
                  <a:pt x="49" y="221"/>
                </a:cubicBezTo>
                <a:close/>
                <a:moveTo>
                  <a:pt x="45" y="233"/>
                </a:moveTo>
                <a:cubicBezTo>
                  <a:pt x="44" y="234"/>
                  <a:pt x="44" y="235"/>
                  <a:pt x="44" y="236"/>
                </a:cubicBezTo>
                <a:cubicBezTo>
                  <a:pt x="45" y="235"/>
                  <a:pt x="45" y="234"/>
                  <a:pt x="45" y="233"/>
                </a:cubicBezTo>
                <a:close/>
                <a:moveTo>
                  <a:pt x="47" y="229"/>
                </a:moveTo>
                <a:cubicBezTo>
                  <a:pt x="46" y="229"/>
                  <a:pt x="47" y="230"/>
                  <a:pt x="46" y="231"/>
                </a:cubicBezTo>
                <a:cubicBezTo>
                  <a:pt x="46" y="231"/>
                  <a:pt x="47" y="230"/>
                  <a:pt x="46" y="231"/>
                </a:cubicBezTo>
                <a:cubicBezTo>
                  <a:pt x="46" y="232"/>
                  <a:pt x="46" y="232"/>
                  <a:pt x="46" y="232"/>
                </a:cubicBezTo>
                <a:cubicBezTo>
                  <a:pt x="47" y="232"/>
                  <a:pt x="47" y="232"/>
                  <a:pt x="47" y="232"/>
                </a:cubicBezTo>
                <a:cubicBezTo>
                  <a:pt x="47" y="230"/>
                  <a:pt x="47" y="230"/>
                  <a:pt x="47" y="229"/>
                </a:cubicBezTo>
                <a:close/>
                <a:moveTo>
                  <a:pt x="51" y="223"/>
                </a:moveTo>
                <a:cubicBezTo>
                  <a:pt x="50" y="223"/>
                  <a:pt x="50" y="223"/>
                  <a:pt x="50" y="222"/>
                </a:cubicBezTo>
                <a:cubicBezTo>
                  <a:pt x="50" y="224"/>
                  <a:pt x="49" y="225"/>
                  <a:pt x="48" y="226"/>
                </a:cubicBezTo>
                <a:cubicBezTo>
                  <a:pt x="49" y="226"/>
                  <a:pt x="50" y="225"/>
                  <a:pt x="50" y="224"/>
                </a:cubicBezTo>
                <a:lnTo>
                  <a:pt x="51" y="223"/>
                </a:lnTo>
                <a:close/>
                <a:moveTo>
                  <a:pt x="51" y="216"/>
                </a:moveTo>
                <a:cubicBezTo>
                  <a:pt x="51" y="216"/>
                  <a:pt x="51" y="216"/>
                  <a:pt x="50" y="216"/>
                </a:cubicBezTo>
                <a:cubicBezTo>
                  <a:pt x="50" y="218"/>
                  <a:pt x="50" y="218"/>
                  <a:pt x="50" y="218"/>
                </a:cubicBezTo>
                <a:cubicBezTo>
                  <a:pt x="51" y="217"/>
                  <a:pt x="51" y="217"/>
                  <a:pt x="51" y="216"/>
                </a:cubicBezTo>
                <a:close/>
                <a:moveTo>
                  <a:pt x="52" y="214"/>
                </a:moveTo>
                <a:cubicBezTo>
                  <a:pt x="53" y="212"/>
                  <a:pt x="53" y="212"/>
                  <a:pt x="53" y="212"/>
                </a:cubicBezTo>
                <a:cubicBezTo>
                  <a:pt x="52" y="213"/>
                  <a:pt x="53" y="211"/>
                  <a:pt x="52" y="213"/>
                </a:cubicBezTo>
                <a:cubicBezTo>
                  <a:pt x="51" y="214"/>
                  <a:pt x="53" y="212"/>
                  <a:pt x="53" y="213"/>
                </a:cubicBezTo>
                <a:cubicBezTo>
                  <a:pt x="52" y="214"/>
                  <a:pt x="51" y="214"/>
                  <a:pt x="51" y="215"/>
                </a:cubicBezTo>
                <a:cubicBezTo>
                  <a:pt x="51" y="216"/>
                  <a:pt x="52" y="214"/>
                  <a:pt x="52" y="214"/>
                </a:cubicBezTo>
                <a:close/>
                <a:moveTo>
                  <a:pt x="53" y="215"/>
                </a:moveTo>
                <a:cubicBezTo>
                  <a:pt x="52" y="216"/>
                  <a:pt x="53" y="214"/>
                  <a:pt x="52" y="215"/>
                </a:cubicBezTo>
                <a:cubicBezTo>
                  <a:pt x="52" y="216"/>
                  <a:pt x="51" y="217"/>
                  <a:pt x="51" y="217"/>
                </a:cubicBezTo>
                <a:cubicBezTo>
                  <a:pt x="52" y="217"/>
                  <a:pt x="53" y="216"/>
                  <a:pt x="53" y="215"/>
                </a:cubicBezTo>
                <a:close/>
                <a:moveTo>
                  <a:pt x="55" y="219"/>
                </a:moveTo>
                <a:cubicBezTo>
                  <a:pt x="55" y="217"/>
                  <a:pt x="52" y="220"/>
                  <a:pt x="53" y="221"/>
                </a:cubicBezTo>
                <a:cubicBezTo>
                  <a:pt x="54" y="220"/>
                  <a:pt x="54" y="219"/>
                  <a:pt x="55" y="219"/>
                </a:cubicBezTo>
                <a:close/>
                <a:moveTo>
                  <a:pt x="58" y="208"/>
                </a:moveTo>
                <a:cubicBezTo>
                  <a:pt x="57" y="209"/>
                  <a:pt x="56" y="211"/>
                  <a:pt x="54" y="212"/>
                </a:cubicBezTo>
                <a:cubicBezTo>
                  <a:pt x="54" y="213"/>
                  <a:pt x="55" y="212"/>
                  <a:pt x="55" y="213"/>
                </a:cubicBezTo>
                <a:cubicBezTo>
                  <a:pt x="56" y="212"/>
                  <a:pt x="57" y="210"/>
                  <a:pt x="58" y="208"/>
                </a:cubicBezTo>
                <a:close/>
                <a:moveTo>
                  <a:pt x="57" y="214"/>
                </a:moveTo>
                <a:cubicBezTo>
                  <a:pt x="56" y="216"/>
                  <a:pt x="57" y="215"/>
                  <a:pt x="56" y="217"/>
                </a:cubicBezTo>
                <a:cubicBezTo>
                  <a:pt x="57" y="215"/>
                  <a:pt x="57" y="215"/>
                  <a:pt x="57" y="214"/>
                </a:cubicBezTo>
                <a:close/>
                <a:moveTo>
                  <a:pt x="59" y="215"/>
                </a:moveTo>
                <a:cubicBezTo>
                  <a:pt x="58" y="215"/>
                  <a:pt x="59" y="215"/>
                  <a:pt x="59" y="214"/>
                </a:cubicBezTo>
                <a:cubicBezTo>
                  <a:pt x="58" y="215"/>
                  <a:pt x="58" y="215"/>
                  <a:pt x="58" y="215"/>
                </a:cubicBezTo>
                <a:cubicBezTo>
                  <a:pt x="58" y="216"/>
                  <a:pt x="58" y="215"/>
                  <a:pt x="58" y="216"/>
                </a:cubicBezTo>
                <a:cubicBezTo>
                  <a:pt x="58" y="217"/>
                  <a:pt x="58" y="216"/>
                  <a:pt x="57" y="217"/>
                </a:cubicBezTo>
                <a:cubicBezTo>
                  <a:pt x="57" y="217"/>
                  <a:pt x="56" y="219"/>
                  <a:pt x="57" y="218"/>
                </a:cubicBezTo>
                <a:cubicBezTo>
                  <a:pt x="58" y="217"/>
                  <a:pt x="57" y="218"/>
                  <a:pt x="58" y="217"/>
                </a:cubicBezTo>
                <a:cubicBezTo>
                  <a:pt x="58" y="216"/>
                  <a:pt x="58" y="217"/>
                  <a:pt x="58" y="217"/>
                </a:cubicBezTo>
                <a:cubicBezTo>
                  <a:pt x="58" y="217"/>
                  <a:pt x="59" y="216"/>
                  <a:pt x="59" y="215"/>
                </a:cubicBezTo>
                <a:close/>
                <a:moveTo>
                  <a:pt x="61" y="201"/>
                </a:moveTo>
                <a:cubicBezTo>
                  <a:pt x="62" y="199"/>
                  <a:pt x="61" y="200"/>
                  <a:pt x="61" y="200"/>
                </a:cubicBezTo>
                <a:cubicBezTo>
                  <a:pt x="60" y="200"/>
                  <a:pt x="59" y="202"/>
                  <a:pt x="58" y="202"/>
                </a:cubicBezTo>
                <a:cubicBezTo>
                  <a:pt x="58" y="201"/>
                  <a:pt x="59" y="201"/>
                  <a:pt x="59" y="200"/>
                </a:cubicBezTo>
                <a:cubicBezTo>
                  <a:pt x="59" y="200"/>
                  <a:pt x="58" y="202"/>
                  <a:pt x="59" y="200"/>
                </a:cubicBezTo>
                <a:cubicBezTo>
                  <a:pt x="58" y="201"/>
                  <a:pt x="57" y="202"/>
                  <a:pt x="56" y="203"/>
                </a:cubicBezTo>
                <a:cubicBezTo>
                  <a:pt x="56" y="203"/>
                  <a:pt x="57" y="202"/>
                  <a:pt x="57" y="202"/>
                </a:cubicBezTo>
                <a:cubicBezTo>
                  <a:pt x="56" y="202"/>
                  <a:pt x="56" y="203"/>
                  <a:pt x="55" y="203"/>
                </a:cubicBezTo>
                <a:cubicBezTo>
                  <a:pt x="56" y="203"/>
                  <a:pt x="55" y="204"/>
                  <a:pt x="54" y="205"/>
                </a:cubicBezTo>
                <a:cubicBezTo>
                  <a:pt x="55" y="205"/>
                  <a:pt x="55" y="205"/>
                  <a:pt x="55" y="205"/>
                </a:cubicBezTo>
                <a:cubicBezTo>
                  <a:pt x="55" y="205"/>
                  <a:pt x="55" y="205"/>
                  <a:pt x="54" y="206"/>
                </a:cubicBezTo>
                <a:cubicBezTo>
                  <a:pt x="54" y="206"/>
                  <a:pt x="54" y="205"/>
                  <a:pt x="54" y="206"/>
                </a:cubicBezTo>
                <a:cubicBezTo>
                  <a:pt x="54" y="208"/>
                  <a:pt x="53" y="209"/>
                  <a:pt x="55" y="207"/>
                </a:cubicBezTo>
                <a:cubicBezTo>
                  <a:pt x="55" y="207"/>
                  <a:pt x="54" y="208"/>
                  <a:pt x="55" y="207"/>
                </a:cubicBezTo>
                <a:cubicBezTo>
                  <a:pt x="56" y="206"/>
                  <a:pt x="56" y="205"/>
                  <a:pt x="57" y="205"/>
                </a:cubicBezTo>
                <a:cubicBezTo>
                  <a:pt x="58" y="204"/>
                  <a:pt x="59" y="203"/>
                  <a:pt x="59" y="202"/>
                </a:cubicBezTo>
                <a:cubicBezTo>
                  <a:pt x="60" y="202"/>
                  <a:pt x="61" y="200"/>
                  <a:pt x="61" y="201"/>
                </a:cubicBezTo>
                <a:close/>
                <a:moveTo>
                  <a:pt x="63" y="206"/>
                </a:moveTo>
                <a:cubicBezTo>
                  <a:pt x="63" y="206"/>
                  <a:pt x="62" y="206"/>
                  <a:pt x="62" y="206"/>
                </a:cubicBezTo>
                <a:cubicBezTo>
                  <a:pt x="61" y="208"/>
                  <a:pt x="61" y="208"/>
                  <a:pt x="61" y="208"/>
                </a:cubicBezTo>
                <a:cubicBezTo>
                  <a:pt x="62" y="207"/>
                  <a:pt x="62" y="206"/>
                  <a:pt x="63" y="206"/>
                </a:cubicBezTo>
                <a:close/>
                <a:moveTo>
                  <a:pt x="65" y="211"/>
                </a:moveTo>
                <a:cubicBezTo>
                  <a:pt x="64" y="212"/>
                  <a:pt x="63" y="213"/>
                  <a:pt x="62" y="215"/>
                </a:cubicBezTo>
                <a:cubicBezTo>
                  <a:pt x="63" y="214"/>
                  <a:pt x="64" y="213"/>
                  <a:pt x="65" y="211"/>
                </a:cubicBezTo>
                <a:close/>
                <a:moveTo>
                  <a:pt x="67" y="201"/>
                </a:moveTo>
                <a:cubicBezTo>
                  <a:pt x="66" y="202"/>
                  <a:pt x="65" y="202"/>
                  <a:pt x="65" y="204"/>
                </a:cubicBezTo>
                <a:cubicBezTo>
                  <a:pt x="66" y="203"/>
                  <a:pt x="66" y="202"/>
                  <a:pt x="67" y="201"/>
                </a:cubicBezTo>
                <a:close/>
                <a:moveTo>
                  <a:pt x="73" y="189"/>
                </a:moveTo>
                <a:cubicBezTo>
                  <a:pt x="72" y="189"/>
                  <a:pt x="71" y="192"/>
                  <a:pt x="71" y="190"/>
                </a:cubicBezTo>
                <a:cubicBezTo>
                  <a:pt x="70" y="191"/>
                  <a:pt x="69" y="193"/>
                  <a:pt x="69" y="193"/>
                </a:cubicBezTo>
                <a:cubicBezTo>
                  <a:pt x="68" y="194"/>
                  <a:pt x="67" y="195"/>
                  <a:pt x="68" y="195"/>
                </a:cubicBezTo>
                <a:cubicBezTo>
                  <a:pt x="70" y="193"/>
                  <a:pt x="69" y="195"/>
                  <a:pt x="68" y="197"/>
                </a:cubicBezTo>
                <a:cubicBezTo>
                  <a:pt x="71" y="195"/>
                  <a:pt x="69" y="195"/>
                  <a:pt x="70" y="192"/>
                </a:cubicBezTo>
                <a:cubicBezTo>
                  <a:pt x="71" y="191"/>
                  <a:pt x="72" y="190"/>
                  <a:pt x="73" y="189"/>
                </a:cubicBezTo>
                <a:close/>
                <a:moveTo>
                  <a:pt x="73" y="191"/>
                </a:moveTo>
                <a:cubicBezTo>
                  <a:pt x="71" y="192"/>
                  <a:pt x="70" y="195"/>
                  <a:pt x="71" y="195"/>
                </a:cubicBezTo>
                <a:cubicBezTo>
                  <a:pt x="71" y="194"/>
                  <a:pt x="71" y="194"/>
                  <a:pt x="72" y="194"/>
                </a:cubicBezTo>
                <a:lnTo>
                  <a:pt x="73" y="191"/>
                </a:lnTo>
                <a:close/>
                <a:moveTo>
                  <a:pt x="75" y="194"/>
                </a:moveTo>
                <a:cubicBezTo>
                  <a:pt x="75" y="194"/>
                  <a:pt x="73" y="196"/>
                  <a:pt x="72" y="197"/>
                </a:cubicBezTo>
                <a:cubicBezTo>
                  <a:pt x="73" y="196"/>
                  <a:pt x="74" y="195"/>
                  <a:pt x="75" y="194"/>
                </a:cubicBezTo>
                <a:close/>
                <a:moveTo>
                  <a:pt x="76" y="198"/>
                </a:moveTo>
                <a:cubicBezTo>
                  <a:pt x="76" y="198"/>
                  <a:pt x="75" y="198"/>
                  <a:pt x="75" y="198"/>
                </a:cubicBezTo>
                <a:cubicBezTo>
                  <a:pt x="74" y="200"/>
                  <a:pt x="73" y="200"/>
                  <a:pt x="73" y="201"/>
                </a:cubicBezTo>
                <a:cubicBezTo>
                  <a:pt x="74" y="201"/>
                  <a:pt x="75" y="199"/>
                  <a:pt x="76" y="198"/>
                </a:cubicBezTo>
                <a:close/>
                <a:moveTo>
                  <a:pt x="90" y="167"/>
                </a:moveTo>
                <a:cubicBezTo>
                  <a:pt x="88" y="168"/>
                  <a:pt x="88" y="170"/>
                  <a:pt x="86" y="171"/>
                </a:cubicBezTo>
                <a:cubicBezTo>
                  <a:pt x="86" y="172"/>
                  <a:pt x="90" y="168"/>
                  <a:pt x="90" y="167"/>
                </a:cubicBezTo>
                <a:close/>
                <a:moveTo>
                  <a:pt x="91" y="180"/>
                </a:moveTo>
                <a:cubicBezTo>
                  <a:pt x="90" y="181"/>
                  <a:pt x="90" y="181"/>
                  <a:pt x="89" y="182"/>
                </a:cubicBezTo>
                <a:cubicBezTo>
                  <a:pt x="90" y="182"/>
                  <a:pt x="92" y="179"/>
                  <a:pt x="91" y="180"/>
                </a:cubicBezTo>
                <a:close/>
                <a:moveTo>
                  <a:pt x="95" y="161"/>
                </a:moveTo>
                <a:cubicBezTo>
                  <a:pt x="94" y="162"/>
                  <a:pt x="94" y="163"/>
                  <a:pt x="93" y="163"/>
                </a:cubicBezTo>
                <a:cubicBezTo>
                  <a:pt x="92" y="165"/>
                  <a:pt x="92" y="164"/>
                  <a:pt x="92" y="166"/>
                </a:cubicBezTo>
                <a:cubicBezTo>
                  <a:pt x="92" y="165"/>
                  <a:pt x="93" y="165"/>
                  <a:pt x="93" y="164"/>
                </a:cubicBezTo>
                <a:cubicBezTo>
                  <a:pt x="94" y="163"/>
                  <a:pt x="95" y="163"/>
                  <a:pt x="95" y="161"/>
                </a:cubicBezTo>
                <a:close/>
                <a:moveTo>
                  <a:pt x="103" y="153"/>
                </a:moveTo>
                <a:cubicBezTo>
                  <a:pt x="103" y="154"/>
                  <a:pt x="102" y="154"/>
                  <a:pt x="101" y="156"/>
                </a:cubicBezTo>
                <a:cubicBezTo>
                  <a:pt x="102" y="155"/>
                  <a:pt x="103" y="154"/>
                  <a:pt x="103" y="153"/>
                </a:cubicBezTo>
                <a:close/>
                <a:moveTo>
                  <a:pt x="105" y="165"/>
                </a:moveTo>
                <a:cubicBezTo>
                  <a:pt x="104" y="165"/>
                  <a:pt x="103" y="165"/>
                  <a:pt x="103" y="166"/>
                </a:cubicBezTo>
                <a:cubicBezTo>
                  <a:pt x="104" y="166"/>
                  <a:pt x="104" y="165"/>
                  <a:pt x="105" y="165"/>
                </a:cubicBezTo>
                <a:close/>
                <a:moveTo>
                  <a:pt x="111" y="146"/>
                </a:moveTo>
                <a:cubicBezTo>
                  <a:pt x="112" y="145"/>
                  <a:pt x="112" y="144"/>
                  <a:pt x="113" y="144"/>
                </a:cubicBezTo>
                <a:cubicBezTo>
                  <a:pt x="113" y="143"/>
                  <a:pt x="111" y="145"/>
                  <a:pt x="111" y="146"/>
                </a:cubicBezTo>
                <a:close/>
                <a:moveTo>
                  <a:pt x="110" y="147"/>
                </a:moveTo>
                <a:cubicBezTo>
                  <a:pt x="111" y="146"/>
                  <a:pt x="111" y="145"/>
                  <a:pt x="110" y="146"/>
                </a:cubicBezTo>
                <a:cubicBezTo>
                  <a:pt x="109" y="147"/>
                  <a:pt x="110" y="146"/>
                  <a:pt x="110" y="147"/>
                </a:cubicBezTo>
                <a:close/>
                <a:moveTo>
                  <a:pt x="113" y="158"/>
                </a:moveTo>
                <a:cubicBezTo>
                  <a:pt x="112" y="157"/>
                  <a:pt x="110" y="160"/>
                  <a:pt x="109" y="161"/>
                </a:cubicBezTo>
                <a:cubicBezTo>
                  <a:pt x="109" y="161"/>
                  <a:pt x="110" y="160"/>
                  <a:pt x="110" y="161"/>
                </a:cubicBezTo>
                <a:cubicBezTo>
                  <a:pt x="111" y="160"/>
                  <a:pt x="111" y="158"/>
                  <a:pt x="113" y="158"/>
                </a:cubicBezTo>
                <a:close/>
                <a:moveTo>
                  <a:pt x="113" y="149"/>
                </a:moveTo>
                <a:cubicBezTo>
                  <a:pt x="112" y="149"/>
                  <a:pt x="112" y="150"/>
                  <a:pt x="111" y="151"/>
                </a:cubicBezTo>
                <a:cubicBezTo>
                  <a:pt x="112" y="150"/>
                  <a:pt x="113" y="150"/>
                  <a:pt x="113" y="149"/>
                </a:cubicBezTo>
                <a:close/>
                <a:moveTo>
                  <a:pt x="115" y="144"/>
                </a:moveTo>
                <a:cubicBezTo>
                  <a:pt x="113" y="145"/>
                  <a:pt x="112" y="147"/>
                  <a:pt x="111" y="148"/>
                </a:cubicBezTo>
                <a:cubicBezTo>
                  <a:pt x="110" y="149"/>
                  <a:pt x="110" y="149"/>
                  <a:pt x="110" y="150"/>
                </a:cubicBezTo>
                <a:cubicBezTo>
                  <a:pt x="111" y="149"/>
                  <a:pt x="111" y="149"/>
                  <a:pt x="111" y="149"/>
                </a:cubicBezTo>
                <a:cubicBezTo>
                  <a:pt x="113" y="147"/>
                  <a:pt x="114" y="146"/>
                  <a:pt x="115" y="144"/>
                </a:cubicBezTo>
                <a:close/>
                <a:moveTo>
                  <a:pt x="121" y="139"/>
                </a:moveTo>
                <a:cubicBezTo>
                  <a:pt x="120" y="140"/>
                  <a:pt x="119" y="141"/>
                  <a:pt x="118" y="141"/>
                </a:cubicBezTo>
                <a:cubicBezTo>
                  <a:pt x="118" y="142"/>
                  <a:pt x="117" y="142"/>
                  <a:pt x="117" y="143"/>
                </a:cubicBezTo>
                <a:cubicBezTo>
                  <a:pt x="117" y="143"/>
                  <a:pt x="117" y="143"/>
                  <a:pt x="118" y="143"/>
                </a:cubicBezTo>
                <a:cubicBezTo>
                  <a:pt x="118" y="142"/>
                  <a:pt x="119" y="141"/>
                  <a:pt x="120" y="141"/>
                </a:cubicBezTo>
                <a:cubicBezTo>
                  <a:pt x="120" y="140"/>
                  <a:pt x="120" y="141"/>
                  <a:pt x="121" y="139"/>
                </a:cubicBezTo>
                <a:close/>
                <a:moveTo>
                  <a:pt x="125" y="134"/>
                </a:moveTo>
                <a:cubicBezTo>
                  <a:pt x="124" y="134"/>
                  <a:pt x="124" y="135"/>
                  <a:pt x="123" y="135"/>
                </a:cubicBezTo>
                <a:cubicBezTo>
                  <a:pt x="122" y="136"/>
                  <a:pt x="124" y="135"/>
                  <a:pt x="125" y="134"/>
                </a:cubicBezTo>
                <a:close/>
                <a:moveTo>
                  <a:pt x="128" y="131"/>
                </a:moveTo>
                <a:cubicBezTo>
                  <a:pt x="127" y="131"/>
                  <a:pt x="127" y="132"/>
                  <a:pt x="126" y="133"/>
                </a:cubicBezTo>
                <a:cubicBezTo>
                  <a:pt x="127" y="133"/>
                  <a:pt x="127" y="131"/>
                  <a:pt x="128" y="131"/>
                </a:cubicBezTo>
                <a:close/>
                <a:moveTo>
                  <a:pt x="132" y="127"/>
                </a:moveTo>
                <a:cubicBezTo>
                  <a:pt x="132" y="127"/>
                  <a:pt x="132" y="128"/>
                  <a:pt x="133" y="127"/>
                </a:cubicBezTo>
                <a:cubicBezTo>
                  <a:pt x="133" y="126"/>
                  <a:pt x="133" y="126"/>
                  <a:pt x="134" y="124"/>
                </a:cubicBezTo>
                <a:cubicBezTo>
                  <a:pt x="135" y="124"/>
                  <a:pt x="134" y="125"/>
                  <a:pt x="136" y="124"/>
                </a:cubicBezTo>
                <a:cubicBezTo>
                  <a:pt x="136" y="124"/>
                  <a:pt x="136" y="124"/>
                  <a:pt x="136" y="123"/>
                </a:cubicBezTo>
                <a:cubicBezTo>
                  <a:pt x="135" y="124"/>
                  <a:pt x="134" y="124"/>
                  <a:pt x="132" y="126"/>
                </a:cubicBezTo>
                <a:cubicBezTo>
                  <a:pt x="132" y="126"/>
                  <a:pt x="133" y="125"/>
                  <a:pt x="133" y="125"/>
                </a:cubicBezTo>
                <a:cubicBezTo>
                  <a:pt x="133" y="126"/>
                  <a:pt x="132" y="127"/>
                  <a:pt x="132" y="127"/>
                </a:cubicBezTo>
                <a:close/>
                <a:moveTo>
                  <a:pt x="130" y="130"/>
                </a:moveTo>
                <a:cubicBezTo>
                  <a:pt x="131" y="129"/>
                  <a:pt x="131" y="129"/>
                  <a:pt x="132" y="128"/>
                </a:cubicBezTo>
                <a:cubicBezTo>
                  <a:pt x="131" y="128"/>
                  <a:pt x="130" y="129"/>
                  <a:pt x="130" y="130"/>
                </a:cubicBezTo>
                <a:close/>
                <a:moveTo>
                  <a:pt x="134" y="128"/>
                </a:moveTo>
                <a:cubicBezTo>
                  <a:pt x="134" y="128"/>
                  <a:pt x="134" y="128"/>
                  <a:pt x="135" y="128"/>
                </a:cubicBezTo>
                <a:cubicBezTo>
                  <a:pt x="135" y="127"/>
                  <a:pt x="136" y="127"/>
                  <a:pt x="137" y="126"/>
                </a:cubicBezTo>
                <a:cubicBezTo>
                  <a:pt x="135" y="126"/>
                  <a:pt x="135" y="127"/>
                  <a:pt x="134" y="128"/>
                </a:cubicBezTo>
                <a:cubicBezTo>
                  <a:pt x="133" y="128"/>
                  <a:pt x="132" y="130"/>
                  <a:pt x="131" y="130"/>
                </a:cubicBezTo>
                <a:cubicBezTo>
                  <a:pt x="131" y="131"/>
                  <a:pt x="133" y="129"/>
                  <a:pt x="134" y="128"/>
                </a:cubicBezTo>
                <a:close/>
                <a:moveTo>
                  <a:pt x="137" y="135"/>
                </a:moveTo>
                <a:cubicBezTo>
                  <a:pt x="135" y="136"/>
                  <a:pt x="134" y="137"/>
                  <a:pt x="133" y="138"/>
                </a:cubicBezTo>
                <a:cubicBezTo>
                  <a:pt x="134" y="137"/>
                  <a:pt x="136" y="136"/>
                  <a:pt x="137" y="135"/>
                </a:cubicBezTo>
                <a:close/>
                <a:moveTo>
                  <a:pt x="139" y="122"/>
                </a:moveTo>
                <a:cubicBezTo>
                  <a:pt x="137" y="123"/>
                  <a:pt x="134" y="126"/>
                  <a:pt x="134" y="127"/>
                </a:cubicBezTo>
                <a:cubicBezTo>
                  <a:pt x="136" y="125"/>
                  <a:pt x="137" y="124"/>
                  <a:pt x="139" y="122"/>
                </a:cubicBezTo>
                <a:close/>
                <a:moveTo>
                  <a:pt x="139" y="120"/>
                </a:moveTo>
                <a:cubicBezTo>
                  <a:pt x="141" y="119"/>
                  <a:pt x="141" y="120"/>
                  <a:pt x="142" y="119"/>
                </a:cubicBezTo>
                <a:cubicBezTo>
                  <a:pt x="141" y="118"/>
                  <a:pt x="140" y="119"/>
                  <a:pt x="139" y="120"/>
                </a:cubicBezTo>
                <a:close/>
                <a:moveTo>
                  <a:pt x="141" y="120"/>
                </a:moveTo>
                <a:cubicBezTo>
                  <a:pt x="140" y="120"/>
                  <a:pt x="140" y="121"/>
                  <a:pt x="139" y="122"/>
                </a:cubicBezTo>
                <a:cubicBezTo>
                  <a:pt x="139" y="122"/>
                  <a:pt x="140" y="122"/>
                  <a:pt x="140" y="121"/>
                </a:cubicBezTo>
                <a:lnTo>
                  <a:pt x="141" y="120"/>
                </a:lnTo>
                <a:close/>
                <a:moveTo>
                  <a:pt x="145" y="120"/>
                </a:moveTo>
                <a:cubicBezTo>
                  <a:pt x="145" y="119"/>
                  <a:pt x="143" y="119"/>
                  <a:pt x="142" y="121"/>
                </a:cubicBezTo>
                <a:cubicBezTo>
                  <a:pt x="144" y="120"/>
                  <a:pt x="144" y="120"/>
                  <a:pt x="145" y="120"/>
                </a:cubicBezTo>
                <a:close/>
                <a:moveTo>
                  <a:pt x="152" y="123"/>
                </a:moveTo>
                <a:cubicBezTo>
                  <a:pt x="150" y="123"/>
                  <a:pt x="150" y="125"/>
                  <a:pt x="149" y="126"/>
                </a:cubicBezTo>
                <a:cubicBezTo>
                  <a:pt x="148" y="126"/>
                  <a:pt x="149" y="126"/>
                  <a:pt x="149" y="126"/>
                </a:cubicBezTo>
                <a:cubicBezTo>
                  <a:pt x="150" y="125"/>
                  <a:pt x="151" y="124"/>
                  <a:pt x="152" y="123"/>
                </a:cubicBezTo>
                <a:close/>
                <a:moveTo>
                  <a:pt x="168" y="95"/>
                </a:moveTo>
                <a:cubicBezTo>
                  <a:pt x="168" y="95"/>
                  <a:pt x="167" y="96"/>
                  <a:pt x="166" y="97"/>
                </a:cubicBezTo>
                <a:cubicBezTo>
                  <a:pt x="167" y="96"/>
                  <a:pt x="167" y="96"/>
                  <a:pt x="167" y="96"/>
                </a:cubicBezTo>
                <a:lnTo>
                  <a:pt x="168" y="95"/>
                </a:lnTo>
                <a:close/>
                <a:moveTo>
                  <a:pt x="167" y="97"/>
                </a:moveTo>
                <a:cubicBezTo>
                  <a:pt x="167" y="97"/>
                  <a:pt x="167" y="98"/>
                  <a:pt x="167" y="99"/>
                </a:cubicBezTo>
                <a:cubicBezTo>
                  <a:pt x="167" y="98"/>
                  <a:pt x="168" y="98"/>
                  <a:pt x="168" y="97"/>
                </a:cubicBezTo>
                <a:cubicBezTo>
                  <a:pt x="168" y="97"/>
                  <a:pt x="167" y="97"/>
                  <a:pt x="167" y="97"/>
                </a:cubicBezTo>
                <a:close/>
                <a:moveTo>
                  <a:pt x="168" y="90"/>
                </a:moveTo>
                <a:cubicBezTo>
                  <a:pt x="167" y="91"/>
                  <a:pt x="167" y="91"/>
                  <a:pt x="166" y="92"/>
                </a:cubicBezTo>
                <a:cubicBezTo>
                  <a:pt x="167" y="92"/>
                  <a:pt x="168" y="91"/>
                  <a:pt x="168" y="90"/>
                </a:cubicBezTo>
                <a:close/>
                <a:moveTo>
                  <a:pt x="170" y="97"/>
                </a:moveTo>
                <a:cubicBezTo>
                  <a:pt x="169" y="97"/>
                  <a:pt x="167" y="99"/>
                  <a:pt x="166" y="99"/>
                </a:cubicBezTo>
                <a:cubicBezTo>
                  <a:pt x="166" y="101"/>
                  <a:pt x="169" y="98"/>
                  <a:pt x="170" y="97"/>
                </a:cubicBezTo>
                <a:close/>
                <a:moveTo>
                  <a:pt x="169" y="96"/>
                </a:moveTo>
                <a:cubicBezTo>
                  <a:pt x="168" y="97"/>
                  <a:pt x="168" y="97"/>
                  <a:pt x="168" y="97"/>
                </a:cubicBezTo>
                <a:cubicBezTo>
                  <a:pt x="170" y="97"/>
                  <a:pt x="170" y="95"/>
                  <a:pt x="169" y="96"/>
                </a:cubicBezTo>
                <a:close/>
                <a:moveTo>
                  <a:pt x="192" y="71"/>
                </a:moveTo>
                <a:cubicBezTo>
                  <a:pt x="192" y="72"/>
                  <a:pt x="194" y="70"/>
                  <a:pt x="195" y="70"/>
                </a:cubicBezTo>
                <a:cubicBezTo>
                  <a:pt x="195" y="69"/>
                  <a:pt x="195" y="69"/>
                  <a:pt x="194" y="70"/>
                </a:cubicBezTo>
                <a:cubicBezTo>
                  <a:pt x="194" y="69"/>
                  <a:pt x="195" y="69"/>
                  <a:pt x="196" y="68"/>
                </a:cubicBezTo>
                <a:cubicBezTo>
                  <a:pt x="194" y="69"/>
                  <a:pt x="193" y="70"/>
                  <a:pt x="192" y="71"/>
                </a:cubicBezTo>
                <a:close/>
                <a:moveTo>
                  <a:pt x="188" y="74"/>
                </a:moveTo>
                <a:cubicBezTo>
                  <a:pt x="189" y="74"/>
                  <a:pt x="189" y="73"/>
                  <a:pt x="190" y="73"/>
                </a:cubicBezTo>
                <a:cubicBezTo>
                  <a:pt x="190" y="72"/>
                  <a:pt x="192" y="71"/>
                  <a:pt x="190" y="71"/>
                </a:cubicBezTo>
                <a:cubicBezTo>
                  <a:pt x="190" y="72"/>
                  <a:pt x="189" y="73"/>
                  <a:pt x="187" y="74"/>
                </a:cubicBezTo>
                <a:cubicBezTo>
                  <a:pt x="187" y="74"/>
                  <a:pt x="187" y="74"/>
                  <a:pt x="188" y="74"/>
                </a:cubicBezTo>
                <a:close/>
                <a:moveTo>
                  <a:pt x="185" y="84"/>
                </a:moveTo>
                <a:cubicBezTo>
                  <a:pt x="185" y="84"/>
                  <a:pt x="187" y="82"/>
                  <a:pt x="188" y="82"/>
                </a:cubicBezTo>
                <a:cubicBezTo>
                  <a:pt x="187" y="82"/>
                  <a:pt x="186" y="83"/>
                  <a:pt x="185" y="84"/>
                </a:cubicBezTo>
                <a:close/>
                <a:moveTo>
                  <a:pt x="179" y="84"/>
                </a:moveTo>
                <a:cubicBezTo>
                  <a:pt x="180" y="84"/>
                  <a:pt x="180" y="83"/>
                  <a:pt x="181" y="82"/>
                </a:cubicBezTo>
                <a:cubicBezTo>
                  <a:pt x="180" y="83"/>
                  <a:pt x="179" y="83"/>
                  <a:pt x="179" y="84"/>
                </a:cubicBezTo>
                <a:close/>
                <a:moveTo>
                  <a:pt x="178" y="89"/>
                </a:moveTo>
                <a:cubicBezTo>
                  <a:pt x="178" y="89"/>
                  <a:pt x="180" y="88"/>
                  <a:pt x="180" y="87"/>
                </a:cubicBezTo>
                <a:cubicBezTo>
                  <a:pt x="179" y="87"/>
                  <a:pt x="179" y="88"/>
                  <a:pt x="178" y="89"/>
                </a:cubicBezTo>
                <a:close/>
                <a:moveTo>
                  <a:pt x="173" y="92"/>
                </a:moveTo>
                <a:cubicBezTo>
                  <a:pt x="174" y="92"/>
                  <a:pt x="174" y="91"/>
                  <a:pt x="175" y="91"/>
                </a:cubicBezTo>
                <a:cubicBezTo>
                  <a:pt x="175" y="90"/>
                  <a:pt x="173" y="91"/>
                  <a:pt x="173" y="92"/>
                </a:cubicBezTo>
                <a:close/>
                <a:moveTo>
                  <a:pt x="174" y="93"/>
                </a:moveTo>
                <a:cubicBezTo>
                  <a:pt x="174" y="92"/>
                  <a:pt x="175" y="92"/>
                  <a:pt x="176" y="91"/>
                </a:cubicBezTo>
                <a:cubicBezTo>
                  <a:pt x="176" y="91"/>
                  <a:pt x="175" y="92"/>
                  <a:pt x="177" y="92"/>
                </a:cubicBezTo>
                <a:cubicBezTo>
                  <a:pt x="178" y="90"/>
                  <a:pt x="177" y="91"/>
                  <a:pt x="178" y="90"/>
                </a:cubicBezTo>
                <a:cubicBezTo>
                  <a:pt x="176" y="90"/>
                  <a:pt x="175" y="92"/>
                  <a:pt x="174" y="92"/>
                </a:cubicBezTo>
                <a:cubicBezTo>
                  <a:pt x="173" y="93"/>
                  <a:pt x="172" y="94"/>
                  <a:pt x="174" y="93"/>
                </a:cubicBezTo>
                <a:close/>
                <a:moveTo>
                  <a:pt x="177" y="92"/>
                </a:moveTo>
                <a:cubicBezTo>
                  <a:pt x="176" y="93"/>
                  <a:pt x="176" y="92"/>
                  <a:pt x="174" y="93"/>
                </a:cubicBezTo>
                <a:cubicBezTo>
                  <a:pt x="175" y="94"/>
                  <a:pt x="177" y="93"/>
                  <a:pt x="177" y="92"/>
                </a:cubicBezTo>
                <a:close/>
                <a:moveTo>
                  <a:pt x="180" y="91"/>
                </a:moveTo>
                <a:cubicBezTo>
                  <a:pt x="178" y="91"/>
                  <a:pt x="178" y="91"/>
                  <a:pt x="178" y="91"/>
                </a:cubicBezTo>
                <a:cubicBezTo>
                  <a:pt x="178" y="91"/>
                  <a:pt x="178" y="92"/>
                  <a:pt x="177" y="93"/>
                </a:cubicBezTo>
                <a:cubicBezTo>
                  <a:pt x="177" y="93"/>
                  <a:pt x="179" y="92"/>
                  <a:pt x="180" y="91"/>
                </a:cubicBezTo>
                <a:close/>
                <a:moveTo>
                  <a:pt x="186" y="88"/>
                </a:moveTo>
                <a:cubicBezTo>
                  <a:pt x="186" y="88"/>
                  <a:pt x="185" y="89"/>
                  <a:pt x="185" y="90"/>
                </a:cubicBezTo>
                <a:cubicBezTo>
                  <a:pt x="186" y="89"/>
                  <a:pt x="186" y="89"/>
                  <a:pt x="186" y="89"/>
                </a:cubicBezTo>
                <a:lnTo>
                  <a:pt x="186" y="88"/>
                </a:lnTo>
                <a:close/>
                <a:moveTo>
                  <a:pt x="197" y="78"/>
                </a:moveTo>
                <a:cubicBezTo>
                  <a:pt x="197" y="77"/>
                  <a:pt x="193" y="79"/>
                  <a:pt x="193" y="80"/>
                </a:cubicBezTo>
                <a:cubicBezTo>
                  <a:pt x="191" y="80"/>
                  <a:pt x="193" y="78"/>
                  <a:pt x="195" y="78"/>
                </a:cubicBezTo>
                <a:cubicBezTo>
                  <a:pt x="194" y="77"/>
                  <a:pt x="192" y="79"/>
                  <a:pt x="191" y="80"/>
                </a:cubicBezTo>
                <a:cubicBezTo>
                  <a:pt x="191" y="80"/>
                  <a:pt x="191" y="80"/>
                  <a:pt x="192" y="79"/>
                </a:cubicBezTo>
                <a:cubicBezTo>
                  <a:pt x="191" y="81"/>
                  <a:pt x="190" y="81"/>
                  <a:pt x="189" y="82"/>
                </a:cubicBezTo>
                <a:cubicBezTo>
                  <a:pt x="188" y="82"/>
                  <a:pt x="190" y="81"/>
                  <a:pt x="190" y="81"/>
                </a:cubicBezTo>
                <a:cubicBezTo>
                  <a:pt x="188" y="82"/>
                  <a:pt x="185" y="86"/>
                  <a:pt x="183" y="86"/>
                </a:cubicBezTo>
                <a:cubicBezTo>
                  <a:pt x="182" y="87"/>
                  <a:pt x="181" y="89"/>
                  <a:pt x="179" y="90"/>
                </a:cubicBezTo>
                <a:cubicBezTo>
                  <a:pt x="181" y="90"/>
                  <a:pt x="181" y="88"/>
                  <a:pt x="182" y="89"/>
                </a:cubicBezTo>
                <a:cubicBezTo>
                  <a:pt x="182" y="88"/>
                  <a:pt x="183" y="87"/>
                  <a:pt x="183" y="87"/>
                </a:cubicBezTo>
                <a:cubicBezTo>
                  <a:pt x="185" y="85"/>
                  <a:pt x="187" y="84"/>
                  <a:pt x="189" y="83"/>
                </a:cubicBezTo>
                <a:cubicBezTo>
                  <a:pt x="190" y="81"/>
                  <a:pt x="190" y="81"/>
                  <a:pt x="190" y="81"/>
                </a:cubicBezTo>
                <a:cubicBezTo>
                  <a:pt x="192" y="81"/>
                  <a:pt x="193" y="81"/>
                  <a:pt x="195" y="79"/>
                </a:cubicBezTo>
                <a:cubicBezTo>
                  <a:pt x="195" y="79"/>
                  <a:pt x="194" y="80"/>
                  <a:pt x="194" y="80"/>
                </a:cubicBezTo>
                <a:cubicBezTo>
                  <a:pt x="193" y="80"/>
                  <a:pt x="196" y="78"/>
                  <a:pt x="197" y="78"/>
                </a:cubicBezTo>
                <a:close/>
                <a:moveTo>
                  <a:pt x="198" y="76"/>
                </a:moveTo>
                <a:cubicBezTo>
                  <a:pt x="197" y="76"/>
                  <a:pt x="196" y="77"/>
                  <a:pt x="196" y="77"/>
                </a:cubicBezTo>
                <a:cubicBezTo>
                  <a:pt x="195" y="77"/>
                  <a:pt x="194" y="78"/>
                  <a:pt x="194" y="78"/>
                </a:cubicBezTo>
                <a:cubicBezTo>
                  <a:pt x="196" y="78"/>
                  <a:pt x="197" y="77"/>
                  <a:pt x="198" y="76"/>
                </a:cubicBezTo>
                <a:close/>
                <a:moveTo>
                  <a:pt x="198" y="69"/>
                </a:moveTo>
                <a:cubicBezTo>
                  <a:pt x="198" y="69"/>
                  <a:pt x="197" y="70"/>
                  <a:pt x="197" y="71"/>
                </a:cubicBezTo>
                <a:cubicBezTo>
                  <a:pt x="198" y="70"/>
                  <a:pt x="199" y="69"/>
                  <a:pt x="198" y="69"/>
                </a:cubicBezTo>
                <a:close/>
                <a:moveTo>
                  <a:pt x="199" y="67"/>
                </a:moveTo>
                <a:cubicBezTo>
                  <a:pt x="198" y="67"/>
                  <a:pt x="197" y="68"/>
                  <a:pt x="196" y="69"/>
                </a:cubicBezTo>
                <a:cubicBezTo>
                  <a:pt x="196" y="69"/>
                  <a:pt x="198" y="68"/>
                  <a:pt x="199" y="68"/>
                </a:cubicBezTo>
                <a:cubicBezTo>
                  <a:pt x="199" y="67"/>
                  <a:pt x="199" y="67"/>
                  <a:pt x="199" y="67"/>
                </a:cubicBezTo>
                <a:close/>
                <a:moveTo>
                  <a:pt x="202" y="89"/>
                </a:moveTo>
                <a:cubicBezTo>
                  <a:pt x="203" y="89"/>
                  <a:pt x="205" y="88"/>
                  <a:pt x="203" y="88"/>
                </a:cubicBezTo>
                <a:cubicBezTo>
                  <a:pt x="202" y="89"/>
                  <a:pt x="203" y="89"/>
                  <a:pt x="202" y="89"/>
                </a:cubicBezTo>
                <a:close/>
                <a:moveTo>
                  <a:pt x="63" y="224"/>
                </a:moveTo>
                <a:cubicBezTo>
                  <a:pt x="62" y="224"/>
                  <a:pt x="61" y="226"/>
                  <a:pt x="62" y="226"/>
                </a:cubicBezTo>
                <a:cubicBezTo>
                  <a:pt x="63" y="226"/>
                  <a:pt x="63" y="224"/>
                  <a:pt x="63" y="224"/>
                </a:cubicBezTo>
                <a:close/>
                <a:moveTo>
                  <a:pt x="25" y="298"/>
                </a:moveTo>
                <a:cubicBezTo>
                  <a:pt x="25" y="298"/>
                  <a:pt x="24" y="300"/>
                  <a:pt x="24" y="302"/>
                </a:cubicBezTo>
                <a:cubicBezTo>
                  <a:pt x="25" y="301"/>
                  <a:pt x="24" y="300"/>
                  <a:pt x="25" y="299"/>
                </a:cubicBezTo>
                <a:cubicBezTo>
                  <a:pt x="25" y="299"/>
                  <a:pt x="25" y="299"/>
                  <a:pt x="25" y="298"/>
                </a:cubicBezTo>
                <a:close/>
                <a:moveTo>
                  <a:pt x="51" y="260"/>
                </a:moveTo>
                <a:cubicBezTo>
                  <a:pt x="51" y="261"/>
                  <a:pt x="50" y="261"/>
                  <a:pt x="50" y="263"/>
                </a:cubicBezTo>
                <a:cubicBezTo>
                  <a:pt x="51" y="262"/>
                  <a:pt x="51" y="261"/>
                  <a:pt x="51" y="260"/>
                </a:cubicBezTo>
                <a:close/>
                <a:moveTo>
                  <a:pt x="71" y="226"/>
                </a:moveTo>
                <a:cubicBezTo>
                  <a:pt x="71" y="225"/>
                  <a:pt x="69" y="227"/>
                  <a:pt x="69" y="228"/>
                </a:cubicBezTo>
                <a:cubicBezTo>
                  <a:pt x="70" y="228"/>
                  <a:pt x="70" y="226"/>
                  <a:pt x="71" y="226"/>
                </a:cubicBezTo>
                <a:close/>
                <a:moveTo>
                  <a:pt x="81" y="201"/>
                </a:moveTo>
                <a:cubicBezTo>
                  <a:pt x="81" y="202"/>
                  <a:pt x="83" y="200"/>
                  <a:pt x="83" y="199"/>
                </a:cubicBezTo>
                <a:cubicBezTo>
                  <a:pt x="83" y="198"/>
                  <a:pt x="81" y="201"/>
                  <a:pt x="81" y="201"/>
                </a:cubicBezTo>
                <a:close/>
                <a:moveTo>
                  <a:pt x="66" y="221"/>
                </a:moveTo>
                <a:cubicBezTo>
                  <a:pt x="65" y="222"/>
                  <a:pt x="65" y="222"/>
                  <a:pt x="65" y="222"/>
                </a:cubicBezTo>
                <a:cubicBezTo>
                  <a:pt x="64" y="223"/>
                  <a:pt x="65" y="222"/>
                  <a:pt x="65" y="223"/>
                </a:cubicBezTo>
                <a:cubicBezTo>
                  <a:pt x="65" y="223"/>
                  <a:pt x="66" y="222"/>
                  <a:pt x="66" y="221"/>
                </a:cubicBezTo>
                <a:close/>
                <a:moveTo>
                  <a:pt x="67" y="222"/>
                </a:moveTo>
                <a:cubicBezTo>
                  <a:pt x="66" y="222"/>
                  <a:pt x="66" y="223"/>
                  <a:pt x="66" y="223"/>
                </a:cubicBezTo>
                <a:cubicBezTo>
                  <a:pt x="67" y="223"/>
                  <a:pt x="65" y="225"/>
                  <a:pt x="66" y="225"/>
                </a:cubicBezTo>
                <a:cubicBezTo>
                  <a:pt x="68" y="223"/>
                  <a:pt x="66" y="223"/>
                  <a:pt x="67" y="222"/>
                </a:cubicBezTo>
                <a:close/>
                <a:moveTo>
                  <a:pt x="76" y="210"/>
                </a:moveTo>
                <a:cubicBezTo>
                  <a:pt x="75" y="211"/>
                  <a:pt x="74" y="212"/>
                  <a:pt x="74" y="213"/>
                </a:cubicBezTo>
                <a:cubicBezTo>
                  <a:pt x="73" y="213"/>
                  <a:pt x="72" y="216"/>
                  <a:pt x="70" y="217"/>
                </a:cubicBezTo>
                <a:cubicBezTo>
                  <a:pt x="71" y="218"/>
                  <a:pt x="69" y="219"/>
                  <a:pt x="69" y="220"/>
                </a:cubicBezTo>
                <a:cubicBezTo>
                  <a:pt x="68" y="221"/>
                  <a:pt x="67" y="221"/>
                  <a:pt x="67" y="222"/>
                </a:cubicBezTo>
                <a:cubicBezTo>
                  <a:pt x="68" y="222"/>
                  <a:pt x="69" y="221"/>
                  <a:pt x="69" y="220"/>
                </a:cubicBezTo>
                <a:cubicBezTo>
                  <a:pt x="70" y="219"/>
                  <a:pt x="69" y="221"/>
                  <a:pt x="69" y="221"/>
                </a:cubicBezTo>
                <a:cubicBezTo>
                  <a:pt x="69" y="221"/>
                  <a:pt x="71" y="218"/>
                  <a:pt x="72" y="216"/>
                </a:cubicBezTo>
                <a:cubicBezTo>
                  <a:pt x="73" y="216"/>
                  <a:pt x="72" y="216"/>
                  <a:pt x="74" y="215"/>
                </a:cubicBezTo>
                <a:cubicBezTo>
                  <a:pt x="75" y="213"/>
                  <a:pt x="74" y="212"/>
                  <a:pt x="76" y="210"/>
                </a:cubicBezTo>
                <a:close/>
                <a:moveTo>
                  <a:pt x="80" y="226"/>
                </a:moveTo>
                <a:cubicBezTo>
                  <a:pt x="79" y="227"/>
                  <a:pt x="78" y="227"/>
                  <a:pt x="78" y="229"/>
                </a:cubicBezTo>
                <a:cubicBezTo>
                  <a:pt x="79" y="228"/>
                  <a:pt x="80" y="226"/>
                  <a:pt x="80" y="226"/>
                </a:cubicBezTo>
                <a:close/>
                <a:moveTo>
                  <a:pt x="83" y="204"/>
                </a:moveTo>
                <a:cubicBezTo>
                  <a:pt x="83" y="203"/>
                  <a:pt x="84" y="202"/>
                  <a:pt x="84" y="202"/>
                </a:cubicBezTo>
                <a:cubicBezTo>
                  <a:pt x="84" y="201"/>
                  <a:pt x="84" y="202"/>
                  <a:pt x="85" y="200"/>
                </a:cubicBezTo>
                <a:cubicBezTo>
                  <a:pt x="84" y="200"/>
                  <a:pt x="83" y="202"/>
                  <a:pt x="83" y="204"/>
                </a:cubicBezTo>
                <a:cubicBezTo>
                  <a:pt x="82" y="205"/>
                  <a:pt x="81" y="205"/>
                  <a:pt x="80" y="206"/>
                </a:cubicBezTo>
                <a:cubicBezTo>
                  <a:pt x="81" y="206"/>
                  <a:pt x="81" y="205"/>
                  <a:pt x="80" y="205"/>
                </a:cubicBezTo>
                <a:cubicBezTo>
                  <a:pt x="82" y="204"/>
                  <a:pt x="83" y="202"/>
                  <a:pt x="83" y="201"/>
                </a:cubicBezTo>
                <a:cubicBezTo>
                  <a:pt x="82" y="201"/>
                  <a:pt x="82" y="203"/>
                  <a:pt x="81" y="204"/>
                </a:cubicBezTo>
                <a:cubicBezTo>
                  <a:pt x="80" y="205"/>
                  <a:pt x="80" y="205"/>
                  <a:pt x="80" y="205"/>
                </a:cubicBezTo>
                <a:cubicBezTo>
                  <a:pt x="78" y="207"/>
                  <a:pt x="76" y="210"/>
                  <a:pt x="77" y="211"/>
                </a:cubicBezTo>
                <a:cubicBezTo>
                  <a:pt x="76" y="211"/>
                  <a:pt x="76" y="211"/>
                  <a:pt x="76" y="210"/>
                </a:cubicBezTo>
                <a:cubicBezTo>
                  <a:pt x="75" y="212"/>
                  <a:pt x="76" y="212"/>
                  <a:pt x="76" y="212"/>
                </a:cubicBezTo>
                <a:cubicBezTo>
                  <a:pt x="77" y="210"/>
                  <a:pt x="77" y="211"/>
                  <a:pt x="78" y="211"/>
                </a:cubicBezTo>
                <a:cubicBezTo>
                  <a:pt x="79" y="208"/>
                  <a:pt x="81" y="207"/>
                  <a:pt x="82" y="205"/>
                </a:cubicBezTo>
                <a:cubicBezTo>
                  <a:pt x="82" y="205"/>
                  <a:pt x="82" y="205"/>
                  <a:pt x="83" y="204"/>
                </a:cubicBezTo>
                <a:close/>
                <a:moveTo>
                  <a:pt x="86" y="219"/>
                </a:moveTo>
                <a:cubicBezTo>
                  <a:pt x="84" y="219"/>
                  <a:pt x="84" y="221"/>
                  <a:pt x="83" y="221"/>
                </a:cubicBezTo>
                <a:cubicBezTo>
                  <a:pt x="83" y="222"/>
                  <a:pt x="85" y="220"/>
                  <a:pt x="86" y="219"/>
                </a:cubicBezTo>
                <a:close/>
                <a:moveTo>
                  <a:pt x="88" y="195"/>
                </a:moveTo>
                <a:cubicBezTo>
                  <a:pt x="87" y="196"/>
                  <a:pt x="86" y="198"/>
                  <a:pt x="85" y="199"/>
                </a:cubicBezTo>
                <a:cubicBezTo>
                  <a:pt x="86" y="199"/>
                  <a:pt x="86" y="199"/>
                  <a:pt x="86" y="199"/>
                </a:cubicBezTo>
                <a:cubicBezTo>
                  <a:pt x="86" y="198"/>
                  <a:pt x="87" y="197"/>
                  <a:pt x="88" y="197"/>
                </a:cubicBezTo>
                <a:lnTo>
                  <a:pt x="88" y="195"/>
                </a:lnTo>
                <a:close/>
                <a:moveTo>
                  <a:pt x="92" y="191"/>
                </a:moveTo>
                <a:cubicBezTo>
                  <a:pt x="92" y="192"/>
                  <a:pt x="91" y="193"/>
                  <a:pt x="90" y="194"/>
                </a:cubicBezTo>
                <a:cubicBezTo>
                  <a:pt x="91" y="193"/>
                  <a:pt x="92" y="192"/>
                  <a:pt x="92" y="191"/>
                </a:cubicBezTo>
                <a:close/>
                <a:moveTo>
                  <a:pt x="96" y="207"/>
                </a:moveTo>
                <a:cubicBezTo>
                  <a:pt x="96" y="207"/>
                  <a:pt x="95" y="208"/>
                  <a:pt x="94" y="209"/>
                </a:cubicBezTo>
                <a:cubicBezTo>
                  <a:pt x="95" y="209"/>
                  <a:pt x="96" y="208"/>
                  <a:pt x="96" y="207"/>
                </a:cubicBezTo>
                <a:close/>
                <a:moveTo>
                  <a:pt x="97" y="185"/>
                </a:moveTo>
                <a:cubicBezTo>
                  <a:pt x="96" y="187"/>
                  <a:pt x="95" y="187"/>
                  <a:pt x="94" y="189"/>
                </a:cubicBezTo>
                <a:cubicBezTo>
                  <a:pt x="92" y="190"/>
                  <a:pt x="92" y="190"/>
                  <a:pt x="92" y="190"/>
                </a:cubicBezTo>
                <a:cubicBezTo>
                  <a:pt x="92" y="191"/>
                  <a:pt x="92" y="191"/>
                  <a:pt x="91" y="192"/>
                </a:cubicBezTo>
                <a:cubicBezTo>
                  <a:pt x="92" y="192"/>
                  <a:pt x="93" y="190"/>
                  <a:pt x="94" y="190"/>
                </a:cubicBezTo>
                <a:cubicBezTo>
                  <a:pt x="94" y="191"/>
                  <a:pt x="93" y="191"/>
                  <a:pt x="92" y="192"/>
                </a:cubicBezTo>
                <a:cubicBezTo>
                  <a:pt x="93" y="192"/>
                  <a:pt x="94" y="191"/>
                  <a:pt x="95" y="190"/>
                </a:cubicBezTo>
                <a:cubicBezTo>
                  <a:pt x="95" y="189"/>
                  <a:pt x="95" y="189"/>
                  <a:pt x="94" y="189"/>
                </a:cubicBezTo>
                <a:cubicBezTo>
                  <a:pt x="95" y="188"/>
                  <a:pt x="96" y="187"/>
                  <a:pt x="97" y="186"/>
                </a:cubicBezTo>
                <a:cubicBezTo>
                  <a:pt x="98" y="185"/>
                  <a:pt x="97" y="186"/>
                  <a:pt x="97" y="185"/>
                </a:cubicBezTo>
                <a:close/>
                <a:moveTo>
                  <a:pt x="100" y="183"/>
                </a:moveTo>
                <a:cubicBezTo>
                  <a:pt x="100" y="182"/>
                  <a:pt x="98" y="184"/>
                  <a:pt x="98" y="185"/>
                </a:cubicBezTo>
                <a:cubicBezTo>
                  <a:pt x="99" y="184"/>
                  <a:pt x="99" y="184"/>
                  <a:pt x="100" y="183"/>
                </a:cubicBezTo>
                <a:close/>
                <a:moveTo>
                  <a:pt x="102" y="199"/>
                </a:moveTo>
                <a:cubicBezTo>
                  <a:pt x="101" y="200"/>
                  <a:pt x="100" y="201"/>
                  <a:pt x="100" y="201"/>
                </a:cubicBezTo>
                <a:cubicBezTo>
                  <a:pt x="101" y="201"/>
                  <a:pt x="102" y="199"/>
                  <a:pt x="102" y="199"/>
                </a:cubicBezTo>
                <a:close/>
                <a:moveTo>
                  <a:pt x="108" y="174"/>
                </a:moveTo>
                <a:cubicBezTo>
                  <a:pt x="107" y="175"/>
                  <a:pt x="106" y="176"/>
                  <a:pt x="105" y="177"/>
                </a:cubicBezTo>
                <a:cubicBezTo>
                  <a:pt x="105" y="179"/>
                  <a:pt x="107" y="176"/>
                  <a:pt x="108" y="174"/>
                </a:cubicBezTo>
                <a:close/>
                <a:moveTo>
                  <a:pt x="110" y="172"/>
                </a:moveTo>
                <a:cubicBezTo>
                  <a:pt x="109" y="172"/>
                  <a:pt x="109" y="173"/>
                  <a:pt x="108" y="174"/>
                </a:cubicBezTo>
                <a:cubicBezTo>
                  <a:pt x="109" y="173"/>
                  <a:pt x="110" y="172"/>
                  <a:pt x="110" y="172"/>
                </a:cubicBezTo>
                <a:close/>
                <a:moveTo>
                  <a:pt x="111" y="167"/>
                </a:moveTo>
                <a:cubicBezTo>
                  <a:pt x="111" y="166"/>
                  <a:pt x="109" y="168"/>
                  <a:pt x="109" y="169"/>
                </a:cubicBezTo>
                <a:cubicBezTo>
                  <a:pt x="110" y="169"/>
                  <a:pt x="110" y="167"/>
                  <a:pt x="111" y="167"/>
                </a:cubicBezTo>
                <a:close/>
                <a:moveTo>
                  <a:pt x="112" y="170"/>
                </a:moveTo>
                <a:cubicBezTo>
                  <a:pt x="112" y="171"/>
                  <a:pt x="112" y="171"/>
                  <a:pt x="112" y="171"/>
                </a:cubicBezTo>
                <a:cubicBezTo>
                  <a:pt x="112" y="171"/>
                  <a:pt x="112" y="170"/>
                  <a:pt x="113" y="170"/>
                </a:cubicBezTo>
                <a:cubicBezTo>
                  <a:pt x="113" y="169"/>
                  <a:pt x="113" y="169"/>
                  <a:pt x="112" y="170"/>
                </a:cubicBezTo>
                <a:close/>
                <a:moveTo>
                  <a:pt x="114" y="167"/>
                </a:moveTo>
                <a:cubicBezTo>
                  <a:pt x="114" y="167"/>
                  <a:pt x="113" y="167"/>
                  <a:pt x="113" y="168"/>
                </a:cubicBezTo>
                <a:cubicBezTo>
                  <a:pt x="113" y="168"/>
                  <a:pt x="113" y="168"/>
                  <a:pt x="113" y="168"/>
                </a:cubicBezTo>
                <a:cubicBezTo>
                  <a:pt x="112" y="168"/>
                  <a:pt x="112" y="169"/>
                  <a:pt x="112" y="169"/>
                </a:cubicBezTo>
                <a:cubicBezTo>
                  <a:pt x="113" y="169"/>
                  <a:pt x="114" y="168"/>
                  <a:pt x="114" y="167"/>
                </a:cubicBezTo>
                <a:close/>
                <a:moveTo>
                  <a:pt x="116" y="184"/>
                </a:moveTo>
                <a:cubicBezTo>
                  <a:pt x="115" y="185"/>
                  <a:pt x="115" y="186"/>
                  <a:pt x="114" y="187"/>
                </a:cubicBezTo>
                <a:cubicBezTo>
                  <a:pt x="113" y="187"/>
                  <a:pt x="116" y="186"/>
                  <a:pt x="116" y="184"/>
                </a:cubicBezTo>
                <a:close/>
                <a:moveTo>
                  <a:pt x="126" y="152"/>
                </a:moveTo>
                <a:cubicBezTo>
                  <a:pt x="125" y="153"/>
                  <a:pt x="123" y="154"/>
                  <a:pt x="121" y="156"/>
                </a:cubicBezTo>
                <a:cubicBezTo>
                  <a:pt x="123" y="155"/>
                  <a:pt x="124" y="154"/>
                  <a:pt x="126" y="152"/>
                </a:cubicBezTo>
                <a:close/>
                <a:moveTo>
                  <a:pt x="127" y="173"/>
                </a:moveTo>
                <a:cubicBezTo>
                  <a:pt x="126" y="174"/>
                  <a:pt x="124" y="176"/>
                  <a:pt x="124" y="177"/>
                </a:cubicBezTo>
                <a:cubicBezTo>
                  <a:pt x="125" y="176"/>
                  <a:pt x="126" y="175"/>
                  <a:pt x="127" y="173"/>
                </a:cubicBezTo>
                <a:close/>
                <a:moveTo>
                  <a:pt x="132" y="151"/>
                </a:moveTo>
                <a:cubicBezTo>
                  <a:pt x="131" y="152"/>
                  <a:pt x="131" y="152"/>
                  <a:pt x="131" y="153"/>
                </a:cubicBezTo>
                <a:cubicBezTo>
                  <a:pt x="132" y="152"/>
                  <a:pt x="133" y="151"/>
                  <a:pt x="132" y="151"/>
                </a:cubicBezTo>
                <a:close/>
                <a:moveTo>
                  <a:pt x="137" y="141"/>
                </a:moveTo>
                <a:cubicBezTo>
                  <a:pt x="136" y="142"/>
                  <a:pt x="135" y="142"/>
                  <a:pt x="135" y="143"/>
                </a:cubicBezTo>
                <a:cubicBezTo>
                  <a:pt x="136" y="142"/>
                  <a:pt x="137" y="142"/>
                  <a:pt x="138" y="142"/>
                </a:cubicBezTo>
                <a:cubicBezTo>
                  <a:pt x="138" y="140"/>
                  <a:pt x="138" y="141"/>
                  <a:pt x="137" y="141"/>
                </a:cubicBezTo>
                <a:close/>
                <a:moveTo>
                  <a:pt x="158" y="123"/>
                </a:moveTo>
                <a:cubicBezTo>
                  <a:pt x="157" y="123"/>
                  <a:pt x="156" y="124"/>
                  <a:pt x="155" y="125"/>
                </a:cubicBezTo>
                <a:cubicBezTo>
                  <a:pt x="156" y="125"/>
                  <a:pt x="157" y="124"/>
                  <a:pt x="158" y="123"/>
                </a:cubicBezTo>
                <a:close/>
                <a:moveTo>
                  <a:pt x="166" y="121"/>
                </a:moveTo>
                <a:cubicBezTo>
                  <a:pt x="165" y="122"/>
                  <a:pt x="164" y="123"/>
                  <a:pt x="163" y="124"/>
                </a:cubicBezTo>
                <a:cubicBezTo>
                  <a:pt x="164" y="124"/>
                  <a:pt x="164" y="124"/>
                  <a:pt x="164" y="124"/>
                </a:cubicBezTo>
                <a:cubicBezTo>
                  <a:pt x="165" y="123"/>
                  <a:pt x="165" y="123"/>
                  <a:pt x="165" y="123"/>
                </a:cubicBezTo>
                <a:cubicBezTo>
                  <a:pt x="164" y="123"/>
                  <a:pt x="166" y="122"/>
                  <a:pt x="166" y="121"/>
                </a:cubicBezTo>
                <a:close/>
                <a:moveTo>
                  <a:pt x="234" y="56"/>
                </a:moveTo>
                <a:cubicBezTo>
                  <a:pt x="236" y="55"/>
                  <a:pt x="237" y="55"/>
                  <a:pt x="236" y="56"/>
                </a:cubicBezTo>
                <a:cubicBezTo>
                  <a:pt x="237" y="56"/>
                  <a:pt x="237" y="56"/>
                  <a:pt x="237" y="56"/>
                </a:cubicBezTo>
                <a:cubicBezTo>
                  <a:pt x="237" y="56"/>
                  <a:pt x="237" y="55"/>
                  <a:pt x="238" y="55"/>
                </a:cubicBezTo>
                <a:cubicBezTo>
                  <a:pt x="236" y="55"/>
                  <a:pt x="236" y="55"/>
                  <a:pt x="234" y="56"/>
                </a:cubicBezTo>
                <a:close/>
                <a:moveTo>
                  <a:pt x="222" y="63"/>
                </a:moveTo>
                <a:cubicBezTo>
                  <a:pt x="222" y="63"/>
                  <a:pt x="220" y="64"/>
                  <a:pt x="219" y="64"/>
                </a:cubicBezTo>
                <a:cubicBezTo>
                  <a:pt x="219" y="65"/>
                  <a:pt x="221" y="64"/>
                  <a:pt x="222" y="63"/>
                </a:cubicBezTo>
                <a:close/>
                <a:moveTo>
                  <a:pt x="214" y="58"/>
                </a:moveTo>
                <a:cubicBezTo>
                  <a:pt x="214" y="59"/>
                  <a:pt x="214" y="59"/>
                  <a:pt x="214" y="59"/>
                </a:cubicBezTo>
                <a:cubicBezTo>
                  <a:pt x="215" y="58"/>
                  <a:pt x="215" y="58"/>
                  <a:pt x="216" y="58"/>
                </a:cubicBezTo>
                <a:cubicBezTo>
                  <a:pt x="217" y="57"/>
                  <a:pt x="217" y="57"/>
                  <a:pt x="217" y="56"/>
                </a:cubicBezTo>
                <a:cubicBezTo>
                  <a:pt x="216" y="57"/>
                  <a:pt x="215" y="58"/>
                  <a:pt x="214" y="58"/>
                </a:cubicBezTo>
                <a:close/>
                <a:moveTo>
                  <a:pt x="213" y="67"/>
                </a:moveTo>
                <a:cubicBezTo>
                  <a:pt x="214" y="67"/>
                  <a:pt x="215" y="66"/>
                  <a:pt x="216" y="65"/>
                </a:cubicBezTo>
                <a:cubicBezTo>
                  <a:pt x="215" y="66"/>
                  <a:pt x="213" y="67"/>
                  <a:pt x="212" y="67"/>
                </a:cubicBezTo>
                <a:cubicBezTo>
                  <a:pt x="211" y="69"/>
                  <a:pt x="214" y="67"/>
                  <a:pt x="213" y="67"/>
                </a:cubicBezTo>
                <a:close/>
                <a:moveTo>
                  <a:pt x="213" y="59"/>
                </a:moveTo>
                <a:cubicBezTo>
                  <a:pt x="212" y="59"/>
                  <a:pt x="211" y="60"/>
                  <a:pt x="210" y="61"/>
                </a:cubicBezTo>
                <a:cubicBezTo>
                  <a:pt x="211" y="60"/>
                  <a:pt x="212" y="60"/>
                  <a:pt x="213" y="59"/>
                </a:cubicBezTo>
                <a:close/>
                <a:moveTo>
                  <a:pt x="210" y="60"/>
                </a:moveTo>
                <a:cubicBezTo>
                  <a:pt x="211" y="59"/>
                  <a:pt x="210" y="59"/>
                  <a:pt x="211" y="59"/>
                </a:cubicBezTo>
                <a:cubicBezTo>
                  <a:pt x="212" y="58"/>
                  <a:pt x="211" y="59"/>
                  <a:pt x="212" y="59"/>
                </a:cubicBezTo>
                <a:cubicBezTo>
                  <a:pt x="214" y="58"/>
                  <a:pt x="213" y="57"/>
                  <a:pt x="214" y="56"/>
                </a:cubicBezTo>
                <a:cubicBezTo>
                  <a:pt x="213" y="57"/>
                  <a:pt x="211" y="58"/>
                  <a:pt x="210" y="59"/>
                </a:cubicBezTo>
                <a:cubicBezTo>
                  <a:pt x="210" y="59"/>
                  <a:pt x="209" y="60"/>
                  <a:pt x="210" y="60"/>
                </a:cubicBezTo>
                <a:close/>
                <a:moveTo>
                  <a:pt x="208" y="66"/>
                </a:moveTo>
                <a:cubicBezTo>
                  <a:pt x="209" y="65"/>
                  <a:pt x="211" y="65"/>
                  <a:pt x="212" y="64"/>
                </a:cubicBezTo>
                <a:cubicBezTo>
                  <a:pt x="211" y="64"/>
                  <a:pt x="208" y="66"/>
                  <a:pt x="208" y="66"/>
                </a:cubicBezTo>
                <a:close/>
                <a:moveTo>
                  <a:pt x="205" y="63"/>
                </a:moveTo>
                <a:cubicBezTo>
                  <a:pt x="206" y="63"/>
                  <a:pt x="207" y="62"/>
                  <a:pt x="208" y="62"/>
                </a:cubicBezTo>
                <a:cubicBezTo>
                  <a:pt x="208" y="62"/>
                  <a:pt x="207" y="62"/>
                  <a:pt x="207" y="62"/>
                </a:cubicBezTo>
                <a:cubicBezTo>
                  <a:pt x="207" y="62"/>
                  <a:pt x="206" y="63"/>
                  <a:pt x="205" y="63"/>
                </a:cubicBezTo>
                <a:close/>
                <a:moveTo>
                  <a:pt x="202" y="74"/>
                </a:moveTo>
                <a:cubicBezTo>
                  <a:pt x="200" y="75"/>
                  <a:pt x="200" y="75"/>
                  <a:pt x="200" y="75"/>
                </a:cubicBezTo>
                <a:cubicBezTo>
                  <a:pt x="199" y="76"/>
                  <a:pt x="201" y="76"/>
                  <a:pt x="200" y="76"/>
                </a:cubicBezTo>
                <a:cubicBezTo>
                  <a:pt x="202" y="75"/>
                  <a:pt x="202" y="75"/>
                  <a:pt x="202" y="74"/>
                </a:cubicBezTo>
                <a:close/>
                <a:moveTo>
                  <a:pt x="203" y="73"/>
                </a:moveTo>
                <a:cubicBezTo>
                  <a:pt x="204" y="72"/>
                  <a:pt x="203" y="73"/>
                  <a:pt x="202" y="73"/>
                </a:cubicBezTo>
                <a:cubicBezTo>
                  <a:pt x="202" y="74"/>
                  <a:pt x="201" y="74"/>
                  <a:pt x="199" y="75"/>
                </a:cubicBezTo>
                <a:cubicBezTo>
                  <a:pt x="201" y="75"/>
                  <a:pt x="202" y="73"/>
                  <a:pt x="203" y="73"/>
                </a:cubicBezTo>
                <a:close/>
                <a:moveTo>
                  <a:pt x="205" y="63"/>
                </a:moveTo>
                <a:cubicBezTo>
                  <a:pt x="203" y="64"/>
                  <a:pt x="202" y="65"/>
                  <a:pt x="201" y="66"/>
                </a:cubicBezTo>
                <a:cubicBezTo>
                  <a:pt x="200" y="67"/>
                  <a:pt x="200" y="67"/>
                  <a:pt x="200" y="67"/>
                </a:cubicBezTo>
                <a:cubicBezTo>
                  <a:pt x="202" y="65"/>
                  <a:pt x="203" y="65"/>
                  <a:pt x="205" y="63"/>
                </a:cubicBezTo>
                <a:close/>
                <a:moveTo>
                  <a:pt x="208" y="73"/>
                </a:moveTo>
                <a:cubicBezTo>
                  <a:pt x="208" y="72"/>
                  <a:pt x="208" y="72"/>
                  <a:pt x="208" y="72"/>
                </a:cubicBezTo>
                <a:cubicBezTo>
                  <a:pt x="208" y="72"/>
                  <a:pt x="207" y="72"/>
                  <a:pt x="207" y="73"/>
                </a:cubicBezTo>
                <a:cubicBezTo>
                  <a:pt x="206" y="74"/>
                  <a:pt x="206" y="74"/>
                  <a:pt x="205" y="75"/>
                </a:cubicBezTo>
                <a:cubicBezTo>
                  <a:pt x="206" y="75"/>
                  <a:pt x="206" y="74"/>
                  <a:pt x="207" y="74"/>
                </a:cubicBezTo>
                <a:cubicBezTo>
                  <a:pt x="208" y="73"/>
                  <a:pt x="206" y="73"/>
                  <a:pt x="208" y="73"/>
                </a:cubicBezTo>
                <a:cubicBezTo>
                  <a:pt x="208" y="73"/>
                  <a:pt x="208" y="73"/>
                  <a:pt x="208" y="73"/>
                </a:cubicBezTo>
                <a:close/>
                <a:moveTo>
                  <a:pt x="212" y="69"/>
                </a:moveTo>
                <a:cubicBezTo>
                  <a:pt x="212" y="69"/>
                  <a:pt x="212" y="70"/>
                  <a:pt x="213" y="69"/>
                </a:cubicBezTo>
                <a:cubicBezTo>
                  <a:pt x="214" y="68"/>
                  <a:pt x="214" y="68"/>
                  <a:pt x="216" y="67"/>
                </a:cubicBezTo>
                <a:cubicBezTo>
                  <a:pt x="217" y="66"/>
                  <a:pt x="218" y="65"/>
                  <a:pt x="218" y="65"/>
                </a:cubicBezTo>
                <a:cubicBezTo>
                  <a:pt x="217" y="65"/>
                  <a:pt x="215" y="66"/>
                  <a:pt x="216" y="66"/>
                </a:cubicBezTo>
                <a:cubicBezTo>
                  <a:pt x="215" y="67"/>
                  <a:pt x="215" y="67"/>
                  <a:pt x="215" y="67"/>
                </a:cubicBezTo>
                <a:cubicBezTo>
                  <a:pt x="214" y="67"/>
                  <a:pt x="215" y="67"/>
                  <a:pt x="214" y="67"/>
                </a:cubicBezTo>
                <a:cubicBezTo>
                  <a:pt x="213" y="68"/>
                  <a:pt x="213" y="68"/>
                  <a:pt x="213" y="69"/>
                </a:cubicBezTo>
                <a:cubicBezTo>
                  <a:pt x="212" y="69"/>
                  <a:pt x="212" y="69"/>
                  <a:pt x="212" y="68"/>
                </a:cubicBezTo>
                <a:cubicBezTo>
                  <a:pt x="210" y="69"/>
                  <a:pt x="208" y="71"/>
                  <a:pt x="205" y="72"/>
                </a:cubicBezTo>
                <a:cubicBezTo>
                  <a:pt x="206" y="73"/>
                  <a:pt x="210" y="71"/>
                  <a:pt x="212" y="69"/>
                </a:cubicBezTo>
                <a:close/>
                <a:moveTo>
                  <a:pt x="222" y="76"/>
                </a:moveTo>
                <a:cubicBezTo>
                  <a:pt x="218" y="78"/>
                  <a:pt x="214" y="81"/>
                  <a:pt x="210" y="83"/>
                </a:cubicBezTo>
                <a:cubicBezTo>
                  <a:pt x="211" y="83"/>
                  <a:pt x="211" y="83"/>
                  <a:pt x="212" y="82"/>
                </a:cubicBezTo>
                <a:cubicBezTo>
                  <a:pt x="212" y="82"/>
                  <a:pt x="211" y="83"/>
                  <a:pt x="212" y="84"/>
                </a:cubicBezTo>
                <a:cubicBezTo>
                  <a:pt x="212" y="84"/>
                  <a:pt x="213" y="83"/>
                  <a:pt x="213" y="83"/>
                </a:cubicBezTo>
                <a:cubicBezTo>
                  <a:pt x="214" y="82"/>
                  <a:pt x="213" y="83"/>
                  <a:pt x="213" y="82"/>
                </a:cubicBezTo>
                <a:cubicBezTo>
                  <a:pt x="215" y="81"/>
                  <a:pt x="214" y="82"/>
                  <a:pt x="215" y="82"/>
                </a:cubicBezTo>
                <a:cubicBezTo>
                  <a:pt x="215" y="81"/>
                  <a:pt x="216" y="81"/>
                  <a:pt x="216" y="80"/>
                </a:cubicBezTo>
                <a:cubicBezTo>
                  <a:pt x="215" y="80"/>
                  <a:pt x="215" y="81"/>
                  <a:pt x="214" y="81"/>
                </a:cubicBezTo>
                <a:cubicBezTo>
                  <a:pt x="215" y="80"/>
                  <a:pt x="216" y="80"/>
                  <a:pt x="217" y="79"/>
                </a:cubicBezTo>
                <a:cubicBezTo>
                  <a:pt x="219" y="78"/>
                  <a:pt x="218" y="79"/>
                  <a:pt x="220" y="78"/>
                </a:cubicBezTo>
                <a:cubicBezTo>
                  <a:pt x="220" y="78"/>
                  <a:pt x="219" y="78"/>
                  <a:pt x="219" y="78"/>
                </a:cubicBezTo>
                <a:cubicBezTo>
                  <a:pt x="219" y="77"/>
                  <a:pt x="221" y="78"/>
                  <a:pt x="222" y="76"/>
                </a:cubicBezTo>
                <a:close/>
                <a:moveTo>
                  <a:pt x="225" y="75"/>
                </a:moveTo>
                <a:cubicBezTo>
                  <a:pt x="224" y="75"/>
                  <a:pt x="222" y="77"/>
                  <a:pt x="224" y="76"/>
                </a:cubicBezTo>
                <a:cubicBezTo>
                  <a:pt x="223" y="76"/>
                  <a:pt x="225" y="75"/>
                  <a:pt x="225" y="75"/>
                </a:cubicBezTo>
                <a:close/>
                <a:moveTo>
                  <a:pt x="228" y="73"/>
                </a:moveTo>
                <a:cubicBezTo>
                  <a:pt x="227" y="73"/>
                  <a:pt x="226" y="74"/>
                  <a:pt x="225" y="75"/>
                </a:cubicBezTo>
                <a:cubicBezTo>
                  <a:pt x="226" y="75"/>
                  <a:pt x="226" y="75"/>
                  <a:pt x="226" y="75"/>
                </a:cubicBezTo>
                <a:cubicBezTo>
                  <a:pt x="227" y="74"/>
                  <a:pt x="229" y="73"/>
                  <a:pt x="228" y="73"/>
                </a:cubicBezTo>
                <a:close/>
                <a:moveTo>
                  <a:pt x="232" y="57"/>
                </a:moveTo>
                <a:cubicBezTo>
                  <a:pt x="229" y="58"/>
                  <a:pt x="226" y="61"/>
                  <a:pt x="223" y="61"/>
                </a:cubicBezTo>
                <a:cubicBezTo>
                  <a:pt x="224" y="62"/>
                  <a:pt x="223" y="62"/>
                  <a:pt x="222" y="63"/>
                </a:cubicBezTo>
                <a:cubicBezTo>
                  <a:pt x="224" y="63"/>
                  <a:pt x="225" y="61"/>
                  <a:pt x="225" y="62"/>
                </a:cubicBezTo>
                <a:cubicBezTo>
                  <a:pt x="226" y="61"/>
                  <a:pt x="225" y="62"/>
                  <a:pt x="225" y="62"/>
                </a:cubicBezTo>
                <a:cubicBezTo>
                  <a:pt x="227" y="60"/>
                  <a:pt x="230" y="58"/>
                  <a:pt x="232" y="57"/>
                </a:cubicBezTo>
                <a:close/>
                <a:moveTo>
                  <a:pt x="238" y="58"/>
                </a:moveTo>
                <a:cubicBezTo>
                  <a:pt x="238" y="57"/>
                  <a:pt x="235" y="59"/>
                  <a:pt x="234" y="60"/>
                </a:cubicBezTo>
                <a:cubicBezTo>
                  <a:pt x="234" y="60"/>
                  <a:pt x="237" y="59"/>
                  <a:pt x="238" y="58"/>
                </a:cubicBezTo>
                <a:close/>
                <a:moveTo>
                  <a:pt x="240" y="55"/>
                </a:moveTo>
                <a:cubicBezTo>
                  <a:pt x="238" y="56"/>
                  <a:pt x="236" y="57"/>
                  <a:pt x="235" y="57"/>
                </a:cubicBezTo>
                <a:cubicBezTo>
                  <a:pt x="235" y="58"/>
                  <a:pt x="234" y="58"/>
                  <a:pt x="234" y="58"/>
                </a:cubicBezTo>
                <a:cubicBezTo>
                  <a:pt x="235" y="58"/>
                  <a:pt x="238" y="57"/>
                  <a:pt x="240" y="55"/>
                </a:cubicBezTo>
                <a:close/>
                <a:moveTo>
                  <a:pt x="244" y="64"/>
                </a:moveTo>
                <a:cubicBezTo>
                  <a:pt x="243" y="64"/>
                  <a:pt x="242" y="65"/>
                  <a:pt x="241" y="65"/>
                </a:cubicBezTo>
                <a:cubicBezTo>
                  <a:pt x="243" y="65"/>
                  <a:pt x="243" y="65"/>
                  <a:pt x="242" y="66"/>
                </a:cubicBezTo>
                <a:cubicBezTo>
                  <a:pt x="244" y="66"/>
                  <a:pt x="244" y="65"/>
                  <a:pt x="244" y="64"/>
                </a:cubicBezTo>
                <a:close/>
                <a:moveTo>
                  <a:pt x="245" y="51"/>
                </a:moveTo>
                <a:cubicBezTo>
                  <a:pt x="243" y="51"/>
                  <a:pt x="242" y="53"/>
                  <a:pt x="240" y="53"/>
                </a:cubicBezTo>
                <a:cubicBezTo>
                  <a:pt x="240" y="55"/>
                  <a:pt x="243" y="52"/>
                  <a:pt x="245" y="51"/>
                </a:cubicBezTo>
                <a:close/>
                <a:moveTo>
                  <a:pt x="252" y="40"/>
                </a:moveTo>
                <a:cubicBezTo>
                  <a:pt x="253" y="40"/>
                  <a:pt x="255" y="39"/>
                  <a:pt x="256" y="38"/>
                </a:cubicBezTo>
                <a:cubicBezTo>
                  <a:pt x="255" y="38"/>
                  <a:pt x="255" y="38"/>
                  <a:pt x="254" y="38"/>
                </a:cubicBezTo>
                <a:cubicBezTo>
                  <a:pt x="253" y="38"/>
                  <a:pt x="254" y="37"/>
                  <a:pt x="255" y="37"/>
                </a:cubicBezTo>
                <a:cubicBezTo>
                  <a:pt x="251" y="38"/>
                  <a:pt x="254" y="39"/>
                  <a:pt x="252" y="40"/>
                </a:cubicBezTo>
                <a:close/>
                <a:moveTo>
                  <a:pt x="248" y="41"/>
                </a:moveTo>
                <a:cubicBezTo>
                  <a:pt x="248" y="42"/>
                  <a:pt x="250" y="41"/>
                  <a:pt x="250" y="40"/>
                </a:cubicBezTo>
                <a:cubicBezTo>
                  <a:pt x="249" y="40"/>
                  <a:pt x="249" y="41"/>
                  <a:pt x="248" y="41"/>
                </a:cubicBezTo>
                <a:close/>
                <a:moveTo>
                  <a:pt x="248" y="42"/>
                </a:moveTo>
                <a:cubicBezTo>
                  <a:pt x="249" y="41"/>
                  <a:pt x="250" y="41"/>
                  <a:pt x="251" y="40"/>
                </a:cubicBezTo>
                <a:cubicBezTo>
                  <a:pt x="250" y="40"/>
                  <a:pt x="249" y="41"/>
                  <a:pt x="248" y="42"/>
                </a:cubicBezTo>
                <a:close/>
                <a:moveTo>
                  <a:pt x="254" y="47"/>
                </a:moveTo>
                <a:cubicBezTo>
                  <a:pt x="253" y="47"/>
                  <a:pt x="250" y="49"/>
                  <a:pt x="248" y="49"/>
                </a:cubicBezTo>
                <a:cubicBezTo>
                  <a:pt x="248" y="51"/>
                  <a:pt x="252" y="48"/>
                  <a:pt x="254" y="47"/>
                </a:cubicBezTo>
                <a:close/>
                <a:moveTo>
                  <a:pt x="254" y="48"/>
                </a:moveTo>
                <a:cubicBezTo>
                  <a:pt x="253" y="48"/>
                  <a:pt x="252" y="49"/>
                  <a:pt x="252" y="50"/>
                </a:cubicBezTo>
                <a:cubicBezTo>
                  <a:pt x="253" y="49"/>
                  <a:pt x="254" y="49"/>
                  <a:pt x="254" y="48"/>
                </a:cubicBezTo>
                <a:close/>
                <a:moveTo>
                  <a:pt x="256" y="39"/>
                </a:moveTo>
                <a:cubicBezTo>
                  <a:pt x="257" y="39"/>
                  <a:pt x="255" y="40"/>
                  <a:pt x="256" y="39"/>
                </a:cubicBezTo>
                <a:cubicBezTo>
                  <a:pt x="254" y="40"/>
                  <a:pt x="255" y="40"/>
                  <a:pt x="254" y="41"/>
                </a:cubicBezTo>
                <a:cubicBezTo>
                  <a:pt x="255" y="41"/>
                  <a:pt x="256" y="40"/>
                  <a:pt x="256" y="39"/>
                </a:cubicBezTo>
                <a:close/>
                <a:moveTo>
                  <a:pt x="267" y="43"/>
                </a:moveTo>
                <a:cubicBezTo>
                  <a:pt x="267" y="42"/>
                  <a:pt x="266" y="43"/>
                  <a:pt x="268" y="41"/>
                </a:cubicBezTo>
                <a:cubicBezTo>
                  <a:pt x="266" y="42"/>
                  <a:pt x="266" y="43"/>
                  <a:pt x="264" y="43"/>
                </a:cubicBezTo>
                <a:cubicBezTo>
                  <a:pt x="263" y="45"/>
                  <a:pt x="266" y="43"/>
                  <a:pt x="267" y="43"/>
                </a:cubicBezTo>
                <a:close/>
                <a:moveTo>
                  <a:pt x="260" y="36"/>
                </a:moveTo>
                <a:cubicBezTo>
                  <a:pt x="259" y="36"/>
                  <a:pt x="258" y="37"/>
                  <a:pt x="258" y="38"/>
                </a:cubicBezTo>
                <a:cubicBezTo>
                  <a:pt x="258" y="38"/>
                  <a:pt x="259" y="37"/>
                  <a:pt x="260" y="36"/>
                </a:cubicBezTo>
                <a:close/>
                <a:moveTo>
                  <a:pt x="264" y="54"/>
                </a:moveTo>
                <a:cubicBezTo>
                  <a:pt x="264" y="55"/>
                  <a:pt x="263" y="55"/>
                  <a:pt x="262" y="55"/>
                </a:cubicBezTo>
                <a:cubicBezTo>
                  <a:pt x="263" y="56"/>
                  <a:pt x="263" y="56"/>
                  <a:pt x="261" y="57"/>
                </a:cubicBezTo>
                <a:cubicBezTo>
                  <a:pt x="263" y="57"/>
                  <a:pt x="266" y="54"/>
                  <a:pt x="264" y="54"/>
                </a:cubicBezTo>
                <a:close/>
                <a:moveTo>
                  <a:pt x="266" y="45"/>
                </a:moveTo>
                <a:cubicBezTo>
                  <a:pt x="265" y="45"/>
                  <a:pt x="264" y="46"/>
                  <a:pt x="264" y="46"/>
                </a:cubicBezTo>
                <a:cubicBezTo>
                  <a:pt x="264" y="46"/>
                  <a:pt x="265" y="46"/>
                  <a:pt x="266" y="45"/>
                </a:cubicBezTo>
                <a:close/>
                <a:moveTo>
                  <a:pt x="269" y="42"/>
                </a:moveTo>
                <a:cubicBezTo>
                  <a:pt x="267" y="43"/>
                  <a:pt x="265" y="44"/>
                  <a:pt x="263" y="44"/>
                </a:cubicBezTo>
                <a:cubicBezTo>
                  <a:pt x="262" y="45"/>
                  <a:pt x="263" y="45"/>
                  <a:pt x="262" y="45"/>
                </a:cubicBezTo>
                <a:cubicBezTo>
                  <a:pt x="264" y="45"/>
                  <a:pt x="268" y="44"/>
                  <a:pt x="269" y="42"/>
                </a:cubicBezTo>
                <a:close/>
                <a:moveTo>
                  <a:pt x="275" y="39"/>
                </a:moveTo>
                <a:cubicBezTo>
                  <a:pt x="273" y="39"/>
                  <a:pt x="272" y="40"/>
                  <a:pt x="272" y="41"/>
                </a:cubicBezTo>
                <a:cubicBezTo>
                  <a:pt x="273" y="41"/>
                  <a:pt x="274" y="40"/>
                  <a:pt x="275" y="39"/>
                </a:cubicBezTo>
                <a:close/>
                <a:moveTo>
                  <a:pt x="287" y="37"/>
                </a:moveTo>
                <a:cubicBezTo>
                  <a:pt x="286" y="37"/>
                  <a:pt x="285" y="37"/>
                  <a:pt x="285" y="37"/>
                </a:cubicBezTo>
                <a:cubicBezTo>
                  <a:pt x="284" y="38"/>
                  <a:pt x="286" y="37"/>
                  <a:pt x="287" y="37"/>
                </a:cubicBezTo>
                <a:close/>
                <a:moveTo>
                  <a:pt x="292" y="32"/>
                </a:moveTo>
                <a:cubicBezTo>
                  <a:pt x="291" y="32"/>
                  <a:pt x="291" y="32"/>
                  <a:pt x="291" y="32"/>
                </a:cubicBezTo>
                <a:cubicBezTo>
                  <a:pt x="291" y="33"/>
                  <a:pt x="288" y="33"/>
                  <a:pt x="287" y="34"/>
                </a:cubicBezTo>
                <a:cubicBezTo>
                  <a:pt x="287" y="34"/>
                  <a:pt x="284" y="35"/>
                  <a:pt x="282" y="36"/>
                </a:cubicBezTo>
                <a:cubicBezTo>
                  <a:pt x="285" y="35"/>
                  <a:pt x="283" y="36"/>
                  <a:pt x="285" y="36"/>
                </a:cubicBezTo>
                <a:cubicBezTo>
                  <a:pt x="287" y="35"/>
                  <a:pt x="287" y="35"/>
                  <a:pt x="287" y="35"/>
                </a:cubicBezTo>
                <a:cubicBezTo>
                  <a:pt x="287" y="35"/>
                  <a:pt x="286" y="35"/>
                  <a:pt x="287" y="35"/>
                </a:cubicBezTo>
                <a:cubicBezTo>
                  <a:pt x="288" y="34"/>
                  <a:pt x="289" y="34"/>
                  <a:pt x="291" y="34"/>
                </a:cubicBezTo>
                <a:cubicBezTo>
                  <a:pt x="290" y="33"/>
                  <a:pt x="291" y="33"/>
                  <a:pt x="292" y="32"/>
                </a:cubicBezTo>
                <a:close/>
                <a:moveTo>
                  <a:pt x="294" y="32"/>
                </a:moveTo>
                <a:cubicBezTo>
                  <a:pt x="293" y="34"/>
                  <a:pt x="293" y="33"/>
                  <a:pt x="291" y="33"/>
                </a:cubicBezTo>
                <a:cubicBezTo>
                  <a:pt x="291" y="34"/>
                  <a:pt x="291" y="34"/>
                  <a:pt x="291" y="34"/>
                </a:cubicBezTo>
                <a:cubicBezTo>
                  <a:pt x="292" y="34"/>
                  <a:pt x="296" y="32"/>
                  <a:pt x="294" y="32"/>
                </a:cubicBezTo>
                <a:close/>
                <a:moveTo>
                  <a:pt x="297" y="30"/>
                </a:moveTo>
                <a:cubicBezTo>
                  <a:pt x="297" y="31"/>
                  <a:pt x="296" y="31"/>
                  <a:pt x="295" y="32"/>
                </a:cubicBezTo>
                <a:cubicBezTo>
                  <a:pt x="296" y="32"/>
                  <a:pt x="296" y="32"/>
                  <a:pt x="297" y="32"/>
                </a:cubicBezTo>
                <a:cubicBezTo>
                  <a:pt x="298" y="31"/>
                  <a:pt x="299" y="30"/>
                  <a:pt x="297" y="30"/>
                </a:cubicBezTo>
                <a:close/>
                <a:moveTo>
                  <a:pt x="306" y="30"/>
                </a:moveTo>
                <a:cubicBezTo>
                  <a:pt x="305" y="30"/>
                  <a:pt x="304" y="31"/>
                  <a:pt x="303" y="31"/>
                </a:cubicBezTo>
                <a:cubicBezTo>
                  <a:pt x="304" y="31"/>
                  <a:pt x="305" y="31"/>
                  <a:pt x="306" y="30"/>
                </a:cubicBezTo>
                <a:close/>
                <a:moveTo>
                  <a:pt x="324" y="12"/>
                </a:moveTo>
                <a:cubicBezTo>
                  <a:pt x="326" y="12"/>
                  <a:pt x="327" y="12"/>
                  <a:pt x="329" y="11"/>
                </a:cubicBezTo>
                <a:cubicBezTo>
                  <a:pt x="327" y="11"/>
                  <a:pt x="326" y="12"/>
                  <a:pt x="324" y="12"/>
                </a:cubicBezTo>
                <a:close/>
                <a:moveTo>
                  <a:pt x="318" y="16"/>
                </a:moveTo>
                <a:cubicBezTo>
                  <a:pt x="319" y="16"/>
                  <a:pt x="320" y="15"/>
                  <a:pt x="321" y="15"/>
                </a:cubicBezTo>
                <a:cubicBezTo>
                  <a:pt x="320" y="15"/>
                  <a:pt x="319" y="15"/>
                  <a:pt x="318" y="16"/>
                </a:cubicBezTo>
                <a:close/>
                <a:moveTo>
                  <a:pt x="323" y="23"/>
                </a:moveTo>
                <a:cubicBezTo>
                  <a:pt x="321" y="24"/>
                  <a:pt x="322" y="25"/>
                  <a:pt x="320" y="25"/>
                </a:cubicBezTo>
                <a:cubicBezTo>
                  <a:pt x="320" y="26"/>
                  <a:pt x="325" y="24"/>
                  <a:pt x="323" y="23"/>
                </a:cubicBezTo>
                <a:close/>
                <a:moveTo>
                  <a:pt x="332" y="11"/>
                </a:moveTo>
                <a:cubicBezTo>
                  <a:pt x="331" y="11"/>
                  <a:pt x="331" y="11"/>
                  <a:pt x="331" y="12"/>
                </a:cubicBezTo>
                <a:cubicBezTo>
                  <a:pt x="329" y="12"/>
                  <a:pt x="333" y="10"/>
                  <a:pt x="331" y="10"/>
                </a:cubicBezTo>
                <a:cubicBezTo>
                  <a:pt x="330" y="11"/>
                  <a:pt x="329" y="11"/>
                  <a:pt x="330" y="12"/>
                </a:cubicBezTo>
                <a:cubicBezTo>
                  <a:pt x="329" y="12"/>
                  <a:pt x="328" y="11"/>
                  <a:pt x="327" y="12"/>
                </a:cubicBezTo>
                <a:cubicBezTo>
                  <a:pt x="326" y="12"/>
                  <a:pt x="322" y="13"/>
                  <a:pt x="322" y="14"/>
                </a:cubicBezTo>
                <a:cubicBezTo>
                  <a:pt x="322" y="14"/>
                  <a:pt x="325" y="13"/>
                  <a:pt x="326" y="13"/>
                </a:cubicBezTo>
                <a:cubicBezTo>
                  <a:pt x="325" y="15"/>
                  <a:pt x="332" y="11"/>
                  <a:pt x="334" y="11"/>
                </a:cubicBezTo>
                <a:cubicBezTo>
                  <a:pt x="334" y="11"/>
                  <a:pt x="332" y="11"/>
                  <a:pt x="332" y="11"/>
                </a:cubicBezTo>
                <a:close/>
                <a:moveTo>
                  <a:pt x="335" y="9"/>
                </a:moveTo>
                <a:cubicBezTo>
                  <a:pt x="334" y="10"/>
                  <a:pt x="332" y="10"/>
                  <a:pt x="333" y="10"/>
                </a:cubicBezTo>
                <a:cubicBezTo>
                  <a:pt x="334" y="10"/>
                  <a:pt x="334" y="9"/>
                  <a:pt x="336" y="9"/>
                </a:cubicBezTo>
                <a:cubicBezTo>
                  <a:pt x="336" y="9"/>
                  <a:pt x="336" y="9"/>
                  <a:pt x="335" y="9"/>
                </a:cubicBezTo>
                <a:close/>
                <a:moveTo>
                  <a:pt x="337" y="8"/>
                </a:moveTo>
                <a:cubicBezTo>
                  <a:pt x="337" y="8"/>
                  <a:pt x="338" y="8"/>
                  <a:pt x="338" y="8"/>
                </a:cubicBezTo>
                <a:cubicBezTo>
                  <a:pt x="339" y="7"/>
                  <a:pt x="339" y="8"/>
                  <a:pt x="339" y="8"/>
                </a:cubicBezTo>
                <a:cubicBezTo>
                  <a:pt x="340" y="7"/>
                  <a:pt x="340" y="7"/>
                  <a:pt x="339" y="7"/>
                </a:cubicBezTo>
                <a:lnTo>
                  <a:pt x="337" y="8"/>
                </a:lnTo>
                <a:close/>
                <a:moveTo>
                  <a:pt x="344" y="9"/>
                </a:moveTo>
                <a:cubicBezTo>
                  <a:pt x="343" y="8"/>
                  <a:pt x="342" y="9"/>
                  <a:pt x="342" y="9"/>
                </a:cubicBezTo>
                <a:cubicBezTo>
                  <a:pt x="341" y="10"/>
                  <a:pt x="343" y="9"/>
                  <a:pt x="344" y="9"/>
                </a:cubicBezTo>
                <a:close/>
                <a:moveTo>
                  <a:pt x="356" y="6"/>
                </a:moveTo>
                <a:cubicBezTo>
                  <a:pt x="356" y="6"/>
                  <a:pt x="356" y="6"/>
                  <a:pt x="356" y="6"/>
                </a:cubicBezTo>
                <a:cubicBezTo>
                  <a:pt x="355" y="6"/>
                  <a:pt x="354" y="7"/>
                  <a:pt x="354" y="6"/>
                </a:cubicBezTo>
                <a:cubicBezTo>
                  <a:pt x="353" y="7"/>
                  <a:pt x="353" y="7"/>
                  <a:pt x="352" y="7"/>
                </a:cubicBezTo>
                <a:cubicBezTo>
                  <a:pt x="353" y="7"/>
                  <a:pt x="355" y="7"/>
                  <a:pt x="357" y="7"/>
                </a:cubicBezTo>
                <a:cubicBezTo>
                  <a:pt x="358" y="6"/>
                  <a:pt x="358" y="5"/>
                  <a:pt x="356" y="6"/>
                </a:cubicBezTo>
                <a:close/>
                <a:moveTo>
                  <a:pt x="366" y="5"/>
                </a:moveTo>
                <a:cubicBezTo>
                  <a:pt x="365" y="5"/>
                  <a:pt x="364" y="5"/>
                  <a:pt x="363" y="6"/>
                </a:cubicBezTo>
                <a:cubicBezTo>
                  <a:pt x="363" y="6"/>
                  <a:pt x="363" y="6"/>
                  <a:pt x="363" y="6"/>
                </a:cubicBezTo>
                <a:cubicBezTo>
                  <a:pt x="364" y="6"/>
                  <a:pt x="365" y="6"/>
                  <a:pt x="366" y="5"/>
                </a:cubicBezTo>
                <a:close/>
                <a:moveTo>
                  <a:pt x="375" y="3"/>
                </a:moveTo>
                <a:cubicBezTo>
                  <a:pt x="376" y="3"/>
                  <a:pt x="377" y="3"/>
                  <a:pt x="378" y="3"/>
                </a:cubicBezTo>
                <a:cubicBezTo>
                  <a:pt x="378" y="2"/>
                  <a:pt x="375" y="3"/>
                  <a:pt x="373" y="3"/>
                </a:cubicBezTo>
                <a:cubicBezTo>
                  <a:pt x="373" y="4"/>
                  <a:pt x="374" y="4"/>
                  <a:pt x="375" y="4"/>
                </a:cubicBezTo>
                <a:cubicBezTo>
                  <a:pt x="375" y="4"/>
                  <a:pt x="376" y="4"/>
                  <a:pt x="377" y="3"/>
                </a:cubicBezTo>
                <a:cubicBezTo>
                  <a:pt x="376" y="3"/>
                  <a:pt x="376" y="3"/>
                  <a:pt x="375" y="3"/>
                </a:cubicBezTo>
                <a:close/>
                <a:moveTo>
                  <a:pt x="379" y="3"/>
                </a:moveTo>
                <a:cubicBezTo>
                  <a:pt x="381" y="3"/>
                  <a:pt x="383" y="2"/>
                  <a:pt x="385" y="2"/>
                </a:cubicBezTo>
                <a:cubicBezTo>
                  <a:pt x="385" y="2"/>
                  <a:pt x="384" y="2"/>
                  <a:pt x="384" y="2"/>
                </a:cubicBezTo>
                <a:cubicBezTo>
                  <a:pt x="383" y="2"/>
                  <a:pt x="383" y="2"/>
                  <a:pt x="383" y="2"/>
                </a:cubicBezTo>
                <a:cubicBezTo>
                  <a:pt x="382" y="2"/>
                  <a:pt x="381" y="2"/>
                  <a:pt x="379" y="3"/>
                </a:cubicBezTo>
                <a:close/>
                <a:moveTo>
                  <a:pt x="381" y="3"/>
                </a:moveTo>
                <a:cubicBezTo>
                  <a:pt x="379" y="3"/>
                  <a:pt x="381" y="4"/>
                  <a:pt x="380" y="4"/>
                </a:cubicBezTo>
                <a:cubicBezTo>
                  <a:pt x="381" y="4"/>
                  <a:pt x="381" y="4"/>
                  <a:pt x="381" y="4"/>
                </a:cubicBezTo>
                <a:cubicBezTo>
                  <a:pt x="382" y="4"/>
                  <a:pt x="382" y="3"/>
                  <a:pt x="381" y="3"/>
                </a:cubicBezTo>
                <a:close/>
                <a:moveTo>
                  <a:pt x="388" y="3"/>
                </a:moveTo>
                <a:cubicBezTo>
                  <a:pt x="388" y="3"/>
                  <a:pt x="387" y="3"/>
                  <a:pt x="388" y="2"/>
                </a:cubicBezTo>
                <a:cubicBezTo>
                  <a:pt x="386" y="2"/>
                  <a:pt x="385" y="3"/>
                  <a:pt x="384" y="2"/>
                </a:cubicBezTo>
                <a:cubicBezTo>
                  <a:pt x="383" y="3"/>
                  <a:pt x="383" y="3"/>
                  <a:pt x="382" y="3"/>
                </a:cubicBezTo>
                <a:cubicBezTo>
                  <a:pt x="384" y="4"/>
                  <a:pt x="386" y="4"/>
                  <a:pt x="388" y="3"/>
                </a:cubicBezTo>
                <a:close/>
                <a:moveTo>
                  <a:pt x="392" y="1"/>
                </a:moveTo>
                <a:cubicBezTo>
                  <a:pt x="391" y="1"/>
                  <a:pt x="392" y="1"/>
                  <a:pt x="391" y="1"/>
                </a:cubicBezTo>
                <a:cubicBezTo>
                  <a:pt x="391" y="1"/>
                  <a:pt x="391" y="1"/>
                  <a:pt x="390" y="1"/>
                </a:cubicBezTo>
                <a:cubicBezTo>
                  <a:pt x="390" y="2"/>
                  <a:pt x="390" y="1"/>
                  <a:pt x="388" y="2"/>
                </a:cubicBezTo>
                <a:cubicBezTo>
                  <a:pt x="389" y="2"/>
                  <a:pt x="389" y="2"/>
                  <a:pt x="389" y="2"/>
                </a:cubicBezTo>
                <a:cubicBezTo>
                  <a:pt x="390" y="2"/>
                  <a:pt x="390" y="2"/>
                  <a:pt x="390" y="2"/>
                </a:cubicBezTo>
                <a:cubicBezTo>
                  <a:pt x="390" y="2"/>
                  <a:pt x="391" y="2"/>
                  <a:pt x="391" y="2"/>
                </a:cubicBezTo>
                <a:cubicBezTo>
                  <a:pt x="392" y="2"/>
                  <a:pt x="393" y="1"/>
                  <a:pt x="392" y="1"/>
                </a:cubicBezTo>
                <a:close/>
                <a:moveTo>
                  <a:pt x="399" y="2"/>
                </a:moveTo>
                <a:cubicBezTo>
                  <a:pt x="397" y="2"/>
                  <a:pt x="396" y="2"/>
                  <a:pt x="395" y="2"/>
                </a:cubicBezTo>
                <a:cubicBezTo>
                  <a:pt x="395" y="3"/>
                  <a:pt x="397" y="3"/>
                  <a:pt x="399" y="2"/>
                </a:cubicBezTo>
                <a:close/>
                <a:moveTo>
                  <a:pt x="406" y="1"/>
                </a:moveTo>
                <a:cubicBezTo>
                  <a:pt x="405" y="1"/>
                  <a:pt x="404" y="1"/>
                  <a:pt x="403" y="1"/>
                </a:cubicBezTo>
                <a:cubicBezTo>
                  <a:pt x="403" y="1"/>
                  <a:pt x="403" y="1"/>
                  <a:pt x="403" y="1"/>
                </a:cubicBezTo>
                <a:cubicBezTo>
                  <a:pt x="404" y="1"/>
                  <a:pt x="403" y="1"/>
                  <a:pt x="403" y="1"/>
                </a:cubicBezTo>
                <a:cubicBezTo>
                  <a:pt x="404" y="1"/>
                  <a:pt x="405" y="1"/>
                  <a:pt x="406" y="1"/>
                </a:cubicBezTo>
                <a:close/>
                <a:moveTo>
                  <a:pt x="411" y="2"/>
                </a:moveTo>
                <a:cubicBezTo>
                  <a:pt x="411" y="1"/>
                  <a:pt x="408" y="1"/>
                  <a:pt x="407" y="1"/>
                </a:cubicBezTo>
                <a:cubicBezTo>
                  <a:pt x="408" y="2"/>
                  <a:pt x="410" y="1"/>
                  <a:pt x="411" y="2"/>
                </a:cubicBezTo>
                <a:close/>
                <a:moveTo>
                  <a:pt x="411" y="2"/>
                </a:moveTo>
                <a:cubicBezTo>
                  <a:pt x="411" y="2"/>
                  <a:pt x="410" y="2"/>
                  <a:pt x="410" y="2"/>
                </a:cubicBezTo>
                <a:cubicBezTo>
                  <a:pt x="410" y="2"/>
                  <a:pt x="410" y="2"/>
                  <a:pt x="410" y="2"/>
                </a:cubicBezTo>
                <a:cubicBezTo>
                  <a:pt x="411" y="2"/>
                  <a:pt x="411" y="2"/>
                  <a:pt x="412" y="2"/>
                </a:cubicBezTo>
                <a:cubicBezTo>
                  <a:pt x="412" y="2"/>
                  <a:pt x="412" y="2"/>
                  <a:pt x="411" y="2"/>
                </a:cubicBezTo>
                <a:close/>
                <a:moveTo>
                  <a:pt x="418" y="2"/>
                </a:moveTo>
                <a:cubicBezTo>
                  <a:pt x="416" y="2"/>
                  <a:pt x="414" y="2"/>
                  <a:pt x="412" y="2"/>
                </a:cubicBezTo>
                <a:cubicBezTo>
                  <a:pt x="414" y="2"/>
                  <a:pt x="416" y="2"/>
                  <a:pt x="418" y="2"/>
                </a:cubicBezTo>
                <a:close/>
                <a:moveTo>
                  <a:pt x="419" y="1"/>
                </a:moveTo>
                <a:cubicBezTo>
                  <a:pt x="418" y="0"/>
                  <a:pt x="416" y="1"/>
                  <a:pt x="415" y="1"/>
                </a:cubicBezTo>
                <a:cubicBezTo>
                  <a:pt x="416" y="1"/>
                  <a:pt x="418" y="2"/>
                  <a:pt x="419" y="1"/>
                </a:cubicBezTo>
                <a:close/>
                <a:moveTo>
                  <a:pt x="429" y="3"/>
                </a:moveTo>
                <a:cubicBezTo>
                  <a:pt x="428" y="3"/>
                  <a:pt x="428" y="3"/>
                  <a:pt x="428" y="2"/>
                </a:cubicBezTo>
                <a:cubicBezTo>
                  <a:pt x="428" y="3"/>
                  <a:pt x="426" y="3"/>
                  <a:pt x="424" y="3"/>
                </a:cubicBezTo>
                <a:cubicBezTo>
                  <a:pt x="426" y="4"/>
                  <a:pt x="427" y="3"/>
                  <a:pt x="429" y="3"/>
                </a:cubicBezTo>
                <a:close/>
                <a:moveTo>
                  <a:pt x="109" y="202"/>
                </a:moveTo>
                <a:cubicBezTo>
                  <a:pt x="108" y="203"/>
                  <a:pt x="107" y="204"/>
                  <a:pt x="107" y="205"/>
                </a:cubicBezTo>
                <a:cubicBezTo>
                  <a:pt x="108" y="204"/>
                  <a:pt x="109" y="203"/>
                  <a:pt x="109" y="202"/>
                </a:cubicBezTo>
                <a:close/>
                <a:moveTo>
                  <a:pt x="131" y="179"/>
                </a:moveTo>
                <a:cubicBezTo>
                  <a:pt x="130" y="179"/>
                  <a:pt x="130" y="180"/>
                  <a:pt x="130" y="181"/>
                </a:cubicBezTo>
                <a:cubicBezTo>
                  <a:pt x="130" y="181"/>
                  <a:pt x="132" y="179"/>
                  <a:pt x="131" y="179"/>
                </a:cubicBezTo>
                <a:close/>
                <a:moveTo>
                  <a:pt x="139" y="166"/>
                </a:moveTo>
                <a:cubicBezTo>
                  <a:pt x="138" y="166"/>
                  <a:pt x="138" y="167"/>
                  <a:pt x="137" y="168"/>
                </a:cubicBezTo>
                <a:cubicBezTo>
                  <a:pt x="138" y="168"/>
                  <a:pt x="139" y="167"/>
                  <a:pt x="139" y="166"/>
                </a:cubicBezTo>
                <a:close/>
                <a:moveTo>
                  <a:pt x="149" y="157"/>
                </a:moveTo>
                <a:cubicBezTo>
                  <a:pt x="148" y="157"/>
                  <a:pt x="147" y="158"/>
                  <a:pt x="148" y="159"/>
                </a:cubicBezTo>
                <a:cubicBezTo>
                  <a:pt x="148" y="158"/>
                  <a:pt x="149" y="158"/>
                  <a:pt x="149" y="157"/>
                </a:cubicBezTo>
                <a:close/>
                <a:moveTo>
                  <a:pt x="159" y="147"/>
                </a:moveTo>
                <a:cubicBezTo>
                  <a:pt x="159" y="147"/>
                  <a:pt x="158" y="148"/>
                  <a:pt x="158" y="148"/>
                </a:cubicBezTo>
                <a:cubicBezTo>
                  <a:pt x="157" y="149"/>
                  <a:pt x="158" y="149"/>
                  <a:pt x="157" y="150"/>
                </a:cubicBezTo>
                <a:cubicBezTo>
                  <a:pt x="156" y="151"/>
                  <a:pt x="157" y="149"/>
                  <a:pt x="157" y="149"/>
                </a:cubicBezTo>
                <a:cubicBezTo>
                  <a:pt x="155" y="150"/>
                  <a:pt x="154" y="152"/>
                  <a:pt x="153" y="153"/>
                </a:cubicBezTo>
                <a:cubicBezTo>
                  <a:pt x="155" y="152"/>
                  <a:pt x="156" y="152"/>
                  <a:pt x="158" y="151"/>
                </a:cubicBezTo>
                <a:cubicBezTo>
                  <a:pt x="158" y="150"/>
                  <a:pt x="159" y="149"/>
                  <a:pt x="159" y="147"/>
                </a:cubicBezTo>
                <a:close/>
                <a:moveTo>
                  <a:pt x="165" y="142"/>
                </a:moveTo>
                <a:cubicBezTo>
                  <a:pt x="164" y="142"/>
                  <a:pt x="163" y="144"/>
                  <a:pt x="162" y="144"/>
                </a:cubicBezTo>
                <a:cubicBezTo>
                  <a:pt x="162" y="144"/>
                  <a:pt x="163" y="144"/>
                  <a:pt x="163" y="145"/>
                </a:cubicBezTo>
                <a:cubicBezTo>
                  <a:pt x="162" y="145"/>
                  <a:pt x="162" y="145"/>
                  <a:pt x="161" y="145"/>
                </a:cubicBezTo>
                <a:cubicBezTo>
                  <a:pt x="161" y="146"/>
                  <a:pt x="161" y="146"/>
                  <a:pt x="160" y="147"/>
                </a:cubicBezTo>
                <a:cubicBezTo>
                  <a:pt x="162" y="146"/>
                  <a:pt x="163" y="145"/>
                  <a:pt x="164" y="144"/>
                </a:cubicBezTo>
                <a:cubicBezTo>
                  <a:pt x="163" y="144"/>
                  <a:pt x="165" y="143"/>
                  <a:pt x="165" y="142"/>
                </a:cubicBezTo>
                <a:close/>
                <a:moveTo>
                  <a:pt x="174" y="136"/>
                </a:moveTo>
                <a:cubicBezTo>
                  <a:pt x="173" y="136"/>
                  <a:pt x="172" y="136"/>
                  <a:pt x="172" y="137"/>
                </a:cubicBezTo>
                <a:cubicBezTo>
                  <a:pt x="172" y="137"/>
                  <a:pt x="173" y="136"/>
                  <a:pt x="174" y="136"/>
                </a:cubicBezTo>
                <a:close/>
                <a:moveTo>
                  <a:pt x="187" y="126"/>
                </a:moveTo>
                <a:cubicBezTo>
                  <a:pt x="186" y="126"/>
                  <a:pt x="184" y="127"/>
                  <a:pt x="183" y="128"/>
                </a:cubicBezTo>
                <a:cubicBezTo>
                  <a:pt x="185" y="128"/>
                  <a:pt x="186" y="127"/>
                  <a:pt x="187" y="126"/>
                </a:cubicBezTo>
                <a:close/>
                <a:moveTo>
                  <a:pt x="209" y="110"/>
                </a:moveTo>
                <a:cubicBezTo>
                  <a:pt x="209" y="109"/>
                  <a:pt x="208" y="110"/>
                  <a:pt x="208" y="110"/>
                </a:cubicBezTo>
                <a:cubicBezTo>
                  <a:pt x="207" y="111"/>
                  <a:pt x="209" y="111"/>
                  <a:pt x="209" y="110"/>
                </a:cubicBezTo>
                <a:close/>
                <a:moveTo>
                  <a:pt x="301" y="62"/>
                </a:moveTo>
                <a:cubicBezTo>
                  <a:pt x="300" y="62"/>
                  <a:pt x="299" y="63"/>
                  <a:pt x="299" y="63"/>
                </a:cubicBezTo>
                <a:cubicBezTo>
                  <a:pt x="300" y="63"/>
                  <a:pt x="300" y="63"/>
                  <a:pt x="301" y="63"/>
                </a:cubicBezTo>
                <a:cubicBezTo>
                  <a:pt x="301" y="63"/>
                  <a:pt x="302" y="62"/>
                  <a:pt x="301" y="62"/>
                </a:cubicBezTo>
                <a:close/>
                <a:moveTo>
                  <a:pt x="320" y="56"/>
                </a:moveTo>
                <a:cubicBezTo>
                  <a:pt x="320" y="55"/>
                  <a:pt x="318" y="56"/>
                  <a:pt x="317" y="57"/>
                </a:cubicBezTo>
                <a:cubicBezTo>
                  <a:pt x="318" y="57"/>
                  <a:pt x="319" y="56"/>
                  <a:pt x="320" y="56"/>
                </a:cubicBezTo>
                <a:close/>
                <a:moveTo>
                  <a:pt x="399" y="40"/>
                </a:moveTo>
                <a:cubicBezTo>
                  <a:pt x="399" y="41"/>
                  <a:pt x="400" y="41"/>
                  <a:pt x="400" y="41"/>
                </a:cubicBezTo>
                <a:cubicBezTo>
                  <a:pt x="400" y="41"/>
                  <a:pt x="401" y="40"/>
                  <a:pt x="402" y="40"/>
                </a:cubicBezTo>
                <a:cubicBezTo>
                  <a:pt x="403" y="40"/>
                  <a:pt x="400" y="40"/>
                  <a:pt x="399" y="40"/>
                </a:cubicBezTo>
                <a:close/>
                <a:moveTo>
                  <a:pt x="410" y="40"/>
                </a:moveTo>
                <a:cubicBezTo>
                  <a:pt x="409" y="39"/>
                  <a:pt x="406" y="40"/>
                  <a:pt x="404" y="40"/>
                </a:cubicBezTo>
                <a:cubicBezTo>
                  <a:pt x="404" y="41"/>
                  <a:pt x="406" y="40"/>
                  <a:pt x="407" y="40"/>
                </a:cubicBezTo>
                <a:cubicBezTo>
                  <a:pt x="407" y="40"/>
                  <a:pt x="407" y="41"/>
                  <a:pt x="408" y="41"/>
                </a:cubicBezTo>
                <a:cubicBezTo>
                  <a:pt x="409" y="41"/>
                  <a:pt x="408" y="40"/>
                  <a:pt x="410" y="40"/>
                </a:cubicBezTo>
                <a:close/>
                <a:moveTo>
                  <a:pt x="412" y="40"/>
                </a:moveTo>
                <a:cubicBezTo>
                  <a:pt x="412" y="40"/>
                  <a:pt x="413" y="40"/>
                  <a:pt x="414" y="40"/>
                </a:cubicBezTo>
                <a:cubicBezTo>
                  <a:pt x="415" y="39"/>
                  <a:pt x="411" y="39"/>
                  <a:pt x="412" y="40"/>
                </a:cubicBezTo>
                <a:close/>
                <a:moveTo>
                  <a:pt x="439" y="39"/>
                </a:moveTo>
                <a:cubicBezTo>
                  <a:pt x="439" y="38"/>
                  <a:pt x="436" y="39"/>
                  <a:pt x="435" y="39"/>
                </a:cubicBezTo>
                <a:cubicBezTo>
                  <a:pt x="435" y="39"/>
                  <a:pt x="438" y="39"/>
                  <a:pt x="439" y="39"/>
                </a:cubicBezTo>
                <a:close/>
                <a:moveTo>
                  <a:pt x="450" y="3"/>
                </a:moveTo>
                <a:cubicBezTo>
                  <a:pt x="450" y="2"/>
                  <a:pt x="448" y="2"/>
                  <a:pt x="449" y="2"/>
                </a:cubicBezTo>
                <a:cubicBezTo>
                  <a:pt x="448" y="2"/>
                  <a:pt x="448" y="2"/>
                  <a:pt x="447" y="2"/>
                </a:cubicBezTo>
                <a:cubicBezTo>
                  <a:pt x="447" y="2"/>
                  <a:pt x="449" y="3"/>
                  <a:pt x="450" y="3"/>
                </a:cubicBezTo>
                <a:close/>
                <a:moveTo>
                  <a:pt x="450" y="40"/>
                </a:moveTo>
                <a:cubicBezTo>
                  <a:pt x="449" y="39"/>
                  <a:pt x="448" y="39"/>
                  <a:pt x="447" y="40"/>
                </a:cubicBezTo>
                <a:cubicBezTo>
                  <a:pt x="448" y="40"/>
                  <a:pt x="449" y="40"/>
                  <a:pt x="449" y="40"/>
                </a:cubicBezTo>
                <a:cubicBezTo>
                  <a:pt x="450" y="40"/>
                  <a:pt x="450" y="40"/>
                  <a:pt x="450" y="40"/>
                </a:cubicBezTo>
                <a:close/>
                <a:moveTo>
                  <a:pt x="455" y="41"/>
                </a:moveTo>
                <a:cubicBezTo>
                  <a:pt x="456" y="41"/>
                  <a:pt x="456" y="41"/>
                  <a:pt x="456" y="41"/>
                </a:cubicBezTo>
                <a:cubicBezTo>
                  <a:pt x="457" y="41"/>
                  <a:pt x="456" y="40"/>
                  <a:pt x="455" y="41"/>
                </a:cubicBezTo>
                <a:close/>
                <a:moveTo>
                  <a:pt x="472" y="42"/>
                </a:moveTo>
                <a:cubicBezTo>
                  <a:pt x="471" y="42"/>
                  <a:pt x="470" y="42"/>
                  <a:pt x="470" y="42"/>
                </a:cubicBezTo>
                <a:cubicBezTo>
                  <a:pt x="468" y="42"/>
                  <a:pt x="470" y="42"/>
                  <a:pt x="468" y="42"/>
                </a:cubicBezTo>
                <a:cubicBezTo>
                  <a:pt x="468" y="43"/>
                  <a:pt x="469" y="43"/>
                  <a:pt x="470" y="43"/>
                </a:cubicBezTo>
                <a:cubicBezTo>
                  <a:pt x="470" y="43"/>
                  <a:pt x="470" y="43"/>
                  <a:pt x="470" y="42"/>
                </a:cubicBezTo>
                <a:cubicBezTo>
                  <a:pt x="471" y="42"/>
                  <a:pt x="471" y="43"/>
                  <a:pt x="471" y="43"/>
                </a:cubicBezTo>
                <a:cubicBezTo>
                  <a:pt x="472" y="43"/>
                  <a:pt x="471" y="42"/>
                  <a:pt x="472" y="42"/>
                </a:cubicBezTo>
                <a:close/>
                <a:moveTo>
                  <a:pt x="476" y="43"/>
                </a:moveTo>
                <a:cubicBezTo>
                  <a:pt x="474" y="42"/>
                  <a:pt x="474" y="43"/>
                  <a:pt x="475" y="43"/>
                </a:cubicBezTo>
                <a:cubicBezTo>
                  <a:pt x="476" y="43"/>
                  <a:pt x="475" y="43"/>
                  <a:pt x="476" y="43"/>
                </a:cubicBezTo>
                <a:close/>
                <a:moveTo>
                  <a:pt x="478" y="44"/>
                </a:moveTo>
                <a:cubicBezTo>
                  <a:pt x="478" y="44"/>
                  <a:pt x="477" y="44"/>
                  <a:pt x="476" y="44"/>
                </a:cubicBezTo>
                <a:cubicBezTo>
                  <a:pt x="477" y="44"/>
                  <a:pt x="478" y="44"/>
                  <a:pt x="478" y="44"/>
                </a:cubicBezTo>
                <a:close/>
                <a:moveTo>
                  <a:pt x="486" y="45"/>
                </a:moveTo>
                <a:cubicBezTo>
                  <a:pt x="485" y="44"/>
                  <a:pt x="483" y="45"/>
                  <a:pt x="482" y="44"/>
                </a:cubicBezTo>
                <a:cubicBezTo>
                  <a:pt x="481" y="44"/>
                  <a:pt x="484" y="45"/>
                  <a:pt x="482" y="45"/>
                </a:cubicBezTo>
                <a:cubicBezTo>
                  <a:pt x="483" y="45"/>
                  <a:pt x="484" y="45"/>
                  <a:pt x="484" y="46"/>
                </a:cubicBezTo>
                <a:cubicBezTo>
                  <a:pt x="484" y="45"/>
                  <a:pt x="485" y="45"/>
                  <a:pt x="486" y="45"/>
                </a:cubicBezTo>
                <a:close/>
                <a:moveTo>
                  <a:pt x="495" y="10"/>
                </a:moveTo>
                <a:cubicBezTo>
                  <a:pt x="494" y="9"/>
                  <a:pt x="493" y="9"/>
                  <a:pt x="492" y="9"/>
                </a:cubicBezTo>
                <a:cubicBezTo>
                  <a:pt x="491" y="9"/>
                  <a:pt x="494" y="10"/>
                  <a:pt x="495" y="10"/>
                </a:cubicBezTo>
                <a:close/>
                <a:moveTo>
                  <a:pt x="568" y="35"/>
                </a:moveTo>
                <a:cubicBezTo>
                  <a:pt x="567" y="36"/>
                  <a:pt x="569" y="37"/>
                  <a:pt x="570" y="37"/>
                </a:cubicBezTo>
                <a:cubicBezTo>
                  <a:pt x="571" y="37"/>
                  <a:pt x="569" y="36"/>
                  <a:pt x="568" y="35"/>
                </a:cubicBezTo>
                <a:close/>
                <a:moveTo>
                  <a:pt x="587" y="46"/>
                </a:moveTo>
                <a:cubicBezTo>
                  <a:pt x="587" y="45"/>
                  <a:pt x="586" y="45"/>
                  <a:pt x="585" y="44"/>
                </a:cubicBezTo>
                <a:cubicBezTo>
                  <a:pt x="584" y="44"/>
                  <a:pt x="584" y="44"/>
                  <a:pt x="583" y="44"/>
                </a:cubicBezTo>
                <a:cubicBezTo>
                  <a:pt x="583" y="44"/>
                  <a:pt x="583" y="44"/>
                  <a:pt x="583" y="44"/>
                </a:cubicBezTo>
                <a:cubicBezTo>
                  <a:pt x="584" y="45"/>
                  <a:pt x="586" y="46"/>
                  <a:pt x="587" y="46"/>
                </a:cubicBezTo>
                <a:close/>
                <a:moveTo>
                  <a:pt x="592" y="48"/>
                </a:moveTo>
                <a:cubicBezTo>
                  <a:pt x="591" y="49"/>
                  <a:pt x="594" y="49"/>
                  <a:pt x="595" y="51"/>
                </a:cubicBezTo>
                <a:cubicBezTo>
                  <a:pt x="595" y="50"/>
                  <a:pt x="593" y="49"/>
                  <a:pt x="592" y="48"/>
                </a:cubicBezTo>
                <a:close/>
                <a:moveTo>
                  <a:pt x="626" y="71"/>
                </a:moveTo>
                <a:cubicBezTo>
                  <a:pt x="625" y="70"/>
                  <a:pt x="624" y="69"/>
                  <a:pt x="623" y="69"/>
                </a:cubicBezTo>
                <a:cubicBezTo>
                  <a:pt x="624" y="70"/>
                  <a:pt x="623" y="69"/>
                  <a:pt x="623" y="70"/>
                </a:cubicBezTo>
                <a:cubicBezTo>
                  <a:pt x="625" y="70"/>
                  <a:pt x="626" y="71"/>
                  <a:pt x="626" y="71"/>
                </a:cubicBezTo>
                <a:close/>
                <a:moveTo>
                  <a:pt x="627" y="72"/>
                </a:moveTo>
                <a:cubicBezTo>
                  <a:pt x="628" y="73"/>
                  <a:pt x="628" y="73"/>
                  <a:pt x="629" y="74"/>
                </a:cubicBezTo>
                <a:cubicBezTo>
                  <a:pt x="630" y="73"/>
                  <a:pt x="626" y="72"/>
                  <a:pt x="627" y="72"/>
                </a:cubicBezTo>
                <a:close/>
                <a:moveTo>
                  <a:pt x="660" y="99"/>
                </a:moveTo>
                <a:cubicBezTo>
                  <a:pt x="659" y="98"/>
                  <a:pt x="658" y="97"/>
                  <a:pt x="657" y="96"/>
                </a:cubicBezTo>
                <a:cubicBezTo>
                  <a:pt x="658" y="97"/>
                  <a:pt x="658" y="98"/>
                  <a:pt x="660" y="99"/>
                </a:cubicBezTo>
                <a:close/>
                <a:moveTo>
                  <a:pt x="665" y="156"/>
                </a:moveTo>
                <a:cubicBezTo>
                  <a:pt x="664" y="155"/>
                  <a:pt x="663" y="156"/>
                  <a:pt x="662" y="155"/>
                </a:cubicBezTo>
                <a:cubicBezTo>
                  <a:pt x="662" y="155"/>
                  <a:pt x="662" y="155"/>
                  <a:pt x="662" y="155"/>
                </a:cubicBezTo>
                <a:cubicBezTo>
                  <a:pt x="662" y="156"/>
                  <a:pt x="663" y="155"/>
                  <a:pt x="663" y="156"/>
                </a:cubicBezTo>
                <a:cubicBezTo>
                  <a:pt x="664" y="156"/>
                  <a:pt x="664" y="156"/>
                  <a:pt x="664" y="157"/>
                </a:cubicBezTo>
                <a:cubicBezTo>
                  <a:pt x="665" y="158"/>
                  <a:pt x="665" y="157"/>
                  <a:pt x="665" y="156"/>
                </a:cubicBezTo>
                <a:close/>
                <a:moveTo>
                  <a:pt x="667" y="159"/>
                </a:moveTo>
                <a:cubicBezTo>
                  <a:pt x="666" y="157"/>
                  <a:pt x="665" y="157"/>
                  <a:pt x="665" y="157"/>
                </a:cubicBezTo>
                <a:cubicBezTo>
                  <a:pt x="666" y="158"/>
                  <a:pt x="665" y="158"/>
                  <a:pt x="666" y="159"/>
                </a:cubicBezTo>
                <a:cubicBezTo>
                  <a:pt x="669" y="161"/>
                  <a:pt x="664" y="157"/>
                  <a:pt x="667" y="159"/>
                </a:cubicBezTo>
                <a:close/>
                <a:moveTo>
                  <a:pt x="670" y="162"/>
                </a:moveTo>
                <a:cubicBezTo>
                  <a:pt x="669" y="162"/>
                  <a:pt x="669" y="162"/>
                  <a:pt x="668" y="161"/>
                </a:cubicBezTo>
                <a:cubicBezTo>
                  <a:pt x="668" y="162"/>
                  <a:pt x="669" y="163"/>
                  <a:pt x="669" y="163"/>
                </a:cubicBezTo>
                <a:cubicBezTo>
                  <a:pt x="669" y="163"/>
                  <a:pt x="670" y="163"/>
                  <a:pt x="670" y="162"/>
                </a:cubicBezTo>
                <a:close/>
                <a:moveTo>
                  <a:pt x="672" y="165"/>
                </a:moveTo>
                <a:cubicBezTo>
                  <a:pt x="671" y="164"/>
                  <a:pt x="671" y="163"/>
                  <a:pt x="670" y="163"/>
                </a:cubicBezTo>
                <a:cubicBezTo>
                  <a:pt x="671" y="164"/>
                  <a:pt x="671" y="164"/>
                  <a:pt x="670" y="164"/>
                </a:cubicBezTo>
                <a:cubicBezTo>
                  <a:pt x="671" y="164"/>
                  <a:pt x="671" y="164"/>
                  <a:pt x="672" y="165"/>
                </a:cubicBezTo>
                <a:close/>
                <a:moveTo>
                  <a:pt x="700" y="141"/>
                </a:moveTo>
                <a:cubicBezTo>
                  <a:pt x="700" y="143"/>
                  <a:pt x="702" y="143"/>
                  <a:pt x="702" y="144"/>
                </a:cubicBezTo>
                <a:cubicBezTo>
                  <a:pt x="703" y="144"/>
                  <a:pt x="701" y="142"/>
                  <a:pt x="700" y="141"/>
                </a:cubicBezTo>
                <a:close/>
                <a:moveTo>
                  <a:pt x="705" y="149"/>
                </a:moveTo>
                <a:cubicBezTo>
                  <a:pt x="705" y="147"/>
                  <a:pt x="704" y="146"/>
                  <a:pt x="703" y="145"/>
                </a:cubicBezTo>
                <a:cubicBezTo>
                  <a:pt x="703" y="146"/>
                  <a:pt x="705" y="147"/>
                  <a:pt x="705" y="149"/>
                </a:cubicBezTo>
                <a:close/>
                <a:moveTo>
                  <a:pt x="707" y="150"/>
                </a:moveTo>
                <a:cubicBezTo>
                  <a:pt x="707" y="150"/>
                  <a:pt x="707" y="149"/>
                  <a:pt x="706" y="149"/>
                </a:cubicBezTo>
                <a:cubicBezTo>
                  <a:pt x="706" y="150"/>
                  <a:pt x="706" y="150"/>
                  <a:pt x="706" y="150"/>
                </a:cubicBezTo>
                <a:lnTo>
                  <a:pt x="707" y="150"/>
                </a:lnTo>
                <a:close/>
                <a:moveTo>
                  <a:pt x="761" y="292"/>
                </a:moveTo>
                <a:cubicBezTo>
                  <a:pt x="761" y="292"/>
                  <a:pt x="762" y="293"/>
                  <a:pt x="762" y="292"/>
                </a:cubicBezTo>
                <a:cubicBezTo>
                  <a:pt x="761" y="292"/>
                  <a:pt x="761" y="291"/>
                  <a:pt x="761" y="290"/>
                </a:cubicBezTo>
                <a:cubicBezTo>
                  <a:pt x="760" y="291"/>
                  <a:pt x="761" y="292"/>
                  <a:pt x="761" y="292"/>
                </a:cubicBezTo>
                <a:close/>
                <a:moveTo>
                  <a:pt x="740" y="199"/>
                </a:moveTo>
                <a:cubicBezTo>
                  <a:pt x="741" y="201"/>
                  <a:pt x="742" y="203"/>
                  <a:pt x="743" y="203"/>
                </a:cubicBezTo>
                <a:cubicBezTo>
                  <a:pt x="742" y="202"/>
                  <a:pt x="742" y="200"/>
                  <a:pt x="740" y="199"/>
                </a:cubicBezTo>
                <a:close/>
                <a:moveTo>
                  <a:pt x="745" y="252"/>
                </a:moveTo>
                <a:cubicBezTo>
                  <a:pt x="744" y="250"/>
                  <a:pt x="742" y="247"/>
                  <a:pt x="741" y="246"/>
                </a:cubicBezTo>
                <a:cubicBezTo>
                  <a:pt x="740" y="245"/>
                  <a:pt x="740" y="246"/>
                  <a:pt x="740" y="246"/>
                </a:cubicBezTo>
                <a:cubicBezTo>
                  <a:pt x="742" y="248"/>
                  <a:pt x="743" y="250"/>
                  <a:pt x="744" y="252"/>
                </a:cubicBezTo>
                <a:cubicBezTo>
                  <a:pt x="744" y="253"/>
                  <a:pt x="745" y="253"/>
                  <a:pt x="745" y="252"/>
                </a:cubicBezTo>
                <a:close/>
                <a:moveTo>
                  <a:pt x="749" y="260"/>
                </a:moveTo>
                <a:cubicBezTo>
                  <a:pt x="748" y="259"/>
                  <a:pt x="747" y="257"/>
                  <a:pt x="745" y="255"/>
                </a:cubicBezTo>
                <a:cubicBezTo>
                  <a:pt x="746" y="257"/>
                  <a:pt x="747" y="259"/>
                  <a:pt x="748" y="261"/>
                </a:cubicBezTo>
                <a:cubicBezTo>
                  <a:pt x="749" y="261"/>
                  <a:pt x="749" y="261"/>
                  <a:pt x="749" y="260"/>
                </a:cubicBezTo>
                <a:close/>
                <a:moveTo>
                  <a:pt x="754" y="269"/>
                </a:moveTo>
                <a:cubicBezTo>
                  <a:pt x="753" y="266"/>
                  <a:pt x="750" y="264"/>
                  <a:pt x="749" y="262"/>
                </a:cubicBezTo>
                <a:cubicBezTo>
                  <a:pt x="749" y="264"/>
                  <a:pt x="749" y="264"/>
                  <a:pt x="749" y="264"/>
                </a:cubicBezTo>
                <a:cubicBezTo>
                  <a:pt x="751" y="265"/>
                  <a:pt x="752" y="267"/>
                  <a:pt x="754" y="269"/>
                </a:cubicBezTo>
                <a:close/>
                <a:moveTo>
                  <a:pt x="758" y="224"/>
                </a:moveTo>
                <a:cubicBezTo>
                  <a:pt x="758" y="224"/>
                  <a:pt x="758" y="223"/>
                  <a:pt x="757" y="223"/>
                </a:cubicBezTo>
                <a:cubicBezTo>
                  <a:pt x="758" y="225"/>
                  <a:pt x="757" y="225"/>
                  <a:pt x="756" y="223"/>
                </a:cubicBezTo>
                <a:cubicBezTo>
                  <a:pt x="756" y="224"/>
                  <a:pt x="757" y="225"/>
                  <a:pt x="758" y="226"/>
                </a:cubicBezTo>
                <a:cubicBezTo>
                  <a:pt x="757" y="224"/>
                  <a:pt x="759" y="226"/>
                  <a:pt x="758" y="224"/>
                </a:cubicBezTo>
                <a:close/>
                <a:moveTo>
                  <a:pt x="768" y="283"/>
                </a:moveTo>
                <a:cubicBezTo>
                  <a:pt x="768" y="281"/>
                  <a:pt x="767" y="282"/>
                  <a:pt x="766" y="281"/>
                </a:cubicBezTo>
                <a:cubicBezTo>
                  <a:pt x="766" y="282"/>
                  <a:pt x="767" y="283"/>
                  <a:pt x="768" y="283"/>
                </a:cubicBezTo>
                <a:close/>
                <a:moveTo>
                  <a:pt x="768" y="279"/>
                </a:moveTo>
                <a:cubicBezTo>
                  <a:pt x="767" y="279"/>
                  <a:pt x="766" y="278"/>
                  <a:pt x="766" y="277"/>
                </a:cubicBezTo>
                <a:cubicBezTo>
                  <a:pt x="766" y="277"/>
                  <a:pt x="766" y="278"/>
                  <a:pt x="766" y="279"/>
                </a:cubicBezTo>
                <a:cubicBezTo>
                  <a:pt x="766" y="278"/>
                  <a:pt x="767" y="279"/>
                  <a:pt x="768" y="281"/>
                </a:cubicBezTo>
                <a:cubicBezTo>
                  <a:pt x="768" y="280"/>
                  <a:pt x="768" y="280"/>
                  <a:pt x="767" y="280"/>
                </a:cubicBezTo>
                <a:cubicBezTo>
                  <a:pt x="767" y="279"/>
                  <a:pt x="768" y="280"/>
                  <a:pt x="768" y="279"/>
                </a:cubicBezTo>
                <a:close/>
                <a:moveTo>
                  <a:pt x="771" y="260"/>
                </a:moveTo>
                <a:cubicBezTo>
                  <a:pt x="771" y="260"/>
                  <a:pt x="772" y="261"/>
                  <a:pt x="772" y="262"/>
                </a:cubicBezTo>
                <a:cubicBezTo>
                  <a:pt x="772" y="262"/>
                  <a:pt x="772" y="260"/>
                  <a:pt x="771" y="260"/>
                </a:cubicBezTo>
                <a:close/>
                <a:moveTo>
                  <a:pt x="775" y="271"/>
                </a:moveTo>
                <a:cubicBezTo>
                  <a:pt x="775" y="269"/>
                  <a:pt x="774" y="268"/>
                  <a:pt x="773" y="266"/>
                </a:cubicBezTo>
                <a:cubicBezTo>
                  <a:pt x="773" y="268"/>
                  <a:pt x="774" y="269"/>
                  <a:pt x="775" y="271"/>
                </a:cubicBezTo>
                <a:close/>
                <a:moveTo>
                  <a:pt x="777" y="277"/>
                </a:moveTo>
                <a:cubicBezTo>
                  <a:pt x="777" y="276"/>
                  <a:pt x="777" y="275"/>
                  <a:pt x="776" y="275"/>
                </a:cubicBezTo>
                <a:cubicBezTo>
                  <a:pt x="776" y="276"/>
                  <a:pt x="777" y="276"/>
                  <a:pt x="777" y="277"/>
                </a:cubicBezTo>
                <a:close/>
                <a:moveTo>
                  <a:pt x="779" y="276"/>
                </a:moveTo>
                <a:cubicBezTo>
                  <a:pt x="778" y="276"/>
                  <a:pt x="780" y="279"/>
                  <a:pt x="780" y="277"/>
                </a:cubicBezTo>
                <a:cubicBezTo>
                  <a:pt x="779" y="277"/>
                  <a:pt x="779" y="277"/>
                  <a:pt x="779" y="276"/>
                </a:cubicBezTo>
                <a:cubicBezTo>
                  <a:pt x="779" y="276"/>
                  <a:pt x="779" y="276"/>
                  <a:pt x="779" y="276"/>
                </a:cubicBezTo>
                <a:close/>
                <a:moveTo>
                  <a:pt x="782" y="283"/>
                </a:moveTo>
                <a:cubicBezTo>
                  <a:pt x="782" y="284"/>
                  <a:pt x="781" y="285"/>
                  <a:pt x="780" y="284"/>
                </a:cubicBezTo>
                <a:cubicBezTo>
                  <a:pt x="781" y="283"/>
                  <a:pt x="781" y="283"/>
                  <a:pt x="781" y="281"/>
                </a:cubicBezTo>
                <a:cubicBezTo>
                  <a:pt x="780" y="281"/>
                  <a:pt x="780" y="280"/>
                  <a:pt x="780" y="279"/>
                </a:cubicBezTo>
                <a:cubicBezTo>
                  <a:pt x="779" y="278"/>
                  <a:pt x="778" y="277"/>
                  <a:pt x="777" y="275"/>
                </a:cubicBezTo>
                <a:cubicBezTo>
                  <a:pt x="777" y="276"/>
                  <a:pt x="778" y="277"/>
                  <a:pt x="778" y="278"/>
                </a:cubicBezTo>
                <a:cubicBezTo>
                  <a:pt x="778" y="279"/>
                  <a:pt x="778" y="277"/>
                  <a:pt x="777" y="278"/>
                </a:cubicBezTo>
                <a:cubicBezTo>
                  <a:pt x="778" y="280"/>
                  <a:pt x="780" y="282"/>
                  <a:pt x="780" y="285"/>
                </a:cubicBezTo>
                <a:cubicBezTo>
                  <a:pt x="781" y="286"/>
                  <a:pt x="783" y="286"/>
                  <a:pt x="782" y="283"/>
                </a:cubicBezTo>
                <a:close/>
                <a:moveTo>
                  <a:pt x="713" y="312"/>
                </a:moveTo>
                <a:cubicBezTo>
                  <a:pt x="713" y="312"/>
                  <a:pt x="713" y="312"/>
                  <a:pt x="713" y="313"/>
                </a:cubicBezTo>
                <a:cubicBezTo>
                  <a:pt x="713" y="313"/>
                  <a:pt x="713" y="313"/>
                  <a:pt x="713" y="313"/>
                </a:cubicBezTo>
                <a:cubicBezTo>
                  <a:pt x="713" y="312"/>
                  <a:pt x="713" y="312"/>
                  <a:pt x="713" y="312"/>
                </a:cubicBezTo>
                <a:close/>
                <a:moveTo>
                  <a:pt x="694" y="321"/>
                </a:moveTo>
                <a:cubicBezTo>
                  <a:pt x="694" y="321"/>
                  <a:pt x="694" y="321"/>
                  <a:pt x="694" y="321"/>
                </a:cubicBezTo>
                <a:cubicBezTo>
                  <a:pt x="694" y="322"/>
                  <a:pt x="694" y="321"/>
                  <a:pt x="694" y="321"/>
                </a:cubicBezTo>
                <a:close/>
                <a:moveTo>
                  <a:pt x="704" y="332"/>
                </a:moveTo>
                <a:cubicBezTo>
                  <a:pt x="704" y="332"/>
                  <a:pt x="703" y="332"/>
                  <a:pt x="703" y="332"/>
                </a:cubicBezTo>
                <a:cubicBezTo>
                  <a:pt x="703" y="332"/>
                  <a:pt x="703" y="332"/>
                  <a:pt x="703" y="333"/>
                </a:cubicBezTo>
                <a:cubicBezTo>
                  <a:pt x="703" y="333"/>
                  <a:pt x="703" y="332"/>
                  <a:pt x="704" y="332"/>
                </a:cubicBezTo>
                <a:close/>
                <a:moveTo>
                  <a:pt x="704" y="331"/>
                </a:moveTo>
                <a:cubicBezTo>
                  <a:pt x="704" y="331"/>
                  <a:pt x="704" y="331"/>
                  <a:pt x="704" y="331"/>
                </a:cubicBezTo>
                <a:cubicBezTo>
                  <a:pt x="704" y="330"/>
                  <a:pt x="703" y="331"/>
                  <a:pt x="703" y="330"/>
                </a:cubicBezTo>
                <a:cubicBezTo>
                  <a:pt x="702" y="330"/>
                  <a:pt x="701" y="331"/>
                  <a:pt x="702" y="332"/>
                </a:cubicBezTo>
                <a:cubicBezTo>
                  <a:pt x="702" y="331"/>
                  <a:pt x="702" y="331"/>
                  <a:pt x="702" y="331"/>
                </a:cubicBezTo>
                <a:cubicBezTo>
                  <a:pt x="702" y="331"/>
                  <a:pt x="702" y="331"/>
                  <a:pt x="702" y="332"/>
                </a:cubicBezTo>
                <a:cubicBezTo>
                  <a:pt x="703" y="332"/>
                  <a:pt x="703" y="331"/>
                  <a:pt x="703" y="332"/>
                </a:cubicBezTo>
                <a:cubicBezTo>
                  <a:pt x="703" y="332"/>
                  <a:pt x="704" y="332"/>
                  <a:pt x="704" y="332"/>
                </a:cubicBezTo>
                <a:cubicBezTo>
                  <a:pt x="704" y="331"/>
                  <a:pt x="704" y="331"/>
                  <a:pt x="704" y="331"/>
                </a:cubicBezTo>
                <a:close/>
                <a:moveTo>
                  <a:pt x="705" y="331"/>
                </a:moveTo>
                <a:cubicBezTo>
                  <a:pt x="705" y="331"/>
                  <a:pt x="705" y="331"/>
                  <a:pt x="704" y="331"/>
                </a:cubicBezTo>
                <a:cubicBezTo>
                  <a:pt x="704" y="331"/>
                  <a:pt x="704" y="331"/>
                  <a:pt x="705" y="331"/>
                </a:cubicBezTo>
                <a:close/>
                <a:moveTo>
                  <a:pt x="707" y="332"/>
                </a:moveTo>
                <a:cubicBezTo>
                  <a:pt x="706" y="332"/>
                  <a:pt x="706" y="332"/>
                  <a:pt x="705" y="332"/>
                </a:cubicBezTo>
                <a:cubicBezTo>
                  <a:pt x="706" y="332"/>
                  <a:pt x="706" y="332"/>
                  <a:pt x="707" y="332"/>
                </a:cubicBezTo>
                <a:close/>
                <a:moveTo>
                  <a:pt x="708" y="333"/>
                </a:moveTo>
                <a:cubicBezTo>
                  <a:pt x="708" y="333"/>
                  <a:pt x="707" y="333"/>
                  <a:pt x="707" y="333"/>
                </a:cubicBezTo>
                <a:cubicBezTo>
                  <a:pt x="707" y="333"/>
                  <a:pt x="707" y="334"/>
                  <a:pt x="708" y="333"/>
                </a:cubicBezTo>
                <a:close/>
                <a:moveTo>
                  <a:pt x="710" y="321"/>
                </a:moveTo>
                <a:cubicBezTo>
                  <a:pt x="710" y="322"/>
                  <a:pt x="710" y="321"/>
                  <a:pt x="710" y="321"/>
                </a:cubicBezTo>
                <a:cubicBezTo>
                  <a:pt x="710" y="321"/>
                  <a:pt x="710" y="321"/>
                  <a:pt x="710" y="321"/>
                </a:cubicBezTo>
                <a:close/>
                <a:moveTo>
                  <a:pt x="710" y="322"/>
                </a:moveTo>
                <a:cubicBezTo>
                  <a:pt x="710" y="322"/>
                  <a:pt x="710" y="322"/>
                  <a:pt x="710" y="322"/>
                </a:cubicBezTo>
                <a:cubicBezTo>
                  <a:pt x="710" y="322"/>
                  <a:pt x="710" y="322"/>
                  <a:pt x="710" y="322"/>
                </a:cubicBezTo>
                <a:cubicBezTo>
                  <a:pt x="710" y="322"/>
                  <a:pt x="709" y="322"/>
                  <a:pt x="709" y="323"/>
                </a:cubicBezTo>
                <a:cubicBezTo>
                  <a:pt x="710" y="323"/>
                  <a:pt x="710" y="322"/>
                  <a:pt x="710" y="322"/>
                </a:cubicBezTo>
                <a:cubicBezTo>
                  <a:pt x="711" y="322"/>
                  <a:pt x="711" y="322"/>
                  <a:pt x="710" y="322"/>
                </a:cubicBezTo>
                <a:close/>
                <a:moveTo>
                  <a:pt x="714" y="340"/>
                </a:moveTo>
                <a:cubicBezTo>
                  <a:pt x="715" y="339"/>
                  <a:pt x="714" y="339"/>
                  <a:pt x="714" y="339"/>
                </a:cubicBezTo>
                <a:cubicBezTo>
                  <a:pt x="714" y="340"/>
                  <a:pt x="713" y="340"/>
                  <a:pt x="713" y="341"/>
                </a:cubicBezTo>
                <a:cubicBezTo>
                  <a:pt x="713" y="341"/>
                  <a:pt x="713" y="341"/>
                  <a:pt x="714" y="341"/>
                </a:cubicBezTo>
                <a:cubicBezTo>
                  <a:pt x="714" y="340"/>
                  <a:pt x="714" y="339"/>
                  <a:pt x="714" y="340"/>
                </a:cubicBezTo>
                <a:close/>
                <a:moveTo>
                  <a:pt x="720" y="316"/>
                </a:moveTo>
                <a:cubicBezTo>
                  <a:pt x="720" y="316"/>
                  <a:pt x="720" y="316"/>
                  <a:pt x="720" y="316"/>
                </a:cubicBezTo>
                <a:cubicBezTo>
                  <a:pt x="719" y="316"/>
                  <a:pt x="718" y="316"/>
                  <a:pt x="717" y="316"/>
                </a:cubicBezTo>
                <a:cubicBezTo>
                  <a:pt x="718" y="317"/>
                  <a:pt x="719" y="316"/>
                  <a:pt x="720" y="316"/>
                </a:cubicBezTo>
                <a:close/>
                <a:moveTo>
                  <a:pt x="721" y="341"/>
                </a:moveTo>
                <a:cubicBezTo>
                  <a:pt x="721" y="341"/>
                  <a:pt x="720" y="341"/>
                  <a:pt x="720" y="341"/>
                </a:cubicBezTo>
                <a:cubicBezTo>
                  <a:pt x="720" y="341"/>
                  <a:pt x="721" y="341"/>
                  <a:pt x="721" y="341"/>
                </a:cubicBezTo>
                <a:close/>
                <a:moveTo>
                  <a:pt x="722" y="317"/>
                </a:moveTo>
                <a:cubicBezTo>
                  <a:pt x="721" y="316"/>
                  <a:pt x="721" y="316"/>
                  <a:pt x="720" y="316"/>
                </a:cubicBezTo>
                <a:cubicBezTo>
                  <a:pt x="720" y="316"/>
                  <a:pt x="720" y="317"/>
                  <a:pt x="720" y="317"/>
                </a:cubicBezTo>
                <a:cubicBezTo>
                  <a:pt x="721" y="317"/>
                  <a:pt x="721" y="317"/>
                  <a:pt x="722" y="317"/>
                </a:cubicBezTo>
                <a:close/>
                <a:moveTo>
                  <a:pt x="724" y="317"/>
                </a:moveTo>
                <a:cubicBezTo>
                  <a:pt x="724" y="318"/>
                  <a:pt x="723" y="317"/>
                  <a:pt x="723" y="317"/>
                </a:cubicBezTo>
                <a:cubicBezTo>
                  <a:pt x="722" y="317"/>
                  <a:pt x="722" y="318"/>
                  <a:pt x="722" y="318"/>
                </a:cubicBezTo>
                <a:cubicBezTo>
                  <a:pt x="723" y="318"/>
                  <a:pt x="724" y="318"/>
                  <a:pt x="724" y="318"/>
                </a:cubicBezTo>
                <a:cubicBezTo>
                  <a:pt x="724" y="318"/>
                  <a:pt x="724" y="318"/>
                  <a:pt x="724" y="317"/>
                </a:cubicBezTo>
                <a:close/>
                <a:moveTo>
                  <a:pt x="734" y="348"/>
                </a:moveTo>
                <a:cubicBezTo>
                  <a:pt x="733" y="348"/>
                  <a:pt x="733" y="348"/>
                  <a:pt x="733" y="348"/>
                </a:cubicBezTo>
                <a:cubicBezTo>
                  <a:pt x="733" y="348"/>
                  <a:pt x="733" y="348"/>
                  <a:pt x="734" y="348"/>
                </a:cubicBezTo>
                <a:close/>
                <a:moveTo>
                  <a:pt x="735" y="348"/>
                </a:moveTo>
                <a:cubicBezTo>
                  <a:pt x="735" y="348"/>
                  <a:pt x="734" y="348"/>
                  <a:pt x="734" y="348"/>
                </a:cubicBezTo>
                <a:cubicBezTo>
                  <a:pt x="734" y="348"/>
                  <a:pt x="734" y="349"/>
                  <a:pt x="735" y="348"/>
                </a:cubicBezTo>
                <a:close/>
                <a:moveTo>
                  <a:pt x="736" y="349"/>
                </a:moveTo>
                <a:cubicBezTo>
                  <a:pt x="736" y="348"/>
                  <a:pt x="735" y="349"/>
                  <a:pt x="735" y="348"/>
                </a:cubicBezTo>
                <a:cubicBezTo>
                  <a:pt x="735" y="349"/>
                  <a:pt x="735" y="349"/>
                  <a:pt x="736" y="349"/>
                </a:cubicBezTo>
                <a:close/>
                <a:moveTo>
                  <a:pt x="748" y="356"/>
                </a:moveTo>
                <a:cubicBezTo>
                  <a:pt x="748" y="356"/>
                  <a:pt x="748" y="355"/>
                  <a:pt x="748" y="355"/>
                </a:cubicBezTo>
                <a:cubicBezTo>
                  <a:pt x="748" y="356"/>
                  <a:pt x="748" y="356"/>
                  <a:pt x="748" y="356"/>
                </a:cubicBezTo>
                <a:close/>
                <a:moveTo>
                  <a:pt x="756" y="318"/>
                </a:moveTo>
                <a:cubicBezTo>
                  <a:pt x="756" y="319"/>
                  <a:pt x="756" y="319"/>
                  <a:pt x="756" y="319"/>
                </a:cubicBezTo>
                <a:cubicBezTo>
                  <a:pt x="756" y="318"/>
                  <a:pt x="756" y="318"/>
                  <a:pt x="756" y="318"/>
                </a:cubicBezTo>
                <a:cubicBezTo>
                  <a:pt x="756" y="318"/>
                  <a:pt x="756" y="318"/>
                  <a:pt x="756" y="318"/>
                </a:cubicBezTo>
                <a:close/>
                <a:moveTo>
                  <a:pt x="756" y="360"/>
                </a:moveTo>
                <a:cubicBezTo>
                  <a:pt x="756" y="360"/>
                  <a:pt x="756" y="360"/>
                  <a:pt x="756" y="360"/>
                </a:cubicBezTo>
                <a:cubicBezTo>
                  <a:pt x="755" y="360"/>
                  <a:pt x="756" y="360"/>
                  <a:pt x="756" y="360"/>
                </a:cubicBezTo>
                <a:close/>
                <a:moveTo>
                  <a:pt x="757" y="361"/>
                </a:moveTo>
                <a:cubicBezTo>
                  <a:pt x="757" y="361"/>
                  <a:pt x="756" y="361"/>
                  <a:pt x="756" y="361"/>
                </a:cubicBezTo>
                <a:cubicBezTo>
                  <a:pt x="756" y="361"/>
                  <a:pt x="756" y="361"/>
                  <a:pt x="757" y="361"/>
                </a:cubicBezTo>
                <a:cubicBezTo>
                  <a:pt x="757" y="361"/>
                  <a:pt x="757" y="361"/>
                  <a:pt x="757" y="361"/>
                </a:cubicBezTo>
                <a:close/>
                <a:moveTo>
                  <a:pt x="757" y="318"/>
                </a:moveTo>
                <a:cubicBezTo>
                  <a:pt x="757" y="318"/>
                  <a:pt x="757" y="318"/>
                  <a:pt x="757" y="318"/>
                </a:cubicBezTo>
                <a:cubicBezTo>
                  <a:pt x="757" y="318"/>
                  <a:pt x="756" y="318"/>
                  <a:pt x="756" y="319"/>
                </a:cubicBezTo>
                <a:cubicBezTo>
                  <a:pt x="757" y="318"/>
                  <a:pt x="757" y="319"/>
                  <a:pt x="757" y="318"/>
                </a:cubicBezTo>
                <a:close/>
                <a:moveTo>
                  <a:pt x="758" y="319"/>
                </a:moveTo>
                <a:cubicBezTo>
                  <a:pt x="758" y="319"/>
                  <a:pt x="758" y="319"/>
                  <a:pt x="758" y="318"/>
                </a:cubicBezTo>
                <a:cubicBezTo>
                  <a:pt x="757" y="319"/>
                  <a:pt x="758" y="319"/>
                  <a:pt x="757" y="319"/>
                </a:cubicBezTo>
                <a:cubicBezTo>
                  <a:pt x="757" y="320"/>
                  <a:pt x="758" y="319"/>
                  <a:pt x="758" y="319"/>
                </a:cubicBezTo>
                <a:close/>
                <a:moveTo>
                  <a:pt x="759" y="319"/>
                </a:moveTo>
                <a:cubicBezTo>
                  <a:pt x="759" y="319"/>
                  <a:pt x="760" y="319"/>
                  <a:pt x="760" y="319"/>
                </a:cubicBezTo>
                <a:cubicBezTo>
                  <a:pt x="759" y="318"/>
                  <a:pt x="759" y="319"/>
                  <a:pt x="759" y="319"/>
                </a:cubicBezTo>
                <a:cubicBezTo>
                  <a:pt x="759" y="319"/>
                  <a:pt x="759" y="319"/>
                  <a:pt x="759" y="319"/>
                </a:cubicBezTo>
                <a:cubicBezTo>
                  <a:pt x="758" y="319"/>
                  <a:pt x="758" y="319"/>
                  <a:pt x="758" y="320"/>
                </a:cubicBezTo>
                <a:cubicBezTo>
                  <a:pt x="758" y="320"/>
                  <a:pt x="759" y="319"/>
                  <a:pt x="759" y="319"/>
                </a:cubicBezTo>
                <a:close/>
                <a:moveTo>
                  <a:pt x="765" y="366"/>
                </a:moveTo>
                <a:cubicBezTo>
                  <a:pt x="765" y="367"/>
                  <a:pt x="766" y="367"/>
                  <a:pt x="766" y="367"/>
                </a:cubicBezTo>
                <a:cubicBezTo>
                  <a:pt x="766" y="367"/>
                  <a:pt x="765" y="367"/>
                  <a:pt x="765" y="366"/>
                </a:cubicBezTo>
                <a:close/>
                <a:moveTo>
                  <a:pt x="769" y="369"/>
                </a:moveTo>
                <a:cubicBezTo>
                  <a:pt x="769" y="369"/>
                  <a:pt x="769" y="369"/>
                  <a:pt x="769" y="369"/>
                </a:cubicBezTo>
                <a:cubicBezTo>
                  <a:pt x="769" y="368"/>
                  <a:pt x="768" y="368"/>
                  <a:pt x="768" y="368"/>
                </a:cubicBezTo>
                <a:cubicBezTo>
                  <a:pt x="768" y="369"/>
                  <a:pt x="768" y="369"/>
                  <a:pt x="768" y="369"/>
                </a:cubicBezTo>
                <a:cubicBezTo>
                  <a:pt x="769" y="369"/>
                  <a:pt x="769" y="369"/>
                  <a:pt x="769" y="369"/>
                </a:cubicBezTo>
                <a:close/>
                <a:moveTo>
                  <a:pt x="774" y="372"/>
                </a:moveTo>
                <a:cubicBezTo>
                  <a:pt x="773" y="373"/>
                  <a:pt x="774" y="373"/>
                  <a:pt x="774" y="374"/>
                </a:cubicBezTo>
                <a:cubicBezTo>
                  <a:pt x="774" y="373"/>
                  <a:pt x="774" y="373"/>
                  <a:pt x="774" y="372"/>
                </a:cubicBezTo>
                <a:close/>
                <a:moveTo>
                  <a:pt x="792" y="333"/>
                </a:moveTo>
                <a:cubicBezTo>
                  <a:pt x="792" y="333"/>
                  <a:pt x="792" y="333"/>
                  <a:pt x="792" y="333"/>
                </a:cubicBezTo>
                <a:cubicBezTo>
                  <a:pt x="793" y="333"/>
                  <a:pt x="793" y="333"/>
                  <a:pt x="793" y="333"/>
                </a:cubicBezTo>
                <a:cubicBezTo>
                  <a:pt x="792" y="333"/>
                  <a:pt x="792" y="333"/>
                  <a:pt x="792" y="333"/>
                </a:cubicBezTo>
                <a:close/>
                <a:moveTo>
                  <a:pt x="791" y="317"/>
                </a:moveTo>
                <a:cubicBezTo>
                  <a:pt x="791" y="317"/>
                  <a:pt x="792" y="317"/>
                  <a:pt x="792" y="317"/>
                </a:cubicBezTo>
                <a:cubicBezTo>
                  <a:pt x="792" y="317"/>
                  <a:pt x="792" y="316"/>
                  <a:pt x="792" y="316"/>
                </a:cubicBezTo>
                <a:cubicBezTo>
                  <a:pt x="792" y="316"/>
                  <a:pt x="792" y="316"/>
                  <a:pt x="791" y="316"/>
                </a:cubicBezTo>
                <a:lnTo>
                  <a:pt x="791" y="317"/>
                </a:lnTo>
                <a:close/>
                <a:moveTo>
                  <a:pt x="790" y="335"/>
                </a:moveTo>
                <a:cubicBezTo>
                  <a:pt x="791" y="335"/>
                  <a:pt x="791" y="335"/>
                  <a:pt x="790" y="335"/>
                </a:cubicBezTo>
                <a:cubicBezTo>
                  <a:pt x="790" y="334"/>
                  <a:pt x="790" y="334"/>
                  <a:pt x="790" y="334"/>
                </a:cubicBezTo>
                <a:cubicBezTo>
                  <a:pt x="790" y="335"/>
                  <a:pt x="791" y="335"/>
                  <a:pt x="790" y="335"/>
                </a:cubicBezTo>
                <a:close/>
                <a:moveTo>
                  <a:pt x="789" y="340"/>
                </a:moveTo>
                <a:cubicBezTo>
                  <a:pt x="789" y="339"/>
                  <a:pt x="789" y="340"/>
                  <a:pt x="789" y="339"/>
                </a:cubicBezTo>
                <a:cubicBezTo>
                  <a:pt x="788" y="338"/>
                  <a:pt x="788" y="339"/>
                  <a:pt x="788" y="338"/>
                </a:cubicBezTo>
                <a:cubicBezTo>
                  <a:pt x="788" y="339"/>
                  <a:pt x="789" y="339"/>
                  <a:pt x="789" y="340"/>
                </a:cubicBezTo>
                <a:cubicBezTo>
                  <a:pt x="789" y="340"/>
                  <a:pt x="789" y="339"/>
                  <a:pt x="789" y="340"/>
                </a:cubicBezTo>
                <a:close/>
                <a:moveTo>
                  <a:pt x="789" y="339"/>
                </a:moveTo>
                <a:cubicBezTo>
                  <a:pt x="789" y="338"/>
                  <a:pt x="789" y="339"/>
                  <a:pt x="789" y="339"/>
                </a:cubicBezTo>
                <a:cubicBezTo>
                  <a:pt x="789" y="340"/>
                  <a:pt x="789" y="339"/>
                  <a:pt x="789" y="339"/>
                </a:cubicBezTo>
                <a:close/>
                <a:moveTo>
                  <a:pt x="789" y="339"/>
                </a:moveTo>
                <a:cubicBezTo>
                  <a:pt x="789" y="340"/>
                  <a:pt x="789" y="340"/>
                  <a:pt x="789" y="340"/>
                </a:cubicBezTo>
                <a:cubicBezTo>
                  <a:pt x="789" y="341"/>
                  <a:pt x="789" y="339"/>
                  <a:pt x="789" y="339"/>
                </a:cubicBezTo>
                <a:close/>
                <a:moveTo>
                  <a:pt x="790" y="340"/>
                </a:moveTo>
                <a:cubicBezTo>
                  <a:pt x="790" y="340"/>
                  <a:pt x="789" y="339"/>
                  <a:pt x="789" y="339"/>
                </a:cubicBezTo>
                <a:cubicBezTo>
                  <a:pt x="789" y="338"/>
                  <a:pt x="789" y="339"/>
                  <a:pt x="789" y="339"/>
                </a:cubicBezTo>
                <a:cubicBezTo>
                  <a:pt x="789" y="340"/>
                  <a:pt x="789" y="340"/>
                  <a:pt x="789" y="340"/>
                </a:cubicBezTo>
                <a:cubicBezTo>
                  <a:pt x="789" y="340"/>
                  <a:pt x="789" y="339"/>
                  <a:pt x="789" y="339"/>
                </a:cubicBezTo>
                <a:cubicBezTo>
                  <a:pt x="789" y="339"/>
                  <a:pt x="789" y="340"/>
                  <a:pt x="789" y="340"/>
                </a:cubicBezTo>
                <a:cubicBezTo>
                  <a:pt x="789" y="340"/>
                  <a:pt x="789" y="340"/>
                  <a:pt x="790" y="340"/>
                </a:cubicBezTo>
                <a:close/>
                <a:moveTo>
                  <a:pt x="790" y="334"/>
                </a:moveTo>
                <a:cubicBezTo>
                  <a:pt x="790" y="334"/>
                  <a:pt x="790" y="336"/>
                  <a:pt x="790" y="335"/>
                </a:cubicBezTo>
                <a:cubicBezTo>
                  <a:pt x="791" y="336"/>
                  <a:pt x="791" y="336"/>
                  <a:pt x="790" y="335"/>
                </a:cubicBezTo>
                <a:cubicBezTo>
                  <a:pt x="790" y="335"/>
                  <a:pt x="790" y="335"/>
                  <a:pt x="790" y="335"/>
                </a:cubicBezTo>
                <a:cubicBezTo>
                  <a:pt x="790" y="335"/>
                  <a:pt x="790" y="335"/>
                  <a:pt x="790" y="334"/>
                </a:cubicBezTo>
                <a:close/>
                <a:moveTo>
                  <a:pt x="790" y="336"/>
                </a:moveTo>
                <a:cubicBezTo>
                  <a:pt x="791" y="336"/>
                  <a:pt x="791" y="336"/>
                  <a:pt x="790" y="336"/>
                </a:cubicBezTo>
                <a:cubicBezTo>
                  <a:pt x="790" y="335"/>
                  <a:pt x="790" y="336"/>
                  <a:pt x="790" y="336"/>
                </a:cubicBezTo>
                <a:close/>
                <a:moveTo>
                  <a:pt x="790" y="339"/>
                </a:moveTo>
                <a:cubicBezTo>
                  <a:pt x="790" y="339"/>
                  <a:pt x="790" y="339"/>
                  <a:pt x="790" y="339"/>
                </a:cubicBezTo>
                <a:cubicBezTo>
                  <a:pt x="790" y="339"/>
                  <a:pt x="790" y="340"/>
                  <a:pt x="790" y="339"/>
                </a:cubicBezTo>
                <a:close/>
                <a:moveTo>
                  <a:pt x="790" y="340"/>
                </a:moveTo>
                <a:cubicBezTo>
                  <a:pt x="790" y="339"/>
                  <a:pt x="790" y="340"/>
                  <a:pt x="790" y="339"/>
                </a:cubicBezTo>
                <a:cubicBezTo>
                  <a:pt x="790" y="340"/>
                  <a:pt x="790" y="340"/>
                  <a:pt x="790" y="340"/>
                </a:cubicBezTo>
                <a:cubicBezTo>
                  <a:pt x="791" y="341"/>
                  <a:pt x="790" y="340"/>
                  <a:pt x="790" y="340"/>
                </a:cubicBezTo>
                <a:close/>
                <a:moveTo>
                  <a:pt x="791" y="339"/>
                </a:moveTo>
                <a:cubicBezTo>
                  <a:pt x="790" y="338"/>
                  <a:pt x="791" y="339"/>
                  <a:pt x="791" y="339"/>
                </a:cubicBezTo>
                <a:cubicBezTo>
                  <a:pt x="791" y="340"/>
                  <a:pt x="791" y="339"/>
                  <a:pt x="791" y="339"/>
                </a:cubicBezTo>
                <a:close/>
                <a:moveTo>
                  <a:pt x="792" y="336"/>
                </a:moveTo>
                <a:cubicBezTo>
                  <a:pt x="791" y="336"/>
                  <a:pt x="791" y="335"/>
                  <a:pt x="791" y="335"/>
                </a:cubicBezTo>
                <a:cubicBezTo>
                  <a:pt x="791" y="335"/>
                  <a:pt x="791" y="335"/>
                  <a:pt x="791" y="335"/>
                </a:cubicBezTo>
                <a:cubicBezTo>
                  <a:pt x="791" y="336"/>
                  <a:pt x="791" y="336"/>
                  <a:pt x="790" y="335"/>
                </a:cubicBezTo>
                <a:cubicBezTo>
                  <a:pt x="791" y="336"/>
                  <a:pt x="791" y="336"/>
                  <a:pt x="791" y="336"/>
                </a:cubicBezTo>
                <a:cubicBezTo>
                  <a:pt x="791" y="336"/>
                  <a:pt x="791" y="337"/>
                  <a:pt x="791" y="336"/>
                </a:cubicBezTo>
                <a:cubicBezTo>
                  <a:pt x="791" y="336"/>
                  <a:pt x="791" y="336"/>
                  <a:pt x="791" y="336"/>
                </a:cubicBezTo>
                <a:cubicBezTo>
                  <a:pt x="791" y="336"/>
                  <a:pt x="791" y="336"/>
                  <a:pt x="791" y="337"/>
                </a:cubicBezTo>
                <a:cubicBezTo>
                  <a:pt x="790" y="336"/>
                  <a:pt x="791" y="339"/>
                  <a:pt x="790" y="338"/>
                </a:cubicBezTo>
                <a:cubicBezTo>
                  <a:pt x="791" y="339"/>
                  <a:pt x="791" y="339"/>
                  <a:pt x="791" y="339"/>
                </a:cubicBezTo>
                <a:cubicBezTo>
                  <a:pt x="791" y="338"/>
                  <a:pt x="791" y="337"/>
                  <a:pt x="792" y="336"/>
                </a:cubicBezTo>
                <a:close/>
                <a:moveTo>
                  <a:pt x="799" y="392"/>
                </a:moveTo>
                <a:cubicBezTo>
                  <a:pt x="799" y="392"/>
                  <a:pt x="798" y="391"/>
                  <a:pt x="798" y="391"/>
                </a:cubicBezTo>
                <a:cubicBezTo>
                  <a:pt x="799" y="392"/>
                  <a:pt x="799" y="392"/>
                  <a:pt x="799" y="392"/>
                </a:cubicBezTo>
                <a:close/>
                <a:moveTo>
                  <a:pt x="811" y="399"/>
                </a:moveTo>
                <a:cubicBezTo>
                  <a:pt x="811" y="399"/>
                  <a:pt x="811" y="398"/>
                  <a:pt x="811" y="399"/>
                </a:cubicBezTo>
                <a:cubicBezTo>
                  <a:pt x="812" y="399"/>
                  <a:pt x="811" y="398"/>
                  <a:pt x="811" y="398"/>
                </a:cubicBezTo>
                <a:cubicBezTo>
                  <a:pt x="811" y="398"/>
                  <a:pt x="811" y="398"/>
                  <a:pt x="811" y="399"/>
                </a:cubicBezTo>
                <a:close/>
                <a:moveTo>
                  <a:pt x="813" y="389"/>
                </a:moveTo>
                <a:cubicBezTo>
                  <a:pt x="813" y="388"/>
                  <a:pt x="813" y="387"/>
                  <a:pt x="813" y="387"/>
                </a:cubicBezTo>
                <a:cubicBezTo>
                  <a:pt x="812" y="386"/>
                  <a:pt x="812" y="387"/>
                  <a:pt x="812" y="388"/>
                </a:cubicBezTo>
                <a:cubicBezTo>
                  <a:pt x="812" y="388"/>
                  <a:pt x="813" y="389"/>
                  <a:pt x="813" y="389"/>
                </a:cubicBezTo>
                <a:close/>
                <a:moveTo>
                  <a:pt x="814" y="386"/>
                </a:moveTo>
                <a:cubicBezTo>
                  <a:pt x="814" y="385"/>
                  <a:pt x="815" y="385"/>
                  <a:pt x="815" y="383"/>
                </a:cubicBezTo>
                <a:cubicBezTo>
                  <a:pt x="814" y="384"/>
                  <a:pt x="814" y="384"/>
                  <a:pt x="814" y="386"/>
                </a:cubicBezTo>
                <a:close/>
                <a:moveTo>
                  <a:pt x="815" y="385"/>
                </a:moveTo>
                <a:cubicBezTo>
                  <a:pt x="815" y="386"/>
                  <a:pt x="814" y="387"/>
                  <a:pt x="815" y="388"/>
                </a:cubicBezTo>
                <a:cubicBezTo>
                  <a:pt x="815" y="388"/>
                  <a:pt x="815" y="387"/>
                  <a:pt x="815" y="385"/>
                </a:cubicBezTo>
                <a:close/>
                <a:moveTo>
                  <a:pt x="815" y="383"/>
                </a:moveTo>
                <a:cubicBezTo>
                  <a:pt x="815" y="383"/>
                  <a:pt x="815" y="383"/>
                  <a:pt x="815" y="382"/>
                </a:cubicBezTo>
                <a:cubicBezTo>
                  <a:pt x="815" y="382"/>
                  <a:pt x="815" y="383"/>
                  <a:pt x="814" y="383"/>
                </a:cubicBezTo>
                <a:cubicBezTo>
                  <a:pt x="815" y="383"/>
                  <a:pt x="815" y="384"/>
                  <a:pt x="815" y="384"/>
                </a:cubicBezTo>
                <a:cubicBezTo>
                  <a:pt x="815" y="383"/>
                  <a:pt x="815" y="383"/>
                  <a:pt x="815" y="383"/>
                </a:cubicBezTo>
                <a:close/>
                <a:moveTo>
                  <a:pt x="816" y="383"/>
                </a:moveTo>
                <a:cubicBezTo>
                  <a:pt x="815" y="382"/>
                  <a:pt x="815" y="383"/>
                  <a:pt x="815" y="384"/>
                </a:cubicBezTo>
                <a:cubicBezTo>
                  <a:pt x="815" y="384"/>
                  <a:pt x="816" y="383"/>
                  <a:pt x="816" y="383"/>
                </a:cubicBezTo>
                <a:close/>
                <a:moveTo>
                  <a:pt x="816" y="326"/>
                </a:moveTo>
                <a:cubicBezTo>
                  <a:pt x="816" y="326"/>
                  <a:pt x="816" y="326"/>
                  <a:pt x="817" y="326"/>
                </a:cubicBezTo>
                <a:cubicBezTo>
                  <a:pt x="816" y="325"/>
                  <a:pt x="816" y="325"/>
                  <a:pt x="816" y="325"/>
                </a:cubicBezTo>
                <a:cubicBezTo>
                  <a:pt x="815" y="325"/>
                  <a:pt x="816" y="326"/>
                  <a:pt x="816" y="326"/>
                </a:cubicBezTo>
                <a:close/>
                <a:moveTo>
                  <a:pt x="817" y="382"/>
                </a:moveTo>
                <a:cubicBezTo>
                  <a:pt x="816" y="381"/>
                  <a:pt x="816" y="381"/>
                  <a:pt x="816" y="381"/>
                </a:cubicBezTo>
                <a:cubicBezTo>
                  <a:pt x="816" y="382"/>
                  <a:pt x="816" y="382"/>
                  <a:pt x="816" y="382"/>
                </a:cubicBezTo>
                <a:cubicBezTo>
                  <a:pt x="816" y="382"/>
                  <a:pt x="816" y="382"/>
                  <a:pt x="816" y="383"/>
                </a:cubicBezTo>
                <a:cubicBezTo>
                  <a:pt x="817" y="383"/>
                  <a:pt x="817" y="382"/>
                  <a:pt x="817" y="382"/>
                </a:cubicBezTo>
                <a:close/>
                <a:moveTo>
                  <a:pt x="817" y="378"/>
                </a:moveTo>
                <a:cubicBezTo>
                  <a:pt x="816" y="377"/>
                  <a:pt x="816" y="378"/>
                  <a:pt x="816" y="379"/>
                </a:cubicBezTo>
                <a:cubicBezTo>
                  <a:pt x="817" y="378"/>
                  <a:pt x="817" y="378"/>
                  <a:pt x="817" y="378"/>
                </a:cubicBezTo>
                <a:close/>
                <a:moveTo>
                  <a:pt x="819" y="321"/>
                </a:moveTo>
                <a:cubicBezTo>
                  <a:pt x="819" y="321"/>
                  <a:pt x="819" y="321"/>
                  <a:pt x="819" y="321"/>
                </a:cubicBezTo>
                <a:cubicBezTo>
                  <a:pt x="819" y="321"/>
                  <a:pt x="819" y="321"/>
                  <a:pt x="818" y="320"/>
                </a:cubicBezTo>
                <a:cubicBezTo>
                  <a:pt x="818" y="320"/>
                  <a:pt x="818" y="321"/>
                  <a:pt x="819" y="321"/>
                </a:cubicBezTo>
                <a:close/>
                <a:moveTo>
                  <a:pt x="819" y="340"/>
                </a:moveTo>
                <a:cubicBezTo>
                  <a:pt x="819" y="339"/>
                  <a:pt x="819" y="339"/>
                  <a:pt x="819" y="339"/>
                </a:cubicBezTo>
                <a:cubicBezTo>
                  <a:pt x="818" y="339"/>
                  <a:pt x="819" y="339"/>
                  <a:pt x="819" y="340"/>
                </a:cubicBezTo>
                <a:close/>
                <a:moveTo>
                  <a:pt x="818" y="371"/>
                </a:moveTo>
                <a:cubicBezTo>
                  <a:pt x="818" y="371"/>
                  <a:pt x="818" y="372"/>
                  <a:pt x="818" y="372"/>
                </a:cubicBezTo>
                <a:cubicBezTo>
                  <a:pt x="818" y="372"/>
                  <a:pt x="818" y="373"/>
                  <a:pt x="819" y="373"/>
                </a:cubicBezTo>
                <a:cubicBezTo>
                  <a:pt x="819" y="372"/>
                  <a:pt x="818" y="372"/>
                  <a:pt x="818" y="371"/>
                </a:cubicBezTo>
                <a:close/>
                <a:moveTo>
                  <a:pt x="818" y="345"/>
                </a:moveTo>
                <a:cubicBezTo>
                  <a:pt x="818" y="345"/>
                  <a:pt x="818" y="344"/>
                  <a:pt x="818" y="344"/>
                </a:cubicBezTo>
                <a:cubicBezTo>
                  <a:pt x="817" y="343"/>
                  <a:pt x="817" y="345"/>
                  <a:pt x="818" y="345"/>
                </a:cubicBezTo>
                <a:close/>
                <a:moveTo>
                  <a:pt x="818" y="375"/>
                </a:moveTo>
                <a:cubicBezTo>
                  <a:pt x="818" y="375"/>
                  <a:pt x="818" y="374"/>
                  <a:pt x="819" y="374"/>
                </a:cubicBezTo>
                <a:cubicBezTo>
                  <a:pt x="819" y="373"/>
                  <a:pt x="818" y="373"/>
                  <a:pt x="818" y="373"/>
                </a:cubicBezTo>
                <a:cubicBezTo>
                  <a:pt x="818" y="373"/>
                  <a:pt x="817" y="374"/>
                  <a:pt x="818" y="375"/>
                </a:cubicBezTo>
                <a:cubicBezTo>
                  <a:pt x="818" y="375"/>
                  <a:pt x="818" y="375"/>
                  <a:pt x="818" y="375"/>
                </a:cubicBezTo>
                <a:close/>
                <a:moveTo>
                  <a:pt x="819" y="378"/>
                </a:moveTo>
                <a:cubicBezTo>
                  <a:pt x="818" y="377"/>
                  <a:pt x="818" y="377"/>
                  <a:pt x="818" y="376"/>
                </a:cubicBezTo>
                <a:cubicBezTo>
                  <a:pt x="818" y="376"/>
                  <a:pt x="818" y="376"/>
                  <a:pt x="818" y="376"/>
                </a:cubicBezTo>
                <a:cubicBezTo>
                  <a:pt x="818" y="376"/>
                  <a:pt x="818" y="377"/>
                  <a:pt x="818" y="377"/>
                </a:cubicBezTo>
                <a:cubicBezTo>
                  <a:pt x="818" y="377"/>
                  <a:pt x="818" y="377"/>
                  <a:pt x="818" y="377"/>
                </a:cubicBezTo>
                <a:cubicBezTo>
                  <a:pt x="818" y="378"/>
                  <a:pt x="818" y="378"/>
                  <a:pt x="818" y="378"/>
                </a:cubicBezTo>
                <a:cubicBezTo>
                  <a:pt x="818" y="378"/>
                  <a:pt x="818" y="378"/>
                  <a:pt x="818" y="377"/>
                </a:cubicBezTo>
                <a:cubicBezTo>
                  <a:pt x="818" y="377"/>
                  <a:pt x="818" y="378"/>
                  <a:pt x="819" y="378"/>
                </a:cubicBezTo>
                <a:close/>
                <a:moveTo>
                  <a:pt x="819" y="373"/>
                </a:moveTo>
                <a:cubicBezTo>
                  <a:pt x="819" y="373"/>
                  <a:pt x="819" y="374"/>
                  <a:pt x="819" y="375"/>
                </a:cubicBezTo>
                <a:cubicBezTo>
                  <a:pt x="819" y="375"/>
                  <a:pt x="819" y="375"/>
                  <a:pt x="819" y="374"/>
                </a:cubicBezTo>
                <a:cubicBezTo>
                  <a:pt x="819" y="374"/>
                  <a:pt x="819" y="374"/>
                  <a:pt x="819" y="375"/>
                </a:cubicBezTo>
                <a:cubicBezTo>
                  <a:pt x="819" y="374"/>
                  <a:pt x="819" y="374"/>
                  <a:pt x="819" y="373"/>
                </a:cubicBezTo>
                <a:close/>
                <a:moveTo>
                  <a:pt x="819" y="369"/>
                </a:moveTo>
                <a:cubicBezTo>
                  <a:pt x="819" y="370"/>
                  <a:pt x="819" y="371"/>
                  <a:pt x="819" y="371"/>
                </a:cubicBezTo>
                <a:cubicBezTo>
                  <a:pt x="819" y="371"/>
                  <a:pt x="819" y="371"/>
                  <a:pt x="820" y="371"/>
                </a:cubicBezTo>
                <a:cubicBezTo>
                  <a:pt x="820" y="371"/>
                  <a:pt x="820" y="372"/>
                  <a:pt x="819" y="372"/>
                </a:cubicBezTo>
                <a:cubicBezTo>
                  <a:pt x="820" y="373"/>
                  <a:pt x="820" y="371"/>
                  <a:pt x="820" y="371"/>
                </a:cubicBezTo>
                <a:cubicBezTo>
                  <a:pt x="820" y="370"/>
                  <a:pt x="819" y="370"/>
                  <a:pt x="819" y="369"/>
                </a:cubicBezTo>
                <a:close/>
                <a:moveTo>
                  <a:pt x="867" y="283"/>
                </a:moveTo>
                <a:cubicBezTo>
                  <a:pt x="867" y="283"/>
                  <a:pt x="868" y="284"/>
                  <a:pt x="868" y="283"/>
                </a:cubicBezTo>
                <a:cubicBezTo>
                  <a:pt x="868" y="283"/>
                  <a:pt x="868" y="283"/>
                  <a:pt x="868" y="283"/>
                </a:cubicBezTo>
                <a:cubicBezTo>
                  <a:pt x="868" y="283"/>
                  <a:pt x="868" y="283"/>
                  <a:pt x="868" y="282"/>
                </a:cubicBezTo>
                <a:cubicBezTo>
                  <a:pt x="867" y="283"/>
                  <a:pt x="867" y="283"/>
                  <a:pt x="867" y="283"/>
                </a:cubicBezTo>
                <a:close/>
                <a:moveTo>
                  <a:pt x="864" y="287"/>
                </a:moveTo>
                <a:cubicBezTo>
                  <a:pt x="864" y="288"/>
                  <a:pt x="864" y="287"/>
                  <a:pt x="864" y="287"/>
                </a:cubicBezTo>
                <a:cubicBezTo>
                  <a:pt x="864" y="287"/>
                  <a:pt x="864" y="287"/>
                  <a:pt x="864" y="287"/>
                </a:cubicBezTo>
                <a:close/>
                <a:moveTo>
                  <a:pt x="862" y="288"/>
                </a:moveTo>
                <a:cubicBezTo>
                  <a:pt x="863" y="288"/>
                  <a:pt x="863" y="288"/>
                  <a:pt x="863" y="288"/>
                </a:cubicBezTo>
                <a:cubicBezTo>
                  <a:pt x="863" y="288"/>
                  <a:pt x="863" y="288"/>
                  <a:pt x="862" y="288"/>
                </a:cubicBezTo>
                <a:close/>
                <a:moveTo>
                  <a:pt x="859" y="294"/>
                </a:moveTo>
                <a:cubicBezTo>
                  <a:pt x="859" y="294"/>
                  <a:pt x="859" y="294"/>
                  <a:pt x="859" y="294"/>
                </a:cubicBezTo>
                <a:cubicBezTo>
                  <a:pt x="859" y="294"/>
                  <a:pt x="858" y="294"/>
                  <a:pt x="858" y="294"/>
                </a:cubicBezTo>
                <a:cubicBezTo>
                  <a:pt x="859" y="294"/>
                  <a:pt x="859" y="294"/>
                  <a:pt x="859" y="294"/>
                </a:cubicBezTo>
                <a:close/>
                <a:moveTo>
                  <a:pt x="859" y="293"/>
                </a:moveTo>
                <a:cubicBezTo>
                  <a:pt x="859" y="293"/>
                  <a:pt x="859" y="294"/>
                  <a:pt x="859" y="294"/>
                </a:cubicBezTo>
                <a:cubicBezTo>
                  <a:pt x="860" y="294"/>
                  <a:pt x="859" y="293"/>
                  <a:pt x="860" y="293"/>
                </a:cubicBezTo>
                <a:cubicBezTo>
                  <a:pt x="859" y="293"/>
                  <a:pt x="859" y="293"/>
                  <a:pt x="859" y="293"/>
                </a:cubicBezTo>
                <a:close/>
                <a:moveTo>
                  <a:pt x="859" y="292"/>
                </a:moveTo>
                <a:cubicBezTo>
                  <a:pt x="859" y="292"/>
                  <a:pt x="859" y="292"/>
                  <a:pt x="859" y="291"/>
                </a:cubicBezTo>
                <a:cubicBezTo>
                  <a:pt x="858" y="291"/>
                  <a:pt x="858" y="292"/>
                  <a:pt x="859" y="292"/>
                </a:cubicBezTo>
                <a:close/>
                <a:moveTo>
                  <a:pt x="858" y="295"/>
                </a:moveTo>
                <a:cubicBezTo>
                  <a:pt x="858" y="295"/>
                  <a:pt x="859" y="295"/>
                  <a:pt x="858" y="294"/>
                </a:cubicBezTo>
                <a:cubicBezTo>
                  <a:pt x="858" y="294"/>
                  <a:pt x="858" y="295"/>
                  <a:pt x="858" y="295"/>
                </a:cubicBezTo>
                <a:close/>
                <a:moveTo>
                  <a:pt x="857" y="294"/>
                </a:moveTo>
                <a:cubicBezTo>
                  <a:pt x="857" y="294"/>
                  <a:pt x="857" y="294"/>
                  <a:pt x="857" y="294"/>
                </a:cubicBezTo>
                <a:cubicBezTo>
                  <a:pt x="858" y="294"/>
                  <a:pt x="858" y="294"/>
                  <a:pt x="858" y="294"/>
                </a:cubicBezTo>
                <a:cubicBezTo>
                  <a:pt x="858" y="293"/>
                  <a:pt x="858" y="294"/>
                  <a:pt x="858" y="294"/>
                </a:cubicBezTo>
                <a:cubicBezTo>
                  <a:pt x="857" y="294"/>
                  <a:pt x="857" y="293"/>
                  <a:pt x="857" y="293"/>
                </a:cubicBezTo>
                <a:cubicBezTo>
                  <a:pt x="857" y="293"/>
                  <a:pt x="857" y="294"/>
                  <a:pt x="857" y="294"/>
                </a:cubicBezTo>
                <a:close/>
                <a:moveTo>
                  <a:pt x="856" y="300"/>
                </a:moveTo>
                <a:cubicBezTo>
                  <a:pt x="857" y="300"/>
                  <a:pt x="857" y="299"/>
                  <a:pt x="857" y="299"/>
                </a:cubicBezTo>
                <a:cubicBezTo>
                  <a:pt x="856" y="299"/>
                  <a:pt x="856" y="299"/>
                  <a:pt x="856" y="300"/>
                </a:cubicBezTo>
                <a:close/>
                <a:moveTo>
                  <a:pt x="855" y="296"/>
                </a:moveTo>
                <a:cubicBezTo>
                  <a:pt x="855" y="296"/>
                  <a:pt x="855" y="296"/>
                  <a:pt x="856" y="296"/>
                </a:cubicBezTo>
                <a:cubicBezTo>
                  <a:pt x="856" y="297"/>
                  <a:pt x="855" y="296"/>
                  <a:pt x="855" y="297"/>
                </a:cubicBezTo>
                <a:cubicBezTo>
                  <a:pt x="855" y="297"/>
                  <a:pt x="856" y="297"/>
                  <a:pt x="855" y="297"/>
                </a:cubicBezTo>
                <a:cubicBezTo>
                  <a:pt x="856" y="297"/>
                  <a:pt x="856" y="296"/>
                  <a:pt x="856" y="296"/>
                </a:cubicBezTo>
                <a:cubicBezTo>
                  <a:pt x="855" y="295"/>
                  <a:pt x="855" y="296"/>
                  <a:pt x="855" y="296"/>
                </a:cubicBezTo>
                <a:close/>
                <a:moveTo>
                  <a:pt x="854" y="297"/>
                </a:moveTo>
                <a:cubicBezTo>
                  <a:pt x="854" y="298"/>
                  <a:pt x="855" y="298"/>
                  <a:pt x="855" y="298"/>
                </a:cubicBezTo>
                <a:cubicBezTo>
                  <a:pt x="855" y="298"/>
                  <a:pt x="855" y="298"/>
                  <a:pt x="855" y="297"/>
                </a:cubicBezTo>
                <a:cubicBezTo>
                  <a:pt x="855" y="297"/>
                  <a:pt x="854" y="297"/>
                  <a:pt x="854" y="297"/>
                </a:cubicBezTo>
                <a:close/>
                <a:moveTo>
                  <a:pt x="854" y="300"/>
                </a:moveTo>
                <a:cubicBezTo>
                  <a:pt x="854" y="300"/>
                  <a:pt x="853" y="300"/>
                  <a:pt x="853" y="301"/>
                </a:cubicBezTo>
                <a:cubicBezTo>
                  <a:pt x="854" y="301"/>
                  <a:pt x="853" y="300"/>
                  <a:pt x="854" y="300"/>
                </a:cubicBezTo>
                <a:cubicBezTo>
                  <a:pt x="854" y="300"/>
                  <a:pt x="854" y="301"/>
                  <a:pt x="854" y="301"/>
                </a:cubicBezTo>
                <a:cubicBezTo>
                  <a:pt x="854" y="300"/>
                  <a:pt x="854" y="300"/>
                  <a:pt x="854" y="300"/>
                </a:cubicBezTo>
                <a:close/>
                <a:moveTo>
                  <a:pt x="853" y="298"/>
                </a:moveTo>
                <a:cubicBezTo>
                  <a:pt x="853" y="298"/>
                  <a:pt x="854" y="298"/>
                  <a:pt x="853" y="298"/>
                </a:cubicBezTo>
                <a:cubicBezTo>
                  <a:pt x="853" y="298"/>
                  <a:pt x="852" y="298"/>
                  <a:pt x="853" y="298"/>
                </a:cubicBezTo>
                <a:close/>
                <a:moveTo>
                  <a:pt x="852" y="300"/>
                </a:moveTo>
                <a:cubicBezTo>
                  <a:pt x="852" y="300"/>
                  <a:pt x="852" y="299"/>
                  <a:pt x="852" y="299"/>
                </a:cubicBezTo>
                <a:cubicBezTo>
                  <a:pt x="851" y="299"/>
                  <a:pt x="852" y="300"/>
                  <a:pt x="852" y="300"/>
                </a:cubicBezTo>
                <a:close/>
                <a:moveTo>
                  <a:pt x="851" y="301"/>
                </a:moveTo>
                <a:cubicBezTo>
                  <a:pt x="851" y="302"/>
                  <a:pt x="852" y="302"/>
                  <a:pt x="852" y="302"/>
                </a:cubicBezTo>
                <a:cubicBezTo>
                  <a:pt x="852" y="302"/>
                  <a:pt x="852" y="301"/>
                  <a:pt x="851" y="301"/>
                </a:cubicBezTo>
                <a:close/>
                <a:moveTo>
                  <a:pt x="851" y="302"/>
                </a:moveTo>
                <a:cubicBezTo>
                  <a:pt x="852" y="303"/>
                  <a:pt x="851" y="303"/>
                  <a:pt x="851" y="303"/>
                </a:cubicBezTo>
                <a:cubicBezTo>
                  <a:pt x="851" y="303"/>
                  <a:pt x="851" y="303"/>
                  <a:pt x="852" y="303"/>
                </a:cubicBezTo>
                <a:cubicBezTo>
                  <a:pt x="851" y="303"/>
                  <a:pt x="852" y="303"/>
                  <a:pt x="852" y="302"/>
                </a:cubicBezTo>
                <a:cubicBezTo>
                  <a:pt x="851" y="302"/>
                  <a:pt x="852" y="303"/>
                  <a:pt x="851" y="302"/>
                </a:cubicBezTo>
                <a:close/>
                <a:moveTo>
                  <a:pt x="850" y="304"/>
                </a:moveTo>
                <a:cubicBezTo>
                  <a:pt x="851" y="305"/>
                  <a:pt x="851" y="304"/>
                  <a:pt x="851" y="303"/>
                </a:cubicBezTo>
                <a:cubicBezTo>
                  <a:pt x="850" y="303"/>
                  <a:pt x="850" y="304"/>
                  <a:pt x="850" y="304"/>
                </a:cubicBezTo>
                <a:close/>
                <a:moveTo>
                  <a:pt x="849" y="304"/>
                </a:moveTo>
                <a:cubicBezTo>
                  <a:pt x="849" y="304"/>
                  <a:pt x="850" y="304"/>
                  <a:pt x="850" y="304"/>
                </a:cubicBezTo>
                <a:cubicBezTo>
                  <a:pt x="850" y="304"/>
                  <a:pt x="850" y="304"/>
                  <a:pt x="850" y="303"/>
                </a:cubicBezTo>
                <a:cubicBezTo>
                  <a:pt x="849" y="303"/>
                  <a:pt x="849" y="304"/>
                  <a:pt x="849" y="304"/>
                </a:cubicBezTo>
                <a:close/>
                <a:moveTo>
                  <a:pt x="849" y="301"/>
                </a:moveTo>
                <a:cubicBezTo>
                  <a:pt x="849" y="302"/>
                  <a:pt x="849" y="302"/>
                  <a:pt x="849" y="302"/>
                </a:cubicBezTo>
                <a:cubicBezTo>
                  <a:pt x="849" y="301"/>
                  <a:pt x="849" y="301"/>
                  <a:pt x="849" y="301"/>
                </a:cubicBezTo>
                <a:cubicBezTo>
                  <a:pt x="849" y="301"/>
                  <a:pt x="849" y="301"/>
                  <a:pt x="849" y="301"/>
                </a:cubicBezTo>
                <a:close/>
                <a:moveTo>
                  <a:pt x="848" y="307"/>
                </a:moveTo>
                <a:cubicBezTo>
                  <a:pt x="849" y="307"/>
                  <a:pt x="848" y="307"/>
                  <a:pt x="849" y="307"/>
                </a:cubicBezTo>
                <a:cubicBezTo>
                  <a:pt x="849" y="306"/>
                  <a:pt x="848" y="306"/>
                  <a:pt x="848" y="306"/>
                </a:cubicBezTo>
                <a:cubicBezTo>
                  <a:pt x="848" y="306"/>
                  <a:pt x="848" y="307"/>
                  <a:pt x="848" y="307"/>
                </a:cubicBezTo>
                <a:close/>
                <a:moveTo>
                  <a:pt x="845" y="310"/>
                </a:moveTo>
                <a:cubicBezTo>
                  <a:pt x="846" y="310"/>
                  <a:pt x="845" y="309"/>
                  <a:pt x="846" y="310"/>
                </a:cubicBezTo>
                <a:cubicBezTo>
                  <a:pt x="846" y="309"/>
                  <a:pt x="846" y="309"/>
                  <a:pt x="846" y="309"/>
                </a:cubicBezTo>
                <a:cubicBezTo>
                  <a:pt x="846" y="309"/>
                  <a:pt x="845" y="310"/>
                  <a:pt x="845" y="310"/>
                </a:cubicBezTo>
                <a:close/>
                <a:moveTo>
                  <a:pt x="845" y="311"/>
                </a:moveTo>
                <a:cubicBezTo>
                  <a:pt x="845" y="311"/>
                  <a:pt x="845" y="310"/>
                  <a:pt x="845" y="310"/>
                </a:cubicBezTo>
                <a:cubicBezTo>
                  <a:pt x="844" y="310"/>
                  <a:pt x="845" y="311"/>
                  <a:pt x="845" y="311"/>
                </a:cubicBezTo>
                <a:close/>
                <a:moveTo>
                  <a:pt x="844" y="312"/>
                </a:moveTo>
                <a:cubicBezTo>
                  <a:pt x="844" y="312"/>
                  <a:pt x="845" y="311"/>
                  <a:pt x="845" y="311"/>
                </a:cubicBezTo>
                <a:cubicBezTo>
                  <a:pt x="844" y="311"/>
                  <a:pt x="844" y="311"/>
                  <a:pt x="844" y="312"/>
                </a:cubicBezTo>
                <a:close/>
                <a:moveTo>
                  <a:pt x="844" y="313"/>
                </a:moveTo>
                <a:cubicBezTo>
                  <a:pt x="844" y="312"/>
                  <a:pt x="844" y="312"/>
                  <a:pt x="844" y="312"/>
                </a:cubicBezTo>
                <a:cubicBezTo>
                  <a:pt x="843" y="312"/>
                  <a:pt x="843" y="312"/>
                  <a:pt x="844" y="313"/>
                </a:cubicBezTo>
                <a:close/>
                <a:moveTo>
                  <a:pt x="839" y="309"/>
                </a:moveTo>
                <a:cubicBezTo>
                  <a:pt x="839" y="309"/>
                  <a:pt x="840" y="309"/>
                  <a:pt x="840" y="309"/>
                </a:cubicBezTo>
                <a:cubicBezTo>
                  <a:pt x="840" y="309"/>
                  <a:pt x="840" y="309"/>
                  <a:pt x="840" y="309"/>
                </a:cubicBezTo>
                <a:cubicBezTo>
                  <a:pt x="839" y="309"/>
                  <a:pt x="839" y="309"/>
                  <a:pt x="839" y="309"/>
                </a:cubicBezTo>
                <a:close/>
                <a:moveTo>
                  <a:pt x="839" y="309"/>
                </a:moveTo>
                <a:cubicBezTo>
                  <a:pt x="839" y="309"/>
                  <a:pt x="839" y="308"/>
                  <a:pt x="839" y="309"/>
                </a:cubicBezTo>
                <a:cubicBezTo>
                  <a:pt x="839" y="308"/>
                  <a:pt x="839" y="309"/>
                  <a:pt x="839" y="309"/>
                </a:cubicBezTo>
                <a:close/>
                <a:moveTo>
                  <a:pt x="837" y="295"/>
                </a:moveTo>
                <a:cubicBezTo>
                  <a:pt x="838" y="295"/>
                  <a:pt x="838" y="295"/>
                  <a:pt x="838" y="294"/>
                </a:cubicBezTo>
                <a:cubicBezTo>
                  <a:pt x="838" y="295"/>
                  <a:pt x="837" y="295"/>
                  <a:pt x="837" y="295"/>
                </a:cubicBezTo>
                <a:close/>
                <a:moveTo>
                  <a:pt x="837" y="311"/>
                </a:moveTo>
                <a:cubicBezTo>
                  <a:pt x="837" y="311"/>
                  <a:pt x="838" y="311"/>
                  <a:pt x="838" y="310"/>
                </a:cubicBezTo>
                <a:cubicBezTo>
                  <a:pt x="838" y="310"/>
                  <a:pt x="837" y="311"/>
                  <a:pt x="837" y="311"/>
                </a:cubicBezTo>
                <a:close/>
                <a:moveTo>
                  <a:pt x="836" y="311"/>
                </a:moveTo>
                <a:cubicBezTo>
                  <a:pt x="837" y="311"/>
                  <a:pt x="837" y="311"/>
                  <a:pt x="837" y="311"/>
                </a:cubicBezTo>
                <a:cubicBezTo>
                  <a:pt x="837" y="311"/>
                  <a:pt x="836" y="311"/>
                  <a:pt x="837" y="311"/>
                </a:cubicBezTo>
                <a:cubicBezTo>
                  <a:pt x="836" y="310"/>
                  <a:pt x="836" y="311"/>
                  <a:pt x="836" y="311"/>
                </a:cubicBezTo>
                <a:close/>
                <a:moveTo>
                  <a:pt x="835" y="317"/>
                </a:moveTo>
                <a:cubicBezTo>
                  <a:pt x="835" y="317"/>
                  <a:pt x="834" y="317"/>
                  <a:pt x="834" y="317"/>
                </a:cubicBezTo>
                <a:cubicBezTo>
                  <a:pt x="834" y="317"/>
                  <a:pt x="834" y="317"/>
                  <a:pt x="834" y="318"/>
                </a:cubicBezTo>
                <a:cubicBezTo>
                  <a:pt x="835" y="317"/>
                  <a:pt x="835" y="317"/>
                  <a:pt x="835" y="317"/>
                </a:cubicBezTo>
                <a:close/>
                <a:moveTo>
                  <a:pt x="834" y="332"/>
                </a:moveTo>
                <a:cubicBezTo>
                  <a:pt x="835" y="332"/>
                  <a:pt x="834" y="332"/>
                  <a:pt x="835" y="332"/>
                </a:cubicBezTo>
                <a:cubicBezTo>
                  <a:pt x="834" y="332"/>
                  <a:pt x="834" y="332"/>
                  <a:pt x="834" y="332"/>
                </a:cubicBezTo>
                <a:close/>
                <a:moveTo>
                  <a:pt x="834" y="331"/>
                </a:moveTo>
                <a:cubicBezTo>
                  <a:pt x="834" y="332"/>
                  <a:pt x="833" y="332"/>
                  <a:pt x="834" y="332"/>
                </a:cubicBezTo>
                <a:cubicBezTo>
                  <a:pt x="834" y="332"/>
                  <a:pt x="834" y="332"/>
                  <a:pt x="834" y="331"/>
                </a:cubicBezTo>
                <a:close/>
                <a:moveTo>
                  <a:pt x="834" y="299"/>
                </a:moveTo>
                <a:cubicBezTo>
                  <a:pt x="835" y="299"/>
                  <a:pt x="834" y="298"/>
                  <a:pt x="835" y="298"/>
                </a:cubicBezTo>
                <a:cubicBezTo>
                  <a:pt x="835" y="298"/>
                  <a:pt x="834" y="298"/>
                  <a:pt x="834" y="298"/>
                </a:cubicBezTo>
                <a:cubicBezTo>
                  <a:pt x="834" y="298"/>
                  <a:pt x="834" y="298"/>
                  <a:pt x="834" y="299"/>
                </a:cubicBezTo>
                <a:close/>
                <a:moveTo>
                  <a:pt x="834" y="311"/>
                </a:moveTo>
                <a:cubicBezTo>
                  <a:pt x="834" y="312"/>
                  <a:pt x="834" y="312"/>
                  <a:pt x="834" y="312"/>
                </a:cubicBezTo>
                <a:cubicBezTo>
                  <a:pt x="834" y="312"/>
                  <a:pt x="834" y="312"/>
                  <a:pt x="834" y="311"/>
                </a:cubicBezTo>
                <a:close/>
                <a:moveTo>
                  <a:pt x="832" y="317"/>
                </a:moveTo>
                <a:cubicBezTo>
                  <a:pt x="832" y="318"/>
                  <a:pt x="833" y="318"/>
                  <a:pt x="832" y="318"/>
                </a:cubicBezTo>
                <a:cubicBezTo>
                  <a:pt x="832" y="318"/>
                  <a:pt x="832" y="318"/>
                  <a:pt x="832" y="318"/>
                </a:cubicBezTo>
                <a:cubicBezTo>
                  <a:pt x="833" y="318"/>
                  <a:pt x="833" y="318"/>
                  <a:pt x="833" y="318"/>
                </a:cubicBezTo>
                <a:cubicBezTo>
                  <a:pt x="833" y="318"/>
                  <a:pt x="833" y="318"/>
                  <a:pt x="833" y="318"/>
                </a:cubicBezTo>
                <a:cubicBezTo>
                  <a:pt x="833" y="318"/>
                  <a:pt x="832" y="317"/>
                  <a:pt x="832" y="317"/>
                </a:cubicBezTo>
                <a:cubicBezTo>
                  <a:pt x="832" y="317"/>
                  <a:pt x="832" y="317"/>
                  <a:pt x="832" y="317"/>
                </a:cubicBezTo>
                <a:close/>
                <a:moveTo>
                  <a:pt x="832" y="320"/>
                </a:moveTo>
                <a:cubicBezTo>
                  <a:pt x="832" y="321"/>
                  <a:pt x="832" y="321"/>
                  <a:pt x="832" y="321"/>
                </a:cubicBezTo>
                <a:cubicBezTo>
                  <a:pt x="832" y="321"/>
                  <a:pt x="833" y="321"/>
                  <a:pt x="832" y="321"/>
                </a:cubicBezTo>
                <a:cubicBezTo>
                  <a:pt x="832" y="320"/>
                  <a:pt x="833" y="320"/>
                  <a:pt x="832" y="320"/>
                </a:cubicBezTo>
                <a:cubicBezTo>
                  <a:pt x="832" y="320"/>
                  <a:pt x="832" y="320"/>
                  <a:pt x="833" y="320"/>
                </a:cubicBezTo>
                <a:cubicBezTo>
                  <a:pt x="833" y="320"/>
                  <a:pt x="833" y="320"/>
                  <a:pt x="832" y="320"/>
                </a:cubicBezTo>
                <a:cubicBezTo>
                  <a:pt x="833" y="320"/>
                  <a:pt x="833" y="320"/>
                  <a:pt x="833" y="320"/>
                </a:cubicBezTo>
                <a:cubicBezTo>
                  <a:pt x="833" y="319"/>
                  <a:pt x="833" y="318"/>
                  <a:pt x="834" y="318"/>
                </a:cubicBezTo>
                <a:cubicBezTo>
                  <a:pt x="833" y="318"/>
                  <a:pt x="832" y="319"/>
                  <a:pt x="833" y="319"/>
                </a:cubicBezTo>
                <a:cubicBezTo>
                  <a:pt x="832" y="319"/>
                  <a:pt x="832" y="319"/>
                  <a:pt x="832" y="319"/>
                </a:cubicBezTo>
                <a:cubicBezTo>
                  <a:pt x="832" y="320"/>
                  <a:pt x="832" y="320"/>
                  <a:pt x="832" y="320"/>
                </a:cubicBezTo>
                <a:close/>
                <a:moveTo>
                  <a:pt x="831" y="322"/>
                </a:moveTo>
                <a:cubicBezTo>
                  <a:pt x="832" y="322"/>
                  <a:pt x="831" y="321"/>
                  <a:pt x="832" y="321"/>
                </a:cubicBezTo>
                <a:cubicBezTo>
                  <a:pt x="831" y="321"/>
                  <a:pt x="831" y="321"/>
                  <a:pt x="831" y="322"/>
                </a:cubicBezTo>
                <a:close/>
                <a:moveTo>
                  <a:pt x="826" y="329"/>
                </a:moveTo>
                <a:cubicBezTo>
                  <a:pt x="826" y="329"/>
                  <a:pt x="826" y="328"/>
                  <a:pt x="826" y="328"/>
                </a:cubicBezTo>
                <a:cubicBezTo>
                  <a:pt x="826" y="328"/>
                  <a:pt x="826" y="328"/>
                  <a:pt x="826" y="329"/>
                </a:cubicBezTo>
                <a:close/>
                <a:moveTo>
                  <a:pt x="826" y="350"/>
                </a:moveTo>
                <a:cubicBezTo>
                  <a:pt x="826" y="349"/>
                  <a:pt x="827" y="349"/>
                  <a:pt x="827" y="348"/>
                </a:cubicBezTo>
                <a:cubicBezTo>
                  <a:pt x="826" y="349"/>
                  <a:pt x="826" y="349"/>
                  <a:pt x="826" y="350"/>
                </a:cubicBezTo>
                <a:close/>
                <a:moveTo>
                  <a:pt x="825" y="331"/>
                </a:moveTo>
                <a:cubicBezTo>
                  <a:pt x="825" y="332"/>
                  <a:pt x="825" y="332"/>
                  <a:pt x="825" y="332"/>
                </a:cubicBezTo>
                <a:cubicBezTo>
                  <a:pt x="826" y="332"/>
                  <a:pt x="824" y="331"/>
                  <a:pt x="825" y="331"/>
                </a:cubicBezTo>
                <a:cubicBezTo>
                  <a:pt x="825" y="331"/>
                  <a:pt x="825" y="331"/>
                  <a:pt x="825" y="331"/>
                </a:cubicBezTo>
                <a:close/>
                <a:moveTo>
                  <a:pt x="821" y="315"/>
                </a:moveTo>
                <a:cubicBezTo>
                  <a:pt x="822" y="315"/>
                  <a:pt x="822" y="315"/>
                  <a:pt x="822" y="315"/>
                </a:cubicBezTo>
                <a:cubicBezTo>
                  <a:pt x="822" y="315"/>
                  <a:pt x="821" y="315"/>
                  <a:pt x="822" y="316"/>
                </a:cubicBezTo>
                <a:cubicBezTo>
                  <a:pt x="823" y="315"/>
                  <a:pt x="823" y="314"/>
                  <a:pt x="824" y="313"/>
                </a:cubicBezTo>
                <a:cubicBezTo>
                  <a:pt x="823" y="313"/>
                  <a:pt x="823" y="313"/>
                  <a:pt x="823" y="313"/>
                </a:cubicBezTo>
                <a:cubicBezTo>
                  <a:pt x="823" y="313"/>
                  <a:pt x="823" y="313"/>
                  <a:pt x="822" y="312"/>
                </a:cubicBezTo>
                <a:cubicBezTo>
                  <a:pt x="822" y="312"/>
                  <a:pt x="822" y="313"/>
                  <a:pt x="822" y="313"/>
                </a:cubicBezTo>
                <a:cubicBezTo>
                  <a:pt x="822" y="313"/>
                  <a:pt x="822" y="313"/>
                  <a:pt x="822" y="313"/>
                </a:cubicBezTo>
                <a:cubicBezTo>
                  <a:pt x="822" y="314"/>
                  <a:pt x="822" y="313"/>
                  <a:pt x="822" y="313"/>
                </a:cubicBezTo>
                <a:cubicBezTo>
                  <a:pt x="822" y="314"/>
                  <a:pt x="822" y="314"/>
                  <a:pt x="822" y="314"/>
                </a:cubicBezTo>
                <a:cubicBezTo>
                  <a:pt x="822" y="314"/>
                  <a:pt x="822" y="314"/>
                  <a:pt x="823" y="313"/>
                </a:cubicBezTo>
                <a:cubicBezTo>
                  <a:pt x="823" y="314"/>
                  <a:pt x="822" y="314"/>
                  <a:pt x="822" y="315"/>
                </a:cubicBezTo>
                <a:cubicBezTo>
                  <a:pt x="822" y="315"/>
                  <a:pt x="822" y="314"/>
                  <a:pt x="821" y="315"/>
                </a:cubicBezTo>
                <a:close/>
                <a:moveTo>
                  <a:pt x="823" y="330"/>
                </a:moveTo>
                <a:cubicBezTo>
                  <a:pt x="823" y="330"/>
                  <a:pt x="823" y="330"/>
                  <a:pt x="823" y="330"/>
                </a:cubicBezTo>
                <a:cubicBezTo>
                  <a:pt x="823" y="330"/>
                  <a:pt x="824" y="330"/>
                  <a:pt x="823" y="330"/>
                </a:cubicBezTo>
                <a:close/>
                <a:moveTo>
                  <a:pt x="821" y="337"/>
                </a:moveTo>
                <a:cubicBezTo>
                  <a:pt x="821" y="337"/>
                  <a:pt x="821" y="338"/>
                  <a:pt x="822" y="338"/>
                </a:cubicBezTo>
                <a:cubicBezTo>
                  <a:pt x="821" y="337"/>
                  <a:pt x="822" y="337"/>
                  <a:pt x="822" y="337"/>
                </a:cubicBezTo>
                <a:cubicBezTo>
                  <a:pt x="822" y="337"/>
                  <a:pt x="821" y="337"/>
                  <a:pt x="821" y="337"/>
                </a:cubicBezTo>
                <a:close/>
                <a:moveTo>
                  <a:pt x="821" y="335"/>
                </a:moveTo>
                <a:cubicBezTo>
                  <a:pt x="821" y="334"/>
                  <a:pt x="820" y="335"/>
                  <a:pt x="821" y="335"/>
                </a:cubicBezTo>
                <a:cubicBezTo>
                  <a:pt x="821" y="335"/>
                  <a:pt x="821" y="335"/>
                  <a:pt x="821" y="335"/>
                </a:cubicBezTo>
                <a:close/>
                <a:moveTo>
                  <a:pt x="821" y="316"/>
                </a:moveTo>
                <a:cubicBezTo>
                  <a:pt x="821" y="316"/>
                  <a:pt x="821" y="316"/>
                  <a:pt x="821" y="316"/>
                </a:cubicBezTo>
                <a:cubicBezTo>
                  <a:pt x="821" y="316"/>
                  <a:pt x="821" y="315"/>
                  <a:pt x="821" y="316"/>
                </a:cubicBezTo>
                <a:close/>
                <a:moveTo>
                  <a:pt x="821" y="317"/>
                </a:moveTo>
                <a:cubicBezTo>
                  <a:pt x="821" y="317"/>
                  <a:pt x="821" y="317"/>
                  <a:pt x="821" y="316"/>
                </a:cubicBezTo>
                <a:cubicBezTo>
                  <a:pt x="820" y="316"/>
                  <a:pt x="820" y="316"/>
                  <a:pt x="820" y="316"/>
                </a:cubicBezTo>
                <a:cubicBezTo>
                  <a:pt x="821" y="317"/>
                  <a:pt x="820" y="317"/>
                  <a:pt x="821" y="317"/>
                </a:cubicBezTo>
                <a:close/>
                <a:moveTo>
                  <a:pt x="821" y="366"/>
                </a:moveTo>
                <a:cubicBezTo>
                  <a:pt x="821" y="366"/>
                  <a:pt x="821" y="365"/>
                  <a:pt x="821" y="365"/>
                </a:cubicBezTo>
                <a:cubicBezTo>
                  <a:pt x="820" y="366"/>
                  <a:pt x="820" y="366"/>
                  <a:pt x="820" y="367"/>
                </a:cubicBezTo>
                <a:cubicBezTo>
                  <a:pt x="821" y="367"/>
                  <a:pt x="821" y="366"/>
                  <a:pt x="821" y="366"/>
                </a:cubicBezTo>
                <a:close/>
                <a:moveTo>
                  <a:pt x="822" y="339"/>
                </a:moveTo>
                <a:cubicBezTo>
                  <a:pt x="821" y="338"/>
                  <a:pt x="822" y="338"/>
                  <a:pt x="821" y="338"/>
                </a:cubicBezTo>
                <a:cubicBezTo>
                  <a:pt x="821" y="338"/>
                  <a:pt x="821" y="338"/>
                  <a:pt x="821" y="338"/>
                </a:cubicBezTo>
                <a:cubicBezTo>
                  <a:pt x="821" y="338"/>
                  <a:pt x="821" y="339"/>
                  <a:pt x="822" y="339"/>
                </a:cubicBezTo>
                <a:close/>
                <a:moveTo>
                  <a:pt x="821" y="363"/>
                </a:moveTo>
                <a:cubicBezTo>
                  <a:pt x="821" y="364"/>
                  <a:pt x="822" y="364"/>
                  <a:pt x="822" y="364"/>
                </a:cubicBezTo>
                <a:cubicBezTo>
                  <a:pt x="822" y="363"/>
                  <a:pt x="822" y="363"/>
                  <a:pt x="822" y="363"/>
                </a:cubicBezTo>
                <a:cubicBezTo>
                  <a:pt x="822" y="363"/>
                  <a:pt x="822" y="362"/>
                  <a:pt x="822" y="363"/>
                </a:cubicBezTo>
                <a:cubicBezTo>
                  <a:pt x="822" y="362"/>
                  <a:pt x="822" y="362"/>
                  <a:pt x="822" y="361"/>
                </a:cubicBezTo>
                <a:cubicBezTo>
                  <a:pt x="822" y="362"/>
                  <a:pt x="822" y="362"/>
                  <a:pt x="821" y="363"/>
                </a:cubicBezTo>
                <a:close/>
                <a:moveTo>
                  <a:pt x="823" y="335"/>
                </a:moveTo>
                <a:cubicBezTo>
                  <a:pt x="823" y="336"/>
                  <a:pt x="823" y="335"/>
                  <a:pt x="822" y="335"/>
                </a:cubicBezTo>
                <a:cubicBezTo>
                  <a:pt x="822" y="336"/>
                  <a:pt x="822" y="336"/>
                  <a:pt x="822" y="336"/>
                </a:cubicBezTo>
                <a:cubicBezTo>
                  <a:pt x="822" y="336"/>
                  <a:pt x="822" y="336"/>
                  <a:pt x="822" y="336"/>
                </a:cubicBezTo>
                <a:cubicBezTo>
                  <a:pt x="822" y="336"/>
                  <a:pt x="822" y="337"/>
                  <a:pt x="822" y="337"/>
                </a:cubicBezTo>
                <a:cubicBezTo>
                  <a:pt x="822" y="337"/>
                  <a:pt x="822" y="337"/>
                  <a:pt x="822" y="337"/>
                </a:cubicBezTo>
                <a:cubicBezTo>
                  <a:pt x="823" y="337"/>
                  <a:pt x="823" y="337"/>
                  <a:pt x="823" y="337"/>
                </a:cubicBezTo>
                <a:cubicBezTo>
                  <a:pt x="822" y="337"/>
                  <a:pt x="823" y="337"/>
                  <a:pt x="823" y="336"/>
                </a:cubicBezTo>
                <a:cubicBezTo>
                  <a:pt x="823" y="336"/>
                  <a:pt x="823" y="336"/>
                  <a:pt x="823" y="335"/>
                </a:cubicBezTo>
                <a:close/>
                <a:moveTo>
                  <a:pt x="824" y="358"/>
                </a:moveTo>
                <a:cubicBezTo>
                  <a:pt x="824" y="357"/>
                  <a:pt x="823" y="358"/>
                  <a:pt x="823" y="358"/>
                </a:cubicBezTo>
                <a:cubicBezTo>
                  <a:pt x="824" y="359"/>
                  <a:pt x="823" y="358"/>
                  <a:pt x="824" y="358"/>
                </a:cubicBezTo>
                <a:close/>
                <a:moveTo>
                  <a:pt x="824" y="333"/>
                </a:moveTo>
                <a:cubicBezTo>
                  <a:pt x="824" y="333"/>
                  <a:pt x="824" y="333"/>
                  <a:pt x="824" y="333"/>
                </a:cubicBezTo>
                <a:cubicBezTo>
                  <a:pt x="824" y="333"/>
                  <a:pt x="824" y="333"/>
                  <a:pt x="824" y="333"/>
                </a:cubicBezTo>
                <a:close/>
                <a:moveTo>
                  <a:pt x="825" y="331"/>
                </a:moveTo>
                <a:cubicBezTo>
                  <a:pt x="825" y="330"/>
                  <a:pt x="825" y="330"/>
                  <a:pt x="824" y="330"/>
                </a:cubicBezTo>
                <a:cubicBezTo>
                  <a:pt x="824" y="331"/>
                  <a:pt x="823" y="331"/>
                  <a:pt x="824" y="332"/>
                </a:cubicBezTo>
                <a:cubicBezTo>
                  <a:pt x="824" y="331"/>
                  <a:pt x="824" y="331"/>
                  <a:pt x="825" y="331"/>
                </a:cubicBezTo>
                <a:close/>
                <a:moveTo>
                  <a:pt x="826" y="356"/>
                </a:moveTo>
                <a:cubicBezTo>
                  <a:pt x="826" y="356"/>
                  <a:pt x="826" y="355"/>
                  <a:pt x="825" y="355"/>
                </a:cubicBezTo>
                <a:cubicBezTo>
                  <a:pt x="826" y="356"/>
                  <a:pt x="826" y="356"/>
                  <a:pt x="825" y="356"/>
                </a:cubicBezTo>
                <a:cubicBezTo>
                  <a:pt x="825" y="357"/>
                  <a:pt x="826" y="356"/>
                  <a:pt x="826" y="356"/>
                </a:cubicBezTo>
                <a:close/>
                <a:moveTo>
                  <a:pt x="826" y="359"/>
                </a:moveTo>
                <a:cubicBezTo>
                  <a:pt x="826" y="357"/>
                  <a:pt x="826" y="357"/>
                  <a:pt x="826" y="357"/>
                </a:cubicBezTo>
                <a:cubicBezTo>
                  <a:pt x="826" y="358"/>
                  <a:pt x="826" y="358"/>
                  <a:pt x="826" y="358"/>
                </a:cubicBezTo>
                <a:cubicBezTo>
                  <a:pt x="826" y="358"/>
                  <a:pt x="826" y="358"/>
                  <a:pt x="826" y="358"/>
                </a:cubicBezTo>
                <a:cubicBezTo>
                  <a:pt x="826" y="359"/>
                  <a:pt x="826" y="359"/>
                  <a:pt x="826" y="359"/>
                </a:cubicBezTo>
                <a:close/>
                <a:moveTo>
                  <a:pt x="827" y="350"/>
                </a:moveTo>
                <a:cubicBezTo>
                  <a:pt x="826" y="350"/>
                  <a:pt x="826" y="351"/>
                  <a:pt x="826" y="352"/>
                </a:cubicBezTo>
                <a:cubicBezTo>
                  <a:pt x="824" y="350"/>
                  <a:pt x="825" y="354"/>
                  <a:pt x="825" y="355"/>
                </a:cubicBezTo>
                <a:cubicBezTo>
                  <a:pt x="825" y="355"/>
                  <a:pt x="825" y="354"/>
                  <a:pt x="825" y="354"/>
                </a:cubicBezTo>
                <a:cubicBezTo>
                  <a:pt x="825" y="354"/>
                  <a:pt x="825" y="354"/>
                  <a:pt x="825" y="354"/>
                </a:cubicBezTo>
                <a:cubicBezTo>
                  <a:pt x="826" y="353"/>
                  <a:pt x="826" y="355"/>
                  <a:pt x="826" y="355"/>
                </a:cubicBezTo>
                <a:cubicBezTo>
                  <a:pt x="826" y="354"/>
                  <a:pt x="826" y="353"/>
                  <a:pt x="825" y="353"/>
                </a:cubicBezTo>
                <a:cubicBezTo>
                  <a:pt x="825" y="353"/>
                  <a:pt x="826" y="353"/>
                  <a:pt x="826" y="352"/>
                </a:cubicBezTo>
                <a:cubicBezTo>
                  <a:pt x="826" y="352"/>
                  <a:pt x="827" y="351"/>
                  <a:pt x="827" y="350"/>
                </a:cubicBezTo>
                <a:close/>
                <a:moveTo>
                  <a:pt x="827" y="352"/>
                </a:moveTo>
                <a:cubicBezTo>
                  <a:pt x="827" y="352"/>
                  <a:pt x="826" y="353"/>
                  <a:pt x="826" y="354"/>
                </a:cubicBezTo>
                <a:cubicBezTo>
                  <a:pt x="827" y="353"/>
                  <a:pt x="827" y="352"/>
                  <a:pt x="827" y="352"/>
                </a:cubicBezTo>
                <a:close/>
                <a:moveTo>
                  <a:pt x="827" y="323"/>
                </a:moveTo>
                <a:cubicBezTo>
                  <a:pt x="827" y="323"/>
                  <a:pt x="827" y="324"/>
                  <a:pt x="826" y="324"/>
                </a:cubicBezTo>
                <a:cubicBezTo>
                  <a:pt x="827" y="324"/>
                  <a:pt x="827" y="323"/>
                  <a:pt x="827" y="323"/>
                </a:cubicBezTo>
                <a:close/>
                <a:moveTo>
                  <a:pt x="828" y="328"/>
                </a:moveTo>
                <a:cubicBezTo>
                  <a:pt x="827" y="327"/>
                  <a:pt x="827" y="329"/>
                  <a:pt x="827" y="329"/>
                </a:cubicBezTo>
                <a:cubicBezTo>
                  <a:pt x="828" y="329"/>
                  <a:pt x="827" y="328"/>
                  <a:pt x="828" y="328"/>
                </a:cubicBezTo>
                <a:close/>
                <a:moveTo>
                  <a:pt x="829" y="324"/>
                </a:moveTo>
                <a:cubicBezTo>
                  <a:pt x="829" y="324"/>
                  <a:pt x="828" y="324"/>
                  <a:pt x="829" y="324"/>
                </a:cubicBezTo>
                <a:cubicBezTo>
                  <a:pt x="828" y="324"/>
                  <a:pt x="828" y="325"/>
                  <a:pt x="828" y="325"/>
                </a:cubicBezTo>
                <a:cubicBezTo>
                  <a:pt x="828" y="325"/>
                  <a:pt x="828" y="324"/>
                  <a:pt x="829" y="324"/>
                </a:cubicBezTo>
                <a:close/>
                <a:moveTo>
                  <a:pt x="829" y="326"/>
                </a:moveTo>
                <a:cubicBezTo>
                  <a:pt x="828" y="326"/>
                  <a:pt x="829" y="327"/>
                  <a:pt x="829" y="327"/>
                </a:cubicBezTo>
                <a:cubicBezTo>
                  <a:pt x="829" y="327"/>
                  <a:pt x="829" y="326"/>
                  <a:pt x="829" y="326"/>
                </a:cubicBezTo>
                <a:close/>
                <a:moveTo>
                  <a:pt x="830" y="325"/>
                </a:moveTo>
                <a:cubicBezTo>
                  <a:pt x="830" y="325"/>
                  <a:pt x="829" y="325"/>
                  <a:pt x="829" y="325"/>
                </a:cubicBezTo>
                <a:cubicBezTo>
                  <a:pt x="829" y="325"/>
                  <a:pt x="829" y="325"/>
                  <a:pt x="829" y="325"/>
                </a:cubicBezTo>
                <a:cubicBezTo>
                  <a:pt x="829" y="325"/>
                  <a:pt x="829" y="325"/>
                  <a:pt x="829" y="326"/>
                </a:cubicBezTo>
                <a:cubicBezTo>
                  <a:pt x="830" y="325"/>
                  <a:pt x="830" y="326"/>
                  <a:pt x="830" y="325"/>
                </a:cubicBezTo>
                <a:close/>
                <a:moveTo>
                  <a:pt x="832" y="323"/>
                </a:moveTo>
                <a:cubicBezTo>
                  <a:pt x="831" y="323"/>
                  <a:pt x="831" y="322"/>
                  <a:pt x="831" y="322"/>
                </a:cubicBezTo>
                <a:cubicBezTo>
                  <a:pt x="831" y="322"/>
                  <a:pt x="831" y="323"/>
                  <a:pt x="830" y="322"/>
                </a:cubicBezTo>
                <a:cubicBezTo>
                  <a:pt x="830" y="323"/>
                  <a:pt x="831" y="323"/>
                  <a:pt x="831" y="323"/>
                </a:cubicBezTo>
                <a:cubicBezTo>
                  <a:pt x="831" y="323"/>
                  <a:pt x="830" y="324"/>
                  <a:pt x="830" y="324"/>
                </a:cubicBezTo>
                <a:cubicBezTo>
                  <a:pt x="831" y="324"/>
                  <a:pt x="831" y="323"/>
                  <a:pt x="832" y="323"/>
                </a:cubicBezTo>
                <a:close/>
                <a:moveTo>
                  <a:pt x="833" y="333"/>
                </a:moveTo>
                <a:cubicBezTo>
                  <a:pt x="833" y="333"/>
                  <a:pt x="832" y="332"/>
                  <a:pt x="832" y="332"/>
                </a:cubicBezTo>
                <a:cubicBezTo>
                  <a:pt x="832" y="332"/>
                  <a:pt x="832" y="332"/>
                  <a:pt x="832" y="333"/>
                </a:cubicBezTo>
                <a:cubicBezTo>
                  <a:pt x="832" y="333"/>
                  <a:pt x="833" y="333"/>
                  <a:pt x="833" y="333"/>
                </a:cubicBezTo>
                <a:close/>
                <a:moveTo>
                  <a:pt x="833" y="334"/>
                </a:moveTo>
                <a:cubicBezTo>
                  <a:pt x="833" y="334"/>
                  <a:pt x="833" y="334"/>
                  <a:pt x="833" y="334"/>
                </a:cubicBezTo>
                <a:cubicBezTo>
                  <a:pt x="833" y="334"/>
                  <a:pt x="833" y="334"/>
                  <a:pt x="833" y="334"/>
                </a:cubicBezTo>
                <a:close/>
                <a:moveTo>
                  <a:pt x="834" y="320"/>
                </a:moveTo>
                <a:cubicBezTo>
                  <a:pt x="833" y="320"/>
                  <a:pt x="833" y="320"/>
                  <a:pt x="833" y="320"/>
                </a:cubicBezTo>
                <a:cubicBezTo>
                  <a:pt x="833" y="320"/>
                  <a:pt x="833" y="321"/>
                  <a:pt x="833" y="321"/>
                </a:cubicBezTo>
                <a:cubicBezTo>
                  <a:pt x="833" y="321"/>
                  <a:pt x="833" y="320"/>
                  <a:pt x="834" y="320"/>
                </a:cubicBezTo>
                <a:close/>
                <a:moveTo>
                  <a:pt x="833" y="332"/>
                </a:moveTo>
                <a:cubicBezTo>
                  <a:pt x="833" y="332"/>
                  <a:pt x="833" y="333"/>
                  <a:pt x="833" y="333"/>
                </a:cubicBezTo>
                <a:cubicBezTo>
                  <a:pt x="834" y="333"/>
                  <a:pt x="834" y="333"/>
                  <a:pt x="834" y="333"/>
                </a:cubicBezTo>
                <a:cubicBezTo>
                  <a:pt x="834" y="333"/>
                  <a:pt x="835" y="334"/>
                  <a:pt x="835" y="334"/>
                </a:cubicBezTo>
                <a:cubicBezTo>
                  <a:pt x="836" y="333"/>
                  <a:pt x="834" y="333"/>
                  <a:pt x="833" y="332"/>
                </a:cubicBezTo>
                <a:close/>
                <a:moveTo>
                  <a:pt x="835" y="317"/>
                </a:moveTo>
                <a:cubicBezTo>
                  <a:pt x="835" y="317"/>
                  <a:pt x="835" y="318"/>
                  <a:pt x="835" y="318"/>
                </a:cubicBezTo>
                <a:cubicBezTo>
                  <a:pt x="835" y="318"/>
                  <a:pt x="835" y="318"/>
                  <a:pt x="835" y="318"/>
                </a:cubicBezTo>
                <a:cubicBezTo>
                  <a:pt x="835" y="318"/>
                  <a:pt x="836" y="318"/>
                  <a:pt x="835" y="317"/>
                </a:cubicBezTo>
                <a:close/>
                <a:moveTo>
                  <a:pt x="836" y="316"/>
                </a:moveTo>
                <a:cubicBezTo>
                  <a:pt x="836" y="316"/>
                  <a:pt x="835" y="316"/>
                  <a:pt x="836" y="317"/>
                </a:cubicBezTo>
                <a:cubicBezTo>
                  <a:pt x="836" y="317"/>
                  <a:pt x="836" y="316"/>
                  <a:pt x="836" y="317"/>
                </a:cubicBezTo>
                <a:cubicBezTo>
                  <a:pt x="836" y="316"/>
                  <a:pt x="836" y="316"/>
                  <a:pt x="836" y="316"/>
                </a:cubicBezTo>
                <a:close/>
                <a:moveTo>
                  <a:pt x="837" y="321"/>
                </a:moveTo>
                <a:cubicBezTo>
                  <a:pt x="836" y="321"/>
                  <a:pt x="836" y="321"/>
                  <a:pt x="836" y="322"/>
                </a:cubicBezTo>
                <a:cubicBezTo>
                  <a:pt x="837" y="322"/>
                  <a:pt x="837" y="321"/>
                  <a:pt x="837" y="321"/>
                </a:cubicBezTo>
                <a:close/>
                <a:moveTo>
                  <a:pt x="838" y="314"/>
                </a:moveTo>
                <a:cubicBezTo>
                  <a:pt x="837" y="314"/>
                  <a:pt x="837" y="315"/>
                  <a:pt x="837" y="315"/>
                </a:cubicBezTo>
                <a:cubicBezTo>
                  <a:pt x="838" y="315"/>
                  <a:pt x="838" y="314"/>
                  <a:pt x="838" y="314"/>
                </a:cubicBezTo>
                <a:close/>
                <a:moveTo>
                  <a:pt x="838" y="313"/>
                </a:moveTo>
                <a:cubicBezTo>
                  <a:pt x="837" y="313"/>
                  <a:pt x="837" y="312"/>
                  <a:pt x="837" y="311"/>
                </a:cubicBezTo>
                <a:cubicBezTo>
                  <a:pt x="836" y="312"/>
                  <a:pt x="837" y="312"/>
                  <a:pt x="836" y="312"/>
                </a:cubicBezTo>
                <a:cubicBezTo>
                  <a:pt x="837" y="312"/>
                  <a:pt x="837" y="313"/>
                  <a:pt x="837" y="313"/>
                </a:cubicBezTo>
                <a:cubicBezTo>
                  <a:pt x="837" y="313"/>
                  <a:pt x="837" y="314"/>
                  <a:pt x="836" y="314"/>
                </a:cubicBezTo>
                <a:cubicBezTo>
                  <a:pt x="836" y="315"/>
                  <a:pt x="836" y="315"/>
                  <a:pt x="836" y="315"/>
                </a:cubicBezTo>
                <a:cubicBezTo>
                  <a:pt x="836" y="315"/>
                  <a:pt x="835" y="315"/>
                  <a:pt x="835" y="315"/>
                </a:cubicBezTo>
                <a:cubicBezTo>
                  <a:pt x="835" y="315"/>
                  <a:pt x="835" y="315"/>
                  <a:pt x="835" y="315"/>
                </a:cubicBezTo>
                <a:cubicBezTo>
                  <a:pt x="836" y="315"/>
                  <a:pt x="835" y="316"/>
                  <a:pt x="835" y="316"/>
                </a:cubicBezTo>
                <a:cubicBezTo>
                  <a:pt x="835" y="316"/>
                  <a:pt x="836" y="316"/>
                  <a:pt x="836" y="315"/>
                </a:cubicBezTo>
                <a:cubicBezTo>
                  <a:pt x="836" y="315"/>
                  <a:pt x="837" y="316"/>
                  <a:pt x="836" y="316"/>
                </a:cubicBezTo>
                <a:cubicBezTo>
                  <a:pt x="837" y="317"/>
                  <a:pt x="837" y="316"/>
                  <a:pt x="837" y="316"/>
                </a:cubicBezTo>
                <a:cubicBezTo>
                  <a:pt x="837" y="315"/>
                  <a:pt x="837" y="316"/>
                  <a:pt x="837" y="316"/>
                </a:cubicBezTo>
                <a:cubicBezTo>
                  <a:pt x="837" y="315"/>
                  <a:pt x="837" y="315"/>
                  <a:pt x="837" y="315"/>
                </a:cubicBezTo>
                <a:cubicBezTo>
                  <a:pt x="837" y="315"/>
                  <a:pt x="837" y="315"/>
                  <a:pt x="837" y="315"/>
                </a:cubicBezTo>
                <a:cubicBezTo>
                  <a:pt x="837" y="315"/>
                  <a:pt x="837" y="313"/>
                  <a:pt x="838" y="313"/>
                </a:cubicBezTo>
                <a:close/>
                <a:moveTo>
                  <a:pt x="838" y="312"/>
                </a:moveTo>
                <a:cubicBezTo>
                  <a:pt x="839" y="312"/>
                  <a:pt x="839" y="311"/>
                  <a:pt x="839" y="311"/>
                </a:cubicBezTo>
                <a:cubicBezTo>
                  <a:pt x="839" y="311"/>
                  <a:pt x="839" y="311"/>
                  <a:pt x="839" y="311"/>
                </a:cubicBezTo>
                <a:cubicBezTo>
                  <a:pt x="839" y="311"/>
                  <a:pt x="839" y="311"/>
                  <a:pt x="839" y="311"/>
                </a:cubicBezTo>
                <a:cubicBezTo>
                  <a:pt x="838" y="311"/>
                  <a:pt x="838" y="311"/>
                  <a:pt x="838" y="311"/>
                </a:cubicBezTo>
                <a:cubicBezTo>
                  <a:pt x="838" y="312"/>
                  <a:pt x="838" y="312"/>
                  <a:pt x="838" y="312"/>
                </a:cubicBezTo>
                <a:close/>
                <a:moveTo>
                  <a:pt x="839" y="313"/>
                </a:moveTo>
                <a:cubicBezTo>
                  <a:pt x="839" y="313"/>
                  <a:pt x="839" y="312"/>
                  <a:pt x="839" y="312"/>
                </a:cubicBezTo>
                <a:cubicBezTo>
                  <a:pt x="839" y="312"/>
                  <a:pt x="838" y="313"/>
                  <a:pt x="839" y="313"/>
                </a:cubicBezTo>
                <a:close/>
                <a:moveTo>
                  <a:pt x="839" y="324"/>
                </a:moveTo>
                <a:cubicBezTo>
                  <a:pt x="839" y="324"/>
                  <a:pt x="839" y="324"/>
                  <a:pt x="839" y="324"/>
                </a:cubicBezTo>
                <a:cubicBezTo>
                  <a:pt x="839" y="324"/>
                  <a:pt x="839" y="325"/>
                  <a:pt x="838" y="325"/>
                </a:cubicBezTo>
                <a:cubicBezTo>
                  <a:pt x="838" y="325"/>
                  <a:pt x="839" y="325"/>
                  <a:pt x="839" y="325"/>
                </a:cubicBezTo>
                <a:cubicBezTo>
                  <a:pt x="839" y="325"/>
                  <a:pt x="839" y="324"/>
                  <a:pt x="839" y="324"/>
                </a:cubicBezTo>
                <a:close/>
                <a:moveTo>
                  <a:pt x="839" y="323"/>
                </a:moveTo>
                <a:cubicBezTo>
                  <a:pt x="839" y="324"/>
                  <a:pt x="839" y="324"/>
                  <a:pt x="839" y="324"/>
                </a:cubicBezTo>
                <a:cubicBezTo>
                  <a:pt x="840" y="324"/>
                  <a:pt x="839" y="324"/>
                  <a:pt x="839" y="323"/>
                </a:cubicBezTo>
                <a:close/>
                <a:moveTo>
                  <a:pt x="840" y="310"/>
                </a:moveTo>
                <a:cubicBezTo>
                  <a:pt x="840" y="309"/>
                  <a:pt x="840" y="309"/>
                  <a:pt x="839" y="309"/>
                </a:cubicBezTo>
                <a:cubicBezTo>
                  <a:pt x="839" y="309"/>
                  <a:pt x="839" y="310"/>
                  <a:pt x="840" y="310"/>
                </a:cubicBezTo>
                <a:close/>
                <a:moveTo>
                  <a:pt x="840" y="324"/>
                </a:moveTo>
                <a:cubicBezTo>
                  <a:pt x="840" y="324"/>
                  <a:pt x="841" y="324"/>
                  <a:pt x="841" y="324"/>
                </a:cubicBezTo>
                <a:cubicBezTo>
                  <a:pt x="841" y="325"/>
                  <a:pt x="840" y="324"/>
                  <a:pt x="840" y="324"/>
                </a:cubicBezTo>
                <a:cubicBezTo>
                  <a:pt x="840" y="325"/>
                  <a:pt x="840" y="325"/>
                  <a:pt x="840" y="325"/>
                </a:cubicBezTo>
                <a:cubicBezTo>
                  <a:pt x="841" y="325"/>
                  <a:pt x="841" y="325"/>
                  <a:pt x="841" y="324"/>
                </a:cubicBezTo>
                <a:cubicBezTo>
                  <a:pt x="841" y="324"/>
                  <a:pt x="841" y="324"/>
                  <a:pt x="840" y="324"/>
                </a:cubicBezTo>
                <a:close/>
                <a:moveTo>
                  <a:pt x="840" y="323"/>
                </a:moveTo>
                <a:cubicBezTo>
                  <a:pt x="841" y="323"/>
                  <a:pt x="840" y="323"/>
                  <a:pt x="840" y="322"/>
                </a:cubicBezTo>
                <a:cubicBezTo>
                  <a:pt x="840" y="322"/>
                  <a:pt x="840" y="323"/>
                  <a:pt x="840" y="323"/>
                </a:cubicBezTo>
                <a:cubicBezTo>
                  <a:pt x="840" y="323"/>
                  <a:pt x="840" y="323"/>
                  <a:pt x="840" y="323"/>
                </a:cubicBezTo>
                <a:close/>
                <a:moveTo>
                  <a:pt x="841" y="322"/>
                </a:moveTo>
                <a:cubicBezTo>
                  <a:pt x="841" y="321"/>
                  <a:pt x="841" y="321"/>
                  <a:pt x="841" y="321"/>
                </a:cubicBezTo>
                <a:cubicBezTo>
                  <a:pt x="841" y="322"/>
                  <a:pt x="840" y="322"/>
                  <a:pt x="840" y="322"/>
                </a:cubicBezTo>
                <a:cubicBezTo>
                  <a:pt x="841" y="322"/>
                  <a:pt x="841" y="322"/>
                  <a:pt x="841" y="322"/>
                </a:cubicBezTo>
                <a:close/>
                <a:moveTo>
                  <a:pt x="843" y="319"/>
                </a:moveTo>
                <a:cubicBezTo>
                  <a:pt x="843" y="319"/>
                  <a:pt x="843" y="320"/>
                  <a:pt x="843" y="320"/>
                </a:cubicBezTo>
                <a:cubicBezTo>
                  <a:pt x="844" y="320"/>
                  <a:pt x="843" y="319"/>
                  <a:pt x="843" y="319"/>
                </a:cubicBezTo>
                <a:cubicBezTo>
                  <a:pt x="843" y="318"/>
                  <a:pt x="843" y="318"/>
                  <a:pt x="843" y="318"/>
                </a:cubicBezTo>
                <a:cubicBezTo>
                  <a:pt x="843" y="319"/>
                  <a:pt x="843" y="319"/>
                  <a:pt x="843" y="319"/>
                </a:cubicBezTo>
                <a:close/>
                <a:moveTo>
                  <a:pt x="842" y="320"/>
                </a:moveTo>
                <a:cubicBezTo>
                  <a:pt x="842" y="320"/>
                  <a:pt x="842" y="320"/>
                  <a:pt x="842" y="320"/>
                </a:cubicBezTo>
                <a:cubicBezTo>
                  <a:pt x="843" y="321"/>
                  <a:pt x="842" y="321"/>
                  <a:pt x="843" y="321"/>
                </a:cubicBezTo>
                <a:cubicBezTo>
                  <a:pt x="843" y="321"/>
                  <a:pt x="843" y="320"/>
                  <a:pt x="843" y="320"/>
                </a:cubicBezTo>
                <a:cubicBezTo>
                  <a:pt x="842" y="319"/>
                  <a:pt x="842" y="320"/>
                  <a:pt x="842" y="320"/>
                </a:cubicBezTo>
                <a:close/>
                <a:moveTo>
                  <a:pt x="841" y="315"/>
                </a:moveTo>
                <a:cubicBezTo>
                  <a:pt x="842" y="315"/>
                  <a:pt x="842" y="315"/>
                  <a:pt x="841" y="315"/>
                </a:cubicBezTo>
                <a:cubicBezTo>
                  <a:pt x="841" y="315"/>
                  <a:pt x="841" y="315"/>
                  <a:pt x="841" y="315"/>
                </a:cubicBezTo>
                <a:close/>
                <a:moveTo>
                  <a:pt x="841" y="321"/>
                </a:moveTo>
                <a:cubicBezTo>
                  <a:pt x="841" y="321"/>
                  <a:pt x="841" y="321"/>
                  <a:pt x="841" y="321"/>
                </a:cubicBezTo>
                <a:cubicBezTo>
                  <a:pt x="842" y="321"/>
                  <a:pt x="841" y="321"/>
                  <a:pt x="842" y="320"/>
                </a:cubicBezTo>
                <a:cubicBezTo>
                  <a:pt x="842" y="320"/>
                  <a:pt x="841" y="321"/>
                  <a:pt x="841" y="321"/>
                </a:cubicBezTo>
                <a:close/>
                <a:moveTo>
                  <a:pt x="840" y="310"/>
                </a:moveTo>
                <a:cubicBezTo>
                  <a:pt x="841" y="310"/>
                  <a:pt x="841" y="310"/>
                  <a:pt x="841" y="310"/>
                </a:cubicBezTo>
                <a:cubicBezTo>
                  <a:pt x="841" y="310"/>
                  <a:pt x="841" y="310"/>
                  <a:pt x="841" y="310"/>
                </a:cubicBezTo>
                <a:lnTo>
                  <a:pt x="840" y="310"/>
                </a:lnTo>
                <a:close/>
                <a:moveTo>
                  <a:pt x="840" y="320"/>
                </a:moveTo>
                <a:cubicBezTo>
                  <a:pt x="840" y="320"/>
                  <a:pt x="840" y="320"/>
                  <a:pt x="840" y="320"/>
                </a:cubicBezTo>
                <a:cubicBezTo>
                  <a:pt x="841" y="320"/>
                  <a:pt x="840" y="320"/>
                  <a:pt x="840" y="320"/>
                </a:cubicBezTo>
                <a:close/>
                <a:moveTo>
                  <a:pt x="840" y="312"/>
                </a:moveTo>
                <a:cubicBezTo>
                  <a:pt x="840" y="312"/>
                  <a:pt x="841" y="312"/>
                  <a:pt x="840" y="311"/>
                </a:cubicBezTo>
                <a:cubicBezTo>
                  <a:pt x="840" y="311"/>
                  <a:pt x="840" y="312"/>
                  <a:pt x="840" y="312"/>
                </a:cubicBezTo>
                <a:close/>
                <a:moveTo>
                  <a:pt x="845" y="300"/>
                </a:moveTo>
                <a:cubicBezTo>
                  <a:pt x="845" y="300"/>
                  <a:pt x="845" y="299"/>
                  <a:pt x="845" y="299"/>
                </a:cubicBezTo>
                <a:cubicBezTo>
                  <a:pt x="845" y="299"/>
                  <a:pt x="844" y="299"/>
                  <a:pt x="845" y="300"/>
                </a:cubicBezTo>
                <a:close/>
                <a:moveTo>
                  <a:pt x="844" y="287"/>
                </a:moveTo>
                <a:cubicBezTo>
                  <a:pt x="844" y="287"/>
                  <a:pt x="845" y="287"/>
                  <a:pt x="844" y="287"/>
                </a:cubicBezTo>
                <a:cubicBezTo>
                  <a:pt x="844" y="287"/>
                  <a:pt x="844" y="287"/>
                  <a:pt x="844" y="287"/>
                </a:cubicBezTo>
                <a:close/>
                <a:moveTo>
                  <a:pt x="842" y="301"/>
                </a:moveTo>
                <a:cubicBezTo>
                  <a:pt x="841" y="301"/>
                  <a:pt x="841" y="301"/>
                  <a:pt x="840" y="301"/>
                </a:cubicBezTo>
                <a:cubicBezTo>
                  <a:pt x="841" y="302"/>
                  <a:pt x="842" y="302"/>
                  <a:pt x="842" y="301"/>
                </a:cubicBezTo>
                <a:close/>
                <a:moveTo>
                  <a:pt x="843" y="288"/>
                </a:moveTo>
                <a:cubicBezTo>
                  <a:pt x="842" y="288"/>
                  <a:pt x="842" y="288"/>
                  <a:pt x="842" y="288"/>
                </a:cubicBezTo>
                <a:cubicBezTo>
                  <a:pt x="842" y="288"/>
                  <a:pt x="843" y="289"/>
                  <a:pt x="842" y="289"/>
                </a:cubicBezTo>
                <a:cubicBezTo>
                  <a:pt x="842" y="289"/>
                  <a:pt x="843" y="288"/>
                  <a:pt x="843" y="288"/>
                </a:cubicBezTo>
                <a:close/>
                <a:moveTo>
                  <a:pt x="843" y="301"/>
                </a:moveTo>
                <a:cubicBezTo>
                  <a:pt x="843" y="301"/>
                  <a:pt x="843" y="301"/>
                  <a:pt x="843" y="301"/>
                </a:cubicBezTo>
                <a:cubicBezTo>
                  <a:pt x="843" y="302"/>
                  <a:pt x="843" y="302"/>
                  <a:pt x="843" y="302"/>
                </a:cubicBezTo>
                <a:cubicBezTo>
                  <a:pt x="844" y="302"/>
                  <a:pt x="843" y="301"/>
                  <a:pt x="843" y="301"/>
                </a:cubicBezTo>
                <a:close/>
                <a:moveTo>
                  <a:pt x="843" y="299"/>
                </a:moveTo>
                <a:cubicBezTo>
                  <a:pt x="844" y="299"/>
                  <a:pt x="843" y="298"/>
                  <a:pt x="844" y="298"/>
                </a:cubicBezTo>
                <a:cubicBezTo>
                  <a:pt x="843" y="298"/>
                  <a:pt x="843" y="299"/>
                  <a:pt x="843" y="299"/>
                </a:cubicBezTo>
                <a:cubicBezTo>
                  <a:pt x="843" y="299"/>
                  <a:pt x="843" y="299"/>
                  <a:pt x="843" y="299"/>
                </a:cubicBezTo>
                <a:cubicBezTo>
                  <a:pt x="843" y="300"/>
                  <a:pt x="842" y="299"/>
                  <a:pt x="843" y="300"/>
                </a:cubicBezTo>
                <a:cubicBezTo>
                  <a:pt x="843" y="300"/>
                  <a:pt x="843" y="300"/>
                  <a:pt x="843" y="299"/>
                </a:cubicBezTo>
                <a:close/>
                <a:moveTo>
                  <a:pt x="844" y="300"/>
                </a:moveTo>
                <a:cubicBezTo>
                  <a:pt x="843" y="300"/>
                  <a:pt x="843" y="301"/>
                  <a:pt x="843" y="301"/>
                </a:cubicBezTo>
                <a:cubicBezTo>
                  <a:pt x="844" y="301"/>
                  <a:pt x="845" y="300"/>
                  <a:pt x="844" y="300"/>
                </a:cubicBezTo>
                <a:close/>
                <a:moveTo>
                  <a:pt x="844" y="302"/>
                </a:moveTo>
                <a:cubicBezTo>
                  <a:pt x="844" y="302"/>
                  <a:pt x="843" y="302"/>
                  <a:pt x="844" y="302"/>
                </a:cubicBezTo>
                <a:cubicBezTo>
                  <a:pt x="844" y="303"/>
                  <a:pt x="845" y="303"/>
                  <a:pt x="844" y="302"/>
                </a:cubicBezTo>
                <a:close/>
                <a:moveTo>
                  <a:pt x="845" y="300"/>
                </a:moveTo>
                <a:cubicBezTo>
                  <a:pt x="845" y="300"/>
                  <a:pt x="845" y="300"/>
                  <a:pt x="845" y="300"/>
                </a:cubicBezTo>
                <a:cubicBezTo>
                  <a:pt x="845" y="300"/>
                  <a:pt x="844" y="299"/>
                  <a:pt x="844" y="300"/>
                </a:cubicBezTo>
                <a:cubicBezTo>
                  <a:pt x="845" y="300"/>
                  <a:pt x="845" y="300"/>
                  <a:pt x="845" y="301"/>
                </a:cubicBezTo>
                <a:cubicBezTo>
                  <a:pt x="845" y="301"/>
                  <a:pt x="845" y="300"/>
                  <a:pt x="844" y="301"/>
                </a:cubicBezTo>
                <a:cubicBezTo>
                  <a:pt x="844" y="301"/>
                  <a:pt x="844" y="301"/>
                  <a:pt x="845" y="301"/>
                </a:cubicBezTo>
                <a:cubicBezTo>
                  <a:pt x="845" y="301"/>
                  <a:pt x="846" y="301"/>
                  <a:pt x="846" y="300"/>
                </a:cubicBezTo>
                <a:cubicBezTo>
                  <a:pt x="845" y="300"/>
                  <a:pt x="845" y="300"/>
                  <a:pt x="845" y="300"/>
                </a:cubicBezTo>
                <a:close/>
                <a:moveTo>
                  <a:pt x="846" y="293"/>
                </a:moveTo>
                <a:cubicBezTo>
                  <a:pt x="846" y="293"/>
                  <a:pt x="847" y="293"/>
                  <a:pt x="846" y="292"/>
                </a:cubicBezTo>
                <a:cubicBezTo>
                  <a:pt x="846" y="292"/>
                  <a:pt x="846" y="292"/>
                  <a:pt x="846" y="293"/>
                </a:cubicBezTo>
                <a:close/>
                <a:moveTo>
                  <a:pt x="846" y="298"/>
                </a:moveTo>
                <a:cubicBezTo>
                  <a:pt x="845" y="298"/>
                  <a:pt x="846" y="299"/>
                  <a:pt x="846" y="299"/>
                </a:cubicBezTo>
                <a:cubicBezTo>
                  <a:pt x="846" y="299"/>
                  <a:pt x="846" y="298"/>
                  <a:pt x="846" y="298"/>
                </a:cubicBezTo>
                <a:close/>
                <a:moveTo>
                  <a:pt x="846" y="298"/>
                </a:moveTo>
                <a:cubicBezTo>
                  <a:pt x="846" y="298"/>
                  <a:pt x="847" y="298"/>
                  <a:pt x="847" y="298"/>
                </a:cubicBezTo>
                <a:cubicBezTo>
                  <a:pt x="847" y="297"/>
                  <a:pt x="846" y="297"/>
                  <a:pt x="846" y="298"/>
                </a:cubicBezTo>
                <a:close/>
                <a:moveTo>
                  <a:pt x="847" y="295"/>
                </a:moveTo>
                <a:cubicBezTo>
                  <a:pt x="846" y="295"/>
                  <a:pt x="846" y="295"/>
                  <a:pt x="846" y="295"/>
                </a:cubicBezTo>
                <a:cubicBezTo>
                  <a:pt x="846" y="295"/>
                  <a:pt x="846" y="295"/>
                  <a:pt x="846" y="295"/>
                </a:cubicBezTo>
                <a:cubicBezTo>
                  <a:pt x="846" y="296"/>
                  <a:pt x="846" y="296"/>
                  <a:pt x="846" y="296"/>
                </a:cubicBezTo>
                <a:cubicBezTo>
                  <a:pt x="846" y="296"/>
                  <a:pt x="846" y="296"/>
                  <a:pt x="847" y="296"/>
                </a:cubicBezTo>
                <a:cubicBezTo>
                  <a:pt x="847" y="295"/>
                  <a:pt x="847" y="295"/>
                  <a:pt x="847" y="295"/>
                </a:cubicBezTo>
                <a:close/>
                <a:moveTo>
                  <a:pt x="847" y="283"/>
                </a:moveTo>
                <a:cubicBezTo>
                  <a:pt x="847" y="283"/>
                  <a:pt x="847" y="282"/>
                  <a:pt x="847" y="282"/>
                </a:cubicBezTo>
                <a:cubicBezTo>
                  <a:pt x="846" y="282"/>
                  <a:pt x="846" y="283"/>
                  <a:pt x="847" y="283"/>
                </a:cubicBezTo>
                <a:close/>
                <a:moveTo>
                  <a:pt x="848" y="294"/>
                </a:moveTo>
                <a:cubicBezTo>
                  <a:pt x="848" y="293"/>
                  <a:pt x="848" y="293"/>
                  <a:pt x="848" y="293"/>
                </a:cubicBezTo>
                <a:cubicBezTo>
                  <a:pt x="847" y="293"/>
                  <a:pt x="848" y="293"/>
                  <a:pt x="848" y="293"/>
                </a:cubicBezTo>
                <a:cubicBezTo>
                  <a:pt x="847" y="294"/>
                  <a:pt x="847" y="294"/>
                  <a:pt x="847" y="295"/>
                </a:cubicBezTo>
                <a:cubicBezTo>
                  <a:pt x="848" y="294"/>
                  <a:pt x="848" y="294"/>
                  <a:pt x="848" y="294"/>
                </a:cubicBezTo>
                <a:close/>
                <a:moveTo>
                  <a:pt x="849" y="295"/>
                </a:moveTo>
                <a:cubicBezTo>
                  <a:pt x="849" y="295"/>
                  <a:pt x="849" y="295"/>
                  <a:pt x="849" y="295"/>
                </a:cubicBezTo>
                <a:cubicBezTo>
                  <a:pt x="849" y="295"/>
                  <a:pt x="850" y="295"/>
                  <a:pt x="849" y="295"/>
                </a:cubicBezTo>
                <a:close/>
                <a:moveTo>
                  <a:pt x="850" y="295"/>
                </a:moveTo>
                <a:cubicBezTo>
                  <a:pt x="850" y="294"/>
                  <a:pt x="850" y="295"/>
                  <a:pt x="849" y="294"/>
                </a:cubicBezTo>
                <a:cubicBezTo>
                  <a:pt x="849" y="295"/>
                  <a:pt x="850" y="295"/>
                  <a:pt x="850" y="295"/>
                </a:cubicBezTo>
                <a:close/>
                <a:moveTo>
                  <a:pt x="851" y="277"/>
                </a:moveTo>
                <a:cubicBezTo>
                  <a:pt x="850" y="277"/>
                  <a:pt x="850" y="278"/>
                  <a:pt x="850" y="278"/>
                </a:cubicBezTo>
                <a:cubicBezTo>
                  <a:pt x="850" y="278"/>
                  <a:pt x="850" y="278"/>
                  <a:pt x="850" y="278"/>
                </a:cubicBezTo>
                <a:cubicBezTo>
                  <a:pt x="850" y="278"/>
                  <a:pt x="851" y="278"/>
                  <a:pt x="851" y="277"/>
                </a:cubicBezTo>
                <a:close/>
                <a:moveTo>
                  <a:pt x="851" y="292"/>
                </a:moveTo>
                <a:cubicBezTo>
                  <a:pt x="851" y="292"/>
                  <a:pt x="851" y="292"/>
                  <a:pt x="851" y="293"/>
                </a:cubicBezTo>
                <a:cubicBezTo>
                  <a:pt x="851" y="293"/>
                  <a:pt x="851" y="292"/>
                  <a:pt x="851" y="292"/>
                </a:cubicBezTo>
                <a:close/>
                <a:moveTo>
                  <a:pt x="853" y="275"/>
                </a:moveTo>
                <a:cubicBezTo>
                  <a:pt x="853" y="275"/>
                  <a:pt x="853" y="275"/>
                  <a:pt x="853" y="274"/>
                </a:cubicBezTo>
                <a:cubicBezTo>
                  <a:pt x="853" y="274"/>
                  <a:pt x="852" y="274"/>
                  <a:pt x="853" y="275"/>
                </a:cubicBezTo>
                <a:close/>
                <a:moveTo>
                  <a:pt x="853" y="279"/>
                </a:moveTo>
                <a:cubicBezTo>
                  <a:pt x="852" y="279"/>
                  <a:pt x="852" y="280"/>
                  <a:pt x="852" y="280"/>
                </a:cubicBezTo>
                <a:cubicBezTo>
                  <a:pt x="852" y="280"/>
                  <a:pt x="853" y="280"/>
                  <a:pt x="853" y="279"/>
                </a:cubicBezTo>
                <a:close/>
                <a:moveTo>
                  <a:pt x="853" y="290"/>
                </a:moveTo>
                <a:cubicBezTo>
                  <a:pt x="853" y="290"/>
                  <a:pt x="853" y="290"/>
                  <a:pt x="853" y="289"/>
                </a:cubicBezTo>
                <a:cubicBezTo>
                  <a:pt x="853" y="289"/>
                  <a:pt x="853" y="290"/>
                  <a:pt x="852" y="290"/>
                </a:cubicBezTo>
                <a:cubicBezTo>
                  <a:pt x="853" y="290"/>
                  <a:pt x="852" y="290"/>
                  <a:pt x="852" y="291"/>
                </a:cubicBezTo>
                <a:cubicBezTo>
                  <a:pt x="853" y="291"/>
                  <a:pt x="853" y="290"/>
                  <a:pt x="853" y="290"/>
                </a:cubicBezTo>
                <a:close/>
                <a:moveTo>
                  <a:pt x="855" y="288"/>
                </a:moveTo>
                <a:cubicBezTo>
                  <a:pt x="854" y="288"/>
                  <a:pt x="853" y="289"/>
                  <a:pt x="854" y="289"/>
                </a:cubicBezTo>
                <a:cubicBezTo>
                  <a:pt x="854" y="289"/>
                  <a:pt x="854" y="288"/>
                  <a:pt x="855" y="288"/>
                </a:cubicBezTo>
                <a:close/>
                <a:moveTo>
                  <a:pt x="863" y="272"/>
                </a:moveTo>
                <a:cubicBezTo>
                  <a:pt x="863" y="273"/>
                  <a:pt x="863" y="273"/>
                  <a:pt x="863" y="273"/>
                </a:cubicBezTo>
                <a:cubicBezTo>
                  <a:pt x="863" y="273"/>
                  <a:pt x="863" y="272"/>
                  <a:pt x="863" y="272"/>
                </a:cubicBezTo>
                <a:cubicBezTo>
                  <a:pt x="863" y="272"/>
                  <a:pt x="863" y="272"/>
                  <a:pt x="863" y="272"/>
                </a:cubicBezTo>
                <a:close/>
                <a:moveTo>
                  <a:pt x="862" y="274"/>
                </a:moveTo>
                <a:cubicBezTo>
                  <a:pt x="863" y="274"/>
                  <a:pt x="863" y="273"/>
                  <a:pt x="863" y="274"/>
                </a:cubicBezTo>
                <a:cubicBezTo>
                  <a:pt x="864" y="274"/>
                  <a:pt x="863" y="274"/>
                  <a:pt x="864" y="274"/>
                </a:cubicBezTo>
                <a:cubicBezTo>
                  <a:pt x="863" y="273"/>
                  <a:pt x="863" y="273"/>
                  <a:pt x="863" y="273"/>
                </a:cubicBezTo>
                <a:cubicBezTo>
                  <a:pt x="863" y="273"/>
                  <a:pt x="863" y="273"/>
                  <a:pt x="863" y="273"/>
                </a:cubicBezTo>
                <a:cubicBezTo>
                  <a:pt x="862" y="273"/>
                  <a:pt x="863" y="274"/>
                  <a:pt x="862" y="274"/>
                </a:cubicBezTo>
                <a:close/>
                <a:moveTo>
                  <a:pt x="861" y="278"/>
                </a:moveTo>
                <a:cubicBezTo>
                  <a:pt x="861" y="277"/>
                  <a:pt x="862" y="277"/>
                  <a:pt x="862" y="277"/>
                </a:cubicBezTo>
                <a:cubicBezTo>
                  <a:pt x="861" y="277"/>
                  <a:pt x="861" y="277"/>
                  <a:pt x="861" y="277"/>
                </a:cubicBezTo>
                <a:cubicBezTo>
                  <a:pt x="861" y="278"/>
                  <a:pt x="861" y="278"/>
                  <a:pt x="861" y="278"/>
                </a:cubicBezTo>
                <a:cubicBezTo>
                  <a:pt x="862" y="278"/>
                  <a:pt x="862" y="278"/>
                  <a:pt x="862" y="278"/>
                </a:cubicBezTo>
                <a:cubicBezTo>
                  <a:pt x="862" y="278"/>
                  <a:pt x="861" y="278"/>
                  <a:pt x="861" y="278"/>
                </a:cubicBezTo>
                <a:close/>
                <a:moveTo>
                  <a:pt x="862" y="276"/>
                </a:moveTo>
                <a:cubicBezTo>
                  <a:pt x="862" y="276"/>
                  <a:pt x="862" y="276"/>
                  <a:pt x="862" y="275"/>
                </a:cubicBezTo>
                <a:cubicBezTo>
                  <a:pt x="862" y="275"/>
                  <a:pt x="862" y="275"/>
                  <a:pt x="862" y="276"/>
                </a:cubicBezTo>
                <a:close/>
                <a:moveTo>
                  <a:pt x="862" y="275"/>
                </a:moveTo>
                <a:cubicBezTo>
                  <a:pt x="861" y="274"/>
                  <a:pt x="862" y="275"/>
                  <a:pt x="862" y="274"/>
                </a:cubicBezTo>
                <a:cubicBezTo>
                  <a:pt x="862" y="274"/>
                  <a:pt x="862" y="274"/>
                  <a:pt x="862" y="274"/>
                </a:cubicBezTo>
                <a:cubicBezTo>
                  <a:pt x="862" y="274"/>
                  <a:pt x="861" y="274"/>
                  <a:pt x="862" y="275"/>
                </a:cubicBezTo>
                <a:close/>
                <a:moveTo>
                  <a:pt x="861" y="276"/>
                </a:moveTo>
                <a:cubicBezTo>
                  <a:pt x="861" y="276"/>
                  <a:pt x="861" y="276"/>
                  <a:pt x="861" y="277"/>
                </a:cubicBezTo>
                <a:cubicBezTo>
                  <a:pt x="861" y="277"/>
                  <a:pt x="861" y="277"/>
                  <a:pt x="862" y="277"/>
                </a:cubicBezTo>
                <a:lnTo>
                  <a:pt x="861" y="276"/>
                </a:lnTo>
                <a:close/>
                <a:moveTo>
                  <a:pt x="861" y="275"/>
                </a:moveTo>
                <a:cubicBezTo>
                  <a:pt x="861" y="275"/>
                  <a:pt x="861" y="275"/>
                  <a:pt x="861" y="275"/>
                </a:cubicBezTo>
                <a:cubicBezTo>
                  <a:pt x="861" y="275"/>
                  <a:pt x="861" y="275"/>
                  <a:pt x="861" y="275"/>
                </a:cubicBezTo>
                <a:close/>
                <a:moveTo>
                  <a:pt x="860" y="276"/>
                </a:moveTo>
                <a:cubicBezTo>
                  <a:pt x="860" y="276"/>
                  <a:pt x="860" y="277"/>
                  <a:pt x="861" y="277"/>
                </a:cubicBezTo>
                <a:cubicBezTo>
                  <a:pt x="861" y="276"/>
                  <a:pt x="860" y="276"/>
                  <a:pt x="860" y="276"/>
                </a:cubicBezTo>
                <a:cubicBezTo>
                  <a:pt x="860" y="276"/>
                  <a:pt x="860" y="276"/>
                  <a:pt x="860" y="276"/>
                </a:cubicBezTo>
                <a:close/>
                <a:moveTo>
                  <a:pt x="859" y="271"/>
                </a:moveTo>
                <a:cubicBezTo>
                  <a:pt x="859" y="271"/>
                  <a:pt x="859" y="270"/>
                  <a:pt x="859" y="270"/>
                </a:cubicBezTo>
                <a:cubicBezTo>
                  <a:pt x="858" y="270"/>
                  <a:pt x="859" y="270"/>
                  <a:pt x="859" y="271"/>
                </a:cubicBezTo>
                <a:close/>
                <a:moveTo>
                  <a:pt x="858" y="271"/>
                </a:moveTo>
                <a:cubicBezTo>
                  <a:pt x="858" y="271"/>
                  <a:pt x="859" y="271"/>
                  <a:pt x="859" y="272"/>
                </a:cubicBezTo>
                <a:cubicBezTo>
                  <a:pt x="859" y="272"/>
                  <a:pt x="859" y="271"/>
                  <a:pt x="859" y="272"/>
                </a:cubicBezTo>
                <a:cubicBezTo>
                  <a:pt x="859" y="271"/>
                  <a:pt x="859" y="271"/>
                  <a:pt x="859" y="271"/>
                </a:cubicBezTo>
                <a:cubicBezTo>
                  <a:pt x="859" y="271"/>
                  <a:pt x="859" y="271"/>
                  <a:pt x="859" y="271"/>
                </a:cubicBezTo>
                <a:lnTo>
                  <a:pt x="858" y="271"/>
                </a:lnTo>
                <a:close/>
                <a:moveTo>
                  <a:pt x="856" y="278"/>
                </a:moveTo>
                <a:cubicBezTo>
                  <a:pt x="856" y="278"/>
                  <a:pt x="857" y="278"/>
                  <a:pt x="857" y="278"/>
                </a:cubicBezTo>
                <a:cubicBezTo>
                  <a:pt x="857" y="278"/>
                  <a:pt x="857" y="278"/>
                  <a:pt x="857" y="278"/>
                </a:cubicBezTo>
                <a:cubicBezTo>
                  <a:pt x="856" y="278"/>
                  <a:pt x="857" y="278"/>
                  <a:pt x="856" y="278"/>
                </a:cubicBezTo>
                <a:close/>
                <a:moveTo>
                  <a:pt x="855" y="275"/>
                </a:moveTo>
                <a:cubicBezTo>
                  <a:pt x="856" y="275"/>
                  <a:pt x="856" y="275"/>
                  <a:pt x="856" y="275"/>
                </a:cubicBezTo>
                <a:cubicBezTo>
                  <a:pt x="856" y="275"/>
                  <a:pt x="856" y="275"/>
                  <a:pt x="856" y="275"/>
                </a:cubicBezTo>
                <a:cubicBezTo>
                  <a:pt x="856" y="275"/>
                  <a:pt x="856" y="275"/>
                  <a:pt x="856" y="275"/>
                </a:cubicBezTo>
                <a:cubicBezTo>
                  <a:pt x="856" y="274"/>
                  <a:pt x="856" y="275"/>
                  <a:pt x="856" y="275"/>
                </a:cubicBezTo>
                <a:cubicBezTo>
                  <a:pt x="856" y="274"/>
                  <a:pt x="856" y="274"/>
                  <a:pt x="855" y="274"/>
                </a:cubicBezTo>
                <a:cubicBezTo>
                  <a:pt x="855" y="274"/>
                  <a:pt x="856" y="274"/>
                  <a:pt x="856" y="274"/>
                </a:cubicBezTo>
                <a:cubicBezTo>
                  <a:pt x="856" y="274"/>
                  <a:pt x="856" y="274"/>
                  <a:pt x="855" y="274"/>
                </a:cubicBezTo>
                <a:cubicBezTo>
                  <a:pt x="855" y="274"/>
                  <a:pt x="855" y="275"/>
                  <a:pt x="855" y="275"/>
                </a:cubicBezTo>
                <a:close/>
                <a:moveTo>
                  <a:pt x="856" y="278"/>
                </a:moveTo>
                <a:cubicBezTo>
                  <a:pt x="855" y="279"/>
                  <a:pt x="855" y="279"/>
                  <a:pt x="855" y="279"/>
                </a:cubicBezTo>
                <a:cubicBezTo>
                  <a:pt x="856" y="279"/>
                  <a:pt x="856" y="279"/>
                  <a:pt x="856" y="278"/>
                </a:cubicBezTo>
                <a:close/>
                <a:moveTo>
                  <a:pt x="855" y="281"/>
                </a:moveTo>
                <a:cubicBezTo>
                  <a:pt x="855" y="281"/>
                  <a:pt x="855" y="281"/>
                  <a:pt x="855" y="281"/>
                </a:cubicBezTo>
                <a:cubicBezTo>
                  <a:pt x="855" y="282"/>
                  <a:pt x="855" y="282"/>
                  <a:pt x="855" y="282"/>
                </a:cubicBezTo>
                <a:cubicBezTo>
                  <a:pt x="856" y="282"/>
                  <a:pt x="856" y="281"/>
                  <a:pt x="855" y="281"/>
                </a:cubicBezTo>
                <a:close/>
                <a:moveTo>
                  <a:pt x="857" y="282"/>
                </a:moveTo>
                <a:cubicBezTo>
                  <a:pt x="857" y="282"/>
                  <a:pt x="856" y="281"/>
                  <a:pt x="856" y="280"/>
                </a:cubicBezTo>
                <a:cubicBezTo>
                  <a:pt x="855" y="281"/>
                  <a:pt x="856" y="281"/>
                  <a:pt x="856" y="282"/>
                </a:cubicBezTo>
                <a:cubicBezTo>
                  <a:pt x="856" y="282"/>
                  <a:pt x="856" y="282"/>
                  <a:pt x="856" y="283"/>
                </a:cubicBezTo>
                <a:cubicBezTo>
                  <a:pt x="856" y="283"/>
                  <a:pt x="856" y="282"/>
                  <a:pt x="856" y="283"/>
                </a:cubicBezTo>
                <a:cubicBezTo>
                  <a:pt x="857" y="283"/>
                  <a:pt x="857" y="282"/>
                  <a:pt x="857" y="282"/>
                </a:cubicBezTo>
                <a:cubicBezTo>
                  <a:pt x="857" y="282"/>
                  <a:pt x="858" y="282"/>
                  <a:pt x="857" y="282"/>
                </a:cubicBezTo>
                <a:close/>
                <a:moveTo>
                  <a:pt x="857" y="275"/>
                </a:moveTo>
                <a:cubicBezTo>
                  <a:pt x="857" y="275"/>
                  <a:pt x="857" y="275"/>
                  <a:pt x="857" y="276"/>
                </a:cubicBezTo>
                <a:cubicBezTo>
                  <a:pt x="858" y="275"/>
                  <a:pt x="857" y="275"/>
                  <a:pt x="857" y="275"/>
                </a:cubicBezTo>
                <a:close/>
                <a:moveTo>
                  <a:pt x="858" y="274"/>
                </a:moveTo>
                <a:cubicBezTo>
                  <a:pt x="857" y="274"/>
                  <a:pt x="858" y="275"/>
                  <a:pt x="857" y="274"/>
                </a:cubicBezTo>
                <a:cubicBezTo>
                  <a:pt x="857" y="275"/>
                  <a:pt x="858" y="274"/>
                  <a:pt x="858" y="274"/>
                </a:cubicBezTo>
                <a:close/>
                <a:moveTo>
                  <a:pt x="859" y="274"/>
                </a:moveTo>
                <a:cubicBezTo>
                  <a:pt x="859" y="274"/>
                  <a:pt x="859" y="273"/>
                  <a:pt x="859" y="273"/>
                </a:cubicBezTo>
                <a:cubicBezTo>
                  <a:pt x="859" y="273"/>
                  <a:pt x="858" y="273"/>
                  <a:pt x="858" y="273"/>
                </a:cubicBezTo>
                <a:cubicBezTo>
                  <a:pt x="858" y="274"/>
                  <a:pt x="858" y="274"/>
                  <a:pt x="858" y="274"/>
                </a:cubicBezTo>
                <a:cubicBezTo>
                  <a:pt x="859" y="274"/>
                  <a:pt x="859" y="274"/>
                  <a:pt x="859" y="274"/>
                </a:cubicBezTo>
                <a:close/>
                <a:moveTo>
                  <a:pt x="860" y="277"/>
                </a:moveTo>
                <a:cubicBezTo>
                  <a:pt x="860" y="277"/>
                  <a:pt x="860" y="277"/>
                  <a:pt x="860" y="277"/>
                </a:cubicBezTo>
                <a:cubicBezTo>
                  <a:pt x="859" y="277"/>
                  <a:pt x="859" y="278"/>
                  <a:pt x="859" y="278"/>
                </a:cubicBezTo>
                <a:cubicBezTo>
                  <a:pt x="860" y="278"/>
                  <a:pt x="859" y="277"/>
                  <a:pt x="860" y="277"/>
                </a:cubicBezTo>
                <a:close/>
                <a:moveTo>
                  <a:pt x="861" y="282"/>
                </a:moveTo>
                <a:cubicBezTo>
                  <a:pt x="861" y="281"/>
                  <a:pt x="860" y="281"/>
                  <a:pt x="860" y="282"/>
                </a:cubicBezTo>
                <a:cubicBezTo>
                  <a:pt x="860" y="282"/>
                  <a:pt x="861" y="282"/>
                  <a:pt x="861" y="282"/>
                </a:cubicBezTo>
                <a:close/>
                <a:moveTo>
                  <a:pt x="863" y="280"/>
                </a:moveTo>
                <a:cubicBezTo>
                  <a:pt x="863" y="281"/>
                  <a:pt x="864" y="281"/>
                  <a:pt x="864" y="281"/>
                </a:cubicBezTo>
                <a:cubicBezTo>
                  <a:pt x="864" y="281"/>
                  <a:pt x="863" y="280"/>
                  <a:pt x="863" y="280"/>
                </a:cubicBezTo>
                <a:close/>
                <a:moveTo>
                  <a:pt x="861" y="279"/>
                </a:moveTo>
                <a:cubicBezTo>
                  <a:pt x="862" y="280"/>
                  <a:pt x="862" y="279"/>
                  <a:pt x="862" y="280"/>
                </a:cubicBezTo>
                <a:cubicBezTo>
                  <a:pt x="862" y="280"/>
                  <a:pt x="862" y="280"/>
                  <a:pt x="861" y="280"/>
                </a:cubicBezTo>
                <a:cubicBezTo>
                  <a:pt x="861" y="280"/>
                  <a:pt x="860" y="280"/>
                  <a:pt x="861" y="281"/>
                </a:cubicBezTo>
                <a:cubicBezTo>
                  <a:pt x="860" y="281"/>
                  <a:pt x="860" y="281"/>
                  <a:pt x="860" y="281"/>
                </a:cubicBezTo>
                <a:cubicBezTo>
                  <a:pt x="860" y="281"/>
                  <a:pt x="860" y="281"/>
                  <a:pt x="861" y="281"/>
                </a:cubicBezTo>
                <a:cubicBezTo>
                  <a:pt x="861" y="281"/>
                  <a:pt x="861" y="281"/>
                  <a:pt x="862" y="281"/>
                </a:cubicBezTo>
                <a:cubicBezTo>
                  <a:pt x="862" y="281"/>
                  <a:pt x="861" y="281"/>
                  <a:pt x="861" y="282"/>
                </a:cubicBezTo>
                <a:cubicBezTo>
                  <a:pt x="862" y="282"/>
                  <a:pt x="862" y="281"/>
                  <a:pt x="862" y="282"/>
                </a:cubicBezTo>
                <a:cubicBezTo>
                  <a:pt x="862" y="282"/>
                  <a:pt x="862" y="281"/>
                  <a:pt x="862" y="281"/>
                </a:cubicBezTo>
                <a:cubicBezTo>
                  <a:pt x="863" y="281"/>
                  <a:pt x="862" y="281"/>
                  <a:pt x="863" y="282"/>
                </a:cubicBezTo>
                <a:cubicBezTo>
                  <a:pt x="863" y="282"/>
                  <a:pt x="863" y="281"/>
                  <a:pt x="863" y="281"/>
                </a:cubicBezTo>
                <a:cubicBezTo>
                  <a:pt x="863" y="281"/>
                  <a:pt x="863" y="281"/>
                  <a:pt x="863" y="281"/>
                </a:cubicBezTo>
                <a:cubicBezTo>
                  <a:pt x="863" y="281"/>
                  <a:pt x="863" y="281"/>
                  <a:pt x="862" y="281"/>
                </a:cubicBezTo>
                <a:cubicBezTo>
                  <a:pt x="862" y="280"/>
                  <a:pt x="863" y="280"/>
                  <a:pt x="863" y="280"/>
                </a:cubicBezTo>
                <a:cubicBezTo>
                  <a:pt x="863" y="280"/>
                  <a:pt x="863" y="281"/>
                  <a:pt x="863" y="281"/>
                </a:cubicBezTo>
                <a:cubicBezTo>
                  <a:pt x="863" y="280"/>
                  <a:pt x="862" y="279"/>
                  <a:pt x="861" y="279"/>
                </a:cubicBezTo>
                <a:close/>
                <a:moveTo>
                  <a:pt x="865" y="276"/>
                </a:moveTo>
                <a:cubicBezTo>
                  <a:pt x="865" y="276"/>
                  <a:pt x="864" y="275"/>
                  <a:pt x="864" y="275"/>
                </a:cubicBezTo>
                <a:cubicBezTo>
                  <a:pt x="864" y="275"/>
                  <a:pt x="864" y="275"/>
                  <a:pt x="865" y="275"/>
                </a:cubicBezTo>
                <a:cubicBezTo>
                  <a:pt x="863" y="274"/>
                  <a:pt x="863" y="276"/>
                  <a:pt x="863" y="276"/>
                </a:cubicBezTo>
                <a:cubicBezTo>
                  <a:pt x="863" y="276"/>
                  <a:pt x="863" y="276"/>
                  <a:pt x="862" y="276"/>
                </a:cubicBezTo>
                <a:cubicBezTo>
                  <a:pt x="862" y="276"/>
                  <a:pt x="863" y="276"/>
                  <a:pt x="863" y="276"/>
                </a:cubicBezTo>
                <a:cubicBezTo>
                  <a:pt x="862" y="277"/>
                  <a:pt x="862" y="277"/>
                  <a:pt x="862" y="277"/>
                </a:cubicBezTo>
                <a:cubicBezTo>
                  <a:pt x="863" y="277"/>
                  <a:pt x="863" y="277"/>
                  <a:pt x="863" y="277"/>
                </a:cubicBezTo>
                <a:cubicBezTo>
                  <a:pt x="864" y="277"/>
                  <a:pt x="864" y="277"/>
                  <a:pt x="864" y="276"/>
                </a:cubicBezTo>
                <a:cubicBezTo>
                  <a:pt x="864" y="276"/>
                  <a:pt x="864" y="276"/>
                  <a:pt x="864" y="276"/>
                </a:cubicBezTo>
                <a:cubicBezTo>
                  <a:pt x="865" y="276"/>
                  <a:pt x="865" y="276"/>
                  <a:pt x="865" y="276"/>
                </a:cubicBezTo>
                <a:close/>
                <a:moveTo>
                  <a:pt x="864" y="270"/>
                </a:moveTo>
                <a:cubicBezTo>
                  <a:pt x="865" y="271"/>
                  <a:pt x="865" y="271"/>
                  <a:pt x="864" y="271"/>
                </a:cubicBezTo>
                <a:cubicBezTo>
                  <a:pt x="864" y="271"/>
                  <a:pt x="864" y="271"/>
                  <a:pt x="865" y="272"/>
                </a:cubicBezTo>
                <a:cubicBezTo>
                  <a:pt x="865" y="271"/>
                  <a:pt x="865" y="270"/>
                  <a:pt x="864" y="270"/>
                </a:cubicBezTo>
                <a:close/>
                <a:moveTo>
                  <a:pt x="868" y="270"/>
                </a:moveTo>
                <a:cubicBezTo>
                  <a:pt x="868" y="270"/>
                  <a:pt x="868" y="270"/>
                  <a:pt x="867" y="270"/>
                </a:cubicBezTo>
                <a:cubicBezTo>
                  <a:pt x="868" y="270"/>
                  <a:pt x="867" y="270"/>
                  <a:pt x="867" y="270"/>
                </a:cubicBezTo>
                <a:cubicBezTo>
                  <a:pt x="867" y="270"/>
                  <a:pt x="868" y="271"/>
                  <a:pt x="868" y="270"/>
                </a:cubicBezTo>
                <a:close/>
                <a:moveTo>
                  <a:pt x="870" y="268"/>
                </a:moveTo>
                <a:cubicBezTo>
                  <a:pt x="869" y="268"/>
                  <a:pt x="870" y="269"/>
                  <a:pt x="869" y="269"/>
                </a:cubicBezTo>
                <a:cubicBezTo>
                  <a:pt x="870" y="269"/>
                  <a:pt x="871" y="269"/>
                  <a:pt x="870" y="268"/>
                </a:cubicBezTo>
                <a:close/>
                <a:moveTo>
                  <a:pt x="871" y="268"/>
                </a:moveTo>
                <a:cubicBezTo>
                  <a:pt x="871" y="267"/>
                  <a:pt x="871" y="267"/>
                  <a:pt x="871" y="267"/>
                </a:cubicBezTo>
                <a:cubicBezTo>
                  <a:pt x="870" y="267"/>
                  <a:pt x="870" y="267"/>
                  <a:pt x="871" y="268"/>
                </a:cubicBezTo>
                <a:cubicBezTo>
                  <a:pt x="871" y="268"/>
                  <a:pt x="871" y="267"/>
                  <a:pt x="871" y="268"/>
                </a:cubicBezTo>
                <a:close/>
                <a:moveTo>
                  <a:pt x="841" y="304"/>
                </a:moveTo>
                <a:cubicBezTo>
                  <a:pt x="841" y="304"/>
                  <a:pt x="842" y="304"/>
                  <a:pt x="842" y="304"/>
                </a:cubicBezTo>
                <a:cubicBezTo>
                  <a:pt x="842" y="304"/>
                  <a:pt x="841" y="304"/>
                  <a:pt x="841" y="304"/>
                </a:cubicBezTo>
                <a:cubicBezTo>
                  <a:pt x="841" y="304"/>
                  <a:pt x="841" y="304"/>
                  <a:pt x="841" y="304"/>
                </a:cubicBezTo>
                <a:close/>
                <a:moveTo>
                  <a:pt x="841" y="304"/>
                </a:moveTo>
                <a:cubicBezTo>
                  <a:pt x="841" y="304"/>
                  <a:pt x="841" y="304"/>
                  <a:pt x="841" y="304"/>
                </a:cubicBezTo>
                <a:cubicBezTo>
                  <a:pt x="841" y="305"/>
                  <a:pt x="842" y="304"/>
                  <a:pt x="841" y="304"/>
                </a:cubicBezTo>
                <a:close/>
                <a:moveTo>
                  <a:pt x="832" y="255"/>
                </a:moveTo>
                <a:cubicBezTo>
                  <a:pt x="832" y="254"/>
                  <a:pt x="833" y="254"/>
                  <a:pt x="833" y="254"/>
                </a:cubicBezTo>
                <a:cubicBezTo>
                  <a:pt x="832" y="254"/>
                  <a:pt x="832" y="255"/>
                  <a:pt x="831" y="256"/>
                </a:cubicBezTo>
                <a:cubicBezTo>
                  <a:pt x="831" y="256"/>
                  <a:pt x="831" y="256"/>
                  <a:pt x="832" y="256"/>
                </a:cubicBezTo>
                <a:cubicBezTo>
                  <a:pt x="832" y="256"/>
                  <a:pt x="832" y="255"/>
                  <a:pt x="832" y="255"/>
                </a:cubicBezTo>
                <a:close/>
                <a:moveTo>
                  <a:pt x="847" y="314"/>
                </a:moveTo>
                <a:cubicBezTo>
                  <a:pt x="847" y="314"/>
                  <a:pt x="847" y="314"/>
                  <a:pt x="847" y="314"/>
                </a:cubicBezTo>
                <a:cubicBezTo>
                  <a:pt x="847" y="314"/>
                  <a:pt x="846" y="314"/>
                  <a:pt x="847" y="314"/>
                </a:cubicBezTo>
                <a:cubicBezTo>
                  <a:pt x="846" y="313"/>
                  <a:pt x="846" y="314"/>
                  <a:pt x="846" y="314"/>
                </a:cubicBezTo>
                <a:cubicBezTo>
                  <a:pt x="847" y="315"/>
                  <a:pt x="846" y="315"/>
                  <a:pt x="846" y="316"/>
                </a:cubicBezTo>
                <a:cubicBezTo>
                  <a:pt x="846" y="316"/>
                  <a:pt x="847" y="315"/>
                  <a:pt x="847" y="314"/>
                </a:cubicBezTo>
                <a:close/>
                <a:moveTo>
                  <a:pt x="842" y="247"/>
                </a:moveTo>
                <a:cubicBezTo>
                  <a:pt x="841" y="247"/>
                  <a:pt x="842" y="247"/>
                  <a:pt x="842" y="248"/>
                </a:cubicBezTo>
                <a:cubicBezTo>
                  <a:pt x="842" y="247"/>
                  <a:pt x="842" y="247"/>
                  <a:pt x="842" y="247"/>
                </a:cubicBezTo>
                <a:close/>
                <a:moveTo>
                  <a:pt x="835" y="261"/>
                </a:moveTo>
                <a:cubicBezTo>
                  <a:pt x="835" y="260"/>
                  <a:pt x="835" y="260"/>
                  <a:pt x="835" y="260"/>
                </a:cubicBezTo>
                <a:cubicBezTo>
                  <a:pt x="835" y="260"/>
                  <a:pt x="835" y="260"/>
                  <a:pt x="835" y="261"/>
                </a:cubicBezTo>
                <a:cubicBezTo>
                  <a:pt x="835" y="261"/>
                  <a:pt x="835" y="261"/>
                  <a:pt x="835" y="261"/>
                </a:cubicBezTo>
                <a:cubicBezTo>
                  <a:pt x="835" y="261"/>
                  <a:pt x="835" y="261"/>
                  <a:pt x="835" y="261"/>
                </a:cubicBezTo>
                <a:close/>
                <a:moveTo>
                  <a:pt x="855" y="259"/>
                </a:moveTo>
                <a:cubicBezTo>
                  <a:pt x="856" y="260"/>
                  <a:pt x="856" y="260"/>
                  <a:pt x="856" y="260"/>
                </a:cubicBezTo>
                <a:cubicBezTo>
                  <a:pt x="857" y="260"/>
                  <a:pt x="856" y="260"/>
                  <a:pt x="856" y="259"/>
                </a:cubicBezTo>
                <a:cubicBezTo>
                  <a:pt x="856" y="259"/>
                  <a:pt x="856" y="260"/>
                  <a:pt x="855" y="259"/>
                </a:cubicBezTo>
                <a:close/>
                <a:moveTo>
                  <a:pt x="848" y="260"/>
                </a:moveTo>
                <a:cubicBezTo>
                  <a:pt x="848" y="260"/>
                  <a:pt x="847" y="260"/>
                  <a:pt x="847" y="260"/>
                </a:cubicBezTo>
                <a:cubicBezTo>
                  <a:pt x="847" y="260"/>
                  <a:pt x="847" y="260"/>
                  <a:pt x="847" y="260"/>
                </a:cubicBezTo>
                <a:cubicBezTo>
                  <a:pt x="847" y="261"/>
                  <a:pt x="847" y="260"/>
                  <a:pt x="848" y="260"/>
                </a:cubicBezTo>
                <a:close/>
                <a:moveTo>
                  <a:pt x="850" y="261"/>
                </a:moveTo>
                <a:cubicBezTo>
                  <a:pt x="850" y="261"/>
                  <a:pt x="850" y="261"/>
                  <a:pt x="850" y="261"/>
                </a:cubicBezTo>
                <a:cubicBezTo>
                  <a:pt x="851" y="261"/>
                  <a:pt x="851" y="261"/>
                  <a:pt x="851" y="261"/>
                </a:cubicBezTo>
                <a:cubicBezTo>
                  <a:pt x="851" y="261"/>
                  <a:pt x="851" y="261"/>
                  <a:pt x="851" y="260"/>
                </a:cubicBezTo>
                <a:cubicBezTo>
                  <a:pt x="850" y="260"/>
                  <a:pt x="851" y="261"/>
                  <a:pt x="850" y="261"/>
                </a:cubicBezTo>
                <a:close/>
                <a:moveTo>
                  <a:pt x="829" y="264"/>
                </a:moveTo>
                <a:cubicBezTo>
                  <a:pt x="830" y="264"/>
                  <a:pt x="830" y="264"/>
                  <a:pt x="830" y="264"/>
                </a:cubicBezTo>
                <a:cubicBezTo>
                  <a:pt x="830" y="264"/>
                  <a:pt x="830" y="263"/>
                  <a:pt x="831" y="263"/>
                </a:cubicBezTo>
                <a:cubicBezTo>
                  <a:pt x="830" y="262"/>
                  <a:pt x="831" y="262"/>
                  <a:pt x="830" y="262"/>
                </a:cubicBezTo>
                <a:cubicBezTo>
                  <a:pt x="830" y="262"/>
                  <a:pt x="830" y="262"/>
                  <a:pt x="831" y="263"/>
                </a:cubicBezTo>
                <a:cubicBezTo>
                  <a:pt x="831" y="263"/>
                  <a:pt x="830" y="262"/>
                  <a:pt x="830" y="263"/>
                </a:cubicBezTo>
                <a:cubicBezTo>
                  <a:pt x="830" y="263"/>
                  <a:pt x="830" y="264"/>
                  <a:pt x="829" y="264"/>
                </a:cubicBezTo>
                <a:close/>
                <a:moveTo>
                  <a:pt x="854" y="263"/>
                </a:moveTo>
                <a:cubicBezTo>
                  <a:pt x="854" y="263"/>
                  <a:pt x="853" y="262"/>
                  <a:pt x="853" y="262"/>
                </a:cubicBezTo>
                <a:cubicBezTo>
                  <a:pt x="853" y="263"/>
                  <a:pt x="852" y="263"/>
                  <a:pt x="852" y="264"/>
                </a:cubicBezTo>
                <a:cubicBezTo>
                  <a:pt x="852" y="264"/>
                  <a:pt x="852" y="264"/>
                  <a:pt x="853" y="264"/>
                </a:cubicBezTo>
                <a:cubicBezTo>
                  <a:pt x="853" y="264"/>
                  <a:pt x="853" y="264"/>
                  <a:pt x="853" y="263"/>
                </a:cubicBezTo>
                <a:cubicBezTo>
                  <a:pt x="853" y="264"/>
                  <a:pt x="853" y="263"/>
                  <a:pt x="854" y="263"/>
                </a:cubicBezTo>
                <a:close/>
                <a:moveTo>
                  <a:pt x="824" y="265"/>
                </a:moveTo>
                <a:cubicBezTo>
                  <a:pt x="825" y="264"/>
                  <a:pt x="825" y="264"/>
                  <a:pt x="825" y="264"/>
                </a:cubicBezTo>
                <a:cubicBezTo>
                  <a:pt x="824" y="264"/>
                  <a:pt x="824" y="265"/>
                  <a:pt x="824" y="265"/>
                </a:cubicBezTo>
                <a:close/>
                <a:moveTo>
                  <a:pt x="875" y="263"/>
                </a:moveTo>
                <a:cubicBezTo>
                  <a:pt x="874" y="263"/>
                  <a:pt x="875" y="263"/>
                  <a:pt x="875" y="263"/>
                </a:cubicBezTo>
                <a:cubicBezTo>
                  <a:pt x="875" y="263"/>
                  <a:pt x="875" y="263"/>
                  <a:pt x="875" y="263"/>
                </a:cubicBezTo>
                <a:cubicBezTo>
                  <a:pt x="875" y="263"/>
                  <a:pt x="875" y="263"/>
                  <a:pt x="875" y="263"/>
                </a:cubicBezTo>
                <a:close/>
                <a:moveTo>
                  <a:pt x="852" y="263"/>
                </a:moveTo>
                <a:cubicBezTo>
                  <a:pt x="852" y="264"/>
                  <a:pt x="851" y="264"/>
                  <a:pt x="852" y="264"/>
                </a:cubicBezTo>
                <a:cubicBezTo>
                  <a:pt x="852" y="264"/>
                  <a:pt x="852" y="264"/>
                  <a:pt x="852" y="263"/>
                </a:cubicBezTo>
                <a:close/>
                <a:moveTo>
                  <a:pt x="830" y="266"/>
                </a:moveTo>
                <a:cubicBezTo>
                  <a:pt x="830" y="266"/>
                  <a:pt x="830" y="266"/>
                  <a:pt x="830" y="266"/>
                </a:cubicBezTo>
                <a:cubicBezTo>
                  <a:pt x="830" y="266"/>
                  <a:pt x="830" y="266"/>
                  <a:pt x="830" y="266"/>
                </a:cubicBezTo>
                <a:cubicBezTo>
                  <a:pt x="830" y="267"/>
                  <a:pt x="830" y="266"/>
                  <a:pt x="830" y="266"/>
                </a:cubicBezTo>
                <a:close/>
                <a:moveTo>
                  <a:pt x="865" y="267"/>
                </a:moveTo>
                <a:cubicBezTo>
                  <a:pt x="865" y="267"/>
                  <a:pt x="865" y="267"/>
                  <a:pt x="866" y="267"/>
                </a:cubicBezTo>
                <a:cubicBezTo>
                  <a:pt x="866" y="267"/>
                  <a:pt x="865" y="267"/>
                  <a:pt x="866" y="267"/>
                </a:cubicBezTo>
                <a:cubicBezTo>
                  <a:pt x="866" y="267"/>
                  <a:pt x="866" y="267"/>
                  <a:pt x="866" y="266"/>
                </a:cubicBezTo>
                <a:cubicBezTo>
                  <a:pt x="866" y="267"/>
                  <a:pt x="866" y="267"/>
                  <a:pt x="865" y="267"/>
                </a:cubicBezTo>
                <a:close/>
                <a:moveTo>
                  <a:pt x="854" y="271"/>
                </a:moveTo>
                <a:cubicBezTo>
                  <a:pt x="854" y="271"/>
                  <a:pt x="854" y="271"/>
                  <a:pt x="855" y="272"/>
                </a:cubicBezTo>
                <a:cubicBezTo>
                  <a:pt x="855" y="271"/>
                  <a:pt x="855" y="271"/>
                  <a:pt x="855" y="270"/>
                </a:cubicBezTo>
                <a:cubicBezTo>
                  <a:pt x="855" y="271"/>
                  <a:pt x="854" y="271"/>
                  <a:pt x="854" y="271"/>
                </a:cubicBezTo>
                <a:close/>
                <a:moveTo>
                  <a:pt x="824" y="273"/>
                </a:moveTo>
                <a:cubicBezTo>
                  <a:pt x="824" y="273"/>
                  <a:pt x="824" y="274"/>
                  <a:pt x="824" y="274"/>
                </a:cubicBezTo>
                <a:cubicBezTo>
                  <a:pt x="825" y="274"/>
                  <a:pt x="824" y="273"/>
                  <a:pt x="825" y="273"/>
                </a:cubicBezTo>
                <a:cubicBezTo>
                  <a:pt x="824" y="273"/>
                  <a:pt x="824" y="273"/>
                  <a:pt x="823" y="273"/>
                </a:cubicBezTo>
                <a:cubicBezTo>
                  <a:pt x="823" y="273"/>
                  <a:pt x="823" y="273"/>
                  <a:pt x="823" y="273"/>
                </a:cubicBezTo>
                <a:cubicBezTo>
                  <a:pt x="823" y="274"/>
                  <a:pt x="824" y="273"/>
                  <a:pt x="824" y="273"/>
                </a:cubicBezTo>
                <a:close/>
                <a:moveTo>
                  <a:pt x="822" y="275"/>
                </a:moveTo>
                <a:cubicBezTo>
                  <a:pt x="822" y="275"/>
                  <a:pt x="823" y="275"/>
                  <a:pt x="823" y="274"/>
                </a:cubicBezTo>
                <a:cubicBezTo>
                  <a:pt x="822" y="274"/>
                  <a:pt x="823" y="275"/>
                  <a:pt x="822" y="275"/>
                </a:cubicBezTo>
                <a:cubicBezTo>
                  <a:pt x="822" y="276"/>
                  <a:pt x="822" y="275"/>
                  <a:pt x="822" y="275"/>
                </a:cubicBezTo>
                <a:close/>
                <a:moveTo>
                  <a:pt x="824" y="275"/>
                </a:moveTo>
                <a:cubicBezTo>
                  <a:pt x="823" y="274"/>
                  <a:pt x="823" y="276"/>
                  <a:pt x="822" y="275"/>
                </a:cubicBezTo>
                <a:cubicBezTo>
                  <a:pt x="822" y="276"/>
                  <a:pt x="822" y="276"/>
                  <a:pt x="821" y="276"/>
                </a:cubicBezTo>
                <a:cubicBezTo>
                  <a:pt x="821" y="277"/>
                  <a:pt x="821" y="277"/>
                  <a:pt x="822" y="277"/>
                </a:cubicBezTo>
                <a:cubicBezTo>
                  <a:pt x="822" y="277"/>
                  <a:pt x="822" y="277"/>
                  <a:pt x="822" y="277"/>
                </a:cubicBezTo>
                <a:cubicBezTo>
                  <a:pt x="822" y="277"/>
                  <a:pt x="822" y="277"/>
                  <a:pt x="822" y="277"/>
                </a:cubicBezTo>
                <a:cubicBezTo>
                  <a:pt x="822" y="276"/>
                  <a:pt x="822" y="276"/>
                  <a:pt x="822" y="276"/>
                </a:cubicBezTo>
                <a:cubicBezTo>
                  <a:pt x="822" y="276"/>
                  <a:pt x="822" y="277"/>
                  <a:pt x="822" y="276"/>
                </a:cubicBezTo>
                <a:cubicBezTo>
                  <a:pt x="822" y="276"/>
                  <a:pt x="822" y="276"/>
                  <a:pt x="822" y="276"/>
                </a:cubicBezTo>
                <a:cubicBezTo>
                  <a:pt x="822" y="276"/>
                  <a:pt x="822" y="276"/>
                  <a:pt x="823" y="276"/>
                </a:cubicBezTo>
                <a:cubicBezTo>
                  <a:pt x="823" y="275"/>
                  <a:pt x="823" y="275"/>
                  <a:pt x="824" y="275"/>
                </a:cubicBezTo>
                <a:close/>
                <a:moveTo>
                  <a:pt x="871" y="280"/>
                </a:moveTo>
                <a:cubicBezTo>
                  <a:pt x="871" y="280"/>
                  <a:pt x="870" y="280"/>
                  <a:pt x="870" y="280"/>
                </a:cubicBezTo>
                <a:cubicBezTo>
                  <a:pt x="870" y="280"/>
                  <a:pt x="870" y="280"/>
                  <a:pt x="870" y="280"/>
                </a:cubicBezTo>
                <a:cubicBezTo>
                  <a:pt x="871" y="280"/>
                  <a:pt x="871" y="280"/>
                  <a:pt x="871" y="280"/>
                </a:cubicBezTo>
                <a:cubicBezTo>
                  <a:pt x="871" y="279"/>
                  <a:pt x="871" y="280"/>
                  <a:pt x="871" y="280"/>
                </a:cubicBezTo>
                <a:close/>
                <a:moveTo>
                  <a:pt x="863" y="285"/>
                </a:moveTo>
                <a:cubicBezTo>
                  <a:pt x="863" y="285"/>
                  <a:pt x="863" y="285"/>
                  <a:pt x="864" y="285"/>
                </a:cubicBezTo>
                <a:cubicBezTo>
                  <a:pt x="864" y="285"/>
                  <a:pt x="863" y="284"/>
                  <a:pt x="864" y="284"/>
                </a:cubicBezTo>
                <a:cubicBezTo>
                  <a:pt x="864" y="284"/>
                  <a:pt x="863" y="285"/>
                  <a:pt x="863" y="285"/>
                </a:cubicBezTo>
                <a:close/>
                <a:moveTo>
                  <a:pt x="860" y="287"/>
                </a:moveTo>
                <a:cubicBezTo>
                  <a:pt x="860" y="287"/>
                  <a:pt x="859" y="287"/>
                  <a:pt x="860" y="287"/>
                </a:cubicBezTo>
                <a:cubicBezTo>
                  <a:pt x="860" y="288"/>
                  <a:pt x="860" y="287"/>
                  <a:pt x="861" y="287"/>
                </a:cubicBezTo>
                <a:cubicBezTo>
                  <a:pt x="861" y="287"/>
                  <a:pt x="860" y="287"/>
                  <a:pt x="860" y="287"/>
                </a:cubicBezTo>
                <a:close/>
                <a:moveTo>
                  <a:pt x="837" y="292"/>
                </a:moveTo>
                <a:cubicBezTo>
                  <a:pt x="837" y="292"/>
                  <a:pt x="837" y="292"/>
                  <a:pt x="837" y="292"/>
                </a:cubicBezTo>
                <a:cubicBezTo>
                  <a:pt x="837" y="292"/>
                  <a:pt x="837" y="292"/>
                  <a:pt x="837" y="292"/>
                </a:cubicBezTo>
                <a:cubicBezTo>
                  <a:pt x="838" y="292"/>
                  <a:pt x="838" y="292"/>
                  <a:pt x="838" y="292"/>
                </a:cubicBezTo>
                <a:cubicBezTo>
                  <a:pt x="838" y="292"/>
                  <a:pt x="837" y="291"/>
                  <a:pt x="838" y="292"/>
                </a:cubicBezTo>
                <a:cubicBezTo>
                  <a:pt x="838" y="292"/>
                  <a:pt x="837" y="291"/>
                  <a:pt x="838" y="291"/>
                </a:cubicBezTo>
                <a:cubicBezTo>
                  <a:pt x="837" y="291"/>
                  <a:pt x="837" y="292"/>
                  <a:pt x="837" y="292"/>
                </a:cubicBezTo>
                <a:close/>
                <a:moveTo>
                  <a:pt x="854" y="294"/>
                </a:moveTo>
                <a:cubicBezTo>
                  <a:pt x="853" y="294"/>
                  <a:pt x="853" y="294"/>
                  <a:pt x="852" y="294"/>
                </a:cubicBezTo>
                <a:cubicBezTo>
                  <a:pt x="853" y="294"/>
                  <a:pt x="853" y="295"/>
                  <a:pt x="854" y="295"/>
                </a:cubicBezTo>
                <a:cubicBezTo>
                  <a:pt x="853" y="294"/>
                  <a:pt x="855" y="294"/>
                  <a:pt x="855" y="294"/>
                </a:cubicBezTo>
                <a:cubicBezTo>
                  <a:pt x="855" y="294"/>
                  <a:pt x="854" y="294"/>
                  <a:pt x="855" y="294"/>
                </a:cubicBezTo>
                <a:cubicBezTo>
                  <a:pt x="854" y="293"/>
                  <a:pt x="854" y="294"/>
                  <a:pt x="854" y="294"/>
                </a:cubicBezTo>
                <a:close/>
                <a:moveTo>
                  <a:pt x="851" y="295"/>
                </a:moveTo>
                <a:cubicBezTo>
                  <a:pt x="851" y="295"/>
                  <a:pt x="851" y="295"/>
                  <a:pt x="850" y="296"/>
                </a:cubicBezTo>
                <a:cubicBezTo>
                  <a:pt x="851" y="296"/>
                  <a:pt x="851" y="295"/>
                  <a:pt x="851" y="296"/>
                </a:cubicBezTo>
                <a:cubicBezTo>
                  <a:pt x="851" y="295"/>
                  <a:pt x="851" y="295"/>
                  <a:pt x="851" y="295"/>
                </a:cubicBezTo>
                <a:close/>
                <a:moveTo>
                  <a:pt x="853" y="295"/>
                </a:moveTo>
                <a:cubicBezTo>
                  <a:pt x="853" y="295"/>
                  <a:pt x="853" y="295"/>
                  <a:pt x="853" y="295"/>
                </a:cubicBezTo>
                <a:cubicBezTo>
                  <a:pt x="852" y="295"/>
                  <a:pt x="853" y="295"/>
                  <a:pt x="852" y="295"/>
                </a:cubicBezTo>
                <a:cubicBezTo>
                  <a:pt x="853" y="295"/>
                  <a:pt x="853" y="295"/>
                  <a:pt x="853" y="295"/>
                </a:cubicBezTo>
                <a:cubicBezTo>
                  <a:pt x="853" y="296"/>
                  <a:pt x="853" y="296"/>
                  <a:pt x="853" y="296"/>
                </a:cubicBezTo>
                <a:cubicBezTo>
                  <a:pt x="853" y="295"/>
                  <a:pt x="853" y="295"/>
                  <a:pt x="853" y="295"/>
                </a:cubicBezTo>
                <a:cubicBezTo>
                  <a:pt x="853" y="295"/>
                  <a:pt x="853" y="295"/>
                  <a:pt x="853" y="295"/>
                </a:cubicBezTo>
                <a:close/>
                <a:moveTo>
                  <a:pt x="851" y="298"/>
                </a:moveTo>
                <a:cubicBezTo>
                  <a:pt x="851" y="297"/>
                  <a:pt x="851" y="298"/>
                  <a:pt x="851" y="297"/>
                </a:cubicBezTo>
                <a:cubicBezTo>
                  <a:pt x="850" y="297"/>
                  <a:pt x="851" y="298"/>
                  <a:pt x="851" y="298"/>
                </a:cubicBezTo>
                <a:cubicBezTo>
                  <a:pt x="851" y="298"/>
                  <a:pt x="851" y="298"/>
                  <a:pt x="851" y="298"/>
                </a:cubicBezTo>
                <a:close/>
                <a:moveTo>
                  <a:pt x="853" y="303"/>
                </a:moveTo>
                <a:cubicBezTo>
                  <a:pt x="853" y="303"/>
                  <a:pt x="853" y="303"/>
                  <a:pt x="852" y="303"/>
                </a:cubicBezTo>
                <a:cubicBezTo>
                  <a:pt x="852" y="303"/>
                  <a:pt x="852" y="303"/>
                  <a:pt x="852" y="303"/>
                </a:cubicBezTo>
                <a:cubicBezTo>
                  <a:pt x="853" y="303"/>
                  <a:pt x="853" y="303"/>
                  <a:pt x="853" y="304"/>
                </a:cubicBezTo>
                <a:cubicBezTo>
                  <a:pt x="853" y="304"/>
                  <a:pt x="853" y="303"/>
                  <a:pt x="853" y="304"/>
                </a:cubicBezTo>
                <a:cubicBezTo>
                  <a:pt x="853" y="303"/>
                  <a:pt x="853" y="303"/>
                  <a:pt x="853" y="303"/>
                </a:cubicBezTo>
                <a:close/>
                <a:moveTo>
                  <a:pt x="843" y="305"/>
                </a:moveTo>
                <a:cubicBezTo>
                  <a:pt x="843" y="305"/>
                  <a:pt x="843" y="304"/>
                  <a:pt x="843" y="304"/>
                </a:cubicBezTo>
                <a:cubicBezTo>
                  <a:pt x="842" y="304"/>
                  <a:pt x="843" y="305"/>
                  <a:pt x="843" y="305"/>
                </a:cubicBezTo>
                <a:cubicBezTo>
                  <a:pt x="843" y="305"/>
                  <a:pt x="843" y="305"/>
                  <a:pt x="843" y="305"/>
                </a:cubicBezTo>
                <a:cubicBezTo>
                  <a:pt x="844" y="305"/>
                  <a:pt x="843" y="304"/>
                  <a:pt x="843" y="305"/>
                </a:cubicBezTo>
                <a:close/>
                <a:moveTo>
                  <a:pt x="826" y="307"/>
                </a:moveTo>
                <a:cubicBezTo>
                  <a:pt x="827" y="307"/>
                  <a:pt x="827" y="306"/>
                  <a:pt x="827" y="306"/>
                </a:cubicBezTo>
                <a:cubicBezTo>
                  <a:pt x="827" y="306"/>
                  <a:pt x="827" y="306"/>
                  <a:pt x="826" y="306"/>
                </a:cubicBezTo>
                <a:cubicBezTo>
                  <a:pt x="826" y="306"/>
                  <a:pt x="826" y="306"/>
                  <a:pt x="827" y="306"/>
                </a:cubicBezTo>
                <a:cubicBezTo>
                  <a:pt x="827" y="306"/>
                  <a:pt x="826" y="306"/>
                  <a:pt x="826" y="307"/>
                </a:cubicBezTo>
                <a:close/>
                <a:moveTo>
                  <a:pt x="850" y="311"/>
                </a:moveTo>
                <a:cubicBezTo>
                  <a:pt x="850" y="311"/>
                  <a:pt x="850" y="311"/>
                  <a:pt x="850" y="310"/>
                </a:cubicBezTo>
                <a:cubicBezTo>
                  <a:pt x="850" y="310"/>
                  <a:pt x="850" y="311"/>
                  <a:pt x="849" y="311"/>
                </a:cubicBezTo>
                <a:cubicBezTo>
                  <a:pt x="850" y="311"/>
                  <a:pt x="849" y="312"/>
                  <a:pt x="849" y="312"/>
                </a:cubicBezTo>
                <a:cubicBezTo>
                  <a:pt x="849" y="312"/>
                  <a:pt x="850" y="311"/>
                  <a:pt x="850" y="311"/>
                </a:cubicBezTo>
                <a:close/>
                <a:moveTo>
                  <a:pt x="848" y="312"/>
                </a:moveTo>
                <a:cubicBezTo>
                  <a:pt x="848" y="312"/>
                  <a:pt x="849" y="312"/>
                  <a:pt x="848" y="312"/>
                </a:cubicBezTo>
                <a:cubicBezTo>
                  <a:pt x="848" y="312"/>
                  <a:pt x="848" y="312"/>
                  <a:pt x="848" y="313"/>
                </a:cubicBezTo>
                <a:cubicBezTo>
                  <a:pt x="849" y="313"/>
                  <a:pt x="847" y="314"/>
                  <a:pt x="847" y="314"/>
                </a:cubicBezTo>
                <a:cubicBezTo>
                  <a:pt x="847" y="314"/>
                  <a:pt x="848" y="314"/>
                  <a:pt x="848" y="315"/>
                </a:cubicBezTo>
                <a:cubicBezTo>
                  <a:pt x="848" y="314"/>
                  <a:pt x="847" y="314"/>
                  <a:pt x="848" y="314"/>
                </a:cubicBezTo>
                <a:cubicBezTo>
                  <a:pt x="848" y="313"/>
                  <a:pt x="849" y="313"/>
                  <a:pt x="849" y="312"/>
                </a:cubicBezTo>
                <a:cubicBezTo>
                  <a:pt x="849" y="312"/>
                  <a:pt x="849" y="312"/>
                  <a:pt x="848" y="312"/>
                </a:cubicBezTo>
                <a:close/>
                <a:moveTo>
                  <a:pt x="849" y="314"/>
                </a:moveTo>
                <a:cubicBezTo>
                  <a:pt x="850" y="313"/>
                  <a:pt x="850" y="312"/>
                  <a:pt x="851" y="312"/>
                </a:cubicBezTo>
                <a:cubicBezTo>
                  <a:pt x="850" y="312"/>
                  <a:pt x="849" y="313"/>
                  <a:pt x="849" y="314"/>
                </a:cubicBezTo>
                <a:close/>
                <a:moveTo>
                  <a:pt x="847" y="316"/>
                </a:moveTo>
                <a:cubicBezTo>
                  <a:pt x="847" y="317"/>
                  <a:pt x="847" y="317"/>
                  <a:pt x="846" y="317"/>
                </a:cubicBezTo>
                <a:cubicBezTo>
                  <a:pt x="847" y="317"/>
                  <a:pt x="847" y="317"/>
                  <a:pt x="847" y="316"/>
                </a:cubicBezTo>
                <a:close/>
                <a:moveTo>
                  <a:pt x="845" y="320"/>
                </a:moveTo>
                <a:cubicBezTo>
                  <a:pt x="844" y="320"/>
                  <a:pt x="843" y="321"/>
                  <a:pt x="843" y="322"/>
                </a:cubicBezTo>
                <a:cubicBezTo>
                  <a:pt x="844" y="322"/>
                  <a:pt x="843" y="321"/>
                  <a:pt x="844" y="321"/>
                </a:cubicBezTo>
                <a:cubicBezTo>
                  <a:pt x="843" y="321"/>
                  <a:pt x="844" y="321"/>
                  <a:pt x="844" y="320"/>
                </a:cubicBezTo>
                <a:cubicBezTo>
                  <a:pt x="845" y="320"/>
                  <a:pt x="845" y="321"/>
                  <a:pt x="845" y="321"/>
                </a:cubicBezTo>
                <a:cubicBezTo>
                  <a:pt x="844" y="320"/>
                  <a:pt x="844" y="320"/>
                  <a:pt x="845" y="320"/>
                </a:cubicBezTo>
                <a:close/>
                <a:moveTo>
                  <a:pt x="846" y="320"/>
                </a:moveTo>
                <a:cubicBezTo>
                  <a:pt x="845" y="320"/>
                  <a:pt x="845" y="321"/>
                  <a:pt x="845" y="321"/>
                </a:cubicBezTo>
                <a:cubicBezTo>
                  <a:pt x="845" y="321"/>
                  <a:pt x="845" y="321"/>
                  <a:pt x="846" y="321"/>
                </a:cubicBezTo>
                <a:cubicBezTo>
                  <a:pt x="845" y="320"/>
                  <a:pt x="845" y="320"/>
                  <a:pt x="846" y="320"/>
                </a:cubicBezTo>
                <a:close/>
                <a:moveTo>
                  <a:pt x="842" y="323"/>
                </a:moveTo>
                <a:cubicBezTo>
                  <a:pt x="843" y="324"/>
                  <a:pt x="843" y="323"/>
                  <a:pt x="843" y="322"/>
                </a:cubicBezTo>
                <a:cubicBezTo>
                  <a:pt x="842" y="322"/>
                  <a:pt x="842" y="323"/>
                  <a:pt x="842" y="323"/>
                </a:cubicBezTo>
                <a:close/>
                <a:moveTo>
                  <a:pt x="838" y="329"/>
                </a:moveTo>
                <a:cubicBezTo>
                  <a:pt x="838" y="329"/>
                  <a:pt x="838" y="329"/>
                  <a:pt x="838" y="330"/>
                </a:cubicBezTo>
                <a:cubicBezTo>
                  <a:pt x="838" y="330"/>
                  <a:pt x="838" y="330"/>
                  <a:pt x="838" y="330"/>
                </a:cubicBezTo>
                <a:cubicBezTo>
                  <a:pt x="838" y="329"/>
                  <a:pt x="838" y="329"/>
                  <a:pt x="838" y="329"/>
                </a:cubicBezTo>
                <a:close/>
                <a:moveTo>
                  <a:pt x="837" y="334"/>
                </a:moveTo>
                <a:cubicBezTo>
                  <a:pt x="837" y="334"/>
                  <a:pt x="837" y="334"/>
                  <a:pt x="838" y="334"/>
                </a:cubicBezTo>
                <a:cubicBezTo>
                  <a:pt x="837" y="333"/>
                  <a:pt x="837" y="333"/>
                  <a:pt x="837" y="333"/>
                </a:cubicBezTo>
                <a:cubicBezTo>
                  <a:pt x="837" y="333"/>
                  <a:pt x="838" y="334"/>
                  <a:pt x="837" y="334"/>
                </a:cubicBezTo>
                <a:close/>
                <a:moveTo>
                  <a:pt x="834" y="338"/>
                </a:moveTo>
                <a:cubicBezTo>
                  <a:pt x="834" y="338"/>
                  <a:pt x="834" y="338"/>
                  <a:pt x="835" y="338"/>
                </a:cubicBezTo>
                <a:cubicBezTo>
                  <a:pt x="835" y="338"/>
                  <a:pt x="835" y="338"/>
                  <a:pt x="835" y="337"/>
                </a:cubicBezTo>
                <a:cubicBezTo>
                  <a:pt x="834" y="337"/>
                  <a:pt x="835" y="338"/>
                  <a:pt x="834" y="338"/>
                </a:cubicBezTo>
                <a:close/>
                <a:moveTo>
                  <a:pt x="832" y="344"/>
                </a:moveTo>
                <a:cubicBezTo>
                  <a:pt x="832" y="344"/>
                  <a:pt x="832" y="344"/>
                  <a:pt x="832" y="344"/>
                </a:cubicBezTo>
                <a:cubicBezTo>
                  <a:pt x="832" y="344"/>
                  <a:pt x="832" y="344"/>
                  <a:pt x="831" y="344"/>
                </a:cubicBezTo>
                <a:cubicBezTo>
                  <a:pt x="831" y="344"/>
                  <a:pt x="831" y="344"/>
                  <a:pt x="831" y="344"/>
                </a:cubicBezTo>
                <a:cubicBezTo>
                  <a:pt x="832" y="345"/>
                  <a:pt x="831" y="345"/>
                  <a:pt x="831" y="346"/>
                </a:cubicBezTo>
                <a:cubicBezTo>
                  <a:pt x="831" y="346"/>
                  <a:pt x="831" y="346"/>
                  <a:pt x="831" y="346"/>
                </a:cubicBezTo>
                <a:cubicBezTo>
                  <a:pt x="831" y="345"/>
                  <a:pt x="832" y="345"/>
                  <a:pt x="832" y="345"/>
                </a:cubicBezTo>
                <a:cubicBezTo>
                  <a:pt x="832" y="345"/>
                  <a:pt x="832" y="345"/>
                  <a:pt x="832" y="345"/>
                </a:cubicBezTo>
                <a:cubicBezTo>
                  <a:pt x="832" y="345"/>
                  <a:pt x="832" y="344"/>
                  <a:pt x="832" y="344"/>
                </a:cubicBezTo>
                <a:close/>
                <a:moveTo>
                  <a:pt x="824" y="364"/>
                </a:moveTo>
                <a:cubicBezTo>
                  <a:pt x="823" y="364"/>
                  <a:pt x="824" y="366"/>
                  <a:pt x="823" y="366"/>
                </a:cubicBezTo>
                <a:cubicBezTo>
                  <a:pt x="823" y="366"/>
                  <a:pt x="823" y="366"/>
                  <a:pt x="823" y="366"/>
                </a:cubicBezTo>
                <a:cubicBezTo>
                  <a:pt x="823" y="365"/>
                  <a:pt x="824" y="365"/>
                  <a:pt x="824" y="364"/>
                </a:cubicBezTo>
                <a:close/>
                <a:moveTo>
                  <a:pt x="819" y="381"/>
                </a:moveTo>
                <a:cubicBezTo>
                  <a:pt x="819" y="380"/>
                  <a:pt x="819" y="379"/>
                  <a:pt x="819" y="379"/>
                </a:cubicBezTo>
                <a:cubicBezTo>
                  <a:pt x="819" y="379"/>
                  <a:pt x="819" y="380"/>
                  <a:pt x="819" y="381"/>
                </a:cubicBezTo>
                <a:close/>
                <a:moveTo>
                  <a:pt x="814" y="390"/>
                </a:moveTo>
                <a:cubicBezTo>
                  <a:pt x="814" y="390"/>
                  <a:pt x="814" y="389"/>
                  <a:pt x="814" y="389"/>
                </a:cubicBezTo>
                <a:cubicBezTo>
                  <a:pt x="814" y="390"/>
                  <a:pt x="814" y="390"/>
                  <a:pt x="814" y="391"/>
                </a:cubicBezTo>
                <a:cubicBezTo>
                  <a:pt x="814" y="391"/>
                  <a:pt x="814" y="390"/>
                  <a:pt x="814" y="390"/>
                </a:cubicBezTo>
                <a:cubicBezTo>
                  <a:pt x="814" y="389"/>
                  <a:pt x="814" y="390"/>
                  <a:pt x="814" y="390"/>
                </a:cubicBezTo>
                <a:close/>
                <a:moveTo>
                  <a:pt x="777" y="377"/>
                </a:moveTo>
                <a:cubicBezTo>
                  <a:pt x="777" y="377"/>
                  <a:pt x="777" y="377"/>
                  <a:pt x="777" y="377"/>
                </a:cubicBezTo>
                <a:cubicBezTo>
                  <a:pt x="777" y="378"/>
                  <a:pt x="777" y="378"/>
                  <a:pt x="777" y="378"/>
                </a:cubicBezTo>
                <a:cubicBezTo>
                  <a:pt x="778" y="378"/>
                  <a:pt x="778" y="378"/>
                  <a:pt x="778" y="378"/>
                </a:cubicBezTo>
                <a:cubicBezTo>
                  <a:pt x="778" y="378"/>
                  <a:pt x="777" y="378"/>
                  <a:pt x="777" y="377"/>
                </a:cubicBezTo>
                <a:close/>
                <a:moveTo>
                  <a:pt x="770" y="322"/>
                </a:moveTo>
                <a:cubicBezTo>
                  <a:pt x="770" y="323"/>
                  <a:pt x="769" y="322"/>
                  <a:pt x="769" y="322"/>
                </a:cubicBezTo>
                <a:cubicBezTo>
                  <a:pt x="769" y="322"/>
                  <a:pt x="769" y="322"/>
                  <a:pt x="769" y="322"/>
                </a:cubicBezTo>
                <a:cubicBezTo>
                  <a:pt x="769" y="322"/>
                  <a:pt x="769" y="322"/>
                  <a:pt x="769" y="322"/>
                </a:cubicBezTo>
                <a:cubicBezTo>
                  <a:pt x="770" y="323"/>
                  <a:pt x="770" y="323"/>
                  <a:pt x="771" y="323"/>
                </a:cubicBezTo>
                <a:cubicBezTo>
                  <a:pt x="771" y="323"/>
                  <a:pt x="771" y="323"/>
                  <a:pt x="770" y="322"/>
                </a:cubicBezTo>
                <a:close/>
                <a:moveTo>
                  <a:pt x="729" y="350"/>
                </a:moveTo>
                <a:cubicBezTo>
                  <a:pt x="729" y="350"/>
                  <a:pt x="729" y="350"/>
                  <a:pt x="729" y="350"/>
                </a:cubicBezTo>
                <a:cubicBezTo>
                  <a:pt x="730" y="350"/>
                  <a:pt x="730" y="350"/>
                  <a:pt x="730" y="350"/>
                </a:cubicBezTo>
                <a:cubicBezTo>
                  <a:pt x="730" y="350"/>
                  <a:pt x="730" y="350"/>
                  <a:pt x="730" y="350"/>
                </a:cubicBezTo>
                <a:cubicBezTo>
                  <a:pt x="730" y="350"/>
                  <a:pt x="730" y="350"/>
                  <a:pt x="729" y="350"/>
                </a:cubicBezTo>
                <a:close/>
                <a:moveTo>
                  <a:pt x="727" y="347"/>
                </a:moveTo>
                <a:cubicBezTo>
                  <a:pt x="727" y="347"/>
                  <a:pt x="727" y="348"/>
                  <a:pt x="727" y="347"/>
                </a:cubicBezTo>
                <a:cubicBezTo>
                  <a:pt x="727" y="347"/>
                  <a:pt x="727" y="347"/>
                  <a:pt x="728" y="347"/>
                </a:cubicBezTo>
                <a:cubicBezTo>
                  <a:pt x="728" y="346"/>
                  <a:pt x="727" y="348"/>
                  <a:pt x="727" y="347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25" name="Freeform 19"/>
          <p:cNvSpPr>
            <a:spLocks noChangeAspect="1" noEditPoints="1"/>
          </p:cNvSpPr>
          <p:nvPr/>
        </p:nvSpPr>
        <p:spPr bwMode="auto">
          <a:xfrm flipH="1" flipV="1">
            <a:off x="6527007" y="5278041"/>
            <a:ext cx="1383506" cy="557213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13" name="Freeform 16"/>
          <p:cNvSpPr>
            <a:spLocks noChangeAspect="1"/>
          </p:cNvSpPr>
          <p:nvPr/>
        </p:nvSpPr>
        <p:spPr bwMode="auto">
          <a:xfrm>
            <a:off x="7200900" y="2353866"/>
            <a:ext cx="709613" cy="485775"/>
          </a:xfrm>
          <a:custGeom>
            <a:avLst/>
            <a:gdLst>
              <a:gd name="T0" fmla="*/ 578 w 595"/>
              <a:gd name="T1" fmla="*/ 192 h 408"/>
              <a:gd name="T2" fmla="*/ 570 w 595"/>
              <a:gd name="T3" fmla="*/ 185 h 408"/>
              <a:gd name="T4" fmla="*/ 558 w 595"/>
              <a:gd name="T5" fmla="*/ 173 h 408"/>
              <a:gd name="T6" fmla="*/ 544 w 595"/>
              <a:gd name="T7" fmla="*/ 164 h 408"/>
              <a:gd name="T8" fmla="*/ 533 w 595"/>
              <a:gd name="T9" fmla="*/ 159 h 408"/>
              <a:gd name="T10" fmla="*/ 519 w 595"/>
              <a:gd name="T11" fmla="*/ 146 h 408"/>
              <a:gd name="T12" fmla="*/ 508 w 595"/>
              <a:gd name="T13" fmla="*/ 136 h 408"/>
              <a:gd name="T14" fmla="*/ 492 w 595"/>
              <a:gd name="T15" fmla="*/ 124 h 408"/>
              <a:gd name="T16" fmla="*/ 475 w 595"/>
              <a:gd name="T17" fmla="*/ 111 h 408"/>
              <a:gd name="T18" fmla="*/ 461 w 595"/>
              <a:gd name="T19" fmla="*/ 103 h 408"/>
              <a:gd name="T20" fmla="*/ 450 w 595"/>
              <a:gd name="T21" fmla="*/ 95 h 408"/>
              <a:gd name="T22" fmla="*/ 437 w 595"/>
              <a:gd name="T23" fmla="*/ 83 h 408"/>
              <a:gd name="T24" fmla="*/ 425 w 595"/>
              <a:gd name="T25" fmla="*/ 72 h 408"/>
              <a:gd name="T26" fmla="*/ 411 w 595"/>
              <a:gd name="T27" fmla="*/ 65 h 408"/>
              <a:gd name="T28" fmla="*/ 396 w 595"/>
              <a:gd name="T29" fmla="*/ 54 h 408"/>
              <a:gd name="T30" fmla="*/ 382 w 595"/>
              <a:gd name="T31" fmla="*/ 43 h 408"/>
              <a:gd name="T32" fmla="*/ 373 w 595"/>
              <a:gd name="T33" fmla="*/ 33 h 408"/>
              <a:gd name="T34" fmla="*/ 361 w 595"/>
              <a:gd name="T35" fmla="*/ 27 h 408"/>
              <a:gd name="T36" fmla="*/ 346 w 595"/>
              <a:gd name="T37" fmla="*/ 15 h 408"/>
              <a:gd name="T38" fmla="*/ 336 w 595"/>
              <a:gd name="T39" fmla="*/ 7 h 408"/>
              <a:gd name="T40" fmla="*/ 322 w 595"/>
              <a:gd name="T41" fmla="*/ 1 h 408"/>
              <a:gd name="T42" fmla="*/ 313 w 595"/>
              <a:gd name="T43" fmla="*/ 22 h 408"/>
              <a:gd name="T44" fmla="*/ 314 w 595"/>
              <a:gd name="T45" fmla="*/ 39 h 408"/>
              <a:gd name="T46" fmla="*/ 313 w 595"/>
              <a:gd name="T47" fmla="*/ 60 h 408"/>
              <a:gd name="T48" fmla="*/ 314 w 595"/>
              <a:gd name="T49" fmla="*/ 78 h 408"/>
              <a:gd name="T50" fmla="*/ 313 w 595"/>
              <a:gd name="T51" fmla="*/ 98 h 408"/>
              <a:gd name="T52" fmla="*/ 168 w 595"/>
              <a:gd name="T53" fmla="*/ 95 h 408"/>
              <a:gd name="T54" fmla="*/ 5 w 595"/>
              <a:gd name="T55" fmla="*/ 118 h 408"/>
              <a:gd name="T56" fmla="*/ 16 w 595"/>
              <a:gd name="T57" fmla="*/ 131 h 408"/>
              <a:gd name="T58" fmla="*/ 24 w 595"/>
              <a:gd name="T59" fmla="*/ 140 h 408"/>
              <a:gd name="T60" fmla="*/ 34 w 595"/>
              <a:gd name="T61" fmla="*/ 150 h 408"/>
              <a:gd name="T62" fmla="*/ 42 w 595"/>
              <a:gd name="T63" fmla="*/ 158 h 408"/>
              <a:gd name="T64" fmla="*/ 50 w 595"/>
              <a:gd name="T65" fmla="*/ 170 h 408"/>
              <a:gd name="T66" fmla="*/ 62 w 595"/>
              <a:gd name="T67" fmla="*/ 184 h 408"/>
              <a:gd name="T68" fmla="*/ 69 w 595"/>
              <a:gd name="T69" fmla="*/ 188 h 408"/>
              <a:gd name="T70" fmla="*/ 81 w 595"/>
              <a:gd name="T71" fmla="*/ 206 h 408"/>
              <a:gd name="T72" fmla="*/ 57 w 595"/>
              <a:gd name="T73" fmla="*/ 236 h 408"/>
              <a:gd name="T74" fmla="*/ 22 w 595"/>
              <a:gd name="T75" fmla="*/ 278 h 408"/>
              <a:gd name="T76" fmla="*/ 0 w 595"/>
              <a:gd name="T77" fmla="*/ 305 h 408"/>
              <a:gd name="T78" fmla="*/ 14 w 595"/>
              <a:gd name="T79" fmla="*/ 327 h 408"/>
              <a:gd name="T80" fmla="*/ 312 w 595"/>
              <a:gd name="T81" fmla="*/ 317 h 408"/>
              <a:gd name="T82" fmla="*/ 314 w 595"/>
              <a:gd name="T83" fmla="*/ 335 h 408"/>
              <a:gd name="T84" fmla="*/ 314 w 595"/>
              <a:gd name="T85" fmla="*/ 349 h 408"/>
              <a:gd name="T86" fmla="*/ 313 w 595"/>
              <a:gd name="T87" fmla="*/ 366 h 408"/>
              <a:gd name="T88" fmla="*/ 313 w 595"/>
              <a:gd name="T89" fmla="*/ 382 h 408"/>
              <a:gd name="T90" fmla="*/ 316 w 595"/>
              <a:gd name="T91" fmla="*/ 402 h 408"/>
              <a:gd name="T92" fmla="*/ 325 w 595"/>
              <a:gd name="T93" fmla="*/ 406 h 408"/>
              <a:gd name="T94" fmla="*/ 343 w 595"/>
              <a:gd name="T95" fmla="*/ 403 h 408"/>
              <a:gd name="T96" fmla="*/ 374 w 595"/>
              <a:gd name="T97" fmla="*/ 380 h 408"/>
              <a:gd name="T98" fmla="*/ 396 w 595"/>
              <a:gd name="T99" fmla="*/ 360 h 408"/>
              <a:gd name="T100" fmla="*/ 427 w 595"/>
              <a:gd name="T101" fmla="*/ 337 h 408"/>
              <a:gd name="T102" fmla="*/ 461 w 595"/>
              <a:gd name="T103" fmla="*/ 310 h 408"/>
              <a:gd name="T104" fmla="*/ 482 w 595"/>
              <a:gd name="T105" fmla="*/ 294 h 408"/>
              <a:gd name="T106" fmla="*/ 513 w 595"/>
              <a:gd name="T107" fmla="*/ 270 h 408"/>
              <a:gd name="T108" fmla="*/ 545 w 595"/>
              <a:gd name="T109" fmla="*/ 246 h 408"/>
              <a:gd name="T110" fmla="*/ 578 w 595"/>
              <a:gd name="T111" fmla="*/ 223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95" h="408">
                <a:moveTo>
                  <a:pt x="592" y="199"/>
                </a:moveTo>
                <a:cubicBezTo>
                  <a:pt x="590" y="198"/>
                  <a:pt x="588" y="198"/>
                  <a:pt x="587" y="197"/>
                </a:cubicBezTo>
                <a:cubicBezTo>
                  <a:pt x="584" y="194"/>
                  <a:pt x="580" y="193"/>
                  <a:pt x="578" y="192"/>
                </a:cubicBezTo>
                <a:cubicBezTo>
                  <a:pt x="578" y="192"/>
                  <a:pt x="578" y="191"/>
                  <a:pt x="578" y="191"/>
                </a:cubicBezTo>
                <a:cubicBezTo>
                  <a:pt x="577" y="189"/>
                  <a:pt x="576" y="188"/>
                  <a:pt x="574" y="186"/>
                </a:cubicBezTo>
                <a:cubicBezTo>
                  <a:pt x="573" y="185"/>
                  <a:pt x="571" y="185"/>
                  <a:pt x="570" y="185"/>
                </a:cubicBezTo>
                <a:cubicBezTo>
                  <a:pt x="567" y="182"/>
                  <a:pt x="564" y="180"/>
                  <a:pt x="562" y="179"/>
                </a:cubicBezTo>
                <a:cubicBezTo>
                  <a:pt x="562" y="179"/>
                  <a:pt x="562" y="179"/>
                  <a:pt x="562" y="179"/>
                </a:cubicBezTo>
                <a:cubicBezTo>
                  <a:pt x="561" y="177"/>
                  <a:pt x="560" y="175"/>
                  <a:pt x="558" y="173"/>
                </a:cubicBezTo>
                <a:cubicBezTo>
                  <a:pt x="556" y="173"/>
                  <a:pt x="555" y="172"/>
                  <a:pt x="553" y="172"/>
                </a:cubicBezTo>
                <a:cubicBezTo>
                  <a:pt x="551" y="168"/>
                  <a:pt x="547" y="166"/>
                  <a:pt x="544" y="164"/>
                </a:cubicBezTo>
                <a:cubicBezTo>
                  <a:pt x="544" y="164"/>
                  <a:pt x="544" y="164"/>
                  <a:pt x="544" y="164"/>
                </a:cubicBezTo>
                <a:cubicBezTo>
                  <a:pt x="543" y="163"/>
                  <a:pt x="542" y="162"/>
                  <a:pt x="541" y="161"/>
                </a:cubicBezTo>
                <a:cubicBezTo>
                  <a:pt x="539" y="159"/>
                  <a:pt x="536" y="159"/>
                  <a:pt x="534" y="159"/>
                </a:cubicBezTo>
                <a:cubicBezTo>
                  <a:pt x="533" y="159"/>
                  <a:pt x="533" y="159"/>
                  <a:pt x="533" y="159"/>
                </a:cubicBezTo>
                <a:cubicBezTo>
                  <a:pt x="532" y="158"/>
                  <a:pt x="529" y="156"/>
                  <a:pt x="529" y="156"/>
                </a:cubicBezTo>
                <a:cubicBezTo>
                  <a:pt x="528" y="153"/>
                  <a:pt x="527" y="150"/>
                  <a:pt x="525" y="148"/>
                </a:cubicBezTo>
                <a:cubicBezTo>
                  <a:pt x="523" y="147"/>
                  <a:pt x="521" y="146"/>
                  <a:pt x="519" y="146"/>
                </a:cubicBezTo>
                <a:cubicBezTo>
                  <a:pt x="517" y="144"/>
                  <a:pt x="515" y="142"/>
                  <a:pt x="512" y="139"/>
                </a:cubicBezTo>
                <a:cubicBezTo>
                  <a:pt x="512" y="139"/>
                  <a:pt x="511" y="139"/>
                  <a:pt x="511" y="139"/>
                </a:cubicBezTo>
                <a:cubicBezTo>
                  <a:pt x="510" y="138"/>
                  <a:pt x="509" y="137"/>
                  <a:pt x="508" y="136"/>
                </a:cubicBezTo>
                <a:cubicBezTo>
                  <a:pt x="507" y="135"/>
                  <a:pt x="505" y="134"/>
                  <a:pt x="504" y="134"/>
                </a:cubicBezTo>
                <a:cubicBezTo>
                  <a:pt x="501" y="131"/>
                  <a:pt x="497" y="128"/>
                  <a:pt x="493" y="125"/>
                </a:cubicBezTo>
                <a:cubicBezTo>
                  <a:pt x="493" y="124"/>
                  <a:pt x="493" y="124"/>
                  <a:pt x="492" y="124"/>
                </a:cubicBezTo>
                <a:cubicBezTo>
                  <a:pt x="490" y="122"/>
                  <a:pt x="489" y="122"/>
                  <a:pt x="487" y="121"/>
                </a:cubicBezTo>
                <a:cubicBezTo>
                  <a:pt x="484" y="118"/>
                  <a:pt x="480" y="114"/>
                  <a:pt x="476" y="112"/>
                </a:cubicBezTo>
                <a:cubicBezTo>
                  <a:pt x="476" y="111"/>
                  <a:pt x="476" y="111"/>
                  <a:pt x="475" y="111"/>
                </a:cubicBezTo>
                <a:cubicBezTo>
                  <a:pt x="473" y="109"/>
                  <a:pt x="471" y="109"/>
                  <a:pt x="469" y="109"/>
                </a:cubicBezTo>
                <a:cubicBezTo>
                  <a:pt x="468" y="109"/>
                  <a:pt x="467" y="108"/>
                  <a:pt x="466" y="107"/>
                </a:cubicBezTo>
                <a:cubicBezTo>
                  <a:pt x="465" y="106"/>
                  <a:pt x="462" y="104"/>
                  <a:pt x="461" y="103"/>
                </a:cubicBezTo>
                <a:cubicBezTo>
                  <a:pt x="461" y="101"/>
                  <a:pt x="460" y="99"/>
                  <a:pt x="458" y="98"/>
                </a:cubicBezTo>
                <a:cubicBezTo>
                  <a:pt x="456" y="96"/>
                  <a:pt x="453" y="96"/>
                  <a:pt x="452" y="96"/>
                </a:cubicBezTo>
                <a:cubicBezTo>
                  <a:pt x="451" y="96"/>
                  <a:pt x="450" y="95"/>
                  <a:pt x="450" y="95"/>
                </a:cubicBezTo>
                <a:cubicBezTo>
                  <a:pt x="448" y="94"/>
                  <a:pt x="446" y="92"/>
                  <a:pt x="445" y="90"/>
                </a:cubicBezTo>
                <a:cubicBezTo>
                  <a:pt x="444" y="88"/>
                  <a:pt x="443" y="87"/>
                  <a:pt x="442" y="85"/>
                </a:cubicBezTo>
                <a:cubicBezTo>
                  <a:pt x="440" y="84"/>
                  <a:pt x="438" y="83"/>
                  <a:pt x="437" y="83"/>
                </a:cubicBezTo>
                <a:cubicBezTo>
                  <a:pt x="434" y="80"/>
                  <a:pt x="431" y="78"/>
                  <a:pt x="429" y="76"/>
                </a:cubicBezTo>
                <a:cubicBezTo>
                  <a:pt x="428" y="76"/>
                  <a:pt x="428" y="76"/>
                  <a:pt x="427" y="76"/>
                </a:cubicBezTo>
                <a:cubicBezTo>
                  <a:pt x="427" y="74"/>
                  <a:pt x="426" y="73"/>
                  <a:pt x="425" y="72"/>
                </a:cubicBezTo>
                <a:cubicBezTo>
                  <a:pt x="423" y="71"/>
                  <a:pt x="420" y="70"/>
                  <a:pt x="418" y="70"/>
                </a:cubicBezTo>
                <a:cubicBezTo>
                  <a:pt x="417" y="69"/>
                  <a:pt x="416" y="68"/>
                  <a:pt x="414" y="67"/>
                </a:cubicBezTo>
                <a:cubicBezTo>
                  <a:pt x="413" y="67"/>
                  <a:pt x="412" y="65"/>
                  <a:pt x="411" y="65"/>
                </a:cubicBezTo>
                <a:cubicBezTo>
                  <a:pt x="410" y="62"/>
                  <a:pt x="409" y="60"/>
                  <a:pt x="407" y="58"/>
                </a:cubicBezTo>
                <a:cubicBezTo>
                  <a:pt x="405" y="57"/>
                  <a:pt x="403" y="57"/>
                  <a:pt x="401" y="57"/>
                </a:cubicBezTo>
                <a:cubicBezTo>
                  <a:pt x="399" y="55"/>
                  <a:pt x="398" y="54"/>
                  <a:pt x="396" y="54"/>
                </a:cubicBezTo>
                <a:cubicBezTo>
                  <a:pt x="396" y="53"/>
                  <a:pt x="394" y="53"/>
                  <a:pt x="394" y="52"/>
                </a:cubicBezTo>
                <a:cubicBezTo>
                  <a:pt x="393" y="49"/>
                  <a:pt x="392" y="47"/>
                  <a:pt x="390" y="45"/>
                </a:cubicBezTo>
                <a:cubicBezTo>
                  <a:pt x="387" y="43"/>
                  <a:pt x="384" y="43"/>
                  <a:pt x="382" y="43"/>
                </a:cubicBezTo>
                <a:cubicBezTo>
                  <a:pt x="382" y="43"/>
                  <a:pt x="382" y="43"/>
                  <a:pt x="382" y="43"/>
                </a:cubicBezTo>
                <a:cubicBezTo>
                  <a:pt x="381" y="43"/>
                  <a:pt x="378" y="41"/>
                  <a:pt x="377" y="40"/>
                </a:cubicBezTo>
                <a:cubicBezTo>
                  <a:pt x="377" y="37"/>
                  <a:pt x="376" y="34"/>
                  <a:pt x="373" y="33"/>
                </a:cubicBezTo>
                <a:cubicBezTo>
                  <a:pt x="371" y="31"/>
                  <a:pt x="369" y="31"/>
                  <a:pt x="367" y="31"/>
                </a:cubicBezTo>
                <a:cubicBezTo>
                  <a:pt x="366" y="30"/>
                  <a:pt x="365" y="30"/>
                  <a:pt x="364" y="29"/>
                </a:cubicBezTo>
                <a:cubicBezTo>
                  <a:pt x="363" y="29"/>
                  <a:pt x="362" y="28"/>
                  <a:pt x="361" y="27"/>
                </a:cubicBezTo>
                <a:cubicBezTo>
                  <a:pt x="361" y="25"/>
                  <a:pt x="359" y="23"/>
                  <a:pt x="357" y="21"/>
                </a:cubicBezTo>
                <a:cubicBezTo>
                  <a:pt x="356" y="20"/>
                  <a:pt x="354" y="19"/>
                  <a:pt x="353" y="19"/>
                </a:cubicBezTo>
                <a:cubicBezTo>
                  <a:pt x="351" y="17"/>
                  <a:pt x="348" y="16"/>
                  <a:pt x="346" y="15"/>
                </a:cubicBezTo>
                <a:cubicBezTo>
                  <a:pt x="346" y="14"/>
                  <a:pt x="345" y="14"/>
                  <a:pt x="344" y="13"/>
                </a:cubicBezTo>
                <a:cubicBezTo>
                  <a:pt x="344" y="12"/>
                  <a:pt x="343" y="10"/>
                  <a:pt x="341" y="9"/>
                </a:cubicBezTo>
                <a:cubicBezTo>
                  <a:pt x="340" y="7"/>
                  <a:pt x="338" y="7"/>
                  <a:pt x="336" y="7"/>
                </a:cubicBezTo>
                <a:cubicBezTo>
                  <a:pt x="336" y="5"/>
                  <a:pt x="335" y="4"/>
                  <a:pt x="333" y="3"/>
                </a:cubicBezTo>
                <a:cubicBezTo>
                  <a:pt x="330" y="0"/>
                  <a:pt x="326" y="0"/>
                  <a:pt x="324" y="1"/>
                </a:cubicBezTo>
                <a:cubicBezTo>
                  <a:pt x="323" y="1"/>
                  <a:pt x="322" y="1"/>
                  <a:pt x="322" y="1"/>
                </a:cubicBezTo>
                <a:cubicBezTo>
                  <a:pt x="317" y="1"/>
                  <a:pt x="313" y="5"/>
                  <a:pt x="313" y="10"/>
                </a:cubicBezTo>
                <a:cubicBezTo>
                  <a:pt x="313" y="12"/>
                  <a:pt x="313" y="13"/>
                  <a:pt x="314" y="15"/>
                </a:cubicBezTo>
                <a:cubicBezTo>
                  <a:pt x="313" y="17"/>
                  <a:pt x="313" y="20"/>
                  <a:pt x="313" y="22"/>
                </a:cubicBezTo>
                <a:cubicBezTo>
                  <a:pt x="313" y="24"/>
                  <a:pt x="313" y="26"/>
                  <a:pt x="314" y="27"/>
                </a:cubicBezTo>
                <a:cubicBezTo>
                  <a:pt x="313" y="29"/>
                  <a:pt x="313" y="32"/>
                  <a:pt x="313" y="35"/>
                </a:cubicBezTo>
                <a:cubicBezTo>
                  <a:pt x="313" y="36"/>
                  <a:pt x="313" y="38"/>
                  <a:pt x="314" y="39"/>
                </a:cubicBezTo>
                <a:cubicBezTo>
                  <a:pt x="313" y="42"/>
                  <a:pt x="313" y="45"/>
                  <a:pt x="313" y="48"/>
                </a:cubicBezTo>
                <a:cubicBezTo>
                  <a:pt x="313" y="50"/>
                  <a:pt x="313" y="51"/>
                  <a:pt x="314" y="53"/>
                </a:cubicBezTo>
                <a:cubicBezTo>
                  <a:pt x="313" y="55"/>
                  <a:pt x="313" y="57"/>
                  <a:pt x="313" y="60"/>
                </a:cubicBezTo>
                <a:cubicBezTo>
                  <a:pt x="313" y="62"/>
                  <a:pt x="313" y="64"/>
                  <a:pt x="314" y="65"/>
                </a:cubicBezTo>
                <a:cubicBezTo>
                  <a:pt x="313" y="68"/>
                  <a:pt x="313" y="70"/>
                  <a:pt x="313" y="73"/>
                </a:cubicBezTo>
                <a:cubicBezTo>
                  <a:pt x="313" y="75"/>
                  <a:pt x="313" y="76"/>
                  <a:pt x="314" y="78"/>
                </a:cubicBezTo>
                <a:cubicBezTo>
                  <a:pt x="313" y="80"/>
                  <a:pt x="313" y="82"/>
                  <a:pt x="313" y="85"/>
                </a:cubicBezTo>
                <a:cubicBezTo>
                  <a:pt x="313" y="87"/>
                  <a:pt x="313" y="89"/>
                  <a:pt x="314" y="90"/>
                </a:cubicBezTo>
                <a:cubicBezTo>
                  <a:pt x="313" y="92"/>
                  <a:pt x="313" y="95"/>
                  <a:pt x="313" y="98"/>
                </a:cubicBezTo>
                <a:cubicBezTo>
                  <a:pt x="313" y="98"/>
                  <a:pt x="313" y="99"/>
                  <a:pt x="313" y="99"/>
                </a:cubicBezTo>
                <a:cubicBezTo>
                  <a:pt x="308" y="101"/>
                  <a:pt x="297" y="104"/>
                  <a:pt x="268" y="103"/>
                </a:cubicBezTo>
                <a:cubicBezTo>
                  <a:pt x="240" y="102"/>
                  <a:pt x="204" y="99"/>
                  <a:pt x="168" y="95"/>
                </a:cubicBezTo>
                <a:cubicBezTo>
                  <a:pt x="80" y="86"/>
                  <a:pt x="24" y="82"/>
                  <a:pt x="7" y="98"/>
                </a:cubicBezTo>
                <a:cubicBezTo>
                  <a:pt x="3" y="101"/>
                  <a:pt x="1" y="106"/>
                  <a:pt x="1" y="111"/>
                </a:cubicBezTo>
                <a:cubicBezTo>
                  <a:pt x="1" y="114"/>
                  <a:pt x="3" y="117"/>
                  <a:pt x="5" y="118"/>
                </a:cubicBezTo>
                <a:cubicBezTo>
                  <a:pt x="6" y="119"/>
                  <a:pt x="8" y="120"/>
                  <a:pt x="10" y="120"/>
                </a:cubicBezTo>
                <a:cubicBezTo>
                  <a:pt x="12" y="122"/>
                  <a:pt x="12" y="123"/>
                  <a:pt x="12" y="124"/>
                </a:cubicBezTo>
                <a:cubicBezTo>
                  <a:pt x="12" y="127"/>
                  <a:pt x="14" y="130"/>
                  <a:pt x="16" y="131"/>
                </a:cubicBezTo>
                <a:cubicBezTo>
                  <a:pt x="17" y="132"/>
                  <a:pt x="18" y="132"/>
                  <a:pt x="19" y="133"/>
                </a:cubicBezTo>
                <a:cubicBezTo>
                  <a:pt x="20" y="135"/>
                  <a:pt x="22" y="137"/>
                  <a:pt x="23" y="139"/>
                </a:cubicBezTo>
                <a:cubicBezTo>
                  <a:pt x="24" y="139"/>
                  <a:pt x="24" y="140"/>
                  <a:pt x="24" y="140"/>
                </a:cubicBezTo>
                <a:cubicBezTo>
                  <a:pt x="25" y="142"/>
                  <a:pt x="26" y="143"/>
                  <a:pt x="27" y="144"/>
                </a:cubicBezTo>
                <a:cubicBezTo>
                  <a:pt x="28" y="145"/>
                  <a:pt x="30" y="145"/>
                  <a:pt x="31" y="146"/>
                </a:cubicBezTo>
                <a:cubicBezTo>
                  <a:pt x="31" y="147"/>
                  <a:pt x="32" y="149"/>
                  <a:pt x="34" y="150"/>
                </a:cubicBezTo>
                <a:cubicBezTo>
                  <a:pt x="34" y="151"/>
                  <a:pt x="35" y="152"/>
                  <a:pt x="35" y="152"/>
                </a:cubicBezTo>
                <a:cubicBezTo>
                  <a:pt x="36" y="154"/>
                  <a:pt x="36" y="155"/>
                  <a:pt x="38" y="156"/>
                </a:cubicBezTo>
                <a:cubicBezTo>
                  <a:pt x="39" y="157"/>
                  <a:pt x="41" y="158"/>
                  <a:pt x="42" y="158"/>
                </a:cubicBezTo>
                <a:cubicBezTo>
                  <a:pt x="42" y="159"/>
                  <a:pt x="43" y="159"/>
                  <a:pt x="43" y="159"/>
                </a:cubicBezTo>
                <a:cubicBezTo>
                  <a:pt x="44" y="161"/>
                  <a:pt x="46" y="163"/>
                  <a:pt x="46" y="164"/>
                </a:cubicBezTo>
                <a:cubicBezTo>
                  <a:pt x="47" y="167"/>
                  <a:pt x="48" y="169"/>
                  <a:pt x="50" y="170"/>
                </a:cubicBezTo>
                <a:cubicBezTo>
                  <a:pt x="52" y="171"/>
                  <a:pt x="54" y="172"/>
                  <a:pt x="55" y="172"/>
                </a:cubicBezTo>
                <a:cubicBezTo>
                  <a:pt x="57" y="174"/>
                  <a:pt x="58" y="176"/>
                  <a:pt x="58" y="176"/>
                </a:cubicBezTo>
                <a:cubicBezTo>
                  <a:pt x="58" y="179"/>
                  <a:pt x="59" y="182"/>
                  <a:pt x="62" y="184"/>
                </a:cubicBezTo>
                <a:cubicBezTo>
                  <a:pt x="64" y="185"/>
                  <a:pt x="66" y="185"/>
                  <a:pt x="67" y="185"/>
                </a:cubicBezTo>
                <a:cubicBezTo>
                  <a:pt x="67" y="185"/>
                  <a:pt x="67" y="185"/>
                  <a:pt x="67" y="185"/>
                </a:cubicBezTo>
                <a:cubicBezTo>
                  <a:pt x="68" y="186"/>
                  <a:pt x="69" y="188"/>
                  <a:pt x="69" y="188"/>
                </a:cubicBezTo>
                <a:cubicBezTo>
                  <a:pt x="69" y="191"/>
                  <a:pt x="70" y="193"/>
                  <a:pt x="72" y="195"/>
                </a:cubicBezTo>
                <a:cubicBezTo>
                  <a:pt x="73" y="196"/>
                  <a:pt x="74" y="197"/>
                  <a:pt x="75" y="197"/>
                </a:cubicBezTo>
                <a:cubicBezTo>
                  <a:pt x="76" y="201"/>
                  <a:pt x="79" y="204"/>
                  <a:pt x="81" y="206"/>
                </a:cubicBezTo>
                <a:cubicBezTo>
                  <a:pt x="80" y="208"/>
                  <a:pt x="79" y="210"/>
                  <a:pt x="79" y="212"/>
                </a:cubicBezTo>
                <a:cubicBezTo>
                  <a:pt x="68" y="221"/>
                  <a:pt x="68" y="222"/>
                  <a:pt x="68" y="226"/>
                </a:cubicBezTo>
                <a:cubicBezTo>
                  <a:pt x="63" y="228"/>
                  <a:pt x="58" y="231"/>
                  <a:pt x="57" y="236"/>
                </a:cubicBezTo>
                <a:cubicBezTo>
                  <a:pt x="50" y="241"/>
                  <a:pt x="46" y="246"/>
                  <a:pt x="45" y="250"/>
                </a:cubicBezTo>
                <a:cubicBezTo>
                  <a:pt x="40" y="253"/>
                  <a:pt x="35" y="257"/>
                  <a:pt x="34" y="262"/>
                </a:cubicBezTo>
                <a:cubicBezTo>
                  <a:pt x="23" y="270"/>
                  <a:pt x="22" y="275"/>
                  <a:pt x="22" y="278"/>
                </a:cubicBezTo>
                <a:cubicBezTo>
                  <a:pt x="20" y="280"/>
                  <a:pt x="17" y="282"/>
                  <a:pt x="14" y="285"/>
                </a:cubicBezTo>
                <a:cubicBezTo>
                  <a:pt x="13" y="286"/>
                  <a:pt x="12" y="287"/>
                  <a:pt x="11" y="289"/>
                </a:cubicBezTo>
                <a:cubicBezTo>
                  <a:pt x="0" y="298"/>
                  <a:pt x="0" y="302"/>
                  <a:pt x="0" y="305"/>
                </a:cubicBezTo>
                <a:cubicBezTo>
                  <a:pt x="0" y="307"/>
                  <a:pt x="1" y="310"/>
                  <a:pt x="3" y="312"/>
                </a:cubicBezTo>
                <a:cubicBezTo>
                  <a:pt x="4" y="312"/>
                  <a:pt x="4" y="312"/>
                  <a:pt x="4" y="313"/>
                </a:cubicBezTo>
                <a:cubicBezTo>
                  <a:pt x="6" y="318"/>
                  <a:pt x="9" y="323"/>
                  <a:pt x="14" y="327"/>
                </a:cubicBezTo>
                <a:cubicBezTo>
                  <a:pt x="36" y="345"/>
                  <a:pt x="92" y="331"/>
                  <a:pt x="157" y="316"/>
                </a:cubicBezTo>
                <a:cubicBezTo>
                  <a:pt x="217" y="301"/>
                  <a:pt x="284" y="285"/>
                  <a:pt x="306" y="301"/>
                </a:cubicBezTo>
                <a:cubicBezTo>
                  <a:pt x="309" y="304"/>
                  <a:pt x="312" y="308"/>
                  <a:pt x="312" y="317"/>
                </a:cubicBezTo>
                <a:cubicBezTo>
                  <a:pt x="312" y="319"/>
                  <a:pt x="313" y="321"/>
                  <a:pt x="314" y="322"/>
                </a:cubicBezTo>
                <a:cubicBezTo>
                  <a:pt x="313" y="325"/>
                  <a:pt x="312" y="328"/>
                  <a:pt x="312" y="330"/>
                </a:cubicBezTo>
                <a:cubicBezTo>
                  <a:pt x="312" y="332"/>
                  <a:pt x="313" y="334"/>
                  <a:pt x="314" y="335"/>
                </a:cubicBezTo>
                <a:cubicBezTo>
                  <a:pt x="313" y="337"/>
                  <a:pt x="313" y="340"/>
                  <a:pt x="313" y="343"/>
                </a:cubicBezTo>
                <a:cubicBezTo>
                  <a:pt x="313" y="345"/>
                  <a:pt x="313" y="347"/>
                  <a:pt x="314" y="348"/>
                </a:cubicBezTo>
                <a:cubicBezTo>
                  <a:pt x="314" y="349"/>
                  <a:pt x="314" y="349"/>
                  <a:pt x="314" y="349"/>
                </a:cubicBezTo>
                <a:cubicBezTo>
                  <a:pt x="313" y="353"/>
                  <a:pt x="313" y="354"/>
                  <a:pt x="313" y="356"/>
                </a:cubicBezTo>
                <a:cubicBezTo>
                  <a:pt x="313" y="358"/>
                  <a:pt x="313" y="359"/>
                  <a:pt x="314" y="361"/>
                </a:cubicBezTo>
                <a:cubicBezTo>
                  <a:pt x="314" y="363"/>
                  <a:pt x="313" y="365"/>
                  <a:pt x="313" y="366"/>
                </a:cubicBezTo>
                <a:cubicBezTo>
                  <a:pt x="312" y="369"/>
                  <a:pt x="313" y="372"/>
                  <a:pt x="314" y="374"/>
                </a:cubicBezTo>
                <a:cubicBezTo>
                  <a:pt x="314" y="375"/>
                  <a:pt x="314" y="376"/>
                  <a:pt x="314" y="377"/>
                </a:cubicBezTo>
                <a:cubicBezTo>
                  <a:pt x="313" y="379"/>
                  <a:pt x="313" y="380"/>
                  <a:pt x="313" y="382"/>
                </a:cubicBezTo>
                <a:cubicBezTo>
                  <a:pt x="313" y="383"/>
                  <a:pt x="313" y="385"/>
                  <a:pt x="314" y="386"/>
                </a:cubicBezTo>
                <a:cubicBezTo>
                  <a:pt x="313" y="389"/>
                  <a:pt x="313" y="392"/>
                  <a:pt x="313" y="395"/>
                </a:cubicBezTo>
                <a:cubicBezTo>
                  <a:pt x="313" y="397"/>
                  <a:pt x="314" y="400"/>
                  <a:pt x="316" y="402"/>
                </a:cubicBezTo>
                <a:cubicBezTo>
                  <a:pt x="318" y="403"/>
                  <a:pt x="320" y="404"/>
                  <a:pt x="322" y="404"/>
                </a:cubicBezTo>
                <a:cubicBezTo>
                  <a:pt x="323" y="404"/>
                  <a:pt x="323" y="404"/>
                  <a:pt x="323" y="404"/>
                </a:cubicBezTo>
                <a:cubicBezTo>
                  <a:pt x="324" y="405"/>
                  <a:pt x="325" y="406"/>
                  <a:pt x="325" y="406"/>
                </a:cubicBezTo>
                <a:cubicBezTo>
                  <a:pt x="327" y="407"/>
                  <a:pt x="329" y="408"/>
                  <a:pt x="331" y="408"/>
                </a:cubicBezTo>
                <a:cubicBezTo>
                  <a:pt x="332" y="408"/>
                  <a:pt x="333" y="408"/>
                  <a:pt x="334" y="407"/>
                </a:cubicBezTo>
                <a:cubicBezTo>
                  <a:pt x="338" y="408"/>
                  <a:pt x="341" y="406"/>
                  <a:pt x="343" y="403"/>
                </a:cubicBezTo>
                <a:cubicBezTo>
                  <a:pt x="350" y="401"/>
                  <a:pt x="360" y="397"/>
                  <a:pt x="360" y="387"/>
                </a:cubicBezTo>
                <a:cubicBezTo>
                  <a:pt x="361" y="387"/>
                  <a:pt x="362" y="386"/>
                  <a:pt x="363" y="386"/>
                </a:cubicBezTo>
                <a:cubicBezTo>
                  <a:pt x="367" y="385"/>
                  <a:pt x="371" y="383"/>
                  <a:pt x="374" y="380"/>
                </a:cubicBezTo>
                <a:cubicBezTo>
                  <a:pt x="390" y="376"/>
                  <a:pt x="393" y="367"/>
                  <a:pt x="393" y="361"/>
                </a:cubicBezTo>
                <a:cubicBezTo>
                  <a:pt x="393" y="361"/>
                  <a:pt x="393" y="360"/>
                  <a:pt x="393" y="360"/>
                </a:cubicBezTo>
                <a:cubicBezTo>
                  <a:pt x="394" y="360"/>
                  <a:pt x="395" y="360"/>
                  <a:pt x="396" y="360"/>
                </a:cubicBezTo>
                <a:cubicBezTo>
                  <a:pt x="401" y="359"/>
                  <a:pt x="410" y="357"/>
                  <a:pt x="410" y="348"/>
                </a:cubicBezTo>
                <a:cubicBezTo>
                  <a:pt x="411" y="348"/>
                  <a:pt x="411" y="348"/>
                  <a:pt x="411" y="348"/>
                </a:cubicBezTo>
                <a:cubicBezTo>
                  <a:pt x="416" y="347"/>
                  <a:pt x="426" y="345"/>
                  <a:pt x="427" y="337"/>
                </a:cubicBezTo>
                <a:cubicBezTo>
                  <a:pt x="433" y="337"/>
                  <a:pt x="443" y="334"/>
                  <a:pt x="444" y="323"/>
                </a:cubicBezTo>
                <a:cubicBezTo>
                  <a:pt x="447" y="322"/>
                  <a:pt x="451" y="320"/>
                  <a:pt x="452" y="319"/>
                </a:cubicBezTo>
                <a:cubicBezTo>
                  <a:pt x="457" y="316"/>
                  <a:pt x="461" y="315"/>
                  <a:pt x="461" y="310"/>
                </a:cubicBezTo>
                <a:cubicBezTo>
                  <a:pt x="467" y="309"/>
                  <a:pt x="478" y="307"/>
                  <a:pt x="478" y="296"/>
                </a:cubicBezTo>
                <a:cubicBezTo>
                  <a:pt x="478" y="296"/>
                  <a:pt x="478" y="295"/>
                  <a:pt x="478" y="295"/>
                </a:cubicBezTo>
                <a:cubicBezTo>
                  <a:pt x="480" y="294"/>
                  <a:pt x="481" y="294"/>
                  <a:pt x="482" y="294"/>
                </a:cubicBezTo>
                <a:cubicBezTo>
                  <a:pt x="486" y="293"/>
                  <a:pt x="492" y="292"/>
                  <a:pt x="494" y="287"/>
                </a:cubicBezTo>
                <a:cubicBezTo>
                  <a:pt x="501" y="285"/>
                  <a:pt x="511" y="282"/>
                  <a:pt x="511" y="271"/>
                </a:cubicBezTo>
                <a:cubicBezTo>
                  <a:pt x="512" y="271"/>
                  <a:pt x="512" y="270"/>
                  <a:pt x="513" y="270"/>
                </a:cubicBezTo>
                <a:cubicBezTo>
                  <a:pt x="518" y="269"/>
                  <a:pt x="528" y="267"/>
                  <a:pt x="528" y="258"/>
                </a:cubicBezTo>
                <a:cubicBezTo>
                  <a:pt x="528" y="258"/>
                  <a:pt x="529" y="258"/>
                  <a:pt x="530" y="258"/>
                </a:cubicBezTo>
                <a:cubicBezTo>
                  <a:pt x="535" y="257"/>
                  <a:pt x="544" y="254"/>
                  <a:pt x="545" y="246"/>
                </a:cubicBezTo>
                <a:cubicBezTo>
                  <a:pt x="547" y="245"/>
                  <a:pt x="551" y="243"/>
                  <a:pt x="555" y="241"/>
                </a:cubicBezTo>
                <a:cubicBezTo>
                  <a:pt x="556" y="241"/>
                  <a:pt x="558" y="240"/>
                  <a:pt x="559" y="238"/>
                </a:cubicBezTo>
                <a:cubicBezTo>
                  <a:pt x="567" y="236"/>
                  <a:pt x="576" y="232"/>
                  <a:pt x="578" y="223"/>
                </a:cubicBezTo>
                <a:cubicBezTo>
                  <a:pt x="586" y="220"/>
                  <a:pt x="595" y="216"/>
                  <a:pt x="595" y="207"/>
                </a:cubicBezTo>
                <a:cubicBezTo>
                  <a:pt x="595" y="204"/>
                  <a:pt x="594" y="201"/>
                  <a:pt x="592" y="199"/>
                </a:cubicBezTo>
                <a:close/>
              </a:path>
            </a:pathLst>
          </a:custGeom>
          <a:solidFill>
            <a:srgbClr val="00B0F0"/>
          </a:solidFill>
          <a:ln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26" name="Freeform 16"/>
          <p:cNvSpPr>
            <a:spLocks noChangeAspect="1"/>
          </p:cNvSpPr>
          <p:nvPr/>
        </p:nvSpPr>
        <p:spPr bwMode="auto">
          <a:xfrm flipH="1">
            <a:off x="5976937" y="2358629"/>
            <a:ext cx="709613" cy="485775"/>
          </a:xfrm>
          <a:custGeom>
            <a:avLst/>
            <a:gdLst>
              <a:gd name="T0" fmla="*/ 578 w 595"/>
              <a:gd name="T1" fmla="*/ 192 h 408"/>
              <a:gd name="T2" fmla="*/ 570 w 595"/>
              <a:gd name="T3" fmla="*/ 185 h 408"/>
              <a:gd name="T4" fmla="*/ 558 w 595"/>
              <a:gd name="T5" fmla="*/ 173 h 408"/>
              <a:gd name="T6" fmla="*/ 544 w 595"/>
              <a:gd name="T7" fmla="*/ 164 h 408"/>
              <a:gd name="T8" fmla="*/ 533 w 595"/>
              <a:gd name="T9" fmla="*/ 159 h 408"/>
              <a:gd name="T10" fmla="*/ 519 w 595"/>
              <a:gd name="T11" fmla="*/ 146 h 408"/>
              <a:gd name="T12" fmla="*/ 508 w 595"/>
              <a:gd name="T13" fmla="*/ 136 h 408"/>
              <a:gd name="T14" fmla="*/ 492 w 595"/>
              <a:gd name="T15" fmla="*/ 124 h 408"/>
              <a:gd name="T16" fmla="*/ 475 w 595"/>
              <a:gd name="T17" fmla="*/ 111 h 408"/>
              <a:gd name="T18" fmla="*/ 461 w 595"/>
              <a:gd name="T19" fmla="*/ 103 h 408"/>
              <a:gd name="T20" fmla="*/ 450 w 595"/>
              <a:gd name="T21" fmla="*/ 95 h 408"/>
              <a:gd name="T22" fmla="*/ 437 w 595"/>
              <a:gd name="T23" fmla="*/ 83 h 408"/>
              <a:gd name="T24" fmla="*/ 425 w 595"/>
              <a:gd name="T25" fmla="*/ 72 h 408"/>
              <a:gd name="T26" fmla="*/ 411 w 595"/>
              <a:gd name="T27" fmla="*/ 65 h 408"/>
              <a:gd name="T28" fmla="*/ 396 w 595"/>
              <a:gd name="T29" fmla="*/ 54 h 408"/>
              <a:gd name="T30" fmla="*/ 382 w 595"/>
              <a:gd name="T31" fmla="*/ 43 h 408"/>
              <a:gd name="T32" fmla="*/ 373 w 595"/>
              <a:gd name="T33" fmla="*/ 33 h 408"/>
              <a:gd name="T34" fmla="*/ 361 w 595"/>
              <a:gd name="T35" fmla="*/ 27 h 408"/>
              <a:gd name="T36" fmla="*/ 346 w 595"/>
              <a:gd name="T37" fmla="*/ 15 h 408"/>
              <a:gd name="T38" fmla="*/ 336 w 595"/>
              <a:gd name="T39" fmla="*/ 7 h 408"/>
              <a:gd name="T40" fmla="*/ 322 w 595"/>
              <a:gd name="T41" fmla="*/ 1 h 408"/>
              <a:gd name="T42" fmla="*/ 313 w 595"/>
              <a:gd name="T43" fmla="*/ 22 h 408"/>
              <a:gd name="T44" fmla="*/ 314 w 595"/>
              <a:gd name="T45" fmla="*/ 39 h 408"/>
              <a:gd name="T46" fmla="*/ 313 w 595"/>
              <a:gd name="T47" fmla="*/ 60 h 408"/>
              <a:gd name="T48" fmla="*/ 314 w 595"/>
              <a:gd name="T49" fmla="*/ 78 h 408"/>
              <a:gd name="T50" fmla="*/ 313 w 595"/>
              <a:gd name="T51" fmla="*/ 98 h 408"/>
              <a:gd name="T52" fmla="*/ 168 w 595"/>
              <a:gd name="T53" fmla="*/ 95 h 408"/>
              <a:gd name="T54" fmla="*/ 5 w 595"/>
              <a:gd name="T55" fmla="*/ 118 h 408"/>
              <a:gd name="T56" fmla="*/ 16 w 595"/>
              <a:gd name="T57" fmla="*/ 131 h 408"/>
              <a:gd name="T58" fmla="*/ 24 w 595"/>
              <a:gd name="T59" fmla="*/ 140 h 408"/>
              <a:gd name="T60" fmla="*/ 34 w 595"/>
              <a:gd name="T61" fmla="*/ 150 h 408"/>
              <a:gd name="T62" fmla="*/ 42 w 595"/>
              <a:gd name="T63" fmla="*/ 158 h 408"/>
              <a:gd name="T64" fmla="*/ 50 w 595"/>
              <a:gd name="T65" fmla="*/ 170 h 408"/>
              <a:gd name="T66" fmla="*/ 62 w 595"/>
              <a:gd name="T67" fmla="*/ 184 h 408"/>
              <a:gd name="T68" fmla="*/ 69 w 595"/>
              <a:gd name="T69" fmla="*/ 188 h 408"/>
              <a:gd name="T70" fmla="*/ 81 w 595"/>
              <a:gd name="T71" fmla="*/ 206 h 408"/>
              <a:gd name="T72" fmla="*/ 57 w 595"/>
              <a:gd name="T73" fmla="*/ 236 h 408"/>
              <a:gd name="T74" fmla="*/ 22 w 595"/>
              <a:gd name="T75" fmla="*/ 278 h 408"/>
              <a:gd name="T76" fmla="*/ 0 w 595"/>
              <a:gd name="T77" fmla="*/ 305 h 408"/>
              <a:gd name="T78" fmla="*/ 14 w 595"/>
              <a:gd name="T79" fmla="*/ 327 h 408"/>
              <a:gd name="T80" fmla="*/ 312 w 595"/>
              <a:gd name="T81" fmla="*/ 317 h 408"/>
              <a:gd name="T82" fmla="*/ 314 w 595"/>
              <a:gd name="T83" fmla="*/ 335 h 408"/>
              <a:gd name="T84" fmla="*/ 314 w 595"/>
              <a:gd name="T85" fmla="*/ 349 h 408"/>
              <a:gd name="T86" fmla="*/ 313 w 595"/>
              <a:gd name="T87" fmla="*/ 366 h 408"/>
              <a:gd name="T88" fmla="*/ 313 w 595"/>
              <a:gd name="T89" fmla="*/ 382 h 408"/>
              <a:gd name="T90" fmla="*/ 316 w 595"/>
              <a:gd name="T91" fmla="*/ 402 h 408"/>
              <a:gd name="T92" fmla="*/ 325 w 595"/>
              <a:gd name="T93" fmla="*/ 406 h 408"/>
              <a:gd name="T94" fmla="*/ 343 w 595"/>
              <a:gd name="T95" fmla="*/ 403 h 408"/>
              <a:gd name="T96" fmla="*/ 374 w 595"/>
              <a:gd name="T97" fmla="*/ 380 h 408"/>
              <a:gd name="T98" fmla="*/ 396 w 595"/>
              <a:gd name="T99" fmla="*/ 360 h 408"/>
              <a:gd name="T100" fmla="*/ 427 w 595"/>
              <a:gd name="T101" fmla="*/ 337 h 408"/>
              <a:gd name="T102" fmla="*/ 461 w 595"/>
              <a:gd name="T103" fmla="*/ 310 h 408"/>
              <a:gd name="T104" fmla="*/ 482 w 595"/>
              <a:gd name="T105" fmla="*/ 294 h 408"/>
              <a:gd name="T106" fmla="*/ 513 w 595"/>
              <a:gd name="T107" fmla="*/ 270 h 408"/>
              <a:gd name="T108" fmla="*/ 545 w 595"/>
              <a:gd name="T109" fmla="*/ 246 h 408"/>
              <a:gd name="T110" fmla="*/ 578 w 595"/>
              <a:gd name="T111" fmla="*/ 223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95" h="408">
                <a:moveTo>
                  <a:pt x="592" y="199"/>
                </a:moveTo>
                <a:cubicBezTo>
                  <a:pt x="590" y="198"/>
                  <a:pt x="588" y="198"/>
                  <a:pt x="587" y="197"/>
                </a:cubicBezTo>
                <a:cubicBezTo>
                  <a:pt x="584" y="194"/>
                  <a:pt x="580" y="193"/>
                  <a:pt x="578" y="192"/>
                </a:cubicBezTo>
                <a:cubicBezTo>
                  <a:pt x="578" y="192"/>
                  <a:pt x="578" y="191"/>
                  <a:pt x="578" y="191"/>
                </a:cubicBezTo>
                <a:cubicBezTo>
                  <a:pt x="577" y="189"/>
                  <a:pt x="576" y="188"/>
                  <a:pt x="574" y="186"/>
                </a:cubicBezTo>
                <a:cubicBezTo>
                  <a:pt x="573" y="185"/>
                  <a:pt x="571" y="185"/>
                  <a:pt x="570" y="185"/>
                </a:cubicBezTo>
                <a:cubicBezTo>
                  <a:pt x="567" y="182"/>
                  <a:pt x="564" y="180"/>
                  <a:pt x="562" y="179"/>
                </a:cubicBezTo>
                <a:cubicBezTo>
                  <a:pt x="562" y="179"/>
                  <a:pt x="562" y="179"/>
                  <a:pt x="562" y="179"/>
                </a:cubicBezTo>
                <a:cubicBezTo>
                  <a:pt x="561" y="177"/>
                  <a:pt x="560" y="175"/>
                  <a:pt x="558" y="173"/>
                </a:cubicBezTo>
                <a:cubicBezTo>
                  <a:pt x="556" y="173"/>
                  <a:pt x="555" y="172"/>
                  <a:pt x="553" y="172"/>
                </a:cubicBezTo>
                <a:cubicBezTo>
                  <a:pt x="551" y="168"/>
                  <a:pt x="547" y="166"/>
                  <a:pt x="544" y="164"/>
                </a:cubicBezTo>
                <a:cubicBezTo>
                  <a:pt x="544" y="164"/>
                  <a:pt x="544" y="164"/>
                  <a:pt x="544" y="164"/>
                </a:cubicBezTo>
                <a:cubicBezTo>
                  <a:pt x="543" y="163"/>
                  <a:pt x="542" y="162"/>
                  <a:pt x="541" y="161"/>
                </a:cubicBezTo>
                <a:cubicBezTo>
                  <a:pt x="539" y="159"/>
                  <a:pt x="536" y="159"/>
                  <a:pt x="534" y="159"/>
                </a:cubicBezTo>
                <a:cubicBezTo>
                  <a:pt x="533" y="159"/>
                  <a:pt x="533" y="159"/>
                  <a:pt x="533" y="159"/>
                </a:cubicBezTo>
                <a:cubicBezTo>
                  <a:pt x="532" y="158"/>
                  <a:pt x="529" y="156"/>
                  <a:pt x="529" y="156"/>
                </a:cubicBezTo>
                <a:cubicBezTo>
                  <a:pt x="528" y="153"/>
                  <a:pt x="527" y="150"/>
                  <a:pt x="525" y="148"/>
                </a:cubicBezTo>
                <a:cubicBezTo>
                  <a:pt x="523" y="147"/>
                  <a:pt x="521" y="146"/>
                  <a:pt x="519" y="146"/>
                </a:cubicBezTo>
                <a:cubicBezTo>
                  <a:pt x="517" y="144"/>
                  <a:pt x="515" y="142"/>
                  <a:pt x="512" y="139"/>
                </a:cubicBezTo>
                <a:cubicBezTo>
                  <a:pt x="512" y="139"/>
                  <a:pt x="511" y="139"/>
                  <a:pt x="511" y="139"/>
                </a:cubicBezTo>
                <a:cubicBezTo>
                  <a:pt x="510" y="138"/>
                  <a:pt x="509" y="137"/>
                  <a:pt x="508" y="136"/>
                </a:cubicBezTo>
                <a:cubicBezTo>
                  <a:pt x="507" y="135"/>
                  <a:pt x="505" y="134"/>
                  <a:pt x="504" y="134"/>
                </a:cubicBezTo>
                <a:cubicBezTo>
                  <a:pt x="501" y="131"/>
                  <a:pt x="497" y="128"/>
                  <a:pt x="493" y="125"/>
                </a:cubicBezTo>
                <a:cubicBezTo>
                  <a:pt x="493" y="124"/>
                  <a:pt x="493" y="124"/>
                  <a:pt x="492" y="124"/>
                </a:cubicBezTo>
                <a:cubicBezTo>
                  <a:pt x="490" y="122"/>
                  <a:pt x="489" y="122"/>
                  <a:pt x="487" y="121"/>
                </a:cubicBezTo>
                <a:cubicBezTo>
                  <a:pt x="484" y="118"/>
                  <a:pt x="480" y="114"/>
                  <a:pt x="476" y="112"/>
                </a:cubicBezTo>
                <a:cubicBezTo>
                  <a:pt x="476" y="111"/>
                  <a:pt x="476" y="111"/>
                  <a:pt x="475" y="111"/>
                </a:cubicBezTo>
                <a:cubicBezTo>
                  <a:pt x="473" y="109"/>
                  <a:pt x="471" y="109"/>
                  <a:pt x="469" y="109"/>
                </a:cubicBezTo>
                <a:cubicBezTo>
                  <a:pt x="468" y="109"/>
                  <a:pt x="467" y="108"/>
                  <a:pt x="466" y="107"/>
                </a:cubicBezTo>
                <a:cubicBezTo>
                  <a:pt x="465" y="106"/>
                  <a:pt x="462" y="104"/>
                  <a:pt x="461" y="103"/>
                </a:cubicBezTo>
                <a:cubicBezTo>
                  <a:pt x="461" y="101"/>
                  <a:pt x="460" y="99"/>
                  <a:pt x="458" y="98"/>
                </a:cubicBezTo>
                <a:cubicBezTo>
                  <a:pt x="456" y="96"/>
                  <a:pt x="453" y="96"/>
                  <a:pt x="452" y="96"/>
                </a:cubicBezTo>
                <a:cubicBezTo>
                  <a:pt x="451" y="96"/>
                  <a:pt x="450" y="95"/>
                  <a:pt x="450" y="95"/>
                </a:cubicBezTo>
                <a:cubicBezTo>
                  <a:pt x="448" y="94"/>
                  <a:pt x="446" y="92"/>
                  <a:pt x="445" y="90"/>
                </a:cubicBezTo>
                <a:cubicBezTo>
                  <a:pt x="444" y="88"/>
                  <a:pt x="443" y="87"/>
                  <a:pt x="442" y="85"/>
                </a:cubicBezTo>
                <a:cubicBezTo>
                  <a:pt x="440" y="84"/>
                  <a:pt x="438" y="83"/>
                  <a:pt x="437" y="83"/>
                </a:cubicBezTo>
                <a:cubicBezTo>
                  <a:pt x="434" y="80"/>
                  <a:pt x="431" y="78"/>
                  <a:pt x="429" y="76"/>
                </a:cubicBezTo>
                <a:cubicBezTo>
                  <a:pt x="428" y="76"/>
                  <a:pt x="428" y="76"/>
                  <a:pt x="427" y="76"/>
                </a:cubicBezTo>
                <a:cubicBezTo>
                  <a:pt x="427" y="74"/>
                  <a:pt x="426" y="73"/>
                  <a:pt x="425" y="72"/>
                </a:cubicBezTo>
                <a:cubicBezTo>
                  <a:pt x="423" y="71"/>
                  <a:pt x="420" y="70"/>
                  <a:pt x="418" y="70"/>
                </a:cubicBezTo>
                <a:cubicBezTo>
                  <a:pt x="417" y="69"/>
                  <a:pt x="416" y="68"/>
                  <a:pt x="414" y="67"/>
                </a:cubicBezTo>
                <a:cubicBezTo>
                  <a:pt x="413" y="67"/>
                  <a:pt x="412" y="65"/>
                  <a:pt x="411" y="65"/>
                </a:cubicBezTo>
                <a:cubicBezTo>
                  <a:pt x="410" y="62"/>
                  <a:pt x="409" y="60"/>
                  <a:pt x="407" y="58"/>
                </a:cubicBezTo>
                <a:cubicBezTo>
                  <a:pt x="405" y="57"/>
                  <a:pt x="403" y="57"/>
                  <a:pt x="401" y="57"/>
                </a:cubicBezTo>
                <a:cubicBezTo>
                  <a:pt x="399" y="55"/>
                  <a:pt x="398" y="54"/>
                  <a:pt x="396" y="54"/>
                </a:cubicBezTo>
                <a:cubicBezTo>
                  <a:pt x="396" y="53"/>
                  <a:pt x="394" y="53"/>
                  <a:pt x="394" y="52"/>
                </a:cubicBezTo>
                <a:cubicBezTo>
                  <a:pt x="393" y="49"/>
                  <a:pt x="392" y="47"/>
                  <a:pt x="390" y="45"/>
                </a:cubicBezTo>
                <a:cubicBezTo>
                  <a:pt x="387" y="43"/>
                  <a:pt x="384" y="43"/>
                  <a:pt x="382" y="43"/>
                </a:cubicBezTo>
                <a:cubicBezTo>
                  <a:pt x="382" y="43"/>
                  <a:pt x="382" y="43"/>
                  <a:pt x="382" y="43"/>
                </a:cubicBezTo>
                <a:cubicBezTo>
                  <a:pt x="381" y="43"/>
                  <a:pt x="378" y="41"/>
                  <a:pt x="377" y="40"/>
                </a:cubicBezTo>
                <a:cubicBezTo>
                  <a:pt x="377" y="37"/>
                  <a:pt x="376" y="34"/>
                  <a:pt x="373" y="33"/>
                </a:cubicBezTo>
                <a:cubicBezTo>
                  <a:pt x="371" y="31"/>
                  <a:pt x="369" y="31"/>
                  <a:pt x="367" y="31"/>
                </a:cubicBezTo>
                <a:cubicBezTo>
                  <a:pt x="366" y="30"/>
                  <a:pt x="365" y="30"/>
                  <a:pt x="364" y="29"/>
                </a:cubicBezTo>
                <a:cubicBezTo>
                  <a:pt x="363" y="29"/>
                  <a:pt x="362" y="28"/>
                  <a:pt x="361" y="27"/>
                </a:cubicBezTo>
                <a:cubicBezTo>
                  <a:pt x="361" y="25"/>
                  <a:pt x="359" y="23"/>
                  <a:pt x="357" y="21"/>
                </a:cubicBezTo>
                <a:cubicBezTo>
                  <a:pt x="356" y="20"/>
                  <a:pt x="354" y="19"/>
                  <a:pt x="353" y="19"/>
                </a:cubicBezTo>
                <a:cubicBezTo>
                  <a:pt x="351" y="17"/>
                  <a:pt x="348" y="16"/>
                  <a:pt x="346" y="15"/>
                </a:cubicBezTo>
                <a:cubicBezTo>
                  <a:pt x="346" y="14"/>
                  <a:pt x="345" y="14"/>
                  <a:pt x="344" y="13"/>
                </a:cubicBezTo>
                <a:cubicBezTo>
                  <a:pt x="344" y="12"/>
                  <a:pt x="343" y="10"/>
                  <a:pt x="341" y="9"/>
                </a:cubicBezTo>
                <a:cubicBezTo>
                  <a:pt x="340" y="7"/>
                  <a:pt x="338" y="7"/>
                  <a:pt x="336" y="7"/>
                </a:cubicBezTo>
                <a:cubicBezTo>
                  <a:pt x="336" y="5"/>
                  <a:pt x="335" y="4"/>
                  <a:pt x="333" y="3"/>
                </a:cubicBezTo>
                <a:cubicBezTo>
                  <a:pt x="330" y="0"/>
                  <a:pt x="326" y="0"/>
                  <a:pt x="324" y="1"/>
                </a:cubicBezTo>
                <a:cubicBezTo>
                  <a:pt x="323" y="1"/>
                  <a:pt x="322" y="1"/>
                  <a:pt x="322" y="1"/>
                </a:cubicBezTo>
                <a:cubicBezTo>
                  <a:pt x="317" y="1"/>
                  <a:pt x="313" y="5"/>
                  <a:pt x="313" y="10"/>
                </a:cubicBezTo>
                <a:cubicBezTo>
                  <a:pt x="313" y="12"/>
                  <a:pt x="313" y="13"/>
                  <a:pt x="314" y="15"/>
                </a:cubicBezTo>
                <a:cubicBezTo>
                  <a:pt x="313" y="17"/>
                  <a:pt x="313" y="20"/>
                  <a:pt x="313" y="22"/>
                </a:cubicBezTo>
                <a:cubicBezTo>
                  <a:pt x="313" y="24"/>
                  <a:pt x="313" y="26"/>
                  <a:pt x="314" y="27"/>
                </a:cubicBezTo>
                <a:cubicBezTo>
                  <a:pt x="313" y="29"/>
                  <a:pt x="313" y="32"/>
                  <a:pt x="313" y="35"/>
                </a:cubicBezTo>
                <a:cubicBezTo>
                  <a:pt x="313" y="36"/>
                  <a:pt x="313" y="38"/>
                  <a:pt x="314" y="39"/>
                </a:cubicBezTo>
                <a:cubicBezTo>
                  <a:pt x="313" y="42"/>
                  <a:pt x="313" y="45"/>
                  <a:pt x="313" y="48"/>
                </a:cubicBezTo>
                <a:cubicBezTo>
                  <a:pt x="313" y="50"/>
                  <a:pt x="313" y="51"/>
                  <a:pt x="314" y="53"/>
                </a:cubicBezTo>
                <a:cubicBezTo>
                  <a:pt x="313" y="55"/>
                  <a:pt x="313" y="57"/>
                  <a:pt x="313" y="60"/>
                </a:cubicBezTo>
                <a:cubicBezTo>
                  <a:pt x="313" y="62"/>
                  <a:pt x="313" y="64"/>
                  <a:pt x="314" y="65"/>
                </a:cubicBezTo>
                <a:cubicBezTo>
                  <a:pt x="313" y="68"/>
                  <a:pt x="313" y="70"/>
                  <a:pt x="313" y="73"/>
                </a:cubicBezTo>
                <a:cubicBezTo>
                  <a:pt x="313" y="75"/>
                  <a:pt x="313" y="76"/>
                  <a:pt x="314" y="78"/>
                </a:cubicBezTo>
                <a:cubicBezTo>
                  <a:pt x="313" y="80"/>
                  <a:pt x="313" y="82"/>
                  <a:pt x="313" y="85"/>
                </a:cubicBezTo>
                <a:cubicBezTo>
                  <a:pt x="313" y="87"/>
                  <a:pt x="313" y="89"/>
                  <a:pt x="314" y="90"/>
                </a:cubicBezTo>
                <a:cubicBezTo>
                  <a:pt x="313" y="92"/>
                  <a:pt x="313" y="95"/>
                  <a:pt x="313" y="98"/>
                </a:cubicBezTo>
                <a:cubicBezTo>
                  <a:pt x="313" y="98"/>
                  <a:pt x="313" y="99"/>
                  <a:pt x="313" y="99"/>
                </a:cubicBezTo>
                <a:cubicBezTo>
                  <a:pt x="308" y="101"/>
                  <a:pt x="297" y="104"/>
                  <a:pt x="268" y="103"/>
                </a:cubicBezTo>
                <a:cubicBezTo>
                  <a:pt x="240" y="102"/>
                  <a:pt x="204" y="99"/>
                  <a:pt x="168" y="95"/>
                </a:cubicBezTo>
                <a:cubicBezTo>
                  <a:pt x="80" y="86"/>
                  <a:pt x="24" y="82"/>
                  <a:pt x="7" y="98"/>
                </a:cubicBezTo>
                <a:cubicBezTo>
                  <a:pt x="3" y="101"/>
                  <a:pt x="1" y="106"/>
                  <a:pt x="1" y="111"/>
                </a:cubicBezTo>
                <a:cubicBezTo>
                  <a:pt x="1" y="114"/>
                  <a:pt x="3" y="117"/>
                  <a:pt x="5" y="118"/>
                </a:cubicBezTo>
                <a:cubicBezTo>
                  <a:pt x="6" y="119"/>
                  <a:pt x="8" y="120"/>
                  <a:pt x="10" y="120"/>
                </a:cubicBezTo>
                <a:cubicBezTo>
                  <a:pt x="12" y="122"/>
                  <a:pt x="12" y="123"/>
                  <a:pt x="12" y="124"/>
                </a:cubicBezTo>
                <a:cubicBezTo>
                  <a:pt x="12" y="127"/>
                  <a:pt x="14" y="130"/>
                  <a:pt x="16" y="131"/>
                </a:cubicBezTo>
                <a:cubicBezTo>
                  <a:pt x="17" y="132"/>
                  <a:pt x="18" y="132"/>
                  <a:pt x="19" y="133"/>
                </a:cubicBezTo>
                <a:cubicBezTo>
                  <a:pt x="20" y="135"/>
                  <a:pt x="22" y="137"/>
                  <a:pt x="23" y="139"/>
                </a:cubicBezTo>
                <a:cubicBezTo>
                  <a:pt x="24" y="139"/>
                  <a:pt x="24" y="140"/>
                  <a:pt x="24" y="140"/>
                </a:cubicBezTo>
                <a:cubicBezTo>
                  <a:pt x="25" y="142"/>
                  <a:pt x="26" y="143"/>
                  <a:pt x="27" y="144"/>
                </a:cubicBezTo>
                <a:cubicBezTo>
                  <a:pt x="28" y="145"/>
                  <a:pt x="30" y="145"/>
                  <a:pt x="31" y="146"/>
                </a:cubicBezTo>
                <a:cubicBezTo>
                  <a:pt x="31" y="147"/>
                  <a:pt x="32" y="149"/>
                  <a:pt x="34" y="150"/>
                </a:cubicBezTo>
                <a:cubicBezTo>
                  <a:pt x="34" y="151"/>
                  <a:pt x="35" y="152"/>
                  <a:pt x="35" y="152"/>
                </a:cubicBezTo>
                <a:cubicBezTo>
                  <a:pt x="36" y="154"/>
                  <a:pt x="36" y="155"/>
                  <a:pt x="38" y="156"/>
                </a:cubicBezTo>
                <a:cubicBezTo>
                  <a:pt x="39" y="157"/>
                  <a:pt x="41" y="158"/>
                  <a:pt x="42" y="158"/>
                </a:cubicBezTo>
                <a:cubicBezTo>
                  <a:pt x="42" y="159"/>
                  <a:pt x="43" y="159"/>
                  <a:pt x="43" y="159"/>
                </a:cubicBezTo>
                <a:cubicBezTo>
                  <a:pt x="44" y="161"/>
                  <a:pt x="46" y="163"/>
                  <a:pt x="46" y="164"/>
                </a:cubicBezTo>
                <a:cubicBezTo>
                  <a:pt x="47" y="167"/>
                  <a:pt x="48" y="169"/>
                  <a:pt x="50" y="170"/>
                </a:cubicBezTo>
                <a:cubicBezTo>
                  <a:pt x="52" y="171"/>
                  <a:pt x="54" y="172"/>
                  <a:pt x="55" y="172"/>
                </a:cubicBezTo>
                <a:cubicBezTo>
                  <a:pt x="57" y="174"/>
                  <a:pt x="58" y="176"/>
                  <a:pt x="58" y="176"/>
                </a:cubicBezTo>
                <a:cubicBezTo>
                  <a:pt x="58" y="179"/>
                  <a:pt x="59" y="182"/>
                  <a:pt x="62" y="184"/>
                </a:cubicBezTo>
                <a:cubicBezTo>
                  <a:pt x="64" y="185"/>
                  <a:pt x="66" y="185"/>
                  <a:pt x="67" y="185"/>
                </a:cubicBezTo>
                <a:cubicBezTo>
                  <a:pt x="67" y="185"/>
                  <a:pt x="67" y="185"/>
                  <a:pt x="67" y="185"/>
                </a:cubicBezTo>
                <a:cubicBezTo>
                  <a:pt x="68" y="186"/>
                  <a:pt x="69" y="188"/>
                  <a:pt x="69" y="188"/>
                </a:cubicBezTo>
                <a:cubicBezTo>
                  <a:pt x="69" y="191"/>
                  <a:pt x="70" y="193"/>
                  <a:pt x="72" y="195"/>
                </a:cubicBezTo>
                <a:cubicBezTo>
                  <a:pt x="73" y="196"/>
                  <a:pt x="74" y="197"/>
                  <a:pt x="75" y="197"/>
                </a:cubicBezTo>
                <a:cubicBezTo>
                  <a:pt x="76" y="201"/>
                  <a:pt x="79" y="204"/>
                  <a:pt x="81" y="206"/>
                </a:cubicBezTo>
                <a:cubicBezTo>
                  <a:pt x="80" y="208"/>
                  <a:pt x="79" y="210"/>
                  <a:pt x="79" y="212"/>
                </a:cubicBezTo>
                <a:cubicBezTo>
                  <a:pt x="68" y="221"/>
                  <a:pt x="68" y="222"/>
                  <a:pt x="68" y="226"/>
                </a:cubicBezTo>
                <a:cubicBezTo>
                  <a:pt x="63" y="228"/>
                  <a:pt x="58" y="231"/>
                  <a:pt x="57" y="236"/>
                </a:cubicBezTo>
                <a:cubicBezTo>
                  <a:pt x="50" y="241"/>
                  <a:pt x="46" y="246"/>
                  <a:pt x="45" y="250"/>
                </a:cubicBezTo>
                <a:cubicBezTo>
                  <a:pt x="40" y="253"/>
                  <a:pt x="35" y="257"/>
                  <a:pt x="34" y="262"/>
                </a:cubicBezTo>
                <a:cubicBezTo>
                  <a:pt x="23" y="270"/>
                  <a:pt x="22" y="275"/>
                  <a:pt x="22" y="278"/>
                </a:cubicBezTo>
                <a:cubicBezTo>
                  <a:pt x="20" y="280"/>
                  <a:pt x="17" y="282"/>
                  <a:pt x="14" y="285"/>
                </a:cubicBezTo>
                <a:cubicBezTo>
                  <a:pt x="13" y="286"/>
                  <a:pt x="12" y="287"/>
                  <a:pt x="11" y="289"/>
                </a:cubicBezTo>
                <a:cubicBezTo>
                  <a:pt x="0" y="298"/>
                  <a:pt x="0" y="302"/>
                  <a:pt x="0" y="305"/>
                </a:cubicBezTo>
                <a:cubicBezTo>
                  <a:pt x="0" y="307"/>
                  <a:pt x="1" y="310"/>
                  <a:pt x="3" y="312"/>
                </a:cubicBezTo>
                <a:cubicBezTo>
                  <a:pt x="4" y="312"/>
                  <a:pt x="4" y="312"/>
                  <a:pt x="4" y="313"/>
                </a:cubicBezTo>
                <a:cubicBezTo>
                  <a:pt x="6" y="318"/>
                  <a:pt x="9" y="323"/>
                  <a:pt x="14" y="327"/>
                </a:cubicBezTo>
                <a:cubicBezTo>
                  <a:pt x="36" y="345"/>
                  <a:pt x="92" y="331"/>
                  <a:pt x="157" y="316"/>
                </a:cubicBezTo>
                <a:cubicBezTo>
                  <a:pt x="217" y="301"/>
                  <a:pt x="284" y="285"/>
                  <a:pt x="306" y="301"/>
                </a:cubicBezTo>
                <a:cubicBezTo>
                  <a:pt x="309" y="304"/>
                  <a:pt x="312" y="308"/>
                  <a:pt x="312" y="317"/>
                </a:cubicBezTo>
                <a:cubicBezTo>
                  <a:pt x="312" y="319"/>
                  <a:pt x="313" y="321"/>
                  <a:pt x="314" y="322"/>
                </a:cubicBezTo>
                <a:cubicBezTo>
                  <a:pt x="313" y="325"/>
                  <a:pt x="312" y="328"/>
                  <a:pt x="312" y="330"/>
                </a:cubicBezTo>
                <a:cubicBezTo>
                  <a:pt x="312" y="332"/>
                  <a:pt x="313" y="334"/>
                  <a:pt x="314" y="335"/>
                </a:cubicBezTo>
                <a:cubicBezTo>
                  <a:pt x="313" y="337"/>
                  <a:pt x="313" y="340"/>
                  <a:pt x="313" y="343"/>
                </a:cubicBezTo>
                <a:cubicBezTo>
                  <a:pt x="313" y="345"/>
                  <a:pt x="313" y="347"/>
                  <a:pt x="314" y="348"/>
                </a:cubicBezTo>
                <a:cubicBezTo>
                  <a:pt x="314" y="349"/>
                  <a:pt x="314" y="349"/>
                  <a:pt x="314" y="349"/>
                </a:cubicBezTo>
                <a:cubicBezTo>
                  <a:pt x="313" y="353"/>
                  <a:pt x="313" y="354"/>
                  <a:pt x="313" y="356"/>
                </a:cubicBezTo>
                <a:cubicBezTo>
                  <a:pt x="313" y="358"/>
                  <a:pt x="313" y="359"/>
                  <a:pt x="314" y="361"/>
                </a:cubicBezTo>
                <a:cubicBezTo>
                  <a:pt x="314" y="363"/>
                  <a:pt x="313" y="365"/>
                  <a:pt x="313" y="366"/>
                </a:cubicBezTo>
                <a:cubicBezTo>
                  <a:pt x="312" y="369"/>
                  <a:pt x="313" y="372"/>
                  <a:pt x="314" y="374"/>
                </a:cubicBezTo>
                <a:cubicBezTo>
                  <a:pt x="314" y="375"/>
                  <a:pt x="314" y="376"/>
                  <a:pt x="314" y="377"/>
                </a:cubicBezTo>
                <a:cubicBezTo>
                  <a:pt x="313" y="379"/>
                  <a:pt x="313" y="380"/>
                  <a:pt x="313" y="382"/>
                </a:cubicBezTo>
                <a:cubicBezTo>
                  <a:pt x="313" y="383"/>
                  <a:pt x="313" y="385"/>
                  <a:pt x="314" y="386"/>
                </a:cubicBezTo>
                <a:cubicBezTo>
                  <a:pt x="313" y="389"/>
                  <a:pt x="313" y="392"/>
                  <a:pt x="313" y="395"/>
                </a:cubicBezTo>
                <a:cubicBezTo>
                  <a:pt x="313" y="397"/>
                  <a:pt x="314" y="400"/>
                  <a:pt x="316" y="402"/>
                </a:cubicBezTo>
                <a:cubicBezTo>
                  <a:pt x="318" y="403"/>
                  <a:pt x="320" y="404"/>
                  <a:pt x="322" y="404"/>
                </a:cubicBezTo>
                <a:cubicBezTo>
                  <a:pt x="323" y="404"/>
                  <a:pt x="323" y="404"/>
                  <a:pt x="323" y="404"/>
                </a:cubicBezTo>
                <a:cubicBezTo>
                  <a:pt x="324" y="405"/>
                  <a:pt x="325" y="406"/>
                  <a:pt x="325" y="406"/>
                </a:cubicBezTo>
                <a:cubicBezTo>
                  <a:pt x="327" y="407"/>
                  <a:pt x="329" y="408"/>
                  <a:pt x="331" y="408"/>
                </a:cubicBezTo>
                <a:cubicBezTo>
                  <a:pt x="332" y="408"/>
                  <a:pt x="333" y="408"/>
                  <a:pt x="334" y="407"/>
                </a:cubicBezTo>
                <a:cubicBezTo>
                  <a:pt x="338" y="408"/>
                  <a:pt x="341" y="406"/>
                  <a:pt x="343" y="403"/>
                </a:cubicBezTo>
                <a:cubicBezTo>
                  <a:pt x="350" y="401"/>
                  <a:pt x="360" y="397"/>
                  <a:pt x="360" y="387"/>
                </a:cubicBezTo>
                <a:cubicBezTo>
                  <a:pt x="361" y="387"/>
                  <a:pt x="362" y="386"/>
                  <a:pt x="363" y="386"/>
                </a:cubicBezTo>
                <a:cubicBezTo>
                  <a:pt x="367" y="385"/>
                  <a:pt x="371" y="383"/>
                  <a:pt x="374" y="380"/>
                </a:cubicBezTo>
                <a:cubicBezTo>
                  <a:pt x="390" y="376"/>
                  <a:pt x="393" y="367"/>
                  <a:pt x="393" y="361"/>
                </a:cubicBezTo>
                <a:cubicBezTo>
                  <a:pt x="393" y="361"/>
                  <a:pt x="393" y="360"/>
                  <a:pt x="393" y="360"/>
                </a:cubicBezTo>
                <a:cubicBezTo>
                  <a:pt x="394" y="360"/>
                  <a:pt x="395" y="360"/>
                  <a:pt x="396" y="360"/>
                </a:cubicBezTo>
                <a:cubicBezTo>
                  <a:pt x="401" y="359"/>
                  <a:pt x="410" y="357"/>
                  <a:pt x="410" y="348"/>
                </a:cubicBezTo>
                <a:cubicBezTo>
                  <a:pt x="411" y="348"/>
                  <a:pt x="411" y="348"/>
                  <a:pt x="411" y="348"/>
                </a:cubicBezTo>
                <a:cubicBezTo>
                  <a:pt x="416" y="347"/>
                  <a:pt x="426" y="345"/>
                  <a:pt x="427" y="337"/>
                </a:cubicBezTo>
                <a:cubicBezTo>
                  <a:pt x="433" y="337"/>
                  <a:pt x="443" y="334"/>
                  <a:pt x="444" y="323"/>
                </a:cubicBezTo>
                <a:cubicBezTo>
                  <a:pt x="447" y="322"/>
                  <a:pt x="451" y="320"/>
                  <a:pt x="452" y="319"/>
                </a:cubicBezTo>
                <a:cubicBezTo>
                  <a:pt x="457" y="316"/>
                  <a:pt x="461" y="315"/>
                  <a:pt x="461" y="310"/>
                </a:cubicBezTo>
                <a:cubicBezTo>
                  <a:pt x="467" y="309"/>
                  <a:pt x="478" y="307"/>
                  <a:pt x="478" y="296"/>
                </a:cubicBezTo>
                <a:cubicBezTo>
                  <a:pt x="478" y="296"/>
                  <a:pt x="478" y="295"/>
                  <a:pt x="478" y="295"/>
                </a:cubicBezTo>
                <a:cubicBezTo>
                  <a:pt x="480" y="294"/>
                  <a:pt x="481" y="294"/>
                  <a:pt x="482" y="294"/>
                </a:cubicBezTo>
                <a:cubicBezTo>
                  <a:pt x="486" y="293"/>
                  <a:pt x="492" y="292"/>
                  <a:pt x="494" y="287"/>
                </a:cubicBezTo>
                <a:cubicBezTo>
                  <a:pt x="501" y="285"/>
                  <a:pt x="511" y="282"/>
                  <a:pt x="511" y="271"/>
                </a:cubicBezTo>
                <a:cubicBezTo>
                  <a:pt x="512" y="271"/>
                  <a:pt x="512" y="270"/>
                  <a:pt x="513" y="270"/>
                </a:cubicBezTo>
                <a:cubicBezTo>
                  <a:pt x="518" y="269"/>
                  <a:pt x="528" y="267"/>
                  <a:pt x="528" y="258"/>
                </a:cubicBezTo>
                <a:cubicBezTo>
                  <a:pt x="528" y="258"/>
                  <a:pt x="529" y="258"/>
                  <a:pt x="530" y="258"/>
                </a:cubicBezTo>
                <a:cubicBezTo>
                  <a:pt x="535" y="257"/>
                  <a:pt x="544" y="254"/>
                  <a:pt x="545" y="246"/>
                </a:cubicBezTo>
                <a:cubicBezTo>
                  <a:pt x="547" y="245"/>
                  <a:pt x="551" y="243"/>
                  <a:pt x="555" y="241"/>
                </a:cubicBezTo>
                <a:cubicBezTo>
                  <a:pt x="556" y="241"/>
                  <a:pt x="558" y="240"/>
                  <a:pt x="559" y="238"/>
                </a:cubicBezTo>
                <a:cubicBezTo>
                  <a:pt x="567" y="236"/>
                  <a:pt x="576" y="232"/>
                  <a:pt x="578" y="223"/>
                </a:cubicBezTo>
                <a:cubicBezTo>
                  <a:pt x="586" y="220"/>
                  <a:pt x="595" y="216"/>
                  <a:pt x="595" y="207"/>
                </a:cubicBezTo>
                <a:cubicBezTo>
                  <a:pt x="595" y="204"/>
                  <a:pt x="594" y="201"/>
                  <a:pt x="592" y="199"/>
                </a:cubicBezTo>
                <a:close/>
              </a:path>
            </a:pathLst>
          </a:custGeom>
          <a:solidFill>
            <a:srgbClr val="00B0F0"/>
          </a:solidFill>
          <a:ln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27" name="Freeform 16"/>
          <p:cNvSpPr>
            <a:spLocks noChangeAspect="1"/>
          </p:cNvSpPr>
          <p:nvPr/>
        </p:nvSpPr>
        <p:spPr bwMode="auto">
          <a:xfrm rot="5400000" flipH="1">
            <a:off x="6575227" y="1757958"/>
            <a:ext cx="708422" cy="485775"/>
          </a:xfrm>
          <a:custGeom>
            <a:avLst/>
            <a:gdLst>
              <a:gd name="T0" fmla="*/ 578 w 595"/>
              <a:gd name="T1" fmla="*/ 192 h 408"/>
              <a:gd name="T2" fmla="*/ 570 w 595"/>
              <a:gd name="T3" fmla="*/ 185 h 408"/>
              <a:gd name="T4" fmla="*/ 558 w 595"/>
              <a:gd name="T5" fmla="*/ 173 h 408"/>
              <a:gd name="T6" fmla="*/ 544 w 595"/>
              <a:gd name="T7" fmla="*/ 164 h 408"/>
              <a:gd name="T8" fmla="*/ 533 w 595"/>
              <a:gd name="T9" fmla="*/ 159 h 408"/>
              <a:gd name="T10" fmla="*/ 519 w 595"/>
              <a:gd name="T11" fmla="*/ 146 h 408"/>
              <a:gd name="T12" fmla="*/ 508 w 595"/>
              <a:gd name="T13" fmla="*/ 136 h 408"/>
              <a:gd name="T14" fmla="*/ 492 w 595"/>
              <a:gd name="T15" fmla="*/ 124 h 408"/>
              <a:gd name="T16" fmla="*/ 475 w 595"/>
              <a:gd name="T17" fmla="*/ 111 h 408"/>
              <a:gd name="T18" fmla="*/ 461 w 595"/>
              <a:gd name="T19" fmla="*/ 103 h 408"/>
              <a:gd name="T20" fmla="*/ 450 w 595"/>
              <a:gd name="T21" fmla="*/ 95 h 408"/>
              <a:gd name="T22" fmla="*/ 437 w 595"/>
              <a:gd name="T23" fmla="*/ 83 h 408"/>
              <a:gd name="T24" fmla="*/ 425 w 595"/>
              <a:gd name="T25" fmla="*/ 72 h 408"/>
              <a:gd name="T26" fmla="*/ 411 w 595"/>
              <a:gd name="T27" fmla="*/ 65 h 408"/>
              <a:gd name="T28" fmla="*/ 396 w 595"/>
              <a:gd name="T29" fmla="*/ 54 h 408"/>
              <a:gd name="T30" fmla="*/ 382 w 595"/>
              <a:gd name="T31" fmla="*/ 43 h 408"/>
              <a:gd name="T32" fmla="*/ 373 w 595"/>
              <a:gd name="T33" fmla="*/ 33 h 408"/>
              <a:gd name="T34" fmla="*/ 361 w 595"/>
              <a:gd name="T35" fmla="*/ 27 h 408"/>
              <a:gd name="T36" fmla="*/ 346 w 595"/>
              <a:gd name="T37" fmla="*/ 15 h 408"/>
              <a:gd name="T38" fmla="*/ 336 w 595"/>
              <a:gd name="T39" fmla="*/ 7 h 408"/>
              <a:gd name="T40" fmla="*/ 322 w 595"/>
              <a:gd name="T41" fmla="*/ 1 h 408"/>
              <a:gd name="T42" fmla="*/ 313 w 595"/>
              <a:gd name="T43" fmla="*/ 22 h 408"/>
              <a:gd name="T44" fmla="*/ 314 w 595"/>
              <a:gd name="T45" fmla="*/ 39 h 408"/>
              <a:gd name="T46" fmla="*/ 313 w 595"/>
              <a:gd name="T47" fmla="*/ 60 h 408"/>
              <a:gd name="T48" fmla="*/ 314 w 595"/>
              <a:gd name="T49" fmla="*/ 78 h 408"/>
              <a:gd name="T50" fmla="*/ 313 w 595"/>
              <a:gd name="T51" fmla="*/ 98 h 408"/>
              <a:gd name="T52" fmla="*/ 168 w 595"/>
              <a:gd name="T53" fmla="*/ 95 h 408"/>
              <a:gd name="T54" fmla="*/ 5 w 595"/>
              <a:gd name="T55" fmla="*/ 118 h 408"/>
              <a:gd name="T56" fmla="*/ 16 w 595"/>
              <a:gd name="T57" fmla="*/ 131 h 408"/>
              <a:gd name="T58" fmla="*/ 24 w 595"/>
              <a:gd name="T59" fmla="*/ 140 h 408"/>
              <a:gd name="T60" fmla="*/ 34 w 595"/>
              <a:gd name="T61" fmla="*/ 150 h 408"/>
              <a:gd name="T62" fmla="*/ 42 w 595"/>
              <a:gd name="T63" fmla="*/ 158 h 408"/>
              <a:gd name="T64" fmla="*/ 50 w 595"/>
              <a:gd name="T65" fmla="*/ 170 h 408"/>
              <a:gd name="T66" fmla="*/ 62 w 595"/>
              <a:gd name="T67" fmla="*/ 184 h 408"/>
              <a:gd name="T68" fmla="*/ 69 w 595"/>
              <a:gd name="T69" fmla="*/ 188 h 408"/>
              <a:gd name="T70" fmla="*/ 81 w 595"/>
              <a:gd name="T71" fmla="*/ 206 h 408"/>
              <a:gd name="T72" fmla="*/ 57 w 595"/>
              <a:gd name="T73" fmla="*/ 236 h 408"/>
              <a:gd name="T74" fmla="*/ 22 w 595"/>
              <a:gd name="T75" fmla="*/ 278 h 408"/>
              <a:gd name="T76" fmla="*/ 0 w 595"/>
              <a:gd name="T77" fmla="*/ 305 h 408"/>
              <a:gd name="T78" fmla="*/ 14 w 595"/>
              <a:gd name="T79" fmla="*/ 327 h 408"/>
              <a:gd name="T80" fmla="*/ 312 w 595"/>
              <a:gd name="T81" fmla="*/ 317 h 408"/>
              <a:gd name="T82" fmla="*/ 314 w 595"/>
              <a:gd name="T83" fmla="*/ 335 h 408"/>
              <a:gd name="T84" fmla="*/ 314 w 595"/>
              <a:gd name="T85" fmla="*/ 349 h 408"/>
              <a:gd name="T86" fmla="*/ 313 w 595"/>
              <a:gd name="T87" fmla="*/ 366 h 408"/>
              <a:gd name="T88" fmla="*/ 313 w 595"/>
              <a:gd name="T89" fmla="*/ 382 h 408"/>
              <a:gd name="T90" fmla="*/ 316 w 595"/>
              <a:gd name="T91" fmla="*/ 402 h 408"/>
              <a:gd name="T92" fmla="*/ 325 w 595"/>
              <a:gd name="T93" fmla="*/ 406 h 408"/>
              <a:gd name="T94" fmla="*/ 343 w 595"/>
              <a:gd name="T95" fmla="*/ 403 h 408"/>
              <a:gd name="T96" fmla="*/ 374 w 595"/>
              <a:gd name="T97" fmla="*/ 380 h 408"/>
              <a:gd name="T98" fmla="*/ 396 w 595"/>
              <a:gd name="T99" fmla="*/ 360 h 408"/>
              <a:gd name="T100" fmla="*/ 427 w 595"/>
              <a:gd name="T101" fmla="*/ 337 h 408"/>
              <a:gd name="T102" fmla="*/ 461 w 595"/>
              <a:gd name="T103" fmla="*/ 310 h 408"/>
              <a:gd name="T104" fmla="*/ 482 w 595"/>
              <a:gd name="T105" fmla="*/ 294 h 408"/>
              <a:gd name="T106" fmla="*/ 513 w 595"/>
              <a:gd name="T107" fmla="*/ 270 h 408"/>
              <a:gd name="T108" fmla="*/ 545 w 595"/>
              <a:gd name="T109" fmla="*/ 246 h 408"/>
              <a:gd name="T110" fmla="*/ 578 w 595"/>
              <a:gd name="T111" fmla="*/ 223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95" h="408">
                <a:moveTo>
                  <a:pt x="592" y="199"/>
                </a:moveTo>
                <a:cubicBezTo>
                  <a:pt x="590" y="198"/>
                  <a:pt x="588" y="198"/>
                  <a:pt x="587" y="197"/>
                </a:cubicBezTo>
                <a:cubicBezTo>
                  <a:pt x="584" y="194"/>
                  <a:pt x="580" y="193"/>
                  <a:pt x="578" y="192"/>
                </a:cubicBezTo>
                <a:cubicBezTo>
                  <a:pt x="578" y="192"/>
                  <a:pt x="578" y="191"/>
                  <a:pt x="578" y="191"/>
                </a:cubicBezTo>
                <a:cubicBezTo>
                  <a:pt x="577" y="189"/>
                  <a:pt x="576" y="188"/>
                  <a:pt x="574" y="186"/>
                </a:cubicBezTo>
                <a:cubicBezTo>
                  <a:pt x="573" y="185"/>
                  <a:pt x="571" y="185"/>
                  <a:pt x="570" y="185"/>
                </a:cubicBezTo>
                <a:cubicBezTo>
                  <a:pt x="567" y="182"/>
                  <a:pt x="564" y="180"/>
                  <a:pt x="562" y="179"/>
                </a:cubicBezTo>
                <a:cubicBezTo>
                  <a:pt x="562" y="179"/>
                  <a:pt x="562" y="179"/>
                  <a:pt x="562" y="179"/>
                </a:cubicBezTo>
                <a:cubicBezTo>
                  <a:pt x="561" y="177"/>
                  <a:pt x="560" y="175"/>
                  <a:pt x="558" y="173"/>
                </a:cubicBezTo>
                <a:cubicBezTo>
                  <a:pt x="556" y="173"/>
                  <a:pt x="555" y="172"/>
                  <a:pt x="553" y="172"/>
                </a:cubicBezTo>
                <a:cubicBezTo>
                  <a:pt x="551" y="168"/>
                  <a:pt x="547" y="166"/>
                  <a:pt x="544" y="164"/>
                </a:cubicBezTo>
                <a:cubicBezTo>
                  <a:pt x="544" y="164"/>
                  <a:pt x="544" y="164"/>
                  <a:pt x="544" y="164"/>
                </a:cubicBezTo>
                <a:cubicBezTo>
                  <a:pt x="543" y="163"/>
                  <a:pt x="542" y="162"/>
                  <a:pt x="541" y="161"/>
                </a:cubicBezTo>
                <a:cubicBezTo>
                  <a:pt x="539" y="159"/>
                  <a:pt x="536" y="159"/>
                  <a:pt x="534" y="159"/>
                </a:cubicBezTo>
                <a:cubicBezTo>
                  <a:pt x="533" y="159"/>
                  <a:pt x="533" y="159"/>
                  <a:pt x="533" y="159"/>
                </a:cubicBezTo>
                <a:cubicBezTo>
                  <a:pt x="532" y="158"/>
                  <a:pt x="529" y="156"/>
                  <a:pt x="529" y="156"/>
                </a:cubicBezTo>
                <a:cubicBezTo>
                  <a:pt x="528" y="153"/>
                  <a:pt x="527" y="150"/>
                  <a:pt x="525" y="148"/>
                </a:cubicBezTo>
                <a:cubicBezTo>
                  <a:pt x="523" y="147"/>
                  <a:pt x="521" y="146"/>
                  <a:pt x="519" y="146"/>
                </a:cubicBezTo>
                <a:cubicBezTo>
                  <a:pt x="517" y="144"/>
                  <a:pt x="515" y="142"/>
                  <a:pt x="512" y="139"/>
                </a:cubicBezTo>
                <a:cubicBezTo>
                  <a:pt x="512" y="139"/>
                  <a:pt x="511" y="139"/>
                  <a:pt x="511" y="139"/>
                </a:cubicBezTo>
                <a:cubicBezTo>
                  <a:pt x="510" y="138"/>
                  <a:pt x="509" y="137"/>
                  <a:pt x="508" y="136"/>
                </a:cubicBezTo>
                <a:cubicBezTo>
                  <a:pt x="507" y="135"/>
                  <a:pt x="505" y="134"/>
                  <a:pt x="504" y="134"/>
                </a:cubicBezTo>
                <a:cubicBezTo>
                  <a:pt x="501" y="131"/>
                  <a:pt x="497" y="128"/>
                  <a:pt x="493" y="125"/>
                </a:cubicBezTo>
                <a:cubicBezTo>
                  <a:pt x="493" y="124"/>
                  <a:pt x="493" y="124"/>
                  <a:pt x="492" y="124"/>
                </a:cubicBezTo>
                <a:cubicBezTo>
                  <a:pt x="490" y="122"/>
                  <a:pt x="489" y="122"/>
                  <a:pt x="487" y="121"/>
                </a:cubicBezTo>
                <a:cubicBezTo>
                  <a:pt x="484" y="118"/>
                  <a:pt x="480" y="114"/>
                  <a:pt x="476" y="112"/>
                </a:cubicBezTo>
                <a:cubicBezTo>
                  <a:pt x="476" y="111"/>
                  <a:pt x="476" y="111"/>
                  <a:pt x="475" y="111"/>
                </a:cubicBezTo>
                <a:cubicBezTo>
                  <a:pt x="473" y="109"/>
                  <a:pt x="471" y="109"/>
                  <a:pt x="469" y="109"/>
                </a:cubicBezTo>
                <a:cubicBezTo>
                  <a:pt x="468" y="109"/>
                  <a:pt x="467" y="108"/>
                  <a:pt x="466" y="107"/>
                </a:cubicBezTo>
                <a:cubicBezTo>
                  <a:pt x="465" y="106"/>
                  <a:pt x="462" y="104"/>
                  <a:pt x="461" y="103"/>
                </a:cubicBezTo>
                <a:cubicBezTo>
                  <a:pt x="461" y="101"/>
                  <a:pt x="460" y="99"/>
                  <a:pt x="458" y="98"/>
                </a:cubicBezTo>
                <a:cubicBezTo>
                  <a:pt x="456" y="96"/>
                  <a:pt x="453" y="96"/>
                  <a:pt x="452" y="96"/>
                </a:cubicBezTo>
                <a:cubicBezTo>
                  <a:pt x="451" y="96"/>
                  <a:pt x="450" y="95"/>
                  <a:pt x="450" y="95"/>
                </a:cubicBezTo>
                <a:cubicBezTo>
                  <a:pt x="448" y="94"/>
                  <a:pt x="446" y="92"/>
                  <a:pt x="445" y="90"/>
                </a:cubicBezTo>
                <a:cubicBezTo>
                  <a:pt x="444" y="88"/>
                  <a:pt x="443" y="87"/>
                  <a:pt x="442" y="85"/>
                </a:cubicBezTo>
                <a:cubicBezTo>
                  <a:pt x="440" y="84"/>
                  <a:pt x="438" y="83"/>
                  <a:pt x="437" y="83"/>
                </a:cubicBezTo>
                <a:cubicBezTo>
                  <a:pt x="434" y="80"/>
                  <a:pt x="431" y="78"/>
                  <a:pt x="429" y="76"/>
                </a:cubicBezTo>
                <a:cubicBezTo>
                  <a:pt x="428" y="76"/>
                  <a:pt x="428" y="76"/>
                  <a:pt x="427" y="76"/>
                </a:cubicBezTo>
                <a:cubicBezTo>
                  <a:pt x="427" y="74"/>
                  <a:pt x="426" y="73"/>
                  <a:pt x="425" y="72"/>
                </a:cubicBezTo>
                <a:cubicBezTo>
                  <a:pt x="423" y="71"/>
                  <a:pt x="420" y="70"/>
                  <a:pt x="418" y="70"/>
                </a:cubicBezTo>
                <a:cubicBezTo>
                  <a:pt x="417" y="69"/>
                  <a:pt x="416" y="68"/>
                  <a:pt x="414" y="67"/>
                </a:cubicBezTo>
                <a:cubicBezTo>
                  <a:pt x="413" y="67"/>
                  <a:pt x="412" y="65"/>
                  <a:pt x="411" y="65"/>
                </a:cubicBezTo>
                <a:cubicBezTo>
                  <a:pt x="410" y="62"/>
                  <a:pt x="409" y="60"/>
                  <a:pt x="407" y="58"/>
                </a:cubicBezTo>
                <a:cubicBezTo>
                  <a:pt x="405" y="57"/>
                  <a:pt x="403" y="57"/>
                  <a:pt x="401" y="57"/>
                </a:cubicBezTo>
                <a:cubicBezTo>
                  <a:pt x="399" y="55"/>
                  <a:pt x="398" y="54"/>
                  <a:pt x="396" y="54"/>
                </a:cubicBezTo>
                <a:cubicBezTo>
                  <a:pt x="396" y="53"/>
                  <a:pt x="394" y="53"/>
                  <a:pt x="394" y="52"/>
                </a:cubicBezTo>
                <a:cubicBezTo>
                  <a:pt x="393" y="49"/>
                  <a:pt x="392" y="47"/>
                  <a:pt x="390" y="45"/>
                </a:cubicBezTo>
                <a:cubicBezTo>
                  <a:pt x="387" y="43"/>
                  <a:pt x="384" y="43"/>
                  <a:pt x="382" y="43"/>
                </a:cubicBezTo>
                <a:cubicBezTo>
                  <a:pt x="382" y="43"/>
                  <a:pt x="382" y="43"/>
                  <a:pt x="382" y="43"/>
                </a:cubicBezTo>
                <a:cubicBezTo>
                  <a:pt x="381" y="43"/>
                  <a:pt x="378" y="41"/>
                  <a:pt x="377" y="40"/>
                </a:cubicBezTo>
                <a:cubicBezTo>
                  <a:pt x="377" y="37"/>
                  <a:pt x="376" y="34"/>
                  <a:pt x="373" y="33"/>
                </a:cubicBezTo>
                <a:cubicBezTo>
                  <a:pt x="371" y="31"/>
                  <a:pt x="369" y="31"/>
                  <a:pt x="367" y="31"/>
                </a:cubicBezTo>
                <a:cubicBezTo>
                  <a:pt x="366" y="30"/>
                  <a:pt x="365" y="30"/>
                  <a:pt x="364" y="29"/>
                </a:cubicBezTo>
                <a:cubicBezTo>
                  <a:pt x="363" y="29"/>
                  <a:pt x="362" y="28"/>
                  <a:pt x="361" y="27"/>
                </a:cubicBezTo>
                <a:cubicBezTo>
                  <a:pt x="361" y="25"/>
                  <a:pt x="359" y="23"/>
                  <a:pt x="357" y="21"/>
                </a:cubicBezTo>
                <a:cubicBezTo>
                  <a:pt x="356" y="20"/>
                  <a:pt x="354" y="19"/>
                  <a:pt x="353" y="19"/>
                </a:cubicBezTo>
                <a:cubicBezTo>
                  <a:pt x="351" y="17"/>
                  <a:pt x="348" y="16"/>
                  <a:pt x="346" y="15"/>
                </a:cubicBezTo>
                <a:cubicBezTo>
                  <a:pt x="346" y="14"/>
                  <a:pt x="345" y="14"/>
                  <a:pt x="344" y="13"/>
                </a:cubicBezTo>
                <a:cubicBezTo>
                  <a:pt x="344" y="12"/>
                  <a:pt x="343" y="10"/>
                  <a:pt x="341" y="9"/>
                </a:cubicBezTo>
                <a:cubicBezTo>
                  <a:pt x="340" y="7"/>
                  <a:pt x="338" y="7"/>
                  <a:pt x="336" y="7"/>
                </a:cubicBezTo>
                <a:cubicBezTo>
                  <a:pt x="336" y="5"/>
                  <a:pt x="335" y="4"/>
                  <a:pt x="333" y="3"/>
                </a:cubicBezTo>
                <a:cubicBezTo>
                  <a:pt x="330" y="0"/>
                  <a:pt x="326" y="0"/>
                  <a:pt x="324" y="1"/>
                </a:cubicBezTo>
                <a:cubicBezTo>
                  <a:pt x="323" y="1"/>
                  <a:pt x="322" y="1"/>
                  <a:pt x="322" y="1"/>
                </a:cubicBezTo>
                <a:cubicBezTo>
                  <a:pt x="317" y="1"/>
                  <a:pt x="313" y="5"/>
                  <a:pt x="313" y="10"/>
                </a:cubicBezTo>
                <a:cubicBezTo>
                  <a:pt x="313" y="12"/>
                  <a:pt x="313" y="13"/>
                  <a:pt x="314" y="15"/>
                </a:cubicBezTo>
                <a:cubicBezTo>
                  <a:pt x="313" y="17"/>
                  <a:pt x="313" y="20"/>
                  <a:pt x="313" y="22"/>
                </a:cubicBezTo>
                <a:cubicBezTo>
                  <a:pt x="313" y="24"/>
                  <a:pt x="313" y="26"/>
                  <a:pt x="314" y="27"/>
                </a:cubicBezTo>
                <a:cubicBezTo>
                  <a:pt x="313" y="29"/>
                  <a:pt x="313" y="32"/>
                  <a:pt x="313" y="35"/>
                </a:cubicBezTo>
                <a:cubicBezTo>
                  <a:pt x="313" y="36"/>
                  <a:pt x="313" y="38"/>
                  <a:pt x="314" y="39"/>
                </a:cubicBezTo>
                <a:cubicBezTo>
                  <a:pt x="313" y="42"/>
                  <a:pt x="313" y="45"/>
                  <a:pt x="313" y="48"/>
                </a:cubicBezTo>
                <a:cubicBezTo>
                  <a:pt x="313" y="50"/>
                  <a:pt x="313" y="51"/>
                  <a:pt x="314" y="53"/>
                </a:cubicBezTo>
                <a:cubicBezTo>
                  <a:pt x="313" y="55"/>
                  <a:pt x="313" y="57"/>
                  <a:pt x="313" y="60"/>
                </a:cubicBezTo>
                <a:cubicBezTo>
                  <a:pt x="313" y="62"/>
                  <a:pt x="313" y="64"/>
                  <a:pt x="314" y="65"/>
                </a:cubicBezTo>
                <a:cubicBezTo>
                  <a:pt x="313" y="68"/>
                  <a:pt x="313" y="70"/>
                  <a:pt x="313" y="73"/>
                </a:cubicBezTo>
                <a:cubicBezTo>
                  <a:pt x="313" y="75"/>
                  <a:pt x="313" y="76"/>
                  <a:pt x="314" y="78"/>
                </a:cubicBezTo>
                <a:cubicBezTo>
                  <a:pt x="313" y="80"/>
                  <a:pt x="313" y="82"/>
                  <a:pt x="313" y="85"/>
                </a:cubicBezTo>
                <a:cubicBezTo>
                  <a:pt x="313" y="87"/>
                  <a:pt x="313" y="89"/>
                  <a:pt x="314" y="90"/>
                </a:cubicBezTo>
                <a:cubicBezTo>
                  <a:pt x="313" y="92"/>
                  <a:pt x="313" y="95"/>
                  <a:pt x="313" y="98"/>
                </a:cubicBezTo>
                <a:cubicBezTo>
                  <a:pt x="313" y="98"/>
                  <a:pt x="313" y="99"/>
                  <a:pt x="313" y="99"/>
                </a:cubicBezTo>
                <a:cubicBezTo>
                  <a:pt x="308" y="101"/>
                  <a:pt x="297" y="104"/>
                  <a:pt x="268" y="103"/>
                </a:cubicBezTo>
                <a:cubicBezTo>
                  <a:pt x="240" y="102"/>
                  <a:pt x="204" y="99"/>
                  <a:pt x="168" y="95"/>
                </a:cubicBezTo>
                <a:cubicBezTo>
                  <a:pt x="80" y="86"/>
                  <a:pt x="24" y="82"/>
                  <a:pt x="7" y="98"/>
                </a:cubicBezTo>
                <a:cubicBezTo>
                  <a:pt x="3" y="101"/>
                  <a:pt x="1" y="106"/>
                  <a:pt x="1" y="111"/>
                </a:cubicBezTo>
                <a:cubicBezTo>
                  <a:pt x="1" y="114"/>
                  <a:pt x="3" y="117"/>
                  <a:pt x="5" y="118"/>
                </a:cubicBezTo>
                <a:cubicBezTo>
                  <a:pt x="6" y="119"/>
                  <a:pt x="8" y="120"/>
                  <a:pt x="10" y="120"/>
                </a:cubicBezTo>
                <a:cubicBezTo>
                  <a:pt x="12" y="122"/>
                  <a:pt x="12" y="123"/>
                  <a:pt x="12" y="124"/>
                </a:cubicBezTo>
                <a:cubicBezTo>
                  <a:pt x="12" y="127"/>
                  <a:pt x="14" y="130"/>
                  <a:pt x="16" y="131"/>
                </a:cubicBezTo>
                <a:cubicBezTo>
                  <a:pt x="17" y="132"/>
                  <a:pt x="18" y="132"/>
                  <a:pt x="19" y="133"/>
                </a:cubicBezTo>
                <a:cubicBezTo>
                  <a:pt x="20" y="135"/>
                  <a:pt x="22" y="137"/>
                  <a:pt x="23" y="139"/>
                </a:cubicBezTo>
                <a:cubicBezTo>
                  <a:pt x="24" y="139"/>
                  <a:pt x="24" y="140"/>
                  <a:pt x="24" y="140"/>
                </a:cubicBezTo>
                <a:cubicBezTo>
                  <a:pt x="25" y="142"/>
                  <a:pt x="26" y="143"/>
                  <a:pt x="27" y="144"/>
                </a:cubicBezTo>
                <a:cubicBezTo>
                  <a:pt x="28" y="145"/>
                  <a:pt x="30" y="145"/>
                  <a:pt x="31" y="146"/>
                </a:cubicBezTo>
                <a:cubicBezTo>
                  <a:pt x="31" y="147"/>
                  <a:pt x="32" y="149"/>
                  <a:pt x="34" y="150"/>
                </a:cubicBezTo>
                <a:cubicBezTo>
                  <a:pt x="34" y="151"/>
                  <a:pt x="35" y="152"/>
                  <a:pt x="35" y="152"/>
                </a:cubicBezTo>
                <a:cubicBezTo>
                  <a:pt x="36" y="154"/>
                  <a:pt x="36" y="155"/>
                  <a:pt x="38" y="156"/>
                </a:cubicBezTo>
                <a:cubicBezTo>
                  <a:pt x="39" y="157"/>
                  <a:pt x="41" y="158"/>
                  <a:pt x="42" y="158"/>
                </a:cubicBezTo>
                <a:cubicBezTo>
                  <a:pt x="42" y="159"/>
                  <a:pt x="43" y="159"/>
                  <a:pt x="43" y="159"/>
                </a:cubicBezTo>
                <a:cubicBezTo>
                  <a:pt x="44" y="161"/>
                  <a:pt x="46" y="163"/>
                  <a:pt x="46" y="164"/>
                </a:cubicBezTo>
                <a:cubicBezTo>
                  <a:pt x="47" y="167"/>
                  <a:pt x="48" y="169"/>
                  <a:pt x="50" y="170"/>
                </a:cubicBezTo>
                <a:cubicBezTo>
                  <a:pt x="52" y="171"/>
                  <a:pt x="54" y="172"/>
                  <a:pt x="55" y="172"/>
                </a:cubicBezTo>
                <a:cubicBezTo>
                  <a:pt x="57" y="174"/>
                  <a:pt x="58" y="176"/>
                  <a:pt x="58" y="176"/>
                </a:cubicBezTo>
                <a:cubicBezTo>
                  <a:pt x="58" y="179"/>
                  <a:pt x="59" y="182"/>
                  <a:pt x="62" y="184"/>
                </a:cubicBezTo>
                <a:cubicBezTo>
                  <a:pt x="64" y="185"/>
                  <a:pt x="66" y="185"/>
                  <a:pt x="67" y="185"/>
                </a:cubicBezTo>
                <a:cubicBezTo>
                  <a:pt x="67" y="185"/>
                  <a:pt x="67" y="185"/>
                  <a:pt x="67" y="185"/>
                </a:cubicBezTo>
                <a:cubicBezTo>
                  <a:pt x="68" y="186"/>
                  <a:pt x="69" y="188"/>
                  <a:pt x="69" y="188"/>
                </a:cubicBezTo>
                <a:cubicBezTo>
                  <a:pt x="69" y="191"/>
                  <a:pt x="70" y="193"/>
                  <a:pt x="72" y="195"/>
                </a:cubicBezTo>
                <a:cubicBezTo>
                  <a:pt x="73" y="196"/>
                  <a:pt x="74" y="197"/>
                  <a:pt x="75" y="197"/>
                </a:cubicBezTo>
                <a:cubicBezTo>
                  <a:pt x="76" y="201"/>
                  <a:pt x="79" y="204"/>
                  <a:pt x="81" y="206"/>
                </a:cubicBezTo>
                <a:cubicBezTo>
                  <a:pt x="80" y="208"/>
                  <a:pt x="79" y="210"/>
                  <a:pt x="79" y="212"/>
                </a:cubicBezTo>
                <a:cubicBezTo>
                  <a:pt x="68" y="221"/>
                  <a:pt x="68" y="222"/>
                  <a:pt x="68" y="226"/>
                </a:cubicBezTo>
                <a:cubicBezTo>
                  <a:pt x="63" y="228"/>
                  <a:pt x="58" y="231"/>
                  <a:pt x="57" y="236"/>
                </a:cubicBezTo>
                <a:cubicBezTo>
                  <a:pt x="50" y="241"/>
                  <a:pt x="46" y="246"/>
                  <a:pt x="45" y="250"/>
                </a:cubicBezTo>
                <a:cubicBezTo>
                  <a:pt x="40" y="253"/>
                  <a:pt x="35" y="257"/>
                  <a:pt x="34" y="262"/>
                </a:cubicBezTo>
                <a:cubicBezTo>
                  <a:pt x="23" y="270"/>
                  <a:pt x="22" y="275"/>
                  <a:pt x="22" y="278"/>
                </a:cubicBezTo>
                <a:cubicBezTo>
                  <a:pt x="20" y="280"/>
                  <a:pt x="17" y="282"/>
                  <a:pt x="14" y="285"/>
                </a:cubicBezTo>
                <a:cubicBezTo>
                  <a:pt x="13" y="286"/>
                  <a:pt x="12" y="287"/>
                  <a:pt x="11" y="289"/>
                </a:cubicBezTo>
                <a:cubicBezTo>
                  <a:pt x="0" y="298"/>
                  <a:pt x="0" y="302"/>
                  <a:pt x="0" y="305"/>
                </a:cubicBezTo>
                <a:cubicBezTo>
                  <a:pt x="0" y="307"/>
                  <a:pt x="1" y="310"/>
                  <a:pt x="3" y="312"/>
                </a:cubicBezTo>
                <a:cubicBezTo>
                  <a:pt x="4" y="312"/>
                  <a:pt x="4" y="312"/>
                  <a:pt x="4" y="313"/>
                </a:cubicBezTo>
                <a:cubicBezTo>
                  <a:pt x="6" y="318"/>
                  <a:pt x="9" y="323"/>
                  <a:pt x="14" y="327"/>
                </a:cubicBezTo>
                <a:cubicBezTo>
                  <a:pt x="36" y="345"/>
                  <a:pt x="92" y="331"/>
                  <a:pt x="157" y="316"/>
                </a:cubicBezTo>
                <a:cubicBezTo>
                  <a:pt x="217" y="301"/>
                  <a:pt x="284" y="285"/>
                  <a:pt x="306" y="301"/>
                </a:cubicBezTo>
                <a:cubicBezTo>
                  <a:pt x="309" y="304"/>
                  <a:pt x="312" y="308"/>
                  <a:pt x="312" y="317"/>
                </a:cubicBezTo>
                <a:cubicBezTo>
                  <a:pt x="312" y="319"/>
                  <a:pt x="313" y="321"/>
                  <a:pt x="314" y="322"/>
                </a:cubicBezTo>
                <a:cubicBezTo>
                  <a:pt x="313" y="325"/>
                  <a:pt x="312" y="328"/>
                  <a:pt x="312" y="330"/>
                </a:cubicBezTo>
                <a:cubicBezTo>
                  <a:pt x="312" y="332"/>
                  <a:pt x="313" y="334"/>
                  <a:pt x="314" y="335"/>
                </a:cubicBezTo>
                <a:cubicBezTo>
                  <a:pt x="313" y="337"/>
                  <a:pt x="313" y="340"/>
                  <a:pt x="313" y="343"/>
                </a:cubicBezTo>
                <a:cubicBezTo>
                  <a:pt x="313" y="345"/>
                  <a:pt x="313" y="347"/>
                  <a:pt x="314" y="348"/>
                </a:cubicBezTo>
                <a:cubicBezTo>
                  <a:pt x="314" y="349"/>
                  <a:pt x="314" y="349"/>
                  <a:pt x="314" y="349"/>
                </a:cubicBezTo>
                <a:cubicBezTo>
                  <a:pt x="313" y="353"/>
                  <a:pt x="313" y="354"/>
                  <a:pt x="313" y="356"/>
                </a:cubicBezTo>
                <a:cubicBezTo>
                  <a:pt x="313" y="358"/>
                  <a:pt x="313" y="359"/>
                  <a:pt x="314" y="361"/>
                </a:cubicBezTo>
                <a:cubicBezTo>
                  <a:pt x="314" y="363"/>
                  <a:pt x="313" y="365"/>
                  <a:pt x="313" y="366"/>
                </a:cubicBezTo>
                <a:cubicBezTo>
                  <a:pt x="312" y="369"/>
                  <a:pt x="313" y="372"/>
                  <a:pt x="314" y="374"/>
                </a:cubicBezTo>
                <a:cubicBezTo>
                  <a:pt x="314" y="375"/>
                  <a:pt x="314" y="376"/>
                  <a:pt x="314" y="377"/>
                </a:cubicBezTo>
                <a:cubicBezTo>
                  <a:pt x="313" y="379"/>
                  <a:pt x="313" y="380"/>
                  <a:pt x="313" y="382"/>
                </a:cubicBezTo>
                <a:cubicBezTo>
                  <a:pt x="313" y="383"/>
                  <a:pt x="313" y="385"/>
                  <a:pt x="314" y="386"/>
                </a:cubicBezTo>
                <a:cubicBezTo>
                  <a:pt x="313" y="389"/>
                  <a:pt x="313" y="392"/>
                  <a:pt x="313" y="395"/>
                </a:cubicBezTo>
                <a:cubicBezTo>
                  <a:pt x="313" y="397"/>
                  <a:pt x="314" y="400"/>
                  <a:pt x="316" y="402"/>
                </a:cubicBezTo>
                <a:cubicBezTo>
                  <a:pt x="318" y="403"/>
                  <a:pt x="320" y="404"/>
                  <a:pt x="322" y="404"/>
                </a:cubicBezTo>
                <a:cubicBezTo>
                  <a:pt x="323" y="404"/>
                  <a:pt x="323" y="404"/>
                  <a:pt x="323" y="404"/>
                </a:cubicBezTo>
                <a:cubicBezTo>
                  <a:pt x="324" y="405"/>
                  <a:pt x="325" y="406"/>
                  <a:pt x="325" y="406"/>
                </a:cubicBezTo>
                <a:cubicBezTo>
                  <a:pt x="327" y="407"/>
                  <a:pt x="329" y="408"/>
                  <a:pt x="331" y="408"/>
                </a:cubicBezTo>
                <a:cubicBezTo>
                  <a:pt x="332" y="408"/>
                  <a:pt x="333" y="408"/>
                  <a:pt x="334" y="407"/>
                </a:cubicBezTo>
                <a:cubicBezTo>
                  <a:pt x="338" y="408"/>
                  <a:pt x="341" y="406"/>
                  <a:pt x="343" y="403"/>
                </a:cubicBezTo>
                <a:cubicBezTo>
                  <a:pt x="350" y="401"/>
                  <a:pt x="360" y="397"/>
                  <a:pt x="360" y="387"/>
                </a:cubicBezTo>
                <a:cubicBezTo>
                  <a:pt x="361" y="387"/>
                  <a:pt x="362" y="386"/>
                  <a:pt x="363" y="386"/>
                </a:cubicBezTo>
                <a:cubicBezTo>
                  <a:pt x="367" y="385"/>
                  <a:pt x="371" y="383"/>
                  <a:pt x="374" y="380"/>
                </a:cubicBezTo>
                <a:cubicBezTo>
                  <a:pt x="390" y="376"/>
                  <a:pt x="393" y="367"/>
                  <a:pt x="393" y="361"/>
                </a:cubicBezTo>
                <a:cubicBezTo>
                  <a:pt x="393" y="361"/>
                  <a:pt x="393" y="360"/>
                  <a:pt x="393" y="360"/>
                </a:cubicBezTo>
                <a:cubicBezTo>
                  <a:pt x="394" y="360"/>
                  <a:pt x="395" y="360"/>
                  <a:pt x="396" y="360"/>
                </a:cubicBezTo>
                <a:cubicBezTo>
                  <a:pt x="401" y="359"/>
                  <a:pt x="410" y="357"/>
                  <a:pt x="410" y="348"/>
                </a:cubicBezTo>
                <a:cubicBezTo>
                  <a:pt x="411" y="348"/>
                  <a:pt x="411" y="348"/>
                  <a:pt x="411" y="348"/>
                </a:cubicBezTo>
                <a:cubicBezTo>
                  <a:pt x="416" y="347"/>
                  <a:pt x="426" y="345"/>
                  <a:pt x="427" y="337"/>
                </a:cubicBezTo>
                <a:cubicBezTo>
                  <a:pt x="433" y="337"/>
                  <a:pt x="443" y="334"/>
                  <a:pt x="444" y="323"/>
                </a:cubicBezTo>
                <a:cubicBezTo>
                  <a:pt x="447" y="322"/>
                  <a:pt x="451" y="320"/>
                  <a:pt x="452" y="319"/>
                </a:cubicBezTo>
                <a:cubicBezTo>
                  <a:pt x="457" y="316"/>
                  <a:pt x="461" y="315"/>
                  <a:pt x="461" y="310"/>
                </a:cubicBezTo>
                <a:cubicBezTo>
                  <a:pt x="467" y="309"/>
                  <a:pt x="478" y="307"/>
                  <a:pt x="478" y="296"/>
                </a:cubicBezTo>
                <a:cubicBezTo>
                  <a:pt x="478" y="296"/>
                  <a:pt x="478" y="295"/>
                  <a:pt x="478" y="295"/>
                </a:cubicBezTo>
                <a:cubicBezTo>
                  <a:pt x="480" y="294"/>
                  <a:pt x="481" y="294"/>
                  <a:pt x="482" y="294"/>
                </a:cubicBezTo>
                <a:cubicBezTo>
                  <a:pt x="486" y="293"/>
                  <a:pt x="492" y="292"/>
                  <a:pt x="494" y="287"/>
                </a:cubicBezTo>
                <a:cubicBezTo>
                  <a:pt x="501" y="285"/>
                  <a:pt x="511" y="282"/>
                  <a:pt x="511" y="271"/>
                </a:cubicBezTo>
                <a:cubicBezTo>
                  <a:pt x="512" y="271"/>
                  <a:pt x="512" y="270"/>
                  <a:pt x="513" y="270"/>
                </a:cubicBezTo>
                <a:cubicBezTo>
                  <a:pt x="518" y="269"/>
                  <a:pt x="528" y="267"/>
                  <a:pt x="528" y="258"/>
                </a:cubicBezTo>
                <a:cubicBezTo>
                  <a:pt x="528" y="258"/>
                  <a:pt x="529" y="258"/>
                  <a:pt x="530" y="258"/>
                </a:cubicBezTo>
                <a:cubicBezTo>
                  <a:pt x="535" y="257"/>
                  <a:pt x="544" y="254"/>
                  <a:pt x="545" y="246"/>
                </a:cubicBezTo>
                <a:cubicBezTo>
                  <a:pt x="547" y="245"/>
                  <a:pt x="551" y="243"/>
                  <a:pt x="555" y="241"/>
                </a:cubicBezTo>
                <a:cubicBezTo>
                  <a:pt x="556" y="241"/>
                  <a:pt x="558" y="240"/>
                  <a:pt x="559" y="238"/>
                </a:cubicBezTo>
                <a:cubicBezTo>
                  <a:pt x="567" y="236"/>
                  <a:pt x="576" y="232"/>
                  <a:pt x="578" y="223"/>
                </a:cubicBezTo>
                <a:cubicBezTo>
                  <a:pt x="586" y="220"/>
                  <a:pt x="595" y="216"/>
                  <a:pt x="595" y="207"/>
                </a:cubicBezTo>
                <a:cubicBezTo>
                  <a:pt x="595" y="204"/>
                  <a:pt x="594" y="201"/>
                  <a:pt x="592" y="199"/>
                </a:cubicBezTo>
                <a:close/>
              </a:path>
            </a:pathLst>
          </a:custGeom>
          <a:solidFill>
            <a:srgbClr val="00B0F0"/>
          </a:solidFill>
          <a:ln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28" name="Freeform 16"/>
          <p:cNvSpPr>
            <a:spLocks noChangeAspect="1"/>
          </p:cNvSpPr>
          <p:nvPr/>
        </p:nvSpPr>
        <p:spPr bwMode="auto">
          <a:xfrm rot="16200000" flipH="1" flipV="1">
            <a:off x="6575227" y="2950964"/>
            <a:ext cx="708422" cy="485775"/>
          </a:xfrm>
          <a:custGeom>
            <a:avLst/>
            <a:gdLst>
              <a:gd name="T0" fmla="*/ 578 w 595"/>
              <a:gd name="T1" fmla="*/ 192 h 408"/>
              <a:gd name="T2" fmla="*/ 570 w 595"/>
              <a:gd name="T3" fmla="*/ 185 h 408"/>
              <a:gd name="T4" fmla="*/ 558 w 595"/>
              <a:gd name="T5" fmla="*/ 173 h 408"/>
              <a:gd name="T6" fmla="*/ 544 w 595"/>
              <a:gd name="T7" fmla="*/ 164 h 408"/>
              <a:gd name="T8" fmla="*/ 533 w 595"/>
              <a:gd name="T9" fmla="*/ 159 h 408"/>
              <a:gd name="T10" fmla="*/ 519 w 595"/>
              <a:gd name="T11" fmla="*/ 146 h 408"/>
              <a:gd name="T12" fmla="*/ 508 w 595"/>
              <a:gd name="T13" fmla="*/ 136 h 408"/>
              <a:gd name="T14" fmla="*/ 492 w 595"/>
              <a:gd name="T15" fmla="*/ 124 h 408"/>
              <a:gd name="T16" fmla="*/ 475 w 595"/>
              <a:gd name="T17" fmla="*/ 111 h 408"/>
              <a:gd name="T18" fmla="*/ 461 w 595"/>
              <a:gd name="T19" fmla="*/ 103 h 408"/>
              <a:gd name="T20" fmla="*/ 450 w 595"/>
              <a:gd name="T21" fmla="*/ 95 h 408"/>
              <a:gd name="T22" fmla="*/ 437 w 595"/>
              <a:gd name="T23" fmla="*/ 83 h 408"/>
              <a:gd name="T24" fmla="*/ 425 w 595"/>
              <a:gd name="T25" fmla="*/ 72 h 408"/>
              <a:gd name="T26" fmla="*/ 411 w 595"/>
              <a:gd name="T27" fmla="*/ 65 h 408"/>
              <a:gd name="T28" fmla="*/ 396 w 595"/>
              <a:gd name="T29" fmla="*/ 54 h 408"/>
              <a:gd name="T30" fmla="*/ 382 w 595"/>
              <a:gd name="T31" fmla="*/ 43 h 408"/>
              <a:gd name="T32" fmla="*/ 373 w 595"/>
              <a:gd name="T33" fmla="*/ 33 h 408"/>
              <a:gd name="T34" fmla="*/ 361 w 595"/>
              <a:gd name="T35" fmla="*/ 27 h 408"/>
              <a:gd name="T36" fmla="*/ 346 w 595"/>
              <a:gd name="T37" fmla="*/ 15 h 408"/>
              <a:gd name="T38" fmla="*/ 336 w 595"/>
              <a:gd name="T39" fmla="*/ 7 h 408"/>
              <a:gd name="T40" fmla="*/ 322 w 595"/>
              <a:gd name="T41" fmla="*/ 1 h 408"/>
              <a:gd name="T42" fmla="*/ 313 w 595"/>
              <a:gd name="T43" fmla="*/ 22 h 408"/>
              <a:gd name="T44" fmla="*/ 314 w 595"/>
              <a:gd name="T45" fmla="*/ 39 h 408"/>
              <a:gd name="T46" fmla="*/ 313 w 595"/>
              <a:gd name="T47" fmla="*/ 60 h 408"/>
              <a:gd name="T48" fmla="*/ 314 w 595"/>
              <a:gd name="T49" fmla="*/ 78 h 408"/>
              <a:gd name="T50" fmla="*/ 313 w 595"/>
              <a:gd name="T51" fmla="*/ 98 h 408"/>
              <a:gd name="T52" fmla="*/ 168 w 595"/>
              <a:gd name="T53" fmla="*/ 95 h 408"/>
              <a:gd name="T54" fmla="*/ 5 w 595"/>
              <a:gd name="T55" fmla="*/ 118 h 408"/>
              <a:gd name="T56" fmla="*/ 16 w 595"/>
              <a:gd name="T57" fmla="*/ 131 h 408"/>
              <a:gd name="T58" fmla="*/ 24 w 595"/>
              <a:gd name="T59" fmla="*/ 140 h 408"/>
              <a:gd name="T60" fmla="*/ 34 w 595"/>
              <a:gd name="T61" fmla="*/ 150 h 408"/>
              <a:gd name="T62" fmla="*/ 42 w 595"/>
              <a:gd name="T63" fmla="*/ 158 h 408"/>
              <a:gd name="T64" fmla="*/ 50 w 595"/>
              <a:gd name="T65" fmla="*/ 170 h 408"/>
              <a:gd name="T66" fmla="*/ 62 w 595"/>
              <a:gd name="T67" fmla="*/ 184 h 408"/>
              <a:gd name="T68" fmla="*/ 69 w 595"/>
              <a:gd name="T69" fmla="*/ 188 h 408"/>
              <a:gd name="T70" fmla="*/ 81 w 595"/>
              <a:gd name="T71" fmla="*/ 206 h 408"/>
              <a:gd name="T72" fmla="*/ 57 w 595"/>
              <a:gd name="T73" fmla="*/ 236 h 408"/>
              <a:gd name="T74" fmla="*/ 22 w 595"/>
              <a:gd name="T75" fmla="*/ 278 h 408"/>
              <a:gd name="T76" fmla="*/ 0 w 595"/>
              <a:gd name="T77" fmla="*/ 305 h 408"/>
              <a:gd name="T78" fmla="*/ 14 w 595"/>
              <a:gd name="T79" fmla="*/ 327 h 408"/>
              <a:gd name="T80" fmla="*/ 312 w 595"/>
              <a:gd name="T81" fmla="*/ 317 h 408"/>
              <a:gd name="T82" fmla="*/ 314 w 595"/>
              <a:gd name="T83" fmla="*/ 335 h 408"/>
              <a:gd name="T84" fmla="*/ 314 w 595"/>
              <a:gd name="T85" fmla="*/ 349 h 408"/>
              <a:gd name="T86" fmla="*/ 313 w 595"/>
              <a:gd name="T87" fmla="*/ 366 h 408"/>
              <a:gd name="T88" fmla="*/ 313 w 595"/>
              <a:gd name="T89" fmla="*/ 382 h 408"/>
              <a:gd name="T90" fmla="*/ 316 w 595"/>
              <a:gd name="T91" fmla="*/ 402 h 408"/>
              <a:gd name="T92" fmla="*/ 325 w 595"/>
              <a:gd name="T93" fmla="*/ 406 h 408"/>
              <a:gd name="T94" fmla="*/ 343 w 595"/>
              <a:gd name="T95" fmla="*/ 403 h 408"/>
              <a:gd name="T96" fmla="*/ 374 w 595"/>
              <a:gd name="T97" fmla="*/ 380 h 408"/>
              <a:gd name="T98" fmla="*/ 396 w 595"/>
              <a:gd name="T99" fmla="*/ 360 h 408"/>
              <a:gd name="T100" fmla="*/ 427 w 595"/>
              <a:gd name="T101" fmla="*/ 337 h 408"/>
              <a:gd name="T102" fmla="*/ 461 w 595"/>
              <a:gd name="T103" fmla="*/ 310 h 408"/>
              <a:gd name="T104" fmla="*/ 482 w 595"/>
              <a:gd name="T105" fmla="*/ 294 h 408"/>
              <a:gd name="T106" fmla="*/ 513 w 595"/>
              <a:gd name="T107" fmla="*/ 270 h 408"/>
              <a:gd name="T108" fmla="*/ 545 w 595"/>
              <a:gd name="T109" fmla="*/ 246 h 408"/>
              <a:gd name="T110" fmla="*/ 578 w 595"/>
              <a:gd name="T111" fmla="*/ 223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95" h="408">
                <a:moveTo>
                  <a:pt x="592" y="199"/>
                </a:moveTo>
                <a:cubicBezTo>
                  <a:pt x="590" y="198"/>
                  <a:pt x="588" y="198"/>
                  <a:pt x="587" y="197"/>
                </a:cubicBezTo>
                <a:cubicBezTo>
                  <a:pt x="584" y="194"/>
                  <a:pt x="580" y="193"/>
                  <a:pt x="578" y="192"/>
                </a:cubicBezTo>
                <a:cubicBezTo>
                  <a:pt x="578" y="192"/>
                  <a:pt x="578" y="191"/>
                  <a:pt x="578" y="191"/>
                </a:cubicBezTo>
                <a:cubicBezTo>
                  <a:pt x="577" y="189"/>
                  <a:pt x="576" y="188"/>
                  <a:pt x="574" y="186"/>
                </a:cubicBezTo>
                <a:cubicBezTo>
                  <a:pt x="573" y="185"/>
                  <a:pt x="571" y="185"/>
                  <a:pt x="570" y="185"/>
                </a:cubicBezTo>
                <a:cubicBezTo>
                  <a:pt x="567" y="182"/>
                  <a:pt x="564" y="180"/>
                  <a:pt x="562" y="179"/>
                </a:cubicBezTo>
                <a:cubicBezTo>
                  <a:pt x="562" y="179"/>
                  <a:pt x="562" y="179"/>
                  <a:pt x="562" y="179"/>
                </a:cubicBezTo>
                <a:cubicBezTo>
                  <a:pt x="561" y="177"/>
                  <a:pt x="560" y="175"/>
                  <a:pt x="558" y="173"/>
                </a:cubicBezTo>
                <a:cubicBezTo>
                  <a:pt x="556" y="173"/>
                  <a:pt x="555" y="172"/>
                  <a:pt x="553" y="172"/>
                </a:cubicBezTo>
                <a:cubicBezTo>
                  <a:pt x="551" y="168"/>
                  <a:pt x="547" y="166"/>
                  <a:pt x="544" y="164"/>
                </a:cubicBezTo>
                <a:cubicBezTo>
                  <a:pt x="544" y="164"/>
                  <a:pt x="544" y="164"/>
                  <a:pt x="544" y="164"/>
                </a:cubicBezTo>
                <a:cubicBezTo>
                  <a:pt x="543" y="163"/>
                  <a:pt x="542" y="162"/>
                  <a:pt x="541" y="161"/>
                </a:cubicBezTo>
                <a:cubicBezTo>
                  <a:pt x="539" y="159"/>
                  <a:pt x="536" y="159"/>
                  <a:pt x="534" y="159"/>
                </a:cubicBezTo>
                <a:cubicBezTo>
                  <a:pt x="533" y="159"/>
                  <a:pt x="533" y="159"/>
                  <a:pt x="533" y="159"/>
                </a:cubicBezTo>
                <a:cubicBezTo>
                  <a:pt x="532" y="158"/>
                  <a:pt x="529" y="156"/>
                  <a:pt x="529" y="156"/>
                </a:cubicBezTo>
                <a:cubicBezTo>
                  <a:pt x="528" y="153"/>
                  <a:pt x="527" y="150"/>
                  <a:pt x="525" y="148"/>
                </a:cubicBezTo>
                <a:cubicBezTo>
                  <a:pt x="523" y="147"/>
                  <a:pt x="521" y="146"/>
                  <a:pt x="519" y="146"/>
                </a:cubicBezTo>
                <a:cubicBezTo>
                  <a:pt x="517" y="144"/>
                  <a:pt x="515" y="142"/>
                  <a:pt x="512" y="139"/>
                </a:cubicBezTo>
                <a:cubicBezTo>
                  <a:pt x="512" y="139"/>
                  <a:pt x="511" y="139"/>
                  <a:pt x="511" y="139"/>
                </a:cubicBezTo>
                <a:cubicBezTo>
                  <a:pt x="510" y="138"/>
                  <a:pt x="509" y="137"/>
                  <a:pt x="508" y="136"/>
                </a:cubicBezTo>
                <a:cubicBezTo>
                  <a:pt x="507" y="135"/>
                  <a:pt x="505" y="134"/>
                  <a:pt x="504" y="134"/>
                </a:cubicBezTo>
                <a:cubicBezTo>
                  <a:pt x="501" y="131"/>
                  <a:pt x="497" y="128"/>
                  <a:pt x="493" y="125"/>
                </a:cubicBezTo>
                <a:cubicBezTo>
                  <a:pt x="493" y="124"/>
                  <a:pt x="493" y="124"/>
                  <a:pt x="492" y="124"/>
                </a:cubicBezTo>
                <a:cubicBezTo>
                  <a:pt x="490" y="122"/>
                  <a:pt x="489" y="122"/>
                  <a:pt x="487" y="121"/>
                </a:cubicBezTo>
                <a:cubicBezTo>
                  <a:pt x="484" y="118"/>
                  <a:pt x="480" y="114"/>
                  <a:pt x="476" y="112"/>
                </a:cubicBezTo>
                <a:cubicBezTo>
                  <a:pt x="476" y="111"/>
                  <a:pt x="476" y="111"/>
                  <a:pt x="475" y="111"/>
                </a:cubicBezTo>
                <a:cubicBezTo>
                  <a:pt x="473" y="109"/>
                  <a:pt x="471" y="109"/>
                  <a:pt x="469" y="109"/>
                </a:cubicBezTo>
                <a:cubicBezTo>
                  <a:pt x="468" y="109"/>
                  <a:pt x="467" y="108"/>
                  <a:pt x="466" y="107"/>
                </a:cubicBezTo>
                <a:cubicBezTo>
                  <a:pt x="465" y="106"/>
                  <a:pt x="462" y="104"/>
                  <a:pt x="461" y="103"/>
                </a:cubicBezTo>
                <a:cubicBezTo>
                  <a:pt x="461" y="101"/>
                  <a:pt x="460" y="99"/>
                  <a:pt x="458" y="98"/>
                </a:cubicBezTo>
                <a:cubicBezTo>
                  <a:pt x="456" y="96"/>
                  <a:pt x="453" y="96"/>
                  <a:pt x="452" y="96"/>
                </a:cubicBezTo>
                <a:cubicBezTo>
                  <a:pt x="451" y="96"/>
                  <a:pt x="450" y="95"/>
                  <a:pt x="450" y="95"/>
                </a:cubicBezTo>
                <a:cubicBezTo>
                  <a:pt x="448" y="94"/>
                  <a:pt x="446" y="92"/>
                  <a:pt x="445" y="90"/>
                </a:cubicBezTo>
                <a:cubicBezTo>
                  <a:pt x="444" y="88"/>
                  <a:pt x="443" y="87"/>
                  <a:pt x="442" y="85"/>
                </a:cubicBezTo>
                <a:cubicBezTo>
                  <a:pt x="440" y="84"/>
                  <a:pt x="438" y="83"/>
                  <a:pt x="437" y="83"/>
                </a:cubicBezTo>
                <a:cubicBezTo>
                  <a:pt x="434" y="80"/>
                  <a:pt x="431" y="78"/>
                  <a:pt x="429" y="76"/>
                </a:cubicBezTo>
                <a:cubicBezTo>
                  <a:pt x="428" y="76"/>
                  <a:pt x="428" y="76"/>
                  <a:pt x="427" y="76"/>
                </a:cubicBezTo>
                <a:cubicBezTo>
                  <a:pt x="427" y="74"/>
                  <a:pt x="426" y="73"/>
                  <a:pt x="425" y="72"/>
                </a:cubicBezTo>
                <a:cubicBezTo>
                  <a:pt x="423" y="71"/>
                  <a:pt x="420" y="70"/>
                  <a:pt x="418" y="70"/>
                </a:cubicBezTo>
                <a:cubicBezTo>
                  <a:pt x="417" y="69"/>
                  <a:pt x="416" y="68"/>
                  <a:pt x="414" y="67"/>
                </a:cubicBezTo>
                <a:cubicBezTo>
                  <a:pt x="413" y="67"/>
                  <a:pt x="412" y="65"/>
                  <a:pt x="411" y="65"/>
                </a:cubicBezTo>
                <a:cubicBezTo>
                  <a:pt x="410" y="62"/>
                  <a:pt x="409" y="60"/>
                  <a:pt x="407" y="58"/>
                </a:cubicBezTo>
                <a:cubicBezTo>
                  <a:pt x="405" y="57"/>
                  <a:pt x="403" y="57"/>
                  <a:pt x="401" y="57"/>
                </a:cubicBezTo>
                <a:cubicBezTo>
                  <a:pt x="399" y="55"/>
                  <a:pt x="398" y="54"/>
                  <a:pt x="396" y="54"/>
                </a:cubicBezTo>
                <a:cubicBezTo>
                  <a:pt x="396" y="53"/>
                  <a:pt x="394" y="53"/>
                  <a:pt x="394" y="52"/>
                </a:cubicBezTo>
                <a:cubicBezTo>
                  <a:pt x="393" y="49"/>
                  <a:pt x="392" y="47"/>
                  <a:pt x="390" y="45"/>
                </a:cubicBezTo>
                <a:cubicBezTo>
                  <a:pt x="387" y="43"/>
                  <a:pt x="384" y="43"/>
                  <a:pt x="382" y="43"/>
                </a:cubicBezTo>
                <a:cubicBezTo>
                  <a:pt x="382" y="43"/>
                  <a:pt x="382" y="43"/>
                  <a:pt x="382" y="43"/>
                </a:cubicBezTo>
                <a:cubicBezTo>
                  <a:pt x="381" y="43"/>
                  <a:pt x="378" y="41"/>
                  <a:pt x="377" y="40"/>
                </a:cubicBezTo>
                <a:cubicBezTo>
                  <a:pt x="377" y="37"/>
                  <a:pt x="376" y="34"/>
                  <a:pt x="373" y="33"/>
                </a:cubicBezTo>
                <a:cubicBezTo>
                  <a:pt x="371" y="31"/>
                  <a:pt x="369" y="31"/>
                  <a:pt x="367" y="31"/>
                </a:cubicBezTo>
                <a:cubicBezTo>
                  <a:pt x="366" y="30"/>
                  <a:pt x="365" y="30"/>
                  <a:pt x="364" y="29"/>
                </a:cubicBezTo>
                <a:cubicBezTo>
                  <a:pt x="363" y="29"/>
                  <a:pt x="362" y="28"/>
                  <a:pt x="361" y="27"/>
                </a:cubicBezTo>
                <a:cubicBezTo>
                  <a:pt x="361" y="25"/>
                  <a:pt x="359" y="23"/>
                  <a:pt x="357" y="21"/>
                </a:cubicBezTo>
                <a:cubicBezTo>
                  <a:pt x="356" y="20"/>
                  <a:pt x="354" y="19"/>
                  <a:pt x="353" y="19"/>
                </a:cubicBezTo>
                <a:cubicBezTo>
                  <a:pt x="351" y="17"/>
                  <a:pt x="348" y="16"/>
                  <a:pt x="346" y="15"/>
                </a:cubicBezTo>
                <a:cubicBezTo>
                  <a:pt x="346" y="14"/>
                  <a:pt x="345" y="14"/>
                  <a:pt x="344" y="13"/>
                </a:cubicBezTo>
                <a:cubicBezTo>
                  <a:pt x="344" y="12"/>
                  <a:pt x="343" y="10"/>
                  <a:pt x="341" y="9"/>
                </a:cubicBezTo>
                <a:cubicBezTo>
                  <a:pt x="340" y="7"/>
                  <a:pt x="338" y="7"/>
                  <a:pt x="336" y="7"/>
                </a:cubicBezTo>
                <a:cubicBezTo>
                  <a:pt x="336" y="5"/>
                  <a:pt x="335" y="4"/>
                  <a:pt x="333" y="3"/>
                </a:cubicBezTo>
                <a:cubicBezTo>
                  <a:pt x="330" y="0"/>
                  <a:pt x="326" y="0"/>
                  <a:pt x="324" y="1"/>
                </a:cubicBezTo>
                <a:cubicBezTo>
                  <a:pt x="323" y="1"/>
                  <a:pt x="322" y="1"/>
                  <a:pt x="322" y="1"/>
                </a:cubicBezTo>
                <a:cubicBezTo>
                  <a:pt x="317" y="1"/>
                  <a:pt x="313" y="5"/>
                  <a:pt x="313" y="10"/>
                </a:cubicBezTo>
                <a:cubicBezTo>
                  <a:pt x="313" y="12"/>
                  <a:pt x="313" y="13"/>
                  <a:pt x="314" y="15"/>
                </a:cubicBezTo>
                <a:cubicBezTo>
                  <a:pt x="313" y="17"/>
                  <a:pt x="313" y="20"/>
                  <a:pt x="313" y="22"/>
                </a:cubicBezTo>
                <a:cubicBezTo>
                  <a:pt x="313" y="24"/>
                  <a:pt x="313" y="26"/>
                  <a:pt x="314" y="27"/>
                </a:cubicBezTo>
                <a:cubicBezTo>
                  <a:pt x="313" y="29"/>
                  <a:pt x="313" y="32"/>
                  <a:pt x="313" y="35"/>
                </a:cubicBezTo>
                <a:cubicBezTo>
                  <a:pt x="313" y="36"/>
                  <a:pt x="313" y="38"/>
                  <a:pt x="314" y="39"/>
                </a:cubicBezTo>
                <a:cubicBezTo>
                  <a:pt x="313" y="42"/>
                  <a:pt x="313" y="45"/>
                  <a:pt x="313" y="48"/>
                </a:cubicBezTo>
                <a:cubicBezTo>
                  <a:pt x="313" y="50"/>
                  <a:pt x="313" y="51"/>
                  <a:pt x="314" y="53"/>
                </a:cubicBezTo>
                <a:cubicBezTo>
                  <a:pt x="313" y="55"/>
                  <a:pt x="313" y="57"/>
                  <a:pt x="313" y="60"/>
                </a:cubicBezTo>
                <a:cubicBezTo>
                  <a:pt x="313" y="62"/>
                  <a:pt x="313" y="64"/>
                  <a:pt x="314" y="65"/>
                </a:cubicBezTo>
                <a:cubicBezTo>
                  <a:pt x="313" y="68"/>
                  <a:pt x="313" y="70"/>
                  <a:pt x="313" y="73"/>
                </a:cubicBezTo>
                <a:cubicBezTo>
                  <a:pt x="313" y="75"/>
                  <a:pt x="313" y="76"/>
                  <a:pt x="314" y="78"/>
                </a:cubicBezTo>
                <a:cubicBezTo>
                  <a:pt x="313" y="80"/>
                  <a:pt x="313" y="82"/>
                  <a:pt x="313" y="85"/>
                </a:cubicBezTo>
                <a:cubicBezTo>
                  <a:pt x="313" y="87"/>
                  <a:pt x="313" y="89"/>
                  <a:pt x="314" y="90"/>
                </a:cubicBezTo>
                <a:cubicBezTo>
                  <a:pt x="313" y="92"/>
                  <a:pt x="313" y="95"/>
                  <a:pt x="313" y="98"/>
                </a:cubicBezTo>
                <a:cubicBezTo>
                  <a:pt x="313" y="98"/>
                  <a:pt x="313" y="99"/>
                  <a:pt x="313" y="99"/>
                </a:cubicBezTo>
                <a:cubicBezTo>
                  <a:pt x="308" y="101"/>
                  <a:pt x="297" y="104"/>
                  <a:pt x="268" y="103"/>
                </a:cubicBezTo>
                <a:cubicBezTo>
                  <a:pt x="240" y="102"/>
                  <a:pt x="204" y="99"/>
                  <a:pt x="168" y="95"/>
                </a:cubicBezTo>
                <a:cubicBezTo>
                  <a:pt x="80" y="86"/>
                  <a:pt x="24" y="82"/>
                  <a:pt x="7" y="98"/>
                </a:cubicBezTo>
                <a:cubicBezTo>
                  <a:pt x="3" y="101"/>
                  <a:pt x="1" y="106"/>
                  <a:pt x="1" y="111"/>
                </a:cubicBezTo>
                <a:cubicBezTo>
                  <a:pt x="1" y="114"/>
                  <a:pt x="3" y="117"/>
                  <a:pt x="5" y="118"/>
                </a:cubicBezTo>
                <a:cubicBezTo>
                  <a:pt x="6" y="119"/>
                  <a:pt x="8" y="120"/>
                  <a:pt x="10" y="120"/>
                </a:cubicBezTo>
                <a:cubicBezTo>
                  <a:pt x="12" y="122"/>
                  <a:pt x="12" y="123"/>
                  <a:pt x="12" y="124"/>
                </a:cubicBezTo>
                <a:cubicBezTo>
                  <a:pt x="12" y="127"/>
                  <a:pt x="14" y="130"/>
                  <a:pt x="16" y="131"/>
                </a:cubicBezTo>
                <a:cubicBezTo>
                  <a:pt x="17" y="132"/>
                  <a:pt x="18" y="132"/>
                  <a:pt x="19" y="133"/>
                </a:cubicBezTo>
                <a:cubicBezTo>
                  <a:pt x="20" y="135"/>
                  <a:pt x="22" y="137"/>
                  <a:pt x="23" y="139"/>
                </a:cubicBezTo>
                <a:cubicBezTo>
                  <a:pt x="24" y="139"/>
                  <a:pt x="24" y="140"/>
                  <a:pt x="24" y="140"/>
                </a:cubicBezTo>
                <a:cubicBezTo>
                  <a:pt x="25" y="142"/>
                  <a:pt x="26" y="143"/>
                  <a:pt x="27" y="144"/>
                </a:cubicBezTo>
                <a:cubicBezTo>
                  <a:pt x="28" y="145"/>
                  <a:pt x="30" y="145"/>
                  <a:pt x="31" y="146"/>
                </a:cubicBezTo>
                <a:cubicBezTo>
                  <a:pt x="31" y="147"/>
                  <a:pt x="32" y="149"/>
                  <a:pt x="34" y="150"/>
                </a:cubicBezTo>
                <a:cubicBezTo>
                  <a:pt x="34" y="151"/>
                  <a:pt x="35" y="152"/>
                  <a:pt x="35" y="152"/>
                </a:cubicBezTo>
                <a:cubicBezTo>
                  <a:pt x="36" y="154"/>
                  <a:pt x="36" y="155"/>
                  <a:pt x="38" y="156"/>
                </a:cubicBezTo>
                <a:cubicBezTo>
                  <a:pt x="39" y="157"/>
                  <a:pt x="41" y="158"/>
                  <a:pt x="42" y="158"/>
                </a:cubicBezTo>
                <a:cubicBezTo>
                  <a:pt x="42" y="159"/>
                  <a:pt x="43" y="159"/>
                  <a:pt x="43" y="159"/>
                </a:cubicBezTo>
                <a:cubicBezTo>
                  <a:pt x="44" y="161"/>
                  <a:pt x="46" y="163"/>
                  <a:pt x="46" y="164"/>
                </a:cubicBezTo>
                <a:cubicBezTo>
                  <a:pt x="47" y="167"/>
                  <a:pt x="48" y="169"/>
                  <a:pt x="50" y="170"/>
                </a:cubicBezTo>
                <a:cubicBezTo>
                  <a:pt x="52" y="171"/>
                  <a:pt x="54" y="172"/>
                  <a:pt x="55" y="172"/>
                </a:cubicBezTo>
                <a:cubicBezTo>
                  <a:pt x="57" y="174"/>
                  <a:pt x="58" y="176"/>
                  <a:pt x="58" y="176"/>
                </a:cubicBezTo>
                <a:cubicBezTo>
                  <a:pt x="58" y="179"/>
                  <a:pt x="59" y="182"/>
                  <a:pt x="62" y="184"/>
                </a:cubicBezTo>
                <a:cubicBezTo>
                  <a:pt x="64" y="185"/>
                  <a:pt x="66" y="185"/>
                  <a:pt x="67" y="185"/>
                </a:cubicBezTo>
                <a:cubicBezTo>
                  <a:pt x="67" y="185"/>
                  <a:pt x="67" y="185"/>
                  <a:pt x="67" y="185"/>
                </a:cubicBezTo>
                <a:cubicBezTo>
                  <a:pt x="68" y="186"/>
                  <a:pt x="69" y="188"/>
                  <a:pt x="69" y="188"/>
                </a:cubicBezTo>
                <a:cubicBezTo>
                  <a:pt x="69" y="191"/>
                  <a:pt x="70" y="193"/>
                  <a:pt x="72" y="195"/>
                </a:cubicBezTo>
                <a:cubicBezTo>
                  <a:pt x="73" y="196"/>
                  <a:pt x="74" y="197"/>
                  <a:pt x="75" y="197"/>
                </a:cubicBezTo>
                <a:cubicBezTo>
                  <a:pt x="76" y="201"/>
                  <a:pt x="79" y="204"/>
                  <a:pt x="81" y="206"/>
                </a:cubicBezTo>
                <a:cubicBezTo>
                  <a:pt x="80" y="208"/>
                  <a:pt x="79" y="210"/>
                  <a:pt x="79" y="212"/>
                </a:cubicBezTo>
                <a:cubicBezTo>
                  <a:pt x="68" y="221"/>
                  <a:pt x="68" y="222"/>
                  <a:pt x="68" y="226"/>
                </a:cubicBezTo>
                <a:cubicBezTo>
                  <a:pt x="63" y="228"/>
                  <a:pt x="58" y="231"/>
                  <a:pt x="57" y="236"/>
                </a:cubicBezTo>
                <a:cubicBezTo>
                  <a:pt x="50" y="241"/>
                  <a:pt x="46" y="246"/>
                  <a:pt x="45" y="250"/>
                </a:cubicBezTo>
                <a:cubicBezTo>
                  <a:pt x="40" y="253"/>
                  <a:pt x="35" y="257"/>
                  <a:pt x="34" y="262"/>
                </a:cubicBezTo>
                <a:cubicBezTo>
                  <a:pt x="23" y="270"/>
                  <a:pt x="22" y="275"/>
                  <a:pt x="22" y="278"/>
                </a:cubicBezTo>
                <a:cubicBezTo>
                  <a:pt x="20" y="280"/>
                  <a:pt x="17" y="282"/>
                  <a:pt x="14" y="285"/>
                </a:cubicBezTo>
                <a:cubicBezTo>
                  <a:pt x="13" y="286"/>
                  <a:pt x="12" y="287"/>
                  <a:pt x="11" y="289"/>
                </a:cubicBezTo>
                <a:cubicBezTo>
                  <a:pt x="0" y="298"/>
                  <a:pt x="0" y="302"/>
                  <a:pt x="0" y="305"/>
                </a:cubicBezTo>
                <a:cubicBezTo>
                  <a:pt x="0" y="307"/>
                  <a:pt x="1" y="310"/>
                  <a:pt x="3" y="312"/>
                </a:cubicBezTo>
                <a:cubicBezTo>
                  <a:pt x="4" y="312"/>
                  <a:pt x="4" y="312"/>
                  <a:pt x="4" y="313"/>
                </a:cubicBezTo>
                <a:cubicBezTo>
                  <a:pt x="6" y="318"/>
                  <a:pt x="9" y="323"/>
                  <a:pt x="14" y="327"/>
                </a:cubicBezTo>
                <a:cubicBezTo>
                  <a:pt x="36" y="345"/>
                  <a:pt x="92" y="331"/>
                  <a:pt x="157" y="316"/>
                </a:cubicBezTo>
                <a:cubicBezTo>
                  <a:pt x="217" y="301"/>
                  <a:pt x="284" y="285"/>
                  <a:pt x="306" y="301"/>
                </a:cubicBezTo>
                <a:cubicBezTo>
                  <a:pt x="309" y="304"/>
                  <a:pt x="312" y="308"/>
                  <a:pt x="312" y="317"/>
                </a:cubicBezTo>
                <a:cubicBezTo>
                  <a:pt x="312" y="319"/>
                  <a:pt x="313" y="321"/>
                  <a:pt x="314" y="322"/>
                </a:cubicBezTo>
                <a:cubicBezTo>
                  <a:pt x="313" y="325"/>
                  <a:pt x="312" y="328"/>
                  <a:pt x="312" y="330"/>
                </a:cubicBezTo>
                <a:cubicBezTo>
                  <a:pt x="312" y="332"/>
                  <a:pt x="313" y="334"/>
                  <a:pt x="314" y="335"/>
                </a:cubicBezTo>
                <a:cubicBezTo>
                  <a:pt x="313" y="337"/>
                  <a:pt x="313" y="340"/>
                  <a:pt x="313" y="343"/>
                </a:cubicBezTo>
                <a:cubicBezTo>
                  <a:pt x="313" y="345"/>
                  <a:pt x="313" y="347"/>
                  <a:pt x="314" y="348"/>
                </a:cubicBezTo>
                <a:cubicBezTo>
                  <a:pt x="314" y="349"/>
                  <a:pt x="314" y="349"/>
                  <a:pt x="314" y="349"/>
                </a:cubicBezTo>
                <a:cubicBezTo>
                  <a:pt x="313" y="353"/>
                  <a:pt x="313" y="354"/>
                  <a:pt x="313" y="356"/>
                </a:cubicBezTo>
                <a:cubicBezTo>
                  <a:pt x="313" y="358"/>
                  <a:pt x="313" y="359"/>
                  <a:pt x="314" y="361"/>
                </a:cubicBezTo>
                <a:cubicBezTo>
                  <a:pt x="314" y="363"/>
                  <a:pt x="313" y="365"/>
                  <a:pt x="313" y="366"/>
                </a:cubicBezTo>
                <a:cubicBezTo>
                  <a:pt x="312" y="369"/>
                  <a:pt x="313" y="372"/>
                  <a:pt x="314" y="374"/>
                </a:cubicBezTo>
                <a:cubicBezTo>
                  <a:pt x="314" y="375"/>
                  <a:pt x="314" y="376"/>
                  <a:pt x="314" y="377"/>
                </a:cubicBezTo>
                <a:cubicBezTo>
                  <a:pt x="313" y="379"/>
                  <a:pt x="313" y="380"/>
                  <a:pt x="313" y="382"/>
                </a:cubicBezTo>
                <a:cubicBezTo>
                  <a:pt x="313" y="383"/>
                  <a:pt x="313" y="385"/>
                  <a:pt x="314" y="386"/>
                </a:cubicBezTo>
                <a:cubicBezTo>
                  <a:pt x="313" y="389"/>
                  <a:pt x="313" y="392"/>
                  <a:pt x="313" y="395"/>
                </a:cubicBezTo>
                <a:cubicBezTo>
                  <a:pt x="313" y="397"/>
                  <a:pt x="314" y="400"/>
                  <a:pt x="316" y="402"/>
                </a:cubicBezTo>
                <a:cubicBezTo>
                  <a:pt x="318" y="403"/>
                  <a:pt x="320" y="404"/>
                  <a:pt x="322" y="404"/>
                </a:cubicBezTo>
                <a:cubicBezTo>
                  <a:pt x="323" y="404"/>
                  <a:pt x="323" y="404"/>
                  <a:pt x="323" y="404"/>
                </a:cubicBezTo>
                <a:cubicBezTo>
                  <a:pt x="324" y="405"/>
                  <a:pt x="325" y="406"/>
                  <a:pt x="325" y="406"/>
                </a:cubicBezTo>
                <a:cubicBezTo>
                  <a:pt x="327" y="407"/>
                  <a:pt x="329" y="408"/>
                  <a:pt x="331" y="408"/>
                </a:cubicBezTo>
                <a:cubicBezTo>
                  <a:pt x="332" y="408"/>
                  <a:pt x="333" y="408"/>
                  <a:pt x="334" y="407"/>
                </a:cubicBezTo>
                <a:cubicBezTo>
                  <a:pt x="338" y="408"/>
                  <a:pt x="341" y="406"/>
                  <a:pt x="343" y="403"/>
                </a:cubicBezTo>
                <a:cubicBezTo>
                  <a:pt x="350" y="401"/>
                  <a:pt x="360" y="397"/>
                  <a:pt x="360" y="387"/>
                </a:cubicBezTo>
                <a:cubicBezTo>
                  <a:pt x="361" y="387"/>
                  <a:pt x="362" y="386"/>
                  <a:pt x="363" y="386"/>
                </a:cubicBezTo>
                <a:cubicBezTo>
                  <a:pt x="367" y="385"/>
                  <a:pt x="371" y="383"/>
                  <a:pt x="374" y="380"/>
                </a:cubicBezTo>
                <a:cubicBezTo>
                  <a:pt x="390" y="376"/>
                  <a:pt x="393" y="367"/>
                  <a:pt x="393" y="361"/>
                </a:cubicBezTo>
                <a:cubicBezTo>
                  <a:pt x="393" y="361"/>
                  <a:pt x="393" y="360"/>
                  <a:pt x="393" y="360"/>
                </a:cubicBezTo>
                <a:cubicBezTo>
                  <a:pt x="394" y="360"/>
                  <a:pt x="395" y="360"/>
                  <a:pt x="396" y="360"/>
                </a:cubicBezTo>
                <a:cubicBezTo>
                  <a:pt x="401" y="359"/>
                  <a:pt x="410" y="357"/>
                  <a:pt x="410" y="348"/>
                </a:cubicBezTo>
                <a:cubicBezTo>
                  <a:pt x="411" y="348"/>
                  <a:pt x="411" y="348"/>
                  <a:pt x="411" y="348"/>
                </a:cubicBezTo>
                <a:cubicBezTo>
                  <a:pt x="416" y="347"/>
                  <a:pt x="426" y="345"/>
                  <a:pt x="427" y="337"/>
                </a:cubicBezTo>
                <a:cubicBezTo>
                  <a:pt x="433" y="337"/>
                  <a:pt x="443" y="334"/>
                  <a:pt x="444" y="323"/>
                </a:cubicBezTo>
                <a:cubicBezTo>
                  <a:pt x="447" y="322"/>
                  <a:pt x="451" y="320"/>
                  <a:pt x="452" y="319"/>
                </a:cubicBezTo>
                <a:cubicBezTo>
                  <a:pt x="457" y="316"/>
                  <a:pt x="461" y="315"/>
                  <a:pt x="461" y="310"/>
                </a:cubicBezTo>
                <a:cubicBezTo>
                  <a:pt x="467" y="309"/>
                  <a:pt x="478" y="307"/>
                  <a:pt x="478" y="296"/>
                </a:cubicBezTo>
                <a:cubicBezTo>
                  <a:pt x="478" y="296"/>
                  <a:pt x="478" y="295"/>
                  <a:pt x="478" y="295"/>
                </a:cubicBezTo>
                <a:cubicBezTo>
                  <a:pt x="480" y="294"/>
                  <a:pt x="481" y="294"/>
                  <a:pt x="482" y="294"/>
                </a:cubicBezTo>
                <a:cubicBezTo>
                  <a:pt x="486" y="293"/>
                  <a:pt x="492" y="292"/>
                  <a:pt x="494" y="287"/>
                </a:cubicBezTo>
                <a:cubicBezTo>
                  <a:pt x="501" y="285"/>
                  <a:pt x="511" y="282"/>
                  <a:pt x="511" y="271"/>
                </a:cubicBezTo>
                <a:cubicBezTo>
                  <a:pt x="512" y="271"/>
                  <a:pt x="512" y="270"/>
                  <a:pt x="513" y="270"/>
                </a:cubicBezTo>
                <a:cubicBezTo>
                  <a:pt x="518" y="269"/>
                  <a:pt x="528" y="267"/>
                  <a:pt x="528" y="258"/>
                </a:cubicBezTo>
                <a:cubicBezTo>
                  <a:pt x="528" y="258"/>
                  <a:pt x="529" y="258"/>
                  <a:pt x="530" y="258"/>
                </a:cubicBezTo>
                <a:cubicBezTo>
                  <a:pt x="535" y="257"/>
                  <a:pt x="544" y="254"/>
                  <a:pt x="545" y="246"/>
                </a:cubicBezTo>
                <a:cubicBezTo>
                  <a:pt x="547" y="245"/>
                  <a:pt x="551" y="243"/>
                  <a:pt x="555" y="241"/>
                </a:cubicBezTo>
                <a:cubicBezTo>
                  <a:pt x="556" y="241"/>
                  <a:pt x="558" y="240"/>
                  <a:pt x="559" y="238"/>
                </a:cubicBezTo>
                <a:cubicBezTo>
                  <a:pt x="567" y="236"/>
                  <a:pt x="576" y="232"/>
                  <a:pt x="578" y="223"/>
                </a:cubicBezTo>
                <a:cubicBezTo>
                  <a:pt x="586" y="220"/>
                  <a:pt x="595" y="216"/>
                  <a:pt x="595" y="207"/>
                </a:cubicBezTo>
                <a:cubicBezTo>
                  <a:pt x="595" y="204"/>
                  <a:pt x="594" y="201"/>
                  <a:pt x="592" y="199"/>
                </a:cubicBezTo>
                <a:close/>
              </a:path>
            </a:pathLst>
          </a:custGeom>
          <a:solidFill>
            <a:srgbClr val="00B0F0"/>
          </a:solidFill>
          <a:ln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12" name="Freeform 15"/>
          <p:cNvSpPr>
            <a:spLocks noChangeAspect="1"/>
          </p:cNvSpPr>
          <p:nvPr/>
        </p:nvSpPr>
        <p:spPr bwMode="auto">
          <a:xfrm>
            <a:off x="5018485" y="2396729"/>
            <a:ext cx="823913" cy="535781"/>
          </a:xfrm>
          <a:custGeom>
            <a:avLst/>
            <a:gdLst>
              <a:gd name="T0" fmla="*/ 707 w 727"/>
              <a:gd name="T1" fmla="*/ 207 h 473"/>
              <a:gd name="T2" fmla="*/ 669 w 727"/>
              <a:gd name="T3" fmla="*/ 181 h 473"/>
              <a:gd name="T4" fmla="*/ 629 w 727"/>
              <a:gd name="T5" fmla="*/ 159 h 473"/>
              <a:gd name="T6" fmla="*/ 594 w 727"/>
              <a:gd name="T7" fmla="*/ 130 h 473"/>
              <a:gd name="T8" fmla="*/ 557 w 727"/>
              <a:gd name="T9" fmla="*/ 104 h 473"/>
              <a:gd name="T10" fmla="*/ 520 w 727"/>
              <a:gd name="T11" fmla="*/ 77 h 473"/>
              <a:gd name="T12" fmla="*/ 490 w 727"/>
              <a:gd name="T13" fmla="*/ 42 h 473"/>
              <a:gd name="T14" fmla="*/ 454 w 727"/>
              <a:gd name="T15" fmla="*/ 14 h 473"/>
              <a:gd name="T16" fmla="*/ 416 w 727"/>
              <a:gd name="T17" fmla="*/ 30 h 473"/>
              <a:gd name="T18" fmla="*/ 417 w 727"/>
              <a:gd name="T19" fmla="*/ 71 h 473"/>
              <a:gd name="T20" fmla="*/ 370 w 727"/>
              <a:gd name="T21" fmla="*/ 110 h 473"/>
              <a:gd name="T22" fmla="*/ 324 w 727"/>
              <a:gd name="T23" fmla="*/ 107 h 473"/>
              <a:gd name="T24" fmla="*/ 278 w 727"/>
              <a:gd name="T25" fmla="*/ 114 h 473"/>
              <a:gd name="T26" fmla="*/ 232 w 727"/>
              <a:gd name="T27" fmla="*/ 114 h 473"/>
              <a:gd name="T28" fmla="*/ 186 w 727"/>
              <a:gd name="T29" fmla="*/ 114 h 473"/>
              <a:gd name="T30" fmla="*/ 141 w 727"/>
              <a:gd name="T31" fmla="*/ 111 h 473"/>
              <a:gd name="T32" fmla="*/ 95 w 727"/>
              <a:gd name="T33" fmla="*/ 117 h 473"/>
              <a:gd name="T34" fmla="*/ 49 w 727"/>
              <a:gd name="T35" fmla="*/ 107 h 473"/>
              <a:gd name="T36" fmla="*/ 6 w 727"/>
              <a:gd name="T37" fmla="*/ 162 h 473"/>
              <a:gd name="T38" fmla="*/ 5 w 727"/>
              <a:gd name="T39" fmla="*/ 213 h 473"/>
              <a:gd name="T40" fmla="*/ 0 w 727"/>
              <a:gd name="T41" fmla="*/ 263 h 473"/>
              <a:gd name="T42" fmla="*/ 8 w 727"/>
              <a:gd name="T43" fmla="*/ 314 h 473"/>
              <a:gd name="T44" fmla="*/ 49 w 727"/>
              <a:gd name="T45" fmla="*/ 361 h 473"/>
              <a:gd name="T46" fmla="*/ 95 w 727"/>
              <a:gd name="T47" fmla="*/ 362 h 473"/>
              <a:gd name="T48" fmla="*/ 141 w 727"/>
              <a:gd name="T49" fmla="*/ 362 h 473"/>
              <a:gd name="T50" fmla="*/ 186 w 727"/>
              <a:gd name="T51" fmla="*/ 365 h 473"/>
              <a:gd name="T52" fmla="*/ 232 w 727"/>
              <a:gd name="T53" fmla="*/ 364 h 473"/>
              <a:gd name="T54" fmla="*/ 278 w 727"/>
              <a:gd name="T55" fmla="*/ 361 h 473"/>
              <a:gd name="T56" fmla="*/ 324 w 727"/>
              <a:gd name="T57" fmla="*/ 365 h 473"/>
              <a:gd name="T58" fmla="*/ 370 w 727"/>
              <a:gd name="T59" fmla="*/ 361 h 473"/>
              <a:gd name="T60" fmla="*/ 411 w 727"/>
              <a:gd name="T61" fmla="*/ 405 h 473"/>
              <a:gd name="T62" fmla="*/ 416 w 727"/>
              <a:gd name="T63" fmla="*/ 446 h 473"/>
              <a:gd name="T64" fmla="*/ 452 w 727"/>
              <a:gd name="T65" fmla="*/ 459 h 473"/>
              <a:gd name="T66" fmla="*/ 487 w 727"/>
              <a:gd name="T67" fmla="*/ 431 h 473"/>
              <a:gd name="T68" fmla="*/ 524 w 727"/>
              <a:gd name="T69" fmla="*/ 404 h 473"/>
              <a:gd name="T70" fmla="*/ 557 w 727"/>
              <a:gd name="T71" fmla="*/ 373 h 473"/>
              <a:gd name="T72" fmla="*/ 594 w 727"/>
              <a:gd name="T73" fmla="*/ 345 h 473"/>
              <a:gd name="T74" fmla="*/ 632 w 727"/>
              <a:gd name="T75" fmla="*/ 321 h 473"/>
              <a:gd name="T76" fmla="*/ 668 w 727"/>
              <a:gd name="T77" fmla="*/ 292 h 473"/>
              <a:gd name="T78" fmla="*/ 704 w 727"/>
              <a:gd name="T79" fmla="*/ 265 h 473"/>
              <a:gd name="T80" fmla="*/ 707 w 727"/>
              <a:gd name="T81" fmla="*/ 207 h 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727" h="473">
                <a:moveTo>
                  <a:pt x="707" y="207"/>
                </a:moveTo>
                <a:cubicBezTo>
                  <a:pt x="689" y="194"/>
                  <a:pt x="688" y="195"/>
                  <a:pt x="669" y="181"/>
                </a:cubicBezTo>
                <a:cubicBezTo>
                  <a:pt x="651" y="168"/>
                  <a:pt x="647" y="173"/>
                  <a:pt x="629" y="159"/>
                </a:cubicBezTo>
                <a:cubicBezTo>
                  <a:pt x="611" y="145"/>
                  <a:pt x="612" y="144"/>
                  <a:pt x="594" y="130"/>
                </a:cubicBezTo>
                <a:cubicBezTo>
                  <a:pt x="576" y="116"/>
                  <a:pt x="575" y="118"/>
                  <a:pt x="557" y="104"/>
                </a:cubicBezTo>
                <a:cubicBezTo>
                  <a:pt x="539" y="91"/>
                  <a:pt x="539" y="91"/>
                  <a:pt x="520" y="77"/>
                </a:cubicBezTo>
                <a:cubicBezTo>
                  <a:pt x="502" y="63"/>
                  <a:pt x="508" y="55"/>
                  <a:pt x="490" y="42"/>
                </a:cubicBezTo>
                <a:cubicBezTo>
                  <a:pt x="472" y="28"/>
                  <a:pt x="472" y="28"/>
                  <a:pt x="454" y="14"/>
                </a:cubicBezTo>
                <a:cubicBezTo>
                  <a:pt x="436" y="0"/>
                  <a:pt x="416" y="10"/>
                  <a:pt x="416" y="30"/>
                </a:cubicBezTo>
                <a:cubicBezTo>
                  <a:pt x="416" y="51"/>
                  <a:pt x="417" y="51"/>
                  <a:pt x="417" y="71"/>
                </a:cubicBezTo>
                <a:cubicBezTo>
                  <a:pt x="417" y="92"/>
                  <a:pt x="392" y="110"/>
                  <a:pt x="370" y="110"/>
                </a:cubicBezTo>
                <a:cubicBezTo>
                  <a:pt x="347" y="110"/>
                  <a:pt x="347" y="107"/>
                  <a:pt x="324" y="107"/>
                </a:cubicBezTo>
                <a:cubicBezTo>
                  <a:pt x="301" y="107"/>
                  <a:pt x="301" y="114"/>
                  <a:pt x="278" y="114"/>
                </a:cubicBezTo>
                <a:cubicBezTo>
                  <a:pt x="255" y="114"/>
                  <a:pt x="255" y="114"/>
                  <a:pt x="232" y="114"/>
                </a:cubicBezTo>
                <a:cubicBezTo>
                  <a:pt x="209" y="114"/>
                  <a:pt x="209" y="114"/>
                  <a:pt x="186" y="114"/>
                </a:cubicBezTo>
                <a:cubicBezTo>
                  <a:pt x="164" y="114"/>
                  <a:pt x="164" y="111"/>
                  <a:pt x="141" y="111"/>
                </a:cubicBezTo>
                <a:cubicBezTo>
                  <a:pt x="118" y="111"/>
                  <a:pt x="118" y="117"/>
                  <a:pt x="95" y="117"/>
                </a:cubicBezTo>
                <a:cubicBezTo>
                  <a:pt x="72" y="117"/>
                  <a:pt x="72" y="107"/>
                  <a:pt x="49" y="107"/>
                </a:cubicBezTo>
                <a:cubicBezTo>
                  <a:pt x="26" y="107"/>
                  <a:pt x="6" y="137"/>
                  <a:pt x="6" y="162"/>
                </a:cubicBezTo>
                <a:cubicBezTo>
                  <a:pt x="6" y="188"/>
                  <a:pt x="5" y="188"/>
                  <a:pt x="5" y="213"/>
                </a:cubicBezTo>
                <a:cubicBezTo>
                  <a:pt x="5" y="238"/>
                  <a:pt x="0" y="238"/>
                  <a:pt x="0" y="263"/>
                </a:cubicBezTo>
                <a:cubicBezTo>
                  <a:pt x="0" y="288"/>
                  <a:pt x="8" y="288"/>
                  <a:pt x="8" y="314"/>
                </a:cubicBezTo>
                <a:cubicBezTo>
                  <a:pt x="8" y="339"/>
                  <a:pt x="26" y="361"/>
                  <a:pt x="49" y="361"/>
                </a:cubicBezTo>
                <a:cubicBezTo>
                  <a:pt x="72" y="361"/>
                  <a:pt x="72" y="362"/>
                  <a:pt x="95" y="362"/>
                </a:cubicBezTo>
                <a:cubicBezTo>
                  <a:pt x="118" y="362"/>
                  <a:pt x="118" y="362"/>
                  <a:pt x="141" y="362"/>
                </a:cubicBezTo>
                <a:cubicBezTo>
                  <a:pt x="164" y="362"/>
                  <a:pt x="164" y="365"/>
                  <a:pt x="186" y="365"/>
                </a:cubicBezTo>
                <a:cubicBezTo>
                  <a:pt x="209" y="365"/>
                  <a:pt x="209" y="364"/>
                  <a:pt x="232" y="364"/>
                </a:cubicBezTo>
                <a:cubicBezTo>
                  <a:pt x="255" y="364"/>
                  <a:pt x="255" y="361"/>
                  <a:pt x="278" y="361"/>
                </a:cubicBezTo>
                <a:cubicBezTo>
                  <a:pt x="301" y="361"/>
                  <a:pt x="301" y="365"/>
                  <a:pt x="324" y="365"/>
                </a:cubicBezTo>
                <a:cubicBezTo>
                  <a:pt x="347" y="365"/>
                  <a:pt x="347" y="361"/>
                  <a:pt x="370" y="361"/>
                </a:cubicBezTo>
                <a:cubicBezTo>
                  <a:pt x="392" y="361"/>
                  <a:pt x="411" y="384"/>
                  <a:pt x="411" y="405"/>
                </a:cubicBezTo>
                <a:cubicBezTo>
                  <a:pt x="411" y="425"/>
                  <a:pt x="416" y="425"/>
                  <a:pt x="416" y="446"/>
                </a:cubicBezTo>
                <a:cubicBezTo>
                  <a:pt x="416" y="466"/>
                  <a:pt x="434" y="473"/>
                  <a:pt x="452" y="459"/>
                </a:cubicBezTo>
                <a:cubicBezTo>
                  <a:pt x="470" y="446"/>
                  <a:pt x="469" y="444"/>
                  <a:pt x="487" y="431"/>
                </a:cubicBezTo>
                <a:cubicBezTo>
                  <a:pt x="505" y="417"/>
                  <a:pt x="506" y="417"/>
                  <a:pt x="524" y="404"/>
                </a:cubicBezTo>
                <a:cubicBezTo>
                  <a:pt x="542" y="390"/>
                  <a:pt x="539" y="387"/>
                  <a:pt x="557" y="373"/>
                </a:cubicBezTo>
                <a:cubicBezTo>
                  <a:pt x="576" y="359"/>
                  <a:pt x="575" y="359"/>
                  <a:pt x="594" y="345"/>
                </a:cubicBezTo>
                <a:cubicBezTo>
                  <a:pt x="612" y="331"/>
                  <a:pt x="614" y="335"/>
                  <a:pt x="632" y="321"/>
                </a:cubicBezTo>
                <a:cubicBezTo>
                  <a:pt x="650" y="307"/>
                  <a:pt x="650" y="306"/>
                  <a:pt x="668" y="292"/>
                </a:cubicBezTo>
                <a:cubicBezTo>
                  <a:pt x="686" y="279"/>
                  <a:pt x="684" y="274"/>
                  <a:pt x="704" y="265"/>
                </a:cubicBezTo>
                <a:cubicBezTo>
                  <a:pt x="727" y="255"/>
                  <a:pt x="725" y="221"/>
                  <a:pt x="707" y="207"/>
                </a:cubicBezTo>
                <a:close/>
              </a:path>
            </a:pathLst>
          </a:cu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29" name="Freeform 15"/>
          <p:cNvSpPr>
            <a:spLocks noChangeAspect="1"/>
          </p:cNvSpPr>
          <p:nvPr/>
        </p:nvSpPr>
        <p:spPr bwMode="auto">
          <a:xfrm flipH="1">
            <a:off x="3770710" y="2396729"/>
            <a:ext cx="822722" cy="535781"/>
          </a:xfrm>
          <a:custGeom>
            <a:avLst/>
            <a:gdLst>
              <a:gd name="T0" fmla="*/ 707 w 727"/>
              <a:gd name="T1" fmla="*/ 207 h 473"/>
              <a:gd name="T2" fmla="*/ 669 w 727"/>
              <a:gd name="T3" fmla="*/ 181 h 473"/>
              <a:gd name="T4" fmla="*/ 629 w 727"/>
              <a:gd name="T5" fmla="*/ 159 h 473"/>
              <a:gd name="T6" fmla="*/ 594 w 727"/>
              <a:gd name="T7" fmla="*/ 130 h 473"/>
              <a:gd name="T8" fmla="*/ 557 w 727"/>
              <a:gd name="T9" fmla="*/ 104 h 473"/>
              <a:gd name="T10" fmla="*/ 520 w 727"/>
              <a:gd name="T11" fmla="*/ 77 h 473"/>
              <a:gd name="T12" fmla="*/ 490 w 727"/>
              <a:gd name="T13" fmla="*/ 42 h 473"/>
              <a:gd name="T14" fmla="*/ 454 w 727"/>
              <a:gd name="T15" fmla="*/ 14 h 473"/>
              <a:gd name="T16" fmla="*/ 416 w 727"/>
              <a:gd name="T17" fmla="*/ 30 h 473"/>
              <a:gd name="T18" fmla="*/ 417 w 727"/>
              <a:gd name="T19" fmla="*/ 71 h 473"/>
              <a:gd name="T20" fmla="*/ 370 w 727"/>
              <a:gd name="T21" fmla="*/ 110 h 473"/>
              <a:gd name="T22" fmla="*/ 324 w 727"/>
              <a:gd name="T23" fmla="*/ 107 h 473"/>
              <a:gd name="T24" fmla="*/ 278 w 727"/>
              <a:gd name="T25" fmla="*/ 114 h 473"/>
              <a:gd name="T26" fmla="*/ 232 w 727"/>
              <a:gd name="T27" fmla="*/ 114 h 473"/>
              <a:gd name="T28" fmla="*/ 186 w 727"/>
              <a:gd name="T29" fmla="*/ 114 h 473"/>
              <a:gd name="T30" fmla="*/ 141 w 727"/>
              <a:gd name="T31" fmla="*/ 111 h 473"/>
              <a:gd name="T32" fmla="*/ 95 w 727"/>
              <a:gd name="T33" fmla="*/ 117 h 473"/>
              <a:gd name="T34" fmla="*/ 49 w 727"/>
              <a:gd name="T35" fmla="*/ 107 h 473"/>
              <a:gd name="T36" fmla="*/ 6 w 727"/>
              <a:gd name="T37" fmla="*/ 162 h 473"/>
              <a:gd name="T38" fmla="*/ 5 w 727"/>
              <a:gd name="T39" fmla="*/ 213 h 473"/>
              <a:gd name="T40" fmla="*/ 0 w 727"/>
              <a:gd name="T41" fmla="*/ 263 h 473"/>
              <a:gd name="T42" fmla="*/ 8 w 727"/>
              <a:gd name="T43" fmla="*/ 314 h 473"/>
              <a:gd name="T44" fmla="*/ 49 w 727"/>
              <a:gd name="T45" fmla="*/ 361 h 473"/>
              <a:gd name="T46" fmla="*/ 95 w 727"/>
              <a:gd name="T47" fmla="*/ 362 h 473"/>
              <a:gd name="T48" fmla="*/ 141 w 727"/>
              <a:gd name="T49" fmla="*/ 362 h 473"/>
              <a:gd name="T50" fmla="*/ 186 w 727"/>
              <a:gd name="T51" fmla="*/ 365 h 473"/>
              <a:gd name="T52" fmla="*/ 232 w 727"/>
              <a:gd name="T53" fmla="*/ 364 h 473"/>
              <a:gd name="T54" fmla="*/ 278 w 727"/>
              <a:gd name="T55" fmla="*/ 361 h 473"/>
              <a:gd name="T56" fmla="*/ 324 w 727"/>
              <a:gd name="T57" fmla="*/ 365 h 473"/>
              <a:gd name="T58" fmla="*/ 370 w 727"/>
              <a:gd name="T59" fmla="*/ 361 h 473"/>
              <a:gd name="T60" fmla="*/ 411 w 727"/>
              <a:gd name="T61" fmla="*/ 405 h 473"/>
              <a:gd name="T62" fmla="*/ 416 w 727"/>
              <a:gd name="T63" fmla="*/ 446 h 473"/>
              <a:gd name="T64" fmla="*/ 452 w 727"/>
              <a:gd name="T65" fmla="*/ 459 h 473"/>
              <a:gd name="T66" fmla="*/ 487 w 727"/>
              <a:gd name="T67" fmla="*/ 431 h 473"/>
              <a:gd name="T68" fmla="*/ 524 w 727"/>
              <a:gd name="T69" fmla="*/ 404 h 473"/>
              <a:gd name="T70" fmla="*/ 557 w 727"/>
              <a:gd name="T71" fmla="*/ 373 h 473"/>
              <a:gd name="T72" fmla="*/ 594 w 727"/>
              <a:gd name="T73" fmla="*/ 345 h 473"/>
              <a:gd name="T74" fmla="*/ 632 w 727"/>
              <a:gd name="T75" fmla="*/ 321 h 473"/>
              <a:gd name="T76" fmla="*/ 668 w 727"/>
              <a:gd name="T77" fmla="*/ 292 h 473"/>
              <a:gd name="T78" fmla="*/ 704 w 727"/>
              <a:gd name="T79" fmla="*/ 265 h 473"/>
              <a:gd name="T80" fmla="*/ 707 w 727"/>
              <a:gd name="T81" fmla="*/ 207 h 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727" h="473">
                <a:moveTo>
                  <a:pt x="707" y="207"/>
                </a:moveTo>
                <a:cubicBezTo>
                  <a:pt x="689" y="194"/>
                  <a:pt x="688" y="195"/>
                  <a:pt x="669" y="181"/>
                </a:cubicBezTo>
                <a:cubicBezTo>
                  <a:pt x="651" y="168"/>
                  <a:pt x="647" y="173"/>
                  <a:pt x="629" y="159"/>
                </a:cubicBezTo>
                <a:cubicBezTo>
                  <a:pt x="611" y="145"/>
                  <a:pt x="612" y="144"/>
                  <a:pt x="594" y="130"/>
                </a:cubicBezTo>
                <a:cubicBezTo>
                  <a:pt x="576" y="116"/>
                  <a:pt x="575" y="118"/>
                  <a:pt x="557" y="104"/>
                </a:cubicBezTo>
                <a:cubicBezTo>
                  <a:pt x="539" y="91"/>
                  <a:pt x="539" y="91"/>
                  <a:pt x="520" y="77"/>
                </a:cubicBezTo>
                <a:cubicBezTo>
                  <a:pt x="502" y="63"/>
                  <a:pt x="508" y="55"/>
                  <a:pt x="490" y="42"/>
                </a:cubicBezTo>
                <a:cubicBezTo>
                  <a:pt x="472" y="28"/>
                  <a:pt x="472" y="28"/>
                  <a:pt x="454" y="14"/>
                </a:cubicBezTo>
                <a:cubicBezTo>
                  <a:pt x="436" y="0"/>
                  <a:pt x="416" y="10"/>
                  <a:pt x="416" y="30"/>
                </a:cubicBezTo>
                <a:cubicBezTo>
                  <a:pt x="416" y="51"/>
                  <a:pt x="417" y="51"/>
                  <a:pt x="417" y="71"/>
                </a:cubicBezTo>
                <a:cubicBezTo>
                  <a:pt x="417" y="92"/>
                  <a:pt x="392" y="110"/>
                  <a:pt x="370" y="110"/>
                </a:cubicBezTo>
                <a:cubicBezTo>
                  <a:pt x="347" y="110"/>
                  <a:pt x="347" y="107"/>
                  <a:pt x="324" y="107"/>
                </a:cubicBezTo>
                <a:cubicBezTo>
                  <a:pt x="301" y="107"/>
                  <a:pt x="301" y="114"/>
                  <a:pt x="278" y="114"/>
                </a:cubicBezTo>
                <a:cubicBezTo>
                  <a:pt x="255" y="114"/>
                  <a:pt x="255" y="114"/>
                  <a:pt x="232" y="114"/>
                </a:cubicBezTo>
                <a:cubicBezTo>
                  <a:pt x="209" y="114"/>
                  <a:pt x="209" y="114"/>
                  <a:pt x="186" y="114"/>
                </a:cubicBezTo>
                <a:cubicBezTo>
                  <a:pt x="164" y="114"/>
                  <a:pt x="164" y="111"/>
                  <a:pt x="141" y="111"/>
                </a:cubicBezTo>
                <a:cubicBezTo>
                  <a:pt x="118" y="111"/>
                  <a:pt x="118" y="117"/>
                  <a:pt x="95" y="117"/>
                </a:cubicBezTo>
                <a:cubicBezTo>
                  <a:pt x="72" y="117"/>
                  <a:pt x="72" y="107"/>
                  <a:pt x="49" y="107"/>
                </a:cubicBezTo>
                <a:cubicBezTo>
                  <a:pt x="26" y="107"/>
                  <a:pt x="6" y="137"/>
                  <a:pt x="6" y="162"/>
                </a:cubicBezTo>
                <a:cubicBezTo>
                  <a:pt x="6" y="188"/>
                  <a:pt x="5" y="188"/>
                  <a:pt x="5" y="213"/>
                </a:cubicBezTo>
                <a:cubicBezTo>
                  <a:pt x="5" y="238"/>
                  <a:pt x="0" y="238"/>
                  <a:pt x="0" y="263"/>
                </a:cubicBezTo>
                <a:cubicBezTo>
                  <a:pt x="0" y="288"/>
                  <a:pt x="8" y="288"/>
                  <a:pt x="8" y="314"/>
                </a:cubicBezTo>
                <a:cubicBezTo>
                  <a:pt x="8" y="339"/>
                  <a:pt x="26" y="361"/>
                  <a:pt x="49" y="361"/>
                </a:cubicBezTo>
                <a:cubicBezTo>
                  <a:pt x="72" y="361"/>
                  <a:pt x="72" y="362"/>
                  <a:pt x="95" y="362"/>
                </a:cubicBezTo>
                <a:cubicBezTo>
                  <a:pt x="118" y="362"/>
                  <a:pt x="118" y="362"/>
                  <a:pt x="141" y="362"/>
                </a:cubicBezTo>
                <a:cubicBezTo>
                  <a:pt x="164" y="362"/>
                  <a:pt x="164" y="365"/>
                  <a:pt x="186" y="365"/>
                </a:cubicBezTo>
                <a:cubicBezTo>
                  <a:pt x="209" y="365"/>
                  <a:pt x="209" y="364"/>
                  <a:pt x="232" y="364"/>
                </a:cubicBezTo>
                <a:cubicBezTo>
                  <a:pt x="255" y="364"/>
                  <a:pt x="255" y="361"/>
                  <a:pt x="278" y="361"/>
                </a:cubicBezTo>
                <a:cubicBezTo>
                  <a:pt x="301" y="361"/>
                  <a:pt x="301" y="365"/>
                  <a:pt x="324" y="365"/>
                </a:cubicBezTo>
                <a:cubicBezTo>
                  <a:pt x="347" y="365"/>
                  <a:pt x="347" y="361"/>
                  <a:pt x="370" y="361"/>
                </a:cubicBezTo>
                <a:cubicBezTo>
                  <a:pt x="392" y="361"/>
                  <a:pt x="411" y="384"/>
                  <a:pt x="411" y="405"/>
                </a:cubicBezTo>
                <a:cubicBezTo>
                  <a:pt x="411" y="425"/>
                  <a:pt x="416" y="425"/>
                  <a:pt x="416" y="446"/>
                </a:cubicBezTo>
                <a:cubicBezTo>
                  <a:pt x="416" y="466"/>
                  <a:pt x="434" y="473"/>
                  <a:pt x="452" y="459"/>
                </a:cubicBezTo>
                <a:cubicBezTo>
                  <a:pt x="470" y="446"/>
                  <a:pt x="469" y="444"/>
                  <a:pt x="487" y="431"/>
                </a:cubicBezTo>
                <a:cubicBezTo>
                  <a:pt x="505" y="417"/>
                  <a:pt x="506" y="417"/>
                  <a:pt x="524" y="404"/>
                </a:cubicBezTo>
                <a:cubicBezTo>
                  <a:pt x="542" y="390"/>
                  <a:pt x="539" y="387"/>
                  <a:pt x="557" y="373"/>
                </a:cubicBezTo>
                <a:cubicBezTo>
                  <a:pt x="576" y="359"/>
                  <a:pt x="575" y="359"/>
                  <a:pt x="594" y="345"/>
                </a:cubicBezTo>
                <a:cubicBezTo>
                  <a:pt x="612" y="331"/>
                  <a:pt x="614" y="335"/>
                  <a:pt x="632" y="321"/>
                </a:cubicBezTo>
                <a:cubicBezTo>
                  <a:pt x="650" y="307"/>
                  <a:pt x="650" y="306"/>
                  <a:pt x="668" y="292"/>
                </a:cubicBezTo>
                <a:cubicBezTo>
                  <a:pt x="686" y="279"/>
                  <a:pt x="684" y="274"/>
                  <a:pt x="704" y="265"/>
                </a:cubicBezTo>
                <a:cubicBezTo>
                  <a:pt x="727" y="255"/>
                  <a:pt x="725" y="221"/>
                  <a:pt x="707" y="207"/>
                </a:cubicBezTo>
                <a:close/>
              </a:path>
            </a:pathLst>
          </a:cu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30" name="Freeform 15"/>
          <p:cNvSpPr>
            <a:spLocks noChangeAspect="1"/>
          </p:cNvSpPr>
          <p:nvPr/>
        </p:nvSpPr>
        <p:spPr bwMode="auto">
          <a:xfrm rot="5400000" flipH="1">
            <a:off x="4390430" y="1777009"/>
            <a:ext cx="823913" cy="534590"/>
          </a:xfrm>
          <a:custGeom>
            <a:avLst/>
            <a:gdLst>
              <a:gd name="T0" fmla="*/ 707 w 727"/>
              <a:gd name="T1" fmla="*/ 207 h 473"/>
              <a:gd name="T2" fmla="*/ 669 w 727"/>
              <a:gd name="T3" fmla="*/ 181 h 473"/>
              <a:gd name="T4" fmla="*/ 629 w 727"/>
              <a:gd name="T5" fmla="*/ 159 h 473"/>
              <a:gd name="T6" fmla="*/ 594 w 727"/>
              <a:gd name="T7" fmla="*/ 130 h 473"/>
              <a:gd name="T8" fmla="*/ 557 w 727"/>
              <a:gd name="T9" fmla="*/ 104 h 473"/>
              <a:gd name="T10" fmla="*/ 520 w 727"/>
              <a:gd name="T11" fmla="*/ 77 h 473"/>
              <a:gd name="T12" fmla="*/ 490 w 727"/>
              <a:gd name="T13" fmla="*/ 42 h 473"/>
              <a:gd name="T14" fmla="*/ 454 w 727"/>
              <a:gd name="T15" fmla="*/ 14 h 473"/>
              <a:gd name="T16" fmla="*/ 416 w 727"/>
              <a:gd name="T17" fmla="*/ 30 h 473"/>
              <a:gd name="T18" fmla="*/ 417 w 727"/>
              <a:gd name="T19" fmla="*/ 71 h 473"/>
              <a:gd name="T20" fmla="*/ 370 w 727"/>
              <a:gd name="T21" fmla="*/ 110 h 473"/>
              <a:gd name="T22" fmla="*/ 324 w 727"/>
              <a:gd name="T23" fmla="*/ 107 h 473"/>
              <a:gd name="T24" fmla="*/ 278 w 727"/>
              <a:gd name="T25" fmla="*/ 114 h 473"/>
              <a:gd name="T26" fmla="*/ 232 w 727"/>
              <a:gd name="T27" fmla="*/ 114 h 473"/>
              <a:gd name="T28" fmla="*/ 186 w 727"/>
              <a:gd name="T29" fmla="*/ 114 h 473"/>
              <a:gd name="T30" fmla="*/ 141 w 727"/>
              <a:gd name="T31" fmla="*/ 111 h 473"/>
              <a:gd name="T32" fmla="*/ 95 w 727"/>
              <a:gd name="T33" fmla="*/ 117 h 473"/>
              <a:gd name="T34" fmla="*/ 49 w 727"/>
              <a:gd name="T35" fmla="*/ 107 h 473"/>
              <a:gd name="T36" fmla="*/ 6 w 727"/>
              <a:gd name="T37" fmla="*/ 162 h 473"/>
              <a:gd name="T38" fmla="*/ 5 w 727"/>
              <a:gd name="T39" fmla="*/ 213 h 473"/>
              <a:gd name="T40" fmla="*/ 0 w 727"/>
              <a:gd name="T41" fmla="*/ 263 h 473"/>
              <a:gd name="T42" fmla="*/ 8 w 727"/>
              <a:gd name="T43" fmla="*/ 314 h 473"/>
              <a:gd name="T44" fmla="*/ 49 w 727"/>
              <a:gd name="T45" fmla="*/ 361 h 473"/>
              <a:gd name="T46" fmla="*/ 95 w 727"/>
              <a:gd name="T47" fmla="*/ 362 h 473"/>
              <a:gd name="T48" fmla="*/ 141 w 727"/>
              <a:gd name="T49" fmla="*/ 362 h 473"/>
              <a:gd name="T50" fmla="*/ 186 w 727"/>
              <a:gd name="T51" fmla="*/ 365 h 473"/>
              <a:gd name="T52" fmla="*/ 232 w 727"/>
              <a:gd name="T53" fmla="*/ 364 h 473"/>
              <a:gd name="T54" fmla="*/ 278 w 727"/>
              <a:gd name="T55" fmla="*/ 361 h 473"/>
              <a:gd name="T56" fmla="*/ 324 w 727"/>
              <a:gd name="T57" fmla="*/ 365 h 473"/>
              <a:gd name="T58" fmla="*/ 370 w 727"/>
              <a:gd name="T59" fmla="*/ 361 h 473"/>
              <a:gd name="T60" fmla="*/ 411 w 727"/>
              <a:gd name="T61" fmla="*/ 405 h 473"/>
              <a:gd name="T62" fmla="*/ 416 w 727"/>
              <a:gd name="T63" fmla="*/ 446 h 473"/>
              <a:gd name="T64" fmla="*/ 452 w 727"/>
              <a:gd name="T65" fmla="*/ 459 h 473"/>
              <a:gd name="T66" fmla="*/ 487 w 727"/>
              <a:gd name="T67" fmla="*/ 431 h 473"/>
              <a:gd name="T68" fmla="*/ 524 w 727"/>
              <a:gd name="T69" fmla="*/ 404 h 473"/>
              <a:gd name="T70" fmla="*/ 557 w 727"/>
              <a:gd name="T71" fmla="*/ 373 h 473"/>
              <a:gd name="T72" fmla="*/ 594 w 727"/>
              <a:gd name="T73" fmla="*/ 345 h 473"/>
              <a:gd name="T74" fmla="*/ 632 w 727"/>
              <a:gd name="T75" fmla="*/ 321 h 473"/>
              <a:gd name="T76" fmla="*/ 668 w 727"/>
              <a:gd name="T77" fmla="*/ 292 h 473"/>
              <a:gd name="T78" fmla="*/ 704 w 727"/>
              <a:gd name="T79" fmla="*/ 265 h 473"/>
              <a:gd name="T80" fmla="*/ 707 w 727"/>
              <a:gd name="T81" fmla="*/ 207 h 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727" h="473">
                <a:moveTo>
                  <a:pt x="707" y="207"/>
                </a:moveTo>
                <a:cubicBezTo>
                  <a:pt x="689" y="194"/>
                  <a:pt x="688" y="195"/>
                  <a:pt x="669" y="181"/>
                </a:cubicBezTo>
                <a:cubicBezTo>
                  <a:pt x="651" y="168"/>
                  <a:pt x="647" y="173"/>
                  <a:pt x="629" y="159"/>
                </a:cubicBezTo>
                <a:cubicBezTo>
                  <a:pt x="611" y="145"/>
                  <a:pt x="612" y="144"/>
                  <a:pt x="594" y="130"/>
                </a:cubicBezTo>
                <a:cubicBezTo>
                  <a:pt x="576" y="116"/>
                  <a:pt x="575" y="118"/>
                  <a:pt x="557" y="104"/>
                </a:cubicBezTo>
                <a:cubicBezTo>
                  <a:pt x="539" y="91"/>
                  <a:pt x="539" y="91"/>
                  <a:pt x="520" y="77"/>
                </a:cubicBezTo>
                <a:cubicBezTo>
                  <a:pt x="502" y="63"/>
                  <a:pt x="508" y="55"/>
                  <a:pt x="490" y="42"/>
                </a:cubicBezTo>
                <a:cubicBezTo>
                  <a:pt x="472" y="28"/>
                  <a:pt x="472" y="28"/>
                  <a:pt x="454" y="14"/>
                </a:cubicBezTo>
                <a:cubicBezTo>
                  <a:pt x="436" y="0"/>
                  <a:pt x="416" y="10"/>
                  <a:pt x="416" y="30"/>
                </a:cubicBezTo>
                <a:cubicBezTo>
                  <a:pt x="416" y="51"/>
                  <a:pt x="417" y="51"/>
                  <a:pt x="417" y="71"/>
                </a:cubicBezTo>
                <a:cubicBezTo>
                  <a:pt x="417" y="92"/>
                  <a:pt x="392" y="110"/>
                  <a:pt x="370" y="110"/>
                </a:cubicBezTo>
                <a:cubicBezTo>
                  <a:pt x="347" y="110"/>
                  <a:pt x="347" y="107"/>
                  <a:pt x="324" y="107"/>
                </a:cubicBezTo>
                <a:cubicBezTo>
                  <a:pt x="301" y="107"/>
                  <a:pt x="301" y="114"/>
                  <a:pt x="278" y="114"/>
                </a:cubicBezTo>
                <a:cubicBezTo>
                  <a:pt x="255" y="114"/>
                  <a:pt x="255" y="114"/>
                  <a:pt x="232" y="114"/>
                </a:cubicBezTo>
                <a:cubicBezTo>
                  <a:pt x="209" y="114"/>
                  <a:pt x="209" y="114"/>
                  <a:pt x="186" y="114"/>
                </a:cubicBezTo>
                <a:cubicBezTo>
                  <a:pt x="164" y="114"/>
                  <a:pt x="164" y="111"/>
                  <a:pt x="141" y="111"/>
                </a:cubicBezTo>
                <a:cubicBezTo>
                  <a:pt x="118" y="111"/>
                  <a:pt x="118" y="117"/>
                  <a:pt x="95" y="117"/>
                </a:cubicBezTo>
                <a:cubicBezTo>
                  <a:pt x="72" y="117"/>
                  <a:pt x="72" y="107"/>
                  <a:pt x="49" y="107"/>
                </a:cubicBezTo>
                <a:cubicBezTo>
                  <a:pt x="26" y="107"/>
                  <a:pt x="6" y="137"/>
                  <a:pt x="6" y="162"/>
                </a:cubicBezTo>
                <a:cubicBezTo>
                  <a:pt x="6" y="188"/>
                  <a:pt x="5" y="188"/>
                  <a:pt x="5" y="213"/>
                </a:cubicBezTo>
                <a:cubicBezTo>
                  <a:pt x="5" y="238"/>
                  <a:pt x="0" y="238"/>
                  <a:pt x="0" y="263"/>
                </a:cubicBezTo>
                <a:cubicBezTo>
                  <a:pt x="0" y="288"/>
                  <a:pt x="8" y="288"/>
                  <a:pt x="8" y="314"/>
                </a:cubicBezTo>
                <a:cubicBezTo>
                  <a:pt x="8" y="339"/>
                  <a:pt x="26" y="361"/>
                  <a:pt x="49" y="361"/>
                </a:cubicBezTo>
                <a:cubicBezTo>
                  <a:pt x="72" y="361"/>
                  <a:pt x="72" y="362"/>
                  <a:pt x="95" y="362"/>
                </a:cubicBezTo>
                <a:cubicBezTo>
                  <a:pt x="118" y="362"/>
                  <a:pt x="118" y="362"/>
                  <a:pt x="141" y="362"/>
                </a:cubicBezTo>
                <a:cubicBezTo>
                  <a:pt x="164" y="362"/>
                  <a:pt x="164" y="365"/>
                  <a:pt x="186" y="365"/>
                </a:cubicBezTo>
                <a:cubicBezTo>
                  <a:pt x="209" y="365"/>
                  <a:pt x="209" y="364"/>
                  <a:pt x="232" y="364"/>
                </a:cubicBezTo>
                <a:cubicBezTo>
                  <a:pt x="255" y="364"/>
                  <a:pt x="255" y="361"/>
                  <a:pt x="278" y="361"/>
                </a:cubicBezTo>
                <a:cubicBezTo>
                  <a:pt x="301" y="361"/>
                  <a:pt x="301" y="365"/>
                  <a:pt x="324" y="365"/>
                </a:cubicBezTo>
                <a:cubicBezTo>
                  <a:pt x="347" y="365"/>
                  <a:pt x="347" y="361"/>
                  <a:pt x="370" y="361"/>
                </a:cubicBezTo>
                <a:cubicBezTo>
                  <a:pt x="392" y="361"/>
                  <a:pt x="411" y="384"/>
                  <a:pt x="411" y="405"/>
                </a:cubicBezTo>
                <a:cubicBezTo>
                  <a:pt x="411" y="425"/>
                  <a:pt x="416" y="425"/>
                  <a:pt x="416" y="446"/>
                </a:cubicBezTo>
                <a:cubicBezTo>
                  <a:pt x="416" y="466"/>
                  <a:pt x="434" y="473"/>
                  <a:pt x="452" y="459"/>
                </a:cubicBezTo>
                <a:cubicBezTo>
                  <a:pt x="470" y="446"/>
                  <a:pt x="469" y="444"/>
                  <a:pt x="487" y="431"/>
                </a:cubicBezTo>
                <a:cubicBezTo>
                  <a:pt x="505" y="417"/>
                  <a:pt x="506" y="417"/>
                  <a:pt x="524" y="404"/>
                </a:cubicBezTo>
                <a:cubicBezTo>
                  <a:pt x="542" y="390"/>
                  <a:pt x="539" y="387"/>
                  <a:pt x="557" y="373"/>
                </a:cubicBezTo>
                <a:cubicBezTo>
                  <a:pt x="576" y="359"/>
                  <a:pt x="575" y="359"/>
                  <a:pt x="594" y="345"/>
                </a:cubicBezTo>
                <a:cubicBezTo>
                  <a:pt x="612" y="331"/>
                  <a:pt x="614" y="335"/>
                  <a:pt x="632" y="321"/>
                </a:cubicBezTo>
                <a:cubicBezTo>
                  <a:pt x="650" y="307"/>
                  <a:pt x="650" y="306"/>
                  <a:pt x="668" y="292"/>
                </a:cubicBezTo>
                <a:cubicBezTo>
                  <a:pt x="686" y="279"/>
                  <a:pt x="684" y="274"/>
                  <a:pt x="704" y="265"/>
                </a:cubicBezTo>
                <a:cubicBezTo>
                  <a:pt x="727" y="255"/>
                  <a:pt x="725" y="221"/>
                  <a:pt x="707" y="207"/>
                </a:cubicBezTo>
                <a:close/>
              </a:path>
            </a:pathLst>
          </a:cu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31" name="Freeform 15"/>
          <p:cNvSpPr>
            <a:spLocks noChangeAspect="1"/>
          </p:cNvSpPr>
          <p:nvPr/>
        </p:nvSpPr>
        <p:spPr bwMode="auto">
          <a:xfrm rot="16200000" flipH="1" flipV="1">
            <a:off x="4400551" y="2992041"/>
            <a:ext cx="823913" cy="535781"/>
          </a:xfrm>
          <a:custGeom>
            <a:avLst/>
            <a:gdLst>
              <a:gd name="T0" fmla="*/ 707 w 727"/>
              <a:gd name="T1" fmla="*/ 207 h 473"/>
              <a:gd name="T2" fmla="*/ 669 w 727"/>
              <a:gd name="T3" fmla="*/ 181 h 473"/>
              <a:gd name="T4" fmla="*/ 629 w 727"/>
              <a:gd name="T5" fmla="*/ 159 h 473"/>
              <a:gd name="T6" fmla="*/ 594 w 727"/>
              <a:gd name="T7" fmla="*/ 130 h 473"/>
              <a:gd name="T8" fmla="*/ 557 w 727"/>
              <a:gd name="T9" fmla="*/ 104 h 473"/>
              <a:gd name="T10" fmla="*/ 520 w 727"/>
              <a:gd name="T11" fmla="*/ 77 h 473"/>
              <a:gd name="T12" fmla="*/ 490 w 727"/>
              <a:gd name="T13" fmla="*/ 42 h 473"/>
              <a:gd name="T14" fmla="*/ 454 w 727"/>
              <a:gd name="T15" fmla="*/ 14 h 473"/>
              <a:gd name="T16" fmla="*/ 416 w 727"/>
              <a:gd name="T17" fmla="*/ 30 h 473"/>
              <a:gd name="T18" fmla="*/ 417 w 727"/>
              <a:gd name="T19" fmla="*/ 71 h 473"/>
              <a:gd name="T20" fmla="*/ 370 w 727"/>
              <a:gd name="T21" fmla="*/ 110 h 473"/>
              <a:gd name="T22" fmla="*/ 324 w 727"/>
              <a:gd name="T23" fmla="*/ 107 h 473"/>
              <a:gd name="T24" fmla="*/ 278 w 727"/>
              <a:gd name="T25" fmla="*/ 114 h 473"/>
              <a:gd name="T26" fmla="*/ 232 w 727"/>
              <a:gd name="T27" fmla="*/ 114 h 473"/>
              <a:gd name="T28" fmla="*/ 186 w 727"/>
              <a:gd name="T29" fmla="*/ 114 h 473"/>
              <a:gd name="T30" fmla="*/ 141 w 727"/>
              <a:gd name="T31" fmla="*/ 111 h 473"/>
              <a:gd name="T32" fmla="*/ 95 w 727"/>
              <a:gd name="T33" fmla="*/ 117 h 473"/>
              <a:gd name="T34" fmla="*/ 49 w 727"/>
              <a:gd name="T35" fmla="*/ 107 h 473"/>
              <a:gd name="T36" fmla="*/ 6 w 727"/>
              <a:gd name="T37" fmla="*/ 162 h 473"/>
              <a:gd name="T38" fmla="*/ 5 w 727"/>
              <a:gd name="T39" fmla="*/ 213 h 473"/>
              <a:gd name="T40" fmla="*/ 0 w 727"/>
              <a:gd name="T41" fmla="*/ 263 h 473"/>
              <a:gd name="T42" fmla="*/ 8 w 727"/>
              <a:gd name="T43" fmla="*/ 314 h 473"/>
              <a:gd name="T44" fmla="*/ 49 w 727"/>
              <a:gd name="T45" fmla="*/ 361 h 473"/>
              <a:gd name="T46" fmla="*/ 95 w 727"/>
              <a:gd name="T47" fmla="*/ 362 h 473"/>
              <a:gd name="T48" fmla="*/ 141 w 727"/>
              <a:gd name="T49" fmla="*/ 362 h 473"/>
              <a:gd name="T50" fmla="*/ 186 w 727"/>
              <a:gd name="T51" fmla="*/ 365 h 473"/>
              <a:gd name="T52" fmla="*/ 232 w 727"/>
              <a:gd name="T53" fmla="*/ 364 h 473"/>
              <a:gd name="T54" fmla="*/ 278 w 727"/>
              <a:gd name="T55" fmla="*/ 361 h 473"/>
              <a:gd name="T56" fmla="*/ 324 w 727"/>
              <a:gd name="T57" fmla="*/ 365 h 473"/>
              <a:gd name="T58" fmla="*/ 370 w 727"/>
              <a:gd name="T59" fmla="*/ 361 h 473"/>
              <a:gd name="T60" fmla="*/ 411 w 727"/>
              <a:gd name="T61" fmla="*/ 405 h 473"/>
              <a:gd name="T62" fmla="*/ 416 w 727"/>
              <a:gd name="T63" fmla="*/ 446 h 473"/>
              <a:gd name="T64" fmla="*/ 452 w 727"/>
              <a:gd name="T65" fmla="*/ 459 h 473"/>
              <a:gd name="T66" fmla="*/ 487 w 727"/>
              <a:gd name="T67" fmla="*/ 431 h 473"/>
              <a:gd name="T68" fmla="*/ 524 w 727"/>
              <a:gd name="T69" fmla="*/ 404 h 473"/>
              <a:gd name="T70" fmla="*/ 557 w 727"/>
              <a:gd name="T71" fmla="*/ 373 h 473"/>
              <a:gd name="T72" fmla="*/ 594 w 727"/>
              <a:gd name="T73" fmla="*/ 345 h 473"/>
              <a:gd name="T74" fmla="*/ 632 w 727"/>
              <a:gd name="T75" fmla="*/ 321 h 473"/>
              <a:gd name="T76" fmla="*/ 668 w 727"/>
              <a:gd name="T77" fmla="*/ 292 h 473"/>
              <a:gd name="T78" fmla="*/ 704 w 727"/>
              <a:gd name="T79" fmla="*/ 265 h 473"/>
              <a:gd name="T80" fmla="*/ 707 w 727"/>
              <a:gd name="T81" fmla="*/ 207 h 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727" h="473">
                <a:moveTo>
                  <a:pt x="707" y="207"/>
                </a:moveTo>
                <a:cubicBezTo>
                  <a:pt x="689" y="194"/>
                  <a:pt x="688" y="195"/>
                  <a:pt x="669" y="181"/>
                </a:cubicBezTo>
                <a:cubicBezTo>
                  <a:pt x="651" y="168"/>
                  <a:pt x="647" y="173"/>
                  <a:pt x="629" y="159"/>
                </a:cubicBezTo>
                <a:cubicBezTo>
                  <a:pt x="611" y="145"/>
                  <a:pt x="612" y="144"/>
                  <a:pt x="594" y="130"/>
                </a:cubicBezTo>
                <a:cubicBezTo>
                  <a:pt x="576" y="116"/>
                  <a:pt x="575" y="118"/>
                  <a:pt x="557" y="104"/>
                </a:cubicBezTo>
                <a:cubicBezTo>
                  <a:pt x="539" y="91"/>
                  <a:pt x="539" y="91"/>
                  <a:pt x="520" y="77"/>
                </a:cubicBezTo>
                <a:cubicBezTo>
                  <a:pt x="502" y="63"/>
                  <a:pt x="508" y="55"/>
                  <a:pt x="490" y="42"/>
                </a:cubicBezTo>
                <a:cubicBezTo>
                  <a:pt x="472" y="28"/>
                  <a:pt x="472" y="28"/>
                  <a:pt x="454" y="14"/>
                </a:cubicBezTo>
                <a:cubicBezTo>
                  <a:pt x="436" y="0"/>
                  <a:pt x="416" y="10"/>
                  <a:pt x="416" y="30"/>
                </a:cubicBezTo>
                <a:cubicBezTo>
                  <a:pt x="416" y="51"/>
                  <a:pt x="417" y="51"/>
                  <a:pt x="417" y="71"/>
                </a:cubicBezTo>
                <a:cubicBezTo>
                  <a:pt x="417" y="92"/>
                  <a:pt x="392" y="110"/>
                  <a:pt x="370" y="110"/>
                </a:cubicBezTo>
                <a:cubicBezTo>
                  <a:pt x="347" y="110"/>
                  <a:pt x="347" y="107"/>
                  <a:pt x="324" y="107"/>
                </a:cubicBezTo>
                <a:cubicBezTo>
                  <a:pt x="301" y="107"/>
                  <a:pt x="301" y="114"/>
                  <a:pt x="278" y="114"/>
                </a:cubicBezTo>
                <a:cubicBezTo>
                  <a:pt x="255" y="114"/>
                  <a:pt x="255" y="114"/>
                  <a:pt x="232" y="114"/>
                </a:cubicBezTo>
                <a:cubicBezTo>
                  <a:pt x="209" y="114"/>
                  <a:pt x="209" y="114"/>
                  <a:pt x="186" y="114"/>
                </a:cubicBezTo>
                <a:cubicBezTo>
                  <a:pt x="164" y="114"/>
                  <a:pt x="164" y="111"/>
                  <a:pt x="141" y="111"/>
                </a:cubicBezTo>
                <a:cubicBezTo>
                  <a:pt x="118" y="111"/>
                  <a:pt x="118" y="117"/>
                  <a:pt x="95" y="117"/>
                </a:cubicBezTo>
                <a:cubicBezTo>
                  <a:pt x="72" y="117"/>
                  <a:pt x="72" y="107"/>
                  <a:pt x="49" y="107"/>
                </a:cubicBezTo>
                <a:cubicBezTo>
                  <a:pt x="26" y="107"/>
                  <a:pt x="6" y="137"/>
                  <a:pt x="6" y="162"/>
                </a:cubicBezTo>
                <a:cubicBezTo>
                  <a:pt x="6" y="188"/>
                  <a:pt x="5" y="188"/>
                  <a:pt x="5" y="213"/>
                </a:cubicBezTo>
                <a:cubicBezTo>
                  <a:pt x="5" y="238"/>
                  <a:pt x="0" y="238"/>
                  <a:pt x="0" y="263"/>
                </a:cubicBezTo>
                <a:cubicBezTo>
                  <a:pt x="0" y="288"/>
                  <a:pt x="8" y="288"/>
                  <a:pt x="8" y="314"/>
                </a:cubicBezTo>
                <a:cubicBezTo>
                  <a:pt x="8" y="339"/>
                  <a:pt x="26" y="361"/>
                  <a:pt x="49" y="361"/>
                </a:cubicBezTo>
                <a:cubicBezTo>
                  <a:pt x="72" y="361"/>
                  <a:pt x="72" y="362"/>
                  <a:pt x="95" y="362"/>
                </a:cubicBezTo>
                <a:cubicBezTo>
                  <a:pt x="118" y="362"/>
                  <a:pt x="118" y="362"/>
                  <a:pt x="141" y="362"/>
                </a:cubicBezTo>
                <a:cubicBezTo>
                  <a:pt x="164" y="362"/>
                  <a:pt x="164" y="365"/>
                  <a:pt x="186" y="365"/>
                </a:cubicBezTo>
                <a:cubicBezTo>
                  <a:pt x="209" y="365"/>
                  <a:pt x="209" y="364"/>
                  <a:pt x="232" y="364"/>
                </a:cubicBezTo>
                <a:cubicBezTo>
                  <a:pt x="255" y="364"/>
                  <a:pt x="255" y="361"/>
                  <a:pt x="278" y="361"/>
                </a:cubicBezTo>
                <a:cubicBezTo>
                  <a:pt x="301" y="361"/>
                  <a:pt x="301" y="365"/>
                  <a:pt x="324" y="365"/>
                </a:cubicBezTo>
                <a:cubicBezTo>
                  <a:pt x="347" y="365"/>
                  <a:pt x="347" y="361"/>
                  <a:pt x="370" y="361"/>
                </a:cubicBezTo>
                <a:cubicBezTo>
                  <a:pt x="392" y="361"/>
                  <a:pt x="411" y="384"/>
                  <a:pt x="411" y="405"/>
                </a:cubicBezTo>
                <a:cubicBezTo>
                  <a:pt x="411" y="425"/>
                  <a:pt x="416" y="425"/>
                  <a:pt x="416" y="446"/>
                </a:cubicBezTo>
                <a:cubicBezTo>
                  <a:pt x="416" y="466"/>
                  <a:pt x="434" y="473"/>
                  <a:pt x="452" y="459"/>
                </a:cubicBezTo>
                <a:cubicBezTo>
                  <a:pt x="470" y="446"/>
                  <a:pt x="469" y="444"/>
                  <a:pt x="487" y="431"/>
                </a:cubicBezTo>
                <a:cubicBezTo>
                  <a:pt x="505" y="417"/>
                  <a:pt x="506" y="417"/>
                  <a:pt x="524" y="404"/>
                </a:cubicBezTo>
                <a:cubicBezTo>
                  <a:pt x="542" y="390"/>
                  <a:pt x="539" y="387"/>
                  <a:pt x="557" y="373"/>
                </a:cubicBezTo>
                <a:cubicBezTo>
                  <a:pt x="576" y="359"/>
                  <a:pt x="575" y="359"/>
                  <a:pt x="594" y="345"/>
                </a:cubicBezTo>
                <a:cubicBezTo>
                  <a:pt x="612" y="331"/>
                  <a:pt x="614" y="335"/>
                  <a:pt x="632" y="321"/>
                </a:cubicBezTo>
                <a:cubicBezTo>
                  <a:pt x="650" y="307"/>
                  <a:pt x="650" y="306"/>
                  <a:pt x="668" y="292"/>
                </a:cubicBezTo>
                <a:cubicBezTo>
                  <a:pt x="686" y="279"/>
                  <a:pt x="684" y="274"/>
                  <a:pt x="704" y="265"/>
                </a:cubicBezTo>
                <a:cubicBezTo>
                  <a:pt x="727" y="255"/>
                  <a:pt x="725" y="221"/>
                  <a:pt x="707" y="207"/>
                </a:cubicBezTo>
                <a:close/>
              </a:path>
            </a:pathLst>
          </a:cu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323604" name="Freeform 18"/>
          <p:cNvSpPr>
            <a:spLocks noChangeAspect="1" noEditPoints="1"/>
          </p:cNvSpPr>
          <p:nvPr/>
        </p:nvSpPr>
        <p:spPr bwMode="auto">
          <a:xfrm flipH="1">
            <a:off x="6347223" y="4068366"/>
            <a:ext cx="1563290" cy="483394"/>
          </a:xfrm>
          <a:custGeom>
            <a:avLst/>
            <a:gdLst>
              <a:gd name="T0" fmla="*/ 2147483646 w 578"/>
              <a:gd name="T1" fmla="*/ 2147483646 h 179"/>
              <a:gd name="T2" fmla="*/ 2147483646 w 578"/>
              <a:gd name="T3" fmla="*/ 2147483646 h 179"/>
              <a:gd name="T4" fmla="*/ 2147483646 w 578"/>
              <a:gd name="T5" fmla="*/ 2147483646 h 179"/>
              <a:gd name="T6" fmla="*/ 2147483646 w 578"/>
              <a:gd name="T7" fmla="*/ 2147483646 h 179"/>
              <a:gd name="T8" fmla="*/ 2147483646 w 578"/>
              <a:gd name="T9" fmla="*/ 2147483646 h 179"/>
              <a:gd name="T10" fmla="*/ 2147483646 w 578"/>
              <a:gd name="T11" fmla="*/ 2147483646 h 179"/>
              <a:gd name="T12" fmla="*/ 2147483646 w 578"/>
              <a:gd name="T13" fmla="*/ 2147483646 h 179"/>
              <a:gd name="T14" fmla="*/ 2147483646 w 578"/>
              <a:gd name="T15" fmla="*/ 2147483646 h 179"/>
              <a:gd name="T16" fmla="*/ 2147483646 w 578"/>
              <a:gd name="T17" fmla="*/ 2147483646 h 179"/>
              <a:gd name="T18" fmla="*/ 2147483646 w 578"/>
              <a:gd name="T19" fmla="*/ 2147483646 h 179"/>
              <a:gd name="T20" fmla="*/ 2147483646 w 578"/>
              <a:gd name="T21" fmla="*/ 2147483646 h 179"/>
              <a:gd name="T22" fmla="*/ 2147483646 w 578"/>
              <a:gd name="T23" fmla="*/ 2147483646 h 179"/>
              <a:gd name="T24" fmla="*/ 2147483646 w 578"/>
              <a:gd name="T25" fmla="*/ 2147483646 h 179"/>
              <a:gd name="T26" fmla="*/ 2147483646 w 578"/>
              <a:gd name="T27" fmla="*/ 2147483646 h 179"/>
              <a:gd name="T28" fmla="*/ 2147483646 w 578"/>
              <a:gd name="T29" fmla="*/ 2147483646 h 179"/>
              <a:gd name="T30" fmla="*/ 2147483646 w 578"/>
              <a:gd name="T31" fmla="*/ 2147483646 h 179"/>
              <a:gd name="T32" fmla="*/ 2147483646 w 578"/>
              <a:gd name="T33" fmla="*/ 2147483646 h 179"/>
              <a:gd name="T34" fmla="*/ 2147483646 w 578"/>
              <a:gd name="T35" fmla="*/ 2147483646 h 179"/>
              <a:gd name="T36" fmla="*/ 2147483646 w 578"/>
              <a:gd name="T37" fmla="*/ 2147483646 h 179"/>
              <a:gd name="T38" fmla="*/ 2147483646 w 578"/>
              <a:gd name="T39" fmla="*/ 2147483646 h 179"/>
              <a:gd name="T40" fmla="*/ 2147483646 w 578"/>
              <a:gd name="T41" fmla="*/ 2147483646 h 179"/>
              <a:gd name="T42" fmla="*/ 2147483646 w 578"/>
              <a:gd name="T43" fmla="*/ 2147483646 h 179"/>
              <a:gd name="T44" fmla="*/ 2147483646 w 578"/>
              <a:gd name="T45" fmla="*/ 2147483646 h 179"/>
              <a:gd name="T46" fmla="*/ 2147483646 w 578"/>
              <a:gd name="T47" fmla="*/ 2147483646 h 179"/>
              <a:gd name="T48" fmla="*/ 2147483646 w 578"/>
              <a:gd name="T49" fmla="*/ 2147483646 h 179"/>
              <a:gd name="T50" fmla="*/ 2147483646 w 578"/>
              <a:gd name="T51" fmla="*/ 2147483646 h 179"/>
              <a:gd name="T52" fmla="*/ 2147483646 w 578"/>
              <a:gd name="T53" fmla="*/ 2147483646 h 179"/>
              <a:gd name="T54" fmla="*/ 2147483646 w 578"/>
              <a:gd name="T55" fmla="*/ 2147483646 h 179"/>
              <a:gd name="T56" fmla="*/ 2147483646 w 578"/>
              <a:gd name="T57" fmla="*/ 2147483646 h 179"/>
              <a:gd name="T58" fmla="*/ 2147483646 w 578"/>
              <a:gd name="T59" fmla="*/ 2147483646 h 179"/>
              <a:gd name="T60" fmla="*/ 2147483646 w 578"/>
              <a:gd name="T61" fmla="*/ 2147483646 h 179"/>
              <a:gd name="T62" fmla="*/ 2147483646 w 578"/>
              <a:gd name="T63" fmla="*/ 2147483646 h 179"/>
              <a:gd name="T64" fmla="*/ 2147483646 w 578"/>
              <a:gd name="T65" fmla="*/ 2147483646 h 179"/>
              <a:gd name="T66" fmla="*/ 2147483646 w 578"/>
              <a:gd name="T67" fmla="*/ 2147483646 h 179"/>
              <a:gd name="T68" fmla="*/ 2147483646 w 578"/>
              <a:gd name="T69" fmla="*/ 2147483646 h 179"/>
              <a:gd name="T70" fmla="*/ 2147483646 w 578"/>
              <a:gd name="T71" fmla="*/ 2147483646 h 179"/>
              <a:gd name="T72" fmla="*/ 2147483646 w 578"/>
              <a:gd name="T73" fmla="*/ 2147483646 h 179"/>
              <a:gd name="T74" fmla="*/ 2147483646 w 578"/>
              <a:gd name="T75" fmla="*/ 2147483646 h 179"/>
              <a:gd name="T76" fmla="*/ 2147483646 w 578"/>
              <a:gd name="T77" fmla="*/ 2147483646 h 179"/>
              <a:gd name="T78" fmla="*/ 2147483646 w 578"/>
              <a:gd name="T79" fmla="*/ 2147483646 h 179"/>
              <a:gd name="T80" fmla="*/ 2147483646 w 578"/>
              <a:gd name="T81" fmla="*/ 2147483646 h 179"/>
              <a:gd name="T82" fmla="*/ 2147483646 w 578"/>
              <a:gd name="T83" fmla="*/ 2147483646 h 179"/>
              <a:gd name="T84" fmla="*/ 2147483646 w 578"/>
              <a:gd name="T85" fmla="*/ 2147483646 h 179"/>
              <a:gd name="T86" fmla="*/ 2147483646 w 578"/>
              <a:gd name="T87" fmla="*/ 2147483646 h 179"/>
              <a:gd name="T88" fmla="*/ 2147483646 w 578"/>
              <a:gd name="T89" fmla="*/ 2147483646 h 179"/>
              <a:gd name="T90" fmla="*/ 2147483646 w 578"/>
              <a:gd name="T91" fmla="*/ 2147483646 h 179"/>
              <a:gd name="T92" fmla="*/ 2147483646 w 578"/>
              <a:gd name="T93" fmla="*/ 2147483646 h 179"/>
              <a:gd name="T94" fmla="*/ 2147483646 w 578"/>
              <a:gd name="T95" fmla="*/ 2147483646 h 179"/>
              <a:gd name="T96" fmla="*/ 2147483646 w 578"/>
              <a:gd name="T97" fmla="*/ 2147483646 h 179"/>
              <a:gd name="T98" fmla="*/ 2147483646 w 578"/>
              <a:gd name="T99" fmla="*/ 2147483646 h 179"/>
              <a:gd name="T100" fmla="*/ 2147483646 w 578"/>
              <a:gd name="T101" fmla="*/ 2147483646 h 179"/>
              <a:gd name="T102" fmla="*/ 2147483646 w 578"/>
              <a:gd name="T103" fmla="*/ 2147483646 h 179"/>
              <a:gd name="T104" fmla="*/ 2147483646 w 578"/>
              <a:gd name="T105" fmla="*/ 2147483646 h 179"/>
              <a:gd name="T106" fmla="*/ 2147483646 w 578"/>
              <a:gd name="T107" fmla="*/ 2147483646 h 179"/>
              <a:gd name="T108" fmla="*/ 2147483646 w 578"/>
              <a:gd name="T109" fmla="*/ 2147483646 h 179"/>
              <a:gd name="T110" fmla="*/ 2147483646 w 578"/>
              <a:gd name="T111" fmla="*/ 2147483646 h 179"/>
              <a:gd name="T112" fmla="*/ 2147483646 w 578"/>
              <a:gd name="T113" fmla="*/ 2147483646 h 179"/>
              <a:gd name="T114" fmla="*/ 2147483646 w 578"/>
              <a:gd name="T115" fmla="*/ 2147483646 h 179"/>
              <a:gd name="T116" fmla="*/ 2147483646 w 578"/>
              <a:gd name="T117" fmla="*/ 2147483646 h 179"/>
              <a:gd name="T118" fmla="*/ 2147483646 w 578"/>
              <a:gd name="T119" fmla="*/ 2147483646 h 179"/>
              <a:gd name="T120" fmla="*/ 2147483646 w 578"/>
              <a:gd name="T121" fmla="*/ 2147483646 h 17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578" h="179">
                <a:moveTo>
                  <a:pt x="484" y="109"/>
                </a:moveTo>
                <a:cubicBezTo>
                  <a:pt x="484" y="110"/>
                  <a:pt x="484" y="110"/>
                  <a:pt x="484" y="110"/>
                </a:cubicBezTo>
                <a:cubicBezTo>
                  <a:pt x="483" y="110"/>
                  <a:pt x="483" y="110"/>
                  <a:pt x="484" y="109"/>
                </a:cubicBezTo>
                <a:close/>
                <a:moveTo>
                  <a:pt x="484" y="110"/>
                </a:moveTo>
                <a:cubicBezTo>
                  <a:pt x="486" y="114"/>
                  <a:pt x="491" y="116"/>
                  <a:pt x="494" y="118"/>
                </a:cubicBezTo>
                <a:cubicBezTo>
                  <a:pt x="496" y="111"/>
                  <a:pt x="487" y="111"/>
                  <a:pt x="484" y="110"/>
                </a:cubicBezTo>
                <a:close/>
                <a:moveTo>
                  <a:pt x="491" y="102"/>
                </a:moveTo>
                <a:cubicBezTo>
                  <a:pt x="488" y="99"/>
                  <a:pt x="488" y="99"/>
                  <a:pt x="488" y="99"/>
                </a:cubicBezTo>
                <a:cubicBezTo>
                  <a:pt x="489" y="100"/>
                  <a:pt x="488" y="103"/>
                  <a:pt x="491" y="102"/>
                </a:cubicBezTo>
                <a:close/>
                <a:moveTo>
                  <a:pt x="484" y="104"/>
                </a:moveTo>
                <a:cubicBezTo>
                  <a:pt x="485" y="108"/>
                  <a:pt x="485" y="108"/>
                  <a:pt x="485" y="108"/>
                </a:cubicBezTo>
                <a:cubicBezTo>
                  <a:pt x="486" y="105"/>
                  <a:pt x="486" y="105"/>
                  <a:pt x="486" y="105"/>
                </a:cubicBezTo>
                <a:lnTo>
                  <a:pt x="484" y="104"/>
                </a:lnTo>
                <a:close/>
                <a:moveTo>
                  <a:pt x="277" y="97"/>
                </a:moveTo>
                <a:cubicBezTo>
                  <a:pt x="277" y="96"/>
                  <a:pt x="277" y="94"/>
                  <a:pt x="277" y="93"/>
                </a:cubicBezTo>
                <a:lnTo>
                  <a:pt x="277" y="97"/>
                </a:lnTo>
                <a:close/>
                <a:moveTo>
                  <a:pt x="266" y="80"/>
                </a:moveTo>
                <a:cubicBezTo>
                  <a:pt x="267" y="80"/>
                  <a:pt x="267" y="81"/>
                  <a:pt x="268" y="81"/>
                </a:cubicBezTo>
                <a:cubicBezTo>
                  <a:pt x="267" y="80"/>
                  <a:pt x="267" y="80"/>
                  <a:pt x="266" y="80"/>
                </a:cubicBezTo>
                <a:close/>
                <a:moveTo>
                  <a:pt x="284" y="93"/>
                </a:moveTo>
                <a:cubicBezTo>
                  <a:pt x="286" y="93"/>
                  <a:pt x="286" y="93"/>
                  <a:pt x="286" y="93"/>
                </a:cubicBezTo>
                <a:cubicBezTo>
                  <a:pt x="285" y="93"/>
                  <a:pt x="284" y="93"/>
                  <a:pt x="284" y="93"/>
                </a:cubicBezTo>
                <a:close/>
                <a:moveTo>
                  <a:pt x="394" y="100"/>
                </a:moveTo>
                <a:cubicBezTo>
                  <a:pt x="393" y="99"/>
                  <a:pt x="391" y="97"/>
                  <a:pt x="390" y="95"/>
                </a:cubicBezTo>
                <a:cubicBezTo>
                  <a:pt x="391" y="97"/>
                  <a:pt x="390" y="101"/>
                  <a:pt x="394" y="100"/>
                </a:cubicBezTo>
                <a:close/>
                <a:moveTo>
                  <a:pt x="225" y="44"/>
                </a:moveTo>
                <a:cubicBezTo>
                  <a:pt x="225" y="42"/>
                  <a:pt x="225" y="42"/>
                  <a:pt x="225" y="42"/>
                </a:cubicBezTo>
                <a:cubicBezTo>
                  <a:pt x="224" y="42"/>
                  <a:pt x="224" y="43"/>
                  <a:pt x="225" y="44"/>
                </a:cubicBezTo>
                <a:close/>
                <a:moveTo>
                  <a:pt x="267" y="49"/>
                </a:moveTo>
                <a:cubicBezTo>
                  <a:pt x="267" y="49"/>
                  <a:pt x="267" y="49"/>
                  <a:pt x="267" y="49"/>
                </a:cubicBezTo>
                <a:cubicBezTo>
                  <a:pt x="267" y="48"/>
                  <a:pt x="268" y="48"/>
                  <a:pt x="268" y="46"/>
                </a:cubicBezTo>
                <a:lnTo>
                  <a:pt x="267" y="49"/>
                </a:lnTo>
                <a:close/>
                <a:moveTo>
                  <a:pt x="294" y="90"/>
                </a:moveTo>
                <a:cubicBezTo>
                  <a:pt x="293" y="89"/>
                  <a:pt x="293" y="89"/>
                  <a:pt x="293" y="89"/>
                </a:cubicBezTo>
                <a:cubicBezTo>
                  <a:pt x="292" y="89"/>
                  <a:pt x="292" y="89"/>
                  <a:pt x="292" y="89"/>
                </a:cubicBezTo>
                <a:cubicBezTo>
                  <a:pt x="293" y="90"/>
                  <a:pt x="293" y="90"/>
                  <a:pt x="294" y="90"/>
                </a:cubicBezTo>
                <a:close/>
                <a:moveTo>
                  <a:pt x="210" y="34"/>
                </a:moveTo>
                <a:cubicBezTo>
                  <a:pt x="210" y="36"/>
                  <a:pt x="211" y="38"/>
                  <a:pt x="212" y="39"/>
                </a:cubicBezTo>
                <a:cubicBezTo>
                  <a:pt x="212" y="37"/>
                  <a:pt x="211" y="35"/>
                  <a:pt x="210" y="34"/>
                </a:cubicBezTo>
                <a:close/>
                <a:moveTo>
                  <a:pt x="266" y="80"/>
                </a:moveTo>
                <a:cubicBezTo>
                  <a:pt x="266" y="80"/>
                  <a:pt x="266" y="80"/>
                  <a:pt x="266" y="80"/>
                </a:cubicBezTo>
                <a:cubicBezTo>
                  <a:pt x="266" y="80"/>
                  <a:pt x="266" y="80"/>
                  <a:pt x="266" y="80"/>
                </a:cubicBezTo>
                <a:cubicBezTo>
                  <a:pt x="266" y="80"/>
                  <a:pt x="266" y="80"/>
                  <a:pt x="266" y="80"/>
                </a:cubicBezTo>
                <a:close/>
                <a:moveTo>
                  <a:pt x="279" y="48"/>
                </a:moveTo>
                <a:cubicBezTo>
                  <a:pt x="280" y="49"/>
                  <a:pt x="281" y="49"/>
                  <a:pt x="281" y="49"/>
                </a:cubicBezTo>
                <a:cubicBezTo>
                  <a:pt x="281" y="48"/>
                  <a:pt x="280" y="48"/>
                  <a:pt x="279" y="48"/>
                </a:cubicBezTo>
                <a:close/>
                <a:moveTo>
                  <a:pt x="389" y="93"/>
                </a:moveTo>
                <a:cubicBezTo>
                  <a:pt x="390" y="95"/>
                  <a:pt x="390" y="95"/>
                  <a:pt x="390" y="95"/>
                </a:cubicBezTo>
                <a:cubicBezTo>
                  <a:pt x="390" y="94"/>
                  <a:pt x="390" y="93"/>
                  <a:pt x="389" y="93"/>
                </a:cubicBezTo>
                <a:close/>
                <a:moveTo>
                  <a:pt x="471" y="106"/>
                </a:moveTo>
                <a:cubicBezTo>
                  <a:pt x="471" y="108"/>
                  <a:pt x="470" y="109"/>
                  <a:pt x="472" y="110"/>
                </a:cubicBezTo>
                <a:cubicBezTo>
                  <a:pt x="472" y="108"/>
                  <a:pt x="471" y="107"/>
                  <a:pt x="471" y="106"/>
                </a:cubicBezTo>
                <a:close/>
                <a:moveTo>
                  <a:pt x="5" y="110"/>
                </a:moveTo>
                <a:cubicBezTo>
                  <a:pt x="5" y="110"/>
                  <a:pt x="5" y="110"/>
                  <a:pt x="5" y="110"/>
                </a:cubicBezTo>
                <a:cubicBezTo>
                  <a:pt x="5" y="110"/>
                  <a:pt x="5" y="110"/>
                  <a:pt x="5" y="110"/>
                </a:cubicBezTo>
                <a:close/>
                <a:moveTo>
                  <a:pt x="52" y="103"/>
                </a:moveTo>
                <a:cubicBezTo>
                  <a:pt x="51" y="102"/>
                  <a:pt x="51" y="102"/>
                  <a:pt x="51" y="101"/>
                </a:cubicBezTo>
                <a:cubicBezTo>
                  <a:pt x="51" y="103"/>
                  <a:pt x="51" y="104"/>
                  <a:pt x="52" y="103"/>
                </a:cubicBezTo>
                <a:close/>
                <a:moveTo>
                  <a:pt x="87" y="38"/>
                </a:moveTo>
                <a:cubicBezTo>
                  <a:pt x="96" y="43"/>
                  <a:pt x="96" y="43"/>
                  <a:pt x="96" y="43"/>
                </a:cubicBezTo>
                <a:cubicBezTo>
                  <a:pt x="96" y="41"/>
                  <a:pt x="100" y="39"/>
                  <a:pt x="97" y="37"/>
                </a:cubicBezTo>
                <a:cubicBezTo>
                  <a:pt x="101" y="41"/>
                  <a:pt x="101" y="41"/>
                  <a:pt x="101" y="41"/>
                </a:cubicBezTo>
                <a:cubicBezTo>
                  <a:pt x="101" y="38"/>
                  <a:pt x="101" y="38"/>
                  <a:pt x="101" y="38"/>
                </a:cubicBezTo>
                <a:cubicBezTo>
                  <a:pt x="115" y="31"/>
                  <a:pt x="128" y="52"/>
                  <a:pt x="141" y="38"/>
                </a:cubicBezTo>
                <a:cubicBezTo>
                  <a:pt x="141" y="37"/>
                  <a:pt x="141" y="37"/>
                  <a:pt x="141" y="37"/>
                </a:cubicBezTo>
                <a:cubicBezTo>
                  <a:pt x="150" y="43"/>
                  <a:pt x="150" y="43"/>
                  <a:pt x="150" y="43"/>
                </a:cubicBezTo>
                <a:cubicBezTo>
                  <a:pt x="151" y="43"/>
                  <a:pt x="151" y="37"/>
                  <a:pt x="154" y="35"/>
                </a:cubicBezTo>
                <a:cubicBezTo>
                  <a:pt x="153" y="41"/>
                  <a:pt x="159" y="36"/>
                  <a:pt x="160" y="41"/>
                </a:cubicBezTo>
                <a:cubicBezTo>
                  <a:pt x="162" y="38"/>
                  <a:pt x="160" y="37"/>
                  <a:pt x="159" y="35"/>
                </a:cubicBezTo>
                <a:cubicBezTo>
                  <a:pt x="167" y="29"/>
                  <a:pt x="174" y="38"/>
                  <a:pt x="182" y="34"/>
                </a:cubicBezTo>
                <a:cubicBezTo>
                  <a:pt x="174" y="42"/>
                  <a:pt x="174" y="40"/>
                  <a:pt x="168" y="43"/>
                </a:cubicBezTo>
                <a:cubicBezTo>
                  <a:pt x="175" y="46"/>
                  <a:pt x="176" y="40"/>
                  <a:pt x="184" y="42"/>
                </a:cubicBezTo>
                <a:cubicBezTo>
                  <a:pt x="180" y="40"/>
                  <a:pt x="180" y="40"/>
                  <a:pt x="180" y="40"/>
                </a:cubicBezTo>
                <a:cubicBezTo>
                  <a:pt x="184" y="31"/>
                  <a:pt x="192" y="44"/>
                  <a:pt x="193" y="35"/>
                </a:cubicBezTo>
                <a:cubicBezTo>
                  <a:pt x="197" y="36"/>
                  <a:pt x="201" y="45"/>
                  <a:pt x="206" y="44"/>
                </a:cubicBezTo>
                <a:cubicBezTo>
                  <a:pt x="204" y="36"/>
                  <a:pt x="204" y="36"/>
                  <a:pt x="204" y="36"/>
                </a:cubicBezTo>
                <a:cubicBezTo>
                  <a:pt x="209" y="35"/>
                  <a:pt x="209" y="35"/>
                  <a:pt x="209" y="35"/>
                </a:cubicBezTo>
                <a:cubicBezTo>
                  <a:pt x="209" y="41"/>
                  <a:pt x="209" y="41"/>
                  <a:pt x="209" y="41"/>
                </a:cubicBezTo>
                <a:cubicBezTo>
                  <a:pt x="211" y="41"/>
                  <a:pt x="211" y="40"/>
                  <a:pt x="212" y="39"/>
                </a:cubicBezTo>
                <a:cubicBezTo>
                  <a:pt x="215" y="45"/>
                  <a:pt x="220" y="42"/>
                  <a:pt x="224" y="47"/>
                </a:cubicBezTo>
                <a:cubicBezTo>
                  <a:pt x="225" y="44"/>
                  <a:pt x="225" y="44"/>
                  <a:pt x="225" y="44"/>
                </a:cubicBezTo>
                <a:cubicBezTo>
                  <a:pt x="225" y="45"/>
                  <a:pt x="226" y="45"/>
                  <a:pt x="226" y="46"/>
                </a:cubicBezTo>
                <a:cubicBezTo>
                  <a:pt x="227" y="41"/>
                  <a:pt x="230" y="43"/>
                  <a:pt x="231" y="39"/>
                </a:cubicBezTo>
                <a:cubicBezTo>
                  <a:pt x="229" y="37"/>
                  <a:pt x="226" y="35"/>
                  <a:pt x="226" y="38"/>
                </a:cubicBezTo>
                <a:cubicBezTo>
                  <a:pt x="222" y="32"/>
                  <a:pt x="231" y="35"/>
                  <a:pt x="233" y="35"/>
                </a:cubicBezTo>
                <a:cubicBezTo>
                  <a:pt x="230" y="37"/>
                  <a:pt x="234" y="38"/>
                  <a:pt x="235" y="39"/>
                </a:cubicBezTo>
                <a:cubicBezTo>
                  <a:pt x="236" y="39"/>
                  <a:pt x="235" y="38"/>
                  <a:pt x="235" y="37"/>
                </a:cubicBezTo>
                <a:cubicBezTo>
                  <a:pt x="240" y="34"/>
                  <a:pt x="241" y="48"/>
                  <a:pt x="244" y="39"/>
                </a:cubicBezTo>
                <a:cubicBezTo>
                  <a:pt x="245" y="44"/>
                  <a:pt x="245" y="44"/>
                  <a:pt x="245" y="44"/>
                </a:cubicBezTo>
                <a:cubicBezTo>
                  <a:pt x="249" y="40"/>
                  <a:pt x="249" y="40"/>
                  <a:pt x="249" y="40"/>
                </a:cubicBezTo>
                <a:cubicBezTo>
                  <a:pt x="249" y="50"/>
                  <a:pt x="254" y="41"/>
                  <a:pt x="254" y="51"/>
                </a:cubicBezTo>
                <a:cubicBezTo>
                  <a:pt x="258" y="51"/>
                  <a:pt x="254" y="45"/>
                  <a:pt x="255" y="46"/>
                </a:cubicBezTo>
                <a:cubicBezTo>
                  <a:pt x="259" y="44"/>
                  <a:pt x="266" y="54"/>
                  <a:pt x="267" y="49"/>
                </a:cubicBezTo>
                <a:cubicBezTo>
                  <a:pt x="270" y="53"/>
                  <a:pt x="274" y="51"/>
                  <a:pt x="277" y="53"/>
                </a:cubicBezTo>
                <a:cubicBezTo>
                  <a:pt x="277" y="48"/>
                  <a:pt x="277" y="48"/>
                  <a:pt x="277" y="48"/>
                </a:cubicBezTo>
                <a:cubicBezTo>
                  <a:pt x="279" y="50"/>
                  <a:pt x="280" y="52"/>
                  <a:pt x="282" y="51"/>
                </a:cubicBezTo>
                <a:cubicBezTo>
                  <a:pt x="282" y="51"/>
                  <a:pt x="282" y="50"/>
                  <a:pt x="281" y="49"/>
                </a:cubicBezTo>
                <a:cubicBezTo>
                  <a:pt x="287" y="52"/>
                  <a:pt x="291" y="53"/>
                  <a:pt x="296" y="53"/>
                </a:cubicBezTo>
                <a:cubicBezTo>
                  <a:pt x="296" y="50"/>
                  <a:pt x="296" y="49"/>
                  <a:pt x="293" y="47"/>
                </a:cubicBezTo>
                <a:cubicBezTo>
                  <a:pt x="298" y="43"/>
                  <a:pt x="305" y="54"/>
                  <a:pt x="311" y="53"/>
                </a:cubicBezTo>
                <a:cubicBezTo>
                  <a:pt x="311" y="50"/>
                  <a:pt x="311" y="50"/>
                  <a:pt x="311" y="50"/>
                </a:cubicBezTo>
                <a:cubicBezTo>
                  <a:pt x="314" y="54"/>
                  <a:pt x="314" y="54"/>
                  <a:pt x="314" y="54"/>
                </a:cubicBezTo>
                <a:cubicBezTo>
                  <a:pt x="314" y="53"/>
                  <a:pt x="314" y="51"/>
                  <a:pt x="315" y="50"/>
                </a:cubicBezTo>
                <a:cubicBezTo>
                  <a:pt x="321" y="49"/>
                  <a:pt x="329" y="50"/>
                  <a:pt x="331" y="59"/>
                </a:cubicBezTo>
                <a:cubicBezTo>
                  <a:pt x="330" y="57"/>
                  <a:pt x="335" y="54"/>
                  <a:pt x="331" y="50"/>
                </a:cubicBezTo>
                <a:cubicBezTo>
                  <a:pt x="337" y="57"/>
                  <a:pt x="345" y="56"/>
                  <a:pt x="352" y="59"/>
                </a:cubicBezTo>
                <a:cubicBezTo>
                  <a:pt x="352" y="59"/>
                  <a:pt x="352" y="59"/>
                  <a:pt x="352" y="59"/>
                </a:cubicBezTo>
                <a:cubicBezTo>
                  <a:pt x="355" y="62"/>
                  <a:pt x="355" y="62"/>
                  <a:pt x="355" y="62"/>
                </a:cubicBezTo>
                <a:cubicBezTo>
                  <a:pt x="355" y="61"/>
                  <a:pt x="355" y="61"/>
                  <a:pt x="355" y="61"/>
                </a:cubicBezTo>
                <a:cubicBezTo>
                  <a:pt x="353" y="59"/>
                  <a:pt x="353" y="59"/>
                  <a:pt x="353" y="59"/>
                </a:cubicBezTo>
                <a:cubicBezTo>
                  <a:pt x="356" y="60"/>
                  <a:pt x="359" y="62"/>
                  <a:pt x="360" y="65"/>
                </a:cubicBezTo>
                <a:cubicBezTo>
                  <a:pt x="361" y="63"/>
                  <a:pt x="362" y="60"/>
                  <a:pt x="364" y="58"/>
                </a:cubicBezTo>
                <a:cubicBezTo>
                  <a:pt x="364" y="64"/>
                  <a:pt x="373" y="54"/>
                  <a:pt x="376" y="61"/>
                </a:cubicBezTo>
                <a:cubicBezTo>
                  <a:pt x="377" y="60"/>
                  <a:pt x="375" y="60"/>
                  <a:pt x="376" y="58"/>
                </a:cubicBezTo>
                <a:cubicBezTo>
                  <a:pt x="385" y="60"/>
                  <a:pt x="397" y="69"/>
                  <a:pt x="408" y="67"/>
                </a:cubicBezTo>
                <a:cubicBezTo>
                  <a:pt x="407" y="77"/>
                  <a:pt x="416" y="76"/>
                  <a:pt x="420" y="83"/>
                </a:cubicBezTo>
                <a:cubicBezTo>
                  <a:pt x="423" y="77"/>
                  <a:pt x="418" y="79"/>
                  <a:pt x="417" y="74"/>
                </a:cubicBezTo>
                <a:cubicBezTo>
                  <a:pt x="420" y="76"/>
                  <a:pt x="420" y="66"/>
                  <a:pt x="424" y="72"/>
                </a:cubicBezTo>
                <a:cubicBezTo>
                  <a:pt x="424" y="71"/>
                  <a:pt x="425" y="71"/>
                  <a:pt x="423" y="70"/>
                </a:cubicBezTo>
                <a:cubicBezTo>
                  <a:pt x="427" y="71"/>
                  <a:pt x="421" y="78"/>
                  <a:pt x="426" y="77"/>
                </a:cubicBezTo>
                <a:cubicBezTo>
                  <a:pt x="428" y="73"/>
                  <a:pt x="428" y="73"/>
                  <a:pt x="428" y="73"/>
                </a:cubicBezTo>
                <a:cubicBezTo>
                  <a:pt x="429" y="79"/>
                  <a:pt x="429" y="79"/>
                  <a:pt x="429" y="79"/>
                </a:cubicBezTo>
                <a:cubicBezTo>
                  <a:pt x="440" y="79"/>
                  <a:pt x="447" y="84"/>
                  <a:pt x="457" y="82"/>
                </a:cubicBezTo>
                <a:cubicBezTo>
                  <a:pt x="457" y="83"/>
                  <a:pt x="457" y="85"/>
                  <a:pt x="455" y="86"/>
                </a:cubicBezTo>
                <a:cubicBezTo>
                  <a:pt x="459" y="87"/>
                  <a:pt x="461" y="96"/>
                  <a:pt x="467" y="93"/>
                </a:cubicBezTo>
                <a:cubicBezTo>
                  <a:pt x="467" y="91"/>
                  <a:pt x="467" y="91"/>
                  <a:pt x="467" y="91"/>
                </a:cubicBezTo>
                <a:cubicBezTo>
                  <a:pt x="475" y="89"/>
                  <a:pt x="472" y="98"/>
                  <a:pt x="479" y="103"/>
                </a:cubicBezTo>
                <a:cubicBezTo>
                  <a:pt x="478" y="102"/>
                  <a:pt x="474" y="98"/>
                  <a:pt x="472" y="102"/>
                </a:cubicBezTo>
                <a:cubicBezTo>
                  <a:pt x="472" y="106"/>
                  <a:pt x="476" y="107"/>
                  <a:pt x="478" y="105"/>
                </a:cubicBezTo>
                <a:cubicBezTo>
                  <a:pt x="476" y="110"/>
                  <a:pt x="476" y="110"/>
                  <a:pt x="476" y="110"/>
                </a:cubicBezTo>
                <a:cubicBezTo>
                  <a:pt x="476" y="106"/>
                  <a:pt x="473" y="106"/>
                  <a:pt x="471" y="103"/>
                </a:cubicBezTo>
                <a:cubicBezTo>
                  <a:pt x="471" y="104"/>
                  <a:pt x="471" y="105"/>
                  <a:pt x="471" y="106"/>
                </a:cubicBezTo>
                <a:cubicBezTo>
                  <a:pt x="470" y="104"/>
                  <a:pt x="467" y="103"/>
                  <a:pt x="464" y="100"/>
                </a:cubicBezTo>
                <a:cubicBezTo>
                  <a:pt x="469" y="101"/>
                  <a:pt x="469" y="101"/>
                  <a:pt x="469" y="101"/>
                </a:cubicBezTo>
                <a:cubicBezTo>
                  <a:pt x="469" y="95"/>
                  <a:pt x="462" y="99"/>
                  <a:pt x="461" y="97"/>
                </a:cubicBezTo>
                <a:cubicBezTo>
                  <a:pt x="459" y="102"/>
                  <a:pt x="462" y="102"/>
                  <a:pt x="458" y="105"/>
                </a:cubicBezTo>
                <a:cubicBezTo>
                  <a:pt x="451" y="105"/>
                  <a:pt x="456" y="99"/>
                  <a:pt x="451" y="92"/>
                </a:cubicBezTo>
                <a:cubicBezTo>
                  <a:pt x="452" y="90"/>
                  <a:pt x="452" y="90"/>
                  <a:pt x="452" y="90"/>
                </a:cubicBezTo>
                <a:cubicBezTo>
                  <a:pt x="450" y="89"/>
                  <a:pt x="450" y="83"/>
                  <a:pt x="446" y="86"/>
                </a:cubicBezTo>
                <a:cubicBezTo>
                  <a:pt x="445" y="90"/>
                  <a:pt x="448" y="90"/>
                  <a:pt x="448" y="92"/>
                </a:cubicBezTo>
                <a:cubicBezTo>
                  <a:pt x="447" y="94"/>
                  <a:pt x="446" y="85"/>
                  <a:pt x="443" y="88"/>
                </a:cubicBezTo>
                <a:cubicBezTo>
                  <a:pt x="444" y="94"/>
                  <a:pt x="448" y="97"/>
                  <a:pt x="452" y="98"/>
                </a:cubicBezTo>
                <a:cubicBezTo>
                  <a:pt x="451" y="99"/>
                  <a:pt x="450" y="101"/>
                  <a:pt x="450" y="103"/>
                </a:cubicBezTo>
                <a:cubicBezTo>
                  <a:pt x="441" y="96"/>
                  <a:pt x="431" y="87"/>
                  <a:pt x="420" y="88"/>
                </a:cubicBezTo>
                <a:cubicBezTo>
                  <a:pt x="424" y="96"/>
                  <a:pt x="418" y="87"/>
                  <a:pt x="417" y="95"/>
                </a:cubicBezTo>
                <a:cubicBezTo>
                  <a:pt x="418" y="90"/>
                  <a:pt x="414" y="94"/>
                  <a:pt x="411" y="91"/>
                </a:cubicBezTo>
                <a:cubicBezTo>
                  <a:pt x="409" y="96"/>
                  <a:pt x="416" y="96"/>
                  <a:pt x="413" y="100"/>
                </a:cubicBezTo>
                <a:cubicBezTo>
                  <a:pt x="408" y="97"/>
                  <a:pt x="402" y="86"/>
                  <a:pt x="395" y="86"/>
                </a:cubicBezTo>
                <a:cubicBezTo>
                  <a:pt x="395" y="89"/>
                  <a:pt x="397" y="89"/>
                  <a:pt x="397" y="90"/>
                </a:cubicBezTo>
                <a:cubicBezTo>
                  <a:pt x="392" y="88"/>
                  <a:pt x="388" y="74"/>
                  <a:pt x="383" y="82"/>
                </a:cubicBezTo>
                <a:cubicBezTo>
                  <a:pt x="385" y="86"/>
                  <a:pt x="387" y="89"/>
                  <a:pt x="389" y="93"/>
                </a:cubicBezTo>
                <a:cubicBezTo>
                  <a:pt x="389" y="93"/>
                  <a:pt x="388" y="93"/>
                  <a:pt x="386" y="94"/>
                </a:cubicBezTo>
                <a:cubicBezTo>
                  <a:pt x="387" y="99"/>
                  <a:pt x="387" y="99"/>
                  <a:pt x="387" y="99"/>
                </a:cubicBezTo>
                <a:cubicBezTo>
                  <a:pt x="381" y="99"/>
                  <a:pt x="384" y="89"/>
                  <a:pt x="382" y="84"/>
                </a:cubicBezTo>
                <a:cubicBezTo>
                  <a:pt x="378" y="89"/>
                  <a:pt x="378" y="89"/>
                  <a:pt x="378" y="89"/>
                </a:cubicBezTo>
                <a:cubicBezTo>
                  <a:pt x="371" y="91"/>
                  <a:pt x="365" y="87"/>
                  <a:pt x="362" y="79"/>
                </a:cubicBezTo>
                <a:cubicBezTo>
                  <a:pt x="361" y="79"/>
                  <a:pt x="356" y="78"/>
                  <a:pt x="358" y="83"/>
                </a:cubicBezTo>
                <a:cubicBezTo>
                  <a:pt x="360" y="91"/>
                  <a:pt x="361" y="96"/>
                  <a:pt x="367" y="97"/>
                </a:cubicBezTo>
                <a:cubicBezTo>
                  <a:pt x="369" y="92"/>
                  <a:pt x="363" y="91"/>
                  <a:pt x="365" y="91"/>
                </a:cubicBezTo>
                <a:cubicBezTo>
                  <a:pt x="367" y="92"/>
                  <a:pt x="373" y="89"/>
                  <a:pt x="374" y="94"/>
                </a:cubicBezTo>
                <a:cubicBezTo>
                  <a:pt x="367" y="92"/>
                  <a:pt x="367" y="92"/>
                  <a:pt x="367" y="92"/>
                </a:cubicBezTo>
                <a:cubicBezTo>
                  <a:pt x="366" y="99"/>
                  <a:pt x="370" y="93"/>
                  <a:pt x="371" y="97"/>
                </a:cubicBezTo>
                <a:cubicBezTo>
                  <a:pt x="368" y="102"/>
                  <a:pt x="365" y="95"/>
                  <a:pt x="362" y="98"/>
                </a:cubicBezTo>
                <a:cubicBezTo>
                  <a:pt x="362" y="98"/>
                  <a:pt x="362" y="98"/>
                  <a:pt x="362" y="98"/>
                </a:cubicBezTo>
                <a:cubicBezTo>
                  <a:pt x="357" y="96"/>
                  <a:pt x="358" y="98"/>
                  <a:pt x="353" y="94"/>
                </a:cubicBezTo>
                <a:cubicBezTo>
                  <a:pt x="353" y="87"/>
                  <a:pt x="355" y="90"/>
                  <a:pt x="358" y="88"/>
                </a:cubicBezTo>
                <a:cubicBezTo>
                  <a:pt x="349" y="87"/>
                  <a:pt x="338" y="73"/>
                  <a:pt x="328" y="83"/>
                </a:cubicBezTo>
                <a:cubicBezTo>
                  <a:pt x="333" y="90"/>
                  <a:pt x="333" y="90"/>
                  <a:pt x="333" y="90"/>
                </a:cubicBezTo>
                <a:cubicBezTo>
                  <a:pt x="330" y="91"/>
                  <a:pt x="324" y="84"/>
                  <a:pt x="324" y="92"/>
                </a:cubicBezTo>
                <a:cubicBezTo>
                  <a:pt x="328" y="90"/>
                  <a:pt x="326" y="95"/>
                  <a:pt x="328" y="97"/>
                </a:cubicBezTo>
                <a:cubicBezTo>
                  <a:pt x="328" y="96"/>
                  <a:pt x="328" y="96"/>
                  <a:pt x="328" y="96"/>
                </a:cubicBezTo>
                <a:cubicBezTo>
                  <a:pt x="328" y="96"/>
                  <a:pt x="330" y="98"/>
                  <a:pt x="329" y="99"/>
                </a:cubicBezTo>
                <a:cubicBezTo>
                  <a:pt x="326" y="94"/>
                  <a:pt x="322" y="92"/>
                  <a:pt x="319" y="89"/>
                </a:cubicBezTo>
                <a:cubicBezTo>
                  <a:pt x="320" y="91"/>
                  <a:pt x="317" y="93"/>
                  <a:pt x="316" y="94"/>
                </a:cubicBezTo>
                <a:cubicBezTo>
                  <a:pt x="313" y="93"/>
                  <a:pt x="317" y="91"/>
                  <a:pt x="317" y="88"/>
                </a:cubicBezTo>
                <a:cubicBezTo>
                  <a:pt x="315" y="88"/>
                  <a:pt x="313" y="83"/>
                  <a:pt x="311" y="87"/>
                </a:cubicBezTo>
                <a:cubicBezTo>
                  <a:pt x="309" y="91"/>
                  <a:pt x="314" y="91"/>
                  <a:pt x="314" y="95"/>
                </a:cubicBezTo>
                <a:cubicBezTo>
                  <a:pt x="306" y="88"/>
                  <a:pt x="306" y="88"/>
                  <a:pt x="306" y="88"/>
                </a:cubicBezTo>
                <a:cubicBezTo>
                  <a:pt x="306" y="89"/>
                  <a:pt x="306" y="89"/>
                  <a:pt x="306" y="89"/>
                </a:cubicBezTo>
                <a:cubicBezTo>
                  <a:pt x="305" y="87"/>
                  <a:pt x="304" y="86"/>
                  <a:pt x="303" y="87"/>
                </a:cubicBezTo>
                <a:cubicBezTo>
                  <a:pt x="302" y="90"/>
                  <a:pt x="304" y="91"/>
                  <a:pt x="305" y="90"/>
                </a:cubicBezTo>
                <a:cubicBezTo>
                  <a:pt x="300" y="94"/>
                  <a:pt x="297" y="80"/>
                  <a:pt x="293" y="89"/>
                </a:cubicBezTo>
                <a:cubicBezTo>
                  <a:pt x="290" y="86"/>
                  <a:pt x="290" y="86"/>
                  <a:pt x="290" y="86"/>
                </a:cubicBezTo>
                <a:cubicBezTo>
                  <a:pt x="290" y="87"/>
                  <a:pt x="289" y="88"/>
                  <a:pt x="290" y="88"/>
                </a:cubicBezTo>
                <a:cubicBezTo>
                  <a:pt x="287" y="85"/>
                  <a:pt x="287" y="85"/>
                  <a:pt x="287" y="85"/>
                </a:cubicBezTo>
                <a:cubicBezTo>
                  <a:pt x="282" y="82"/>
                  <a:pt x="285" y="92"/>
                  <a:pt x="284" y="93"/>
                </a:cubicBezTo>
                <a:cubicBezTo>
                  <a:pt x="284" y="93"/>
                  <a:pt x="284" y="93"/>
                  <a:pt x="284" y="93"/>
                </a:cubicBezTo>
                <a:cubicBezTo>
                  <a:pt x="282" y="94"/>
                  <a:pt x="281" y="97"/>
                  <a:pt x="282" y="97"/>
                </a:cubicBezTo>
                <a:cubicBezTo>
                  <a:pt x="277" y="93"/>
                  <a:pt x="277" y="93"/>
                  <a:pt x="277" y="93"/>
                </a:cubicBezTo>
                <a:cubicBezTo>
                  <a:pt x="277" y="93"/>
                  <a:pt x="277" y="93"/>
                  <a:pt x="277" y="93"/>
                </a:cubicBezTo>
                <a:cubicBezTo>
                  <a:pt x="275" y="88"/>
                  <a:pt x="268" y="86"/>
                  <a:pt x="268" y="76"/>
                </a:cubicBezTo>
                <a:cubicBezTo>
                  <a:pt x="267" y="77"/>
                  <a:pt x="265" y="79"/>
                  <a:pt x="266" y="80"/>
                </a:cubicBezTo>
                <a:cubicBezTo>
                  <a:pt x="262" y="79"/>
                  <a:pt x="267" y="88"/>
                  <a:pt x="260" y="86"/>
                </a:cubicBezTo>
                <a:cubicBezTo>
                  <a:pt x="260" y="88"/>
                  <a:pt x="261" y="88"/>
                  <a:pt x="262" y="88"/>
                </a:cubicBezTo>
                <a:cubicBezTo>
                  <a:pt x="260" y="88"/>
                  <a:pt x="260" y="88"/>
                  <a:pt x="259" y="87"/>
                </a:cubicBezTo>
                <a:cubicBezTo>
                  <a:pt x="259" y="88"/>
                  <a:pt x="259" y="89"/>
                  <a:pt x="259" y="90"/>
                </a:cubicBezTo>
                <a:cubicBezTo>
                  <a:pt x="259" y="87"/>
                  <a:pt x="256" y="87"/>
                  <a:pt x="255" y="88"/>
                </a:cubicBezTo>
                <a:cubicBezTo>
                  <a:pt x="257" y="94"/>
                  <a:pt x="257" y="94"/>
                  <a:pt x="257" y="94"/>
                </a:cubicBezTo>
                <a:cubicBezTo>
                  <a:pt x="255" y="91"/>
                  <a:pt x="254" y="91"/>
                  <a:pt x="252" y="91"/>
                </a:cubicBezTo>
                <a:cubicBezTo>
                  <a:pt x="253" y="95"/>
                  <a:pt x="253" y="95"/>
                  <a:pt x="253" y="95"/>
                </a:cubicBezTo>
                <a:cubicBezTo>
                  <a:pt x="249" y="94"/>
                  <a:pt x="253" y="87"/>
                  <a:pt x="248" y="90"/>
                </a:cubicBezTo>
                <a:cubicBezTo>
                  <a:pt x="253" y="87"/>
                  <a:pt x="253" y="87"/>
                  <a:pt x="253" y="87"/>
                </a:cubicBezTo>
                <a:cubicBezTo>
                  <a:pt x="247" y="85"/>
                  <a:pt x="250" y="77"/>
                  <a:pt x="247" y="74"/>
                </a:cubicBezTo>
                <a:cubicBezTo>
                  <a:pt x="242" y="67"/>
                  <a:pt x="234" y="78"/>
                  <a:pt x="230" y="66"/>
                </a:cubicBezTo>
                <a:cubicBezTo>
                  <a:pt x="229" y="70"/>
                  <a:pt x="230" y="71"/>
                  <a:pt x="228" y="75"/>
                </a:cubicBezTo>
                <a:cubicBezTo>
                  <a:pt x="232" y="77"/>
                  <a:pt x="234" y="78"/>
                  <a:pt x="235" y="84"/>
                </a:cubicBezTo>
                <a:cubicBezTo>
                  <a:pt x="242" y="90"/>
                  <a:pt x="237" y="69"/>
                  <a:pt x="245" y="78"/>
                </a:cubicBezTo>
                <a:cubicBezTo>
                  <a:pt x="244" y="84"/>
                  <a:pt x="242" y="84"/>
                  <a:pt x="240" y="81"/>
                </a:cubicBezTo>
                <a:cubicBezTo>
                  <a:pt x="240" y="85"/>
                  <a:pt x="242" y="88"/>
                  <a:pt x="244" y="91"/>
                </a:cubicBezTo>
                <a:cubicBezTo>
                  <a:pt x="239" y="88"/>
                  <a:pt x="233" y="93"/>
                  <a:pt x="230" y="93"/>
                </a:cubicBezTo>
                <a:cubicBezTo>
                  <a:pt x="229" y="90"/>
                  <a:pt x="225" y="87"/>
                  <a:pt x="224" y="88"/>
                </a:cubicBezTo>
                <a:cubicBezTo>
                  <a:pt x="224" y="85"/>
                  <a:pt x="217" y="82"/>
                  <a:pt x="220" y="76"/>
                </a:cubicBezTo>
                <a:cubicBezTo>
                  <a:pt x="215" y="74"/>
                  <a:pt x="216" y="85"/>
                  <a:pt x="212" y="77"/>
                </a:cubicBezTo>
                <a:cubicBezTo>
                  <a:pt x="214" y="83"/>
                  <a:pt x="209" y="81"/>
                  <a:pt x="211" y="86"/>
                </a:cubicBezTo>
                <a:cubicBezTo>
                  <a:pt x="212" y="81"/>
                  <a:pt x="217" y="90"/>
                  <a:pt x="220" y="93"/>
                </a:cubicBezTo>
                <a:cubicBezTo>
                  <a:pt x="213" y="96"/>
                  <a:pt x="213" y="96"/>
                  <a:pt x="213" y="96"/>
                </a:cubicBezTo>
                <a:cubicBezTo>
                  <a:pt x="214" y="95"/>
                  <a:pt x="212" y="91"/>
                  <a:pt x="211" y="90"/>
                </a:cubicBezTo>
                <a:cubicBezTo>
                  <a:pt x="210" y="95"/>
                  <a:pt x="210" y="95"/>
                  <a:pt x="210" y="95"/>
                </a:cubicBezTo>
                <a:cubicBezTo>
                  <a:pt x="209" y="83"/>
                  <a:pt x="198" y="104"/>
                  <a:pt x="195" y="90"/>
                </a:cubicBezTo>
                <a:cubicBezTo>
                  <a:pt x="197" y="91"/>
                  <a:pt x="199" y="87"/>
                  <a:pt x="200" y="93"/>
                </a:cubicBezTo>
                <a:cubicBezTo>
                  <a:pt x="204" y="89"/>
                  <a:pt x="199" y="84"/>
                  <a:pt x="201" y="80"/>
                </a:cubicBezTo>
                <a:cubicBezTo>
                  <a:pt x="194" y="75"/>
                  <a:pt x="185" y="83"/>
                  <a:pt x="178" y="74"/>
                </a:cubicBezTo>
                <a:cubicBezTo>
                  <a:pt x="179" y="78"/>
                  <a:pt x="183" y="78"/>
                  <a:pt x="183" y="82"/>
                </a:cubicBezTo>
                <a:cubicBezTo>
                  <a:pt x="178" y="85"/>
                  <a:pt x="172" y="74"/>
                  <a:pt x="166" y="70"/>
                </a:cubicBezTo>
                <a:cubicBezTo>
                  <a:pt x="167" y="76"/>
                  <a:pt x="167" y="76"/>
                  <a:pt x="167" y="76"/>
                </a:cubicBezTo>
                <a:cubicBezTo>
                  <a:pt x="162" y="71"/>
                  <a:pt x="165" y="79"/>
                  <a:pt x="160" y="77"/>
                </a:cubicBezTo>
                <a:cubicBezTo>
                  <a:pt x="160" y="76"/>
                  <a:pt x="161" y="74"/>
                  <a:pt x="159" y="74"/>
                </a:cubicBezTo>
                <a:cubicBezTo>
                  <a:pt x="155" y="75"/>
                  <a:pt x="159" y="79"/>
                  <a:pt x="156" y="81"/>
                </a:cubicBezTo>
                <a:cubicBezTo>
                  <a:pt x="150" y="71"/>
                  <a:pt x="154" y="87"/>
                  <a:pt x="147" y="82"/>
                </a:cubicBezTo>
                <a:cubicBezTo>
                  <a:pt x="148" y="85"/>
                  <a:pt x="148" y="85"/>
                  <a:pt x="148" y="85"/>
                </a:cubicBezTo>
                <a:cubicBezTo>
                  <a:pt x="142" y="81"/>
                  <a:pt x="136" y="90"/>
                  <a:pt x="130" y="92"/>
                </a:cubicBezTo>
                <a:cubicBezTo>
                  <a:pt x="131" y="90"/>
                  <a:pt x="135" y="91"/>
                  <a:pt x="134" y="85"/>
                </a:cubicBezTo>
                <a:cubicBezTo>
                  <a:pt x="127" y="84"/>
                  <a:pt x="127" y="84"/>
                  <a:pt x="127" y="84"/>
                </a:cubicBezTo>
                <a:cubicBezTo>
                  <a:pt x="126" y="86"/>
                  <a:pt x="123" y="86"/>
                  <a:pt x="126" y="89"/>
                </a:cubicBezTo>
                <a:cubicBezTo>
                  <a:pt x="127" y="90"/>
                  <a:pt x="127" y="89"/>
                  <a:pt x="128" y="88"/>
                </a:cubicBezTo>
                <a:cubicBezTo>
                  <a:pt x="127" y="91"/>
                  <a:pt x="127" y="91"/>
                  <a:pt x="127" y="91"/>
                </a:cubicBezTo>
                <a:cubicBezTo>
                  <a:pt x="120" y="89"/>
                  <a:pt x="127" y="83"/>
                  <a:pt x="127" y="77"/>
                </a:cubicBezTo>
                <a:cubicBezTo>
                  <a:pt x="123" y="79"/>
                  <a:pt x="122" y="74"/>
                  <a:pt x="119" y="74"/>
                </a:cubicBezTo>
                <a:cubicBezTo>
                  <a:pt x="118" y="80"/>
                  <a:pt x="124" y="80"/>
                  <a:pt x="122" y="86"/>
                </a:cubicBezTo>
                <a:cubicBezTo>
                  <a:pt x="120" y="89"/>
                  <a:pt x="113" y="85"/>
                  <a:pt x="110" y="80"/>
                </a:cubicBezTo>
                <a:cubicBezTo>
                  <a:pt x="107" y="93"/>
                  <a:pt x="96" y="84"/>
                  <a:pt x="97" y="94"/>
                </a:cubicBezTo>
                <a:cubicBezTo>
                  <a:pt x="97" y="93"/>
                  <a:pt x="96" y="90"/>
                  <a:pt x="94" y="91"/>
                </a:cubicBezTo>
                <a:cubicBezTo>
                  <a:pt x="95" y="94"/>
                  <a:pt x="95" y="94"/>
                  <a:pt x="95" y="94"/>
                </a:cubicBezTo>
                <a:cubicBezTo>
                  <a:pt x="91" y="99"/>
                  <a:pt x="90" y="85"/>
                  <a:pt x="87" y="88"/>
                </a:cubicBezTo>
                <a:cubicBezTo>
                  <a:pt x="87" y="90"/>
                  <a:pt x="88" y="90"/>
                  <a:pt x="89" y="93"/>
                </a:cubicBezTo>
                <a:cubicBezTo>
                  <a:pt x="83" y="96"/>
                  <a:pt x="77" y="82"/>
                  <a:pt x="71" y="89"/>
                </a:cubicBezTo>
                <a:cubicBezTo>
                  <a:pt x="72" y="90"/>
                  <a:pt x="72" y="91"/>
                  <a:pt x="73" y="90"/>
                </a:cubicBezTo>
                <a:cubicBezTo>
                  <a:pt x="73" y="91"/>
                  <a:pt x="72" y="91"/>
                  <a:pt x="69" y="89"/>
                </a:cubicBezTo>
                <a:cubicBezTo>
                  <a:pt x="71" y="85"/>
                  <a:pt x="71" y="85"/>
                  <a:pt x="71" y="85"/>
                </a:cubicBezTo>
                <a:cubicBezTo>
                  <a:pt x="66" y="74"/>
                  <a:pt x="63" y="92"/>
                  <a:pt x="57" y="89"/>
                </a:cubicBezTo>
                <a:cubicBezTo>
                  <a:pt x="58" y="91"/>
                  <a:pt x="62" y="91"/>
                  <a:pt x="60" y="94"/>
                </a:cubicBezTo>
                <a:cubicBezTo>
                  <a:pt x="57" y="95"/>
                  <a:pt x="55" y="83"/>
                  <a:pt x="52" y="89"/>
                </a:cubicBezTo>
                <a:cubicBezTo>
                  <a:pt x="54" y="90"/>
                  <a:pt x="55" y="96"/>
                  <a:pt x="57" y="97"/>
                </a:cubicBezTo>
                <a:cubicBezTo>
                  <a:pt x="54" y="98"/>
                  <a:pt x="53" y="102"/>
                  <a:pt x="51" y="98"/>
                </a:cubicBezTo>
                <a:cubicBezTo>
                  <a:pt x="50" y="98"/>
                  <a:pt x="50" y="100"/>
                  <a:pt x="51" y="101"/>
                </a:cubicBezTo>
                <a:cubicBezTo>
                  <a:pt x="48" y="98"/>
                  <a:pt x="46" y="101"/>
                  <a:pt x="45" y="103"/>
                </a:cubicBezTo>
                <a:cubicBezTo>
                  <a:pt x="45" y="105"/>
                  <a:pt x="45" y="105"/>
                  <a:pt x="45" y="105"/>
                </a:cubicBezTo>
                <a:cubicBezTo>
                  <a:pt x="40" y="94"/>
                  <a:pt x="40" y="105"/>
                  <a:pt x="36" y="106"/>
                </a:cubicBezTo>
                <a:cubicBezTo>
                  <a:pt x="37" y="109"/>
                  <a:pt x="37" y="109"/>
                  <a:pt x="37" y="109"/>
                </a:cubicBezTo>
                <a:cubicBezTo>
                  <a:pt x="35" y="108"/>
                  <a:pt x="32" y="105"/>
                  <a:pt x="30" y="110"/>
                </a:cubicBezTo>
                <a:cubicBezTo>
                  <a:pt x="33" y="114"/>
                  <a:pt x="33" y="114"/>
                  <a:pt x="33" y="114"/>
                </a:cubicBezTo>
                <a:cubicBezTo>
                  <a:pt x="29" y="111"/>
                  <a:pt x="27" y="119"/>
                  <a:pt x="24" y="114"/>
                </a:cubicBezTo>
                <a:cubicBezTo>
                  <a:pt x="23" y="115"/>
                  <a:pt x="28" y="120"/>
                  <a:pt x="25" y="121"/>
                </a:cubicBezTo>
                <a:cubicBezTo>
                  <a:pt x="23" y="119"/>
                  <a:pt x="20" y="118"/>
                  <a:pt x="20" y="122"/>
                </a:cubicBezTo>
                <a:cubicBezTo>
                  <a:pt x="21" y="123"/>
                  <a:pt x="22" y="125"/>
                  <a:pt x="22" y="123"/>
                </a:cubicBezTo>
                <a:cubicBezTo>
                  <a:pt x="23" y="123"/>
                  <a:pt x="22" y="122"/>
                  <a:pt x="22" y="121"/>
                </a:cubicBezTo>
                <a:cubicBezTo>
                  <a:pt x="24" y="124"/>
                  <a:pt x="24" y="124"/>
                  <a:pt x="24" y="124"/>
                </a:cubicBezTo>
                <a:cubicBezTo>
                  <a:pt x="23" y="127"/>
                  <a:pt x="21" y="122"/>
                  <a:pt x="19" y="125"/>
                </a:cubicBezTo>
                <a:cubicBezTo>
                  <a:pt x="20" y="127"/>
                  <a:pt x="22" y="128"/>
                  <a:pt x="23" y="130"/>
                </a:cubicBezTo>
                <a:cubicBezTo>
                  <a:pt x="19" y="128"/>
                  <a:pt x="16" y="127"/>
                  <a:pt x="13" y="126"/>
                </a:cubicBezTo>
                <a:cubicBezTo>
                  <a:pt x="12" y="124"/>
                  <a:pt x="12" y="122"/>
                  <a:pt x="9" y="120"/>
                </a:cubicBezTo>
                <a:cubicBezTo>
                  <a:pt x="9" y="119"/>
                  <a:pt x="10" y="118"/>
                  <a:pt x="11" y="117"/>
                </a:cubicBezTo>
                <a:cubicBezTo>
                  <a:pt x="10" y="112"/>
                  <a:pt x="6" y="113"/>
                  <a:pt x="5" y="113"/>
                </a:cubicBezTo>
                <a:cubicBezTo>
                  <a:pt x="5" y="112"/>
                  <a:pt x="6" y="112"/>
                  <a:pt x="6" y="111"/>
                </a:cubicBezTo>
                <a:cubicBezTo>
                  <a:pt x="6" y="111"/>
                  <a:pt x="6" y="110"/>
                  <a:pt x="5" y="110"/>
                </a:cubicBezTo>
                <a:cubicBezTo>
                  <a:pt x="7" y="109"/>
                  <a:pt x="7" y="109"/>
                  <a:pt x="7" y="109"/>
                </a:cubicBezTo>
                <a:cubicBezTo>
                  <a:pt x="3" y="108"/>
                  <a:pt x="3" y="105"/>
                  <a:pt x="4" y="103"/>
                </a:cubicBezTo>
                <a:cubicBezTo>
                  <a:pt x="4" y="100"/>
                  <a:pt x="4" y="98"/>
                  <a:pt x="0" y="97"/>
                </a:cubicBezTo>
                <a:cubicBezTo>
                  <a:pt x="2" y="97"/>
                  <a:pt x="5" y="99"/>
                  <a:pt x="7" y="101"/>
                </a:cubicBezTo>
                <a:cubicBezTo>
                  <a:pt x="10" y="101"/>
                  <a:pt x="8" y="98"/>
                  <a:pt x="9" y="96"/>
                </a:cubicBezTo>
                <a:cubicBezTo>
                  <a:pt x="7" y="95"/>
                  <a:pt x="5" y="94"/>
                  <a:pt x="3" y="94"/>
                </a:cubicBezTo>
                <a:cubicBezTo>
                  <a:pt x="10" y="92"/>
                  <a:pt x="0" y="89"/>
                  <a:pt x="3" y="84"/>
                </a:cubicBezTo>
                <a:cubicBezTo>
                  <a:pt x="7" y="84"/>
                  <a:pt x="8" y="81"/>
                  <a:pt x="9" y="77"/>
                </a:cubicBezTo>
                <a:cubicBezTo>
                  <a:pt x="10" y="73"/>
                  <a:pt x="11" y="69"/>
                  <a:pt x="13" y="68"/>
                </a:cubicBezTo>
                <a:cubicBezTo>
                  <a:pt x="20" y="67"/>
                  <a:pt x="12" y="74"/>
                  <a:pt x="17" y="76"/>
                </a:cubicBezTo>
                <a:cubicBezTo>
                  <a:pt x="21" y="75"/>
                  <a:pt x="18" y="72"/>
                  <a:pt x="20" y="70"/>
                </a:cubicBezTo>
                <a:cubicBezTo>
                  <a:pt x="23" y="76"/>
                  <a:pt x="23" y="76"/>
                  <a:pt x="23" y="76"/>
                </a:cubicBezTo>
                <a:cubicBezTo>
                  <a:pt x="27" y="76"/>
                  <a:pt x="21" y="70"/>
                  <a:pt x="24" y="72"/>
                </a:cubicBezTo>
                <a:cubicBezTo>
                  <a:pt x="26" y="67"/>
                  <a:pt x="23" y="70"/>
                  <a:pt x="20" y="65"/>
                </a:cubicBezTo>
                <a:cubicBezTo>
                  <a:pt x="22" y="66"/>
                  <a:pt x="26" y="68"/>
                  <a:pt x="27" y="65"/>
                </a:cubicBezTo>
                <a:cubicBezTo>
                  <a:pt x="26" y="63"/>
                  <a:pt x="22" y="64"/>
                  <a:pt x="24" y="62"/>
                </a:cubicBezTo>
                <a:cubicBezTo>
                  <a:pt x="35" y="63"/>
                  <a:pt x="36" y="55"/>
                  <a:pt x="46" y="54"/>
                </a:cubicBezTo>
                <a:cubicBezTo>
                  <a:pt x="44" y="51"/>
                  <a:pt x="44" y="51"/>
                  <a:pt x="44" y="51"/>
                </a:cubicBezTo>
                <a:cubicBezTo>
                  <a:pt x="45" y="52"/>
                  <a:pt x="46" y="53"/>
                  <a:pt x="47" y="52"/>
                </a:cubicBezTo>
                <a:cubicBezTo>
                  <a:pt x="46" y="50"/>
                  <a:pt x="46" y="50"/>
                  <a:pt x="46" y="50"/>
                </a:cubicBezTo>
                <a:cubicBezTo>
                  <a:pt x="48" y="49"/>
                  <a:pt x="58" y="52"/>
                  <a:pt x="63" y="50"/>
                </a:cubicBezTo>
                <a:cubicBezTo>
                  <a:pt x="60" y="47"/>
                  <a:pt x="60" y="47"/>
                  <a:pt x="60" y="47"/>
                </a:cubicBezTo>
                <a:cubicBezTo>
                  <a:pt x="66" y="51"/>
                  <a:pt x="66" y="51"/>
                  <a:pt x="66" y="51"/>
                </a:cubicBezTo>
                <a:cubicBezTo>
                  <a:pt x="64" y="45"/>
                  <a:pt x="64" y="45"/>
                  <a:pt x="64" y="45"/>
                </a:cubicBezTo>
                <a:cubicBezTo>
                  <a:pt x="67" y="50"/>
                  <a:pt x="73" y="46"/>
                  <a:pt x="78" y="47"/>
                </a:cubicBezTo>
                <a:cubicBezTo>
                  <a:pt x="78" y="43"/>
                  <a:pt x="78" y="43"/>
                  <a:pt x="78" y="43"/>
                </a:cubicBezTo>
                <a:cubicBezTo>
                  <a:pt x="81" y="45"/>
                  <a:pt x="81" y="45"/>
                  <a:pt x="81" y="45"/>
                </a:cubicBezTo>
                <a:cubicBezTo>
                  <a:pt x="80" y="42"/>
                  <a:pt x="80" y="42"/>
                  <a:pt x="80" y="42"/>
                </a:cubicBezTo>
                <a:cubicBezTo>
                  <a:pt x="83" y="42"/>
                  <a:pt x="87" y="48"/>
                  <a:pt x="90" y="45"/>
                </a:cubicBezTo>
                <a:cubicBezTo>
                  <a:pt x="88" y="46"/>
                  <a:pt x="87" y="40"/>
                  <a:pt x="87" y="38"/>
                </a:cubicBezTo>
                <a:close/>
                <a:moveTo>
                  <a:pt x="211" y="42"/>
                </a:moveTo>
                <a:cubicBezTo>
                  <a:pt x="212" y="42"/>
                  <a:pt x="212" y="42"/>
                  <a:pt x="212" y="42"/>
                </a:cubicBezTo>
                <a:cubicBezTo>
                  <a:pt x="212" y="42"/>
                  <a:pt x="211" y="42"/>
                  <a:pt x="211" y="42"/>
                </a:cubicBezTo>
                <a:cubicBezTo>
                  <a:pt x="209" y="42"/>
                  <a:pt x="209" y="42"/>
                  <a:pt x="209" y="42"/>
                </a:cubicBezTo>
                <a:cubicBezTo>
                  <a:pt x="209" y="45"/>
                  <a:pt x="210" y="43"/>
                  <a:pt x="211" y="42"/>
                </a:cubicBezTo>
                <a:close/>
                <a:moveTo>
                  <a:pt x="403" y="71"/>
                </a:moveTo>
                <a:cubicBezTo>
                  <a:pt x="400" y="69"/>
                  <a:pt x="400" y="69"/>
                  <a:pt x="400" y="69"/>
                </a:cubicBezTo>
                <a:cubicBezTo>
                  <a:pt x="401" y="69"/>
                  <a:pt x="403" y="71"/>
                  <a:pt x="402" y="69"/>
                </a:cubicBezTo>
                <a:cubicBezTo>
                  <a:pt x="403" y="69"/>
                  <a:pt x="404" y="69"/>
                  <a:pt x="403" y="71"/>
                </a:cubicBezTo>
                <a:close/>
                <a:moveTo>
                  <a:pt x="206" y="78"/>
                </a:moveTo>
                <a:cubicBezTo>
                  <a:pt x="208" y="81"/>
                  <a:pt x="208" y="81"/>
                  <a:pt x="208" y="81"/>
                </a:cubicBezTo>
                <a:cubicBezTo>
                  <a:pt x="209" y="78"/>
                  <a:pt x="209" y="78"/>
                  <a:pt x="209" y="78"/>
                </a:cubicBezTo>
                <a:lnTo>
                  <a:pt x="206" y="78"/>
                </a:lnTo>
                <a:close/>
                <a:moveTo>
                  <a:pt x="179" y="79"/>
                </a:moveTo>
                <a:cubicBezTo>
                  <a:pt x="182" y="81"/>
                  <a:pt x="182" y="81"/>
                  <a:pt x="182" y="81"/>
                </a:cubicBezTo>
                <a:cubicBezTo>
                  <a:pt x="182" y="80"/>
                  <a:pt x="182" y="80"/>
                  <a:pt x="182" y="80"/>
                </a:cubicBezTo>
                <a:cubicBezTo>
                  <a:pt x="179" y="78"/>
                  <a:pt x="179" y="78"/>
                  <a:pt x="179" y="78"/>
                </a:cubicBezTo>
                <a:lnTo>
                  <a:pt x="179" y="79"/>
                </a:lnTo>
                <a:close/>
                <a:moveTo>
                  <a:pt x="140" y="47"/>
                </a:moveTo>
                <a:cubicBezTo>
                  <a:pt x="142" y="53"/>
                  <a:pt x="143" y="47"/>
                  <a:pt x="146" y="49"/>
                </a:cubicBezTo>
                <a:cubicBezTo>
                  <a:pt x="146" y="50"/>
                  <a:pt x="146" y="50"/>
                  <a:pt x="146" y="50"/>
                </a:cubicBezTo>
                <a:cubicBezTo>
                  <a:pt x="146" y="50"/>
                  <a:pt x="146" y="49"/>
                  <a:pt x="146" y="49"/>
                </a:cubicBezTo>
                <a:cubicBezTo>
                  <a:pt x="144" y="47"/>
                  <a:pt x="142" y="41"/>
                  <a:pt x="140" y="47"/>
                </a:cubicBezTo>
                <a:close/>
                <a:moveTo>
                  <a:pt x="204" y="49"/>
                </a:moveTo>
                <a:cubicBezTo>
                  <a:pt x="204" y="46"/>
                  <a:pt x="200" y="45"/>
                  <a:pt x="199" y="42"/>
                </a:cubicBezTo>
                <a:cubicBezTo>
                  <a:pt x="198" y="43"/>
                  <a:pt x="200" y="46"/>
                  <a:pt x="200" y="49"/>
                </a:cubicBezTo>
                <a:cubicBezTo>
                  <a:pt x="200" y="49"/>
                  <a:pt x="199" y="49"/>
                  <a:pt x="198" y="48"/>
                </a:cubicBezTo>
                <a:cubicBezTo>
                  <a:pt x="199" y="56"/>
                  <a:pt x="201" y="45"/>
                  <a:pt x="204" y="49"/>
                </a:cubicBezTo>
                <a:close/>
                <a:moveTo>
                  <a:pt x="270" y="55"/>
                </a:moveTo>
                <a:cubicBezTo>
                  <a:pt x="268" y="52"/>
                  <a:pt x="268" y="52"/>
                  <a:pt x="268" y="52"/>
                </a:cubicBezTo>
                <a:cubicBezTo>
                  <a:pt x="269" y="52"/>
                  <a:pt x="269" y="52"/>
                  <a:pt x="269" y="52"/>
                </a:cubicBezTo>
                <a:lnTo>
                  <a:pt x="270" y="55"/>
                </a:lnTo>
                <a:close/>
                <a:moveTo>
                  <a:pt x="284" y="53"/>
                </a:moveTo>
                <a:cubicBezTo>
                  <a:pt x="287" y="53"/>
                  <a:pt x="290" y="58"/>
                  <a:pt x="289" y="62"/>
                </a:cubicBezTo>
                <a:cubicBezTo>
                  <a:pt x="286" y="61"/>
                  <a:pt x="282" y="61"/>
                  <a:pt x="281" y="56"/>
                </a:cubicBezTo>
                <a:cubicBezTo>
                  <a:pt x="282" y="59"/>
                  <a:pt x="281" y="49"/>
                  <a:pt x="284" y="53"/>
                </a:cubicBezTo>
                <a:close/>
                <a:moveTo>
                  <a:pt x="170" y="56"/>
                </a:moveTo>
                <a:cubicBezTo>
                  <a:pt x="172" y="57"/>
                  <a:pt x="175" y="66"/>
                  <a:pt x="178" y="61"/>
                </a:cubicBezTo>
                <a:cubicBezTo>
                  <a:pt x="175" y="59"/>
                  <a:pt x="175" y="59"/>
                  <a:pt x="175" y="59"/>
                </a:cubicBezTo>
                <a:cubicBezTo>
                  <a:pt x="176" y="59"/>
                  <a:pt x="176" y="59"/>
                  <a:pt x="176" y="59"/>
                </a:cubicBezTo>
                <a:cubicBezTo>
                  <a:pt x="175" y="55"/>
                  <a:pt x="175" y="55"/>
                  <a:pt x="175" y="55"/>
                </a:cubicBezTo>
                <a:cubicBezTo>
                  <a:pt x="176" y="64"/>
                  <a:pt x="171" y="56"/>
                  <a:pt x="170" y="56"/>
                </a:cubicBezTo>
                <a:close/>
                <a:moveTo>
                  <a:pt x="310" y="61"/>
                </a:moveTo>
                <a:cubicBezTo>
                  <a:pt x="311" y="62"/>
                  <a:pt x="315" y="65"/>
                  <a:pt x="314" y="71"/>
                </a:cubicBezTo>
                <a:cubicBezTo>
                  <a:pt x="315" y="68"/>
                  <a:pt x="311" y="64"/>
                  <a:pt x="308" y="61"/>
                </a:cubicBezTo>
                <a:cubicBezTo>
                  <a:pt x="309" y="61"/>
                  <a:pt x="309" y="62"/>
                  <a:pt x="310" y="61"/>
                </a:cubicBezTo>
                <a:close/>
                <a:moveTo>
                  <a:pt x="308" y="68"/>
                </a:moveTo>
                <a:cubicBezTo>
                  <a:pt x="307" y="68"/>
                  <a:pt x="307" y="72"/>
                  <a:pt x="305" y="69"/>
                </a:cubicBezTo>
                <a:cubicBezTo>
                  <a:pt x="305" y="66"/>
                  <a:pt x="305" y="58"/>
                  <a:pt x="301" y="60"/>
                </a:cubicBezTo>
                <a:cubicBezTo>
                  <a:pt x="303" y="66"/>
                  <a:pt x="303" y="69"/>
                  <a:pt x="307" y="72"/>
                </a:cubicBezTo>
                <a:lnTo>
                  <a:pt x="308" y="68"/>
                </a:lnTo>
                <a:close/>
                <a:moveTo>
                  <a:pt x="303" y="55"/>
                </a:moveTo>
                <a:cubicBezTo>
                  <a:pt x="297" y="57"/>
                  <a:pt x="297" y="57"/>
                  <a:pt x="297" y="57"/>
                </a:cubicBezTo>
                <a:cubicBezTo>
                  <a:pt x="300" y="65"/>
                  <a:pt x="301" y="58"/>
                  <a:pt x="303" y="55"/>
                </a:cubicBezTo>
                <a:cubicBezTo>
                  <a:pt x="304" y="54"/>
                  <a:pt x="304" y="54"/>
                  <a:pt x="304" y="54"/>
                </a:cubicBezTo>
                <a:cubicBezTo>
                  <a:pt x="304" y="54"/>
                  <a:pt x="303" y="55"/>
                  <a:pt x="303" y="55"/>
                </a:cubicBezTo>
                <a:close/>
                <a:moveTo>
                  <a:pt x="339" y="60"/>
                </a:moveTo>
                <a:cubicBezTo>
                  <a:pt x="337" y="58"/>
                  <a:pt x="337" y="58"/>
                  <a:pt x="337" y="58"/>
                </a:cubicBezTo>
                <a:cubicBezTo>
                  <a:pt x="338" y="57"/>
                  <a:pt x="338" y="56"/>
                  <a:pt x="336" y="56"/>
                </a:cubicBezTo>
                <a:cubicBezTo>
                  <a:pt x="337" y="58"/>
                  <a:pt x="337" y="58"/>
                  <a:pt x="337" y="58"/>
                </a:cubicBezTo>
                <a:cubicBezTo>
                  <a:pt x="337" y="60"/>
                  <a:pt x="335" y="62"/>
                  <a:pt x="339" y="60"/>
                </a:cubicBezTo>
                <a:close/>
                <a:moveTo>
                  <a:pt x="307" y="56"/>
                </a:moveTo>
                <a:cubicBezTo>
                  <a:pt x="312" y="57"/>
                  <a:pt x="312" y="57"/>
                  <a:pt x="312" y="57"/>
                </a:cubicBezTo>
                <a:cubicBezTo>
                  <a:pt x="310" y="58"/>
                  <a:pt x="307" y="59"/>
                  <a:pt x="307" y="56"/>
                </a:cubicBezTo>
                <a:close/>
                <a:moveTo>
                  <a:pt x="329" y="64"/>
                </a:moveTo>
                <a:cubicBezTo>
                  <a:pt x="329" y="64"/>
                  <a:pt x="334" y="63"/>
                  <a:pt x="336" y="63"/>
                </a:cubicBezTo>
                <a:cubicBezTo>
                  <a:pt x="335" y="61"/>
                  <a:pt x="330" y="60"/>
                  <a:pt x="329" y="64"/>
                </a:cubicBezTo>
                <a:close/>
                <a:moveTo>
                  <a:pt x="435" y="84"/>
                </a:moveTo>
                <a:cubicBezTo>
                  <a:pt x="433" y="88"/>
                  <a:pt x="433" y="88"/>
                  <a:pt x="433" y="88"/>
                </a:cubicBezTo>
                <a:cubicBezTo>
                  <a:pt x="436" y="89"/>
                  <a:pt x="436" y="89"/>
                  <a:pt x="436" y="89"/>
                </a:cubicBezTo>
                <a:lnTo>
                  <a:pt x="435" y="84"/>
                </a:lnTo>
                <a:close/>
                <a:moveTo>
                  <a:pt x="404" y="83"/>
                </a:moveTo>
                <a:cubicBezTo>
                  <a:pt x="403" y="83"/>
                  <a:pt x="403" y="83"/>
                  <a:pt x="403" y="83"/>
                </a:cubicBezTo>
                <a:cubicBezTo>
                  <a:pt x="401" y="85"/>
                  <a:pt x="401" y="85"/>
                  <a:pt x="401" y="85"/>
                </a:cubicBezTo>
                <a:lnTo>
                  <a:pt x="404" y="83"/>
                </a:lnTo>
                <a:close/>
                <a:moveTo>
                  <a:pt x="369" y="81"/>
                </a:moveTo>
                <a:cubicBezTo>
                  <a:pt x="370" y="81"/>
                  <a:pt x="370" y="81"/>
                  <a:pt x="370" y="80"/>
                </a:cubicBezTo>
                <a:cubicBezTo>
                  <a:pt x="373" y="78"/>
                  <a:pt x="380" y="77"/>
                  <a:pt x="383" y="78"/>
                </a:cubicBezTo>
                <a:cubicBezTo>
                  <a:pt x="385" y="76"/>
                  <a:pt x="381" y="71"/>
                  <a:pt x="380" y="69"/>
                </a:cubicBezTo>
                <a:cubicBezTo>
                  <a:pt x="380" y="85"/>
                  <a:pt x="376" y="68"/>
                  <a:pt x="372" y="73"/>
                </a:cubicBezTo>
                <a:cubicBezTo>
                  <a:pt x="373" y="74"/>
                  <a:pt x="375" y="74"/>
                  <a:pt x="375" y="77"/>
                </a:cubicBezTo>
                <a:cubicBezTo>
                  <a:pt x="374" y="78"/>
                  <a:pt x="372" y="78"/>
                  <a:pt x="371" y="77"/>
                </a:cubicBezTo>
                <a:cubicBezTo>
                  <a:pt x="371" y="76"/>
                  <a:pt x="370" y="75"/>
                  <a:pt x="370" y="75"/>
                </a:cubicBezTo>
                <a:cubicBezTo>
                  <a:pt x="370" y="76"/>
                  <a:pt x="370" y="76"/>
                  <a:pt x="371" y="77"/>
                </a:cubicBezTo>
                <a:cubicBezTo>
                  <a:pt x="371" y="78"/>
                  <a:pt x="371" y="79"/>
                  <a:pt x="370" y="80"/>
                </a:cubicBezTo>
                <a:cubicBezTo>
                  <a:pt x="370" y="80"/>
                  <a:pt x="369" y="81"/>
                  <a:pt x="369" y="81"/>
                </a:cubicBezTo>
                <a:close/>
                <a:moveTo>
                  <a:pt x="326" y="77"/>
                </a:moveTo>
                <a:cubicBezTo>
                  <a:pt x="326" y="75"/>
                  <a:pt x="328" y="74"/>
                  <a:pt x="325" y="72"/>
                </a:cubicBezTo>
                <a:cubicBezTo>
                  <a:pt x="325" y="74"/>
                  <a:pt x="325" y="75"/>
                  <a:pt x="326" y="77"/>
                </a:cubicBezTo>
                <a:cubicBezTo>
                  <a:pt x="326" y="77"/>
                  <a:pt x="327" y="78"/>
                  <a:pt x="328" y="78"/>
                </a:cubicBezTo>
                <a:cubicBezTo>
                  <a:pt x="327" y="78"/>
                  <a:pt x="327" y="77"/>
                  <a:pt x="326" y="77"/>
                </a:cubicBezTo>
                <a:close/>
                <a:moveTo>
                  <a:pt x="328" y="85"/>
                </a:moveTo>
                <a:cubicBezTo>
                  <a:pt x="322" y="78"/>
                  <a:pt x="322" y="78"/>
                  <a:pt x="322" y="78"/>
                </a:cubicBezTo>
                <a:cubicBezTo>
                  <a:pt x="324" y="82"/>
                  <a:pt x="324" y="82"/>
                  <a:pt x="324" y="82"/>
                </a:cubicBezTo>
                <a:cubicBezTo>
                  <a:pt x="321" y="78"/>
                  <a:pt x="321" y="78"/>
                  <a:pt x="321" y="78"/>
                </a:cubicBezTo>
                <a:cubicBezTo>
                  <a:pt x="321" y="82"/>
                  <a:pt x="324" y="88"/>
                  <a:pt x="328" y="85"/>
                </a:cubicBezTo>
                <a:close/>
                <a:moveTo>
                  <a:pt x="313" y="79"/>
                </a:moveTo>
                <a:cubicBezTo>
                  <a:pt x="319" y="82"/>
                  <a:pt x="319" y="82"/>
                  <a:pt x="319" y="82"/>
                </a:cubicBezTo>
                <a:cubicBezTo>
                  <a:pt x="319" y="81"/>
                  <a:pt x="319" y="81"/>
                  <a:pt x="319" y="81"/>
                </a:cubicBezTo>
                <a:cubicBezTo>
                  <a:pt x="319" y="81"/>
                  <a:pt x="319" y="81"/>
                  <a:pt x="319" y="81"/>
                </a:cubicBezTo>
                <a:cubicBezTo>
                  <a:pt x="318" y="78"/>
                  <a:pt x="318" y="78"/>
                  <a:pt x="318" y="78"/>
                </a:cubicBezTo>
                <a:cubicBezTo>
                  <a:pt x="319" y="81"/>
                  <a:pt x="319" y="81"/>
                  <a:pt x="319" y="81"/>
                </a:cubicBezTo>
                <a:lnTo>
                  <a:pt x="313" y="79"/>
                </a:lnTo>
                <a:close/>
                <a:moveTo>
                  <a:pt x="260" y="69"/>
                </a:moveTo>
                <a:cubicBezTo>
                  <a:pt x="257" y="69"/>
                  <a:pt x="257" y="69"/>
                  <a:pt x="257" y="69"/>
                </a:cubicBezTo>
                <a:cubicBezTo>
                  <a:pt x="257" y="69"/>
                  <a:pt x="260" y="73"/>
                  <a:pt x="263" y="72"/>
                </a:cubicBezTo>
                <a:cubicBezTo>
                  <a:pt x="259" y="82"/>
                  <a:pt x="262" y="70"/>
                  <a:pt x="256" y="74"/>
                </a:cubicBezTo>
                <a:cubicBezTo>
                  <a:pt x="263" y="74"/>
                  <a:pt x="260" y="81"/>
                  <a:pt x="259" y="85"/>
                </a:cubicBezTo>
                <a:cubicBezTo>
                  <a:pt x="258" y="79"/>
                  <a:pt x="250" y="82"/>
                  <a:pt x="253" y="70"/>
                </a:cubicBezTo>
                <a:cubicBezTo>
                  <a:pt x="255" y="72"/>
                  <a:pt x="258" y="61"/>
                  <a:pt x="260" y="69"/>
                </a:cubicBezTo>
                <a:close/>
                <a:moveTo>
                  <a:pt x="219" y="71"/>
                </a:moveTo>
                <a:cubicBezTo>
                  <a:pt x="215" y="70"/>
                  <a:pt x="215" y="70"/>
                  <a:pt x="215" y="70"/>
                </a:cubicBezTo>
                <a:cubicBezTo>
                  <a:pt x="219" y="71"/>
                  <a:pt x="219" y="71"/>
                  <a:pt x="219" y="71"/>
                </a:cubicBezTo>
                <a:close/>
                <a:moveTo>
                  <a:pt x="113" y="80"/>
                </a:moveTo>
                <a:cubicBezTo>
                  <a:pt x="114" y="86"/>
                  <a:pt x="119" y="80"/>
                  <a:pt x="119" y="77"/>
                </a:cubicBezTo>
                <a:cubicBezTo>
                  <a:pt x="118" y="79"/>
                  <a:pt x="115" y="79"/>
                  <a:pt x="113" y="80"/>
                </a:cubicBezTo>
                <a:close/>
                <a:moveTo>
                  <a:pt x="74" y="84"/>
                </a:moveTo>
                <a:cubicBezTo>
                  <a:pt x="76" y="83"/>
                  <a:pt x="80" y="89"/>
                  <a:pt x="80" y="83"/>
                </a:cubicBezTo>
                <a:cubicBezTo>
                  <a:pt x="75" y="81"/>
                  <a:pt x="75" y="81"/>
                  <a:pt x="75" y="81"/>
                </a:cubicBezTo>
                <a:cubicBezTo>
                  <a:pt x="75" y="83"/>
                  <a:pt x="73" y="81"/>
                  <a:pt x="74" y="84"/>
                </a:cubicBezTo>
                <a:close/>
                <a:moveTo>
                  <a:pt x="47" y="91"/>
                </a:moveTo>
                <a:cubicBezTo>
                  <a:pt x="44" y="85"/>
                  <a:pt x="44" y="85"/>
                  <a:pt x="44" y="85"/>
                </a:cubicBezTo>
                <a:cubicBezTo>
                  <a:pt x="46" y="86"/>
                  <a:pt x="46" y="86"/>
                  <a:pt x="46" y="86"/>
                </a:cubicBezTo>
                <a:lnTo>
                  <a:pt x="47" y="91"/>
                </a:lnTo>
                <a:close/>
                <a:moveTo>
                  <a:pt x="53" y="97"/>
                </a:moveTo>
                <a:cubicBezTo>
                  <a:pt x="53" y="98"/>
                  <a:pt x="49" y="97"/>
                  <a:pt x="50" y="94"/>
                </a:cubicBezTo>
                <a:lnTo>
                  <a:pt x="53" y="97"/>
                </a:lnTo>
                <a:close/>
                <a:moveTo>
                  <a:pt x="25" y="100"/>
                </a:moveTo>
                <a:cubicBezTo>
                  <a:pt x="28" y="105"/>
                  <a:pt x="28" y="105"/>
                  <a:pt x="28" y="105"/>
                </a:cubicBezTo>
                <a:cubicBezTo>
                  <a:pt x="26" y="106"/>
                  <a:pt x="26" y="106"/>
                  <a:pt x="26" y="106"/>
                </a:cubicBezTo>
                <a:lnTo>
                  <a:pt x="25" y="100"/>
                </a:lnTo>
                <a:close/>
                <a:moveTo>
                  <a:pt x="25" y="95"/>
                </a:moveTo>
                <a:cubicBezTo>
                  <a:pt x="26" y="96"/>
                  <a:pt x="27" y="97"/>
                  <a:pt x="27" y="98"/>
                </a:cubicBezTo>
                <a:cubicBezTo>
                  <a:pt x="28" y="99"/>
                  <a:pt x="30" y="99"/>
                  <a:pt x="31" y="97"/>
                </a:cubicBezTo>
                <a:cubicBezTo>
                  <a:pt x="30" y="95"/>
                  <a:pt x="30" y="97"/>
                  <a:pt x="29" y="96"/>
                </a:cubicBezTo>
                <a:cubicBezTo>
                  <a:pt x="29" y="96"/>
                  <a:pt x="30" y="94"/>
                  <a:pt x="31" y="94"/>
                </a:cubicBezTo>
                <a:cubicBezTo>
                  <a:pt x="31" y="100"/>
                  <a:pt x="32" y="99"/>
                  <a:pt x="33" y="104"/>
                </a:cubicBezTo>
                <a:cubicBezTo>
                  <a:pt x="30" y="108"/>
                  <a:pt x="29" y="102"/>
                  <a:pt x="27" y="98"/>
                </a:cubicBezTo>
                <a:cubicBezTo>
                  <a:pt x="26" y="97"/>
                  <a:pt x="26" y="96"/>
                  <a:pt x="25" y="95"/>
                </a:cubicBezTo>
                <a:close/>
                <a:moveTo>
                  <a:pt x="39" y="89"/>
                </a:moveTo>
                <a:cubicBezTo>
                  <a:pt x="39" y="90"/>
                  <a:pt x="39" y="91"/>
                  <a:pt x="39" y="92"/>
                </a:cubicBezTo>
                <a:cubicBezTo>
                  <a:pt x="37" y="94"/>
                  <a:pt x="35" y="96"/>
                  <a:pt x="39" y="101"/>
                </a:cubicBezTo>
                <a:cubicBezTo>
                  <a:pt x="41" y="99"/>
                  <a:pt x="41" y="99"/>
                  <a:pt x="41" y="99"/>
                </a:cubicBezTo>
                <a:cubicBezTo>
                  <a:pt x="40" y="100"/>
                  <a:pt x="40" y="99"/>
                  <a:pt x="39" y="98"/>
                </a:cubicBezTo>
                <a:cubicBezTo>
                  <a:pt x="41" y="95"/>
                  <a:pt x="43" y="99"/>
                  <a:pt x="44" y="99"/>
                </a:cubicBezTo>
                <a:cubicBezTo>
                  <a:pt x="43" y="97"/>
                  <a:pt x="40" y="96"/>
                  <a:pt x="39" y="92"/>
                </a:cubicBezTo>
                <a:cubicBezTo>
                  <a:pt x="40" y="91"/>
                  <a:pt x="40" y="91"/>
                  <a:pt x="41" y="90"/>
                </a:cubicBezTo>
                <a:cubicBezTo>
                  <a:pt x="42" y="90"/>
                  <a:pt x="42" y="91"/>
                  <a:pt x="42" y="89"/>
                </a:cubicBezTo>
                <a:cubicBezTo>
                  <a:pt x="42" y="88"/>
                  <a:pt x="42" y="88"/>
                  <a:pt x="42" y="88"/>
                </a:cubicBezTo>
                <a:cubicBezTo>
                  <a:pt x="42" y="89"/>
                  <a:pt x="41" y="89"/>
                  <a:pt x="41" y="90"/>
                </a:cubicBezTo>
                <a:cubicBezTo>
                  <a:pt x="40" y="89"/>
                  <a:pt x="40" y="88"/>
                  <a:pt x="39" y="89"/>
                </a:cubicBezTo>
                <a:close/>
                <a:moveTo>
                  <a:pt x="22" y="92"/>
                </a:moveTo>
                <a:cubicBezTo>
                  <a:pt x="21" y="91"/>
                  <a:pt x="21" y="89"/>
                  <a:pt x="20" y="88"/>
                </a:cubicBezTo>
                <a:cubicBezTo>
                  <a:pt x="18" y="87"/>
                  <a:pt x="18" y="87"/>
                  <a:pt x="18" y="87"/>
                </a:cubicBezTo>
                <a:cubicBezTo>
                  <a:pt x="17" y="90"/>
                  <a:pt x="20" y="92"/>
                  <a:pt x="22" y="92"/>
                </a:cubicBezTo>
                <a:close/>
                <a:moveTo>
                  <a:pt x="102" y="77"/>
                </a:moveTo>
                <a:cubicBezTo>
                  <a:pt x="103" y="78"/>
                  <a:pt x="107" y="77"/>
                  <a:pt x="107" y="81"/>
                </a:cubicBezTo>
                <a:cubicBezTo>
                  <a:pt x="108" y="75"/>
                  <a:pt x="108" y="75"/>
                  <a:pt x="108" y="75"/>
                </a:cubicBezTo>
                <a:cubicBezTo>
                  <a:pt x="106" y="76"/>
                  <a:pt x="103" y="72"/>
                  <a:pt x="104" y="71"/>
                </a:cubicBezTo>
                <a:cubicBezTo>
                  <a:pt x="103" y="74"/>
                  <a:pt x="101" y="72"/>
                  <a:pt x="102" y="77"/>
                </a:cubicBezTo>
                <a:close/>
                <a:moveTo>
                  <a:pt x="213" y="71"/>
                </a:moveTo>
                <a:cubicBezTo>
                  <a:pt x="211" y="69"/>
                  <a:pt x="206" y="74"/>
                  <a:pt x="205" y="67"/>
                </a:cubicBezTo>
                <a:cubicBezTo>
                  <a:pt x="203" y="74"/>
                  <a:pt x="210" y="73"/>
                  <a:pt x="213" y="71"/>
                </a:cubicBezTo>
                <a:close/>
                <a:moveTo>
                  <a:pt x="213" y="63"/>
                </a:moveTo>
                <a:cubicBezTo>
                  <a:pt x="214" y="64"/>
                  <a:pt x="214" y="64"/>
                  <a:pt x="215" y="64"/>
                </a:cubicBezTo>
                <a:cubicBezTo>
                  <a:pt x="216" y="65"/>
                  <a:pt x="216" y="71"/>
                  <a:pt x="219" y="68"/>
                </a:cubicBezTo>
                <a:cubicBezTo>
                  <a:pt x="218" y="66"/>
                  <a:pt x="217" y="68"/>
                  <a:pt x="216" y="67"/>
                </a:cubicBezTo>
                <a:cubicBezTo>
                  <a:pt x="217" y="63"/>
                  <a:pt x="216" y="64"/>
                  <a:pt x="215" y="64"/>
                </a:cubicBezTo>
                <a:cubicBezTo>
                  <a:pt x="214" y="63"/>
                  <a:pt x="214" y="63"/>
                  <a:pt x="213" y="63"/>
                </a:cubicBezTo>
                <a:close/>
                <a:moveTo>
                  <a:pt x="150" y="60"/>
                </a:moveTo>
                <a:cubicBezTo>
                  <a:pt x="153" y="59"/>
                  <a:pt x="153" y="59"/>
                  <a:pt x="153" y="59"/>
                </a:cubicBezTo>
                <a:cubicBezTo>
                  <a:pt x="155" y="64"/>
                  <a:pt x="155" y="64"/>
                  <a:pt x="155" y="64"/>
                </a:cubicBezTo>
                <a:lnTo>
                  <a:pt x="150" y="60"/>
                </a:lnTo>
                <a:close/>
                <a:moveTo>
                  <a:pt x="119" y="56"/>
                </a:moveTo>
                <a:cubicBezTo>
                  <a:pt x="122" y="57"/>
                  <a:pt x="122" y="57"/>
                  <a:pt x="122" y="57"/>
                </a:cubicBezTo>
                <a:cubicBezTo>
                  <a:pt x="121" y="58"/>
                  <a:pt x="121" y="58"/>
                  <a:pt x="121" y="58"/>
                </a:cubicBezTo>
                <a:cubicBezTo>
                  <a:pt x="121" y="59"/>
                  <a:pt x="121" y="61"/>
                  <a:pt x="122" y="62"/>
                </a:cubicBezTo>
                <a:cubicBezTo>
                  <a:pt x="122" y="62"/>
                  <a:pt x="123" y="62"/>
                  <a:pt x="123" y="63"/>
                </a:cubicBezTo>
                <a:cubicBezTo>
                  <a:pt x="123" y="63"/>
                  <a:pt x="122" y="62"/>
                  <a:pt x="122" y="62"/>
                </a:cubicBezTo>
                <a:cubicBezTo>
                  <a:pt x="120" y="62"/>
                  <a:pt x="117" y="63"/>
                  <a:pt x="117" y="59"/>
                </a:cubicBezTo>
                <a:cubicBezTo>
                  <a:pt x="118" y="60"/>
                  <a:pt x="121" y="60"/>
                  <a:pt x="121" y="57"/>
                </a:cubicBezTo>
                <a:lnTo>
                  <a:pt x="119" y="56"/>
                </a:lnTo>
                <a:close/>
                <a:moveTo>
                  <a:pt x="56" y="61"/>
                </a:moveTo>
                <a:cubicBezTo>
                  <a:pt x="58" y="62"/>
                  <a:pt x="58" y="63"/>
                  <a:pt x="60" y="59"/>
                </a:cubicBezTo>
                <a:cubicBezTo>
                  <a:pt x="58" y="59"/>
                  <a:pt x="56" y="59"/>
                  <a:pt x="56" y="61"/>
                </a:cubicBezTo>
                <a:close/>
                <a:moveTo>
                  <a:pt x="135" y="50"/>
                </a:moveTo>
                <a:cubicBezTo>
                  <a:pt x="135" y="53"/>
                  <a:pt x="138" y="52"/>
                  <a:pt x="137" y="56"/>
                </a:cubicBezTo>
                <a:cubicBezTo>
                  <a:pt x="136" y="57"/>
                  <a:pt x="136" y="57"/>
                  <a:pt x="136" y="57"/>
                </a:cubicBezTo>
                <a:cubicBezTo>
                  <a:pt x="138" y="55"/>
                  <a:pt x="138" y="64"/>
                  <a:pt x="141" y="60"/>
                </a:cubicBezTo>
                <a:cubicBezTo>
                  <a:pt x="139" y="60"/>
                  <a:pt x="139" y="60"/>
                  <a:pt x="139" y="60"/>
                </a:cubicBezTo>
                <a:cubicBezTo>
                  <a:pt x="141" y="58"/>
                  <a:pt x="135" y="54"/>
                  <a:pt x="139" y="52"/>
                </a:cubicBezTo>
                <a:cubicBezTo>
                  <a:pt x="140" y="51"/>
                  <a:pt x="136" y="49"/>
                  <a:pt x="135" y="50"/>
                </a:cubicBezTo>
                <a:close/>
                <a:moveTo>
                  <a:pt x="50" y="54"/>
                </a:moveTo>
                <a:cubicBezTo>
                  <a:pt x="52" y="54"/>
                  <a:pt x="53" y="62"/>
                  <a:pt x="56" y="58"/>
                </a:cubicBezTo>
                <a:cubicBezTo>
                  <a:pt x="53" y="57"/>
                  <a:pt x="52" y="50"/>
                  <a:pt x="50" y="54"/>
                </a:cubicBezTo>
                <a:close/>
                <a:moveTo>
                  <a:pt x="112" y="41"/>
                </a:moveTo>
                <a:cubicBezTo>
                  <a:pt x="112" y="40"/>
                  <a:pt x="112" y="40"/>
                  <a:pt x="112" y="40"/>
                </a:cubicBezTo>
                <a:cubicBezTo>
                  <a:pt x="115" y="42"/>
                  <a:pt x="115" y="42"/>
                  <a:pt x="115" y="42"/>
                </a:cubicBezTo>
                <a:cubicBezTo>
                  <a:pt x="115" y="43"/>
                  <a:pt x="115" y="43"/>
                  <a:pt x="115" y="43"/>
                </a:cubicBezTo>
                <a:lnTo>
                  <a:pt x="112" y="41"/>
                </a:lnTo>
                <a:close/>
                <a:moveTo>
                  <a:pt x="57" y="97"/>
                </a:moveTo>
                <a:cubicBezTo>
                  <a:pt x="57" y="97"/>
                  <a:pt x="58" y="97"/>
                  <a:pt x="58" y="97"/>
                </a:cubicBezTo>
                <a:cubicBezTo>
                  <a:pt x="58" y="97"/>
                  <a:pt x="57" y="97"/>
                  <a:pt x="57" y="97"/>
                </a:cubicBezTo>
                <a:close/>
                <a:moveTo>
                  <a:pt x="224" y="88"/>
                </a:moveTo>
                <a:cubicBezTo>
                  <a:pt x="223" y="89"/>
                  <a:pt x="223" y="89"/>
                  <a:pt x="223" y="90"/>
                </a:cubicBezTo>
                <a:cubicBezTo>
                  <a:pt x="224" y="90"/>
                  <a:pt x="224" y="89"/>
                  <a:pt x="224" y="88"/>
                </a:cubicBezTo>
                <a:close/>
                <a:moveTo>
                  <a:pt x="230" y="93"/>
                </a:moveTo>
                <a:cubicBezTo>
                  <a:pt x="230" y="93"/>
                  <a:pt x="230" y="93"/>
                  <a:pt x="230" y="93"/>
                </a:cubicBezTo>
                <a:cubicBezTo>
                  <a:pt x="230" y="93"/>
                  <a:pt x="230" y="93"/>
                  <a:pt x="230" y="93"/>
                </a:cubicBezTo>
                <a:close/>
                <a:moveTo>
                  <a:pt x="465" y="113"/>
                </a:moveTo>
                <a:cubicBezTo>
                  <a:pt x="467" y="114"/>
                  <a:pt x="468" y="119"/>
                  <a:pt x="468" y="114"/>
                </a:cubicBezTo>
                <a:cubicBezTo>
                  <a:pt x="468" y="111"/>
                  <a:pt x="467" y="114"/>
                  <a:pt x="465" y="113"/>
                </a:cubicBezTo>
                <a:close/>
                <a:moveTo>
                  <a:pt x="464" y="107"/>
                </a:moveTo>
                <a:cubicBezTo>
                  <a:pt x="463" y="106"/>
                  <a:pt x="462" y="105"/>
                  <a:pt x="462" y="103"/>
                </a:cubicBezTo>
                <a:cubicBezTo>
                  <a:pt x="462" y="106"/>
                  <a:pt x="463" y="106"/>
                  <a:pt x="464" y="107"/>
                </a:cubicBezTo>
                <a:close/>
                <a:moveTo>
                  <a:pt x="464" y="107"/>
                </a:moveTo>
                <a:cubicBezTo>
                  <a:pt x="465" y="107"/>
                  <a:pt x="466" y="108"/>
                  <a:pt x="468" y="107"/>
                </a:cubicBezTo>
                <a:cubicBezTo>
                  <a:pt x="467" y="105"/>
                  <a:pt x="465" y="107"/>
                  <a:pt x="464" y="107"/>
                </a:cubicBezTo>
                <a:close/>
                <a:moveTo>
                  <a:pt x="441" y="108"/>
                </a:moveTo>
                <a:cubicBezTo>
                  <a:pt x="441" y="105"/>
                  <a:pt x="434" y="101"/>
                  <a:pt x="441" y="100"/>
                </a:cubicBezTo>
                <a:cubicBezTo>
                  <a:pt x="441" y="100"/>
                  <a:pt x="438" y="100"/>
                  <a:pt x="437" y="97"/>
                </a:cubicBezTo>
                <a:cubicBezTo>
                  <a:pt x="438" y="102"/>
                  <a:pt x="437" y="106"/>
                  <a:pt x="441" y="108"/>
                </a:cubicBezTo>
                <a:close/>
                <a:moveTo>
                  <a:pt x="431" y="94"/>
                </a:moveTo>
                <a:cubicBezTo>
                  <a:pt x="431" y="94"/>
                  <a:pt x="430" y="94"/>
                  <a:pt x="429" y="94"/>
                </a:cubicBezTo>
                <a:cubicBezTo>
                  <a:pt x="430" y="94"/>
                  <a:pt x="430" y="94"/>
                  <a:pt x="431" y="94"/>
                </a:cubicBezTo>
                <a:close/>
                <a:moveTo>
                  <a:pt x="429" y="94"/>
                </a:moveTo>
                <a:cubicBezTo>
                  <a:pt x="428" y="93"/>
                  <a:pt x="427" y="87"/>
                  <a:pt x="424" y="89"/>
                </a:cubicBezTo>
                <a:cubicBezTo>
                  <a:pt x="425" y="92"/>
                  <a:pt x="425" y="95"/>
                  <a:pt x="426" y="96"/>
                </a:cubicBezTo>
                <a:cubicBezTo>
                  <a:pt x="426" y="93"/>
                  <a:pt x="428" y="94"/>
                  <a:pt x="429" y="94"/>
                </a:cubicBezTo>
                <a:close/>
                <a:moveTo>
                  <a:pt x="357" y="102"/>
                </a:moveTo>
                <a:cubicBezTo>
                  <a:pt x="360" y="103"/>
                  <a:pt x="360" y="103"/>
                  <a:pt x="360" y="103"/>
                </a:cubicBezTo>
                <a:cubicBezTo>
                  <a:pt x="361" y="101"/>
                  <a:pt x="359" y="101"/>
                  <a:pt x="359" y="100"/>
                </a:cubicBezTo>
                <a:cubicBezTo>
                  <a:pt x="358" y="101"/>
                  <a:pt x="356" y="101"/>
                  <a:pt x="357" y="102"/>
                </a:cubicBezTo>
                <a:close/>
                <a:moveTo>
                  <a:pt x="345" y="87"/>
                </a:moveTo>
                <a:cubicBezTo>
                  <a:pt x="344" y="93"/>
                  <a:pt x="344" y="93"/>
                  <a:pt x="344" y="93"/>
                </a:cubicBezTo>
                <a:cubicBezTo>
                  <a:pt x="345" y="94"/>
                  <a:pt x="344" y="89"/>
                  <a:pt x="347" y="90"/>
                </a:cubicBezTo>
                <a:lnTo>
                  <a:pt x="345" y="87"/>
                </a:lnTo>
                <a:close/>
                <a:moveTo>
                  <a:pt x="352" y="59"/>
                </a:moveTo>
                <a:cubicBezTo>
                  <a:pt x="353" y="59"/>
                  <a:pt x="353" y="59"/>
                  <a:pt x="353" y="59"/>
                </a:cubicBezTo>
                <a:cubicBezTo>
                  <a:pt x="353" y="59"/>
                  <a:pt x="353" y="59"/>
                  <a:pt x="353" y="59"/>
                </a:cubicBezTo>
                <a:lnTo>
                  <a:pt x="352" y="59"/>
                </a:lnTo>
                <a:close/>
                <a:moveTo>
                  <a:pt x="334" y="102"/>
                </a:moveTo>
                <a:cubicBezTo>
                  <a:pt x="333" y="94"/>
                  <a:pt x="333" y="94"/>
                  <a:pt x="333" y="94"/>
                </a:cubicBezTo>
                <a:cubicBezTo>
                  <a:pt x="332" y="94"/>
                  <a:pt x="332" y="100"/>
                  <a:pt x="334" y="102"/>
                </a:cubicBezTo>
                <a:close/>
                <a:moveTo>
                  <a:pt x="318" y="98"/>
                </a:moveTo>
                <a:cubicBezTo>
                  <a:pt x="323" y="100"/>
                  <a:pt x="323" y="100"/>
                  <a:pt x="323" y="100"/>
                </a:cubicBezTo>
                <a:cubicBezTo>
                  <a:pt x="322" y="98"/>
                  <a:pt x="322" y="98"/>
                  <a:pt x="322" y="98"/>
                </a:cubicBezTo>
                <a:lnTo>
                  <a:pt x="318" y="98"/>
                </a:lnTo>
                <a:close/>
                <a:moveTo>
                  <a:pt x="305" y="93"/>
                </a:moveTo>
                <a:cubicBezTo>
                  <a:pt x="308" y="95"/>
                  <a:pt x="308" y="95"/>
                  <a:pt x="308" y="95"/>
                </a:cubicBezTo>
                <a:cubicBezTo>
                  <a:pt x="309" y="94"/>
                  <a:pt x="309" y="94"/>
                  <a:pt x="309" y="94"/>
                </a:cubicBezTo>
                <a:lnTo>
                  <a:pt x="305" y="93"/>
                </a:lnTo>
                <a:close/>
                <a:moveTo>
                  <a:pt x="173" y="79"/>
                </a:moveTo>
                <a:cubicBezTo>
                  <a:pt x="171" y="80"/>
                  <a:pt x="165" y="78"/>
                  <a:pt x="166" y="84"/>
                </a:cubicBezTo>
                <a:cubicBezTo>
                  <a:pt x="168" y="76"/>
                  <a:pt x="172" y="86"/>
                  <a:pt x="173" y="79"/>
                </a:cubicBezTo>
                <a:close/>
                <a:moveTo>
                  <a:pt x="68" y="94"/>
                </a:moveTo>
                <a:cubicBezTo>
                  <a:pt x="63" y="93"/>
                  <a:pt x="63" y="93"/>
                  <a:pt x="63" y="93"/>
                </a:cubicBezTo>
                <a:cubicBezTo>
                  <a:pt x="67" y="94"/>
                  <a:pt x="64" y="97"/>
                  <a:pt x="68" y="94"/>
                </a:cubicBezTo>
                <a:close/>
                <a:moveTo>
                  <a:pt x="424" y="167"/>
                </a:moveTo>
                <a:cubicBezTo>
                  <a:pt x="425" y="167"/>
                  <a:pt x="425" y="167"/>
                  <a:pt x="425" y="167"/>
                </a:cubicBezTo>
                <a:cubicBezTo>
                  <a:pt x="425" y="167"/>
                  <a:pt x="425" y="167"/>
                  <a:pt x="424" y="167"/>
                </a:cubicBezTo>
                <a:close/>
                <a:moveTo>
                  <a:pt x="424" y="167"/>
                </a:moveTo>
                <a:cubicBezTo>
                  <a:pt x="422" y="165"/>
                  <a:pt x="419" y="166"/>
                  <a:pt x="418" y="167"/>
                </a:cubicBezTo>
                <a:cubicBezTo>
                  <a:pt x="421" y="173"/>
                  <a:pt x="423" y="168"/>
                  <a:pt x="424" y="167"/>
                </a:cubicBezTo>
                <a:close/>
                <a:moveTo>
                  <a:pt x="427" y="177"/>
                </a:moveTo>
                <a:cubicBezTo>
                  <a:pt x="430" y="178"/>
                  <a:pt x="430" y="178"/>
                  <a:pt x="430" y="178"/>
                </a:cubicBezTo>
                <a:cubicBezTo>
                  <a:pt x="429" y="178"/>
                  <a:pt x="427" y="174"/>
                  <a:pt x="427" y="177"/>
                </a:cubicBezTo>
                <a:close/>
                <a:moveTo>
                  <a:pt x="428" y="171"/>
                </a:moveTo>
                <a:cubicBezTo>
                  <a:pt x="426" y="170"/>
                  <a:pt x="426" y="170"/>
                  <a:pt x="426" y="170"/>
                </a:cubicBezTo>
                <a:cubicBezTo>
                  <a:pt x="427" y="172"/>
                  <a:pt x="427" y="172"/>
                  <a:pt x="427" y="172"/>
                </a:cubicBezTo>
                <a:lnTo>
                  <a:pt x="428" y="171"/>
                </a:lnTo>
                <a:close/>
                <a:moveTo>
                  <a:pt x="495" y="116"/>
                </a:moveTo>
                <a:cubicBezTo>
                  <a:pt x="498" y="117"/>
                  <a:pt x="499" y="118"/>
                  <a:pt x="501" y="118"/>
                </a:cubicBezTo>
                <a:lnTo>
                  <a:pt x="495" y="116"/>
                </a:lnTo>
                <a:close/>
                <a:moveTo>
                  <a:pt x="523" y="125"/>
                </a:moveTo>
                <a:cubicBezTo>
                  <a:pt x="523" y="125"/>
                  <a:pt x="523" y="125"/>
                  <a:pt x="523" y="125"/>
                </a:cubicBezTo>
                <a:cubicBezTo>
                  <a:pt x="523" y="124"/>
                  <a:pt x="523" y="124"/>
                  <a:pt x="523" y="124"/>
                </a:cubicBezTo>
                <a:cubicBezTo>
                  <a:pt x="523" y="124"/>
                  <a:pt x="523" y="124"/>
                  <a:pt x="522" y="124"/>
                </a:cubicBezTo>
                <a:cubicBezTo>
                  <a:pt x="522" y="124"/>
                  <a:pt x="522" y="124"/>
                  <a:pt x="522" y="124"/>
                </a:cubicBezTo>
                <a:cubicBezTo>
                  <a:pt x="522" y="124"/>
                  <a:pt x="522" y="124"/>
                  <a:pt x="522" y="124"/>
                </a:cubicBezTo>
                <a:lnTo>
                  <a:pt x="523" y="125"/>
                </a:lnTo>
                <a:close/>
                <a:moveTo>
                  <a:pt x="500" y="119"/>
                </a:moveTo>
                <a:cubicBezTo>
                  <a:pt x="500" y="120"/>
                  <a:pt x="500" y="120"/>
                  <a:pt x="500" y="120"/>
                </a:cubicBezTo>
                <a:cubicBezTo>
                  <a:pt x="501" y="120"/>
                  <a:pt x="501" y="120"/>
                  <a:pt x="500" y="119"/>
                </a:cubicBezTo>
                <a:close/>
                <a:moveTo>
                  <a:pt x="466" y="136"/>
                </a:moveTo>
                <a:cubicBezTo>
                  <a:pt x="466" y="137"/>
                  <a:pt x="468" y="139"/>
                  <a:pt x="469" y="140"/>
                </a:cubicBezTo>
                <a:cubicBezTo>
                  <a:pt x="468" y="138"/>
                  <a:pt x="466" y="134"/>
                  <a:pt x="466" y="136"/>
                </a:cubicBezTo>
                <a:close/>
                <a:moveTo>
                  <a:pt x="557" y="113"/>
                </a:moveTo>
                <a:cubicBezTo>
                  <a:pt x="560" y="114"/>
                  <a:pt x="560" y="114"/>
                  <a:pt x="560" y="114"/>
                </a:cubicBezTo>
                <a:cubicBezTo>
                  <a:pt x="560" y="113"/>
                  <a:pt x="558" y="113"/>
                  <a:pt x="557" y="113"/>
                </a:cubicBezTo>
                <a:close/>
                <a:moveTo>
                  <a:pt x="575" y="142"/>
                </a:moveTo>
                <a:cubicBezTo>
                  <a:pt x="574" y="142"/>
                  <a:pt x="574" y="142"/>
                  <a:pt x="574" y="142"/>
                </a:cubicBezTo>
                <a:cubicBezTo>
                  <a:pt x="575" y="143"/>
                  <a:pt x="576" y="143"/>
                  <a:pt x="578" y="144"/>
                </a:cubicBezTo>
                <a:lnTo>
                  <a:pt x="575" y="142"/>
                </a:lnTo>
                <a:close/>
                <a:moveTo>
                  <a:pt x="502" y="122"/>
                </a:moveTo>
                <a:cubicBezTo>
                  <a:pt x="504" y="123"/>
                  <a:pt x="504" y="123"/>
                  <a:pt x="504" y="123"/>
                </a:cubicBezTo>
                <a:cubicBezTo>
                  <a:pt x="504" y="123"/>
                  <a:pt x="504" y="123"/>
                  <a:pt x="504" y="123"/>
                </a:cubicBezTo>
                <a:cubicBezTo>
                  <a:pt x="502" y="122"/>
                  <a:pt x="502" y="122"/>
                  <a:pt x="502" y="122"/>
                </a:cubicBezTo>
                <a:close/>
                <a:moveTo>
                  <a:pt x="560" y="102"/>
                </a:moveTo>
                <a:cubicBezTo>
                  <a:pt x="558" y="102"/>
                  <a:pt x="557" y="103"/>
                  <a:pt x="556" y="103"/>
                </a:cubicBezTo>
                <a:cubicBezTo>
                  <a:pt x="558" y="103"/>
                  <a:pt x="560" y="103"/>
                  <a:pt x="560" y="102"/>
                </a:cubicBezTo>
                <a:close/>
                <a:moveTo>
                  <a:pt x="523" y="124"/>
                </a:moveTo>
                <a:cubicBezTo>
                  <a:pt x="523" y="124"/>
                  <a:pt x="523" y="124"/>
                  <a:pt x="523" y="124"/>
                </a:cubicBezTo>
                <a:cubicBezTo>
                  <a:pt x="523" y="124"/>
                  <a:pt x="523" y="124"/>
                  <a:pt x="523" y="124"/>
                </a:cubicBezTo>
                <a:cubicBezTo>
                  <a:pt x="523" y="124"/>
                  <a:pt x="523" y="124"/>
                  <a:pt x="523" y="124"/>
                </a:cubicBezTo>
                <a:close/>
                <a:moveTo>
                  <a:pt x="567" y="146"/>
                </a:moveTo>
                <a:cubicBezTo>
                  <a:pt x="566" y="146"/>
                  <a:pt x="565" y="146"/>
                  <a:pt x="564" y="146"/>
                </a:cubicBezTo>
                <a:cubicBezTo>
                  <a:pt x="565" y="147"/>
                  <a:pt x="567" y="147"/>
                  <a:pt x="567" y="146"/>
                </a:cubicBezTo>
                <a:close/>
                <a:moveTo>
                  <a:pt x="470" y="141"/>
                </a:moveTo>
                <a:cubicBezTo>
                  <a:pt x="469" y="140"/>
                  <a:pt x="469" y="140"/>
                  <a:pt x="469" y="140"/>
                </a:cubicBezTo>
                <a:cubicBezTo>
                  <a:pt x="470" y="141"/>
                  <a:pt x="470" y="141"/>
                  <a:pt x="470" y="141"/>
                </a:cubicBezTo>
                <a:close/>
                <a:moveTo>
                  <a:pt x="431" y="163"/>
                </a:moveTo>
                <a:cubicBezTo>
                  <a:pt x="430" y="162"/>
                  <a:pt x="429" y="160"/>
                  <a:pt x="429" y="161"/>
                </a:cubicBezTo>
                <a:cubicBezTo>
                  <a:pt x="430" y="162"/>
                  <a:pt x="430" y="163"/>
                  <a:pt x="431" y="163"/>
                </a:cubicBezTo>
                <a:close/>
                <a:moveTo>
                  <a:pt x="458" y="4"/>
                </a:moveTo>
                <a:cubicBezTo>
                  <a:pt x="458" y="5"/>
                  <a:pt x="458" y="5"/>
                  <a:pt x="458" y="5"/>
                </a:cubicBezTo>
                <a:cubicBezTo>
                  <a:pt x="458" y="4"/>
                  <a:pt x="458" y="4"/>
                  <a:pt x="458" y="4"/>
                </a:cubicBezTo>
                <a:close/>
                <a:moveTo>
                  <a:pt x="461" y="34"/>
                </a:moveTo>
                <a:cubicBezTo>
                  <a:pt x="461" y="33"/>
                  <a:pt x="462" y="33"/>
                  <a:pt x="462" y="33"/>
                </a:cubicBezTo>
                <a:cubicBezTo>
                  <a:pt x="461" y="33"/>
                  <a:pt x="460" y="34"/>
                  <a:pt x="461" y="34"/>
                </a:cubicBezTo>
                <a:close/>
                <a:moveTo>
                  <a:pt x="524" y="32"/>
                </a:moveTo>
                <a:cubicBezTo>
                  <a:pt x="520" y="39"/>
                  <a:pt x="520" y="39"/>
                  <a:pt x="520" y="39"/>
                </a:cubicBezTo>
                <a:cubicBezTo>
                  <a:pt x="523" y="38"/>
                  <a:pt x="524" y="39"/>
                  <a:pt x="526" y="37"/>
                </a:cubicBezTo>
                <a:cubicBezTo>
                  <a:pt x="523" y="40"/>
                  <a:pt x="523" y="40"/>
                  <a:pt x="523" y="40"/>
                </a:cubicBezTo>
                <a:cubicBezTo>
                  <a:pt x="526" y="39"/>
                  <a:pt x="526" y="39"/>
                  <a:pt x="526" y="39"/>
                </a:cubicBezTo>
                <a:cubicBezTo>
                  <a:pt x="533" y="42"/>
                  <a:pt x="517" y="57"/>
                  <a:pt x="531" y="58"/>
                </a:cubicBezTo>
                <a:cubicBezTo>
                  <a:pt x="532" y="57"/>
                  <a:pt x="532" y="57"/>
                  <a:pt x="532" y="57"/>
                </a:cubicBezTo>
                <a:cubicBezTo>
                  <a:pt x="528" y="64"/>
                  <a:pt x="528" y="64"/>
                  <a:pt x="528" y="64"/>
                </a:cubicBezTo>
                <a:cubicBezTo>
                  <a:pt x="529" y="64"/>
                  <a:pt x="534" y="62"/>
                  <a:pt x="536" y="62"/>
                </a:cubicBezTo>
                <a:cubicBezTo>
                  <a:pt x="531" y="64"/>
                  <a:pt x="536" y="64"/>
                  <a:pt x="532" y="67"/>
                </a:cubicBezTo>
                <a:cubicBezTo>
                  <a:pt x="535" y="67"/>
                  <a:pt x="536" y="65"/>
                  <a:pt x="537" y="64"/>
                </a:cubicBezTo>
                <a:cubicBezTo>
                  <a:pt x="541" y="64"/>
                  <a:pt x="541" y="66"/>
                  <a:pt x="541" y="68"/>
                </a:cubicBezTo>
                <a:cubicBezTo>
                  <a:pt x="541" y="69"/>
                  <a:pt x="540" y="69"/>
                  <a:pt x="541" y="69"/>
                </a:cubicBezTo>
                <a:cubicBezTo>
                  <a:pt x="541" y="71"/>
                  <a:pt x="541" y="71"/>
                  <a:pt x="541" y="71"/>
                </a:cubicBezTo>
                <a:cubicBezTo>
                  <a:pt x="541" y="72"/>
                  <a:pt x="541" y="72"/>
                  <a:pt x="542" y="73"/>
                </a:cubicBezTo>
                <a:cubicBezTo>
                  <a:pt x="542" y="75"/>
                  <a:pt x="544" y="77"/>
                  <a:pt x="546" y="78"/>
                </a:cubicBezTo>
                <a:cubicBezTo>
                  <a:pt x="540" y="76"/>
                  <a:pt x="538" y="75"/>
                  <a:pt x="536" y="74"/>
                </a:cubicBezTo>
                <a:cubicBezTo>
                  <a:pt x="535" y="73"/>
                  <a:pt x="535" y="73"/>
                  <a:pt x="534" y="72"/>
                </a:cubicBezTo>
                <a:cubicBezTo>
                  <a:pt x="533" y="72"/>
                  <a:pt x="533" y="72"/>
                  <a:pt x="532" y="72"/>
                </a:cubicBezTo>
                <a:cubicBezTo>
                  <a:pt x="531" y="73"/>
                  <a:pt x="531" y="73"/>
                  <a:pt x="532" y="74"/>
                </a:cubicBezTo>
                <a:cubicBezTo>
                  <a:pt x="533" y="75"/>
                  <a:pt x="533" y="76"/>
                  <a:pt x="534" y="76"/>
                </a:cubicBezTo>
                <a:cubicBezTo>
                  <a:pt x="536" y="77"/>
                  <a:pt x="538" y="79"/>
                  <a:pt x="538" y="82"/>
                </a:cubicBezTo>
                <a:cubicBezTo>
                  <a:pt x="539" y="78"/>
                  <a:pt x="539" y="78"/>
                  <a:pt x="539" y="78"/>
                </a:cubicBezTo>
                <a:cubicBezTo>
                  <a:pt x="544" y="78"/>
                  <a:pt x="544" y="81"/>
                  <a:pt x="545" y="83"/>
                </a:cubicBezTo>
                <a:cubicBezTo>
                  <a:pt x="545" y="86"/>
                  <a:pt x="545" y="88"/>
                  <a:pt x="550" y="87"/>
                </a:cubicBezTo>
                <a:cubicBezTo>
                  <a:pt x="550" y="89"/>
                  <a:pt x="549" y="91"/>
                  <a:pt x="548" y="94"/>
                </a:cubicBezTo>
                <a:cubicBezTo>
                  <a:pt x="546" y="96"/>
                  <a:pt x="545" y="98"/>
                  <a:pt x="548" y="99"/>
                </a:cubicBezTo>
                <a:cubicBezTo>
                  <a:pt x="550" y="99"/>
                  <a:pt x="553" y="98"/>
                  <a:pt x="555" y="97"/>
                </a:cubicBezTo>
                <a:cubicBezTo>
                  <a:pt x="558" y="101"/>
                  <a:pt x="558" y="101"/>
                  <a:pt x="558" y="101"/>
                </a:cubicBezTo>
                <a:cubicBezTo>
                  <a:pt x="552" y="101"/>
                  <a:pt x="552" y="101"/>
                  <a:pt x="552" y="101"/>
                </a:cubicBezTo>
                <a:cubicBezTo>
                  <a:pt x="553" y="103"/>
                  <a:pt x="554" y="103"/>
                  <a:pt x="556" y="103"/>
                </a:cubicBezTo>
                <a:cubicBezTo>
                  <a:pt x="553" y="105"/>
                  <a:pt x="554" y="106"/>
                  <a:pt x="554" y="108"/>
                </a:cubicBezTo>
                <a:cubicBezTo>
                  <a:pt x="555" y="109"/>
                  <a:pt x="556" y="111"/>
                  <a:pt x="554" y="113"/>
                </a:cubicBezTo>
                <a:cubicBezTo>
                  <a:pt x="557" y="113"/>
                  <a:pt x="557" y="113"/>
                  <a:pt x="557" y="113"/>
                </a:cubicBezTo>
                <a:cubicBezTo>
                  <a:pt x="557" y="114"/>
                  <a:pt x="556" y="114"/>
                  <a:pt x="555" y="114"/>
                </a:cubicBezTo>
                <a:cubicBezTo>
                  <a:pt x="562" y="115"/>
                  <a:pt x="562" y="118"/>
                  <a:pt x="568" y="119"/>
                </a:cubicBezTo>
                <a:cubicBezTo>
                  <a:pt x="569" y="118"/>
                  <a:pt x="570" y="115"/>
                  <a:pt x="566" y="115"/>
                </a:cubicBezTo>
                <a:cubicBezTo>
                  <a:pt x="571" y="112"/>
                  <a:pt x="573" y="119"/>
                  <a:pt x="575" y="121"/>
                </a:cubicBezTo>
                <a:cubicBezTo>
                  <a:pt x="570" y="119"/>
                  <a:pt x="571" y="121"/>
                  <a:pt x="570" y="122"/>
                </a:cubicBezTo>
                <a:cubicBezTo>
                  <a:pt x="572" y="123"/>
                  <a:pt x="572" y="122"/>
                  <a:pt x="573" y="123"/>
                </a:cubicBezTo>
                <a:cubicBezTo>
                  <a:pt x="577" y="125"/>
                  <a:pt x="574" y="126"/>
                  <a:pt x="572" y="126"/>
                </a:cubicBezTo>
                <a:cubicBezTo>
                  <a:pt x="570" y="127"/>
                  <a:pt x="569" y="127"/>
                  <a:pt x="577" y="130"/>
                </a:cubicBezTo>
                <a:cubicBezTo>
                  <a:pt x="570" y="129"/>
                  <a:pt x="570" y="129"/>
                  <a:pt x="570" y="129"/>
                </a:cubicBezTo>
                <a:cubicBezTo>
                  <a:pt x="578" y="133"/>
                  <a:pt x="578" y="133"/>
                  <a:pt x="578" y="133"/>
                </a:cubicBezTo>
                <a:cubicBezTo>
                  <a:pt x="570" y="131"/>
                  <a:pt x="570" y="132"/>
                  <a:pt x="571" y="133"/>
                </a:cubicBezTo>
                <a:cubicBezTo>
                  <a:pt x="571" y="134"/>
                  <a:pt x="572" y="135"/>
                  <a:pt x="564" y="133"/>
                </a:cubicBezTo>
                <a:cubicBezTo>
                  <a:pt x="566" y="135"/>
                  <a:pt x="574" y="135"/>
                  <a:pt x="573" y="136"/>
                </a:cubicBezTo>
                <a:cubicBezTo>
                  <a:pt x="577" y="139"/>
                  <a:pt x="570" y="139"/>
                  <a:pt x="572" y="141"/>
                </a:cubicBezTo>
                <a:cubicBezTo>
                  <a:pt x="572" y="141"/>
                  <a:pt x="572" y="142"/>
                  <a:pt x="574" y="142"/>
                </a:cubicBezTo>
                <a:cubicBezTo>
                  <a:pt x="573" y="142"/>
                  <a:pt x="572" y="142"/>
                  <a:pt x="571" y="142"/>
                </a:cubicBezTo>
                <a:cubicBezTo>
                  <a:pt x="570" y="142"/>
                  <a:pt x="570" y="142"/>
                  <a:pt x="570" y="142"/>
                </a:cubicBezTo>
                <a:cubicBezTo>
                  <a:pt x="568" y="142"/>
                  <a:pt x="568" y="142"/>
                  <a:pt x="567" y="142"/>
                </a:cubicBezTo>
                <a:cubicBezTo>
                  <a:pt x="565" y="143"/>
                  <a:pt x="564" y="143"/>
                  <a:pt x="561" y="143"/>
                </a:cubicBezTo>
                <a:cubicBezTo>
                  <a:pt x="568" y="146"/>
                  <a:pt x="568" y="146"/>
                  <a:pt x="568" y="146"/>
                </a:cubicBezTo>
                <a:cubicBezTo>
                  <a:pt x="565" y="145"/>
                  <a:pt x="561" y="144"/>
                  <a:pt x="561" y="145"/>
                </a:cubicBezTo>
                <a:cubicBezTo>
                  <a:pt x="561" y="145"/>
                  <a:pt x="563" y="146"/>
                  <a:pt x="564" y="146"/>
                </a:cubicBezTo>
                <a:cubicBezTo>
                  <a:pt x="555" y="146"/>
                  <a:pt x="552" y="146"/>
                  <a:pt x="548" y="147"/>
                </a:cubicBezTo>
                <a:cubicBezTo>
                  <a:pt x="552" y="149"/>
                  <a:pt x="554" y="151"/>
                  <a:pt x="558" y="151"/>
                </a:cubicBezTo>
                <a:cubicBezTo>
                  <a:pt x="558" y="153"/>
                  <a:pt x="554" y="152"/>
                  <a:pt x="549" y="152"/>
                </a:cubicBezTo>
                <a:cubicBezTo>
                  <a:pt x="545" y="151"/>
                  <a:pt x="540" y="151"/>
                  <a:pt x="538" y="152"/>
                </a:cubicBezTo>
                <a:cubicBezTo>
                  <a:pt x="541" y="154"/>
                  <a:pt x="541" y="154"/>
                  <a:pt x="541" y="154"/>
                </a:cubicBezTo>
                <a:cubicBezTo>
                  <a:pt x="534" y="152"/>
                  <a:pt x="534" y="152"/>
                  <a:pt x="534" y="152"/>
                </a:cubicBezTo>
                <a:cubicBezTo>
                  <a:pt x="536" y="153"/>
                  <a:pt x="537" y="154"/>
                  <a:pt x="539" y="155"/>
                </a:cubicBezTo>
                <a:cubicBezTo>
                  <a:pt x="535" y="157"/>
                  <a:pt x="527" y="159"/>
                  <a:pt x="518" y="153"/>
                </a:cubicBezTo>
                <a:cubicBezTo>
                  <a:pt x="521" y="154"/>
                  <a:pt x="520" y="158"/>
                  <a:pt x="526" y="160"/>
                </a:cubicBezTo>
                <a:cubicBezTo>
                  <a:pt x="521" y="158"/>
                  <a:pt x="517" y="158"/>
                  <a:pt x="514" y="159"/>
                </a:cubicBezTo>
                <a:cubicBezTo>
                  <a:pt x="510" y="159"/>
                  <a:pt x="507" y="160"/>
                  <a:pt x="504" y="160"/>
                </a:cubicBezTo>
                <a:cubicBezTo>
                  <a:pt x="504" y="160"/>
                  <a:pt x="504" y="160"/>
                  <a:pt x="504" y="160"/>
                </a:cubicBezTo>
                <a:cubicBezTo>
                  <a:pt x="501" y="158"/>
                  <a:pt x="501" y="158"/>
                  <a:pt x="501" y="158"/>
                </a:cubicBezTo>
                <a:cubicBezTo>
                  <a:pt x="501" y="159"/>
                  <a:pt x="501" y="159"/>
                  <a:pt x="501" y="159"/>
                </a:cubicBezTo>
                <a:cubicBezTo>
                  <a:pt x="503" y="160"/>
                  <a:pt x="503" y="160"/>
                  <a:pt x="503" y="160"/>
                </a:cubicBezTo>
                <a:cubicBezTo>
                  <a:pt x="501" y="160"/>
                  <a:pt x="498" y="159"/>
                  <a:pt x="496" y="158"/>
                </a:cubicBezTo>
                <a:cubicBezTo>
                  <a:pt x="496" y="159"/>
                  <a:pt x="497" y="163"/>
                  <a:pt x="496" y="165"/>
                </a:cubicBezTo>
                <a:cubicBezTo>
                  <a:pt x="495" y="162"/>
                  <a:pt x="494" y="164"/>
                  <a:pt x="493" y="166"/>
                </a:cubicBezTo>
                <a:cubicBezTo>
                  <a:pt x="492" y="167"/>
                  <a:pt x="491" y="169"/>
                  <a:pt x="489" y="166"/>
                </a:cubicBezTo>
                <a:cubicBezTo>
                  <a:pt x="489" y="167"/>
                  <a:pt x="490" y="167"/>
                  <a:pt x="490" y="169"/>
                </a:cubicBezTo>
                <a:cubicBezTo>
                  <a:pt x="485" y="169"/>
                  <a:pt x="477" y="165"/>
                  <a:pt x="473" y="171"/>
                </a:cubicBezTo>
                <a:cubicBezTo>
                  <a:pt x="469" y="161"/>
                  <a:pt x="466" y="165"/>
                  <a:pt x="461" y="162"/>
                </a:cubicBezTo>
                <a:cubicBezTo>
                  <a:pt x="463" y="168"/>
                  <a:pt x="464" y="164"/>
                  <a:pt x="466" y="168"/>
                </a:cubicBezTo>
                <a:cubicBezTo>
                  <a:pt x="464" y="167"/>
                  <a:pt x="469" y="176"/>
                  <a:pt x="464" y="172"/>
                </a:cubicBezTo>
                <a:cubicBezTo>
                  <a:pt x="465" y="173"/>
                  <a:pt x="465" y="174"/>
                  <a:pt x="465" y="173"/>
                </a:cubicBezTo>
                <a:cubicBezTo>
                  <a:pt x="464" y="174"/>
                  <a:pt x="463" y="166"/>
                  <a:pt x="461" y="169"/>
                </a:cubicBezTo>
                <a:cubicBezTo>
                  <a:pt x="463" y="173"/>
                  <a:pt x="463" y="173"/>
                  <a:pt x="463" y="173"/>
                </a:cubicBezTo>
                <a:cubicBezTo>
                  <a:pt x="459" y="168"/>
                  <a:pt x="459" y="168"/>
                  <a:pt x="459" y="168"/>
                </a:cubicBezTo>
                <a:cubicBezTo>
                  <a:pt x="455" y="172"/>
                  <a:pt x="450" y="171"/>
                  <a:pt x="448" y="177"/>
                </a:cubicBezTo>
                <a:cubicBezTo>
                  <a:pt x="447" y="176"/>
                  <a:pt x="446" y="174"/>
                  <a:pt x="446" y="172"/>
                </a:cubicBezTo>
                <a:cubicBezTo>
                  <a:pt x="445" y="173"/>
                  <a:pt x="440" y="167"/>
                  <a:pt x="439" y="172"/>
                </a:cubicBezTo>
                <a:cubicBezTo>
                  <a:pt x="440" y="174"/>
                  <a:pt x="440" y="174"/>
                  <a:pt x="440" y="174"/>
                </a:cubicBezTo>
                <a:cubicBezTo>
                  <a:pt x="438" y="179"/>
                  <a:pt x="435" y="170"/>
                  <a:pt x="430" y="170"/>
                </a:cubicBezTo>
                <a:cubicBezTo>
                  <a:pt x="431" y="170"/>
                  <a:pt x="434" y="172"/>
                  <a:pt x="432" y="167"/>
                </a:cubicBezTo>
                <a:cubicBezTo>
                  <a:pt x="431" y="164"/>
                  <a:pt x="429" y="165"/>
                  <a:pt x="429" y="168"/>
                </a:cubicBezTo>
                <a:cubicBezTo>
                  <a:pt x="427" y="162"/>
                  <a:pt x="427" y="162"/>
                  <a:pt x="427" y="162"/>
                </a:cubicBezTo>
                <a:cubicBezTo>
                  <a:pt x="429" y="165"/>
                  <a:pt x="431" y="164"/>
                  <a:pt x="432" y="166"/>
                </a:cubicBezTo>
                <a:cubicBezTo>
                  <a:pt x="432" y="165"/>
                  <a:pt x="431" y="164"/>
                  <a:pt x="431" y="163"/>
                </a:cubicBezTo>
                <a:cubicBezTo>
                  <a:pt x="433" y="164"/>
                  <a:pt x="434" y="164"/>
                  <a:pt x="436" y="165"/>
                </a:cubicBezTo>
                <a:cubicBezTo>
                  <a:pt x="434" y="166"/>
                  <a:pt x="434" y="166"/>
                  <a:pt x="434" y="166"/>
                </a:cubicBezTo>
                <a:cubicBezTo>
                  <a:pt x="437" y="171"/>
                  <a:pt x="438" y="164"/>
                  <a:pt x="439" y="166"/>
                </a:cubicBezTo>
                <a:cubicBezTo>
                  <a:pt x="437" y="161"/>
                  <a:pt x="436" y="162"/>
                  <a:pt x="436" y="158"/>
                </a:cubicBezTo>
                <a:cubicBezTo>
                  <a:pt x="439" y="154"/>
                  <a:pt x="440" y="162"/>
                  <a:pt x="445" y="166"/>
                </a:cubicBezTo>
                <a:cubicBezTo>
                  <a:pt x="445" y="167"/>
                  <a:pt x="445" y="167"/>
                  <a:pt x="445" y="167"/>
                </a:cubicBezTo>
                <a:cubicBezTo>
                  <a:pt x="447" y="168"/>
                  <a:pt x="450" y="173"/>
                  <a:pt x="450" y="168"/>
                </a:cubicBezTo>
                <a:cubicBezTo>
                  <a:pt x="448" y="165"/>
                  <a:pt x="447" y="165"/>
                  <a:pt x="446" y="164"/>
                </a:cubicBezTo>
                <a:cubicBezTo>
                  <a:pt x="445" y="162"/>
                  <a:pt x="450" y="169"/>
                  <a:pt x="450" y="165"/>
                </a:cubicBezTo>
                <a:cubicBezTo>
                  <a:pt x="447" y="161"/>
                  <a:pt x="444" y="160"/>
                  <a:pt x="442" y="161"/>
                </a:cubicBezTo>
                <a:cubicBezTo>
                  <a:pt x="442" y="159"/>
                  <a:pt x="441" y="158"/>
                  <a:pt x="440" y="156"/>
                </a:cubicBezTo>
                <a:cubicBezTo>
                  <a:pt x="447" y="158"/>
                  <a:pt x="455" y="162"/>
                  <a:pt x="459" y="157"/>
                </a:cubicBezTo>
                <a:cubicBezTo>
                  <a:pt x="454" y="151"/>
                  <a:pt x="460" y="156"/>
                  <a:pt x="457" y="150"/>
                </a:cubicBezTo>
                <a:cubicBezTo>
                  <a:pt x="459" y="154"/>
                  <a:pt x="459" y="149"/>
                  <a:pt x="462" y="151"/>
                </a:cubicBezTo>
                <a:cubicBezTo>
                  <a:pt x="460" y="145"/>
                  <a:pt x="457" y="148"/>
                  <a:pt x="457" y="144"/>
                </a:cubicBezTo>
                <a:cubicBezTo>
                  <a:pt x="460" y="144"/>
                  <a:pt x="468" y="152"/>
                  <a:pt x="471" y="149"/>
                </a:cubicBezTo>
                <a:cubicBezTo>
                  <a:pt x="470" y="147"/>
                  <a:pt x="469" y="147"/>
                  <a:pt x="468" y="146"/>
                </a:cubicBezTo>
                <a:cubicBezTo>
                  <a:pt x="471" y="147"/>
                  <a:pt x="478" y="158"/>
                  <a:pt x="477" y="149"/>
                </a:cubicBezTo>
                <a:cubicBezTo>
                  <a:pt x="475" y="147"/>
                  <a:pt x="473" y="144"/>
                  <a:pt x="470" y="141"/>
                </a:cubicBezTo>
                <a:cubicBezTo>
                  <a:pt x="471" y="141"/>
                  <a:pt x="471" y="141"/>
                  <a:pt x="471" y="139"/>
                </a:cubicBezTo>
                <a:cubicBezTo>
                  <a:pt x="469" y="135"/>
                  <a:pt x="469" y="135"/>
                  <a:pt x="469" y="135"/>
                </a:cubicBezTo>
                <a:cubicBezTo>
                  <a:pt x="471" y="133"/>
                  <a:pt x="474" y="143"/>
                  <a:pt x="477" y="147"/>
                </a:cubicBezTo>
                <a:cubicBezTo>
                  <a:pt x="477" y="141"/>
                  <a:pt x="477" y="141"/>
                  <a:pt x="477" y="141"/>
                </a:cubicBezTo>
                <a:cubicBezTo>
                  <a:pt x="478" y="139"/>
                  <a:pt x="480" y="139"/>
                  <a:pt x="482" y="139"/>
                </a:cubicBezTo>
                <a:cubicBezTo>
                  <a:pt x="484" y="140"/>
                  <a:pt x="486" y="143"/>
                  <a:pt x="488" y="146"/>
                </a:cubicBezTo>
                <a:cubicBezTo>
                  <a:pt x="489" y="145"/>
                  <a:pt x="491" y="145"/>
                  <a:pt x="488" y="140"/>
                </a:cubicBezTo>
                <a:cubicBezTo>
                  <a:pt x="486" y="137"/>
                  <a:pt x="484" y="135"/>
                  <a:pt x="483" y="133"/>
                </a:cubicBezTo>
                <a:cubicBezTo>
                  <a:pt x="482" y="131"/>
                  <a:pt x="481" y="130"/>
                  <a:pt x="479" y="131"/>
                </a:cubicBezTo>
                <a:cubicBezTo>
                  <a:pt x="480" y="135"/>
                  <a:pt x="483" y="135"/>
                  <a:pt x="482" y="136"/>
                </a:cubicBezTo>
                <a:cubicBezTo>
                  <a:pt x="481" y="135"/>
                  <a:pt x="480" y="140"/>
                  <a:pt x="477" y="136"/>
                </a:cubicBezTo>
                <a:cubicBezTo>
                  <a:pt x="481" y="135"/>
                  <a:pt x="481" y="135"/>
                  <a:pt x="481" y="135"/>
                </a:cubicBezTo>
                <a:cubicBezTo>
                  <a:pt x="478" y="128"/>
                  <a:pt x="479" y="135"/>
                  <a:pt x="477" y="132"/>
                </a:cubicBezTo>
                <a:cubicBezTo>
                  <a:pt x="477" y="129"/>
                  <a:pt x="478" y="129"/>
                  <a:pt x="479" y="129"/>
                </a:cubicBezTo>
                <a:cubicBezTo>
                  <a:pt x="479" y="129"/>
                  <a:pt x="480" y="129"/>
                  <a:pt x="480" y="129"/>
                </a:cubicBezTo>
                <a:cubicBezTo>
                  <a:pt x="480" y="129"/>
                  <a:pt x="481" y="129"/>
                  <a:pt x="481" y="128"/>
                </a:cubicBezTo>
                <a:cubicBezTo>
                  <a:pt x="480" y="128"/>
                  <a:pt x="480" y="128"/>
                  <a:pt x="480" y="128"/>
                </a:cubicBezTo>
                <a:cubicBezTo>
                  <a:pt x="482" y="129"/>
                  <a:pt x="481" y="127"/>
                  <a:pt x="485" y="130"/>
                </a:cubicBezTo>
                <a:cubicBezTo>
                  <a:pt x="488" y="136"/>
                  <a:pt x="486" y="134"/>
                  <a:pt x="486" y="136"/>
                </a:cubicBezTo>
                <a:cubicBezTo>
                  <a:pt x="488" y="136"/>
                  <a:pt x="491" y="138"/>
                  <a:pt x="495" y="139"/>
                </a:cubicBezTo>
                <a:cubicBezTo>
                  <a:pt x="499" y="139"/>
                  <a:pt x="502" y="139"/>
                  <a:pt x="499" y="133"/>
                </a:cubicBezTo>
                <a:cubicBezTo>
                  <a:pt x="497" y="132"/>
                  <a:pt x="495" y="131"/>
                  <a:pt x="493" y="129"/>
                </a:cubicBezTo>
                <a:cubicBezTo>
                  <a:pt x="493" y="128"/>
                  <a:pt x="500" y="132"/>
                  <a:pt x="493" y="126"/>
                </a:cubicBezTo>
                <a:cubicBezTo>
                  <a:pt x="494" y="128"/>
                  <a:pt x="490" y="124"/>
                  <a:pt x="489" y="123"/>
                </a:cubicBezTo>
                <a:cubicBezTo>
                  <a:pt x="489" y="123"/>
                  <a:pt x="489" y="123"/>
                  <a:pt x="489" y="123"/>
                </a:cubicBezTo>
                <a:cubicBezTo>
                  <a:pt x="489" y="123"/>
                  <a:pt x="488" y="122"/>
                  <a:pt x="487" y="121"/>
                </a:cubicBezTo>
                <a:cubicBezTo>
                  <a:pt x="491" y="125"/>
                  <a:pt x="494" y="126"/>
                  <a:pt x="497" y="127"/>
                </a:cubicBezTo>
                <a:cubicBezTo>
                  <a:pt x="495" y="126"/>
                  <a:pt x="494" y="124"/>
                  <a:pt x="493" y="123"/>
                </a:cubicBezTo>
                <a:cubicBezTo>
                  <a:pt x="495" y="123"/>
                  <a:pt x="496" y="125"/>
                  <a:pt x="498" y="127"/>
                </a:cubicBezTo>
                <a:cubicBezTo>
                  <a:pt x="499" y="128"/>
                  <a:pt x="505" y="131"/>
                  <a:pt x="501" y="127"/>
                </a:cubicBezTo>
                <a:cubicBezTo>
                  <a:pt x="498" y="124"/>
                  <a:pt x="496" y="125"/>
                  <a:pt x="493" y="122"/>
                </a:cubicBezTo>
                <a:cubicBezTo>
                  <a:pt x="496" y="123"/>
                  <a:pt x="499" y="125"/>
                  <a:pt x="502" y="126"/>
                </a:cubicBezTo>
                <a:cubicBezTo>
                  <a:pt x="501" y="125"/>
                  <a:pt x="501" y="125"/>
                  <a:pt x="501" y="125"/>
                </a:cubicBezTo>
                <a:cubicBezTo>
                  <a:pt x="502" y="126"/>
                  <a:pt x="504" y="127"/>
                  <a:pt x="503" y="126"/>
                </a:cubicBezTo>
                <a:cubicBezTo>
                  <a:pt x="500" y="124"/>
                  <a:pt x="499" y="123"/>
                  <a:pt x="499" y="124"/>
                </a:cubicBezTo>
                <a:cubicBezTo>
                  <a:pt x="497" y="122"/>
                  <a:pt x="501" y="124"/>
                  <a:pt x="504" y="125"/>
                </a:cubicBezTo>
                <a:cubicBezTo>
                  <a:pt x="506" y="126"/>
                  <a:pt x="509" y="126"/>
                  <a:pt x="504" y="123"/>
                </a:cubicBezTo>
                <a:cubicBezTo>
                  <a:pt x="508" y="125"/>
                  <a:pt x="508" y="125"/>
                  <a:pt x="508" y="125"/>
                </a:cubicBezTo>
                <a:cubicBezTo>
                  <a:pt x="507" y="124"/>
                  <a:pt x="506" y="123"/>
                  <a:pt x="505" y="123"/>
                </a:cubicBezTo>
                <a:cubicBezTo>
                  <a:pt x="510" y="125"/>
                  <a:pt x="510" y="125"/>
                  <a:pt x="510" y="125"/>
                </a:cubicBezTo>
                <a:cubicBezTo>
                  <a:pt x="515" y="126"/>
                  <a:pt x="502" y="120"/>
                  <a:pt x="500" y="119"/>
                </a:cubicBezTo>
                <a:cubicBezTo>
                  <a:pt x="500" y="119"/>
                  <a:pt x="500" y="119"/>
                  <a:pt x="500" y="119"/>
                </a:cubicBezTo>
                <a:cubicBezTo>
                  <a:pt x="499" y="119"/>
                  <a:pt x="496" y="117"/>
                  <a:pt x="495" y="116"/>
                </a:cubicBezTo>
                <a:cubicBezTo>
                  <a:pt x="497" y="117"/>
                  <a:pt x="499" y="118"/>
                  <a:pt x="501" y="118"/>
                </a:cubicBezTo>
                <a:cubicBezTo>
                  <a:pt x="501" y="118"/>
                  <a:pt x="501" y="118"/>
                  <a:pt x="501" y="118"/>
                </a:cubicBezTo>
                <a:cubicBezTo>
                  <a:pt x="509" y="122"/>
                  <a:pt x="514" y="122"/>
                  <a:pt x="529" y="127"/>
                </a:cubicBezTo>
                <a:cubicBezTo>
                  <a:pt x="529" y="127"/>
                  <a:pt x="528" y="127"/>
                  <a:pt x="528" y="126"/>
                </a:cubicBezTo>
                <a:cubicBezTo>
                  <a:pt x="526" y="126"/>
                  <a:pt x="526" y="126"/>
                  <a:pt x="526" y="126"/>
                </a:cubicBezTo>
                <a:cubicBezTo>
                  <a:pt x="525" y="125"/>
                  <a:pt x="524" y="125"/>
                  <a:pt x="523" y="124"/>
                </a:cubicBezTo>
                <a:cubicBezTo>
                  <a:pt x="523" y="124"/>
                  <a:pt x="522" y="124"/>
                  <a:pt x="521" y="123"/>
                </a:cubicBezTo>
                <a:cubicBezTo>
                  <a:pt x="518" y="122"/>
                  <a:pt x="511" y="120"/>
                  <a:pt x="512" y="119"/>
                </a:cubicBezTo>
                <a:cubicBezTo>
                  <a:pt x="509" y="118"/>
                  <a:pt x="510" y="119"/>
                  <a:pt x="509" y="119"/>
                </a:cubicBezTo>
                <a:cubicBezTo>
                  <a:pt x="509" y="118"/>
                  <a:pt x="509" y="118"/>
                  <a:pt x="511" y="119"/>
                </a:cubicBezTo>
                <a:cubicBezTo>
                  <a:pt x="505" y="117"/>
                  <a:pt x="505" y="117"/>
                  <a:pt x="505" y="117"/>
                </a:cubicBezTo>
                <a:cubicBezTo>
                  <a:pt x="511" y="119"/>
                  <a:pt x="509" y="117"/>
                  <a:pt x="508" y="117"/>
                </a:cubicBezTo>
                <a:cubicBezTo>
                  <a:pt x="499" y="114"/>
                  <a:pt x="499" y="114"/>
                  <a:pt x="499" y="114"/>
                </a:cubicBezTo>
                <a:cubicBezTo>
                  <a:pt x="503" y="116"/>
                  <a:pt x="504" y="116"/>
                  <a:pt x="502" y="115"/>
                </a:cubicBezTo>
                <a:cubicBezTo>
                  <a:pt x="497" y="113"/>
                  <a:pt x="497" y="113"/>
                  <a:pt x="497" y="113"/>
                </a:cubicBezTo>
                <a:cubicBezTo>
                  <a:pt x="498" y="113"/>
                  <a:pt x="509" y="117"/>
                  <a:pt x="503" y="114"/>
                </a:cubicBezTo>
                <a:cubicBezTo>
                  <a:pt x="505" y="115"/>
                  <a:pt x="507" y="116"/>
                  <a:pt x="509" y="117"/>
                </a:cubicBezTo>
                <a:cubicBezTo>
                  <a:pt x="510" y="116"/>
                  <a:pt x="521" y="119"/>
                  <a:pt x="526" y="120"/>
                </a:cubicBezTo>
                <a:cubicBezTo>
                  <a:pt x="529" y="120"/>
                  <a:pt x="526" y="118"/>
                  <a:pt x="525" y="116"/>
                </a:cubicBezTo>
                <a:cubicBezTo>
                  <a:pt x="523" y="115"/>
                  <a:pt x="523" y="114"/>
                  <a:pt x="531" y="114"/>
                </a:cubicBezTo>
                <a:cubicBezTo>
                  <a:pt x="528" y="113"/>
                  <a:pt x="526" y="113"/>
                  <a:pt x="524" y="113"/>
                </a:cubicBezTo>
                <a:cubicBezTo>
                  <a:pt x="522" y="112"/>
                  <a:pt x="521" y="112"/>
                  <a:pt x="518" y="112"/>
                </a:cubicBezTo>
                <a:cubicBezTo>
                  <a:pt x="517" y="113"/>
                  <a:pt x="516" y="113"/>
                  <a:pt x="509" y="112"/>
                </a:cubicBezTo>
                <a:cubicBezTo>
                  <a:pt x="502" y="113"/>
                  <a:pt x="529" y="117"/>
                  <a:pt x="519" y="117"/>
                </a:cubicBezTo>
                <a:cubicBezTo>
                  <a:pt x="511" y="115"/>
                  <a:pt x="511" y="115"/>
                  <a:pt x="514" y="115"/>
                </a:cubicBezTo>
                <a:cubicBezTo>
                  <a:pt x="508" y="113"/>
                  <a:pt x="504" y="113"/>
                  <a:pt x="502" y="113"/>
                </a:cubicBezTo>
                <a:cubicBezTo>
                  <a:pt x="503" y="113"/>
                  <a:pt x="501" y="112"/>
                  <a:pt x="500" y="111"/>
                </a:cubicBezTo>
                <a:cubicBezTo>
                  <a:pt x="498" y="110"/>
                  <a:pt x="496" y="110"/>
                  <a:pt x="496" y="109"/>
                </a:cubicBezTo>
                <a:cubicBezTo>
                  <a:pt x="499" y="110"/>
                  <a:pt x="502" y="109"/>
                  <a:pt x="501" y="109"/>
                </a:cubicBezTo>
                <a:cubicBezTo>
                  <a:pt x="505" y="109"/>
                  <a:pt x="506" y="107"/>
                  <a:pt x="515" y="108"/>
                </a:cubicBezTo>
                <a:cubicBezTo>
                  <a:pt x="516" y="106"/>
                  <a:pt x="503" y="107"/>
                  <a:pt x="511" y="105"/>
                </a:cubicBezTo>
                <a:cubicBezTo>
                  <a:pt x="505" y="106"/>
                  <a:pt x="506" y="104"/>
                  <a:pt x="501" y="105"/>
                </a:cubicBezTo>
                <a:cubicBezTo>
                  <a:pt x="504" y="105"/>
                  <a:pt x="503" y="106"/>
                  <a:pt x="501" y="106"/>
                </a:cubicBezTo>
                <a:cubicBezTo>
                  <a:pt x="499" y="107"/>
                  <a:pt x="496" y="107"/>
                  <a:pt x="494" y="107"/>
                </a:cubicBezTo>
                <a:cubicBezTo>
                  <a:pt x="493" y="107"/>
                  <a:pt x="491" y="106"/>
                  <a:pt x="490" y="106"/>
                </a:cubicBezTo>
                <a:cubicBezTo>
                  <a:pt x="492" y="106"/>
                  <a:pt x="495" y="106"/>
                  <a:pt x="496" y="105"/>
                </a:cubicBezTo>
                <a:cubicBezTo>
                  <a:pt x="491" y="105"/>
                  <a:pt x="491" y="105"/>
                  <a:pt x="491" y="105"/>
                </a:cubicBezTo>
                <a:cubicBezTo>
                  <a:pt x="497" y="105"/>
                  <a:pt x="494" y="104"/>
                  <a:pt x="492" y="104"/>
                </a:cubicBezTo>
                <a:cubicBezTo>
                  <a:pt x="489" y="103"/>
                  <a:pt x="487" y="103"/>
                  <a:pt x="494" y="101"/>
                </a:cubicBezTo>
                <a:cubicBezTo>
                  <a:pt x="494" y="102"/>
                  <a:pt x="498" y="102"/>
                  <a:pt x="492" y="103"/>
                </a:cubicBezTo>
                <a:cubicBezTo>
                  <a:pt x="494" y="103"/>
                  <a:pt x="496" y="103"/>
                  <a:pt x="499" y="102"/>
                </a:cubicBezTo>
                <a:cubicBezTo>
                  <a:pt x="501" y="102"/>
                  <a:pt x="503" y="101"/>
                  <a:pt x="506" y="101"/>
                </a:cubicBezTo>
                <a:cubicBezTo>
                  <a:pt x="508" y="100"/>
                  <a:pt x="506" y="98"/>
                  <a:pt x="505" y="97"/>
                </a:cubicBezTo>
                <a:cubicBezTo>
                  <a:pt x="504" y="95"/>
                  <a:pt x="503" y="94"/>
                  <a:pt x="506" y="91"/>
                </a:cubicBezTo>
                <a:cubicBezTo>
                  <a:pt x="503" y="93"/>
                  <a:pt x="504" y="94"/>
                  <a:pt x="500" y="96"/>
                </a:cubicBezTo>
                <a:cubicBezTo>
                  <a:pt x="498" y="95"/>
                  <a:pt x="500" y="94"/>
                  <a:pt x="502" y="91"/>
                </a:cubicBezTo>
                <a:cubicBezTo>
                  <a:pt x="504" y="89"/>
                  <a:pt x="506" y="85"/>
                  <a:pt x="507" y="83"/>
                </a:cubicBezTo>
                <a:cubicBezTo>
                  <a:pt x="502" y="86"/>
                  <a:pt x="502" y="86"/>
                  <a:pt x="502" y="86"/>
                </a:cubicBezTo>
                <a:cubicBezTo>
                  <a:pt x="506" y="82"/>
                  <a:pt x="500" y="87"/>
                  <a:pt x="500" y="83"/>
                </a:cubicBezTo>
                <a:cubicBezTo>
                  <a:pt x="501" y="83"/>
                  <a:pt x="503" y="82"/>
                  <a:pt x="503" y="82"/>
                </a:cubicBezTo>
                <a:cubicBezTo>
                  <a:pt x="501" y="80"/>
                  <a:pt x="498" y="84"/>
                  <a:pt x="496" y="83"/>
                </a:cubicBezTo>
                <a:cubicBezTo>
                  <a:pt x="503" y="76"/>
                  <a:pt x="489" y="85"/>
                  <a:pt x="492" y="79"/>
                </a:cubicBezTo>
                <a:cubicBezTo>
                  <a:pt x="490" y="80"/>
                  <a:pt x="490" y="80"/>
                  <a:pt x="490" y="80"/>
                </a:cubicBezTo>
                <a:cubicBezTo>
                  <a:pt x="493" y="76"/>
                  <a:pt x="483" y="77"/>
                  <a:pt x="481" y="74"/>
                </a:cubicBezTo>
                <a:cubicBezTo>
                  <a:pt x="482" y="74"/>
                  <a:pt x="482" y="77"/>
                  <a:pt x="487" y="74"/>
                </a:cubicBezTo>
                <a:cubicBezTo>
                  <a:pt x="487" y="69"/>
                  <a:pt x="487" y="69"/>
                  <a:pt x="487" y="69"/>
                </a:cubicBezTo>
                <a:cubicBezTo>
                  <a:pt x="485" y="70"/>
                  <a:pt x="484" y="69"/>
                  <a:pt x="482" y="71"/>
                </a:cubicBezTo>
                <a:cubicBezTo>
                  <a:pt x="481" y="72"/>
                  <a:pt x="483" y="72"/>
                  <a:pt x="483" y="72"/>
                </a:cubicBezTo>
                <a:cubicBezTo>
                  <a:pt x="480" y="73"/>
                  <a:pt x="480" y="73"/>
                  <a:pt x="480" y="73"/>
                </a:cubicBezTo>
                <a:cubicBezTo>
                  <a:pt x="481" y="68"/>
                  <a:pt x="488" y="69"/>
                  <a:pt x="493" y="67"/>
                </a:cubicBezTo>
                <a:cubicBezTo>
                  <a:pt x="491" y="66"/>
                  <a:pt x="495" y="63"/>
                  <a:pt x="495" y="62"/>
                </a:cubicBezTo>
                <a:cubicBezTo>
                  <a:pt x="489" y="63"/>
                  <a:pt x="490" y="66"/>
                  <a:pt x="484" y="68"/>
                </a:cubicBezTo>
                <a:cubicBezTo>
                  <a:pt x="481" y="68"/>
                  <a:pt x="483" y="62"/>
                  <a:pt x="488" y="59"/>
                </a:cubicBezTo>
                <a:cubicBezTo>
                  <a:pt x="475" y="63"/>
                  <a:pt x="482" y="53"/>
                  <a:pt x="473" y="57"/>
                </a:cubicBezTo>
                <a:cubicBezTo>
                  <a:pt x="474" y="57"/>
                  <a:pt x="477" y="55"/>
                  <a:pt x="475" y="55"/>
                </a:cubicBezTo>
                <a:cubicBezTo>
                  <a:pt x="473" y="56"/>
                  <a:pt x="473" y="56"/>
                  <a:pt x="473" y="56"/>
                </a:cubicBezTo>
                <a:cubicBezTo>
                  <a:pt x="468" y="55"/>
                  <a:pt x="480" y="50"/>
                  <a:pt x="477" y="49"/>
                </a:cubicBezTo>
                <a:cubicBezTo>
                  <a:pt x="476" y="50"/>
                  <a:pt x="475" y="51"/>
                  <a:pt x="473" y="52"/>
                </a:cubicBezTo>
                <a:cubicBezTo>
                  <a:pt x="470" y="50"/>
                  <a:pt x="482" y="42"/>
                  <a:pt x="475" y="41"/>
                </a:cubicBezTo>
                <a:cubicBezTo>
                  <a:pt x="475" y="42"/>
                  <a:pt x="474" y="42"/>
                  <a:pt x="474" y="42"/>
                </a:cubicBezTo>
                <a:cubicBezTo>
                  <a:pt x="473" y="43"/>
                  <a:pt x="473" y="42"/>
                  <a:pt x="475" y="40"/>
                </a:cubicBezTo>
                <a:cubicBezTo>
                  <a:pt x="479" y="40"/>
                  <a:pt x="479" y="40"/>
                  <a:pt x="479" y="40"/>
                </a:cubicBezTo>
                <a:cubicBezTo>
                  <a:pt x="489" y="34"/>
                  <a:pt x="472" y="37"/>
                  <a:pt x="474" y="33"/>
                </a:cubicBezTo>
                <a:cubicBezTo>
                  <a:pt x="472" y="34"/>
                  <a:pt x="473" y="36"/>
                  <a:pt x="469" y="36"/>
                </a:cubicBezTo>
                <a:cubicBezTo>
                  <a:pt x="468" y="35"/>
                  <a:pt x="480" y="30"/>
                  <a:pt x="474" y="30"/>
                </a:cubicBezTo>
                <a:cubicBezTo>
                  <a:pt x="473" y="32"/>
                  <a:pt x="467" y="34"/>
                  <a:pt x="467" y="35"/>
                </a:cubicBezTo>
                <a:cubicBezTo>
                  <a:pt x="465" y="34"/>
                  <a:pt x="462" y="34"/>
                  <a:pt x="466" y="32"/>
                </a:cubicBezTo>
                <a:cubicBezTo>
                  <a:pt x="465" y="32"/>
                  <a:pt x="463" y="32"/>
                  <a:pt x="462" y="33"/>
                </a:cubicBezTo>
                <a:cubicBezTo>
                  <a:pt x="465" y="31"/>
                  <a:pt x="462" y="30"/>
                  <a:pt x="461" y="29"/>
                </a:cubicBezTo>
                <a:cubicBezTo>
                  <a:pt x="459" y="30"/>
                  <a:pt x="459" y="30"/>
                  <a:pt x="459" y="30"/>
                </a:cubicBezTo>
                <a:cubicBezTo>
                  <a:pt x="469" y="24"/>
                  <a:pt x="458" y="27"/>
                  <a:pt x="458" y="25"/>
                </a:cubicBezTo>
                <a:cubicBezTo>
                  <a:pt x="455" y="26"/>
                  <a:pt x="455" y="26"/>
                  <a:pt x="455" y="26"/>
                </a:cubicBezTo>
                <a:cubicBezTo>
                  <a:pt x="456" y="25"/>
                  <a:pt x="459" y="22"/>
                  <a:pt x="454" y="22"/>
                </a:cubicBezTo>
                <a:cubicBezTo>
                  <a:pt x="451" y="24"/>
                  <a:pt x="451" y="24"/>
                  <a:pt x="451" y="24"/>
                </a:cubicBezTo>
                <a:cubicBezTo>
                  <a:pt x="453" y="22"/>
                  <a:pt x="446" y="21"/>
                  <a:pt x="451" y="18"/>
                </a:cubicBezTo>
                <a:cubicBezTo>
                  <a:pt x="450" y="18"/>
                  <a:pt x="445" y="22"/>
                  <a:pt x="444" y="20"/>
                </a:cubicBezTo>
                <a:cubicBezTo>
                  <a:pt x="446" y="18"/>
                  <a:pt x="447" y="16"/>
                  <a:pt x="444" y="16"/>
                </a:cubicBezTo>
                <a:cubicBezTo>
                  <a:pt x="442" y="17"/>
                  <a:pt x="440" y="18"/>
                  <a:pt x="442" y="18"/>
                </a:cubicBezTo>
                <a:cubicBezTo>
                  <a:pt x="443" y="18"/>
                  <a:pt x="443" y="18"/>
                  <a:pt x="444" y="17"/>
                </a:cubicBezTo>
                <a:cubicBezTo>
                  <a:pt x="441" y="19"/>
                  <a:pt x="441" y="19"/>
                  <a:pt x="441" y="19"/>
                </a:cubicBezTo>
                <a:cubicBezTo>
                  <a:pt x="438" y="18"/>
                  <a:pt x="443" y="17"/>
                  <a:pt x="441" y="15"/>
                </a:cubicBezTo>
                <a:cubicBezTo>
                  <a:pt x="439" y="16"/>
                  <a:pt x="438" y="17"/>
                  <a:pt x="436" y="18"/>
                </a:cubicBezTo>
                <a:cubicBezTo>
                  <a:pt x="437" y="15"/>
                  <a:pt x="439" y="12"/>
                  <a:pt x="440" y="8"/>
                </a:cubicBezTo>
                <a:cubicBezTo>
                  <a:pt x="443" y="7"/>
                  <a:pt x="444" y="8"/>
                  <a:pt x="448" y="6"/>
                </a:cubicBezTo>
                <a:cubicBezTo>
                  <a:pt x="448" y="7"/>
                  <a:pt x="449" y="7"/>
                  <a:pt x="450" y="8"/>
                </a:cubicBezTo>
                <a:cubicBezTo>
                  <a:pt x="455" y="8"/>
                  <a:pt x="454" y="5"/>
                  <a:pt x="455" y="3"/>
                </a:cubicBezTo>
                <a:cubicBezTo>
                  <a:pt x="456" y="5"/>
                  <a:pt x="456" y="5"/>
                  <a:pt x="456" y="5"/>
                </a:cubicBezTo>
                <a:cubicBezTo>
                  <a:pt x="457" y="5"/>
                  <a:pt x="458" y="5"/>
                  <a:pt x="458" y="5"/>
                </a:cubicBezTo>
                <a:cubicBezTo>
                  <a:pt x="458" y="6"/>
                  <a:pt x="458" y="6"/>
                  <a:pt x="458" y="6"/>
                </a:cubicBezTo>
                <a:cubicBezTo>
                  <a:pt x="463" y="0"/>
                  <a:pt x="468" y="6"/>
                  <a:pt x="471" y="1"/>
                </a:cubicBezTo>
                <a:cubicBezTo>
                  <a:pt x="471" y="2"/>
                  <a:pt x="468" y="4"/>
                  <a:pt x="466" y="6"/>
                </a:cubicBezTo>
                <a:cubicBezTo>
                  <a:pt x="465" y="8"/>
                  <a:pt x="468" y="6"/>
                  <a:pt x="470" y="6"/>
                </a:cubicBezTo>
                <a:cubicBezTo>
                  <a:pt x="474" y="2"/>
                  <a:pt x="474" y="2"/>
                  <a:pt x="474" y="2"/>
                </a:cubicBezTo>
                <a:cubicBezTo>
                  <a:pt x="473" y="7"/>
                  <a:pt x="478" y="0"/>
                  <a:pt x="482" y="2"/>
                </a:cubicBezTo>
                <a:cubicBezTo>
                  <a:pt x="480" y="6"/>
                  <a:pt x="495" y="3"/>
                  <a:pt x="496" y="4"/>
                </a:cubicBezTo>
                <a:cubicBezTo>
                  <a:pt x="496" y="7"/>
                  <a:pt x="490" y="5"/>
                  <a:pt x="488" y="8"/>
                </a:cubicBezTo>
                <a:cubicBezTo>
                  <a:pt x="488" y="9"/>
                  <a:pt x="491" y="7"/>
                  <a:pt x="493" y="8"/>
                </a:cubicBezTo>
                <a:cubicBezTo>
                  <a:pt x="487" y="11"/>
                  <a:pt x="487" y="11"/>
                  <a:pt x="487" y="11"/>
                </a:cubicBezTo>
                <a:cubicBezTo>
                  <a:pt x="487" y="13"/>
                  <a:pt x="493" y="9"/>
                  <a:pt x="491" y="11"/>
                </a:cubicBezTo>
                <a:cubicBezTo>
                  <a:pt x="495" y="11"/>
                  <a:pt x="493" y="9"/>
                  <a:pt x="498" y="7"/>
                </a:cubicBezTo>
                <a:cubicBezTo>
                  <a:pt x="497" y="8"/>
                  <a:pt x="495" y="11"/>
                  <a:pt x="498" y="10"/>
                </a:cubicBezTo>
                <a:cubicBezTo>
                  <a:pt x="499" y="10"/>
                  <a:pt x="499" y="8"/>
                  <a:pt x="500" y="9"/>
                </a:cubicBezTo>
                <a:cubicBezTo>
                  <a:pt x="499" y="14"/>
                  <a:pt x="506" y="13"/>
                  <a:pt x="507" y="17"/>
                </a:cubicBezTo>
                <a:cubicBezTo>
                  <a:pt x="510" y="16"/>
                  <a:pt x="510" y="16"/>
                  <a:pt x="510" y="16"/>
                </a:cubicBezTo>
                <a:cubicBezTo>
                  <a:pt x="509" y="16"/>
                  <a:pt x="508" y="17"/>
                  <a:pt x="509" y="17"/>
                </a:cubicBezTo>
                <a:cubicBezTo>
                  <a:pt x="511" y="16"/>
                  <a:pt x="511" y="16"/>
                  <a:pt x="511" y="16"/>
                </a:cubicBezTo>
                <a:cubicBezTo>
                  <a:pt x="511" y="17"/>
                  <a:pt x="509" y="23"/>
                  <a:pt x="511" y="25"/>
                </a:cubicBezTo>
                <a:cubicBezTo>
                  <a:pt x="514" y="22"/>
                  <a:pt x="514" y="22"/>
                  <a:pt x="514" y="22"/>
                </a:cubicBezTo>
                <a:cubicBezTo>
                  <a:pt x="511" y="26"/>
                  <a:pt x="511" y="26"/>
                  <a:pt x="511" y="26"/>
                </a:cubicBezTo>
                <a:cubicBezTo>
                  <a:pt x="516" y="24"/>
                  <a:pt x="516" y="24"/>
                  <a:pt x="516" y="24"/>
                </a:cubicBezTo>
                <a:cubicBezTo>
                  <a:pt x="511" y="27"/>
                  <a:pt x="516" y="28"/>
                  <a:pt x="515" y="31"/>
                </a:cubicBezTo>
                <a:cubicBezTo>
                  <a:pt x="519" y="30"/>
                  <a:pt x="519" y="30"/>
                  <a:pt x="519" y="30"/>
                </a:cubicBezTo>
                <a:cubicBezTo>
                  <a:pt x="517" y="32"/>
                  <a:pt x="517" y="32"/>
                  <a:pt x="517" y="32"/>
                </a:cubicBezTo>
                <a:cubicBezTo>
                  <a:pt x="519" y="30"/>
                  <a:pt x="519" y="30"/>
                  <a:pt x="519" y="30"/>
                </a:cubicBezTo>
                <a:cubicBezTo>
                  <a:pt x="520" y="32"/>
                  <a:pt x="515" y="36"/>
                  <a:pt x="518" y="36"/>
                </a:cubicBezTo>
                <a:cubicBezTo>
                  <a:pt x="517" y="36"/>
                  <a:pt x="522" y="33"/>
                  <a:pt x="524" y="32"/>
                </a:cubicBezTo>
                <a:close/>
                <a:moveTo>
                  <a:pt x="552" y="103"/>
                </a:moveTo>
                <a:cubicBezTo>
                  <a:pt x="552" y="104"/>
                  <a:pt x="552" y="104"/>
                  <a:pt x="552" y="104"/>
                </a:cubicBezTo>
                <a:cubicBezTo>
                  <a:pt x="553" y="103"/>
                  <a:pt x="552" y="103"/>
                  <a:pt x="552" y="103"/>
                </a:cubicBezTo>
                <a:cubicBezTo>
                  <a:pt x="551" y="101"/>
                  <a:pt x="551" y="101"/>
                  <a:pt x="551" y="101"/>
                </a:cubicBezTo>
                <a:cubicBezTo>
                  <a:pt x="547" y="102"/>
                  <a:pt x="550" y="102"/>
                  <a:pt x="552" y="103"/>
                </a:cubicBezTo>
                <a:close/>
                <a:moveTo>
                  <a:pt x="473" y="166"/>
                </a:moveTo>
                <a:cubicBezTo>
                  <a:pt x="475" y="166"/>
                  <a:pt x="475" y="166"/>
                  <a:pt x="475" y="166"/>
                </a:cubicBezTo>
                <a:cubicBezTo>
                  <a:pt x="475" y="167"/>
                  <a:pt x="473" y="165"/>
                  <a:pt x="475" y="168"/>
                </a:cubicBezTo>
                <a:cubicBezTo>
                  <a:pt x="474" y="167"/>
                  <a:pt x="474" y="168"/>
                  <a:pt x="473" y="166"/>
                </a:cubicBezTo>
                <a:close/>
                <a:moveTo>
                  <a:pt x="509" y="103"/>
                </a:moveTo>
                <a:cubicBezTo>
                  <a:pt x="506" y="104"/>
                  <a:pt x="506" y="104"/>
                  <a:pt x="506" y="104"/>
                </a:cubicBezTo>
                <a:cubicBezTo>
                  <a:pt x="510" y="104"/>
                  <a:pt x="510" y="104"/>
                  <a:pt x="510" y="104"/>
                </a:cubicBezTo>
                <a:lnTo>
                  <a:pt x="509" y="103"/>
                </a:lnTo>
                <a:close/>
                <a:moveTo>
                  <a:pt x="502" y="93"/>
                </a:moveTo>
                <a:cubicBezTo>
                  <a:pt x="502" y="94"/>
                  <a:pt x="502" y="94"/>
                  <a:pt x="501" y="95"/>
                </a:cubicBezTo>
                <a:cubicBezTo>
                  <a:pt x="502" y="95"/>
                  <a:pt x="502" y="95"/>
                  <a:pt x="502" y="95"/>
                </a:cubicBezTo>
                <a:cubicBezTo>
                  <a:pt x="502" y="94"/>
                  <a:pt x="503" y="93"/>
                  <a:pt x="503" y="93"/>
                </a:cubicBezTo>
                <a:lnTo>
                  <a:pt x="502" y="93"/>
                </a:lnTo>
                <a:close/>
                <a:moveTo>
                  <a:pt x="523" y="61"/>
                </a:moveTo>
                <a:cubicBezTo>
                  <a:pt x="518" y="65"/>
                  <a:pt x="524" y="62"/>
                  <a:pt x="522" y="64"/>
                </a:cubicBezTo>
                <a:cubicBezTo>
                  <a:pt x="522" y="64"/>
                  <a:pt x="521" y="65"/>
                  <a:pt x="521" y="65"/>
                </a:cubicBezTo>
                <a:cubicBezTo>
                  <a:pt x="522" y="65"/>
                  <a:pt x="522" y="64"/>
                  <a:pt x="522" y="64"/>
                </a:cubicBezTo>
                <a:cubicBezTo>
                  <a:pt x="524" y="63"/>
                  <a:pt x="528" y="59"/>
                  <a:pt x="523" y="61"/>
                </a:cubicBezTo>
                <a:close/>
                <a:moveTo>
                  <a:pt x="540" y="98"/>
                </a:moveTo>
                <a:cubicBezTo>
                  <a:pt x="544" y="98"/>
                  <a:pt x="543" y="95"/>
                  <a:pt x="545" y="94"/>
                </a:cubicBezTo>
                <a:cubicBezTo>
                  <a:pt x="544" y="93"/>
                  <a:pt x="541" y="95"/>
                  <a:pt x="539" y="96"/>
                </a:cubicBezTo>
                <a:cubicBezTo>
                  <a:pt x="539" y="95"/>
                  <a:pt x="539" y="95"/>
                  <a:pt x="539" y="94"/>
                </a:cubicBezTo>
                <a:cubicBezTo>
                  <a:pt x="531" y="96"/>
                  <a:pt x="543" y="96"/>
                  <a:pt x="540" y="98"/>
                </a:cubicBezTo>
                <a:close/>
                <a:moveTo>
                  <a:pt x="562" y="140"/>
                </a:moveTo>
                <a:cubicBezTo>
                  <a:pt x="565" y="140"/>
                  <a:pt x="565" y="140"/>
                  <a:pt x="565" y="140"/>
                </a:cubicBezTo>
                <a:cubicBezTo>
                  <a:pt x="568" y="141"/>
                  <a:pt x="568" y="141"/>
                  <a:pt x="568" y="141"/>
                </a:cubicBezTo>
                <a:cubicBezTo>
                  <a:pt x="569" y="141"/>
                  <a:pt x="569" y="141"/>
                  <a:pt x="569" y="141"/>
                </a:cubicBezTo>
                <a:lnTo>
                  <a:pt x="562" y="140"/>
                </a:lnTo>
                <a:close/>
                <a:moveTo>
                  <a:pt x="556" y="144"/>
                </a:moveTo>
                <a:cubicBezTo>
                  <a:pt x="554" y="145"/>
                  <a:pt x="546" y="143"/>
                  <a:pt x="541" y="140"/>
                </a:cubicBezTo>
                <a:cubicBezTo>
                  <a:pt x="544" y="140"/>
                  <a:pt x="545" y="139"/>
                  <a:pt x="553" y="142"/>
                </a:cubicBezTo>
                <a:cubicBezTo>
                  <a:pt x="548" y="140"/>
                  <a:pt x="564" y="146"/>
                  <a:pt x="556" y="144"/>
                </a:cubicBezTo>
                <a:close/>
                <a:moveTo>
                  <a:pt x="521" y="78"/>
                </a:moveTo>
                <a:cubicBezTo>
                  <a:pt x="520" y="80"/>
                  <a:pt x="513" y="85"/>
                  <a:pt x="519" y="86"/>
                </a:cubicBezTo>
                <a:cubicBezTo>
                  <a:pt x="520" y="83"/>
                  <a:pt x="520" y="83"/>
                  <a:pt x="520" y="83"/>
                </a:cubicBezTo>
                <a:cubicBezTo>
                  <a:pt x="520" y="83"/>
                  <a:pt x="520" y="83"/>
                  <a:pt x="520" y="83"/>
                </a:cubicBezTo>
                <a:cubicBezTo>
                  <a:pt x="523" y="81"/>
                  <a:pt x="523" y="81"/>
                  <a:pt x="523" y="81"/>
                </a:cubicBezTo>
                <a:cubicBezTo>
                  <a:pt x="515" y="86"/>
                  <a:pt x="521" y="79"/>
                  <a:pt x="521" y="78"/>
                </a:cubicBezTo>
                <a:close/>
                <a:moveTo>
                  <a:pt x="529" y="145"/>
                </a:moveTo>
                <a:cubicBezTo>
                  <a:pt x="528" y="146"/>
                  <a:pt x="522" y="144"/>
                  <a:pt x="516" y="140"/>
                </a:cubicBezTo>
                <a:cubicBezTo>
                  <a:pt x="519" y="142"/>
                  <a:pt x="526" y="144"/>
                  <a:pt x="531" y="146"/>
                </a:cubicBezTo>
                <a:cubicBezTo>
                  <a:pt x="530" y="145"/>
                  <a:pt x="529" y="145"/>
                  <a:pt x="529" y="145"/>
                </a:cubicBezTo>
                <a:close/>
                <a:moveTo>
                  <a:pt x="523" y="141"/>
                </a:moveTo>
                <a:cubicBezTo>
                  <a:pt x="523" y="140"/>
                  <a:pt x="518" y="137"/>
                  <a:pt x="523" y="139"/>
                </a:cubicBezTo>
                <a:cubicBezTo>
                  <a:pt x="526" y="141"/>
                  <a:pt x="536" y="147"/>
                  <a:pt x="536" y="144"/>
                </a:cubicBezTo>
                <a:cubicBezTo>
                  <a:pt x="527" y="140"/>
                  <a:pt x="524" y="138"/>
                  <a:pt x="518" y="137"/>
                </a:cubicBezTo>
                <a:lnTo>
                  <a:pt x="523" y="141"/>
                </a:lnTo>
                <a:close/>
                <a:moveTo>
                  <a:pt x="541" y="148"/>
                </a:moveTo>
                <a:cubicBezTo>
                  <a:pt x="541" y="147"/>
                  <a:pt x="541" y="146"/>
                  <a:pt x="541" y="145"/>
                </a:cubicBezTo>
                <a:cubicBezTo>
                  <a:pt x="531" y="141"/>
                  <a:pt x="539" y="146"/>
                  <a:pt x="541" y="148"/>
                </a:cubicBezTo>
                <a:cubicBezTo>
                  <a:pt x="541" y="149"/>
                  <a:pt x="541" y="149"/>
                  <a:pt x="541" y="149"/>
                </a:cubicBezTo>
                <a:cubicBezTo>
                  <a:pt x="541" y="149"/>
                  <a:pt x="541" y="148"/>
                  <a:pt x="541" y="148"/>
                </a:cubicBezTo>
                <a:close/>
                <a:moveTo>
                  <a:pt x="513" y="155"/>
                </a:moveTo>
                <a:cubicBezTo>
                  <a:pt x="515" y="156"/>
                  <a:pt x="515" y="156"/>
                  <a:pt x="515" y="156"/>
                </a:cubicBezTo>
                <a:cubicBezTo>
                  <a:pt x="516" y="157"/>
                  <a:pt x="517" y="158"/>
                  <a:pt x="518" y="157"/>
                </a:cubicBezTo>
                <a:cubicBezTo>
                  <a:pt x="515" y="156"/>
                  <a:pt x="515" y="156"/>
                  <a:pt x="515" y="156"/>
                </a:cubicBezTo>
                <a:cubicBezTo>
                  <a:pt x="514" y="154"/>
                  <a:pt x="514" y="152"/>
                  <a:pt x="513" y="155"/>
                </a:cubicBezTo>
                <a:close/>
                <a:moveTo>
                  <a:pt x="537" y="149"/>
                </a:moveTo>
                <a:cubicBezTo>
                  <a:pt x="533" y="149"/>
                  <a:pt x="533" y="149"/>
                  <a:pt x="533" y="149"/>
                </a:cubicBezTo>
                <a:cubicBezTo>
                  <a:pt x="533" y="148"/>
                  <a:pt x="533" y="146"/>
                  <a:pt x="537" y="149"/>
                </a:cubicBezTo>
                <a:close/>
                <a:moveTo>
                  <a:pt x="516" y="149"/>
                </a:moveTo>
                <a:cubicBezTo>
                  <a:pt x="516" y="149"/>
                  <a:pt x="513" y="150"/>
                  <a:pt x="512" y="151"/>
                </a:cubicBezTo>
                <a:cubicBezTo>
                  <a:pt x="514" y="152"/>
                  <a:pt x="518" y="152"/>
                  <a:pt x="516" y="149"/>
                </a:cubicBezTo>
                <a:close/>
                <a:moveTo>
                  <a:pt x="455" y="166"/>
                </a:moveTo>
                <a:cubicBezTo>
                  <a:pt x="454" y="162"/>
                  <a:pt x="454" y="162"/>
                  <a:pt x="454" y="162"/>
                </a:cubicBezTo>
                <a:cubicBezTo>
                  <a:pt x="452" y="162"/>
                  <a:pt x="452" y="162"/>
                  <a:pt x="452" y="162"/>
                </a:cubicBezTo>
                <a:lnTo>
                  <a:pt x="455" y="166"/>
                </a:lnTo>
                <a:close/>
                <a:moveTo>
                  <a:pt x="468" y="155"/>
                </a:moveTo>
                <a:cubicBezTo>
                  <a:pt x="469" y="155"/>
                  <a:pt x="469" y="155"/>
                  <a:pt x="469" y="155"/>
                </a:cubicBezTo>
                <a:cubicBezTo>
                  <a:pt x="468" y="153"/>
                  <a:pt x="468" y="153"/>
                  <a:pt x="468" y="153"/>
                </a:cubicBezTo>
                <a:lnTo>
                  <a:pt x="468" y="155"/>
                </a:lnTo>
                <a:close/>
                <a:moveTo>
                  <a:pt x="484" y="145"/>
                </a:moveTo>
                <a:cubicBezTo>
                  <a:pt x="484" y="146"/>
                  <a:pt x="484" y="146"/>
                  <a:pt x="484" y="147"/>
                </a:cubicBezTo>
                <a:cubicBezTo>
                  <a:pt x="484" y="150"/>
                  <a:pt x="481" y="153"/>
                  <a:pt x="479" y="152"/>
                </a:cubicBezTo>
                <a:cubicBezTo>
                  <a:pt x="479" y="155"/>
                  <a:pt x="483" y="158"/>
                  <a:pt x="484" y="160"/>
                </a:cubicBezTo>
                <a:cubicBezTo>
                  <a:pt x="478" y="146"/>
                  <a:pt x="486" y="160"/>
                  <a:pt x="486" y="154"/>
                </a:cubicBezTo>
                <a:cubicBezTo>
                  <a:pt x="485" y="153"/>
                  <a:pt x="484" y="154"/>
                  <a:pt x="483" y="152"/>
                </a:cubicBezTo>
                <a:cubicBezTo>
                  <a:pt x="483" y="150"/>
                  <a:pt x="484" y="149"/>
                  <a:pt x="485" y="150"/>
                </a:cubicBezTo>
                <a:cubicBezTo>
                  <a:pt x="486" y="151"/>
                  <a:pt x="486" y="152"/>
                  <a:pt x="486" y="152"/>
                </a:cubicBezTo>
                <a:cubicBezTo>
                  <a:pt x="486" y="151"/>
                  <a:pt x="485" y="150"/>
                  <a:pt x="485" y="150"/>
                </a:cubicBezTo>
                <a:cubicBezTo>
                  <a:pt x="485" y="149"/>
                  <a:pt x="484" y="148"/>
                  <a:pt x="484" y="147"/>
                </a:cubicBezTo>
                <a:cubicBezTo>
                  <a:pt x="484" y="146"/>
                  <a:pt x="484" y="146"/>
                  <a:pt x="484" y="145"/>
                </a:cubicBezTo>
                <a:close/>
                <a:moveTo>
                  <a:pt x="506" y="138"/>
                </a:moveTo>
                <a:cubicBezTo>
                  <a:pt x="507" y="139"/>
                  <a:pt x="508" y="141"/>
                  <a:pt x="510" y="142"/>
                </a:cubicBezTo>
                <a:cubicBezTo>
                  <a:pt x="509" y="140"/>
                  <a:pt x="507" y="139"/>
                  <a:pt x="506" y="138"/>
                </a:cubicBezTo>
                <a:cubicBezTo>
                  <a:pt x="505" y="138"/>
                  <a:pt x="504" y="137"/>
                  <a:pt x="504" y="137"/>
                </a:cubicBezTo>
                <a:cubicBezTo>
                  <a:pt x="504" y="137"/>
                  <a:pt x="505" y="138"/>
                  <a:pt x="506" y="138"/>
                </a:cubicBezTo>
                <a:close/>
                <a:moveTo>
                  <a:pt x="498" y="132"/>
                </a:moveTo>
                <a:cubicBezTo>
                  <a:pt x="501" y="133"/>
                  <a:pt x="503" y="135"/>
                  <a:pt x="506" y="136"/>
                </a:cubicBezTo>
                <a:cubicBezTo>
                  <a:pt x="502" y="134"/>
                  <a:pt x="502" y="134"/>
                  <a:pt x="502" y="134"/>
                </a:cubicBezTo>
                <a:cubicBezTo>
                  <a:pt x="504" y="134"/>
                  <a:pt x="505" y="135"/>
                  <a:pt x="506" y="135"/>
                </a:cubicBezTo>
                <a:cubicBezTo>
                  <a:pt x="502" y="132"/>
                  <a:pt x="497" y="129"/>
                  <a:pt x="498" y="132"/>
                </a:cubicBezTo>
                <a:close/>
                <a:moveTo>
                  <a:pt x="508" y="133"/>
                </a:moveTo>
                <a:cubicBezTo>
                  <a:pt x="504" y="132"/>
                  <a:pt x="504" y="132"/>
                  <a:pt x="504" y="132"/>
                </a:cubicBezTo>
                <a:cubicBezTo>
                  <a:pt x="504" y="133"/>
                  <a:pt x="504" y="133"/>
                  <a:pt x="504" y="133"/>
                </a:cubicBezTo>
                <a:cubicBezTo>
                  <a:pt x="504" y="133"/>
                  <a:pt x="504" y="133"/>
                  <a:pt x="504" y="133"/>
                </a:cubicBezTo>
                <a:cubicBezTo>
                  <a:pt x="508" y="136"/>
                  <a:pt x="508" y="136"/>
                  <a:pt x="508" y="136"/>
                </a:cubicBezTo>
                <a:cubicBezTo>
                  <a:pt x="504" y="133"/>
                  <a:pt x="504" y="133"/>
                  <a:pt x="504" y="133"/>
                </a:cubicBezTo>
                <a:lnTo>
                  <a:pt x="508" y="133"/>
                </a:lnTo>
                <a:close/>
                <a:moveTo>
                  <a:pt x="539" y="127"/>
                </a:moveTo>
                <a:cubicBezTo>
                  <a:pt x="542" y="128"/>
                  <a:pt x="544" y="129"/>
                  <a:pt x="538" y="128"/>
                </a:cubicBezTo>
                <a:cubicBezTo>
                  <a:pt x="536" y="126"/>
                  <a:pt x="536" y="126"/>
                  <a:pt x="536" y="126"/>
                </a:cubicBezTo>
                <a:cubicBezTo>
                  <a:pt x="536" y="126"/>
                  <a:pt x="532" y="126"/>
                  <a:pt x="534" y="127"/>
                </a:cubicBezTo>
                <a:cubicBezTo>
                  <a:pt x="517" y="121"/>
                  <a:pt x="536" y="128"/>
                  <a:pt x="528" y="123"/>
                </a:cubicBezTo>
                <a:cubicBezTo>
                  <a:pt x="530" y="126"/>
                  <a:pt x="520" y="122"/>
                  <a:pt x="514" y="120"/>
                </a:cubicBezTo>
                <a:cubicBezTo>
                  <a:pt x="518" y="121"/>
                  <a:pt x="518" y="120"/>
                  <a:pt x="520" y="120"/>
                </a:cubicBezTo>
                <a:cubicBezTo>
                  <a:pt x="521" y="120"/>
                  <a:pt x="522" y="120"/>
                  <a:pt x="524" y="121"/>
                </a:cubicBezTo>
                <a:cubicBezTo>
                  <a:pt x="525" y="121"/>
                  <a:pt x="526" y="121"/>
                  <a:pt x="528" y="122"/>
                </a:cubicBezTo>
                <a:cubicBezTo>
                  <a:pt x="529" y="122"/>
                  <a:pt x="531" y="123"/>
                  <a:pt x="534" y="124"/>
                </a:cubicBezTo>
                <a:cubicBezTo>
                  <a:pt x="532" y="124"/>
                  <a:pt x="536" y="125"/>
                  <a:pt x="539" y="127"/>
                </a:cubicBezTo>
                <a:close/>
                <a:moveTo>
                  <a:pt x="520" y="108"/>
                </a:moveTo>
                <a:cubicBezTo>
                  <a:pt x="520" y="106"/>
                  <a:pt x="520" y="106"/>
                  <a:pt x="520" y="106"/>
                </a:cubicBezTo>
                <a:cubicBezTo>
                  <a:pt x="521" y="108"/>
                  <a:pt x="521" y="108"/>
                  <a:pt x="521" y="108"/>
                </a:cubicBezTo>
                <a:lnTo>
                  <a:pt x="520" y="108"/>
                </a:lnTo>
                <a:close/>
                <a:moveTo>
                  <a:pt x="488" y="61"/>
                </a:moveTo>
                <a:cubicBezTo>
                  <a:pt x="483" y="63"/>
                  <a:pt x="489" y="64"/>
                  <a:pt x="492" y="62"/>
                </a:cubicBezTo>
                <a:cubicBezTo>
                  <a:pt x="490" y="63"/>
                  <a:pt x="489" y="61"/>
                  <a:pt x="488" y="61"/>
                </a:cubicBezTo>
                <a:close/>
                <a:moveTo>
                  <a:pt x="480" y="41"/>
                </a:moveTo>
                <a:cubicBezTo>
                  <a:pt x="481" y="42"/>
                  <a:pt x="476" y="46"/>
                  <a:pt x="482" y="44"/>
                </a:cubicBezTo>
                <a:cubicBezTo>
                  <a:pt x="483" y="41"/>
                  <a:pt x="483" y="41"/>
                  <a:pt x="483" y="41"/>
                </a:cubicBezTo>
                <a:cubicBezTo>
                  <a:pt x="481" y="41"/>
                  <a:pt x="483" y="40"/>
                  <a:pt x="480" y="41"/>
                </a:cubicBezTo>
                <a:close/>
                <a:moveTo>
                  <a:pt x="472" y="28"/>
                </a:moveTo>
                <a:cubicBezTo>
                  <a:pt x="478" y="25"/>
                  <a:pt x="478" y="25"/>
                  <a:pt x="478" y="25"/>
                </a:cubicBezTo>
                <a:cubicBezTo>
                  <a:pt x="477" y="26"/>
                  <a:pt x="477" y="26"/>
                  <a:pt x="477" y="26"/>
                </a:cubicBezTo>
                <a:lnTo>
                  <a:pt x="472" y="28"/>
                </a:lnTo>
                <a:close/>
                <a:moveTo>
                  <a:pt x="466" y="33"/>
                </a:moveTo>
                <a:cubicBezTo>
                  <a:pt x="466" y="33"/>
                  <a:pt x="466" y="31"/>
                  <a:pt x="469" y="30"/>
                </a:cubicBezTo>
                <a:lnTo>
                  <a:pt x="466" y="33"/>
                </a:lnTo>
                <a:close/>
                <a:moveTo>
                  <a:pt x="465" y="16"/>
                </a:moveTo>
                <a:cubicBezTo>
                  <a:pt x="459" y="19"/>
                  <a:pt x="459" y="19"/>
                  <a:pt x="459" y="19"/>
                </a:cubicBezTo>
                <a:cubicBezTo>
                  <a:pt x="459" y="19"/>
                  <a:pt x="459" y="19"/>
                  <a:pt x="459" y="19"/>
                </a:cubicBezTo>
                <a:lnTo>
                  <a:pt x="465" y="16"/>
                </a:lnTo>
                <a:close/>
                <a:moveTo>
                  <a:pt x="469" y="16"/>
                </a:moveTo>
                <a:cubicBezTo>
                  <a:pt x="468" y="17"/>
                  <a:pt x="467" y="17"/>
                  <a:pt x="466" y="18"/>
                </a:cubicBezTo>
                <a:cubicBezTo>
                  <a:pt x="464" y="19"/>
                  <a:pt x="464" y="20"/>
                  <a:pt x="466" y="20"/>
                </a:cubicBezTo>
                <a:cubicBezTo>
                  <a:pt x="469" y="19"/>
                  <a:pt x="467" y="19"/>
                  <a:pt x="467" y="18"/>
                </a:cubicBezTo>
                <a:cubicBezTo>
                  <a:pt x="468" y="18"/>
                  <a:pt x="470" y="18"/>
                  <a:pt x="469" y="20"/>
                </a:cubicBezTo>
                <a:cubicBezTo>
                  <a:pt x="464" y="21"/>
                  <a:pt x="464" y="21"/>
                  <a:pt x="460" y="23"/>
                </a:cubicBezTo>
                <a:cubicBezTo>
                  <a:pt x="456" y="21"/>
                  <a:pt x="462" y="19"/>
                  <a:pt x="466" y="18"/>
                </a:cubicBezTo>
                <a:cubicBezTo>
                  <a:pt x="466" y="17"/>
                  <a:pt x="468" y="17"/>
                  <a:pt x="469" y="16"/>
                </a:cubicBezTo>
                <a:close/>
                <a:moveTo>
                  <a:pt x="474" y="23"/>
                </a:moveTo>
                <a:cubicBezTo>
                  <a:pt x="473" y="23"/>
                  <a:pt x="472" y="23"/>
                  <a:pt x="471" y="24"/>
                </a:cubicBezTo>
                <a:cubicBezTo>
                  <a:pt x="469" y="23"/>
                  <a:pt x="467" y="22"/>
                  <a:pt x="463" y="25"/>
                </a:cubicBezTo>
                <a:cubicBezTo>
                  <a:pt x="464" y="26"/>
                  <a:pt x="464" y="26"/>
                  <a:pt x="464" y="26"/>
                </a:cubicBezTo>
                <a:cubicBezTo>
                  <a:pt x="464" y="26"/>
                  <a:pt x="464" y="26"/>
                  <a:pt x="465" y="25"/>
                </a:cubicBezTo>
                <a:cubicBezTo>
                  <a:pt x="468" y="25"/>
                  <a:pt x="465" y="27"/>
                  <a:pt x="464" y="28"/>
                </a:cubicBezTo>
                <a:cubicBezTo>
                  <a:pt x="466" y="27"/>
                  <a:pt x="468" y="25"/>
                  <a:pt x="471" y="24"/>
                </a:cubicBezTo>
                <a:cubicBezTo>
                  <a:pt x="472" y="24"/>
                  <a:pt x="472" y="24"/>
                  <a:pt x="473" y="24"/>
                </a:cubicBezTo>
                <a:cubicBezTo>
                  <a:pt x="473" y="25"/>
                  <a:pt x="472" y="25"/>
                  <a:pt x="474" y="25"/>
                </a:cubicBezTo>
                <a:cubicBezTo>
                  <a:pt x="475" y="24"/>
                  <a:pt x="475" y="24"/>
                  <a:pt x="475" y="24"/>
                </a:cubicBezTo>
                <a:cubicBezTo>
                  <a:pt x="474" y="24"/>
                  <a:pt x="474" y="24"/>
                  <a:pt x="473" y="24"/>
                </a:cubicBezTo>
                <a:cubicBezTo>
                  <a:pt x="474" y="24"/>
                  <a:pt x="474" y="23"/>
                  <a:pt x="474" y="23"/>
                </a:cubicBezTo>
                <a:close/>
                <a:moveTo>
                  <a:pt x="472" y="13"/>
                </a:moveTo>
                <a:cubicBezTo>
                  <a:pt x="473" y="13"/>
                  <a:pt x="475" y="13"/>
                  <a:pt x="476" y="12"/>
                </a:cubicBezTo>
                <a:cubicBezTo>
                  <a:pt x="477" y="11"/>
                  <a:pt x="477" y="11"/>
                  <a:pt x="477" y="11"/>
                </a:cubicBezTo>
                <a:cubicBezTo>
                  <a:pt x="474" y="10"/>
                  <a:pt x="472" y="12"/>
                  <a:pt x="472" y="13"/>
                </a:cubicBezTo>
                <a:close/>
                <a:moveTo>
                  <a:pt x="489" y="54"/>
                </a:moveTo>
                <a:cubicBezTo>
                  <a:pt x="489" y="54"/>
                  <a:pt x="490" y="56"/>
                  <a:pt x="487" y="58"/>
                </a:cubicBezTo>
                <a:cubicBezTo>
                  <a:pt x="492" y="56"/>
                  <a:pt x="492" y="56"/>
                  <a:pt x="492" y="56"/>
                </a:cubicBezTo>
                <a:cubicBezTo>
                  <a:pt x="491" y="55"/>
                  <a:pt x="494" y="53"/>
                  <a:pt x="496" y="53"/>
                </a:cubicBezTo>
                <a:cubicBezTo>
                  <a:pt x="492" y="53"/>
                  <a:pt x="494" y="51"/>
                  <a:pt x="489" y="54"/>
                </a:cubicBezTo>
                <a:close/>
                <a:moveTo>
                  <a:pt x="518" y="105"/>
                </a:moveTo>
                <a:cubicBezTo>
                  <a:pt x="520" y="104"/>
                  <a:pt x="514" y="102"/>
                  <a:pt x="521" y="101"/>
                </a:cubicBezTo>
                <a:cubicBezTo>
                  <a:pt x="512" y="101"/>
                  <a:pt x="516" y="104"/>
                  <a:pt x="518" y="105"/>
                </a:cubicBezTo>
                <a:close/>
                <a:moveTo>
                  <a:pt x="528" y="105"/>
                </a:moveTo>
                <a:cubicBezTo>
                  <a:pt x="528" y="106"/>
                  <a:pt x="528" y="106"/>
                  <a:pt x="528" y="106"/>
                </a:cubicBezTo>
                <a:cubicBezTo>
                  <a:pt x="527" y="107"/>
                  <a:pt x="520" y="107"/>
                  <a:pt x="524" y="108"/>
                </a:cubicBezTo>
                <a:cubicBezTo>
                  <a:pt x="526" y="108"/>
                  <a:pt x="523" y="107"/>
                  <a:pt x="525" y="107"/>
                </a:cubicBezTo>
                <a:cubicBezTo>
                  <a:pt x="529" y="107"/>
                  <a:pt x="528" y="107"/>
                  <a:pt x="528" y="106"/>
                </a:cubicBezTo>
                <a:cubicBezTo>
                  <a:pt x="528" y="106"/>
                  <a:pt x="528" y="106"/>
                  <a:pt x="528" y="105"/>
                </a:cubicBezTo>
                <a:close/>
                <a:moveTo>
                  <a:pt x="513" y="71"/>
                </a:moveTo>
                <a:cubicBezTo>
                  <a:pt x="514" y="72"/>
                  <a:pt x="514" y="72"/>
                  <a:pt x="514" y="72"/>
                </a:cubicBezTo>
                <a:cubicBezTo>
                  <a:pt x="510" y="75"/>
                  <a:pt x="510" y="75"/>
                  <a:pt x="510" y="75"/>
                </a:cubicBezTo>
                <a:lnTo>
                  <a:pt x="513" y="71"/>
                </a:lnTo>
                <a:close/>
                <a:moveTo>
                  <a:pt x="511" y="55"/>
                </a:moveTo>
                <a:cubicBezTo>
                  <a:pt x="511" y="56"/>
                  <a:pt x="511" y="56"/>
                  <a:pt x="511" y="56"/>
                </a:cubicBezTo>
                <a:cubicBezTo>
                  <a:pt x="510" y="56"/>
                  <a:pt x="510" y="56"/>
                  <a:pt x="510" y="56"/>
                </a:cubicBezTo>
                <a:cubicBezTo>
                  <a:pt x="509" y="57"/>
                  <a:pt x="507" y="57"/>
                  <a:pt x="506" y="58"/>
                </a:cubicBezTo>
                <a:cubicBezTo>
                  <a:pt x="506" y="58"/>
                  <a:pt x="506" y="59"/>
                  <a:pt x="506" y="59"/>
                </a:cubicBezTo>
                <a:cubicBezTo>
                  <a:pt x="506" y="59"/>
                  <a:pt x="506" y="58"/>
                  <a:pt x="506" y="58"/>
                </a:cubicBezTo>
                <a:cubicBezTo>
                  <a:pt x="506" y="57"/>
                  <a:pt x="505" y="56"/>
                  <a:pt x="509" y="54"/>
                </a:cubicBezTo>
                <a:cubicBezTo>
                  <a:pt x="507" y="55"/>
                  <a:pt x="508" y="57"/>
                  <a:pt x="511" y="56"/>
                </a:cubicBezTo>
                <a:lnTo>
                  <a:pt x="511" y="55"/>
                </a:lnTo>
                <a:close/>
                <a:moveTo>
                  <a:pt x="501" y="25"/>
                </a:moveTo>
                <a:cubicBezTo>
                  <a:pt x="500" y="26"/>
                  <a:pt x="499" y="26"/>
                  <a:pt x="502" y="26"/>
                </a:cubicBezTo>
                <a:cubicBezTo>
                  <a:pt x="503" y="25"/>
                  <a:pt x="502" y="24"/>
                  <a:pt x="501" y="25"/>
                </a:cubicBezTo>
                <a:close/>
                <a:moveTo>
                  <a:pt x="519" y="60"/>
                </a:moveTo>
                <a:cubicBezTo>
                  <a:pt x="516" y="61"/>
                  <a:pt x="518" y="62"/>
                  <a:pt x="514" y="63"/>
                </a:cubicBezTo>
                <a:cubicBezTo>
                  <a:pt x="513" y="63"/>
                  <a:pt x="513" y="63"/>
                  <a:pt x="513" y="63"/>
                </a:cubicBezTo>
                <a:cubicBezTo>
                  <a:pt x="515" y="63"/>
                  <a:pt x="507" y="67"/>
                  <a:pt x="512" y="66"/>
                </a:cubicBezTo>
                <a:cubicBezTo>
                  <a:pt x="511" y="66"/>
                  <a:pt x="511" y="66"/>
                  <a:pt x="511" y="66"/>
                </a:cubicBezTo>
                <a:cubicBezTo>
                  <a:pt x="513" y="66"/>
                  <a:pt x="515" y="62"/>
                  <a:pt x="518" y="62"/>
                </a:cubicBezTo>
                <a:cubicBezTo>
                  <a:pt x="519" y="63"/>
                  <a:pt x="521" y="60"/>
                  <a:pt x="519" y="60"/>
                </a:cubicBezTo>
                <a:close/>
                <a:moveTo>
                  <a:pt x="507" y="19"/>
                </a:moveTo>
                <a:cubicBezTo>
                  <a:pt x="507" y="21"/>
                  <a:pt x="500" y="23"/>
                  <a:pt x="504" y="24"/>
                </a:cubicBezTo>
                <a:cubicBezTo>
                  <a:pt x="504" y="22"/>
                  <a:pt x="511" y="19"/>
                  <a:pt x="507" y="19"/>
                </a:cubicBezTo>
                <a:close/>
                <a:moveTo>
                  <a:pt x="524" y="45"/>
                </a:moveTo>
                <a:cubicBezTo>
                  <a:pt x="525" y="45"/>
                  <a:pt x="525" y="45"/>
                  <a:pt x="525" y="45"/>
                </a:cubicBezTo>
                <a:cubicBezTo>
                  <a:pt x="524" y="47"/>
                  <a:pt x="524" y="47"/>
                  <a:pt x="524" y="47"/>
                </a:cubicBezTo>
                <a:cubicBezTo>
                  <a:pt x="523" y="47"/>
                  <a:pt x="523" y="47"/>
                  <a:pt x="523" y="47"/>
                </a:cubicBezTo>
                <a:lnTo>
                  <a:pt x="524" y="45"/>
                </a:lnTo>
                <a:close/>
                <a:moveTo>
                  <a:pt x="467" y="35"/>
                </a:moveTo>
                <a:cubicBezTo>
                  <a:pt x="466" y="35"/>
                  <a:pt x="466" y="36"/>
                  <a:pt x="467" y="36"/>
                </a:cubicBezTo>
                <a:cubicBezTo>
                  <a:pt x="467" y="36"/>
                  <a:pt x="467" y="35"/>
                  <a:pt x="467" y="35"/>
                </a:cubicBezTo>
                <a:close/>
                <a:moveTo>
                  <a:pt x="501" y="109"/>
                </a:moveTo>
                <a:cubicBezTo>
                  <a:pt x="500" y="108"/>
                  <a:pt x="499" y="108"/>
                  <a:pt x="498" y="108"/>
                </a:cubicBezTo>
                <a:cubicBezTo>
                  <a:pt x="499" y="108"/>
                  <a:pt x="500" y="108"/>
                  <a:pt x="501" y="109"/>
                </a:cubicBezTo>
                <a:close/>
                <a:moveTo>
                  <a:pt x="496" y="109"/>
                </a:moveTo>
                <a:cubicBezTo>
                  <a:pt x="496" y="109"/>
                  <a:pt x="496" y="109"/>
                  <a:pt x="496" y="109"/>
                </a:cubicBezTo>
                <a:cubicBezTo>
                  <a:pt x="496" y="109"/>
                  <a:pt x="496" y="109"/>
                  <a:pt x="496" y="109"/>
                </a:cubicBezTo>
                <a:close/>
                <a:moveTo>
                  <a:pt x="429" y="155"/>
                </a:moveTo>
                <a:cubicBezTo>
                  <a:pt x="428" y="155"/>
                  <a:pt x="425" y="152"/>
                  <a:pt x="428" y="156"/>
                </a:cubicBezTo>
                <a:cubicBezTo>
                  <a:pt x="429" y="158"/>
                  <a:pt x="428" y="155"/>
                  <a:pt x="429" y="155"/>
                </a:cubicBezTo>
                <a:close/>
                <a:moveTo>
                  <a:pt x="433" y="159"/>
                </a:moveTo>
                <a:cubicBezTo>
                  <a:pt x="434" y="159"/>
                  <a:pt x="435" y="160"/>
                  <a:pt x="436" y="161"/>
                </a:cubicBezTo>
                <a:cubicBezTo>
                  <a:pt x="434" y="159"/>
                  <a:pt x="434" y="159"/>
                  <a:pt x="433" y="159"/>
                </a:cubicBezTo>
                <a:close/>
                <a:moveTo>
                  <a:pt x="433" y="159"/>
                </a:moveTo>
                <a:cubicBezTo>
                  <a:pt x="432" y="159"/>
                  <a:pt x="432" y="160"/>
                  <a:pt x="431" y="161"/>
                </a:cubicBezTo>
                <a:cubicBezTo>
                  <a:pt x="433" y="162"/>
                  <a:pt x="433" y="160"/>
                  <a:pt x="433" y="159"/>
                </a:cubicBezTo>
                <a:close/>
                <a:moveTo>
                  <a:pt x="442" y="148"/>
                </a:moveTo>
                <a:cubicBezTo>
                  <a:pt x="443" y="150"/>
                  <a:pt x="447" y="151"/>
                  <a:pt x="445" y="155"/>
                </a:cubicBezTo>
                <a:cubicBezTo>
                  <a:pt x="445" y="155"/>
                  <a:pt x="446" y="153"/>
                  <a:pt x="448" y="155"/>
                </a:cubicBezTo>
                <a:cubicBezTo>
                  <a:pt x="445" y="151"/>
                  <a:pt x="444" y="148"/>
                  <a:pt x="442" y="148"/>
                </a:cubicBezTo>
                <a:close/>
                <a:moveTo>
                  <a:pt x="452" y="156"/>
                </a:moveTo>
                <a:cubicBezTo>
                  <a:pt x="452" y="155"/>
                  <a:pt x="452" y="155"/>
                  <a:pt x="453" y="155"/>
                </a:cubicBezTo>
                <a:cubicBezTo>
                  <a:pt x="452" y="155"/>
                  <a:pt x="452" y="155"/>
                  <a:pt x="452" y="156"/>
                </a:cubicBezTo>
                <a:close/>
                <a:moveTo>
                  <a:pt x="453" y="155"/>
                </a:moveTo>
                <a:cubicBezTo>
                  <a:pt x="454" y="155"/>
                  <a:pt x="457" y="160"/>
                  <a:pt x="457" y="157"/>
                </a:cubicBezTo>
                <a:cubicBezTo>
                  <a:pt x="456" y="155"/>
                  <a:pt x="454" y="152"/>
                  <a:pt x="453" y="152"/>
                </a:cubicBezTo>
                <a:cubicBezTo>
                  <a:pt x="454" y="155"/>
                  <a:pt x="453" y="155"/>
                  <a:pt x="453" y="155"/>
                </a:cubicBezTo>
                <a:close/>
                <a:moveTo>
                  <a:pt x="480" y="123"/>
                </a:moveTo>
                <a:cubicBezTo>
                  <a:pt x="479" y="124"/>
                  <a:pt x="479" y="124"/>
                  <a:pt x="479" y="124"/>
                </a:cubicBezTo>
                <a:cubicBezTo>
                  <a:pt x="480" y="125"/>
                  <a:pt x="480" y="125"/>
                  <a:pt x="480" y="125"/>
                </a:cubicBezTo>
                <a:cubicBezTo>
                  <a:pt x="480" y="125"/>
                  <a:pt x="481" y="124"/>
                  <a:pt x="480" y="123"/>
                </a:cubicBezTo>
                <a:close/>
                <a:moveTo>
                  <a:pt x="491" y="134"/>
                </a:moveTo>
                <a:cubicBezTo>
                  <a:pt x="488" y="129"/>
                  <a:pt x="488" y="129"/>
                  <a:pt x="488" y="129"/>
                </a:cubicBezTo>
                <a:cubicBezTo>
                  <a:pt x="487" y="128"/>
                  <a:pt x="490" y="132"/>
                  <a:pt x="489" y="132"/>
                </a:cubicBezTo>
                <a:cubicBezTo>
                  <a:pt x="489" y="133"/>
                  <a:pt x="490" y="134"/>
                  <a:pt x="491" y="134"/>
                </a:cubicBezTo>
                <a:close/>
                <a:moveTo>
                  <a:pt x="504" y="160"/>
                </a:moveTo>
                <a:cubicBezTo>
                  <a:pt x="504" y="160"/>
                  <a:pt x="504" y="160"/>
                  <a:pt x="503" y="160"/>
                </a:cubicBezTo>
                <a:cubicBezTo>
                  <a:pt x="504" y="160"/>
                  <a:pt x="504" y="160"/>
                  <a:pt x="504" y="160"/>
                </a:cubicBezTo>
                <a:close/>
                <a:moveTo>
                  <a:pt x="484" y="120"/>
                </a:moveTo>
                <a:cubicBezTo>
                  <a:pt x="486" y="122"/>
                  <a:pt x="487" y="124"/>
                  <a:pt x="489" y="125"/>
                </a:cubicBezTo>
                <a:cubicBezTo>
                  <a:pt x="490" y="126"/>
                  <a:pt x="486" y="121"/>
                  <a:pt x="484" y="120"/>
                </a:cubicBezTo>
                <a:close/>
                <a:moveTo>
                  <a:pt x="489" y="120"/>
                </a:moveTo>
                <a:cubicBezTo>
                  <a:pt x="488" y="120"/>
                  <a:pt x="487" y="120"/>
                  <a:pt x="486" y="119"/>
                </a:cubicBezTo>
                <a:cubicBezTo>
                  <a:pt x="488" y="121"/>
                  <a:pt x="488" y="121"/>
                  <a:pt x="488" y="121"/>
                </a:cubicBezTo>
                <a:lnTo>
                  <a:pt x="489" y="120"/>
                </a:lnTo>
                <a:close/>
                <a:moveTo>
                  <a:pt x="496" y="122"/>
                </a:moveTo>
                <a:cubicBezTo>
                  <a:pt x="494" y="121"/>
                  <a:pt x="494" y="121"/>
                  <a:pt x="494" y="121"/>
                </a:cubicBezTo>
                <a:cubicBezTo>
                  <a:pt x="495" y="122"/>
                  <a:pt x="495" y="122"/>
                  <a:pt x="495" y="122"/>
                </a:cubicBezTo>
                <a:lnTo>
                  <a:pt x="496" y="122"/>
                </a:lnTo>
                <a:close/>
                <a:moveTo>
                  <a:pt x="501" y="90"/>
                </a:moveTo>
                <a:cubicBezTo>
                  <a:pt x="500" y="90"/>
                  <a:pt x="500" y="86"/>
                  <a:pt x="495" y="89"/>
                </a:cubicBezTo>
                <a:cubicBezTo>
                  <a:pt x="502" y="87"/>
                  <a:pt x="495" y="93"/>
                  <a:pt x="501" y="90"/>
                </a:cubicBezTo>
                <a:close/>
                <a:moveTo>
                  <a:pt x="470" y="41"/>
                </a:moveTo>
                <a:cubicBezTo>
                  <a:pt x="471" y="38"/>
                  <a:pt x="471" y="38"/>
                  <a:pt x="471" y="38"/>
                </a:cubicBezTo>
                <a:cubicBezTo>
                  <a:pt x="470" y="40"/>
                  <a:pt x="467" y="40"/>
                  <a:pt x="470" y="41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s-AR" sz="1350"/>
          </a:p>
        </p:txBody>
      </p:sp>
      <p:sp>
        <p:nvSpPr>
          <p:cNvPr id="323605" name="Freeform 17"/>
          <p:cNvSpPr>
            <a:spLocks noChangeAspect="1"/>
          </p:cNvSpPr>
          <p:nvPr/>
        </p:nvSpPr>
        <p:spPr bwMode="auto">
          <a:xfrm>
            <a:off x="3051572" y="4008835"/>
            <a:ext cx="1460897" cy="341709"/>
          </a:xfrm>
          <a:custGeom>
            <a:avLst/>
            <a:gdLst>
              <a:gd name="T0" fmla="*/ 2147483646 w 917"/>
              <a:gd name="T1" fmla="*/ 2147483646 h 215"/>
              <a:gd name="T2" fmla="*/ 2147483646 w 917"/>
              <a:gd name="T3" fmla="*/ 2147483646 h 215"/>
              <a:gd name="T4" fmla="*/ 2147483646 w 917"/>
              <a:gd name="T5" fmla="*/ 2147483646 h 215"/>
              <a:gd name="T6" fmla="*/ 2147483646 w 917"/>
              <a:gd name="T7" fmla="*/ 2147483646 h 215"/>
              <a:gd name="T8" fmla="*/ 2147483646 w 917"/>
              <a:gd name="T9" fmla="*/ 2147483646 h 215"/>
              <a:gd name="T10" fmla="*/ 2147483646 w 917"/>
              <a:gd name="T11" fmla="*/ 2147483646 h 215"/>
              <a:gd name="T12" fmla="*/ 2147483646 w 917"/>
              <a:gd name="T13" fmla="*/ 2147483646 h 215"/>
              <a:gd name="T14" fmla="*/ 2147483646 w 917"/>
              <a:gd name="T15" fmla="*/ 2147483646 h 215"/>
              <a:gd name="T16" fmla="*/ 2147483646 w 917"/>
              <a:gd name="T17" fmla="*/ 2147483646 h 215"/>
              <a:gd name="T18" fmla="*/ 2147483646 w 917"/>
              <a:gd name="T19" fmla="*/ 2147483646 h 215"/>
              <a:gd name="T20" fmla="*/ 2147483646 w 917"/>
              <a:gd name="T21" fmla="*/ 2147483646 h 215"/>
              <a:gd name="T22" fmla="*/ 2147483646 w 917"/>
              <a:gd name="T23" fmla="*/ 2147483646 h 215"/>
              <a:gd name="T24" fmla="*/ 2147483646 w 917"/>
              <a:gd name="T25" fmla="*/ 2147483646 h 215"/>
              <a:gd name="T26" fmla="*/ 2147483646 w 917"/>
              <a:gd name="T27" fmla="*/ 2147483646 h 215"/>
              <a:gd name="T28" fmla="*/ 2147483646 w 917"/>
              <a:gd name="T29" fmla="*/ 2147483646 h 215"/>
              <a:gd name="T30" fmla="*/ 2147483646 w 917"/>
              <a:gd name="T31" fmla="*/ 2147483646 h 215"/>
              <a:gd name="T32" fmla="*/ 2147483646 w 917"/>
              <a:gd name="T33" fmla="*/ 2147483646 h 215"/>
              <a:gd name="T34" fmla="*/ 2147483646 w 917"/>
              <a:gd name="T35" fmla="*/ 2147483646 h 215"/>
              <a:gd name="T36" fmla="*/ 2147483646 w 917"/>
              <a:gd name="T37" fmla="*/ 2147483646 h 215"/>
              <a:gd name="T38" fmla="*/ 2147483646 w 917"/>
              <a:gd name="T39" fmla="*/ 2147483646 h 215"/>
              <a:gd name="T40" fmla="*/ 2147483646 w 917"/>
              <a:gd name="T41" fmla="*/ 2147483646 h 215"/>
              <a:gd name="T42" fmla="*/ 2147483646 w 917"/>
              <a:gd name="T43" fmla="*/ 2147483646 h 215"/>
              <a:gd name="T44" fmla="*/ 2147483646 w 917"/>
              <a:gd name="T45" fmla="*/ 2147483646 h 21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917" h="215">
                <a:moveTo>
                  <a:pt x="912" y="163"/>
                </a:moveTo>
                <a:cubicBezTo>
                  <a:pt x="887" y="123"/>
                  <a:pt x="870" y="78"/>
                  <a:pt x="860" y="32"/>
                </a:cubicBezTo>
                <a:cubicBezTo>
                  <a:pt x="857" y="18"/>
                  <a:pt x="840" y="7"/>
                  <a:pt x="827" y="3"/>
                </a:cubicBezTo>
                <a:cubicBezTo>
                  <a:pt x="817" y="0"/>
                  <a:pt x="802" y="1"/>
                  <a:pt x="805" y="15"/>
                </a:cubicBezTo>
                <a:cubicBezTo>
                  <a:pt x="812" y="47"/>
                  <a:pt x="823" y="79"/>
                  <a:pt x="836" y="109"/>
                </a:cubicBezTo>
                <a:cubicBezTo>
                  <a:pt x="833" y="107"/>
                  <a:pt x="831" y="105"/>
                  <a:pt x="828" y="104"/>
                </a:cubicBezTo>
                <a:cubicBezTo>
                  <a:pt x="781" y="80"/>
                  <a:pt x="729" y="66"/>
                  <a:pt x="678" y="54"/>
                </a:cubicBezTo>
                <a:cubicBezTo>
                  <a:pt x="602" y="35"/>
                  <a:pt x="526" y="22"/>
                  <a:pt x="448" y="14"/>
                </a:cubicBezTo>
                <a:cubicBezTo>
                  <a:pt x="369" y="5"/>
                  <a:pt x="287" y="3"/>
                  <a:pt x="207" y="13"/>
                </a:cubicBezTo>
                <a:cubicBezTo>
                  <a:pt x="143" y="21"/>
                  <a:pt x="74" y="38"/>
                  <a:pt x="22" y="80"/>
                </a:cubicBezTo>
                <a:cubicBezTo>
                  <a:pt x="21" y="80"/>
                  <a:pt x="20" y="81"/>
                  <a:pt x="19" y="82"/>
                </a:cubicBezTo>
                <a:cubicBezTo>
                  <a:pt x="0" y="98"/>
                  <a:pt x="50" y="137"/>
                  <a:pt x="66" y="123"/>
                </a:cubicBezTo>
                <a:cubicBezTo>
                  <a:pt x="114" y="82"/>
                  <a:pt x="178" y="66"/>
                  <a:pt x="240" y="58"/>
                </a:cubicBezTo>
                <a:cubicBezTo>
                  <a:pt x="315" y="47"/>
                  <a:pt x="392" y="50"/>
                  <a:pt x="468" y="57"/>
                </a:cubicBezTo>
                <a:cubicBezTo>
                  <a:pt x="541" y="64"/>
                  <a:pt x="614" y="77"/>
                  <a:pt x="685" y="94"/>
                </a:cubicBezTo>
                <a:cubicBezTo>
                  <a:pt x="714" y="101"/>
                  <a:pt x="742" y="109"/>
                  <a:pt x="770" y="118"/>
                </a:cubicBezTo>
                <a:cubicBezTo>
                  <a:pt x="795" y="126"/>
                  <a:pt x="806" y="129"/>
                  <a:pt x="825" y="139"/>
                </a:cubicBezTo>
                <a:cubicBezTo>
                  <a:pt x="828" y="140"/>
                  <a:pt x="833" y="142"/>
                  <a:pt x="838" y="143"/>
                </a:cubicBezTo>
                <a:cubicBezTo>
                  <a:pt x="806" y="150"/>
                  <a:pt x="774" y="159"/>
                  <a:pt x="743" y="169"/>
                </a:cubicBezTo>
                <a:cubicBezTo>
                  <a:pt x="730" y="173"/>
                  <a:pt x="746" y="194"/>
                  <a:pt x="751" y="198"/>
                </a:cubicBezTo>
                <a:cubicBezTo>
                  <a:pt x="761" y="207"/>
                  <a:pt x="776" y="215"/>
                  <a:pt x="790" y="210"/>
                </a:cubicBezTo>
                <a:cubicBezTo>
                  <a:pt x="827" y="198"/>
                  <a:pt x="866" y="189"/>
                  <a:pt x="905" y="182"/>
                </a:cubicBezTo>
                <a:cubicBezTo>
                  <a:pt x="915" y="180"/>
                  <a:pt x="917" y="171"/>
                  <a:pt x="912" y="16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s-AR" sz="1350"/>
          </a:p>
        </p:txBody>
      </p:sp>
      <p:sp>
        <p:nvSpPr>
          <p:cNvPr id="323606" name="Freeform 17"/>
          <p:cNvSpPr>
            <a:spLocks noChangeAspect="1"/>
          </p:cNvSpPr>
          <p:nvPr/>
        </p:nvSpPr>
        <p:spPr bwMode="auto">
          <a:xfrm flipH="1">
            <a:off x="3051572" y="4970860"/>
            <a:ext cx="1460897" cy="341709"/>
          </a:xfrm>
          <a:custGeom>
            <a:avLst/>
            <a:gdLst>
              <a:gd name="T0" fmla="*/ 2147483646 w 917"/>
              <a:gd name="T1" fmla="*/ 2147483646 h 215"/>
              <a:gd name="T2" fmla="*/ 2147483646 w 917"/>
              <a:gd name="T3" fmla="*/ 2147483646 h 215"/>
              <a:gd name="T4" fmla="*/ 2147483646 w 917"/>
              <a:gd name="T5" fmla="*/ 2147483646 h 215"/>
              <a:gd name="T6" fmla="*/ 2147483646 w 917"/>
              <a:gd name="T7" fmla="*/ 2147483646 h 215"/>
              <a:gd name="T8" fmla="*/ 2147483646 w 917"/>
              <a:gd name="T9" fmla="*/ 2147483646 h 215"/>
              <a:gd name="T10" fmla="*/ 2147483646 w 917"/>
              <a:gd name="T11" fmla="*/ 2147483646 h 215"/>
              <a:gd name="T12" fmla="*/ 2147483646 w 917"/>
              <a:gd name="T13" fmla="*/ 2147483646 h 215"/>
              <a:gd name="T14" fmla="*/ 2147483646 w 917"/>
              <a:gd name="T15" fmla="*/ 2147483646 h 215"/>
              <a:gd name="T16" fmla="*/ 2147483646 w 917"/>
              <a:gd name="T17" fmla="*/ 2147483646 h 215"/>
              <a:gd name="T18" fmla="*/ 2147483646 w 917"/>
              <a:gd name="T19" fmla="*/ 2147483646 h 215"/>
              <a:gd name="T20" fmla="*/ 2147483646 w 917"/>
              <a:gd name="T21" fmla="*/ 2147483646 h 215"/>
              <a:gd name="T22" fmla="*/ 2147483646 w 917"/>
              <a:gd name="T23" fmla="*/ 2147483646 h 215"/>
              <a:gd name="T24" fmla="*/ 2147483646 w 917"/>
              <a:gd name="T25" fmla="*/ 2147483646 h 215"/>
              <a:gd name="T26" fmla="*/ 2147483646 w 917"/>
              <a:gd name="T27" fmla="*/ 2147483646 h 215"/>
              <a:gd name="T28" fmla="*/ 2147483646 w 917"/>
              <a:gd name="T29" fmla="*/ 2147483646 h 215"/>
              <a:gd name="T30" fmla="*/ 2147483646 w 917"/>
              <a:gd name="T31" fmla="*/ 2147483646 h 215"/>
              <a:gd name="T32" fmla="*/ 2147483646 w 917"/>
              <a:gd name="T33" fmla="*/ 2147483646 h 215"/>
              <a:gd name="T34" fmla="*/ 2147483646 w 917"/>
              <a:gd name="T35" fmla="*/ 2147483646 h 215"/>
              <a:gd name="T36" fmla="*/ 2147483646 w 917"/>
              <a:gd name="T37" fmla="*/ 2147483646 h 215"/>
              <a:gd name="T38" fmla="*/ 2147483646 w 917"/>
              <a:gd name="T39" fmla="*/ 2147483646 h 215"/>
              <a:gd name="T40" fmla="*/ 2147483646 w 917"/>
              <a:gd name="T41" fmla="*/ 2147483646 h 215"/>
              <a:gd name="T42" fmla="*/ 2147483646 w 917"/>
              <a:gd name="T43" fmla="*/ 2147483646 h 215"/>
              <a:gd name="T44" fmla="*/ 2147483646 w 917"/>
              <a:gd name="T45" fmla="*/ 2147483646 h 21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917" h="215">
                <a:moveTo>
                  <a:pt x="912" y="163"/>
                </a:moveTo>
                <a:cubicBezTo>
                  <a:pt x="887" y="123"/>
                  <a:pt x="870" y="78"/>
                  <a:pt x="860" y="32"/>
                </a:cubicBezTo>
                <a:cubicBezTo>
                  <a:pt x="857" y="18"/>
                  <a:pt x="840" y="7"/>
                  <a:pt x="827" y="3"/>
                </a:cubicBezTo>
                <a:cubicBezTo>
                  <a:pt x="817" y="0"/>
                  <a:pt x="802" y="1"/>
                  <a:pt x="805" y="15"/>
                </a:cubicBezTo>
                <a:cubicBezTo>
                  <a:pt x="812" y="47"/>
                  <a:pt x="823" y="79"/>
                  <a:pt x="836" y="109"/>
                </a:cubicBezTo>
                <a:cubicBezTo>
                  <a:pt x="833" y="107"/>
                  <a:pt x="831" y="105"/>
                  <a:pt x="828" y="104"/>
                </a:cubicBezTo>
                <a:cubicBezTo>
                  <a:pt x="781" y="80"/>
                  <a:pt x="729" y="66"/>
                  <a:pt x="678" y="54"/>
                </a:cubicBezTo>
                <a:cubicBezTo>
                  <a:pt x="602" y="35"/>
                  <a:pt x="526" y="22"/>
                  <a:pt x="448" y="14"/>
                </a:cubicBezTo>
                <a:cubicBezTo>
                  <a:pt x="369" y="5"/>
                  <a:pt x="287" y="3"/>
                  <a:pt x="207" y="13"/>
                </a:cubicBezTo>
                <a:cubicBezTo>
                  <a:pt x="143" y="21"/>
                  <a:pt x="74" y="38"/>
                  <a:pt x="22" y="80"/>
                </a:cubicBezTo>
                <a:cubicBezTo>
                  <a:pt x="21" y="80"/>
                  <a:pt x="20" y="81"/>
                  <a:pt x="19" y="82"/>
                </a:cubicBezTo>
                <a:cubicBezTo>
                  <a:pt x="0" y="98"/>
                  <a:pt x="50" y="137"/>
                  <a:pt x="66" y="123"/>
                </a:cubicBezTo>
                <a:cubicBezTo>
                  <a:pt x="114" y="82"/>
                  <a:pt x="178" y="66"/>
                  <a:pt x="240" y="58"/>
                </a:cubicBezTo>
                <a:cubicBezTo>
                  <a:pt x="315" y="47"/>
                  <a:pt x="392" y="50"/>
                  <a:pt x="468" y="57"/>
                </a:cubicBezTo>
                <a:cubicBezTo>
                  <a:pt x="541" y="64"/>
                  <a:pt x="614" y="77"/>
                  <a:pt x="685" y="94"/>
                </a:cubicBezTo>
                <a:cubicBezTo>
                  <a:pt x="714" y="101"/>
                  <a:pt x="742" y="109"/>
                  <a:pt x="770" y="118"/>
                </a:cubicBezTo>
                <a:cubicBezTo>
                  <a:pt x="795" y="126"/>
                  <a:pt x="806" y="129"/>
                  <a:pt x="825" y="139"/>
                </a:cubicBezTo>
                <a:cubicBezTo>
                  <a:pt x="828" y="140"/>
                  <a:pt x="833" y="142"/>
                  <a:pt x="838" y="143"/>
                </a:cubicBezTo>
                <a:cubicBezTo>
                  <a:pt x="806" y="150"/>
                  <a:pt x="774" y="159"/>
                  <a:pt x="743" y="169"/>
                </a:cubicBezTo>
                <a:cubicBezTo>
                  <a:pt x="730" y="173"/>
                  <a:pt x="746" y="194"/>
                  <a:pt x="751" y="198"/>
                </a:cubicBezTo>
                <a:cubicBezTo>
                  <a:pt x="761" y="207"/>
                  <a:pt x="776" y="215"/>
                  <a:pt x="790" y="210"/>
                </a:cubicBezTo>
                <a:cubicBezTo>
                  <a:pt x="827" y="198"/>
                  <a:pt x="866" y="189"/>
                  <a:pt x="905" y="182"/>
                </a:cubicBezTo>
                <a:cubicBezTo>
                  <a:pt x="915" y="180"/>
                  <a:pt x="917" y="171"/>
                  <a:pt x="912" y="16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s-AR" sz="1350"/>
          </a:p>
        </p:txBody>
      </p:sp>
      <p:sp>
        <p:nvSpPr>
          <p:cNvPr id="323607" name="Freeform 17"/>
          <p:cNvSpPr>
            <a:spLocks noChangeAspect="1"/>
          </p:cNvSpPr>
          <p:nvPr/>
        </p:nvSpPr>
        <p:spPr bwMode="auto">
          <a:xfrm flipH="1" flipV="1">
            <a:off x="3030141" y="5429250"/>
            <a:ext cx="1460897" cy="341710"/>
          </a:xfrm>
          <a:custGeom>
            <a:avLst/>
            <a:gdLst>
              <a:gd name="T0" fmla="*/ 2147483646 w 917"/>
              <a:gd name="T1" fmla="*/ 2147483646 h 215"/>
              <a:gd name="T2" fmla="*/ 2147483646 w 917"/>
              <a:gd name="T3" fmla="*/ 2147483646 h 215"/>
              <a:gd name="T4" fmla="*/ 2147483646 w 917"/>
              <a:gd name="T5" fmla="*/ 2147483646 h 215"/>
              <a:gd name="T6" fmla="*/ 2147483646 w 917"/>
              <a:gd name="T7" fmla="*/ 2147483646 h 215"/>
              <a:gd name="T8" fmla="*/ 2147483646 w 917"/>
              <a:gd name="T9" fmla="*/ 2147483646 h 215"/>
              <a:gd name="T10" fmla="*/ 2147483646 w 917"/>
              <a:gd name="T11" fmla="*/ 2147483646 h 215"/>
              <a:gd name="T12" fmla="*/ 2147483646 w 917"/>
              <a:gd name="T13" fmla="*/ 2147483646 h 215"/>
              <a:gd name="T14" fmla="*/ 2147483646 w 917"/>
              <a:gd name="T15" fmla="*/ 2147483646 h 215"/>
              <a:gd name="T16" fmla="*/ 2147483646 w 917"/>
              <a:gd name="T17" fmla="*/ 2147483646 h 215"/>
              <a:gd name="T18" fmla="*/ 2147483646 w 917"/>
              <a:gd name="T19" fmla="*/ 2147483646 h 215"/>
              <a:gd name="T20" fmla="*/ 2147483646 w 917"/>
              <a:gd name="T21" fmla="*/ 2147483646 h 215"/>
              <a:gd name="T22" fmla="*/ 2147483646 w 917"/>
              <a:gd name="T23" fmla="*/ 2147483646 h 215"/>
              <a:gd name="T24" fmla="*/ 2147483646 w 917"/>
              <a:gd name="T25" fmla="*/ 2147483646 h 215"/>
              <a:gd name="T26" fmla="*/ 2147483646 w 917"/>
              <a:gd name="T27" fmla="*/ 2147483646 h 215"/>
              <a:gd name="T28" fmla="*/ 2147483646 w 917"/>
              <a:gd name="T29" fmla="*/ 2147483646 h 215"/>
              <a:gd name="T30" fmla="*/ 2147483646 w 917"/>
              <a:gd name="T31" fmla="*/ 2147483646 h 215"/>
              <a:gd name="T32" fmla="*/ 2147483646 w 917"/>
              <a:gd name="T33" fmla="*/ 2147483646 h 215"/>
              <a:gd name="T34" fmla="*/ 2147483646 w 917"/>
              <a:gd name="T35" fmla="*/ 2147483646 h 215"/>
              <a:gd name="T36" fmla="*/ 2147483646 w 917"/>
              <a:gd name="T37" fmla="*/ 2147483646 h 215"/>
              <a:gd name="T38" fmla="*/ 2147483646 w 917"/>
              <a:gd name="T39" fmla="*/ 2147483646 h 215"/>
              <a:gd name="T40" fmla="*/ 2147483646 w 917"/>
              <a:gd name="T41" fmla="*/ 2147483646 h 215"/>
              <a:gd name="T42" fmla="*/ 2147483646 w 917"/>
              <a:gd name="T43" fmla="*/ 2147483646 h 215"/>
              <a:gd name="T44" fmla="*/ 2147483646 w 917"/>
              <a:gd name="T45" fmla="*/ 2147483646 h 21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917" h="215">
                <a:moveTo>
                  <a:pt x="912" y="163"/>
                </a:moveTo>
                <a:cubicBezTo>
                  <a:pt x="887" y="123"/>
                  <a:pt x="870" y="78"/>
                  <a:pt x="860" y="32"/>
                </a:cubicBezTo>
                <a:cubicBezTo>
                  <a:pt x="857" y="18"/>
                  <a:pt x="840" y="7"/>
                  <a:pt x="827" y="3"/>
                </a:cubicBezTo>
                <a:cubicBezTo>
                  <a:pt x="817" y="0"/>
                  <a:pt x="802" y="1"/>
                  <a:pt x="805" y="15"/>
                </a:cubicBezTo>
                <a:cubicBezTo>
                  <a:pt x="812" y="47"/>
                  <a:pt x="823" y="79"/>
                  <a:pt x="836" y="109"/>
                </a:cubicBezTo>
                <a:cubicBezTo>
                  <a:pt x="833" y="107"/>
                  <a:pt x="831" y="105"/>
                  <a:pt x="828" y="104"/>
                </a:cubicBezTo>
                <a:cubicBezTo>
                  <a:pt x="781" y="80"/>
                  <a:pt x="729" y="66"/>
                  <a:pt x="678" y="54"/>
                </a:cubicBezTo>
                <a:cubicBezTo>
                  <a:pt x="602" y="35"/>
                  <a:pt x="526" y="22"/>
                  <a:pt x="448" y="14"/>
                </a:cubicBezTo>
                <a:cubicBezTo>
                  <a:pt x="369" y="5"/>
                  <a:pt x="287" y="3"/>
                  <a:pt x="207" y="13"/>
                </a:cubicBezTo>
                <a:cubicBezTo>
                  <a:pt x="143" y="21"/>
                  <a:pt x="74" y="38"/>
                  <a:pt x="22" y="80"/>
                </a:cubicBezTo>
                <a:cubicBezTo>
                  <a:pt x="21" y="80"/>
                  <a:pt x="20" y="81"/>
                  <a:pt x="19" y="82"/>
                </a:cubicBezTo>
                <a:cubicBezTo>
                  <a:pt x="0" y="98"/>
                  <a:pt x="50" y="137"/>
                  <a:pt x="66" y="123"/>
                </a:cubicBezTo>
                <a:cubicBezTo>
                  <a:pt x="114" y="82"/>
                  <a:pt x="178" y="66"/>
                  <a:pt x="240" y="58"/>
                </a:cubicBezTo>
                <a:cubicBezTo>
                  <a:pt x="315" y="47"/>
                  <a:pt x="392" y="50"/>
                  <a:pt x="468" y="57"/>
                </a:cubicBezTo>
                <a:cubicBezTo>
                  <a:pt x="541" y="64"/>
                  <a:pt x="614" y="77"/>
                  <a:pt x="685" y="94"/>
                </a:cubicBezTo>
                <a:cubicBezTo>
                  <a:pt x="714" y="101"/>
                  <a:pt x="742" y="109"/>
                  <a:pt x="770" y="118"/>
                </a:cubicBezTo>
                <a:cubicBezTo>
                  <a:pt x="795" y="126"/>
                  <a:pt x="806" y="129"/>
                  <a:pt x="825" y="139"/>
                </a:cubicBezTo>
                <a:cubicBezTo>
                  <a:pt x="828" y="140"/>
                  <a:pt x="833" y="142"/>
                  <a:pt x="838" y="143"/>
                </a:cubicBezTo>
                <a:cubicBezTo>
                  <a:pt x="806" y="150"/>
                  <a:pt x="774" y="159"/>
                  <a:pt x="743" y="169"/>
                </a:cubicBezTo>
                <a:cubicBezTo>
                  <a:pt x="730" y="173"/>
                  <a:pt x="746" y="194"/>
                  <a:pt x="751" y="198"/>
                </a:cubicBezTo>
                <a:cubicBezTo>
                  <a:pt x="761" y="207"/>
                  <a:pt x="776" y="215"/>
                  <a:pt x="790" y="210"/>
                </a:cubicBezTo>
                <a:cubicBezTo>
                  <a:pt x="827" y="198"/>
                  <a:pt x="866" y="189"/>
                  <a:pt x="905" y="182"/>
                </a:cubicBezTo>
                <a:cubicBezTo>
                  <a:pt x="915" y="180"/>
                  <a:pt x="917" y="171"/>
                  <a:pt x="912" y="16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s-AR" sz="1350"/>
          </a:p>
        </p:txBody>
      </p:sp>
      <p:sp>
        <p:nvSpPr>
          <p:cNvPr id="323608" name="Freeform 17"/>
          <p:cNvSpPr>
            <a:spLocks noChangeAspect="1"/>
          </p:cNvSpPr>
          <p:nvPr/>
        </p:nvSpPr>
        <p:spPr bwMode="auto">
          <a:xfrm flipV="1">
            <a:off x="3049191" y="4436269"/>
            <a:ext cx="1460897" cy="341710"/>
          </a:xfrm>
          <a:custGeom>
            <a:avLst/>
            <a:gdLst>
              <a:gd name="T0" fmla="*/ 2147483646 w 917"/>
              <a:gd name="T1" fmla="*/ 2147483646 h 215"/>
              <a:gd name="T2" fmla="*/ 2147483646 w 917"/>
              <a:gd name="T3" fmla="*/ 2147483646 h 215"/>
              <a:gd name="T4" fmla="*/ 2147483646 w 917"/>
              <a:gd name="T5" fmla="*/ 2147483646 h 215"/>
              <a:gd name="T6" fmla="*/ 2147483646 w 917"/>
              <a:gd name="T7" fmla="*/ 2147483646 h 215"/>
              <a:gd name="T8" fmla="*/ 2147483646 w 917"/>
              <a:gd name="T9" fmla="*/ 2147483646 h 215"/>
              <a:gd name="T10" fmla="*/ 2147483646 w 917"/>
              <a:gd name="T11" fmla="*/ 2147483646 h 215"/>
              <a:gd name="T12" fmla="*/ 2147483646 w 917"/>
              <a:gd name="T13" fmla="*/ 2147483646 h 215"/>
              <a:gd name="T14" fmla="*/ 2147483646 w 917"/>
              <a:gd name="T15" fmla="*/ 2147483646 h 215"/>
              <a:gd name="T16" fmla="*/ 2147483646 w 917"/>
              <a:gd name="T17" fmla="*/ 2147483646 h 215"/>
              <a:gd name="T18" fmla="*/ 2147483646 w 917"/>
              <a:gd name="T19" fmla="*/ 2147483646 h 215"/>
              <a:gd name="T20" fmla="*/ 2147483646 w 917"/>
              <a:gd name="T21" fmla="*/ 2147483646 h 215"/>
              <a:gd name="T22" fmla="*/ 2147483646 w 917"/>
              <a:gd name="T23" fmla="*/ 2147483646 h 215"/>
              <a:gd name="T24" fmla="*/ 2147483646 w 917"/>
              <a:gd name="T25" fmla="*/ 2147483646 h 215"/>
              <a:gd name="T26" fmla="*/ 2147483646 w 917"/>
              <a:gd name="T27" fmla="*/ 2147483646 h 215"/>
              <a:gd name="T28" fmla="*/ 2147483646 w 917"/>
              <a:gd name="T29" fmla="*/ 2147483646 h 215"/>
              <a:gd name="T30" fmla="*/ 2147483646 w 917"/>
              <a:gd name="T31" fmla="*/ 2147483646 h 215"/>
              <a:gd name="T32" fmla="*/ 2147483646 w 917"/>
              <a:gd name="T33" fmla="*/ 2147483646 h 215"/>
              <a:gd name="T34" fmla="*/ 2147483646 w 917"/>
              <a:gd name="T35" fmla="*/ 2147483646 h 215"/>
              <a:gd name="T36" fmla="*/ 2147483646 w 917"/>
              <a:gd name="T37" fmla="*/ 2147483646 h 215"/>
              <a:gd name="T38" fmla="*/ 2147483646 w 917"/>
              <a:gd name="T39" fmla="*/ 2147483646 h 215"/>
              <a:gd name="T40" fmla="*/ 2147483646 w 917"/>
              <a:gd name="T41" fmla="*/ 2147483646 h 215"/>
              <a:gd name="T42" fmla="*/ 2147483646 w 917"/>
              <a:gd name="T43" fmla="*/ 2147483646 h 215"/>
              <a:gd name="T44" fmla="*/ 2147483646 w 917"/>
              <a:gd name="T45" fmla="*/ 2147483646 h 21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917" h="215">
                <a:moveTo>
                  <a:pt x="912" y="163"/>
                </a:moveTo>
                <a:cubicBezTo>
                  <a:pt x="887" y="123"/>
                  <a:pt x="870" y="78"/>
                  <a:pt x="860" y="32"/>
                </a:cubicBezTo>
                <a:cubicBezTo>
                  <a:pt x="857" y="18"/>
                  <a:pt x="840" y="7"/>
                  <a:pt x="827" y="3"/>
                </a:cubicBezTo>
                <a:cubicBezTo>
                  <a:pt x="817" y="0"/>
                  <a:pt x="802" y="1"/>
                  <a:pt x="805" y="15"/>
                </a:cubicBezTo>
                <a:cubicBezTo>
                  <a:pt x="812" y="47"/>
                  <a:pt x="823" y="79"/>
                  <a:pt x="836" y="109"/>
                </a:cubicBezTo>
                <a:cubicBezTo>
                  <a:pt x="833" y="107"/>
                  <a:pt x="831" y="105"/>
                  <a:pt x="828" y="104"/>
                </a:cubicBezTo>
                <a:cubicBezTo>
                  <a:pt x="781" y="80"/>
                  <a:pt x="729" y="66"/>
                  <a:pt x="678" y="54"/>
                </a:cubicBezTo>
                <a:cubicBezTo>
                  <a:pt x="602" y="35"/>
                  <a:pt x="526" y="22"/>
                  <a:pt x="448" y="14"/>
                </a:cubicBezTo>
                <a:cubicBezTo>
                  <a:pt x="369" y="5"/>
                  <a:pt x="287" y="3"/>
                  <a:pt x="207" y="13"/>
                </a:cubicBezTo>
                <a:cubicBezTo>
                  <a:pt x="143" y="21"/>
                  <a:pt x="74" y="38"/>
                  <a:pt x="22" y="80"/>
                </a:cubicBezTo>
                <a:cubicBezTo>
                  <a:pt x="21" y="80"/>
                  <a:pt x="20" y="81"/>
                  <a:pt x="19" y="82"/>
                </a:cubicBezTo>
                <a:cubicBezTo>
                  <a:pt x="0" y="98"/>
                  <a:pt x="50" y="137"/>
                  <a:pt x="66" y="123"/>
                </a:cubicBezTo>
                <a:cubicBezTo>
                  <a:pt x="114" y="82"/>
                  <a:pt x="178" y="66"/>
                  <a:pt x="240" y="58"/>
                </a:cubicBezTo>
                <a:cubicBezTo>
                  <a:pt x="315" y="47"/>
                  <a:pt x="392" y="50"/>
                  <a:pt x="468" y="57"/>
                </a:cubicBezTo>
                <a:cubicBezTo>
                  <a:pt x="541" y="64"/>
                  <a:pt x="614" y="77"/>
                  <a:pt x="685" y="94"/>
                </a:cubicBezTo>
                <a:cubicBezTo>
                  <a:pt x="714" y="101"/>
                  <a:pt x="742" y="109"/>
                  <a:pt x="770" y="118"/>
                </a:cubicBezTo>
                <a:cubicBezTo>
                  <a:pt x="795" y="126"/>
                  <a:pt x="806" y="129"/>
                  <a:pt x="825" y="139"/>
                </a:cubicBezTo>
                <a:cubicBezTo>
                  <a:pt x="828" y="140"/>
                  <a:pt x="833" y="142"/>
                  <a:pt x="838" y="143"/>
                </a:cubicBezTo>
                <a:cubicBezTo>
                  <a:pt x="806" y="150"/>
                  <a:pt x="774" y="159"/>
                  <a:pt x="743" y="169"/>
                </a:cubicBezTo>
                <a:cubicBezTo>
                  <a:pt x="730" y="173"/>
                  <a:pt x="746" y="194"/>
                  <a:pt x="751" y="198"/>
                </a:cubicBezTo>
                <a:cubicBezTo>
                  <a:pt x="761" y="207"/>
                  <a:pt x="776" y="215"/>
                  <a:pt x="790" y="210"/>
                </a:cubicBezTo>
                <a:cubicBezTo>
                  <a:pt x="827" y="198"/>
                  <a:pt x="866" y="189"/>
                  <a:pt x="905" y="182"/>
                </a:cubicBezTo>
                <a:cubicBezTo>
                  <a:pt x="915" y="180"/>
                  <a:pt x="917" y="171"/>
                  <a:pt x="912" y="16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s-AR" sz="1350"/>
          </a:p>
        </p:txBody>
      </p:sp>
      <p:sp>
        <p:nvSpPr>
          <p:cNvPr id="36" name="Freeform 17"/>
          <p:cNvSpPr>
            <a:spLocks noChangeAspect="1"/>
          </p:cNvSpPr>
          <p:nvPr/>
        </p:nvSpPr>
        <p:spPr bwMode="auto">
          <a:xfrm>
            <a:off x="4758928" y="4008835"/>
            <a:ext cx="1460897" cy="341709"/>
          </a:xfrm>
          <a:custGeom>
            <a:avLst/>
            <a:gdLst>
              <a:gd name="T0" fmla="*/ 912 w 917"/>
              <a:gd name="T1" fmla="*/ 163 h 215"/>
              <a:gd name="T2" fmla="*/ 860 w 917"/>
              <a:gd name="T3" fmla="*/ 32 h 215"/>
              <a:gd name="T4" fmla="*/ 827 w 917"/>
              <a:gd name="T5" fmla="*/ 3 h 215"/>
              <a:gd name="T6" fmla="*/ 805 w 917"/>
              <a:gd name="T7" fmla="*/ 15 h 215"/>
              <a:gd name="T8" fmla="*/ 836 w 917"/>
              <a:gd name="T9" fmla="*/ 109 h 215"/>
              <a:gd name="T10" fmla="*/ 828 w 917"/>
              <a:gd name="T11" fmla="*/ 104 h 215"/>
              <a:gd name="T12" fmla="*/ 678 w 917"/>
              <a:gd name="T13" fmla="*/ 54 h 215"/>
              <a:gd name="T14" fmla="*/ 448 w 917"/>
              <a:gd name="T15" fmla="*/ 14 h 215"/>
              <a:gd name="T16" fmla="*/ 207 w 917"/>
              <a:gd name="T17" fmla="*/ 13 h 215"/>
              <a:gd name="T18" fmla="*/ 22 w 917"/>
              <a:gd name="T19" fmla="*/ 80 h 215"/>
              <a:gd name="T20" fmla="*/ 19 w 917"/>
              <a:gd name="T21" fmla="*/ 82 h 215"/>
              <a:gd name="T22" fmla="*/ 66 w 917"/>
              <a:gd name="T23" fmla="*/ 123 h 215"/>
              <a:gd name="T24" fmla="*/ 240 w 917"/>
              <a:gd name="T25" fmla="*/ 58 h 215"/>
              <a:gd name="T26" fmla="*/ 468 w 917"/>
              <a:gd name="T27" fmla="*/ 57 h 215"/>
              <a:gd name="T28" fmla="*/ 685 w 917"/>
              <a:gd name="T29" fmla="*/ 94 h 215"/>
              <a:gd name="T30" fmla="*/ 770 w 917"/>
              <a:gd name="T31" fmla="*/ 118 h 215"/>
              <a:gd name="T32" fmla="*/ 825 w 917"/>
              <a:gd name="T33" fmla="*/ 139 h 215"/>
              <a:gd name="T34" fmla="*/ 838 w 917"/>
              <a:gd name="T35" fmla="*/ 143 h 215"/>
              <a:gd name="T36" fmla="*/ 743 w 917"/>
              <a:gd name="T37" fmla="*/ 169 h 215"/>
              <a:gd name="T38" fmla="*/ 751 w 917"/>
              <a:gd name="T39" fmla="*/ 198 h 215"/>
              <a:gd name="T40" fmla="*/ 790 w 917"/>
              <a:gd name="T41" fmla="*/ 210 h 215"/>
              <a:gd name="T42" fmla="*/ 905 w 917"/>
              <a:gd name="T43" fmla="*/ 182 h 215"/>
              <a:gd name="T44" fmla="*/ 912 w 917"/>
              <a:gd name="T45" fmla="*/ 163 h 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17" h="215">
                <a:moveTo>
                  <a:pt x="912" y="163"/>
                </a:moveTo>
                <a:cubicBezTo>
                  <a:pt x="887" y="123"/>
                  <a:pt x="870" y="78"/>
                  <a:pt x="860" y="32"/>
                </a:cubicBezTo>
                <a:cubicBezTo>
                  <a:pt x="857" y="18"/>
                  <a:pt x="840" y="7"/>
                  <a:pt x="827" y="3"/>
                </a:cubicBezTo>
                <a:cubicBezTo>
                  <a:pt x="817" y="0"/>
                  <a:pt x="802" y="1"/>
                  <a:pt x="805" y="15"/>
                </a:cubicBezTo>
                <a:cubicBezTo>
                  <a:pt x="812" y="47"/>
                  <a:pt x="823" y="79"/>
                  <a:pt x="836" y="109"/>
                </a:cubicBezTo>
                <a:cubicBezTo>
                  <a:pt x="833" y="107"/>
                  <a:pt x="831" y="105"/>
                  <a:pt x="828" y="104"/>
                </a:cubicBezTo>
                <a:cubicBezTo>
                  <a:pt x="781" y="80"/>
                  <a:pt x="729" y="66"/>
                  <a:pt x="678" y="54"/>
                </a:cubicBezTo>
                <a:cubicBezTo>
                  <a:pt x="602" y="35"/>
                  <a:pt x="526" y="22"/>
                  <a:pt x="448" y="14"/>
                </a:cubicBezTo>
                <a:cubicBezTo>
                  <a:pt x="369" y="5"/>
                  <a:pt x="287" y="3"/>
                  <a:pt x="207" y="13"/>
                </a:cubicBezTo>
                <a:cubicBezTo>
                  <a:pt x="143" y="21"/>
                  <a:pt x="74" y="38"/>
                  <a:pt x="22" y="80"/>
                </a:cubicBezTo>
                <a:cubicBezTo>
                  <a:pt x="21" y="80"/>
                  <a:pt x="20" y="81"/>
                  <a:pt x="19" y="82"/>
                </a:cubicBezTo>
                <a:cubicBezTo>
                  <a:pt x="0" y="98"/>
                  <a:pt x="50" y="137"/>
                  <a:pt x="66" y="123"/>
                </a:cubicBezTo>
                <a:cubicBezTo>
                  <a:pt x="114" y="82"/>
                  <a:pt x="178" y="66"/>
                  <a:pt x="240" y="58"/>
                </a:cubicBezTo>
                <a:cubicBezTo>
                  <a:pt x="315" y="47"/>
                  <a:pt x="392" y="50"/>
                  <a:pt x="468" y="57"/>
                </a:cubicBezTo>
                <a:cubicBezTo>
                  <a:pt x="541" y="64"/>
                  <a:pt x="614" y="77"/>
                  <a:pt x="685" y="94"/>
                </a:cubicBezTo>
                <a:cubicBezTo>
                  <a:pt x="714" y="101"/>
                  <a:pt x="742" y="109"/>
                  <a:pt x="770" y="118"/>
                </a:cubicBezTo>
                <a:cubicBezTo>
                  <a:pt x="795" y="126"/>
                  <a:pt x="806" y="129"/>
                  <a:pt x="825" y="139"/>
                </a:cubicBezTo>
                <a:cubicBezTo>
                  <a:pt x="828" y="140"/>
                  <a:pt x="833" y="142"/>
                  <a:pt x="838" y="143"/>
                </a:cubicBezTo>
                <a:cubicBezTo>
                  <a:pt x="806" y="150"/>
                  <a:pt x="774" y="159"/>
                  <a:pt x="743" y="169"/>
                </a:cubicBezTo>
                <a:cubicBezTo>
                  <a:pt x="730" y="173"/>
                  <a:pt x="746" y="194"/>
                  <a:pt x="751" y="198"/>
                </a:cubicBezTo>
                <a:cubicBezTo>
                  <a:pt x="761" y="207"/>
                  <a:pt x="776" y="215"/>
                  <a:pt x="790" y="210"/>
                </a:cubicBezTo>
                <a:cubicBezTo>
                  <a:pt x="827" y="198"/>
                  <a:pt x="866" y="189"/>
                  <a:pt x="905" y="182"/>
                </a:cubicBezTo>
                <a:cubicBezTo>
                  <a:pt x="915" y="180"/>
                  <a:pt x="917" y="171"/>
                  <a:pt x="912" y="163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37" name="Freeform 17"/>
          <p:cNvSpPr>
            <a:spLocks noChangeAspect="1"/>
          </p:cNvSpPr>
          <p:nvPr/>
        </p:nvSpPr>
        <p:spPr bwMode="auto">
          <a:xfrm flipH="1">
            <a:off x="4758928" y="4970860"/>
            <a:ext cx="1460897" cy="341709"/>
          </a:xfrm>
          <a:custGeom>
            <a:avLst/>
            <a:gdLst>
              <a:gd name="T0" fmla="*/ 912 w 917"/>
              <a:gd name="T1" fmla="*/ 163 h 215"/>
              <a:gd name="T2" fmla="*/ 860 w 917"/>
              <a:gd name="T3" fmla="*/ 32 h 215"/>
              <a:gd name="T4" fmla="*/ 827 w 917"/>
              <a:gd name="T5" fmla="*/ 3 h 215"/>
              <a:gd name="T6" fmla="*/ 805 w 917"/>
              <a:gd name="T7" fmla="*/ 15 h 215"/>
              <a:gd name="T8" fmla="*/ 836 w 917"/>
              <a:gd name="T9" fmla="*/ 109 h 215"/>
              <a:gd name="T10" fmla="*/ 828 w 917"/>
              <a:gd name="T11" fmla="*/ 104 h 215"/>
              <a:gd name="T12" fmla="*/ 678 w 917"/>
              <a:gd name="T13" fmla="*/ 54 h 215"/>
              <a:gd name="T14" fmla="*/ 448 w 917"/>
              <a:gd name="T15" fmla="*/ 14 h 215"/>
              <a:gd name="T16" fmla="*/ 207 w 917"/>
              <a:gd name="T17" fmla="*/ 13 h 215"/>
              <a:gd name="T18" fmla="*/ 22 w 917"/>
              <a:gd name="T19" fmla="*/ 80 h 215"/>
              <a:gd name="T20" fmla="*/ 19 w 917"/>
              <a:gd name="T21" fmla="*/ 82 h 215"/>
              <a:gd name="T22" fmla="*/ 66 w 917"/>
              <a:gd name="T23" fmla="*/ 123 h 215"/>
              <a:gd name="T24" fmla="*/ 240 w 917"/>
              <a:gd name="T25" fmla="*/ 58 h 215"/>
              <a:gd name="T26" fmla="*/ 468 w 917"/>
              <a:gd name="T27" fmla="*/ 57 h 215"/>
              <a:gd name="T28" fmla="*/ 685 w 917"/>
              <a:gd name="T29" fmla="*/ 94 h 215"/>
              <a:gd name="T30" fmla="*/ 770 w 917"/>
              <a:gd name="T31" fmla="*/ 118 h 215"/>
              <a:gd name="T32" fmla="*/ 825 w 917"/>
              <a:gd name="T33" fmla="*/ 139 h 215"/>
              <a:gd name="T34" fmla="*/ 838 w 917"/>
              <a:gd name="T35" fmla="*/ 143 h 215"/>
              <a:gd name="T36" fmla="*/ 743 w 917"/>
              <a:gd name="T37" fmla="*/ 169 h 215"/>
              <a:gd name="T38" fmla="*/ 751 w 917"/>
              <a:gd name="T39" fmla="*/ 198 h 215"/>
              <a:gd name="T40" fmla="*/ 790 w 917"/>
              <a:gd name="T41" fmla="*/ 210 h 215"/>
              <a:gd name="T42" fmla="*/ 905 w 917"/>
              <a:gd name="T43" fmla="*/ 182 h 215"/>
              <a:gd name="T44" fmla="*/ 912 w 917"/>
              <a:gd name="T45" fmla="*/ 163 h 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17" h="215">
                <a:moveTo>
                  <a:pt x="912" y="163"/>
                </a:moveTo>
                <a:cubicBezTo>
                  <a:pt x="887" y="123"/>
                  <a:pt x="870" y="78"/>
                  <a:pt x="860" y="32"/>
                </a:cubicBezTo>
                <a:cubicBezTo>
                  <a:pt x="857" y="18"/>
                  <a:pt x="840" y="7"/>
                  <a:pt x="827" y="3"/>
                </a:cubicBezTo>
                <a:cubicBezTo>
                  <a:pt x="817" y="0"/>
                  <a:pt x="802" y="1"/>
                  <a:pt x="805" y="15"/>
                </a:cubicBezTo>
                <a:cubicBezTo>
                  <a:pt x="812" y="47"/>
                  <a:pt x="823" y="79"/>
                  <a:pt x="836" y="109"/>
                </a:cubicBezTo>
                <a:cubicBezTo>
                  <a:pt x="833" y="107"/>
                  <a:pt x="831" y="105"/>
                  <a:pt x="828" y="104"/>
                </a:cubicBezTo>
                <a:cubicBezTo>
                  <a:pt x="781" y="80"/>
                  <a:pt x="729" y="66"/>
                  <a:pt x="678" y="54"/>
                </a:cubicBezTo>
                <a:cubicBezTo>
                  <a:pt x="602" y="35"/>
                  <a:pt x="526" y="22"/>
                  <a:pt x="448" y="14"/>
                </a:cubicBezTo>
                <a:cubicBezTo>
                  <a:pt x="369" y="5"/>
                  <a:pt x="287" y="3"/>
                  <a:pt x="207" y="13"/>
                </a:cubicBezTo>
                <a:cubicBezTo>
                  <a:pt x="143" y="21"/>
                  <a:pt x="74" y="38"/>
                  <a:pt x="22" y="80"/>
                </a:cubicBezTo>
                <a:cubicBezTo>
                  <a:pt x="21" y="80"/>
                  <a:pt x="20" y="81"/>
                  <a:pt x="19" y="82"/>
                </a:cubicBezTo>
                <a:cubicBezTo>
                  <a:pt x="0" y="98"/>
                  <a:pt x="50" y="137"/>
                  <a:pt x="66" y="123"/>
                </a:cubicBezTo>
                <a:cubicBezTo>
                  <a:pt x="114" y="82"/>
                  <a:pt x="178" y="66"/>
                  <a:pt x="240" y="58"/>
                </a:cubicBezTo>
                <a:cubicBezTo>
                  <a:pt x="315" y="47"/>
                  <a:pt x="392" y="50"/>
                  <a:pt x="468" y="57"/>
                </a:cubicBezTo>
                <a:cubicBezTo>
                  <a:pt x="541" y="64"/>
                  <a:pt x="614" y="77"/>
                  <a:pt x="685" y="94"/>
                </a:cubicBezTo>
                <a:cubicBezTo>
                  <a:pt x="714" y="101"/>
                  <a:pt x="742" y="109"/>
                  <a:pt x="770" y="118"/>
                </a:cubicBezTo>
                <a:cubicBezTo>
                  <a:pt x="795" y="126"/>
                  <a:pt x="806" y="129"/>
                  <a:pt x="825" y="139"/>
                </a:cubicBezTo>
                <a:cubicBezTo>
                  <a:pt x="828" y="140"/>
                  <a:pt x="833" y="142"/>
                  <a:pt x="838" y="143"/>
                </a:cubicBezTo>
                <a:cubicBezTo>
                  <a:pt x="806" y="150"/>
                  <a:pt x="774" y="159"/>
                  <a:pt x="743" y="169"/>
                </a:cubicBezTo>
                <a:cubicBezTo>
                  <a:pt x="730" y="173"/>
                  <a:pt x="746" y="194"/>
                  <a:pt x="751" y="198"/>
                </a:cubicBezTo>
                <a:cubicBezTo>
                  <a:pt x="761" y="207"/>
                  <a:pt x="776" y="215"/>
                  <a:pt x="790" y="210"/>
                </a:cubicBezTo>
                <a:cubicBezTo>
                  <a:pt x="827" y="198"/>
                  <a:pt x="866" y="189"/>
                  <a:pt x="905" y="182"/>
                </a:cubicBezTo>
                <a:cubicBezTo>
                  <a:pt x="915" y="180"/>
                  <a:pt x="917" y="171"/>
                  <a:pt x="912" y="163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38" name="Freeform 17"/>
          <p:cNvSpPr>
            <a:spLocks noChangeAspect="1"/>
          </p:cNvSpPr>
          <p:nvPr/>
        </p:nvSpPr>
        <p:spPr bwMode="auto">
          <a:xfrm flipH="1" flipV="1">
            <a:off x="4737497" y="5429250"/>
            <a:ext cx="1460897" cy="341710"/>
          </a:xfrm>
          <a:custGeom>
            <a:avLst/>
            <a:gdLst>
              <a:gd name="T0" fmla="*/ 912 w 917"/>
              <a:gd name="T1" fmla="*/ 163 h 215"/>
              <a:gd name="T2" fmla="*/ 860 w 917"/>
              <a:gd name="T3" fmla="*/ 32 h 215"/>
              <a:gd name="T4" fmla="*/ 827 w 917"/>
              <a:gd name="T5" fmla="*/ 3 h 215"/>
              <a:gd name="T6" fmla="*/ 805 w 917"/>
              <a:gd name="T7" fmla="*/ 15 h 215"/>
              <a:gd name="T8" fmla="*/ 836 w 917"/>
              <a:gd name="T9" fmla="*/ 109 h 215"/>
              <a:gd name="T10" fmla="*/ 828 w 917"/>
              <a:gd name="T11" fmla="*/ 104 h 215"/>
              <a:gd name="T12" fmla="*/ 678 w 917"/>
              <a:gd name="T13" fmla="*/ 54 h 215"/>
              <a:gd name="T14" fmla="*/ 448 w 917"/>
              <a:gd name="T15" fmla="*/ 14 h 215"/>
              <a:gd name="T16" fmla="*/ 207 w 917"/>
              <a:gd name="T17" fmla="*/ 13 h 215"/>
              <a:gd name="T18" fmla="*/ 22 w 917"/>
              <a:gd name="T19" fmla="*/ 80 h 215"/>
              <a:gd name="T20" fmla="*/ 19 w 917"/>
              <a:gd name="T21" fmla="*/ 82 h 215"/>
              <a:gd name="T22" fmla="*/ 66 w 917"/>
              <a:gd name="T23" fmla="*/ 123 h 215"/>
              <a:gd name="T24" fmla="*/ 240 w 917"/>
              <a:gd name="T25" fmla="*/ 58 h 215"/>
              <a:gd name="T26" fmla="*/ 468 w 917"/>
              <a:gd name="T27" fmla="*/ 57 h 215"/>
              <a:gd name="T28" fmla="*/ 685 w 917"/>
              <a:gd name="T29" fmla="*/ 94 h 215"/>
              <a:gd name="T30" fmla="*/ 770 w 917"/>
              <a:gd name="T31" fmla="*/ 118 h 215"/>
              <a:gd name="T32" fmla="*/ 825 w 917"/>
              <a:gd name="T33" fmla="*/ 139 h 215"/>
              <a:gd name="T34" fmla="*/ 838 w 917"/>
              <a:gd name="T35" fmla="*/ 143 h 215"/>
              <a:gd name="T36" fmla="*/ 743 w 917"/>
              <a:gd name="T37" fmla="*/ 169 h 215"/>
              <a:gd name="T38" fmla="*/ 751 w 917"/>
              <a:gd name="T39" fmla="*/ 198 h 215"/>
              <a:gd name="T40" fmla="*/ 790 w 917"/>
              <a:gd name="T41" fmla="*/ 210 h 215"/>
              <a:gd name="T42" fmla="*/ 905 w 917"/>
              <a:gd name="T43" fmla="*/ 182 h 215"/>
              <a:gd name="T44" fmla="*/ 912 w 917"/>
              <a:gd name="T45" fmla="*/ 163 h 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17" h="215">
                <a:moveTo>
                  <a:pt x="912" y="163"/>
                </a:moveTo>
                <a:cubicBezTo>
                  <a:pt x="887" y="123"/>
                  <a:pt x="870" y="78"/>
                  <a:pt x="860" y="32"/>
                </a:cubicBezTo>
                <a:cubicBezTo>
                  <a:pt x="857" y="18"/>
                  <a:pt x="840" y="7"/>
                  <a:pt x="827" y="3"/>
                </a:cubicBezTo>
                <a:cubicBezTo>
                  <a:pt x="817" y="0"/>
                  <a:pt x="802" y="1"/>
                  <a:pt x="805" y="15"/>
                </a:cubicBezTo>
                <a:cubicBezTo>
                  <a:pt x="812" y="47"/>
                  <a:pt x="823" y="79"/>
                  <a:pt x="836" y="109"/>
                </a:cubicBezTo>
                <a:cubicBezTo>
                  <a:pt x="833" y="107"/>
                  <a:pt x="831" y="105"/>
                  <a:pt x="828" y="104"/>
                </a:cubicBezTo>
                <a:cubicBezTo>
                  <a:pt x="781" y="80"/>
                  <a:pt x="729" y="66"/>
                  <a:pt x="678" y="54"/>
                </a:cubicBezTo>
                <a:cubicBezTo>
                  <a:pt x="602" y="35"/>
                  <a:pt x="526" y="22"/>
                  <a:pt x="448" y="14"/>
                </a:cubicBezTo>
                <a:cubicBezTo>
                  <a:pt x="369" y="5"/>
                  <a:pt x="287" y="3"/>
                  <a:pt x="207" y="13"/>
                </a:cubicBezTo>
                <a:cubicBezTo>
                  <a:pt x="143" y="21"/>
                  <a:pt x="74" y="38"/>
                  <a:pt x="22" y="80"/>
                </a:cubicBezTo>
                <a:cubicBezTo>
                  <a:pt x="21" y="80"/>
                  <a:pt x="20" y="81"/>
                  <a:pt x="19" y="82"/>
                </a:cubicBezTo>
                <a:cubicBezTo>
                  <a:pt x="0" y="98"/>
                  <a:pt x="50" y="137"/>
                  <a:pt x="66" y="123"/>
                </a:cubicBezTo>
                <a:cubicBezTo>
                  <a:pt x="114" y="82"/>
                  <a:pt x="178" y="66"/>
                  <a:pt x="240" y="58"/>
                </a:cubicBezTo>
                <a:cubicBezTo>
                  <a:pt x="315" y="47"/>
                  <a:pt x="392" y="50"/>
                  <a:pt x="468" y="57"/>
                </a:cubicBezTo>
                <a:cubicBezTo>
                  <a:pt x="541" y="64"/>
                  <a:pt x="614" y="77"/>
                  <a:pt x="685" y="94"/>
                </a:cubicBezTo>
                <a:cubicBezTo>
                  <a:pt x="714" y="101"/>
                  <a:pt x="742" y="109"/>
                  <a:pt x="770" y="118"/>
                </a:cubicBezTo>
                <a:cubicBezTo>
                  <a:pt x="795" y="126"/>
                  <a:pt x="806" y="129"/>
                  <a:pt x="825" y="139"/>
                </a:cubicBezTo>
                <a:cubicBezTo>
                  <a:pt x="828" y="140"/>
                  <a:pt x="833" y="142"/>
                  <a:pt x="838" y="143"/>
                </a:cubicBezTo>
                <a:cubicBezTo>
                  <a:pt x="806" y="150"/>
                  <a:pt x="774" y="159"/>
                  <a:pt x="743" y="169"/>
                </a:cubicBezTo>
                <a:cubicBezTo>
                  <a:pt x="730" y="173"/>
                  <a:pt x="746" y="194"/>
                  <a:pt x="751" y="198"/>
                </a:cubicBezTo>
                <a:cubicBezTo>
                  <a:pt x="761" y="207"/>
                  <a:pt x="776" y="215"/>
                  <a:pt x="790" y="210"/>
                </a:cubicBezTo>
                <a:cubicBezTo>
                  <a:pt x="827" y="198"/>
                  <a:pt x="866" y="189"/>
                  <a:pt x="905" y="182"/>
                </a:cubicBezTo>
                <a:cubicBezTo>
                  <a:pt x="915" y="180"/>
                  <a:pt x="917" y="171"/>
                  <a:pt x="912" y="163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39" name="Freeform 17"/>
          <p:cNvSpPr>
            <a:spLocks noChangeAspect="1"/>
          </p:cNvSpPr>
          <p:nvPr/>
        </p:nvSpPr>
        <p:spPr bwMode="auto">
          <a:xfrm flipV="1">
            <a:off x="4756547" y="4436269"/>
            <a:ext cx="1460897" cy="341710"/>
          </a:xfrm>
          <a:custGeom>
            <a:avLst/>
            <a:gdLst>
              <a:gd name="T0" fmla="*/ 912 w 917"/>
              <a:gd name="T1" fmla="*/ 163 h 215"/>
              <a:gd name="T2" fmla="*/ 860 w 917"/>
              <a:gd name="T3" fmla="*/ 32 h 215"/>
              <a:gd name="T4" fmla="*/ 827 w 917"/>
              <a:gd name="T5" fmla="*/ 3 h 215"/>
              <a:gd name="T6" fmla="*/ 805 w 917"/>
              <a:gd name="T7" fmla="*/ 15 h 215"/>
              <a:gd name="T8" fmla="*/ 836 w 917"/>
              <a:gd name="T9" fmla="*/ 109 h 215"/>
              <a:gd name="T10" fmla="*/ 828 w 917"/>
              <a:gd name="T11" fmla="*/ 104 h 215"/>
              <a:gd name="T12" fmla="*/ 678 w 917"/>
              <a:gd name="T13" fmla="*/ 54 h 215"/>
              <a:gd name="T14" fmla="*/ 448 w 917"/>
              <a:gd name="T15" fmla="*/ 14 h 215"/>
              <a:gd name="T16" fmla="*/ 207 w 917"/>
              <a:gd name="T17" fmla="*/ 13 h 215"/>
              <a:gd name="T18" fmla="*/ 22 w 917"/>
              <a:gd name="T19" fmla="*/ 80 h 215"/>
              <a:gd name="T20" fmla="*/ 19 w 917"/>
              <a:gd name="T21" fmla="*/ 82 h 215"/>
              <a:gd name="T22" fmla="*/ 66 w 917"/>
              <a:gd name="T23" fmla="*/ 123 h 215"/>
              <a:gd name="T24" fmla="*/ 240 w 917"/>
              <a:gd name="T25" fmla="*/ 58 h 215"/>
              <a:gd name="T26" fmla="*/ 468 w 917"/>
              <a:gd name="T27" fmla="*/ 57 h 215"/>
              <a:gd name="T28" fmla="*/ 685 w 917"/>
              <a:gd name="T29" fmla="*/ 94 h 215"/>
              <a:gd name="T30" fmla="*/ 770 w 917"/>
              <a:gd name="T31" fmla="*/ 118 h 215"/>
              <a:gd name="T32" fmla="*/ 825 w 917"/>
              <a:gd name="T33" fmla="*/ 139 h 215"/>
              <a:gd name="T34" fmla="*/ 838 w 917"/>
              <a:gd name="T35" fmla="*/ 143 h 215"/>
              <a:gd name="T36" fmla="*/ 743 w 917"/>
              <a:gd name="T37" fmla="*/ 169 h 215"/>
              <a:gd name="T38" fmla="*/ 751 w 917"/>
              <a:gd name="T39" fmla="*/ 198 h 215"/>
              <a:gd name="T40" fmla="*/ 790 w 917"/>
              <a:gd name="T41" fmla="*/ 210 h 215"/>
              <a:gd name="T42" fmla="*/ 905 w 917"/>
              <a:gd name="T43" fmla="*/ 182 h 215"/>
              <a:gd name="T44" fmla="*/ 912 w 917"/>
              <a:gd name="T45" fmla="*/ 163 h 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17" h="215">
                <a:moveTo>
                  <a:pt x="912" y="163"/>
                </a:moveTo>
                <a:cubicBezTo>
                  <a:pt x="887" y="123"/>
                  <a:pt x="870" y="78"/>
                  <a:pt x="860" y="32"/>
                </a:cubicBezTo>
                <a:cubicBezTo>
                  <a:pt x="857" y="18"/>
                  <a:pt x="840" y="7"/>
                  <a:pt x="827" y="3"/>
                </a:cubicBezTo>
                <a:cubicBezTo>
                  <a:pt x="817" y="0"/>
                  <a:pt x="802" y="1"/>
                  <a:pt x="805" y="15"/>
                </a:cubicBezTo>
                <a:cubicBezTo>
                  <a:pt x="812" y="47"/>
                  <a:pt x="823" y="79"/>
                  <a:pt x="836" y="109"/>
                </a:cubicBezTo>
                <a:cubicBezTo>
                  <a:pt x="833" y="107"/>
                  <a:pt x="831" y="105"/>
                  <a:pt x="828" y="104"/>
                </a:cubicBezTo>
                <a:cubicBezTo>
                  <a:pt x="781" y="80"/>
                  <a:pt x="729" y="66"/>
                  <a:pt x="678" y="54"/>
                </a:cubicBezTo>
                <a:cubicBezTo>
                  <a:pt x="602" y="35"/>
                  <a:pt x="526" y="22"/>
                  <a:pt x="448" y="14"/>
                </a:cubicBezTo>
                <a:cubicBezTo>
                  <a:pt x="369" y="5"/>
                  <a:pt x="287" y="3"/>
                  <a:pt x="207" y="13"/>
                </a:cubicBezTo>
                <a:cubicBezTo>
                  <a:pt x="143" y="21"/>
                  <a:pt x="74" y="38"/>
                  <a:pt x="22" y="80"/>
                </a:cubicBezTo>
                <a:cubicBezTo>
                  <a:pt x="21" y="80"/>
                  <a:pt x="20" y="81"/>
                  <a:pt x="19" y="82"/>
                </a:cubicBezTo>
                <a:cubicBezTo>
                  <a:pt x="0" y="98"/>
                  <a:pt x="50" y="137"/>
                  <a:pt x="66" y="123"/>
                </a:cubicBezTo>
                <a:cubicBezTo>
                  <a:pt x="114" y="82"/>
                  <a:pt x="178" y="66"/>
                  <a:pt x="240" y="58"/>
                </a:cubicBezTo>
                <a:cubicBezTo>
                  <a:pt x="315" y="47"/>
                  <a:pt x="392" y="50"/>
                  <a:pt x="468" y="57"/>
                </a:cubicBezTo>
                <a:cubicBezTo>
                  <a:pt x="541" y="64"/>
                  <a:pt x="614" y="77"/>
                  <a:pt x="685" y="94"/>
                </a:cubicBezTo>
                <a:cubicBezTo>
                  <a:pt x="714" y="101"/>
                  <a:pt x="742" y="109"/>
                  <a:pt x="770" y="118"/>
                </a:cubicBezTo>
                <a:cubicBezTo>
                  <a:pt x="795" y="126"/>
                  <a:pt x="806" y="129"/>
                  <a:pt x="825" y="139"/>
                </a:cubicBezTo>
                <a:cubicBezTo>
                  <a:pt x="828" y="140"/>
                  <a:pt x="833" y="142"/>
                  <a:pt x="838" y="143"/>
                </a:cubicBezTo>
                <a:cubicBezTo>
                  <a:pt x="806" y="150"/>
                  <a:pt x="774" y="159"/>
                  <a:pt x="743" y="169"/>
                </a:cubicBezTo>
                <a:cubicBezTo>
                  <a:pt x="730" y="173"/>
                  <a:pt x="746" y="194"/>
                  <a:pt x="751" y="198"/>
                </a:cubicBezTo>
                <a:cubicBezTo>
                  <a:pt x="761" y="207"/>
                  <a:pt x="776" y="215"/>
                  <a:pt x="790" y="210"/>
                </a:cubicBezTo>
                <a:cubicBezTo>
                  <a:pt x="827" y="198"/>
                  <a:pt x="866" y="189"/>
                  <a:pt x="905" y="182"/>
                </a:cubicBezTo>
                <a:cubicBezTo>
                  <a:pt x="915" y="180"/>
                  <a:pt x="917" y="171"/>
                  <a:pt x="912" y="163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4" name="Freeform 6"/>
          <p:cNvSpPr>
            <a:spLocks noEditPoints="1"/>
          </p:cNvSpPr>
          <p:nvPr/>
        </p:nvSpPr>
        <p:spPr bwMode="auto">
          <a:xfrm>
            <a:off x="1234679" y="1225154"/>
            <a:ext cx="959644" cy="854869"/>
          </a:xfrm>
          <a:custGeom>
            <a:avLst/>
            <a:gdLst>
              <a:gd name="T0" fmla="*/ 38 w 760"/>
              <a:gd name="T1" fmla="*/ 89 h 677"/>
              <a:gd name="T2" fmla="*/ 158 w 760"/>
              <a:gd name="T3" fmla="*/ 77 h 677"/>
              <a:gd name="T4" fmla="*/ 163 w 760"/>
              <a:gd name="T5" fmla="*/ 95 h 677"/>
              <a:gd name="T6" fmla="*/ 165 w 760"/>
              <a:gd name="T7" fmla="*/ 105 h 677"/>
              <a:gd name="T8" fmla="*/ 163 w 760"/>
              <a:gd name="T9" fmla="*/ 154 h 677"/>
              <a:gd name="T10" fmla="*/ 373 w 760"/>
              <a:gd name="T11" fmla="*/ 627 h 677"/>
              <a:gd name="T12" fmla="*/ 220 w 760"/>
              <a:gd name="T13" fmla="*/ 622 h 677"/>
              <a:gd name="T14" fmla="*/ 124 w 760"/>
              <a:gd name="T15" fmla="*/ 320 h 677"/>
              <a:gd name="T16" fmla="*/ 124 w 760"/>
              <a:gd name="T17" fmla="*/ 132 h 677"/>
              <a:gd name="T18" fmla="*/ 752 w 760"/>
              <a:gd name="T19" fmla="*/ 643 h 677"/>
              <a:gd name="T20" fmla="*/ 753 w 760"/>
              <a:gd name="T21" fmla="*/ 645 h 677"/>
              <a:gd name="T22" fmla="*/ 750 w 760"/>
              <a:gd name="T23" fmla="*/ 644 h 677"/>
              <a:gd name="T24" fmla="*/ 737 w 760"/>
              <a:gd name="T25" fmla="*/ 636 h 677"/>
              <a:gd name="T26" fmla="*/ 700 w 760"/>
              <a:gd name="T27" fmla="*/ 632 h 677"/>
              <a:gd name="T28" fmla="*/ 632 w 760"/>
              <a:gd name="T29" fmla="*/ 637 h 677"/>
              <a:gd name="T30" fmla="*/ 586 w 760"/>
              <a:gd name="T31" fmla="*/ 635 h 677"/>
              <a:gd name="T32" fmla="*/ 575 w 760"/>
              <a:gd name="T33" fmla="*/ 634 h 677"/>
              <a:gd name="T34" fmla="*/ 467 w 760"/>
              <a:gd name="T35" fmla="*/ 628 h 677"/>
              <a:gd name="T36" fmla="*/ 430 w 760"/>
              <a:gd name="T37" fmla="*/ 632 h 677"/>
              <a:gd name="T38" fmla="*/ 369 w 760"/>
              <a:gd name="T39" fmla="*/ 633 h 677"/>
              <a:gd name="T40" fmla="*/ 327 w 760"/>
              <a:gd name="T41" fmla="*/ 632 h 677"/>
              <a:gd name="T42" fmla="*/ 276 w 760"/>
              <a:gd name="T43" fmla="*/ 628 h 677"/>
              <a:gd name="T44" fmla="*/ 253 w 760"/>
              <a:gd name="T45" fmla="*/ 625 h 677"/>
              <a:gd name="T46" fmla="*/ 217 w 760"/>
              <a:gd name="T47" fmla="*/ 621 h 677"/>
              <a:gd name="T48" fmla="*/ 173 w 760"/>
              <a:gd name="T49" fmla="*/ 607 h 677"/>
              <a:gd name="T50" fmla="*/ 131 w 760"/>
              <a:gd name="T51" fmla="*/ 479 h 677"/>
              <a:gd name="T52" fmla="*/ 128 w 760"/>
              <a:gd name="T53" fmla="*/ 414 h 677"/>
              <a:gd name="T54" fmla="*/ 125 w 760"/>
              <a:gd name="T55" fmla="*/ 224 h 677"/>
              <a:gd name="T56" fmla="*/ 123 w 760"/>
              <a:gd name="T57" fmla="*/ 102 h 677"/>
              <a:gd name="T58" fmla="*/ 153 w 760"/>
              <a:gd name="T59" fmla="*/ 149 h 677"/>
              <a:gd name="T60" fmla="*/ 165 w 760"/>
              <a:gd name="T61" fmla="*/ 153 h 677"/>
              <a:gd name="T62" fmla="*/ 175 w 760"/>
              <a:gd name="T63" fmla="*/ 142 h 677"/>
              <a:gd name="T64" fmla="*/ 176 w 760"/>
              <a:gd name="T65" fmla="*/ 125 h 677"/>
              <a:gd name="T66" fmla="*/ 172 w 760"/>
              <a:gd name="T67" fmla="*/ 110 h 677"/>
              <a:gd name="T68" fmla="*/ 160 w 760"/>
              <a:gd name="T69" fmla="*/ 105 h 677"/>
              <a:gd name="T70" fmla="*/ 163 w 760"/>
              <a:gd name="T71" fmla="*/ 95 h 677"/>
              <a:gd name="T72" fmla="*/ 161 w 760"/>
              <a:gd name="T73" fmla="*/ 89 h 677"/>
              <a:gd name="T74" fmla="*/ 155 w 760"/>
              <a:gd name="T75" fmla="*/ 68 h 677"/>
              <a:gd name="T76" fmla="*/ 151 w 760"/>
              <a:gd name="T77" fmla="*/ 63 h 677"/>
              <a:gd name="T78" fmla="*/ 138 w 760"/>
              <a:gd name="T79" fmla="*/ 45 h 677"/>
              <a:gd name="T80" fmla="*/ 131 w 760"/>
              <a:gd name="T81" fmla="*/ 32 h 677"/>
              <a:gd name="T82" fmla="*/ 124 w 760"/>
              <a:gd name="T83" fmla="*/ 16 h 677"/>
              <a:gd name="T84" fmla="*/ 121 w 760"/>
              <a:gd name="T85" fmla="*/ 4 h 677"/>
              <a:gd name="T86" fmla="*/ 113 w 760"/>
              <a:gd name="T87" fmla="*/ 19 h 677"/>
              <a:gd name="T88" fmla="*/ 107 w 760"/>
              <a:gd name="T89" fmla="*/ 25 h 677"/>
              <a:gd name="T90" fmla="*/ 77 w 760"/>
              <a:gd name="T91" fmla="*/ 49 h 677"/>
              <a:gd name="T92" fmla="*/ 55 w 760"/>
              <a:gd name="T93" fmla="*/ 72 h 677"/>
              <a:gd name="T94" fmla="*/ 39 w 760"/>
              <a:gd name="T95" fmla="*/ 89 h 677"/>
              <a:gd name="T96" fmla="*/ 14 w 760"/>
              <a:gd name="T97" fmla="*/ 106 h 677"/>
              <a:gd name="T98" fmla="*/ 20 w 760"/>
              <a:gd name="T99" fmla="*/ 148 h 677"/>
              <a:gd name="T100" fmla="*/ 87 w 760"/>
              <a:gd name="T101" fmla="*/ 101 h 677"/>
              <a:gd name="T102" fmla="*/ 96 w 760"/>
              <a:gd name="T103" fmla="*/ 523 h 677"/>
              <a:gd name="T104" fmla="*/ 214 w 760"/>
              <a:gd name="T105" fmla="*/ 661 h 677"/>
              <a:gd name="T106" fmla="*/ 587 w 760"/>
              <a:gd name="T107" fmla="*/ 673 h 677"/>
              <a:gd name="T108" fmla="*/ 747 w 760"/>
              <a:gd name="T109" fmla="*/ 665 h 677"/>
              <a:gd name="T110" fmla="*/ 756 w 760"/>
              <a:gd name="T111" fmla="*/ 658 h 677"/>
              <a:gd name="T112" fmla="*/ 632 w 760"/>
              <a:gd name="T113" fmla="*/ 637 h 677"/>
              <a:gd name="T114" fmla="*/ 753 w 760"/>
              <a:gd name="T115" fmla="*/ 645 h 6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60" h="677">
                <a:moveTo>
                  <a:pt x="144" y="39"/>
                </a:moveTo>
                <a:cubicBezTo>
                  <a:pt x="144" y="39"/>
                  <a:pt x="144" y="40"/>
                  <a:pt x="143" y="40"/>
                </a:cubicBezTo>
                <a:cubicBezTo>
                  <a:pt x="143" y="40"/>
                  <a:pt x="143" y="40"/>
                  <a:pt x="143" y="40"/>
                </a:cubicBezTo>
                <a:lnTo>
                  <a:pt x="144" y="39"/>
                </a:lnTo>
                <a:close/>
                <a:moveTo>
                  <a:pt x="153" y="65"/>
                </a:move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4"/>
                  <a:pt x="153" y="65"/>
                </a:cubicBezTo>
                <a:close/>
                <a:moveTo>
                  <a:pt x="38" y="89"/>
                </a:moveTo>
                <a:cubicBezTo>
                  <a:pt x="38" y="89"/>
                  <a:pt x="38" y="89"/>
                  <a:pt x="38" y="89"/>
                </a:cubicBezTo>
                <a:cubicBezTo>
                  <a:pt x="38" y="89"/>
                  <a:pt x="38" y="89"/>
                  <a:pt x="38" y="89"/>
                </a:cubicBezTo>
                <a:close/>
                <a:moveTo>
                  <a:pt x="38" y="89"/>
                </a:moveTo>
                <a:cubicBezTo>
                  <a:pt x="39" y="90"/>
                  <a:pt x="39" y="90"/>
                  <a:pt x="39" y="89"/>
                </a:cubicBezTo>
                <a:cubicBezTo>
                  <a:pt x="38" y="88"/>
                  <a:pt x="38" y="89"/>
                  <a:pt x="38" y="88"/>
                </a:cubicBezTo>
                <a:cubicBezTo>
                  <a:pt x="38" y="89"/>
                  <a:pt x="38" y="89"/>
                  <a:pt x="38" y="89"/>
                </a:cubicBezTo>
                <a:close/>
                <a:moveTo>
                  <a:pt x="159" y="76"/>
                </a:moveTo>
                <a:cubicBezTo>
                  <a:pt x="158" y="77"/>
                  <a:pt x="158" y="77"/>
                  <a:pt x="158" y="77"/>
                </a:cubicBezTo>
                <a:cubicBezTo>
                  <a:pt x="158" y="77"/>
                  <a:pt x="158" y="77"/>
                  <a:pt x="158" y="77"/>
                </a:cubicBezTo>
                <a:lnTo>
                  <a:pt x="159" y="76"/>
                </a:lnTo>
                <a:close/>
                <a:moveTo>
                  <a:pt x="175" y="142"/>
                </a:moveTo>
                <a:cubicBezTo>
                  <a:pt x="174" y="143"/>
                  <a:pt x="174" y="143"/>
                  <a:pt x="174" y="143"/>
                </a:cubicBezTo>
                <a:cubicBezTo>
                  <a:pt x="174" y="143"/>
                  <a:pt x="175" y="143"/>
                  <a:pt x="175" y="143"/>
                </a:cubicBezTo>
                <a:lnTo>
                  <a:pt x="175" y="142"/>
                </a:lnTo>
                <a:close/>
                <a:moveTo>
                  <a:pt x="163" y="95"/>
                </a:moveTo>
                <a:cubicBezTo>
                  <a:pt x="163" y="95"/>
                  <a:pt x="163" y="95"/>
                  <a:pt x="163" y="95"/>
                </a:cubicBezTo>
                <a:cubicBezTo>
                  <a:pt x="163" y="94"/>
                  <a:pt x="163" y="93"/>
                  <a:pt x="162" y="93"/>
                </a:cubicBezTo>
                <a:cubicBezTo>
                  <a:pt x="161" y="93"/>
                  <a:pt x="161" y="93"/>
                  <a:pt x="161" y="93"/>
                </a:cubicBezTo>
                <a:lnTo>
                  <a:pt x="163" y="95"/>
                </a:lnTo>
                <a:close/>
                <a:moveTo>
                  <a:pt x="157" y="150"/>
                </a:moveTo>
                <a:cubicBezTo>
                  <a:pt x="157" y="150"/>
                  <a:pt x="157" y="150"/>
                  <a:pt x="157" y="150"/>
                </a:cubicBezTo>
                <a:cubicBezTo>
                  <a:pt x="156" y="151"/>
                  <a:pt x="156" y="150"/>
                  <a:pt x="157" y="150"/>
                </a:cubicBezTo>
                <a:close/>
                <a:moveTo>
                  <a:pt x="165" y="105"/>
                </a:moveTo>
                <a:cubicBezTo>
                  <a:pt x="165" y="105"/>
                  <a:pt x="165" y="105"/>
                  <a:pt x="165" y="105"/>
                </a:cubicBezTo>
                <a:cubicBezTo>
                  <a:pt x="166" y="104"/>
                  <a:pt x="166" y="104"/>
                  <a:pt x="166" y="104"/>
                </a:cubicBezTo>
                <a:lnTo>
                  <a:pt x="165" y="105"/>
                </a:lnTo>
                <a:close/>
                <a:moveTo>
                  <a:pt x="177" y="123"/>
                </a:moveTo>
                <a:cubicBezTo>
                  <a:pt x="177" y="122"/>
                  <a:pt x="177" y="122"/>
                  <a:pt x="176" y="123"/>
                </a:cubicBezTo>
                <a:cubicBezTo>
                  <a:pt x="177" y="123"/>
                  <a:pt x="177" y="123"/>
                  <a:pt x="177" y="123"/>
                </a:cubicBezTo>
                <a:close/>
                <a:moveTo>
                  <a:pt x="163" y="155"/>
                </a:moveTo>
                <a:cubicBezTo>
                  <a:pt x="163" y="155"/>
                  <a:pt x="164" y="155"/>
                  <a:pt x="164" y="154"/>
                </a:cubicBezTo>
                <a:cubicBezTo>
                  <a:pt x="163" y="154"/>
                  <a:pt x="163" y="154"/>
                  <a:pt x="163" y="154"/>
                </a:cubicBezTo>
                <a:cubicBezTo>
                  <a:pt x="163" y="154"/>
                  <a:pt x="163" y="155"/>
                  <a:pt x="163" y="155"/>
                </a:cubicBezTo>
                <a:close/>
                <a:moveTo>
                  <a:pt x="175" y="145"/>
                </a:moveTo>
                <a:cubicBezTo>
                  <a:pt x="175" y="144"/>
                  <a:pt x="175" y="144"/>
                  <a:pt x="175" y="144"/>
                </a:cubicBezTo>
                <a:cubicBezTo>
                  <a:pt x="175" y="144"/>
                  <a:pt x="175" y="145"/>
                  <a:pt x="175" y="145"/>
                </a:cubicBezTo>
                <a:close/>
                <a:moveTo>
                  <a:pt x="130" y="440"/>
                </a:moveTo>
                <a:cubicBezTo>
                  <a:pt x="130" y="439"/>
                  <a:pt x="129" y="439"/>
                  <a:pt x="130" y="440"/>
                </a:cubicBezTo>
                <a:close/>
                <a:moveTo>
                  <a:pt x="373" y="627"/>
                </a:moveTo>
                <a:cubicBezTo>
                  <a:pt x="373" y="627"/>
                  <a:pt x="373" y="627"/>
                  <a:pt x="373" y="627"/>
                </a:cubicBezTo>
                <a:cubicBezTo>
                  <a:pt x="374" y="626"/>
                  <a:pt x="374" y="626"/>
                  <a:pt x="374" y="625"/>
                </a:cubicBezTo>
                <a:lnTo>
                  <a:pt x="373" y="627"/>
                </a:lnTo>
                <a:close/>
                <a:moveTo>
                  <a:pt x="439" y="631"/>
                </a:moveTo>
                <a:cubicBezTo>
                  <a:pt x="440" y="631"/>
                  <a:pt x="440" y="631"/>
                  <a:pt x="440" y="631"/>
                </a:cubicBezTo>
                <a:cubicBezTo>
                  <a:pt x="440" y="631"/>
                  <a:pt x="440" y="630"/>
                  <a:pt x="439" y="631"/>
                </a:cubicBezTo>
                <a:close/>
                <a:moveTo>
                  <a:pt x="220" y="622"/>
                </a:moveTo>
                <a:cubicBezTo>
                  <a:pt x="221" y="621"/>
                  <a:pt x="221" y="621"/>
                  <a:pt x="222" y="621"/>
                </a:cubicBezTo>
                <a:cubicBezTo>
                  <a:pt x="221" y="621"/>
                  <a:pt x="221" y="621"/>
                  <a:pt x="220" y="622"/>
                </a:cubicBezTo>
                <a:close/>
                <a:moveTo>
                  <a:pt x="123" y="318"/>
                </a:moveTo>
                <a:cubicBezTo>
                  <a:pt x="123" y="319"/>
                  <a:pt x="123" y="319"/>
                  <a:pt x="123" y="319"/>
                </a:cubicBezTo>
                <a:cubicBezTo>
                  <a:pt x="124" y="318"/>
                  <a:pt x="124" y="318"/>
                  <a:pt x="124" y="318"/>
                </a:cubicBezTo>
                <a:lnTo>
                  <a:pt x="123" y="318"/>
                </a:lnTo>
                <a:close/>
                <a:moveTo>
                  <a:pt x="124" y="320"/>
                </a:moveTo>
                <a:cubicBezTo>
                  <a:pt x="124" y="320"/>
                  <a:pt x="124" y="319"/>
                  <a:pt x="123" y="319"/>
                </a:cubicBezTo>
                <a:cubicBezTo>
                  <a:pt x="123" y="320"/>
                  <a:pt x="123" y="322"/>
                  <a:pt x="123" y="323"/>
                </a:cubicBezTo>
                <a:cubicBezTo>
                  <a:pt x="124" y="323"/>
                  <a:pt x="124" y="321"/>
                  <a:pt x="124" y="320"/>
                </a:cubicBezTo>
                <a:close/>
                <a:moveTo>
                  <a:pt x="124" y="320"/>
                </a:moveTo>
                <a:cubicBezTo>
                  <a:pt x="124" y="320"/>
                  <a:pt x="124" y="320"/>
                  <a:pt x="124" y="320"/>
                </a:cubicBezTo>
                <a:cubicBezTo>
                  <a:pt x="124" y="320"/>
                  <a:pt x="124" y="320"/>
                  <a:pt x="124" y="320"/>
                </a:cubicBezTo>
                <a:close/>
                <a:moveTo>
                  <a:pt x="223" y="663"/>
                </a:moveTo>
                <a:cubicBezTo>
                  <a:pt x="222" y="663"/>
                  <a:pt x="222" y="663"/>
                  <a:pt x="222" y="663"/>
                </a:cubicBezTo>
                <a:cubicBezTo>
                  <a:pt x="222" y="663"/>
                  <a:pt x="222" y="663"/>
                  <a:pt x="223" y="663"/>
                </a:cubicBezTo>
                <a:close/>
                <a:moveTo>
                  <a:pt x="123" y="132"/>
                </a:moveTo>
                <a:cubicBezTo>
                  <a:pt x="124" y="132"/>
                  <a:pt x="124" y="132"/>
                  <a:pt x="124" y="132"/>
                </a:cubicBezTo>
                <a:cubicBezTo>
                  <a:pt x="123" y="132"/>
                  <a:pt x="123" y="132"/>
                  <a:pt x="123" y="132"/>
                </a:cubicBezTo>
                <a:close/>
                <a:moveTo>
                  <a:pt x="501" y="631"/>
                </a:moveTo>
                <a:cubicBezTo>
                  <a:pt x="501" y="632"/>
                  <a:pt x="501" y="632"/>
                  <a:pt x="501" y="632"/>
                </a:cubicBezTo>
                <a:cubicBezTo>
                  <a:pt x="501" y="632"/>
                  <a:pt x="501" y="632"/>
                  <a:pt x="501" y="632"/>
                </a:cubicBezTo>
                <a:lnTo>
                  <a:pt x="501" y="631"/>
                </a:lnTo>
                <a:close/>
                <a:moveTo>
                  <a:pt x="752" y="643"/>
                </a:moveTo>
                <a:cubicBezTo>
                  <a:pt x="751" y="644"/>
                  <a:pt x="751" y="644"/>
                  <a:pt x="751" y="644"/>
                </a:cubicBezTo>
                <a:cubicBezTo>
                  <a:pt x="751" y="644"/>
                  <a:pt x="752" y="643"/>
                  <a:pt x="752" y="643"/>
                </a:cubicBezTo>
                <a:close/>
                <a:moveTo>
                  <a:pt x="585" y="635"/>
                </a:moveTo>
                <a:cubicBezTo>
                  <a:pt x="585" y="635"/>
                  <a:pt x="586" y="635"/>
                  <a:pt x="586" y="635"/>
                </a:cubicBezTo>
                <a:cubicBezTo>
                  <a:pt x="584" y="634"/>
                  <a:pt x="580" y="634"/>
                  <a:pt x="575" y="634"/>
                </a:cubicBezTo>
                <a:cubicBezTo>
                  <a:pt x="575" y="636"/>
                  <a:pt x="575" y="636"/>
                  <a:pt x="575" y="636"/>
                </a:cubicBezTo>
                <a:lnTo>
                  <a:pt x="585" y="635"/>
                </a:lnTo>
                <a:close/>
                <a:moveTo>
                  <a:pt x="760" y="655"/>
                </a:moveTo>
                <a:cubicBezTo>
                  <a:pt x="760" y="655"/>
                  <a:pt x="755" y="649"/>
                  <a:pt x="753" y="646"/>
                </a:cubicBezTo>
                <a:cubicBezTo>
                  <a:pt x="755" y="647"/>
                  <a:pt x="754" y="646"/>
                  <a:pt x="753" y="645"/>
                </a:cubicBezTo>
                <a:cubicBezTo>
                  <a:pt x="753" y="645"/>
                  <a:pt x="753" y="645"/>
                  <a:pt x="753" y="645"/>
                </a:cubicBezTo>
                <a:cubicBezTo>
                  <a:pt x="752" y="645"/>
                  <a:pt x="752" y="643"/>
                  <a:pt x="751" y="642"/>
                </a:cubicBezTo>
                <a:cubicBezTo>
                  <a:pt x="752" y="643"/>
                  <a:pt x="752" y="643"/>
                  <a:pt x="752" y="643"/>
                </a:cubicBezTo>
                <a:cubicBezTo>
                  <a:pt x="752" y="642"/>
                  <a:pt x="752" y="642"/>
                  <a:pt x="752" y="642"/>
                </a:cubicBezTo>
                <a:cubicBezTo>
                  <a:pt x="752" y="643"/>
                  <a:pt x="752" y="643"/>
                  <a:pt x="752" y="643"/>
                </a:cubicBezTo>
                <a:cubicBezTo>
                  <a:pt x="752" y="644"/>
                  <a:pt x="752" y="644"/>
                  <a:pt x="751" y="644"/>
                </a:cubicBezTo>
                <a:cubicBezTo>
                  <a:pt x="751" y="644"/>
                  <a:pt x="751" y="644"/>
                  <a:pt x="751" y="644"/>
                </a:cubicBezTo>
                <a:cubicBezTo>
                  <a:pt x="751" y="644"/>
                  <a:pt x="750" y="644"/>
                  <a:pt x="750" y="644"/>
                </a:cubicBezTo>
                <a:cubicBezTo>
                  <a:pt x="750" y="642"/>
                  <a:pt x="750" y="642"/>
                  <a:pt x="750" y="642"/>
                </a:cubicBezTo>
                <a:cubicBezTo>
                  <a:pt x="749" y="645"/>
                  <a:pt x="744" y="638"/>
                  <a:pt x="743" y="638"/>
                </a:cubicBezTo>
                <a:cubicBezTo>
                  <a:pt x="742" y="636"/>
                  <a:pt x="741" y="638"/>
                  <a:pt x="739" y="637"/>
                </a:cubicBezTo>
                <a:cubicBezTo>
                  <a:pt x="737" y="637"/>
                  <a:pt x="738" y="635"/>
                  <a:pt x="737" y="634"/>
                </a:cubicBezTo>
                <a:cubicBezTo>
                  <a:pt x="737" y="634"/>
                  <a:pt x="737" y="633"/>
                  <a:pt x="736" y="633"/>
                </a:cubicBezTo>
                <a:cubicBezTo>
                  <a:pt x="736" y="633"/>
                  <a:pt x="736" y="633"/>
                  <a:pt x="736" y="634"/>
                </a:cubicBezTo>
                <a:cubicBezTo>
                  <a:pt x="736" y="634"/>
                  <a:pt x="736" y="634"/>
                  <a:pt x="736" y="634"/>
                </a:cubicBezTo>
                <a:cubicBezTo>
                  <a:pt x="737" y="635"/>
                  <a:pt x="737" y="636"/>
                  <a:pt x="737" y="636"/>
                </a:cubicBezTo>
                <a:cubicBezTo>
                  <a:pt x="737" y="636"/>
                  <a:pt x="737" y="635"/>
                  <a:pt x="736" y="635"/>
                </a:cubicBezTo>
                <a:cubicBezTo>
                  <a:pt x="735" y="635"/>
                  <a:pt x="735" y="635"/>
                  <a:pt x="735" y="635"/>
                </a:cubicBezTo>
                <a:cubicBezTo>
                  <a:pt x="733" y="635"/>
                  <a:pt x="733" y="635"/>
                  <a:pt x="733" y="635"/>
                </a:cubicBezTo>
                <a:cubicBezTo>
                  <a:pt x="729" y="634"/>
                  <a:pt x="729" y="634"/>
                  <a:pt x="729" y="634"/>
                </a:cubicBezTo>
                <a:cubicBezTo>
                  <a:pt x="734" y="633"/>
                  <a:pt x="731" y="633"/>
                  <a:pt x="730" y="632"/>
                </a:cubicBezTo>
                <a:cubicBezTo>
                  <a:pt x="723" y="632"/>
                  <a:pt x="712" y="630"/>
                  <a:pt x="710" y="633"/>
                </a:cubicBezTo>
                <a:cubicBezTo>
                  <a:pt x="700" y="632"/>
                  <a:pt x="700" y="631"/>
                  <a:pt x="696" y="631"/>
                </a:cubicBezTo>
                <a:cubicBezTo>
                  <a:pt x="697" y="631"/>
                  <a:pt x="700" y="632"/>
                  <a:pt x="700" y="632"/>
                </a:cubicBezTo>
                <a:cubicBezTo>
                  <a:pt x="696" y="631"/>
                  <a:pt x="698" y="633"/>
                  <a:pt x="700" y="633"/>
                </a:cubicBezTo>
                <a:cubicBezTo>
                  <a:pt x="694" y="635"/>
                  <a:pt x="669" y="628"/>
                  <a:pt x="668" y="632"/>
                </a:cubicBezTo>
                <a:cubicBezTo>
                  <a:pt x="668" y="631"/>
                  <a:pt x="668" y="631"/>
                  <a:pt x="668" y="631"/>
                </a:cubicBezTo>
                <a:cubicBezTo>
                  <a:pt x="667" y="634"/>
                  <a:pt x="669" y="636"/>
                  <a:pt x="665" y="638"/>
                </a:cubicBezTo>
                <a:cubicBezTo>
                  <a:pt x="662" y="637"/>
                  <a:pt x="662" y="637"/>
                  <a:pt x="662" y="637"/>
                </a:cubicBezTo>
                <a:cubicBezTo>
                  <a:pt x="658" y="638"/>
                  <a:pt x="658" y="638"/>
                  <a:pt x="658" y="638"/>
                </a:cubicBezTo>
                <a:cubicBezTo>
                  <a:pt x="655" y="638"/>
                  <a:pt x="656" y="637"/>
                  <a:pt x="656" y="637"/>
                </a:cubicBezTo>
                <a:cubicBezTo>
                  <a:pt x="650" y="638"/>
                  <a:pt x="640" y="637"/>
                  <a:pt x="632" y="637"/>
                </a:cubicBezTo>
                <a:cubicBezTo>
                  <a:pt x="641" y="644"/>
                  <a:pt x="641" y="644"/>
                  <a:pt x="641" y="644"/>
                </a:cubicBezTo>
                <a:cubicBezTo>
                  <a:pt x="634" y="642"/>
                  <a:pt x="622" y="639"/>
                  <a:pt x="620" y="642"/>
                </a:cubicBezTo>
                <a:cubicBezTo>
                  <a:pt x="616" y="639"/>
                  <a:pt x="616" y="639"/>
                  <a:pt x="616" y="639"/>
                </a:cubicBezTo>
                <a:cubicBezTo>
                  <a:pt x="602" y="635"/>
                  <a:pt x="607" y="642"/>
                  <a:pt x="601" y="641"/>
                </a:cubicBezTo>
                <a:cubicBezTo>
                  <a:pt x="594" y="638"/>
                  <a:pt x="594" y="638"/>
                  <a:pt x="594" y="638"/>
                </a:cubicBezTo>
                <a:cubicBezTo>
                  <a:pt x="601" y="638"/>
                  <a:pt x="601" y="638"/>
                  <a:pt x="601" y="638"/>
                </a:cubicBezTo>
                <a:cubicBezTo>
                  <a:pt x="594" y="637"/>
                  <a:pt x="591" y="636"/>
                  <a:pt x="586" y="635"/>
                </a:cubicBezTo>
                <a:cubicBezTo>
                  <a:pt x="586" y="635"/>
                  <a:pt x="586" y="635"/>
                  <a:pt x="586" y="635"/>
                </a:cubicBezTo>
                <a:cubicBezTo>
                  <a:pt x="586" y="635"/>
                  <a:pt x="586" y="635"/>
                  <a:pt x="586" y="635"/>
                </a:cubicBezTo>
                <a:cubicBezTo>
                  <a:pt x="585" y="635"/>
                  <a:pt x="585" y="635"/>
                  <a:pt x="585" y="635"/>
                </a:cubicBezTo>
                <a:cubicBezTo>
                  <a:pt x="585" y="636"/>
                  <a:pt x="581" y="637"/>
                  <a:pt x="576" y="637"/>
                </a:cubicBezTo>
                <a:cubicBezTo>
                  <a:pt x="569" y="637"/>
                  <a:pt x="564" y="639"/>
                  <a:pt x="553" y="637"/>
                </a:cubicBezTo>
                <a:cubicBezTo>
                  <a:pt x="550" y="640"/>
                  <a:pt x="550" y="640"/>
                  <a:pt x="550" y="640"/>
                </a:cubicBezTo>
                <a:cubicBezTo>
                  <a:pt x="542" y="638"/>
                  <a:pt x="542" y="638"/>
                  <a:pt x="542" y="638"/>
                </a:cubicBezTo>
                <a:cubicBezTo>
                  <a:pt x="542" y="636"/>
                  <a:pt x="542" y="636"/>
                  <a:pt x="542" y="636"/>
                </a:cubicBezTo>
                <a:cubicBezTo>
                  <a:pt x="550" y="636"/>
                  <a:pt x="565" y="635"/>
                  <a:pt x="575" y="634"/>
                </a:cubicBezTo>
                <a:cubicBezTo>
                  <a:pt x="576" y="633"/>
                  <a:pt x="576" y="633"/>
                  <a:pt x="576" y="633"/>
                </a:cubicBezTo>
                <a:cubicBezTo>
                  <a:pt x="569" y="634"/>
                  <a:pt x="562" y="635"/>
                  <a:pt x="558" y="635"/>
                </a:cubicBezTo>
                <a:cubicBezTo>
                  <a:pt x="556" y="634"/>
                  <a:pt x="551" y="632"/>
                  <a:pt x="555" y="631"/>
                </a:cubicBezTo>
                <a:cubicBezTo>
                  <a:pt x="551" y="633"/>
                  <a:pt x="551" y="633"/>
                  <a:pt x="551" y="633"/>
                </a:cubicBezTo>
                <a:cubicBezTo>
                  <a:pt x="531" y="634"/>
                  <a:pt x="530" y="634"/>
                  <a:pt x="509" y="632"/>
                </a:cubicBezTo>
                <a:cubicBezTo>
                  <a:pt x="511" y="633"/>
                  <a:pt x="511" y="633"/>
                  <a:pt x="511" y="633"/>
                </a:cubicBezTo>
                <a:cubicBezTo>
                  <a:pt x="507" y="633"/>
                  <a:pt x="502" y="634"/>
                  <a:pt x="501" y="632"/>
                </a:cubicBezTo>
                <a:cubicBezTo>
                  <a:pt x="488" y="632"/>
                  <a:pt x="475" y="631"/>
                  <a:pt x="467" y="628"/>
                </a:cubicBezTo>
                <a:cubicBezTo>
                  <a:pt x="465" y="631"/>
                  <a:pt x="465" y="631"/>
                  <a:pt x="465" y="631"/>
                </a:cubicBezTo>
                <a:cubicBezTo>
                  <a:pt x="462" y="631"/>
                  <a:pt x="458" y="627"/>
                  <a:pt x="457" y="630"/>
                </a:cubicBezTo>
                <a:cubicBezTo>
                  <a:pt x="451" y="631"/>
                  <a:pt x="451" y="631"/>
                  <a:pt x="451" y="631"/>
                </a:cubicBezTo>
                <a:cubicBezTo>
                  <a:pt x="447" y="631"/>
                  <a:pt x="445" y="633"/>
                  <a:pt x="441" y="631"/>
                </a:cubicBezTo>
                <a:cubicBezTo>
                  <a:pt x="441" y="631"/>
                  <a:pt x="441" y="631"/>
                  <a:pt x="441" y="631"/>
                </a:cubicBezTo>
                <a:cubicBezTo>
                  <a:pt x="440" y="631"/>
                  <a:pt x="440" y="631"/>
                  <a:pt x="440" y="631"/>
                </a:cubicBezTo>
                <a:cubicBezTo>
                  <a:pt x="440" y="631"/>
                  <a:pt x="440" y="631"/>
                  <a:pt x="440" y="631"/>
                </a:cubicBezTo>
                <a:cubicBezTo>
                  <a:pt x="431" y="630"/>
                  <a:pt x="440" y="633"/>
                  <a:pt x="430" y="632"/>
                </a:cubicBezTo>
                <a:cubicBezTo>
                  <a:pt x="427" y="630"/>
                  <a:pt x="427" y="635"/>
                  <a:pt x="422" y="634"/>
                </a:cubicBezTo>
                <a:cubicBezTo>
                  <a:pt x="417" y="631"/>
                  <a:pt x="417" y="631"/>
                  <a:pt x="417" y="631"/>
                </a:cubicBezTo>
                <a:cubicBezTo>
                  <a:pt x="409" y="629"/>
                  <a:pt x="407" y="632"/>
                  <a:pt x="395" y="632"/>
                </a:cubicBezTo>
                <a:cubicBezTo>
                  <a:pt x="389" y="631"/>
                  <a:pt x="387" y="628"/>
                  <a:pt x="390" y="625"/>
                </a:cubicBezTo>
                <a:cubicBezTo>
                  <a:pt x="385" y="628"/>
                  <a:pt x="388" y="627"/>
                  <a:pt x="381" y="629"/>
                </a:cubicBezTo>
                <a:cubicBezTo>
                  <a:pt x="380" y="627"/>
                  <a:pt x="381" y="627"/>
                  <a:pt x="382" y="626"/>
                </a:cubicBezTo>
                <a:cubicBezTo>
                  <a:pt x="376" y="624"/>
                  <a:pt x="378" y="627"/>
                  <a:pt x="373" y="627"/>
                </a:cubicBezTo>
                <a:cubicBezTo>
                  <a:pt x="372" y="629"/>
                  <a:pt x="370" y="633"/>
                  <a:pt x="369" y="633"/>
                </a:cubicBezTo>
                <a:cubicBezTo>
                  <a:pt x="371" y="634"/>
                  <a:pt x="371" y="634"/>
                  <a:pt x="371" y="634"/>
                </a:cubicBezTo>
                <a:cubicBezTo>
                  <a:pt x="365" y="635"/>
                  <a:pt x="360" y="636"/>
                  <a:pt x="354" y="635"/>
                </a:cubicBezTo>
                <a:cubicBezTo>
                  <a:pt x="354" y="633"/>
                  <a:pt x="354" y="633"/>
                  <a:pt x="354" y="633"/>
                </a:cubicBezTo>
                <a:cubicBezTo>
                  <a:pt x="348" y="634"/>
                  <a:pt x="348" y="634"/>
                  <a:pt x="348" y="634"/>
                </a:cubicBezTo>
                <a:cubicBezTo>
                  <a:pt x="348" y="632"/>
                  <a:pt x="348" y="632"/>
                  <a:pt x="348" y="632"/>
                </a:cubicBezTo>
                <a:cubicBezTo>
                  <a:pt x="339" y="632"/>
                  <a:pt x="339" y="632"/>
                  <a:pt x="339" y="632"/>
                </a:cubicBezTo>
                <a:cubicBezTo>
                  <a:pt x="340" y="633"/>
                  <a:pt x="340" y="633"/>
                  <a:pt x="340" y="633"/>
                </a:cubicBezTo>
                <a:cubicBezTo>
                  <a:pt x="338" y="633"/>
                  <a:pt x="331" y="633"/>
                  <a:pt x="327" y="632"/>
                </a:cubicBezTo>
                <a:cubicBezTo>
                  <a:pt x="327" y="631"/>
                  <a:pt x="327" y="631"/>
                  <a:pt x="327" y="631"/>
                </a:cubicBezTo>
                <a:cubicBezTo>
                  <a:pt x="316" y="628"/>
                  <a:pt x="307" y="631"/>
                  <a:pt x="294" y="631"/>
                </a:cubicBezTo>
                <a:cubicBezTo>
                  <a:pt x="296" y="629"/>
                  <a:pt x="296" y="629"/>
                  <a:pt x="296" y="629"/>
                </a:cubicBezTo>
                <a:cubicBezTo>
                  <a:pt x="292" y="627"/>
                  <a:pt x="295" y="632"/>
                  <a:pt x="289" y="630"/>
                </a:cubicBezTo>
                <a:cubicBezTo>
                  <a:pt x="289" y="628"/>
                  <a:pt x="289" y="628"/>
                  <a:pt x="289" y="628"/>
                </a:cubicBezTo>
                <a:cubicBezTo>
                  <a:pt x="284" y="631"/>
                  <a:pt x="283" y="627"/>
                  <a:pt x="280" y="626"/>
                </a:cubicBezTo>
                <a:cubicBezTo>
                  <a:pt x="282" y="629"/>
                  <a:pt x="282" y="629"/>
                  <a:pt x="282" y="629"/>
                </a:cubicBezTo>
                <a:cubicBezTo>
                  <a:pt x="276" y="628"/>
                  <a:pt x="276" y="628"/>
                  <a:pt x="276" y="628"/>
                </a:cubicBezTo>
                <a:cubicBezTo>
                  <a:pt x="269" y="626"/>
                  <a:pt x="272" y="624"/>
                  <a:pt x="273" y="622"/>
                </a:cubicBezTo>
                <a:cubicBezTo>
                  <a:pt x="268" y="624"/>
                  <a:pt x="268" y="624"/>
                  <a:pt x="268" y="624"/>
                </a:cubicBezTo>
                <a:cubicBezTo>
                  <a:pt x="268" y="621"/>
                  <a:pt x="268" y="621"/>
                  <a:pt x="268" y="621"/>
                </a:cubicBezTo>
                <a:cubicBezTo>
                  <a:pt x="264" y="624"/>
                  <a:pt x="264" y="621"/>
                  <a:pt x="259" y="622"/>
                </a:cubicBezTo>
                <a:cubicBezTo>
                  <a:pt x="258" y="621"/>
                  <a:pt x="260" y="620"/>
                  <a:pt x="258" y="620"/>
                </a:cubicBezTo>
                <a:cubicBezTo>
                  <a:pt x="248" y="622"/>
                  <a:pt x="248" y="622"/>
                  <a:pt x="248" y="622"/>
                </a:cubicBezTo>
                <a:cubicBezTo>
                  <a:pt x="254" y="621"/>
                  <a:pt x="254" y="621"/>
                  <a:pt x="254" y="621"/>
                </a:cubicBezTo>
                <a:cubicBezTo>
                  <a:pt x="253" y="625"/>
                  <a:pt x="253" y="625"/>
                  <a:pt x="253" y="625"/>
                </a:cubicBezTo>
                <a:cubicBezTo>
                  <a:pt x="247" y="628"/>
                  <a:pt x="245" y="624"/>
                  <a:pt x="241" y="625"/>
                </a:cubicBezTo>
                <a:cubicBezTo>
                  <a:pt x="244" y="624"/>
                  <a:pt x="244" y="624"/>
                  <a:pt x="244" y="624"/>
                </a:cubicBezTo>
                <a:cubicBezTo>
                  <a:pt x="237" y="624"/>
                  <a:pt x="237" y="622"/>
                  <a:pt x="233" y="621"/>
                </a:cubicBezTo>
                <a:cubicBezTo>
                  <a:pt x="234" y="622"/>
                  <a:pt x="236" y="623"/>
                  <a:pt x="233" y="623"/>
                </a:cubicBezTo>
                <a:cubicBezTo>
                  <a:pt x="231" y="623"/>
                  <a:pt x="232" y="622"/>
                  <a:pt x="230" y="621"/>
                </a:cubicBezTo>
                <a:cubicBezTo>
                  <a:pt x="229" y="624"/>
                  <a:pt x="224" y="624"/>
                  <a:pt x="220" y="622"/>
                </a:cubicBezTo>
                <a:cubicBezTo>
                  <a:pt x="220" y="622"/>
                  <a:pt x="220" y="622"/>
                  <a:pt x="220" y="622"/>
                </a:cubicBezTo>
                <a:cubicBezTo>
                  <a:pt x="219" y="622"/>
                  <a:pt x="219" y="622"/>
                  <a:pt x="217" y="621"/>
                </a:cubicBezTo>
                <a:cubicBezTo>
                  <a:pt x="218" y="619"/>
                  <a:pt x="218" y="619"/>
                  <a:pt x="218" y="619"/>
                </a:cubicBezTo>
                <a:cubicBezTo>
                  <a:pt x="214" y="621"/>
                  <a:pt x="214" y="621"/>
                  <a:pt x="214" y="621"/>
                </a:cubicBezTo>
                <a:cubicBezTo>
                  <a:pt x="212" y="620"/>
                  <a:pt x="208" y="621"/>
                  <a:pt x="209" y="619"/>
                </a:cubicBezTo>
                <a:cubicBezTo>
                  <a:pt x="210" y="619"/>
                  <a:pt x="210" y="619"/>
                  <a:pt x="210" y="619"/>
                </a:cubicBezTo>
                <a:cubicBezTo>
                  <a:pt x="204" y="618"/>
                  <a:pt x="198" y="616"/>
                  <a:pt x="192" y="615"/>
                </a:cubicBezTo>
                <a:cubicBezTo>
                  <a:pt x="192" y="612"/>
                  <a:pt x="192" y="612"/>
                  <a:pt x="192" y="612"/>
                </a:cubicBezTo>
                <a:cubicBezTo>
                  <a:pt x="189" y="615"/>
                  <a:pt x="183" y="609"/>
                  <a:pt x="182" y="613"/>
                </a:cubicBezTo>
                <a:cubicBezTo>
                  <a:pt x="180" y="610"/>
                  <a:pt x="169" y="611"/>
                  <a:pt x="173" y="607"/>
                </a:cubicBezTo>
                <a:cubicBezTo>
                  <a:pt x="168" y="605"/>
                  <a:pt x="164" y="604"/>
                  <a:pt x="160" y="603"/>
                </a:cubicBezTo>
                <a:cubicBezTo>
                  <a:pt x="159" y="603"/>
                  <a:pt x="157" y="602"/>
                  <a:pt x="156" y="602"/>
                </a:cubicBezTo>
                <a:cubicBezTo>
                  <a:pt x="156" y="601"/>
                  <a:pt x="155" y="601"/>
                  <a:pt x="154" y="598"/>
                </a:cubicBezTo>
                <a:cubicBezTo>
                  <a:pt x="155" y="596"/>
                  <a:pt x="154" y="592"/>
                  <a:pt x="153" y="588"/>
                </a:cubicBezTo>
                <a:cubicBezTo>
                  <a:pt x="151" y="583"/>
                  <a:pt x="150" y="578"/>
                  <a:pt x="149" y="573"/>
                </a:cubicBezTo>
                <a:cubicBezTo>
                  <a:pt x="143" y="556"/>
                  <a:pt x="140" y="544"/>
                  <a:pt x="136" y="525"/>
                </a:cubicBezTo>
                <a:cubicBezTo>
                  <a:pt x="140" y="512"/>
                  <a:pt x="131" y="495"/>
                  <a:pt x="133" y="482"/>
                </a:cubicBezTo>
                <a:cubicBezTo>
                  <a:pt x="131" y="479"/>
                  <a:pt x="131" y="479"/>
                  <a:pt x="131" y="479"/>
                </a:cubicBezTo>
                <a:cubicBezTo>
                  <a:pt x="133" y="470"/>
                  <a:pt x="128" y="457"/>
                  <a:pt x="131" y="445"/>
                </a:cubicBezTo>
                <a:cubicBezTo>
                  <a:pt x="130" y="442"/>
                  <a:pt x="130" y="440"/>
                  <a:pt x="130" y="440"/>
                </a:cubicBezTo>
                <a:cubicBezTo>
                  <a:pt x="129" y="440"/>
                  <a:pt x="129" y="441"/>
                  <a:pt x="128" y="442"/>
                </a:cubicBezTo>
                <a:cubicBezTo>
                  <a:pt x="129" y="438"/>
                  <a:pt x="127" y="431"/>
                  <a:pt x="130" y="431"/>
                </a:cubicBezTo>
                <a:cubicBezTo>
                  <a:pt x="130" y="432"/>
                  <a:pt x="130" y="432"/>
                  <a:pt x="130" y="432"/>
                </a:cubicBezTo>
                <a:cubicBezTo>
                  <a:pt x="133" y="433"/>
                  <a:pt x="128" y="422"/>
                  <a:pt x="130" y="418"/>
                </a:cubicBezTo>
                <a:cubicBezTo>
                  <a:pt x="128" y="420"/>
                  <a:pt x="128" y="420"/>
                  <a:pt x="128" y="420"/>
                </a:cubicBezTo>
                <a:cubicBezTo>
                  <a:pt x="128" y="414"/>
                  <a:pt x="128" y="414"/>
                  <a:pt x="128" y="414"/>
                </a:cubicBezTo>
                <a:cubicBezTo>
                  <a:pt x="129" y="415"/>
                  <a:pt x="129" y="415"/>
                  <a:pt x="129" y="415"/>
                </a:cubicBezTo>
                <a:cubicBezTo>
                  <a:pt x="121" y="387"/>
                  <a:pt x="130" y="374"/>
                  <a:pt x="124" y="347"/>
                </a:cubicBezTo>
                <a:cubicBezTo>
                  <a:pt x="127" y="351"/>
                  <a:pt x="122" y="342"/>
                  <a:pt x="125" y="342"/>
                </a:cubicBezTo>
                <a:cubicBezTo>
                  <a:pt x="130" y="335"/>
                  <a:pt x="124" y="329"/>
                  <a:pt x="123" y="323"/>
                </a:cubicBezTo>
                <a:cubicBezTo>
                  <a:pt x="123" y="323"/>
                  <a:pt x="123" y="323"/>
                  <a:pt x="122" y="323"/>
                </a:cubicBezTo>
                <a:cubicBezTo>
                  <a:pt x="123" y="313"/>
                  <a:pt x="123" y="313"/>
                  <a:pt x="123" y="313"/>
                </a:cubicBezTo>
                <a:cubicBezTo>
                  <a:pt x="127" y="319"/>
                  <a:pt x="119" y="306"/>
                  <a:pt x="123" y="312"/>
                </a:cubicBezTo>
                <a:cubicBezTo>
                  <a:pt x="126" y="286"/>
                  <a:pt x="123" y="253"/>
                  <a:pt x="125" y="224"/>
                </a:cubicBezTo>
                <a:cubicBezTo>
                  <a:pt x="124" y="225"/>
                  <a:pt x="124" y="225"/>
                  <a:pt x="124" y="225"/>
                </a:cubicBezTo>
                <a:cubicBezTo>
                  <a:pt x="124" y="218"/>
                  <a:pt x="123" y="209"/>
                  <a:pt x="124" y="203"/>
                </a:cubicBezTo>
                <a:cubicBezTo>
                  <a:pt x="126" y="197"/>
                  <a:pt x="122" y="190"/>
                  <a:pt x="122" y="188"/>
                </a:cubicBezTo>
                <a:cubicBezTo>
                  <a:pt x="120" y="182"/>
                  <a:pt x="124" y="177"/>
                  <a:pt x="124" y="179"/>
                </a:cubicBezTo>
                <a:cubicBezTo>
                  <a:pt x="123" y="173"/>
                  <a:pt x="119" y="166"/>
                  <a:pt x="121" y="157"/>
                </a:cubicBezTo>
                <a:cubicBezTo>
                  <a:pt x="125" y="154"/>
                  <a:pt x="118" y="132"/>
                  <a:pt x="123" y="132"/>
                </a:cubicBezTo>
                <a:cubicBezTo>
                  <a:pt x="122" y="132"/>
                  <a:pt x="122" y="132"/>
                  <a:pt x="122" y="132"/>
                </a:cubicBezTo>
                <a:cubicBezTo>
                  <a:pt x="125" y="122"/>
                  <a:pt x="122" y="112"/>
                  <a:pt x="123" y="102"/>
                </a:cubicBezTo>
                <a:cubicBezTo>
                  <a:pt x="126" y="105"/>
                  <a:pt x="129" y="109"/>
                  <a:pt x="130" y="114"/>
                </a:cubicBezTo>
                <a:cubicBezTo>
                  <a:pt x="128" y="117"/>
                  <a:pt x="139" y="131"/>
                  <a:pt x="141" y="131"/>
                </a:cubicBezTo>
                <a:cubicBezTo>
                  <a:pt x="143" y="128"/>
                  <a:pt x="143" y="128"/>
                  <a:pt x="143" y="128"/>
                </a:cubicBezTo>
                <a:cubicBezTo>
                  <a:pt x="147" y="133"/>
                  <a:pt x="146" y="137"/>
                  <a:pt x="151" y="140"/>
                </a:cubicBezTo>
                <a:cubicBezTo>
                  <a:pt x="150" y="140"/>
                  <a:pt x="150" y="140"/>
                  <a:pt x="150" y="140"/>
                </a:cubicBezTo>
                <a:cubicBezTo>
                  <a:pt x="150" y="140"/>
                  <a:pt x="151" y="141"/>
                  <a:pt x="151" y="141"/>
                </a:cubicBezTo>
                <a:cubicBezTo>
                  <a:pt x="152" y="141"/>
                  <a:pt x="156" y="140"/>
                  <a:pt x="154" y="149"/>
                </a:cubicBezTo>
                <a:cubicBezTo>
                  <a:pt x="153" y="149"/>
                  <a:pt x="153" y="149"/>
                  <a:pt x="153" y="149"/>
                </a:cubicBezTo>
                <a:cubicBezTo>
                  <a:pt x="153" y="150"/>
                  <a:pt x="154" y="149"/>
                  <a:pt x="154" y="150"/>
                </a:cubicBezTo>
                <a:cubicBezTo>
                  <a:pt x="154" y="148"/>
                  <a:pt x="154" y="148"/>
                  <a:pt x="154" y="148"/>
                </a:cubicBezTo>
                <a:cubicBezTo>
                  <a:pt x="156" y="148"/>
                  <a:pt x="157" y="148"/>
                  <a:pt x="158" y="149"/>
                </a:cubicBezTo>
                <a:cubicBezTo>
                  <a:pt x="158" y="149"/>
                  <a:pt x="157" y="150"/>
                  <a:pt x="157" y="150"/>
                </a:cubicBezTo>
                <a:cubicBezTo>
                  <a:pt x="159" y="152"/>
                  <a:pt x="159" y="152"/>
                  <a:pt x="159" y="152"/>
                </a:cubicBezTo>
                <a:cubicBezTo>
                  <a:pt x="158" y="154"/>
                  <a:pt x="158" y="154"/>
                  <a:pt x="158" y="154"/>
                </a:cubicBezTo>
                <a:cubicBezTo>
                  <a:pt x="159" y="154"/>
                  <a:pt x="163" y="151"/>
                  <a:pt x="162" y="154"/>
                </a:cubicBezTo>
                <a:cubicBezTo>
                  <a:pt x="164" y="152"/>
                  <a:pt x="164" y="154"/>
                  <a:pt x="165" y="153"/>
                </a:cubicBezTo>
                <a:cubicBezTo>
                  <a:pt x="165" y="153"/>
                  <a:pt x="164" y="154"/>
                  <a:pt x="164" y="154"/>
                </a:cubicBezTo>
                <a:cubicBezTo>
                  <a:pt x="165" y="155"/>
                  <a:pt x="167" y="157"/>
                  <a:pt x="169" y="156"/>
                </a:cubicBezTo>
                <a:cubicBezTo>
                  <a:pt x="169" y="156"/>
                  <a:pt x="171" y="148"/>
                  <a:pt x="173" y="146"/>
                </a:cubicBezTo>
                <a:cubicBezTo>
                  <a:pt x="174" y="147"/>
                  <a:pt x="174" y="146"/>
                  <a:pt x="175" y="145"/>
                </a:cubicBezTo>
                <a:cubicBezTo>
                  <a:pt x="174" y="145"/>
                  <a:pt x="174" y="145"/>
                  <a:pt x="174" y="145"/>
                </a:cubicBezTo>
                <a:cubicBezTo>
                  <a:pt x="174" y="144"/>
                  <a:pt x="175" y="143"/>
                  <a:pt x="176" y="142"/>
                </a:cubicBezTo>
                <a:cubicBezTo>
                  <a:pt x="175" y="142"/>
                  <a:pt x="175" y="142"/>
                  <a:pt x="175" y="142"/>
                </a:cubicBezTo>
                <a:cubicBezTo>
                  <a:pt x="175" y="142"/>
                  <a:pt x="175" y="142"/>
                  <a:pt x="175" y="142"/>
                </a:cubicBezTo>
                <a:cubicBezTo>
                  <a:pt x="175" y="142"/>
                  <a:pt x="175" y="143"/>
                  <a:pt x="175" y="143"/>
                </a:cubicBezTo>
                <a:cubicBezTo>
                  <a:pt x="174" y="143"/>
                  <a:pt x="174" y="143"/>
                  <a:pt x="174" y="143"/>
                </a:cubicBezTo>
                <a:cubicBezTo>
                  <a:pt x="174" y="143"/>
                  <a:pt x="174" y="143"/>
                  <a:pt x="174" y="143"/>
                </a:cubicBezTo>
                <a:cubicBezTo>
                  <a:pt x="174" y="142"/>
                  <a:pt x="174" y="142"/>
                  <a:pt x="174" y="141"/>
                </a:cubicBezTo>
                <a:cubicBezTo>
                  <a:pt x="175" y="140"/>
                  <a:pt x="175" y="140"/>
                  <a:pt x="175" y="140"/>
                </a:cubicBezTo>
                <a:cubicBezTo>
                  <a:pt x="172" y="141"/>
                  <a:pt x="176" y="133"/>
                  <a:pt x="175" y="132"/>
                </a:cubicBezTo>
                <a:cubicBezTo>
                  <a:pt x="176" y="130"/>
                  <a:pt x="174" y="131"/>
                  <a:pt x="174" y="129"/>
                </a:cubicBezTo>
                <a:cubicBezTo>
                  <a:pt x="173" y="127"/>
                  <a:pt x="175" y="127"/>
                  <a:pt x="176" y="125"/>
                </a:cubicBezTo>
                <a:cubicBezTo>
                  <a:pt x="176" y="123"/>
                  <a:pt x="174" y="126"/>
                  <a:pt x="174" y="126"/>
                </a:cubicBezTo>
                <a:cubicBezTo>
                  <a:pt x="175" y="123"/>
                  <a:pt x="175" y="123"/>
                  <a:pt x="175" y="123"/>
                </a:cubicBezTo>
                <a:cubicBezTo>
                  <a:pt x="176" y="124"/>
                  <a:pt x="176" y="123"/>
                  <a:pt x="176" y="123"/>
                </a:cubicBezTo>
                <a:cubicBezTo>
                  <a:pt x="176" y="121"/>
                  <a:pt x="177" y="117"/>
                  <a:pt x="174" y="119"/>
                </a:cubicBezTo>
                <a:cubicBezTo>
                  <a:pt x="174" y="116"/>
                  <a:pt x="175" y="116"/>
                  <a:pt x="175" y="115"/>
                </a:cubicBezTo>
                <a:cubicBezTo>
                  <a:pt x="175" y="115"/>
                  <a:pt x="175" y="116"/>
                  <a:pt x="174" y="116"/>
                </a:cubicBezTo>
                <a:cubicBezTo>
                  <a:pt x="175" y="115"/>
                  <a:pt x="174" y="116"/>
                  <a:pt x="173" y="117"/>
                </a:cubicBezTo>
                <a:cubicBezTo>
                  <a:pt x="172" y="116"/>
                  <a:pt x="175" y="108"/>
                  <a:pt x="172" y="110"/>
                </a:cubicBezTo>
                <a:cubicBezTo>
                  <a:pt x="172" y="109"/>
                  <a:pt x="172" y="109"/>
                  <a:pt x="172" y="109"/>
                </a:cubicBezTo>
                <a:cubicBezTo>
                  <a:pt x="170" y="111"/>
                  <a:pt x="168" y="112"/>
                  <a:pt x="166" y="112"/>
                </a:cubicBezTo>
                <a:cubicBezTo>
                  <a:pt x="167" y="111"/>
                  <a:pt x="167" y="111"/>
                  <a:pt x="167" y="111"/>
                </a:cubicBezTo>
                <a:cubicBezTo>
                  <a:pt x="166" y="111"/>
                  <a:pt x="166" y="111"/>
                  <a:pt x="166" y="111"/>
                </a:cubicBezTo>
                <a:cubicBezTo>
                  <a:pt x="166" y="110"/>
                  <a:pt x="167" y="110"/>
                  <a:pt x="167" y="110"/>
                </a:cubicBezTo>
                <a:cubicBezTo>
                  <a:pt x="165" y="109"/>
                  <a:pt x="166" y="107"/>
                  <a:pt x="165" y="105"/>
                </a:cubicBezTo>
                <a:cubicBezTo>
                  <a:pt x="160" y="110"/>
                  <a:pt x="160" y="110"/>
                  <a:pt x="160" y="110"/>
                </a:cubicBezTo>
                <a:cubicBezTo>
                  <a:pt x="160" y="108"/>
                  <a:pt x="162" y="104"/>
                  <a:pt x="160" y="105"/>
                </a:cubicBezTo>
                <a:cubicBezTo>
                  <a:pt x="161" y="103"/>
                  <a:pt x="161" y="103"/>
                  <a:pt x="161" y="103"/>
                </a:cubicBezTo>
                <a:cubicBezTo>
                  <a:pt x="164" y="98"/>
                  <a:pt x="159" y="102"/>
                  <a:pt x="159" y="101"/>
                </a:cubicBezTo>
                <a:cubicBezTo>
                  <a:pt x="161" y="98"/>
                  <a:pt x="161" y="98"/>
                  <a:pt x="161" y="98"/>
                </a:cubicBezTo>
                <a:cubicBezTo>
                  <a:pt x="161" y="99"/>
                  <a:pt x="161" y="99"/>
                  <a:pt x="161" y="99"/>
                </a:cubicBezTo>
                <a:cubicBezTo>
                  <a:pt x="162" y="97"/>
                  <a:pt x="162" y="96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1" y="95"/>
                  <a:pt x="160" y="95"/>
                  <a:pt x="160" y="94"/>
                </a:cubicBezTo>
                <a:cubicBezTo>
                  <a:pt x="159" y="93"/>
                  <a:pt x="157" y="93"/>
                  <a:pt x="158" y="89"/>
                </a:cubicBezTo>
                <a:cubicBezTo>
                  <a:pt x="156" y="90"/>
                  <a:pt x="156" y="90"/>
                  <a:pt x="156" y="90"/>
                </a:cubicBezTo>
                <a:cubicBezTo>
                  <a:pt x="156" y="88"/>
                  <a:pt x="156" y="88"/>
                  <a:pt x="156" y="88"/>
                </a:cubicBezTo>
                <a:cubicBezTo>
                  <a:pt x="158" y="87"/>
                  <a:pt x="158" y="87"/>
                  <a:pt x="158" y="87"/>
                </a:cubicBezTo>
                <a:cubicBezTo>
                  <a:pt x="159" y="88"/>
                  <a:pt x="161" y="91"/>
                  <a:pt x="162" y="93"/>
                </a:cubicBezTo>
                <a:cubicBezTo>
                  <a:pt x="163" y="92"/>
                  <a:pt x="163" y="92"/>
                  <a:pt x="163" y="92"/>
                </a:cubicBezTo>
                <a:cubicBezTo>
                  <a:pt x="163" y="91"/>
                  <a:pt x="161" y="90"/>
                  <a:pt x="161" y="89"/>
                </a:cubicBezTo>
                <a:cubicBezTo>
                  <a:pt x="161" y="89"/>
                  <a:pt x="162" y="87"/>
                  <a:pt x="164" y="87"/>
                </a:cubicBezTo>
                <a:cubicBezTo>
                  <a:pt x="162" y="87"/>
                  <a:pt x="162" y="87"/>
                  <a:pt x="162" y="87"/>
                </a:cubicBezTo>
                <a:cubicBezTo>
                  <a:pt x="159" y="83"/>
                  <a:pt x="159" y="83"/>
                  <a:pt x="159" y="78"/>
                </a:cubicBezTo>
                <a:cubicBezTo>
                  <a:pt x="158" y="79"/>
                  <a:pt x="158" y="79"/>
                  <a:pt x="158" y="79"/>
                </a:cubicBezTo>
                <a:cubicBezTo>
                  <a:pt x="157" y="78"/>
                  <a:pt x="156" y="78"/>
                  <a:pt x="158" y="77"/>
                </a:cubicBezTo>
                <a:cubicBezTo>
                  <a:pt x="157" y="74"/>
                  <a:pt x="156" y="71"/>
                  <a:pt x="158" y="68"/>
                </a:cubicBezTo>
                <a:cubicBezTo>
                  <a:pt x="156" y="69"/>
                  <a:pt x="156" y="69"/>
                  <a:pt x="156" y="69"/>
                </a:cubicBezTo>
                <a:cubicBezTo>
                  <a:pt x="155" y="69"/>
                  <a:pt x="158" y="66"/>
                  <a:pt x="155" y="68"/>
                </a:cubicBezTo>
                <a:cubicBezTo>
                  <a:pt x="153" y="67"/>
                  <a:pt x="153" y="67"/>
                  <a:pt x="153" y="67"/>
                </a:cubicBezTo>
                <a:cubicBezTo>
                  <a:pt x="153" y="66"/>
                  <a:pt x="152" y="66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4"/>
                  <a:pt x="152" y="64"/>
                  <a:pt x="152" y="64"/>
                </a:cubicBezTo>
                <a:cubicBezTo>
                  <a:pt x="151" y="64"/>
                  <a:pt x="151" y="65"/>
                  <a:pt x="151" y="63"/>
                </a:cubicBezTo>
                <a:cubicBezTo>
                  <a:pt x="151" y="61"/>
                  <a:pt x="147" y="63"/>
                  <a:pt x="147" y="62"/>
                </a:cubicBezTo>
                <a:cubicBezTo>
                  <a:pt x="148" y="60"/>
                  <a:pt x="148" y="59"/>
                  <a:pt x="149" y="58"/>
                </a:cubicBezTo>
                <a:cubicBezTo>
                  <a:pt x="149" y="54"/>
                  <a:pt x="146" y="56"/>
                  <a:pt x="144" y="52"/>
                </a:cubicBezTo>
                <a:cubicBezTo>
                  <a:pt x="144" y="49"/>
                  <a:pt x="145" y="45"/>
                  <a:pt x="148" y="44"/>
                </a:cubicBezTo>
                <a:cubicBezTo>
                  <a:pt x="145" y="45"/>
                  <a:pt x="146" y="45"/>
                  <a:pt x="144" y="44"/>
                </a:cubicBezTo>
                <a:cubicBezTo>
                  <a:pt x="144" y="43"/>
                  <a:pt x="145" y="43"/>
                  <a:pt x="146" y="42"/>
                </a:cubicBezTo>
                <a:cubicBezTo>
                  <a:pt x="146" y="38"/>
                  <a:pt x="144" y="42"/>
                  <a:pt x="143" y="40"/>
                </a:cubicBezTo>
                <a:cubicBezTo>
                  <a:pt x="141" y="42"/>
                  <a:pt x="139" y="45"/>
                  <a:pt x="138" y="45"/>
                </a:cubicBezTo>
                <a:cubicBezTo>
                  <a:pt x="138" y="46"/>
                  <a:pt x="138" y="46"/>
                  <a:pt x="138" y="46"/>
                </a:cubicBezTo>
                <a:cubicBezTo>
                  <a:pt x="136" y="46"/>
                  <a:pt x="135" y="45"/>
                  <a:pt x="135" y="42"/>
                </a:cubicBezTo>
                <a:cubicBezTo>
                  <a:pt x="136" y="40"/>
                  <a:pt x="136" y="40"/>
                  <a:pt x="136" y="40"/>
                </a:cubicBezTo>
                <a:cubicBezTo>
                  <a:pt x="134" y="39"/>
                  <a:pt x="134" y="39"/>
                  <a:pt x="134" y="39"/>
                </a:cubicBezTo>
                <a:cubicBezTo>
                  <a:pt x="135" y="37"/>
                  <a:pt x="135" y="37"/>
                  <a:pt x="135" y="37"/>
                </a:cubicBezTo>
                <a:cubicBezTo>
                  <a:pt x="133" y="35"/>
                  <a:pt x="133" y="35"/>
                  <a:pt x="133" y="35"/>
                </a:cubicBezTo>
                <a:cubicBezTo>
                  <a:pt x="133" y="36"/>
                  <a:pt x="133" y="36"/>
                  <a:pt x="133" y="36"/>
                </a:cubicBezTo>
                <a:cubicBezTo>
                  <a:pt x="133" y="35"/>
                  <a:pt x="132" y="34"/>
                  <a:pt x="131" y="32"/>
                </a:cubicBezTo>
                <a:cubicBezTo>
                  <a:pt x="132" y="31"/>
                  <a:pt x="132" y="31"/>
                  <a:pt x="132" y="31"/>
                </a:cubicBezTo>
                <a:cubicBezTo>
                  <a:pt x="132" y="27"/>
                  <a:pt x="131" y="25"/>
                  <a:pt x="129" y="24"/>
                </a:cubicBezTo>
                <a:cubicBezTo>
                  <a:pt x="128" y="24"/>
                  <a:pt x="127" y="23"/>
                  <a:pt x="126" y="21"/>
                </a:cubicBezTo>
                <a:cubicBezTo>
                  <a:pt x="127" y="19"/>
                  <a:pt x="127" y="19"/>
                  <a:pt x="127" y="19"/>
                </a:cubicBezTo>
                <a:cubicBezTo>
                  <a:pt x="127" y="15"/>
                  <a:pt x="126" y="23"/>
                  <a:pt x="125" y="20"/>
                </a:cubicBezTo>
                <a:cubicBezTo>
                  <a:pt x="126" y="16"/>
                  <a:pt x="126" y="16"/>
                  <a:pt x="126" y="16"/>
                </a:cubicBezTo>
                <a:cubicBezTo>
                  <a:pt x="124" y="20"/>
                  <a:pt x="125" y="13"/>
                  <a:pt x="125" y="10"/>
                </a:cubicBezTo>
                <a:cubicBezTo>
                  <a:pt x="124" y="16"/>
                  <a:pt x="124" y="16"/>
                  <a:pt x="124" y="16"/>
                </a:cubicBezTo>
                <a:cubicBezTo>
                  <a:pt x="123" y="13"/>
                  <a:pt x="123" y="13"/>
                  <a:pt x="123" y="13"/>
                </a:cubicBezTo>
                <a:cubicBezTo>
                  <a:pt x="122" y="9"/>
                  <a:pt x="124" y="5"/>
                  <a:pt x="124" y="3"/>
                </a:cubicBezTo>
                <a:cubicBezTo>
                  <a:pt x="124" y="3"/>
                  <a:pt x="123" y="4"/>
                  <a:pt x="123" y="5"/>
                </a:cubicBezTo>
                <a:cubicBezTo>
                  <a:pt x="123" y="0"/>
                  <a:pt x="123" y="0"/>
                  <a:pt x="123" y="0"/>
                </a:cubicBezTo>
                <a:cubicBezTo>
                  <a:pt x="123" y="1"/>
                  <a:pt x="123" y="1"/>
                  <a:pt x="123" y="1"/>
                </a:cubicBezTo>
                <a:cubicBezTo>
                  <a:pt x="123" y="2"/>
                  <a:pt x="123" y="2"/>
                  <a:pt x="122" y="2"/>
                </a:cubicBezTo>
                <a:cubicBezTo>
                  <a:pt x="122" y="3"/>
                  <a:pt x="122" y="3"/>
                  <a:pt x="122" y="3"/>
                </a:cubicBezTo>
                <a:cubicBezTo>
                  <a:pt x="122" y="2"/>
                  <a:pt x="121" y="2"/>
                  <a:pt x="121" y="4"/>
                </a:cubicBezTo>
                <a:cubicBezTo>
                  <a:pt x="121" y="3"/>
                  <a:pt x="121" y="1"/>
                  <a:pt x="121" y="1"/>
                </a:cubicBezTo>
                <a:cubicBezTo>
                  <a:pt x="117" y="11"/>
                  <a:pt x="117" y="11"/>
                  <a:pt x="117" y="11"/>
                </a:cubicBezTo>
                <a:cubicBezTo>
                  <a:pt x="119" y="6"/>
                  <a:pt x="119" y="6"/>
                  <a:pt x="119" y="6"/>
                </a:cubicBezTo>
                <a:cubicBezTo>
                  <a:pt x="118" y="13"/>
                  <a:pt x="118" y="13"/>
                  <a:pt x="118" y="13"/>
                </a:cubicBezTo>
                <a:cubicBezTo>
                  <a:pt x="116" y="20"/>
                  <a:pt x="116" y="14"/>
                  <a:pt x="115" y="17"/>
                </a:cubicBezTo>
                <a:cubicBezTo>
                  <a:pt x="116" y="15"/>
                  <a:pt x="116" y="15"/>
                  <a:pt x="116" y="15"/>
                </a:cubicBezTo>
                <a:cubicBezTo>
                  <a:pt x="114" y="18"/>
                  <a:pt x="114" y="16"/>
                  <a:pt x="113" y="16"/>
                </a:cubicBezTo>
                <a:cubicBezTo>
                  <a:pt x="113" y="16"/>
                  <a:pt x="114" y="18"/>
                  <a:pt x="113" y="19"/>
                </a:cubicBezTo>
                <a:cubicBezTo>
                  <a:pt x="113" y="20"/>
                  <a:pt x="113" y="17"/>
                  <a:pt x="112" y="17"/>
                </a:cubicBezTo>
                <a:cubicBezTo>
                  <a:pt x="112" y="21"/>
                  <a:pt x="111" y="25"/>
                  <a:pt x="110" y="24"/>
                </a:cubicBezTo>
                <a:cubicBezTo>
                  <a:pt x="110" y="24"/>
                  <a:pt x="110" y="23"/>
                  <a:pt x="110" y="23"/>
                </a:cubicBezTo>
                <a:cubicBezTo>
                  <a:pt x="110" y="24"/>
                  <a:pt x="109" y="25"/>
                  <a:pt x="109" y="25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8" y="25"/>
                  <a:pt x="108" y="25"/>
                  <a:pt x="108" y="25"/>
                </a:cubicBezTo>
                <a:cubicBezTo>
                  <a:pt x="107" y="25"/>
                  <a:pt x="107" y="29"/>
                  <a:pt x="107" y="26"/>
                </a:cubicBezTo>
                <a:cubicBezTo>
                  <a:pt x="107" y="25"/>
                  <a:pt x="107" y="25"/>
                  <a:pt x="107" y="25"/>
                </a:cubicBezTo>
                <a:cubicBezTo>
                  <a:pt x="102" y="30"/>
                  <a:pt x="102" y="30"/>
                  <a:pt x="102" y="30"/>
                </a:cubicBezTo>
                <a:cubicBezTo>
                  <a:pt x="101" y="27"/>
                  <a:pt x="101" y="27"/>
                  <a:pt x="101" y="27"/>
                </a:cubicBezTo>
                <a:cubicBezTo>
                  <a:pt x="101" y="31"/>
                  <a:pt x="98" y="29"/>
                  <a:pt x="99" y="33"/>
                </a:cubicBezTo>
                <a:cubicBezTo>
                  <a:pt x="97" y="32"/>
                  <a:pt x="96" y="39"/>
                  <a:pt x="95" y="34"/>
                </a:cubicBezTo>
                <a:cubicBezTo>
                  <a:pt x="93" y="35"/>
                  <a:pt x="92" y="38"/>
                  <a:pt x="91" y="40"/>
                </a:cubicBezTo>
                <a:cubicBezTo>
                  <a:pt x="89" y="42"/>
                  <a:pt x="88" y="44"/>
                  <a:pt x="85" y="46"/>
                </a:cubicBezTo>
                <a:cubicBezTo>
                  <a:pt x="84" y="45"/>
                  <a:pt x="82" y="46"/>
                  <a:pt x="80" y="47"/>
                </a:cubicBezTo>
                <a:cubicBezTo>
                  <a:pt x="79" y="48"/>
                  <a:pt x="78" y="49"/>
                  <a:pt x="77" y="49"/>
                </a:cubicBezTo>
                <a:cubicBezTo>
                  <a:pt x="77" y="50"/>
                  <a:pt x="76" y="50"/>
                  <a:pt x="76" y="50"/>
                </a:cubicBezTo>
                <a:cubicBezTo>
                  <a:pt x="74" y="54"/>
                  <a:pt x="73" y="57"/>
                  <a:pt x="71" y="61"/>
                </a:cubicBezTo>
                <a:cubicBezTo>
                  <a:pt x="65" y="58"/>
                  <a:pt x="67" y="66"/>
                  <a:pt x="63" y="66"/>
                </a:cubicBezTo>
                <a:cubicBezTo>
                  <a:pt x="64" y="68"/>
                  <a:pt x="64" y="68"/>
                  <a:pt x="64" y="68"/>
                </a:cubicBezTo>
                <a:cubicBezTo>
                  <a:pt x="60" y="66"/>
                  <a:pt x="61" y="71"/>
                  <a:pt x="57" y="70"/>
                </a:cubicBezTo>
                <a:cubicBezTo>
                  <a:pt x="57" y="71"/>
                  <a:pt x="57" y="72"/>
                  <a:pt x="57" y="72"/>
                </a:cubicBezTo>
                <a:cubicBezTo>
                  <a:pt x="57" y="72"/>
                  <a:pt x="57" y="72"/>
                  <a:pt x="58" y="73"/>
                </a:cubicBezTo>
                <a:cubicBezTo>
                  <a:pt x="57" y="73"/>
                  <a:pt x="56" y="75"/>
                  <a:pt x="55" y="72"/>
                </a:cubicBezTo>
                <a:cubicBezTo>
                  <a:pt x="55" y="72"/>
                  <a:pt x="55" y="72"/>
                  <a:pt x="55" y="72"/>
                </a:cubicBezTo>
                <a:cubicBezTo>
                  <a:pt x="53" y="70"/>
                  <a:pt x="54" y="74"/>
                  <a:pt x="52" y="73"/>
                </a:cubicBezTo>
                <a:cubicBezTo>
                  <a:pt x="54" y="75"/>
                  <a:pt x="54" y="75"/>
                  <a:pt x="54" y="75"/>
                </a:cubicBezTo>
                <a:cubicBezTo>
                  <a:pt x="53" y="76"/>
                  <a:pt x="53" y="76"/>
                  <a:pt x="53" y="76"/>
                </a:cubicBezTo>
                <a:cubicBezTo>
                  <a:pt x="52" y="75"/>
                  <a:pt x="52" y="75"/>
                  <a:pt x="52" y="75"/>
                </a:cubicBezTo>
                <a:cubicBezTo>
                  <a:pt x="52" y="84"/>
                  <a:pt x="44" y="78"/>
                  <a:pt x="43" y="86"/>
                </a:cubicBezTo>
                <a:cubicBezTo>
                  <a:pt x="42" y="83"/>
                  <a:pt x="43" y="88"/>
                  <a:pt x="41" y="85"/>
                </a:cubicBezTo>
                <a:cubicBezTo>
                  <a:pt x="37" y="83"/>
                  <a:pt x="39" y="87"/>
                  <a:pt x="39" y="89"/>
                </a:cubicBezTo>
                <a:cubicBezTo>
                  <a:pt x="39" y="89"/>
                  <a:pt x="39" y="89"/>
                  <a:pt x="39" y="90"/>
                </a:cubicBezTo>
                <a:cubicBezTo>
                  <a:pt x="37" y="91"/>
                  <a:pt x="37" y="91"/>
                  <a:pt x="37" y="91"/>
                </a:cubicBezTo>
                <a:cubicBezTo>
                  <a:pt x="36" y="86"/>
                  <a:pt x="38" y="94"/>
                  <a:pt x="37" y="91"/>
                </a:cubicBezTo>
                <a:cubicBezTo>
                  <a:pt x="31" y="91"/>
                  <a:pt x="27" y="98"/>
                  <a:pt x="21" y="100"/>
                </a:cubicBezTo>
                <a:cubicBezTo>
                  <a:pt x="22" y="101"/>
                  <a:pt x="22" y="101"/>
                  <a:pt x="22" y="101"/>
                </a:cubicBezTo>
                <a:cubicBezTo>
                  <a:pt x="20" y="101"/>
                  <a:pt x="19" y="104"/>
                  <a:pt x="18" y="103"/>
                </a:cubicBezTo>
                <a:cubicBezTo>
                  <a:pt x="16" y="102"/>
                  <a:pt x="17" y="106"/>
                  <a:pt x="17" y="107"/>
                </a:cubicBezTo>
                <a:cubicBezTo>
                  <a:pt x="16" y="109"/>
                  <a:pt x="13" y="107"/>
                  <a:pt x="14" y="106"/>
                </a:cubicBezTo>
                <a:cubicBezTo>
                  <a:pt x="13" y="108"/>
                  <a:pt x="14" y="112"/>
                  <a:pt x="12" y="111"/>
                </a:cubicBezTo>
                <a:cubicBezTo>
                  <a:pt x="9" y="109"/>
                  <a:pt x="9" y="117"/>
                  <a:pt x="7" y="114"/>
                </a:cubicBezTo>
                <a:cubicBezTo>
                  <a:pt x="7" y="114"/>
                  <a:pt x="7" y="114"/>
                  <a:pt x="7" y="114"/>
                </a:cubicBezTo>
                <a:cubicBezTo>
                  <a:pt x="3" y="113"/>
                  <a:pt x="4" y="118"/>
                  <a:pt x="0" y="117"/>
                </a:cubicBezTo>
                <a:cubicBezTo>
                  <a:pt x="0" y="117"/>
                  <a:pt x="0" y="117"/>
                  <a:pt x="0" y="117"/>
                </a:cubicBezTo>
                <a:cubicBezTo>
                  <a:pt x="1" y="121"/>
                  <a:pt x="1" y="126"/>
                  <a:pt x="2" y="130"/>
                </a:cubicBezTo>
                <a:cubicBezTo>
                  <a:pt x="10" y="141"/>
                  <a:pt x="10" y="141"/>
                  <a:pt x="10" y="141"/>
                </a:cubicBezTo>
                <a:cubicBezTo>
                  <a:pt x="20" y="148"/>
                  <a:pt x="20" y="148"/>
                  <a:pt x="20" y="148"/>
                </a:cubicBezTo>
                <a:cubicBezTo>
                  <a:pt x="23" y="145"/>
                  <a:pt x="27" y="142"/>
                  <a:pt x="30" y="139"/>
                </a:cubicBezTo>
                <a:cubicBezTo>
                  <a:pt x="42" y="137"/>
                  <a:pt x="42" y="137"/>
                  <a:pt x="42" y="137"/>
                </a:cubicBezTo>
                <a:cubicBezTo>
                  <a:pt x="49" y="132"/>
                  <a:pt x="56" y="127"/>
                  <a:pt x="63" y="121"/>
                </a:cubicBezTo>
                <a:cubicBezTo>
                  <a:pt x="62" y="117"/>
                  <a:pt x="62" y="117"/>
                  <a:pt x="62" y="117"/>
                </a:cubicBezTo>
                <a:cubicBezTo>
                  <a:pt x="70" y="119"/>
                  <a:pt x="72" y="110"/>
                  <a:pt x="78" y="109"/>
                </a:cubicBezTo>
                <a:cubicBezTo>
                  <a:pt x="77" y="107"/>
                  <a:pt x="77" y="107"/>
                  <a:pt x="77" y="107"/>
                </a:cubicBezTo>
                <a:cubicBezTo>
                  <a:pt x="78" y="106"/>
                  <a:pt x="79" y="108"/>
                  <a:pt x="79" y="108"/>
                </a:cubicBezTo>
                <a:cubicBezTo>
                  <a:pt x="82" y="105"/>
                  <a:pt x="85" y="103"/>
                  <a:pt x="87" y="101"/>
                </a:cubicBezTo>
                <a:cubicBezTo>
                  <a:pt x="87" y="121"/>
                  <a:pt x="87" y="141"/>
                  <a:pt x="88" y="160"/>
                </a:cubicBezTo>
                <a:cubicBezTo>
                  <a:pt x="82" y="209"/>
                  <a:pt x="82" y="209"/>
                  <a:pt x="82" y="209"/>
                </a:cubicBezTo>
                <a:cubicBezTo>
                  <a:pt x="82" y="249"/>
                  <a:pt x="82" y="288"/>
                  <a:pt x="83" y="328"/>
                </a:cubicBezTo>
                <a:cubicBezTo>
                  <a:pt x="87" y="336"/>
                  <a:pt x="87" y="336"/>
                  <a:pt x="87" y="336"/>
                </a:cubicBezTo>
                <a:cubicBezTo>
                  <a:pt x="81" y="359"/>
                  <a:pt x="88" y="389"/>
                  <a:pt x="85" y="415"/>
                </a:cubicBezTo>
                <a:cubicBezTo>
                  <a:pt x="88" y="415"/>
                  <a:pt x="88" y="415"/>
                  <a:pt x="88" y="415"/>
                </a:cubicBezTo>
                <a:cubicBezTo>
                  <a:pt x="89" y="422"/>
                  <a:pt x="87" y="422"/>
                  <a:pt x="86" y="423"/>
                </a:cubicBezTo>
                <a:cubicBezTo>
                  <a:pt x="88" y="456"/>
                  <a:pt x="91" y="490"/>
                  <a:pt x="96" y="523"/>
                </a:cubicBezTo>
                <a:cubicBezTo>
                  <a:pt x="98" y="539"/>
                  <a:pt x="100" y="556"/>
                  <a:pt x="103" y="572"/>
                </a:cubicBezTo>
                <a:cubicBezTo>
                  <a:pt x="105" y="580"/>
                  <a:pt x="107" y="588"/>
                  <a:pt x="109" y="597"/>
                </a:cubicBezTo>
                <a:cubicBezTo>
                  <a:pt x="112" y="605"/>
                  <a:pt x="114" y="613"/>
                  <a:pt x="120" y="623"/>
                </a:cubicBezTo>
                <a:cubicBezTo>
                  <a:pt x="121" y="625"/>
                  <a:pt x="123" y="628"/>
                  <a:pt x="126" y="632"/>
                </a:cubicBezTo>
                <a:cubicBezTo>
                  <a:pt x="129" y="635"/>
                  <a:pt x="133" y="638"/>
                  <a:pt x="136" y="640"/>
                </a:cubicBezTo>
                <a:cubicBezTo>
                  <a:pt x="143" y="644"/>
                  <a:pt x="149" y="647"/>
                  <a:pt x="151" y="649"/>
                </a:cubicBezTo>
                <a:cubicBezTo>
                  <a:pt x="163" y="652"/>
                  <a:pt x="173" y="654"/>
                  <a:pt x="184" y="655"/>
                </a:cubicBezTo>
                <a:cubicBezTo>
                  <a:pt x="194" y="657"/>
                  <a:pt x="204" y="659"/>
                  <a:pt x="214" y="661"/>
                </a:cubicBezTo>
                <a:cubicBezTo>
                  <a:pt x="213" y="661"/>
                  <a:pt x="213" y="661"/>
                  <a:pt x="213" y="661"/>
                </a:cubicBezTo>
                <a:cubicBezTo>
                  <a:pt x="223" y="662"/>
                  <a:pt x="223" y="662"/>
                  <a:pt x="223" y="662"/>
                </a:cubicBezTo>
                <a:cubicBezTo>
                  <a:pt x="223" y="662"/>
                  <a:pt x="223" y="662"/>
                  <a:pt x="223" y="663"/>
                </a:cubicBezTo>
                <a:cubicBezTo>
                  <a:pt x="233" y="662"/>
                  <a:pt x="249" y="666"/>
                  <a:pt x="262" y="668"/>
                </a:cubicBezTo>
                <a:cubicBezTo>
                  <a:pt x="261" y="668"/>
                  <a:pt x="261" y="668"/>
                  <a:pt x="261" y="668"/>
                </a:cubicBezTo>
                <a:cubicBezTo>
                  <a:pt x="298" y="671"/>
                  <a:pt x="334" y="672"/>
                  <a:pt x="369" y="672"/>
                </a:cubicBezTo>
                <a:cubicBezTo>
                  <a:pt x="404" y="672"/>
                  <a:pt x="439" y="672"/>
                  <a:pt x="476" y="673"/>
                </a:cubicBezTo>
                <a:cubicBezTo>
                  <a:pt x="509" y="677"/>
                  <a:pt x="549" y="671"/>
                  <a:pt x="587" y="673"/>
                </a:cubicBezTo>
                <a:cubicBezTo>
                  <a:pt x="594" y="676"/>
                  <a:pt x="672" y="671"/>
                  <a:pt x="679" y="669"/>
                </a:cubicBezTo>
                <a:cubicBezTo>
                  <a:pt x="670" y="666"/>
                  <a:pt x="670" y="666"/>
                  <a:pt x="670" y="666"/>
                </a:cubicBezTo>
                <a:cubicBezTo>
                  <a:pt x="699" y="664"/>
                  <a:pt x="713" y="666"/>
                  <a:pt x="738" y="662"/>
                </a:cubicBezTo>
                <a:cubicBezTo>
                  <a:pt x="736" y="663"/>
                  <a:pt x="736" y="663"/>
                  <a:pt x="736" y="663"/>
                </a:cubicBezTo>
                <a:cubicBezTo>
                  <a:pt x="739" y="663"/>
                  <a:pt x="738" y="662"/>
                  <a:pt x="739" y="661"/>
                </a:cubicBezTo>
                <a:cubicBezTo>
                  <a:pt x="740" y="660"/>
                  <a:pt x="742" y="661"/>
                  <a:pt x="747" y="665"/>
                </a:cubicBezTo>
                <a:cubicBezTo>
                  <a:pt x="747" y="665"/>
                  <a:pt x="747" y="665"/>
                  <a:pt x="747" y="665"/>
                </a:cubicBezTo>
                <a:cubicBezTo>
                  <a:pt x="747" y="665"/>
                  <a:pt x="747" y="665"/>
                  <a:pt x="747" y="665"/>
                </a:cubicBezTo>
                <a:cubicBezTo>
                  <a:pt x="746" y="663"/>
                  <a:pt x="746" y="663"/>
                  <a:pt x="746" y="663"/>
                </a:cubicBezTo>
                <a:cubicBezTo>
                  <a:pt x="747" y="663"/>
                  <a:pt x="747" y="661"/>
                  <a:pt x="748" y="661"/>
                </a:cubicBezTo>
                <a:cubicBezTo>
                  <a:pt x="749" y="661"/>
                  <a:pt x="749" y="662"/>
                  <a:pt x="749" y="662"/>
                </a:cubicBezTo>
                <a:cubicBezTo>
                  <a:pt x="751" y="662"/>
                  <a:pt x="751" y="662"/>
                  <a:pt x="751" y="662"/>
                </a:cubicBezTo>
                <a:cubicBezTo>
                  <a:pt x="752" y="664"/>
                  <a:pt x="752" y="664"/>
                  <a:pt x="752" y="664"/>
                </a:cubicBezTo>
                <a:cubicBezTo>
                  <a:pt x="753" y="662"/>
                  <a:pt x="753" y="658"/>
                  <a:pt x="755" y="660"/>
                </a:cubicBezTo>
                <a:cubicBezTo>
                  <a:pt x="754" y="657"/>
                  <a:pt x="756" y="658"/>
                  <a:pt x="755" y="657"/>
                </a:cubicBezTo>
                <a:cubicBezTo>
                  <a:pt x="756" y="657"/>
                  <a:pt x="756" y="658"/>
                  <a:pt x="756" y="658"/>
                </a:cubicBezTo>
                <a:cubicBezTo>
                  <a:pt x="757" y="658"/>
                  <a:pt x="760" y="657"/>
                  <a:pt x="760" y="655"/>
                </a:cubicBezTo>
                <a:close/>
                <a:moveTo>
                  <a:pt x="749" y="662"/>
                </a:moveTo>
                <a:cubicBezTo>
                  <a:pt x="749" y="662"/>
                  <a:pt x="749" y="662"/>
                  <a:pt x="749" y="662"/>
                </a:cubicBezTo>
                <a:cubicBezTo>
                  <a:pt x="749" y="663"/>
                  <a:pt x="749" y="663"/>
                  <a:pt x="749" y="662"/>
                </a:cubicBezTo>
                <a:close/>
                <a:moveTo>
                  <a:pt x="632" y="637"/>
                </a:moveTo>
                <a:cubicBezTo>
                  <a:pt x="632" y="637"/>
                  <a:pt x="632" y="637"/>
                  <a:pt x="632" y="637"/>
                </a:cubicBezTo>
                <a:cubicBezTo>
                  <a:pt x="630" y="635"/>
                  <a:pt x="630" y="635"/>
                  <a:pt x="630" y="635"/>
                </a:cubicBezTo>
                <a:lnTo>
                  <a:pt x="632" y="637"/>
                </a:lnTo>
                <a:close/>
                <a:moveTo>
                  <a:pt x="730" y="632"/>
                </a:moveTo>
                <a:cubicBezTo>
                  <a:pt x="732" y="632"/>
                  <a:pt x="733" y="632"/>
                  <a:pt x="734" y="631"/>
                </a:cubicBezTo>
                <a:cubicBezTo>
                  <a:pt x="730" y="631"/>
                  <a:pt x="730" y="632"/>
                  <a:pt x="730" y="632"/>
                </a:cubicBezTo>
                <a:close/>
                <a:moveTo>
                  <a:pt x="756" y="660"/>
                </a:moveTo>
                <a:cubicBezTo>
                  <a:pt x="757" y="660"/>
                  <a:pt x="756" y="659"/>
                  <a:pt x="756" y="658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56" y="659"/>
                  <a:pt x="756" y="659"/>
                  <a:pt x="756" y="660"/>
                </a:cubicBezTo>
                <a:close/>
                <a:moveTo>
                  <a:pt x="753" y="645"/>
                </a:moveTo>
                <a:cubicBezTo>
                  <a:pt x="753" y="644"/>
                  <a:pt x="753" y="644"/>
                  <a:pt x="753" y="644"/>
                </a:cubicBezTo>
                <a:cubicBezTo>
                  <a:pt x="753" y="644"/>
                  <a:pt x="753" y="644"/>
                  <a:pt x="753" y="645"/>
                </a:cubicBez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40" name="Freeform 6"/>
          <p:cNvSpPr>
            <a:spLocks noEditPoints="1"/>
          </p:cNvSpPr>
          <p:nvPr/>
        </p:nvSpPr>
        <p:spPr bwMode="auto">
          <a:xfrm rot="10800000">
            <a:off x="1503760" y="991791"/>
            <a:ext cx="960834" cy="856059"/>
          </a:xfrm>
          <a:custGeom>
            <a:avLst/>
            <a:gdLst>
              <a:gd name="T0" fmla="*/ 38 w 760"/>
              <a:gd name="T1" fmla="*/ 89 h 677"/>
              <a:gd name="T2" fmla="*/ 158 w 760"/>
              <a:gd name="T3" fmla="*/ 77 h 677"/>
              <a:gd name="T4" fmla="*/ 163 w 760"/>
              <a:gd name="T5" fmla="*/ 95 h 677"/>
              <a:gd name="T6" fmla="*/ 165 w 760"/>
              <a:gd name="T7" fmla="*/ 105 h 677"/>
              <a:gd name="T8" fmla="*/ 163 w 760"/>
              <a:gd name="T9" fmla="*/ 154 h 677"/>
              <a:gd name="T10" fmla="*/ 373 w 760"/>
              <a:gd name="T11" fmla="*/ 627 h 677"/>
              <a:gd name="T12" fmla="*/ 220 w 760"/>
              <a:gd name="T13" fmla="*/ 622 h 677"/>
              <a:gd name="T14" fmla="*/ 124 w 760"/>
              <a:gd name="T15" fmla="*/ 320 h 677"/>
              <a:gd name="T16" fmla="*/ 124 w 760"/>
              <a:gd name="T17" fmla="*/ 132 h 677"/>
              <a:gd name="T18" fmla="*/ 752 w 760"/>
              <a:gd name="T19" fmla="*/ 643 h 677"/>
              <a:gd name="T20" fmla="*/ 753 w 760"/>
              <a:gd name="T21" fmla="*/ 645 h 677"/>
              <a:gd name="T22" fmla="*/ 750 w 760"/>
              <a:gd name="T23" fmla="*/ 644 h 677"/>
              <a:gd name="T24" fmla="*/ 737 w 760"/>
              <a:gd name="T25" fmla="*/ 636 h 677"/>
              <a:gd name="T26" fmla="*/ 700 w 760"/>
              <a:gd name="T27" fmla="*/ 632 h 677"/>
              <a:gd name="T28" fmla="*/ 632 w 760"/>
              <a:gd name="T29" fmla="*/ 637 h 677"/>
              <a:gd name="T30" fmla="*/ 586 w 760"/>
              <a:gd name="T31" fmla="*/ 635 h 677"/>
              <a:gd name="T32" fmla="*/ 575 w 760"/>
              <a:gd name="T33" fmla="*/ 634 h 677"/>
              <a:gd name="T34" fmla="*/ 467 w 760"/>
              <a:gd name="T35" fmla="*/ 628 h 677"/>
              <a:gd name="T36" fmla="*/ 430 w 760"/>
              <a:gd name="T37" fmla="*/ 632 h 677"/>
              <a:gd name="T38" fmla="*/ 369 w 760"/>
              <a:gd name="T39" fmla="*/ 633 h 677"/>
              <a:gd name="T40" fmla="*/ 327 w 760"/>
              <a:gd name="T41" fmla="*/ 632 h 677"/>
              <a:gd name="T42" fmla="*/ 276 w 760"/>
              <a:gd name="T43" fmla="*/ 628 h 677"/>
              <a:gd name="T44" fmla="*/ 253 w 760"/>
              <a:gd name="T45" fmla="*/ 625 h 677"/>
              <a:gd name="T46" fmla="*/ 217 w 760"/>
              <a:gd name="T47" fmla="*/ 621 h 677"/>
              <a:gd name="T48" fmla="*/ 173 w 760"/>
              <a:gd name="T49" fmla="*/ 607 h 677"/>
              <a:gd name="T50" fmla="*/ 131 w 760"/>
              <a:gd name="T51" fmla="*/ 479 h 677"/>
              <a:gd name="T52" fmla="*/ 128 w 760"/>
              <a:gd name="T53" fmla="*/ 414 h 677"/>
              <a:gd name="T54" fmla="*/ 125 w 760"/>
              <a:gd name="T55" fmla="*/ 224 h 677"/>
              <a:gd name="T56" fmla="*/ 123 w 760"/>
              <a:gd name="T57" fmla="*/ 102 h 677"/>
              <a:gd name="T58" fmla="*/ 153 w 760"/>
              <a:gd name="T59" fmla="*/ 149 h 677"/>
              <a:gd name="T60" fmla="*/ 165 w 760"/>
              <a:gd name="T61" fmla="*/ 153 h 677"/>
              <a:gd name="T62" fmla="*/ 175 w 760"/>
              <a:gd name="T63" fmla="*/ 142 h 677"/>
              <a:gd name="T64" fmla="*/ 176 w 760"/>
              <a:gd name="T65" fmla="*/ 125 h 677"/>
              <a:gd name="T66" fmla="*/ 172 w 760"/>
              <a:gd name="T67" fmla="*/ 110 h 677"/>
              <a:gd name="T68" fmla="*/ 160 w 760"/>
              <a:gd name="T69" fmla="*/ 105 h 677"/>
              <a:gd name="T70" fmla="*/ 163 w 760"/>
              <a:gd name="T71" fmla="*/ 95 h 677"/>
              <a:gd name="T72" fmla="*/ 161 w 760"/>
              <a:gd name="T73" fmla="*/ 89 h 677"/>
              <a:gd name="T74" fmla="*/ 155 w 760"/>
              <a:gd name="T75" fmla="*/ 68 h 677"/>
              <a:gd name="T76" fmla="*/ 151 w 760"/>
              <a:gd name="T77" fmla="*/ 63 h 677"/>
              <a:gd name="T78" fmla="*/ 138 w 760"/>
              <a:gd name="T79" fmla="*/ 45 h 677"/>
              <a:gd name="T80" fmla="*/ 131 w 760"/>
              <a:gd name="T81" fmla="*/ 32 h 677"/>
              <a:gd name="T82" fmla="*/ 124 w 760"/>
              <a:gd name="T83" fmla="*/ 16 h 677"/>
              <a:gd name="T84" fmla="*/ 121 w 760"/>
              <a:gd name="T85" fmla="*/ 4 h 677"/>
              <a:gd name="T86" fmla="*/ 113 w 760"/>
              <a:gd name="T87" fmla="*/ 19 h 677"/>
              <a:gd name="T88" fmla="*/ 107 w 760"/>
              <a:gd name="T89" fmla="*/ 25 h 677"/>
              <a:gd name="T90" fmla="*/ 77 w 760"/>
              <a:gd name="T91" fmla="*/ 49 h 677"/>
              <a:gd name="T92" fmla="*/ 55 w 760"/>
              <a:gd name="T93" fmla="*/ 72 h 677"/>
              <a:gd name="T94" fmla="*/ 39 w 760"/>
              <a:gd name="T95" fmla="*/ 89 h 677"/>
              <a:gd name="T96" fmla="*/ 14 w 760"/>
              <a:gd name="T97" fmla="*/ 106 h 677"/>
              <a:gd name="T98" fmla="*/ 20 w 760"/>
              <a:gd name="T99" fmla="*/ 148 h 677"/>
              <a:gd name="T100" fmla="*/ 87 w 760"/>
              <a:gd name="T101" fmla="*/ 101 h 677"/>
              <a:gd name="T102" fmla="*/ 96 w 760"/>
              <a:gd name="T103" fmla="*/ 523 h 677"/>
              <a:gd name="T104" fmla="*/ 214 w 760"/>
              <a:gd name="T105" fmla="*/ 661 h 677"/>
              <a:gd name="T106" fmla="*/ 587 w 760"/>
              <a:gd name="T107" fmla="*/ 673 h 677"/>
              <a:gd name="T108" fmla="*/ 747 w 760"/>
              <a:gd name="T109" fmla="*/ 665 h 677"/>
              <a:gd name="T110" fmla="*/ 756 w 760"/>
              <a:gd name="T111" fmla="*/ 658 h 677"/>
              <a:gd name="T112" fmla="*/ 632 w 760"/>
              <a:gd name="T113" fmla="*/ 637 h 677"/>
              <a:gd name="T114" fmla="*/ 753 w 760"/>
              <a:gd name="T115" fmla="*/ 645 h 6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60" h="677">
                <a:moveTo>
                  <a:pt x="144" y="39"/>
                </a:moveTo>
                <a:cubicBezTo>
                  <a:pt x="144" y="39"/>
                  <a:pt x="144" y="40"/>
                  <a:pt x="143" y="40"/>
                </a:cubicBezTo>
                <a:cubicBezTo>
                  <a:pt x="143" y="40"/>
                  <a:pt x="143" y="40"/>
                  <a:pt x="143" y="40"/>
                </a:cubicBezTo>
                <a:lnTo>
                  <a:pt x="144" y="39"/>
                </a:lnTo>
                <a:close/>
                <a:moveTo>
                  <a:pt x="153" y="65"/>
                </a:move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4"/>
                  <a:pt x="153" y="65"/>
                </a:cubicBezTo>
                <a:close/>
                <a:moveTo>
                  <a:pt x="38" y="89"/>
                </a:moveTo>
                <a:cubicBezTo>
                  <a:pt x="38" y="89"/>
                  <a:pt x="38" y="89"/>
                  <a:pt x="38" y="89"/>
                </a:cubicBezTo>
                <a:cubicBezTo>
                  <a:pt x="38" y="89"/>
                  <a:pt x="38" y="89"/>
                  <a:pt x="38" y="89"/>
                </a:cubicBezTo>
                <a:close/>
                <a:moveTo>
                  <a:pt x="38" y="89"/>
                </a:moveTo>
                <a:cubicBezTo>
                  <a:pt x="39" y="90"/>
                  <a:pt x="39" y="90"/>
                  <a:pt x="39" y="89"/>
                </a:cubicBezTo>
                <a:cubicBezTo>
                  <a:pt x="38" y="88"/>
                  <a:pt x="38" y="89"/>
                  <a:pt x="38" y="88"/>
                </a:cubicBezTo>
                <a:cubicBezTo>
                  <a:pt x="38" y="89"/>
                  <a:pt x="38" y="89"/>
                  <a:pt x="38" y="89"/>
                </a:cubicBezTo>
                <a:close/>
                <a:moveTo>
                  <a:pt x="159" y="76"/>
                </a:moveTo>
                <a:cubicBezTo>
                  <a:pt x="158" y="77"/>
                  <a:pt x="158" y="77"/>
                  <a:pt x="158" y="77"/>
                </a:cubicBezTo>
                <a:cubicBezTo>
                  <a:pt x="158" y="77"/>
                  <a:pt x="158" y="77"/>
                  <a:pt x="158" y="77"/>
                </a:cubicBezTo>
                <a:lnTo>
                  <a:pt x="159" y="76"/>
                </a:lnTo>
                <a:close/>
                <a:moveTo>
                  <a:pt x="175" y="142"/>
                </a:moveTo>
                <a:cubicBezTo>
                  <a:pt x="174" y="143"/>
                  <a:pt x="174" y="143"/>
                  <a:pt x="174" y="143"/>
                </a:cubicBezTo>
                <a:cubicBezTo>
                  <a:pt x="174" y="143"/>
                  <a:pt x="175" y="143"/>
                  <a:pt x="175" y="143"/>
                </a:cubicBezTo>
                <a:lnTo>
                  <a:pt x="175" y="142"/>
                </a:lnTo>
                <a:close/>
                <a:moveTo>
                  <a:pt x="163" y="95"/>
                </a:moveTo>
                <a:cubicBezTo>
                  <a:pt x="163" y="95"/>
                  <a:pt x="163" y="95"/>
                  <a:pt x="163" y="95"/>
                </a:cubicBezTo>
                <a:cubicBezTo>
                  <a:pt x="163" y="94"/>
                  <a:pt x="163" y="93"/>
                  <a:pt x="162" y="93"/>
                </a:cubicBezTo>
                <a:cubicBezTo>
                  <a:pt x="161" y="93"/>
                  <a:pt x="161" y="93"/>
                  <a:pt x="161" y="93"/>
                </a:cubicBezTo>
                <a:lnTo>
                  <a:pt x="163" y="95"/>
                </a:lnTo>
                <a:close/>
                <a:moveTo>
                  <a:pt x="157" y="150"/>
                </a:moveTo>
                <a:cubicBezTo>
                  <a:pt x="157" y="150"/>
                  <a:pt x="157" y="150"/>
                  <a:pt x="157" y="150"/>
                </a:cubicBezTo>
                <a:cubicBezTo>
                  <a:pt x="156" y="151"/>
                  <a:pt x="156" y="150"/>
                  <a:pt x="157" y="150"/>
                </a:cubicBezTo>
                <a:close/>
                <a:moveTo>
                  <a:pt x="165" y="105"/>
                </a:moveTo>
                <a:cubicBezTo>
                  <a:pt x="165" y="105"/>
                  <a:pt x="165" y="105"/>
                  <a:pt x="165" y="105"/>
                </a:cubicBezTo>
                <a:cubicBezTo>
                  <a:pt x="166" y="104"/>
                  <a:pt x="166" y="104"/>
                  <a:pt x="166" y="104"/>
                </a:cubicBezTo>
                <a:lnTo>
                  <a:pt x="165" y="105"/>
                </a:lnTo>
                <a:close/>
                <a:moveTo>
                  <a:pt x="177" y="123"/>
                </a:moveTo>
                <a:cubicBezTo>
                  <a:pt x="177" y="122"/>
                  <a:pt x="177" y="122"/>
                  <a:pt x="176" y="123"/>
                </a:cubicBezTo>
                <a:cubicBezTo>
                  <a:pt x="177" y="123"/>
                  <a:pt x="177" y="123"/>
                  <a:pt x="177" y="123"/>
                </a:cubicBezTo>
                <a:close/>
                <a:moveTo>
                  <a:pt x="163" y="155"/>
                </a:moveTo>
                <a:cubicBezTo>
                  <a:pt x="163" y="155"/>
                  <a:pt x="164" y="155"/>
                  <a:pt x="164" y="154"/>
                </a:cubicBezTo>
                <a:cubicBezTo>
                  <a:pt x="163" y="154"/>
                  <a:pt x="163" y="154"/>
                  <a:pt x="163" y="154"/>
                </a:cubicBezTo>
                <a:cubicBezTo>
                  <a:pt x="163" y="154"/>
                  <a:pt x="163" y="155"/>
                  <a:pt x="163" y="155"/>
                </a:cubicBezTo>
                <a:close/>
                <a:moveTo>
                  <a:pt x="175" y="145"/>
                </a:moveTo>
                <a:cubicBezTo>
                  <a:pt x="175" y="144"/>
                  <a:pt x="175" y="144"/>
                  <a:pt x="175" y="144"/>
                </a:cubicBezTo>
                <a:cubicBezTo>
                  <a:pt x="175" y="144"/>
                  <a:pt x="175" y="145"/>
                  <a:pt x="175" y="145"/>
                </a:cubicBezTo>
                <a:close/>
                <a:moveTo>
                  <a:pt x="130" y="440"/>
                </a:moveTo>
                <a:cubicBezTo>
                  <a:pt x="130" y="439"/>
                  <a:pt x="129" y="439"/>
                  <a:pt x="130" y="440"/>
                </a:cubicBezTo>
                <a:close/>
                <a:moveTo>
                  <a:pt x="373" y="627"/>
                </a:moveTo>
                <a:cubicBezTo>
                  <a:pt x="373" y="627"/>
                  <a:pt x="373" y="627"/>
                  <a:pt x="373" y="627"/>
                </a:cubicBezTo>
                <a:cubicBezTo>
                  <a:pt x="374" y="626"/>
                  <a:pt x="374" y="626"/>
                  <a:pt x="374" y="625"/>
                </a:cubicBezTo>
                <a:lnTo>
                  <a:pt x="373" y="627"/>
                </a:lnTo>
                <a:close/>
                <a:moveTo>
                  <a:pt x="439" y="631"/>
                </a:moveTo>
                <a:cubicBezTo>
                  <a:pt x="440" y="631"/>
                  <a:pt x="440" y="631"/>
                  <a:pt x="440" y="631"/>
                </a:cubicBezTo>
                <a:cubicBezTo>
                  <a:pt x="440" y="631"/>
                  <a:pt x="440" y="630"/>
                  <a:pt x="439" y="631"/>
                </a:cubicBezTo>
                <a:close/>
                <a:moveTo>
                  <a:pt x="220" y="622"/>
                </a:moveTo>
                <a:cubicBezTo>
                  <a:pt x="221" y="621"/>
                  <a:pt x="221" y="621"/>
                  <a:pt x="222" y="621"/>
                </a:cubicBezTo>
                <a:cubicBezTo>
                  <a:pt x="221" y="621"/>
                  <a:pt x="221" y="621"/>
                  <a:pt x="220" y="622"/>
                </a:cubicBezTo>
                <a:close/>
                <a:moveTo>
                  <a:pt x="123" y="318"/>
                </a:moveTo>
                <a:cubicBezTo>
                  <a:pt x="123" y="319"/>
                  <a:pt x="123" y="319"/>
                  <a:pt x="123" y="319"/>
                </a:cubicBezTo>
                <a:cubicBezTo>
                  <a:pt x="124" y="318"/>
                  <a:pt x="124" y="318"/>
                  <a:pt x="124" y="318"/>
                </a:cubicBezTo>
                <a:lnTo>
                  <a:pt x="123" y="318"/>
                </a:lnTo>
                <a:close/>
                <a:moveTo>
                  <a:pt x="124" y="320"/>
                </a:moveTo>
                <a:cubicBezTo>
                  <a:pt x="124" y="320"/>
                  <a:pt x="124" y="319"/>
                  <a:pt x="123" y="319"/>
                </a:cubicBezTo>
                <a:cubicBezTo>
                  <a:pt x="123" y="320"/>
                  <a:pt x="123" y="322"/>
                  <a:pt x="123" y="323"/>
                </a:cubicBezTo>
                <a:cubicBezTo>
                  <a:pt x="124" y="323"/>
                  <a:pt x="124" y="321"/>
                  <a:pt x="124" y="320"/>
                </a:cubicBezTo>
                <a:close/>
                <a:moveTo>
                  <a:pt x="124" y="320"/>
                </a:moveTo>
                <a:cubicBezTo>
                  <a:pt x="124" y="320"/>
                  <a:pt x="124" y="320"/>
                  <a:pt x="124" y="320"/>
                </a:cubicBezTo>
                <a:cubicBezTo>
                  <a:pt x="124" y="320"/>
                  <a:pt x="124" y="320"/>
                  <a:pt x="124" y="320"/>
                </a:cubicBezTo>
                <a:close/>
                <a:moveTo>
                  <a:pt x="223" y="663"/>
                </a:moveTo>
                <a:cubicBezTo>
                  <a:pt x="222" y="663"/>
                  <a:pt x="222" y="663"/>
                  <a:pt x="222" y="663"/>
                </a:cubicBezTo>
                <a:cubicBezTo>
                  <a:pt x="222" y="663"/>
                  <a:pt x="222" y="663"/>
                  <a:pt x="223" y="663"/>
                </a:cubicBezTo>
                <a:close/>
                <a:moveTo>
                  <a:pt x="123" y="132"/>
                </a:moveTo>
                <a:cubicBezTo>
                  <a:pt x="124" y="132"/>
                  <a:pt x="124" y="132"/>
                  <a:pt x="124" y="132"/>
                </a:cubicBezTo>
                <a:cubicBezTo>
                  <a:pt x="123" y="132"/>
                  <a:pt x="123" y="132"/>
                  <a:pt x="123" y="132"/>
                </a:cubicBezTo>
                <a:close/>
                <a:moveTo>
                  <a:pt x="501" y="631"/>
                </a:moveTo>
                <a:cubicBezTo>
                  <a:pt x="501" y="632"/>
                  <a:pt x="501" y="632"/>
                  <a:pt x="501" y="632"/>
                </a:cubicBezTo>
                <a:cubicBezTo>
                  <a:pt x="501" y="632"/>
                  <a:pt x="501" y="632"/>
                  <a:pt x="501" y="632"/>
                </a:cubicBezTo>
                <a:lnTo>
                  <a:pt x="501" y="631"/>
                </a:lnTo>
                <a:close/>
                <a:moveTo>
                  <a:pt x="752" y="643"/>
                </a:moveTo>
                <a:cubicBezTo>
                  <a:pt x="751" y="644"/>
                  <a:pt x="751" y="644"/>
                  <a:pt x="751" y="644"/>
                </a:cubicBezTo>
                <a:cubicBezTo>
                  <a:pt x="751" y="644"/>
                  <a:pt x="752" y="643"/>
                  <a:pt x="752" y="643"/>
                </a:cubicBezTo>
                <a:close/>
                <a:moveTo>
                  <a:pt x="585" y="635"/>
                </a:moveTo>
                <a:cubicBezTo>
                  <a:pt x="585" y="635"/>
                  <a:pt x="586" y="635"/>
                  <a:pt x="586" y="635"/>
                </a:cubicBezTo>
                <a:cubicBezTo>
                  <a:pt x="584" y="634"/>
                  <a:pt x="580" y="634"/>
                  <a:pt x="575" y="634"/>
                </a:cubicBezTo>
                <a:cubicBezTo>
                  <a:pt x="575" y="636"/>
                  <a:pt x="575" y="636"/>
                  <a:pt x="575" y="636"/>
                </a:cubicBezTo>
                <a:lnTo>
                  <a:pt x="585" y="635"/>
                </a:lnTo>
                <a:close/>
                <a:moveTo>
                  <a:pt x="760" y="655"/>
                </a:moveTo>
                <a:cubicBezTo>
                  <a:pt x="760" y="655"/>
                  <a:pt x="755" y="649"/>
                  <a:pt x="753" y="646"/>
                </a:cubicBezTo>
                <a:cubicBezTo>
                  <a:pt x="755" y="647"/>
                  <a:pt x="754" y="646"/>
                  <a:pt x="753" y="645"/>
                </a:cubicBezTo>
                <a:cubicBezTo>
                  <a:pt x="753" y="645"/>
                  <a:pt x="753" y="645"/>
                  <a:pt x="753" y="645"/>
                </a:cubicBezTo>
                <a:cubicBezTo>
                  <a:pt x="752" y="645"/>
                  <a:pt x="752" y="643"/>
                  <a:pt x="751" y="642"/>
                </a:cubicBezTo>
                <a:cubicBezTo>
                  <a:pt x="752" y="643"/>
                  <a:pt x="752" y="643"/>
                  <a:pt x="752" y="643"/>
                </a:cubicBezTo>
                <a:cubicBezTo>
                  <a:pt x="752" y="642"/>
                  <a:pt x="752" y="642"/>
                  <a:pt x="752" y="642"/>
                </a:cubicBezTo>
                <a:cubicBezTo>
                  <a:pt x="752" y="643"/>
                  <a:pt x="752" y="643"/>
                  <a:pt x="752" y="643"/>
                </a:cubicBezTo>
                <a:cubicBezTo>
                  <a:pt x="752" y="644"/>
                  <a:pt x="752" y="644"/>
                  <a:pt x="751" y="644"/>
                </a:cubicBezTo>
                <a:cubicBezTo>
                  <a:pt x="751" y="644"/>
                  <a:pt x="751" y="644"/>
                  <a:pt x="751" y="644"/>
                </a:cubicBezTo>
                <a:cubicBezTo>
                  <a:pt x="751" y="644"/>
                  <a:pt x="750" y="644"/>
                  <a:pt x="750" y="644"/>
                </a:cubicBezTo>
                <a:cubicBezTo>
                  <a:pt x="750" y="642"/>
                  <a:pt x="750" y="642"/>
                  <a:pt x="750" y="642"/>
                </a:cubicBezTo>
                <a:cubicBezTo>
                  <a:pt x="749" y="645"/>
                  <a:pt x="744" y="638"/>
                  <a:pt x="743" y="638"/>
                </a:cubicBezTo>
                <a:cubicBezTo>
                  <a:pt x="742" y="636"/>
                  <a:pt x="741" y="638"/>
                  <a:pt x="739" y="637"/>
                </a:cubicBezTo>
                <a:cubicBezTo>
                  <a:pt x="737" y="637"/>
                  <a:pt x="738" y="635"/>
                  <a:pt x="737" y="634"/>
                </a:cubicBezTo>
                <a:cubicBezTo>
                  <a:pt x="737" y="634"/>
                  <a:pt x="737" y="633"/>
                  <a:pt x="736" y="633"/>
                </a:cubicBezTo>
                <a:cubicBezTo>
                  <a:pt x="736" y="633"/>
                  <a:pt x="736" y="633"/>
                  <a:pt x="736" y="634"/>
                </a:cubicBezTo>
                <a:cubicBezTo>
                  <a:pt x="736" y="634"/>
                  <a:pt x="736" y="634"/>
                  <a:pt x="736" y="634"/>
                </a:cubicBezTo>
                <a:cubicBezTo>
                  <a:pt x="737" y="635"/>
                  <a:pt x="737" y="636"/>
                  <a:pt x="737" y="636"/>
                </a:cubicBezTo>
                <a:cubicBezTo>
                  <a:pt x="737" y="636"/>
                  <a:pt x="737" y="635"/>
                  <a:pt x="736" y="635"/>
                </a:cubicBezTo>
                <a:cubicBezTo>
                  <a:pt x="735" y="635"/>
                  <a:pt x="735" y="635"/>
                  <a:pt x="735" y="635"/>
                </a:cubicBezTo>
                <a:cubicBezTo>
                  <a:pt x="733" y="635"/>
                  <a:pt x="733" y="635"/>
                  <a:pt x="733" y="635"/>
                </a:cubicBezTo>
                <a:cubicBezTo>
                  <a:pt x="729" y="634"/>
                  <a:pt x="729" y="634"/>
                  <a:pt x="729" y="634"/>
                </a:cubicBezTo>
                <a:cubicBezTo>
                  <a:pt x="734" y="633"/>
                  <a:pt x="731" y="633"/>
                  <a:pt x="730" y="632"/>
                </a:cubicBezTo>
                <a:cubicBezTo>
                  <a:pt x="723" y="632"/>
                  <a:pt x="712" y="630"/>
                  <a:pt x="710" y="633"/>
                </a:cubicBezTo>
                <a:cubicBezTo>
                  <a:pt x="700" y="632"/>
                  <a:pt x="700" y="631"/>
                  <a:pt x="696" y="631"/>
                </a:cubicBezTo>
                <a:cubicBezTo>
                  <a:pt x="697" y="631"/>
                  <a:pt x="700" y="632"/>
                  <a:pt x="700" y="632"/>
                </a:cubicBezTo>
                <a:cubicBezTo>
                  <a:pt x="696" y="631"/>
                  <a:pt x="698" y="633"/>
                  <a:pt x="700" y="633"/>
                </a:cubicBezTo>
                <a:cubicBezTo>
                  <a:pt x="694" y="635"/>
                  <a:pt x="669" y="628"/>
                  <a:pt x="668" y="632"/>
                </a:cubicBezTo>
                <a:cubicBezTo>
                  <a:pt x="668" y="631"/>
                  <a:pt x="668" y="631"/>
                  <a:pt x="668" y="631"/>
                </a:cubicBezTo>
                <a:cubicBezTo>
                  <a:pt x="667" y="634"/>
                  <a:pt x="669" y="636"/>
                  <a:pt x="665" y="638"/>
                </a:cubicBezTo>
                <a:cubicBezTo>
                  <a:pt x="662" y="637"/>
                  <a:pt x="662" y="637"/>
                  <a:pt x="662" y="637"/>
                </a:cubicBezTo>
                <a:cubicBezTo>
                  <a:pt x="658" y="638"/>
                  <a:pt x="658" y="638"/>
                  <a:pt x="658" y="638"/>
                </a:cubicBezTo>
                <a:cubicBezTo>
                  <a:pt x="655" y="638"/>
                  <a:pt x="656" y="637"/>
                  <a:pt x="656" y="637"/>
                </a:cubicBezTo>
                <a:cubicBezTo>
                  <a:pt x="650" y="638"/>
                  <a:pt x="640" y="637"/>
                  <a:pt x="632" y="637"/>
                </a:cubicBezTo>
                <a:cubicBezTo>
                  <a:pt x="641" y="644"/>
                  <a:pt x="641" y="644"/>
                  <a:pt x="641" y="644"/>
                </a:cubicBezTo>
                <a:cubicBezTo>
                  <a:pt x="634" y="642"/>
                  <a:pt x="622" y="639"/>
                  <a:pt x="620" y="642"/>
                </a:cubicBezTo>
                <a:cubicBezTo>
                  <a:pt x="616" y="639"/>
                  <a:pt x="616" y="639"/>
                  <a:pt x="616" y="639"/>
                </a:cubicBezTo>
                <a:cubicBezTo>
                  <a:pt x="602" y="635"/>
                  <a:pt x="607" y="642"/>
                  <a:pt x="601" y="641"/>
                </a:cubicBezTo>
                <a:cubicBezTo>
                  <a:pt x="594" y="638"/>
                  <a:pt x="594" y="638"/>
                  <a:pt x="594" y="638"/>
                </a:cubicBezTo>
                <a:cubicBezTo>
                  <a:pt x="601" y="638"/>
                  <a:pt x="601" y="638"/>
                  <a:pt x="601" y="638"/>
                </a:cubicBezTo>
                <a:cubicBezTo>
                  <a:pt x="594" y="637"/>
                  <a:pt x="591" y="636"/>
                  <a:pt x="586" y="635"/>
                </a:cubicBezTo>
                <a:cubicBezTo>
                  <a:pt x="586" y="635"/>
                  <a:pt x="586" y="635"/>
                  <a:pt x="586" y="635"/>
                </a:cubicBezTo>
                <a:cubicBezTo>
                  <a:pt x="586" y="635"/>
                  <a:pt x="586" y="635"/>
                  <a:pt x="586" y="635"/>
                </a:cubicBezTo>
                <a:cubicBezTo>
                  <a:pt x="585" y="635"/>
                  <a:pt x="585" y="635"/>
                  <a:pt x="585" y="635"/>
                </a:cubicBezTo>
                <a:cubicBezTo>
                  <a:pt x="585" y="636"/>
                  <a:pt x="581" y="637"/>
                  <a:pt x="576" y="637"/>
                </a:cubicBezTo>
                <a:cubicBezTo>
                  <a:pt x="569" y="637"/>
                  <a:pt x="564" y="639"/>
                  <a:pt x="553" y="637"/>
                </a:cubicBezTo>
                <a:cubicBezTo>
                  <a:pt x="550" y="640"/>
                  <a:pt x="550" y="640"/>
                  <a:pt x="550" y="640"/>
                </a:cubicBezTo>
                <a:cubicBezTo>
                  <a:pt x="542" y="638"/>
                  <a:pt x="542" y="638"/>
                  <a:pt x="542" y="638"/>
                </a:cubicBezTo>
                <a:cubicBezTo>
                  <a:pt x="542" y="636"/>
                  <a:pt x="542" y="636"/>
                  <a:pt x="542" y="636"/>
                </a:cubicBezTo>
                <a:cubicBezTo>
                  <a:pt x="550" y="636"/>
                  <a:pt x="565" y="635"/>
                  <a:pt x="575" y="634"/>
                </a:cubicBezTo>
                <a:cubicBezTo>
                  <a:pt x="576" y="633"/>
                  <a:pt x="576" y="633"/>
                  <a:pt x="576" y="633"/>
                </a:cubicBezTo>
                <a:cubicBezTo>
                  <a:pt x="569" y="634"/>
                  <a:pt x="562" y="635"/>
                  <a:pt x="558" y="635"/>
                </a:cubicBezTo>
                <a:cubicBezTo>
                  <a:pt x="556" y="634"/>
                  <a:pt x="551" y="632"/>
                  <a:pt x="555" y="631"/>
                </a:cubicBezTo>
                <a:cubicBezTo>
                  <a:pt x="551" y="633"/>
                  <a:pt x="551" y="633"/>
                  <a:pt x="551" y="633"/>
                </a:cubicBezTo>
                <a:cubicBezTo>
                  <a:pt x="531" y="634"/>
                  <a:pt x="530" y="634"/>
                  <a:pt x="509" y="632"/>
                </a:cubicBezTo>
                <a:cubicBezTo>
                  <a:pt x="511" y="633"/>
                  <a:pt x="511" y="633"/>
                  <a:pt x="511" y="633"/>
                </a:cubicBezTo>
                <a:cubicBezTo>
                  <a:pt x="507" y="633"/>
                  <a:pt x="502" y="634"/>
                  <a:pt x="501" y="632"/>
                </a:cubicBezTo>
                <a:cubicBezTo>
                  <a:pt x="488" y="632"/>
                  <a:pt x="475" y="631"/>
                  <a:pt x="467" y="628"/>
                </a:cubicBezTo>
                <a:cubicBezTo>
                  <a:pt x="465" y="631"/>
                  <a:pt x="465" y="631"/>
                  <a:pt x="465" y="631"/>
                </a:cubicBezTo>
                <a:cubicBezTo>
                  <a:pt x="462" y="631"/>
                  <a:pt x="458" y="627"/>
                  <a:pt x="457" y="630"/>
                </a:cubicBezTo>
                <a:cubicBezTo>
                  <a:pt x="451" y="631"/>
                  <a:pt x="451" y="631"/>
                  <a:pt x="451" y="631"/>
                </a:cubicBezTo>
                <a:cubicBezTo>
                  <a:pt x="447" y="631"/>
                  <a:pt x="445" y="633"/>
                  <a:pt x="441" y="631"/>
                </a:cubicBezTo>
                <a:cubicBezTo>
                  <a:pt x="441" y="631"/>
                  <a:pt x="441" y="631"/>
                  <a:pt x="441" y="631"/>
                </a:cubicBezTo>
                <a:cubicBezTo>
                  <a:pt x="440" y="631"/>
                  <a:pt x="440" y="631"/>
                  <a:pt x="440" y="631"/>
                </a:cubicBezTo>
                <a:cubicBezTo>
                  <a:pt x="440" y="631"/>
                  <a:pt x="440" y="631"/>
                  <a:pt x="440" y="631"/>
                </a:cubicBezTo>
                <a:cubicBezTo>
                  <a:pt x="431" y="630"/>
                  <a:pt x="440" y="633"/>
                  <a:pt x="430" y="632"/>
                </a:cubicBezTo>
                <a:cubicBezTo>
                  <a:pt x="427" y="630"/>
                  <a:pt x="427" y="635"/>
                  <a:pt x="422" y="634"/>
                </a:cubicBezTo>
                <a:cubicBezTo>
                  <a:pt x="417" y="631"/>
                  <a:pt x="417" y="631"/>
                  <a:pt x="417" y="631"/>
                </a:cubicBezTo>
                <a:cubicBezTo>
                  <a:pt x="409" y="629"/>
                  <a:pt x="407" y="632"/>
                  <a:pt x="395" y="632"/>
                </a:cubicBezTo>
                <a:cubicBezTo>
                  <a:pt x="389" y="631"/>
                  <a:pt x="387" y="628"/>
                  <a:pt x="390" y="625"/>
                </a:cubicBezTo>
                <a:cubicBezTo>
                  <a:pt x="385" y="628"/>
                  <a:pt x="388" y="627"/>
                  <a:pt x="381" y="629"/>
                </a:cubicBezTo>
                <a:cubicBezTo>
                  <a:pt x="380" y="627"/>
                  <a:pt x="381" y="627"/>
                  <a:pt x="382" y="626"/>
                </a:cubicBezTo>
                <a:cubicBezTo>
                  <a:pt x="376" y="624"/>
                  <a:pt x="378" y="627"/>
                  <a:pt x="373" y="627"/>
                </a:cubicBezTo>
                <a:cubicBezTo>
                  <a:pt x="372" y="629"/>
                  <a:pt x="370" y="633"/>
                  <a:pt x="369" y="633"/>
                </a:cubicBezTo>
                <a:cubicBezTo>
                  <a:pt x="371" y="634"/>
                  <a:pt x="371" y="634"/>
                  <a:pt x="371" y="634"/>
                </a:cubicBezTo>
                <a:cubicBezTo>
                  <a:pt x="365" y="635"/>
                  <a:pt x="360" y="636"/>
                  <a:pt x="354" y="635"/>
                </a:cubicBezTo>
                <a:cubicBezTo>
                  <a:pt x="354" y="633"/>
                  <a:pt x="354" y="633"/>
                  <a:pt x="354" y="633"/>
                </a:cubicBezTo>
                <a:cubicBezTo>
                  <a:pt x="348" y="634"/>
                  <a:pt x="348" y="634"/>
                  <a:pt x="348" y="634"/>
                </a:cubicBezTo>
                <a:cubicBezTo>
                  <a:pt x="348" y="632"/>
                  <a:pt x="348" y="632"/>
                  <a:pt x="348" y="632"/>
                </a:cubicBezTo>
                <a:cubicBezTo>
                  <a:pt x="339" y="632"/>
                  <a:pt x="339" y="632"/>
                  <a:pt x="339" y="632"/>
                </a:cubicBezTo>
                <a:cubicBezTo>
                  <a:pt x="340" y="633"/>
                  <a:pt x="340" y="633"/>
                  <a:pt x="340" y="633"/>
                </a:cubicBezTo>
                <a:cubicBezTo>
                  <a:pt x="338" y="633"/>
                  <a:pt x="331" y="633"/>
                  <a:pt x="327" y="632"/>
                </a:cubicBezTo>
                <a:cubicBezTo>
                  <a:pt x="327" y="631"/>
                  <a:pt x="327" y="631"/>
                  <a:pt x="327" y="631"/>
                </a:cubicBezTo>
                <a:cubicBezTo>
                  <a:pt x="316" y="628"/>
                  <a:pt x="307" y="631"/>
                  <a:pt x="294" y="631"/>
                </a:cubicBezTo>
                <a:cubicBezTo>
                  <a:pt x="296" y="629"/>
                  <a:pt x="296" y="629"/>
                  <a:pt x="296" y="629"/>
                </a:cubicBezTo>
                <a:cubicBezTo>
                  <a:pt x="292" y="627"/>
                  <a:pt x="295" y="632"/>
                  <a:pt x="289" y="630"/>
                </a:cubicBezTo>
                <a:cubicBezTo>
                  <a:pt x="289" y="628"/>
                  <a:pt x="289" y="628"/>
                  <a:pt x="289" y="628"/>
                </a:cubicBezTo>
                <a:cubicBezTo>
                  <a:pt x="284" y="631"/>
                  <a:pt x="283" y="627"/>
                  <a:pt x="280" y="626"/>
                </a:cubicBezTo>
                <a:cubicBezTo>
                  <a:pt x="282" y="629"/>
                  <a:pt x="282" y="629"/>
                  <a:pt x="282" y="629"/>
                </a:cubicBezTo>
                <a:cubicBezTo>
                  <a:pt x="276" y="628"/>
                  <a:pt x="276" y="628"/>
                  <a:pt x="276" y="628"/>
                </a:cubicBezTo>
                <a:cubicBezTo>
                  <a:pt x="269" y="626"/>
                  <a:pt x="272" y="624"/>
                  <a:pt x="273" y="622"/>
                </a:cubicBezTo>
                <a:cubicBezTo>
                  <a:pt x="268" y="624"/>
                  <a:pt x="268" y="624"/>
                  <a:pt x="268" y="624"/>
                </a:cubicBezTo>
                <a:cubicBezTo>
                  <a:pt x="268" y="621"/>
                  <a:pt x="268" y="621"/>
                  <a:pt x="268" y="621"/>
                </a:cubicBezTo>
                <a:cubicBezTo>
                  <a:pt x="264" y="624"/>
                  <a:pt x="264" y="621"/>
                  <a:pt x="259" y="622"/>
                </a:cubicBezTo>
                <a:cubicBezTo>
                  <a:pt x="258" y="621"/>
                  <a:pt x="260" y="620"/>
                  <a:pt x="258" y="620"/>
                </a:cubicBezTo>
                <a:cubicBezTo>
                  <a:pt x="248" y="622"/>
                  <a:pt x="248" y="622"/>
                  <a:pt x="248" y="622"/>
                </a:cubicBezTo>
                <a:cubicBezTo>
                  <a:pt x="254" y="621"/>
                  <a:pt x="254" y="621"/>
                  <a:pt x="254" y="621"/>
                </a:cubicBezTo>
                <a:cubicBezTo>
                  <a:pt x="253" y="625"/>
                  <a:pt x="253" y="625"/>
                  <a:pt x="253" y="625"/>
                </a:cubicBezTo>
                <a:cubicBezTo>
                  <a:pt x="247" y="628"/>
                  <a:pt x="245" y="624"/>
                  <a:pt x="241" y="625"/>
                </a:cubicBezTo>
                <a:cubicBezTo>
                  <a:pt x="244" y="624"/>
                  <a:pt x="244" y="624"/>
                  <a:pt x="244" y="624"/>
                </a:cubicBezTo>
                <a:cubicBezTo>
                  <a:pt x="237" y="624"/>
                  <a:pt x="237" y="622"/>
                  <a:pt x="233" y="621"/>
                </a:cubicBezTo>
                <a:cubicBezTo>
                  <a:pt x="234" y="622"/>
                  <a:pt x="236" y="623"/>
                  <a:pt x="233" y="623"/>
                </a:cubicBezTo>
                <a:cubicBezTo>
                  <a:pt x="231" y="623"/>
                  <a:pt x="232" y="622"/>
                  <a:pt x="230" y="621"/>
                </a:cubicBezTo>
                <a:cubicBezTo>
                  <a:pt x="229" y="624"/>
                  <a:pt x="224" y="624"/>
                  <a:pt x="220" y="622"/>
                </a:cubicBezTo>
                <a:cubicBezTo>
                  <a:pt x="220" y="622"/>
                  <a:pt x="220" y="622"/>
                  <a:pt x="220" y="622"/>
                </a:cubicBezTo>
                <a:cubicBezTo>
                  <a:pt x="219" y="622"/>
                  <a:pt x="219" y="622"/>
                  <a:pt x="217" y="621"/>
                </a:cubicBezTo>
                <a:cubicBezTo>
                  <a:pt x="218" y="619"/>
                  <a:pt x="218" y="619"/>
                  <a:pt x="218" y="619"/>
                </a:cubicBezTo>
                <a:cubicBezTo>
                  <a:pt x="214" y="621"/>
                  <a:pt x="214" y="621"/>
                  <a:pt x="214" y="621"/>
                </a:cubicBezTo>
                <a:cubicBezTo>
                  <a:pt x="212" y="620"/>
                  <a:pt x="208" y="621"/>
                  <a:pt x="209" y="619"/>
                </a:cubicBezTo>
                <a:cubicBezTo>
                  <a:pt x="210" y="619"/>
                  <a:pt x="210" y="619"/>
                  <a:pt x="210" y="619"/>
                </a:cubicBezTo>
                <a:cubicBezTo>
                  <a:pt x="204" y="618"/>
                  <a:pt x="198" y="616"/>
                  <a:pt x="192" y="615"/>
                </a:cubicBezTo>
                <a:cubicBezTo>
                  <a:pt x="192" y="612"/>
                  <a:pt x="192" y="612"/>
                  <a:pt x="192" y="612"/>
                </a:cubicBezTo>
                <a:cubicBezTo>
                  <a:pt x="189" y="615"/>
                  <a:pt x="183" y="609"/>
                  <a:pt x="182" y="613"/>
                </a:cubicBezTo>
                <a:cubicBezTo>
                  <a:pt x="180" y="610"/>
                  <a:pt x="169" y="611"/>
                  <a:pt x="173" y="607"/>
                </a:cubicBezTo>
                <a:cubicBezTo>
                  <a:pt x="168" y="605"/>
                  <a:pt x="164" y="604"/>
                  <a:pt x="160" y="603"/>
                </a:cubicBezTo>
                <a:cubicBezTo>
                  <a:pt x="159" y="603"/>
                  <a:pt x="157" y="602"/>
                  <a:pt x="156" y="602"/>
                </a:cubicBezTo>
                <a:cubicBezTo>
                  <a:pt x="156" y="601"/>
                  <a:pt x="155" y="601"/>
                  <a:pt x="154" y="598"/>
                </a:cubicBezTo>
                <a:cubicBezTo>
                  <a:pt x="155" y="596"/>
                  <a:pt x="154" y="592"/>
                  <a:pt x="153" y="588"/>
                </a:cubicBezTo>
                <a:cubicBezTo>
                  <a:pt x="151" y="583"/>
                  <a:pt x="150" y="578"/>
                  <a:pt x="149" y="573"/>
                </a:cubicBezTo>
                <a:cubicBezTo>
                  <a:pt x="143" y="556"/>
                  <a:pt x="140" y="544"/>
                  <a:pt x="136" y="525"/>
                </a:cubicBezTo>
                <a:cubicBezTo>
                  <a:pt x="140" y="512"/>
                  <a:pt x="131" y="495"/>
                  <a:pt x="133" y="482"/>
                </a:cubicBezTo>
                <a:cubicBezTo>
                  <a:pt x="131" y="479"/>
                  <a:pt x="131" y="479"/>
                  <a:pt x="131" y="479"/>
                </a:cubicBezTo>
                <a:cubicBezTo>
                  <a:pt x="133" y="470"/>
                  <a:pt x="128" y="457"/>
                  <a:pt x="131" y="445"/>
                </a:cubicBezTo>
                <a:cubicBezTo>
                  <a:pt x="130" y="442"/>
                  <a:pt x="130" y="440"/>
                  <a:pt x="130" y="440"/>
                </a:cubicBezTo>
                <a:cubicBezTo>
                  <a:pt x="129" y="440"/>
                  <a:pt x="129" y="441"/>
                  <a:pt x="128" y="442"/>
                </a:cubicBezTo>
                <a:cubicBezTo>
                  <a:pt x="129" y="438"/>
                  <a:pt x="127" y="431"/>
                  <a:pt x="130" y="431"/>
                </a:cubicBezTo>
                <a:cubicBezTo>
                  <a:pt x="130" y="432"/>
                  <a:pt x="130" y="432"/>
                  <a:pt x="130" y="432"/>
                </a:cubicBezTo>
                <a:cubicBezTo>
                  <a:pt x="133" y="433"/>
                  <a:pt x="128" y="422"/>
                  <a:pt x="130" y="418"/>
                </a:cubicBezTo>
                <a:cubicBezTo>
                  <a:pt x="128" y="420"/>
                  <a:pt x="128" y="420"/>
                  <a:pt x="128" y="420"/>
                </a:cubicBezTo>
                <a:cubicBezTo>
                  <a:pt x="128" y="414"/>
                  <a:pt x="128" y="414"/>
                  <a:pt x="128" y="414"/>
                </a:cubicBezTo>
                <a:cubicBezTo>
                  <a:pt x="129" y="415"/>
                  <a:pt x="129" y="415"/>
                  <a:pt x="129" y="415"/>
                </a:cubicBezTo>
                <a:cubicBezTo>
                  <a:pt x="121" y="387"/>
                  <a:pt x="130" y="374"/>
                  <a:pt x="124" y="347"/>
                </a:cubicBezTo>
                <a:cubicBezTo>
                  <a:pt x="127" y="351"/>
                  <a:pt x="122" y="342"/>
                  <a:pt x="125" y="342"/>
                </a:cubicBezTo>
                <a:cubicBezTo>
                  <a:pt x="130" y="335"/>
                  <a:pt x="124" y="329"/>
                  <a:pt x="123" y="323"/>
                </a:cubicBezTo>
                <a:cubicBezTo>
                  <a:pt x="123" y="323"/>
                  <a:pt x="123" y="323"/>
                  <a:pt x="122" y="323"/>
                </a:cubicBezTo>
                <a:cubicBezTo>
                  <a:pt x="123" y="313"/>
                  <a:pt x="123" y="313"/>
                  <a:pt x="123" y="313"/>
                </a:cubicBezTo>
                <a:cubicBezTo>
                  <a:pt x="127" y="319"/>
                  <a:pt x="119" y="306"/>
                  <a:pt x="123" y="312"/>
                </a:cubicBezTo>
                <a:cubicBezTo>
                  <a:pt x="126" y="286"/>
                  <a:pt x="123" y="253"/>
                  <a:pt x="125" y="224"/>
                </a:cubicBezTo>
                <a:cubicBezTo>
                  <a:pt x="124" y="225"/>
                  <a:pt x="124" y="225"/>
                  <a:pt x="124" y="225"/>
                </a:cubicBezTo>
                <a:cubicBezTo>
                  <a:pt x="124" y="218"/>
                  <a:pt x="123" y="209"/>
                  <a:pt x="124" y="203"/>
                </a:cubicBezTo>
                <a:cubicBezTo>
                  <a:pt x="126" y="197"/>
                  <a:pt x="122" y="190"/>
                  <a:pt x="122" y="188"/>
                </a:cubicBezTo>
                <a:cubicBezTo>
                  <a:pt x="120" y="182"/>
                  <a:pt x="124" y="177"/>
                  <a:pt x="124" y="179"/>
                </a:cubicBezTo>
                <a:cubicBezTo>
                  <a:pt x="123" y="173"/>
                  <a:pt x="119" y="166"/>
                  <a:pt x="121" y="157"/>
                </a:cubicBezTo>
                <a:cubicBezTo>
                  <a:pt x="125" y="154"/>
                  <a:pt x="118" y="132"/>
                  <a:pt x="123" y="132"/>
                </a:cubicBezTo>
                <a:cubicBezTo>
                  <a:pt x="122" y="132"/>
                  <a:pt x="122" y="132"/>
                  <a:pt x="122" y="132"/>
                </a:cubicBezTo>
                <a:cubicBezTo>
                  <a:pt x="125" y="122"/>
                  <a:pt x="122" y="112"/>
                  <a:pt x="123" y="102"/>
                </a:cubicBezTo>
                <a:cubicBezTo>
                  <a:pt x="126" y="105"/>
                  <a:pt x="129" y="109"/>
                  <a:pt x="130" y="114"/>
                </a:cubicBezTo>
                <a:cubicBezTo>
                  <a:pt x="128" y="117"/>
                  <a:pt x="139" y="131"/>
                  <a:pt x="141" y="131"/>
                </a:cubicBezTo>
                <a:cubicBezTo>
                  <a:pt x="143" y="128"/>
                  <a:pt x="143" y="128"/>
                  <a:pt x="143" y="128"/>
                </a:cubicBezTo>
                <a:cubicBezTo>
                  <a:pt x="147" y="133"/>
                  <a:pt x="146" y="137"/>
                  <a:pt x="151" y="140"/>
                </a:cubicBezTo>
                <a:cubicBezTo>
                  <a:pt x="150" y="140"/>
                  <a:pt x="150" y="140"/>
                  <a:pt x="150" y="140"/>
                </a:cubicBezTo>
                <a:cubicBezTo>
                  <a:pt x="150" y="140"/>
                  <a:pt x="151" y="141"/>
                  <a:pt x="151" y="141"/>
                </a:cubicBezTo>
                <a:cubicBezTo>
                  <a:pt x="152" y="141"/>
                  <a:pt x="156" y="140"/>
                  <a:pt x="154" y="149"/>
                </a:cubicBezTo>
                <a:cubicBezTo>
                  <a:pt x="153" y="149"/>
                  <a:pt x="153" y="149"/>
                  <a:pt x="153" y="149"/>
                </a:cubicBezTo>
                <a:cubicBezTo>
                  <a:pt x="153" y="150"/>
                  <a:pt x="154" y="149"/>
                  <a:pt x="154" y="150"/>
                </a:cubicBezTo>
                <a:cubicBezTo>
                  <a:pt x="154" y="148"/>
                  <a:pt x="154" y="148"/>
                  <a:pt x="154" y="148"/>
                </a:cubicBezTo>
                <a:cubicBezTo>
                  <a:pt x="156" y="148"/>
                  <a:pt x="157" y="148"/>
                  <a:pt x="158" y="149"/>
                </a:cubicBezTo>
                <a:cubicBezTo>
                  <a:pt x="158" y="149"/>
                  <a:pt x="157" y="150"/>
                  <a:pt x="157" y="150"/>
                </a:cubicBezTo>
                <a:cubicBezTo>
                  <a:pt x="159" y="152"/>
                  <a:pt x="159" y="152"/>
                  <a:pt x="159" y="152"/>
                </a:cubicBezTo>
                <a:cubicBezTo>
                  <a:pt x="158" y="154"/>
                  <a:pt x="158" y="154"/>
                  <a:pt x="158" y="154"/>
                </a:cubicBezTo>
                <a:cubicBezTo>
                  <a:pt x="159" y="154"/>
                  <a:pt x="163" y="151"/>
                  <a:pt x="162" y="154"/>
                </a:cubicBezTo>
                <a:cubicBezTo>
                  <a:pt x="164" y="152"/>
                  <a:pt x="164" y="154"/>
                  <a:pt x="165" y="153"/>
                </a:cubicBezTo>
                <a:cubicBezTo>
                  <a:pt x="165" y="153"/>
                  <a:pt x="164" y="154"/>
                  <a:pt x="164" y="154"/>
                </a:cubicBezTo>
                <a:cubicBezTo>
                  <a:pt x="165" y="155"/>
                  <a:pt x="167" y="157"/>
                  <a:pt x="169" y="156"/>
                </a:cubicBezTo>
                <a:cubicBezTo>
                  <a:pt x="169" y="156"/>
                  <a:pt x="171" y="148"/>
                  <a:pt x="173" y="146"/>
                </a:cubicBezTo>
                <a:cubicBezTo>
                  <a:pt x="174" y="147"/>
                  <a:pt x="174" y="146"/>
                  <a:pt x="175" y="145"/>
                </a:cubicBezTo>
                <a:cubicBezTo>
                  <a:pt x="174" y="145"/>
                  <a:pt x="174" y="145"/>
                  <a:pt x="174" y="145"/>
                </a:cubicBezTo>
                <a:cubicBezTo>
                  <a:pt x="174" y="144"/>
                  <a:pt x="175" y="143"/>
                  <a:pt x="176" y="142"/>
                </a:cubicBezTo>
                <a:cubicBezTo>
                  <a:pt x="175" y="142"/>
                  <a:pt x="175" y="142"/>
                  <a:pt x="175" y="142"/>
                </a:cubicBezTo>
                <a:cubicBezTo>
                  <a:pt x="175" y="142"/>
                  <a:pt x="175" y="142"/>
                  <a:pt x="175" y="142"/>
                </a:cubicBezTo>
                <a:cubicBezTo>
                  <a:pt x="175" y="142"/>
                  <a:pt x="175" y="143"/>
                  <a:pt x="175" y="143"/>
                </a:cubicBezTo>
                <a:cubicBezTo>
                  <a:pt x="174" y="143"/>
                  <a:pt x="174" y="143"/>
                  <a:pt x="174" y="143"/>
                </a:cubicBezTo>
                <a:cubicBezTo>
                  <a:pt x="174" y="143"/>
                  <a:pt x="174" y="143"/>
                  <a:pt x="174" y="143"/>
                </a:cubicBezTo>
                <a:cubicBezTo>
                  <a:pt x="174" y="142"/>
                  <a:pt x="174" y="142"/>
                  <a:pt x="174" y="141"/>
                </a:cubicBezTo>
                <a:cubicBezTo>
                  <a:pt x="175" y="140"/>
                  <a:pt x="175" y="140"/>
                  <a:pt x="175" y="140"/>
                </a:cubicBezTo>
                <a:cubicBezTo>
                  <a:pt x="172" y="141"/>
                  <a:pt x="176" y="133"/>
                  <a:pt x="175" y="132"/>
                </a:cubicBezTo>
                <a:cubicBezTo>
                  <a:pt x="176" y="130"/>
                  <a:pt x="174" y="131"/>
                  <a:pt x="174" y="129"/>
                </a:cubicBezTo>
                <a:cubicBezTo>
                  <a:pt x="173" y="127"/>
                  <a:pt x="175" y="127"/>
                  <a:pt x="176" y="125"/>
                </a:cubicBezTo>
                <a:cubicBezTo>
                  <a:pt x="176" y="123"/>
                  <a:pt x="174" y="126"/>
                  <a:pt x="174" y="126"/>
                </a:cubicBezTo>
                <a:cubicBezTo>
                  <a:pt x="175" y="123"/>
                  <a:pt x="175" y="123"/>
                  <a:pt x="175" y="123"/>
                </a:cubicBezTo>
                <a:cubicBezTo>
                  <a:pt x="176" y="124"/>
                  <a:pt x="176" y="123"/>
                  <a:pt x="176" y="123"/>
                </a:cubicBezTo>
                <a:cubicBezTo>
                  <a:pt x="176" y="121"/>
                  <a:pt x="177" y="117"/>
                  <a:pt x="174" y="119"/>
                </a:cubicBezTo>
                <a:cubicBezTo>
                  <a:pt x="174" y="116"/>
                  <a:pt x="175" y="116"/>
                  <a:pt x="175" y="115"/>
                </a:cubicBezTo>
                <a:cubicBezTo>
                  <a:pt x="175" y="115"/>
                  <a:pt x="175" y="116"/>
                  <a:pt x="174" y="116"/>
                </a:cubicBezTo>
                <a:cubicBezTo>
                  <a:pt x="175" y="115"/>
                  <a:pt x="174" y="116"/>
                  <a:pt x="173" y="117"/>
                </a:cubicBezTo>
                <a:cubicBezTo>
                  <a:pt x="172" y="116"/>
                  <a:pt x="175" y="108"/>
                  <a:pt x="172" y="110"/>
                </a:cubicBezTo>
                <a:cubicBezTo>
                  <a:pt x="172" y="109"/>
                  <a:pt x="172" y="109"/>
                  <a:pt x="172" y="109"/>
                </a:cubicBezTo>
                <a:cubicBezTo>
                  <a:pt x="170" y="111"/>
                  <a:pt x="168" y="112"/>
                  <a:pt x="166" y="112"/>
                </a:cubicBezTo>
                <a:cubicBezTo>
                  <a:pt x="167" y="111"/>
                  <a:pt x="167" y="111"/>
                  <a:pt x="167" y="111"/>
                </a:cubicBezTo>
                <a:cubicBezTo>
                  <a:pt x="166" y="111"/>
                  <a:pt x="166" y="111"/>
                  <a:pt x="166" y="111"/>
                </a:cubicBezTo>
                <a:cubicBezTo>
                  <a:pt x="166" y="110"/>
                  <a:pt x="167" y="110"/>
                  <a:pt x="167" y="110"/>
                </a:cubicBezTo>
                <a:cubicBezTo>
                  <a:pt x="165" y="109"/>
                  <a:pt x="166" y="107"/>
                  <a:pt x="165" y="105"/>
                </a:cubicBezTo>
                <a:cubicBezTo>
                  <a:pt x="160" y="110"/>
                  <a:pt x="160" y="110"/>
                  <a:pt x="160" y="110"/>
                </a:cubicBezTo>
                <a:cubicBezTo>
                  <a:pt x="160" y="108"/>
                  <a:pt x="162" y="104"/>
                  <a:pt x="160" y="105"/>
                </a:cubicBezTo>
                <a:cubicBezTo>
                  <a:pt x="161" y="103"/>
                  <a:pt x="161" y="103"/>
                  <a:pt x="161" y="103"/>
                </a:cubicBezTo>
                <a:cubicBezTo>
                  <a:pt x="164" y="98"/>
                  <a:pt x="159" y="102"/>
                  <a:pt x="159" y="101"/>
                </a:cubicBezTo>
                <a:cubicBezTo>
                  <a:pt x="161" y="98"/>
                  <a:pt x="161" y="98"/>
                  <a:pt x="161" y="98"/>
                </a:cubicBezTo>
                <a:cubicBezTo>
                  <a:pt x="161" y="99"/>
                  <a:pt x="161" y="99"/>
                  <a:pt x="161" y="99"/>
                </a:cubicBezTo>
                <a:cubicBezTo>
                  <a:pt x="162" y="97"/>
                  <a:pt x="162" y="96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1" y="95"/>
                  <a:pt x="160" y="95"/>
                  <a:pt x="160" y="94"/>
                </a:cubicBezTo>
                <a:cubicBezTo>
                  <a:pt x="159" y="93"/>
                  <a:pt x="157" y="93"/>
                  <a:pt x="158" y="89"/>
                </a:cubicBezTo>
                <a:cubicBezTo>
                  <a:pt x="156" y="90"/>
                  <a:pt x="156" y="90"/>
                  <a:pt x="156" y="90"/>
                </a:cubicBezTo>
                <a:cubicBezTo>
                  <a:pt x="156" y="88"/>
                  <a:pt x="156" y="88"/>
                  <a:pt x="156" y="88"/>
                </a:cubicBezTo>
                <a:cubicBezTo>
                  <a:pt x="158" y="87"/>
                  <a:pt x="158" y="87"/>
                  <a:pt x="158" y="87"/>
                </a:cubicBezTo>
                <a:cubicBezTo>
                  <a:pt x="159" y="88"/>
                  <a:pt x="161" y="91"/>
                  <a:pt x="162" y="93"/>
                </a:cubicBezTo>
                <a:cubicBezTo>
                  <a:pt x="163" y="92"/>
                  <a:pt x="163" y="92"/>
                  <a:pt x="163" y="92"/>
                </a:cubicBezTo>
                <a:cubicBezTo>
                  <a:pt x="163" y="91"/>
                  <a:pt x="161" y="90"/>
                  <a:pt x="161" y="89"/>
                </a:cubicBezTo>
                <a:cubicBezTo>
                  <a:pt x="161" y="89"/>
                  <a:pt x="162" y="87"/>
                  <a:pt x="164" y="87"/>
                </a:cubicBezTo>
                <a:cubicBezTo>
                  <a:pt x="162" y="87"/>
                  <a:pt x="162" y="87"/>
                  <a:pt x="162" y="87"/>
                </a:cubicBezTo>
                <a:cubicBezTo>
                  <a:pt x="159" y="83"/>
                  <a:pt x="159" y="83"/>
                  <a:pt x="159" y="78"/>
                </a:cubicBezTo>
                <a:cubicBezTo>
                  <a:pt x="158" y="79"/>
                  <a:pt x="158" y="79"/>
                  <a:pt x="158" y="79"/>
                </a:cubicBezTo>
                <a:cubicBezTo>
                  <a:pt x="157" y="78"/>
                  <a:pt x="156" y="78"/>
                  <a:pt x="158" y="77"/>
                </a:cubicBezTo>
                <a:cubicBezTo>
                  <a:pt x="157" y="74"/>
                  <a:pt x="156" y="71"/>
                  <a:pt x="158" y="68"/>
                </a:cubicBezTo>
                <a:cubicBezTo>
                  <a:pt x="156" y="69"/>
                  <a:pt x="156" y="69"/>
                  <a:pt x="156" y="69"/>
                </a:cubicBezTo>
                <a:cubicBezTo>
                  <a:pt x="155" y="69"/>
                  <a:pt x="158" y="66"/>
                  <a:pt x="155" y="68"/>
                </a:cubicBezTo>
                <a:cubicBezTo>
                  <a:pt x="153" y="67"/>
                  <a:pt x="153" y="67"/>
                  <a:pt x="153" y="67"/>
                </a:cubicBezTo>
                <a:cubicBezTo>
                  <a:pt x="153" y="66"/>
                  <a:pt x="152" y="66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4"/>
                  <a:pt x="152" y="64"/>
                  <a:pt x="152" y="64"/>
                </a:cubicBezTo>
                <a:cubicBezTo>
                  <a:pt x="151" y="64"/>
                  <a:pt x="151" y="65"/>
                  <a:pt x="151" y="63"/>
                </a:cubicBezTo>
                <a:cubicBezTo>
                  <a:pt x="151" y="61"/>
                  <a:pt x="147" y="63"/>
                  <a:pt x="147" y="62"/>
                </a:cubicBezTo>
                <a:cubicBezTo>
                  <a:pt x="148" y="60"/>
                  <a:pt x="148" y="59"/>
                  <a:pt x="149" y="58"/>
                </a:cubicBezTo>
                <a:cubicBezTo>
                  <a:pt x="149" y="54"/>
                  <a:pt x="146" y="56"/>
                  <a:pt x="144" y="52"/>
                </a:cubicBezTo>
                <a:cubicBezTo>
                  <a:pt x="144" y="49"/>
                  <a:pt x="145" y="45"/>
                  <a:pt x="148" y="44"/>
                </a:cubicBezTo>
                <a:cubicBezTo>
                  <a:pt x="145" y="45"/>
                  <a:pt x="146" y="45"/>
                  <a:pt x="144" y="44"/>
                </a:cubicBezTo>
                <a:cubicBezTo>
                  <a:pt x="144" y="43"/>
                  <a:pt x="145" y="43"/>
                  <a:pt x="146" y="42"/>
                </a:cubicBezTo>
                <a:cubicBezTo>
                  <a:pt x="146" y="38"/>
                  <a:pt x="144" y="42"/>
                  <a:pt x="143" y="40"/>
                </a:cubicBezTo>
                <a:cubicBezTo>
                  <a:pt x="141" y="42"/>
                  <a:pt x="139" y="45"/>
                  <a:pt x="138" y="45"/>
                </a:cubicBezTo>
                <a:cubicBezTo>
                  <a:pt x="138" y="46"/>
                  <a:pt x="138" y="46"/>
                  <a:pt x="138" y="46"/>
                </a:cubicBezTo>
                <a:cubicBezTo>
                  <a:pt x="136" y="46"/>
                  <a:pt x="135" y="45"/>
                  <a:pt x="135" y="42"/>
                </a:cubicBezTo>
                <a:cubicBezTo>
                  <a:pt x="136" y="40"/>
                  <a:pt x="136" y="40"/>
                  <a:pt x="136" y="40"/>
                </a:cubicBezTo>
                <a:cubicBezTo>
                  <a:pt x="134" y="39"/>
                  <a:pt x="134" y="39"/>
                  <a:pt x="134" y="39"/>
                </a:cubicBezTo>
                <a:cubicBezTo>
                  <a:pt x="135" y="37"/>
                  <a:pt x="135" y="37"/>
                  <a:pt x="135" y="37"/>
                </a:cubicBezTo>
                <a:cubicBezTo>
                  <a:pt x="133" y="35"/>
                  <a:pt x="133" y="35"/>
                  <a:pt x="133" y="35"/>
                </a:cubicBezTo>
                <a:cubicBezTo>
                  <a:pt x="133" y="36"/>
                  <a:pt x="133" y="36"/>
                  <a:pt x="133" y="36"/>
                </a:cubicBezTo>
                <a:cubicBezTo>
                  <a:pt x="133" y="35"/>
                  <a:pt x="132" y="34"/>
                  <a:pt x="131" y="32"/>
                </a:cubicBezTo>
                <a:cubicBezTo>
                  <a:pt x="132" y="31"/>
                  <a:pt x="132" y="31"/>
                  <a:pt x="132" y="31"/>
                </a:cubicBezTo>
                <a:cubicBezTo>
                  <a:pt x="132" y="27"/>
                  <a:pt x="131" y="25"/>
                  <a:pt x="129" y="24"/>
                </a:cubicBezTo>
                <a:cubicBezTo>
                  <a:pt x="128" y="24"/>
                  <a:pt x="127" y="23"/>
                  <a:pt x="126" y="21"/>
                </a:cubicBezTo>
                <a:cubicBezTo>
                  <a:pt x="127" y="19"/>
                  <a:pt x="127" y="19"/>
                  <a:pt x="127" y="19"/>
                </a:cubicBezTo>
                <a:cubicBezTo>
                  <a:pt x="127" y="15"/>
                  <a:pt x="126" y="23"/>
                  <a:pt x="125" y="20"/>
                </a:cubicBezTo>
                <a:cubicBezTo>
                  <a:pt x="126" y="16"/>
                  <a:pt x="126" y="16"/>
                  <a:pt x="126" y="16"/>
                </a:cubicBezTo>
                <a:cubicBezTo>
                  <a:pt x="124" y="20"/>
                  <a:pt x="125" y="13"/>
                  <a:pt x="125" y="10"/>
                </a:cubicBezTo>
                <a:cubicBezTo>
                  <a:pt x="124" y="16"/>
                  <a:pt x="124" y="16"/>
                  <a:pt x="124" y="16"/>
                </a:cubicBezTo>
                <a:cubicBezTo>
                  <a:pt x="123" y="13"/>
                  <a:pt x="123" y="13"/>
                  <a:pt x="123" y="13"/>
                </a:cubicBezTo>
                <a:cubicBezTo>
                  <a:pt x="122" y="9"/>
                  <a:pt x="124" y="5"/>
                  <a:pt x="124" y="3"/>
                </a:cubicBezTo>
                <a:cubicBezTo>
                  <a:pt x="124" y="3"/>
                  <a:pt x="123" y="4"/>
                  <a:pt x="123" y="5"/>
                </a:cubicBezTo>
                <a:cubicBezTo>
                  <a:pt x="123" y="0"/>
                  <a:pt x="123" y="0"/>
                  <a:pt x="123" y="0"/>
                </a:cubicBezTo>
                <a:cubicBezTo>
                  <a:pt x="123" y="1"/>
                  <a:pt x="123" y="1"/>
                  <a:pt x="123" y="1"/>
                </a:cubicBezTo>
                <a:cubicBezTo>
                  <a:pt x="123" y="2"/>
                  <a:pt x="123" y="2"/>
                  <a:pt x="122" y="2"/>
                </a:cubicBezTo>
                <a:cubicBezTo>
                  <a:pt x="122" y="3"/>
                  <a:pt x="122" y="3"/>
                  <a:pt x="122" y="3"/>
                </a:cubicBezTo>
                <a:cubicBezTo>
                  <a:pt x="122" y="2"/>
                  <a:pt x="121" y="2"/>
                  <a:pt x="121" y="4"/>
                </a:cubicBezTo>
                <a:cubicBezTo>
                  <a:pt x="121" y="3"/>
                  <a:pt x="121" y="1"/>
                  <a:pt x="121" y="1"/>
                </a:cubicBezTo>
                <a:cubicBezTo>
                  <a:pt x="117" y="11"/>
                  <a:pt x="117" y="11"/>
                  <a:pt x="117" y="11"/>
                </a:cubicBezTo>
                <a:cubicBezTo>
                  <a:pt x="119" y="6"/>
                  <a:pt x="119" y="6"/>
                  <a:pt x="119" y="6"/>
                </a:cubicBezTo>
                <a:cubicBezTo>
                  <a:pt x="118" y="13"/>
                  <a:pt x="118" y="13"/>
                  <a:pt x="118" y="13"/>
                </a:cubicBezTo>
                <a:cubicBezTo>
                  <a:pt x="116" y="20"/>
                  <a:pt x="116" y="14"/>
                  <a:pt x="115" y="17"/>
                </a:cubicBezTo>
                <a:cubicBezTo>
                  <a:pt x="116" y="15"/>
                  <a:pt x="116" y="15"/>
                  <a:pt x="116" y="15"/>
                </a:cubicBezTo>
                <a:cubicBezTo>
                  <a:pt x="114" y="18"/>
                  <a:pt x="114" y="16"/>
                  <a:pt x="113" y="16"/>
                </a:cubicBezTo>
                <a:cubicBezTo>
                  <a:pt x="113" y="16"/>
                  <a:pt x="114" y="18"/>
                  <a:pt x="113" y="19"/>
                </a:cubicBezTo>
                <a:cubicBezTo>
                  <a:pt x="113" y="20"/>
                  <a:pt x="113" y="17"/>
                  <a:pt x="112" y="17"/>
                </a:cubicBezTo>
                <a:cubicBezTo>
                  <a:pt x="112" y="21"/>
                  <a:pt x="111" y="25"/>
                  <a:pt x="110" y="24"/>
                </a:cubicBezTo>
                <a:cubicBezTo>
                  <a:pt x="110" y="24"/>
                  <a:pt x="110" y="23"/>
                  <a:pt x="110" y="23"/>
                </a:cubicBezTo>
                <a:cubicBezTo>
                  <a:pt x="110" y="24"/>
                  <a:pt x="109" y="25"/>
                  <a:pt x="109" y="25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8" y="25"/>
                  <a:pt x="108" y="25"/>
                  <a:pt x="108" y="25"/>
                </a:cubicBezTo>
                <a:cubicBezTo>
                  <a:pt x="107" y="25"/>
                  <a:pt x="107" y="29"/>
                  <a:pt x="107" y="26"/>
                </a:cubicBezTo>
                <a:cubicBezTo>
                  <a:pt x="107" y="25"/>
                  <a:pt x="107" y="25"/>
                  <a:pt x="107" y="25"/>
                </a:cubicBezTo>
                <a:cubicBezTo>
                  <a:pt x="102" y="30"/>
                  <a:pt x="102" y="30"/>
                  <a:pt x="102" y="30"/>
                </a:cubicBezTo>
                <a:cubicBezTo>
                  <a:pt x="101" y="27"/>
                  <a:pt x="101" y="27"/>
                  <a:pt x="101" y="27"/>
                </a:cubicBezTo>
                <a:cubicBezTo>
                  <a:pt x="101" y="31"/>
                  <a:pt x="98" y="29"/>
                  <a:pt x="99" y="33"/>
                </a:cubicBezTo>
                <a:cubicBezTo>
                  <a:pt x="97" y="32"/>
                  <a:pt x="96" y="39"/>
                  <a:pt x="95" y="34"/>
                </a:cubicBezTo>
                <a:cubicBezTo>
                  <a:pt x="93" y="35"/>
                  <a:pt x="92" y="38"/>
                  <a:pt x="91" y="40"/>
                </a:cubicBezTo>
                <a:cubicBezTo>
                  <a:pt x="89" y="42"/>
                  <a:pt x="88" y="44"/>
                  <a:pt x="85" y="46"/>
                </a:cubicBezTo>
                <a:cubicBezTo>
                  <a:pt x="84" y="45"/>
                  <a:pt x="82" y="46"/>
                  <a:pt x="80" y="47"/>
                </a:cubicBezTo>
                <a:cubicBezTo>
                  <a:pt x="79" y="48"/>
                  <a:pt x="78" y="49"/>
                  <a:pt x="77" y="49"/>
                </a:cubicBezTo>
                <a:cubicBezTo>
                  <a:pt x="77" y="50"/>
                  <a:pt x="76" y="50"/>
                  <a:pt x="76" y="50"/>
                </a:cubicBezTo>
                <a:cubicBezTo>
                  <a:pt x="74" y="54"/>
                  <a:pt x="73" y="57"/>
                  <a:pt x="71" y="61"/>
                </a:cubicBezTo>
                <a:cubicBezTo>
                  <a:pt x="65" y="58"/>
                  <a:pt x="67" y="66"/>
                  <a:pt x="63" y="66"/>
                </a:cubicBezTo>
                <a:cubicBezTo>
                  <a:pt x="64" y="68"/>
                  <a:pt x="64" y="68"/>
                  <a:pt x="64" y="68"/>
                </a:cubicBezTo>
                <a:cubicBezTo>
                  <a:pt x="60" y="66"/>
                  <a:pt x="61" y="71"/>
                  <a:pt x="57" y="70"/>
                </a:cubicBezTo>
                <a:cubicBezTo>
                  <a:pt x="57" y="71"/>
                  <a:pt x="57" y="72"/>
                  <a:pt x="57" y="72"/>
                </a:cubicBezTo>
                <a:cubicBezTo>
                  <a:pt x="57" y="72"/>
                  <a:pt x="57" y="72"/>
                  <a:pt x="58" y="73"/>
                </a:cubicBezTo>
                <a:cubicBezTo>
                  <a:pt x="57" y="73"/>
                  <a:pt x="56" y="75"/>
                  <a:pt x="55" y="72"/>
                </a:cubicBezTo>
                <a:cubicBezTo>
                  <a:pt x="55" y="72"/>
                  <a:pt x="55" y="72"/>
                  <a:pt x="55" y="72"/>
                </a:cubicBezTo>
                <a:cubicBezTo>
                  <a:pt x="53" y="70"/>
                  <a:pt x="54" y="74"/>
                  <a:pt x="52" y="73"/>
                </a:cubicBezTo>
                <a:cubicBezTo>
                  <a:pt x="54" y="75"/>
                  <a:pt x="54" y="75"/>
                  <a:pt x="54" y="75"/>
                </a:cubicBezTo>
                <a:cubicBezTo>
                  <a:pt x="53" y="76"/>
                  <a:pt x="53" y="76"/>
                  <a:pt x="53" y="76"/>
                </a:cubicBezTo>
                <a:cubicBezTo>
                  <a:pt x="52" y="75"/>
                  <a:pt x="52" y="75"/>
                  <a:pt x="52" y="75"/>
                </a:cubicBezTo>
                <a:cubicBezTo>
                  <a:pt x="52" y="84"/>
                  <a:pt x="44" y="78"/>
                  <a:pt x="43" y="86"/>
                </a:cubicBezTo>
                <a:cubicBezTo>
                  <a:pt x="42" y="83"/>
                  <a:pt x="43" y="88"/>
                  <a:pt x="41" y="85"/>
                </a:cubicBezTo>
                <a:cubicBezTo>
                  <a:pt x="37" y="83"/>
                  <a:pt x="39" y="87"/>
                  <a:pt x="39" y="89"/>
                </a:cubicBezTo>
                <a:cubicBezTo>
                  <a:pt x="39" y="89"/>
                  <a:pt x="39" y="89"/>
                  <a:pt x="39" y="90"/>
                </a:cubicBezTo>
                <a:cubicBezTo>
                  <a:pt x="37" y="91"/>
                  <a:pt x="37" y="91"/>
                  <a:pt x="37" y="91"/>
                </a:cubicBezTo>
                <a:cubicBezTo>
                  <a:pt x="36" y="86"/>
                  <a:pt x="38" y="94"/>
                  <a:pt x="37" y="91"/>
                </a:cubicBezTo>
                <a:cubicBezTo>
                  <a:pt x="31" y="91"/>
                  <a:pt x="27" y="98"/>
                  <a:pt x="21" y="100"/>
                </a:cubicBezTo>
                <a:cubicBezTo>
                  <a:pt x="22" y="101"/>
                  <a:pt x="22" y="101"/>
                  <a:pt x="22" y="101"/>
                </a:cubicBezTo>
                <a:cubicBezTo>
                  <a:pt x="20" y="101"/>
                  <a:pt x="19" y="104"/>
                  <a:pt x="18" y="103"/>
                </a:cubicBezTo>
                <a:cubicBezTo>
                  <a:pt x="16" y="102"/>
                  <a:pt x="17" y="106"/>
                  <a:pt x="17" y="107"/>
                </a:cubicBezTo>
                <a:cubicBezTo>
                  <a:pt x="16" y="109"/>
                  <a:pt x="13" y="107"/>
                  <a:pt x="14" y="106"/>
                </a:cubicBezTo>
                <a:cubicBezTo>
                  <a:pt x="13" y="108"/>
                  <a:pt x="14" y="112"/>
                  <a:pt x="12" y="111"/>
                </a:cubicBezTo>
                <a:cubicBezTo>
                  <a:pt x="9" y="109"/>
                  <a:pt x="9" y="117"/>
                  <a:pt x="7" y="114"/>
                </a:cubicBezTo>
                <a:cubicBezTo>
                  <a:pt x="7" y="114"/>
                  <a:pt x="7" y="114"/>
                  <a:pt x="7" y="114"/>
                </a:cubicBezTo>
                <a:cubicBezTo>
                  <a:pt x="3" y="113"/>
                  <a:pt x="4" y="118"/>
                  <a:pt x="0" y="117"/>
                </a:cubicBezTo>
                <a:cubicBezTo>
                  <a:pt x="0" y="117"/>
                  <a:pt x="0" y="117"/>
                  <a:pt x="0" y="117"/>
                </a:cubicBezTo>
                <a:cubicBezTo>
                  <a:pt x="1" y="121"/>
                  <a:pt x="1" y="126"/>
                  <a:pt x="2" y="130"/>
                </a:cubicBezTo>
                <a:cubicBezTo>
                  <a:pt x="10" y="141"/>
                  <a:pt x="10" y="141"/>
                  <a:pt x="10" y="141"/>
                </a:cubicBezTo>
                <a:cubicBezTo>
                  <a:pt x="20" y="148"/>
                  <a:pt x="20" y="148"/>
                  <a:pt x="20" y="148"/>
                </a:cubicBezTo>
                <a:cubicBezTo>
                  <a:pt x="23" y="145"/>
                  <a:pt x="27" y="142"/>
                  <a:pt x="30" y="139"/>
                </a:cubicBezTo>
                <a:cubicBezTo>
                  <a:pt x="42" y="137"/>
                  <a:pt x="42" y="137"/>
                  <a:pt x="42" y="137"/>
                </a:cubicBezTo>
                <a:cubicBezTo>
                  <a:pt x="49" y="132"/>
                  <a:pt x="56" y="127"/>
                  <a:pt x="63" y="121"/>
                </a:cubicBezTo>
                <a:cubicBezTo>
                  <a:pt x="62" y="117"/>
                  <a:pt x="62" y="117"/>
                  <a:pt x="62" y="117"/>
                </a:cubicBezTo>
                <a:cubicBezTo>
                  <a:pt x="70" y="119"/>
                  <a:pt x="72" y="110"/>
                  <a:pt x="78" y="109"/>
                </a:cubicBezTo>
                <a:cubicBezTo>
                  <a:pt x="77" y="107"/>
                  <a:pt x="77" y="107"/>
                  <a:pt x="77" y="107"/>
                </a:cubicBezTo>
                <a:cubicBezTo>
                  <a:pt x="78" y="106"/>
                  <a:pt x="79" y="108"/>
                  <a:pt x="79" y="108"/>
                </a:cubicBezTo>
                <a:cubicBezTo>
                  <a:pt x="82" y="105"/>
                  <a:pt x="85" y="103"/>
                  <a:pt x="87" y="101"/>
                </a:cubicBezTo>
                <a:cubicBezTo>
                  <a:pt x="87" y="121"/>
                  <a:pt x="87" y="141"/>
                  <a:pt x="88" y="160"/>
                </a:cubicBezTo>
                <a:cubicBezTo>
                  <a:pt x="82" y="209"/>
                  <a:pt x="82" y="209"/>
                  <a:pt x="82" y="209"/>
                </a:cubicBezTo>
                <a:cubicBezTo>
                  <a:pt x="82" y="249"/>
                  <a:pt x="82" y="288"/>
                  <a:pt x="83" y="328"/>
                </a:cubicBezTo>
                <a:cubicBezTo>
                  <a:pt x="87" y="336"/>
                  <a:pt x="87" y="336"/>
                  <a:pt x="87" y="336"/>
                </a:cubicBezTo>
                <a:cubicBezTo>
                  <a:pt x="81" y="359"/>
                  <a:pt x="88" y="389"/>
                  <a:pt x="85" y="415"/>
                </a:cubicBezTo>
                <a:cubicBezTo>
                  <a:pt x="88" y="415"/>
                  <a:pt x="88" y="415"/>
                  <a:pt x="88" y="415"/>
                </a:cubicBezTo>
                <a:cubicBezTo>
                  <a:pt x="89" y="422"/>
                  <a:pt x="87" y="422"/>
                  <a:pt x="86" y="423"/>
                </a:cubicBezTo>
                <a:cubicBezTo>
                  <a:pt x="88" y="456"/>
                  <a:pt x="91" y="490"/>
                  <a:pt x="96" y="523"/>
                </a:cubicBezTo>
                <a:cubicBezTo>
                  <a:pt x="98" y="539"/>
                  <a:pt x="100" y="556"/>
                  <a:pt x="103" y="572"/>
                </a:cubicBezTo>
                <a:cubicBezTo>
                  <a:pt x="105" y="580"/>
                  <a:pt x="107" y="588"/>
                  <a:pt x="109" y="597"/>
                </a:cubicBezTo>
                <a:cubicBezTo>
                  <a:pt x="112" y="605"/>
                  <a:pt x="114" y="613"/>
                  <a:pt x="120" y="623"/>
                </a:cubicBezTo>
                <a:cubicBezTo>
                  <a:pt x="121" y="625"/>
                  <a:pt x="123" y="628"/>
                  <a:pt x="126" y="632"/>
                </a:cubicBezTo>
                <a:cubicBezTo>
                  <a:pt x="129" y="635"/>
                  <a:pt x="133" y="638"/>
                  <a:pt x="136" y="640"/>
                </a:cubicBezTo>
                <a:cubicBezTo>
                  <a:pt x="143" y="644"/>
                  <a:pt x="149" y="647"/>
                  <a:pt x="151" y="649"/>
                </a:cubicBezTo>
                <a:cubicBezTo>
                  <a:pt x="163" y="652"/>
                  <a:pt x="173" y="654"/>
                  <a:pt x="184" y="655"/>
                </a:cubicBezTo>
                <a:cubicBezTo>
                  <a:pt x="194" y="657"/>
                  <a:pt x="204" y="659"/>
                  <a:pt x="214" y="661"/>
                </a:cubicBezTo>
                <a:cubicBezTo>
                  <a:pt x="213" y="661"/>
                  <a:pt x="213" y="661"/>
                  <a:pt x="213" y="661"/>
                </a:cubicBezTo>
                <a:cubicBezTo>
                  <a:pt x="223" y="662"/>
                  <a:pt x="223" y="662"/>
                  <a:pt x="223" y="662"/>
                </a:cubicBezTo>
                <a:cubicBezTo>
                  <a:pt x="223" y="662"/>
                  <a:pt x="223" y="662"/>
                  <a:pt x="223" y="663"/>
                </a:cubicBezTo>
                <a:cubicBezTo>
                  <a:pt x="233" y="662"/>
                  <a:pt x="249" y="666"/>
                  <a:pt x="262" y="668"/>
                </a:cubicBezTo>
                <a:cubicBezTo>
                  <a:pt x="261" y="668"/>
                  <a:pt x="261" y="668"/>
                  <a:pt x="261" y="668"/>
                </a:cubicBezTo>
                <a:cubicBezTo>
                  <a:pt x="298" y="671"/>
                  <a:pt x="334" y="672"/>
                  <a:pt x="369" y="672"/>
                </a:cubicBezTo>
                <a:cubicBezTo>
                  <a:pt x="404" y="672"/>
                  <a:pt x="439" y="672"/>
                  <a:pt x="476" y="673"/>
                </a:cubicBezTo>
                <a:cubicBezTo>
                  <a:pt x="509" y="677"/>
                  <a:pt x="549" y="671"/>
                  <a:pt x="587" y="673"/>
                </a:cubicBezTo>
                <a:cubicBezTo>
                  <a:pt x="594" y="676"/>
                  <a:pt x="672" y="671"/>
                  <a:pt x="679" y="669"/>
                </a:cubicBezTo>
                <a:cubicBezTo>
                  <a:pt x="670" y="666"/>
                  <a:pt x="670" y="666"/>
                  <a:pt x="670" y="666"/>
                </a:cubicBezTo>
                <a:cubicBezTo>
                  <a:pt x="699" y="664"/>
                  <a:pt x="713" y="666"/>
                  <a:pt x="738" y="662"/>
                </a:cubicBezTo>
                <a:cubicBezTo>
                  <a:pt x="736" y="663"/>
                  <a:pt x="736" y="663"/>
                  <a:pt x="736" y="663"/>
                </a:cubicBezTo>
                <a:cubicBezTo>
                  <a:pt x="739" y="663"/>
                  <a:pt x="738" y="662"/>
                  <a:pt x="739" y="661"/>
                </a:cubicBezTo>
                <a:cubicBezTo>
                  <a:pt x="740" y="660"/>
                  <a:pt x="742" y="661"/>
                  <a:pt x="747" y="665"/>
                </a:cubicBezTo>
                <a:cubicBezTo>
                  <a:pt x="747" y="665"/>
                  <a:pt x="747" y="665"/>
                  <a:pt x="747" y="665"/>
                </a:cubicBezTo>
                <a:cubicBezTo>
                  <a:pt x="747" y="665"/>
                  <a:pt x="747" y="665"/>
                  <a:pt x="747" y="665"/>
                </a:cubicBezTo>
                <a:cubicBezTo>
                  <a:pt x="746" y="663"/>
                  <a:pt x="746" y="663"/>
                  <a:pt x="746" y="663"/>
                </a:cubicBezTo>
                <a:cubicBezTo>
                  <a:pt x="747" y="663"/>
                  <a:pt x="747" y="661"/>
                  <a:pt x="748" y="661"/>
                </a:cubicBezTo>
                <a:cubicBezTo>
                  <a:pt x="749" y="661"/>
                  <a:pt x="749" y="662"/>
                  <a:pt x="749" y="662"/>
                </a:cubicBezTo>
                <a:cubicBezTo>
                  <a:pt x="751" y="662"/>
                  <a:pt x="751" y="662"/>
                  <a:pt x="751" y="662"/>
                </a:cubicBezTo>
                <a:cubicBezTo>
                  <a:pt x="752" y="664"/>
                  <a:pt x="752" y="664"/>
                  <a:pt x="752" y="664"/>
                </a:cubicBezTo>
                <a:cubicBezTo>
                  <a:pt x="753" y="662"/>
                  <a:pt x="753" y="658"/>
                  <a:pt x="755" y="660"/>
                </a:cubicBezTo>
                <a:cubicBezTo>
                  <a:pt x="754" y="657"/>
                  <a:pt x="756" y="658"/>
                  <a:pt x="755" y="657"/>
                </a:cubicBezTo>
                <a:cubicBezTo>
                  <a:pt x="756" y="657"/>
                  <a:pt x="756" y="658"/>
                  <a:pt x="756" y="658"/>
                </a:cubicBezTo>
                <a:cubicBezTo>
                  <a:pt x="757" y="658"/>
                  <a:pt x="760" y="657"/>
                  <a:pt x="760" y="655"/>
                </a:cubicBezTo>
                <a:close/>
                <a:moveTo>
                  <a:pt x="749" y="662"/>
                </a:moveTo>
                <a:cubicBezTo>
                  <a:pt x="749" y="662"/>
                  <a:pt x="749" y="662"/>
                  <a:pt x="749" y="662"/>
                </a:cubicBezTo>
                <a:cubicBezTo>
                  <a:pt x="749" y="663"/>
                  <a:pt x="749" y="663"/>
                  <a:pt x="749" y="662"/>
                </a:cubicBezTo>
                <a:close/>
                <a:moveTo>
                  <a:pt x="632" y="637"/>
                </a:moveTo>
                <a:cubicBezTo>
                  <a:pt x="632" y="637"/>
                  <a:pt x="632" y="637"/>
                  <a:pt x="632" y="637"/>
                </a:cubicBezTo>
                <a:cubicBezTo>
                  <a:pt x="630" y="635"/>
                  <a:pt x="630" y="635"/>
                  <a:pt x="630" y="635"/>
                </a:cubicBezTo>
                <a:lnTo>
                  <a:pt x="632" y="637"/>
                </a:lnTo>
                <a:close/>
                <a:moveTo>
                  <a:pt x="730" y="632"/>
                </a:moveTo>
                <a:cubicBezTo>
                  <a:pt x="732" y="632"/>
                  <a:pt x="733" y="632"/>
                  <a:pt x="734" y="631"/>
                </a:cubicBezTo>
                <a:cubicBezTo>
                  <a:pt x="730" y="631"/>
                  <a:pt x="730" y="632"/>
                  <a:pt x="730" y="632"/>
                </a:cubicBezTo>
                <a:close/>
                <a:moveTo>
                  <a:pt x="756" y="660"/>
                </a:moveTo>
                <a:cubicBezTo>
                  <a:pt x="757" y="660"/>
                  <a:pt x="756" y="659"/>
                  <a:pt x="756" y="658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56" y="659"/>
                  <a:pt x="756" y="659"/>
                  <a:pt x="756" y="660"/>
                </a:cubicBezTo>
                <a:close/>
                <a:moveTo>
                  <a:pt x="753" y="645"/>
                </a:moveTo>
                <a:cubicBezTo>
                  <a:pt x="753" y="644"/>
                  <a:pt x="753" y="644"/>
                  <a:pt x="753" y="644"/>
                </a:cubicBezTo>
                <a:cubicBezTo>
                  <a:pt x="753" y="644"/>
                  <a:pt x="753" y="644"/>
                  <a:pt x="753" y="645"/>
                </a:cubicBez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41" name="Freeform 6"/>
          <p:cNvSpPr>
            <a:spLocks noEditPoints="1"/>
          </p:cNvSpPr>
          <p:nvPr/>
        </p:nvSpPr>
        <p:spPr bwMode="auto">
          <a:xfrm flipH="1">
            <a:off x="2859882" y="1204913"/>
            <a:ext cx="960835" cy="854869"/>
          </a:xfrm>
          <a:custGeom>
            <a:avLst/>
            <a:gdLst>
              <a:gd name="T0" fmla="*/ 38 w 760"/>
              <a:gd name="T1" fmla="*/ 89 h 677"/>
              <a:gd name="T2" fmla="*/ 158 w 760"/>
              <a:gd name="T3" fmla="*/ 77 h 677"/>
              <a:gd name="T4" fmla="*/ 163 w 760"/>
              <a:gd name="T5" fmla="*/ 95 h 677"/>
              <a:gd name="T6" fmla="*/ 165 w 760"/>
              <a:gd name="T7" fmla="*/ 105 h 677"/>
              <a:gd name="T8" fmla="*/ 163 w 760"/>
              <a:gd name="T9" fmla="*/ 154 h 677"/>
              <a:gd name="T10" fmla="*/ 373 w 760"/>
              <a:gd name="T11" fmla="*/ 627 h 677"/>
              <a:gd name="T12" fmla="*/ 220 w 760"/>
              <a:gd name="T13" fmla="*/ 622 h 677"/>
              <a:gd name="T14" fmla="*/ 124 w 760"/>
              <a:gd name="T15" fmla="*/ 320 h 677"/>
              <a:gd name="T16" fmla="*/ 124 w 760"/>
              <a:gd name="T17" fmla="*/ 132 h 677"/>
              <a:gd name="T18" fmla="*/ 752 w 760"/>
              <a:gd name="T19" fmla="*/ 643 h 677"/>
              <a:gd name="T20" fmla="*/ 753 w 760"/>
              <a:gd name="T21" fmla="*/ 645 h 677"/>
              <a:gd name="T22" fmla="*/ 750 w 760"/>
              <a:gd name="T23" fmla="*/ 644 h 677"/>
              <a:gd name="T24" fmla="*/ 737 w 760"/>
              <a:gd name="T25" fmla="*/ 636 h 677"/>
              <a:gd name="T26" fmla="*/ 700 w 760"/>
              <a:gd name="T27" fmla="*/ 632 h 677"/>
              <a:gd name="T28" fmla="*/ 632 w 760"/>
              <a:gd name="T29" fmla="*/ 637 h 677"/>
              <a:gd name="T30" fmla="*/ 586 w 760"/>
              <a:gd name="T31" fmla="*/ 635 h 677"/>
              <a:gd name="T32" fmla="*/ 575 w 760"/>
              <a:gd name="T33" fmla="*/ 634 h 677"/>
              <a:gd name="T34" fmla="*/ 467 w 760"/>
              <a:gd name="T35" fmla="*/ 628 h 677"/>
              <a:gd name="T36" fmla="*/ 430 w 760"/>
              <a:gd name="T37" fmla="*/ 632 h 677"/>
              <a:gd name="T38" fmla="*/ 369 w 760"/>
              <a:gd name="T39" fmla="*/ 633 h 677"/>
              <a:gd name="T40" fmla="*/ 327 w 760"/>
              <a:gd name="T41" fmla="*/ 632 h 677"/>
              <a:gd name="T42" fmla="*/ 276 w 760"/>
              <a:gd name="T43" fmla="*/ 628 h 677"/>
              <a:gd name="T44" fmla="*/ 253 w 760"/>
              <a:gd name="T45" fmla="*/ 625 h 677"/>
              <a:gd name="T46" fmla="*/ 217 w 760"/>
              <a:gd name="T47" fmla="*/ 621 h 677"/>
              <a:gd name="T48" fmla="*/ 173 w 760"/>
              <a:gd name="T49" fmla="*/ 607 h 677"/>
              <a:gd name="T50" fmla="*/ 131 w 760"/>
              <a:gd name="T51" fmla="*/ 479 h 677"/>
              <a:gd name="T52" fmla="*/ 128 w 760"/>
              <a:gd name="T53" fmla="*/ 414 h 677"/>
              <a:gd name="T54" fmla="*/ 125 w 760"/>
              <a:gd name="T55" fmla="*/ 224 h 677"/>
              <a:gd name="T56" fmla="*/ 123 w 760"/>
              <a:gd name="T57" fmla="*/ 102 h 677"/>
              <a:gd name="T58" fmla="*/ 153 w 760"/>
              <a:gd name="T59" fmla="*/ 149 h 677"/>
              <a:gd name="T60" fmla="*/ 165 w 760"/>
              <a:gd name="T61" fmla="*/ 153 h 677"/>
              <a:gd name="T62" fmla="*/ 175 w 760"/>
              <a:gd name="T63" fmla="*/ 142 h 677"/>
              <a:gd name="T64" fmla="*/ 176 w 760"/>
              <a:gd name="T65" fmla="*/ 125 h 677"/>
              <a:gd name="T66" fmla="*/ 172 w 760"/>
              <a:gd name="T67" fmla="*/ 110 h 677"/>
              <a:gd name="T68" fmla="*/ 160 w 760"/>
              <a:gd name="T69" fmla="*/ 105 h 677"/>
              <a:gd name="T70" fmla="*/ 163 w 760"/>
              <a:gd name="T71" fmla="*/ 95 h 677"/>
              <a:gd name="T72" fmla="*/ 161 w 760"/>
              <a:gd name="T73" fmla="*/ 89 h 677"/>
              <a:gd name="T74" fmla="*/ 155 w 760"/>
              <a:gd name="T75" fmla="*/ 68 h 677"/>
              <a:gd name="T76" fmla="*/ 151 w 760"/>
              <a:gd name="T77" fmla="*/ 63 h 677"/>
              <a:gd name="T78" fmla="*/ 138 w 760"/>
              <a:gd name="T79" fmla="*/ 45 h 677"/>
              <a:gd name="T80" fmla="*/ 131 w 760"/>
              <a:gd name="T81" fmla="*/ 32 h 677"/>
              <a:gd name="T82" fmla="*/ 124 w 760"/>
              <a:gd name="T83" fmla="*/ 16 h 677"/>
              <a:gd name="T84" fmla="*/ 121 w 760"/>
              <a:gd name="T85" fmla="*/ 4 h 677"/>
              <a:gd name="T86" fmla="*/ 113 w 760"/>
              <a:gd name="T87" fmla="*/ 19 h 677"/>
              <a:gd name="T88" fmla="*/ 107 w 760"/>
              <a:gd name="T89" fmla="*/ 25 h 677"/>
              <a:gd name="T90" fmla="*/ 77 w 760"/>
              <a:gd name="T91" fmla="*/ 49 h 677"/>
              <a:gd name="T92" fmla="*/ 55 w 760"/>
              <a:gd name="T93" fmla="*/ 72 h 677"/>
              <a:gd name="T94" fmla="*/ 39 w 760"/>
              <a:gd name="T95" fmla="*/ 89 h 677"/>
              <a:gd name="T96" fmla="*/ 14 w 760"/>
              <a:gd name="T97" fmla="*/ 106 h 677"/>
              <a:gd name="T98" fmla="*/ 20 w 760"/>
              <a:gd name="T99" fmla="*/ 148 h 677"/>
              <a:gd name="T100" fmla="*/ 87 w 760"/>
              <a:gd name="T101" fmla="*/ 101 h 677"/>
              <a:gd name="T102" fmla="*/ 96 w 760"/>
              <a:gd name="T103" fmla="*/ 523 h 677"/>
              <a:gd name="T104" fmla="*/ 214 w 760"/>
              <a:gd name="T105" fmla="*/ 661 h 677"/>
              <a:gd name="T106" fmla="*/ 587 w 760"/>
              <a:gd name="T107" fmla="*/ 673 h 677"/>
              <a:gd name="T108" fmla="*/ 747 w 760"/>
              <a:gd name="T109" fmla="*/ 665 h 677"/>
              <a:gd name="T110" fmla="*/ 756 w 760"/>
              <a:gd name="T111" fmla="*/ 658 h 677"/>
              <a:gd name="T112" fmla="*/ 632 w 760"/>
              <a:gd name="T113" fmla="*/ 637 h 677"/>
              <a:gd name="T114" fmla="*/ 753 w 760"/>
              <a:gd name="T115" fmla="*/ 645 h 6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60" h="677">
                <a:moveTo>
                  <a:pt x="144" y="39"/>
                </a:moveTo>
                <a:cubicBezTo>
                  <a:pt x="144" y="39"/>
                  <a:pt x="144" y="40"/>
                  <a:pt x="143" y="40"/>
                </a:cubicBezTo>
                <a:cubicBezTo>
                  <a:pt x="143" y="40"/>
                  <a:pt x="143" y="40"/>
                  <a:pt x="143" y="40"/>
                </a:cubicBezTo>
                <a:lnTo>
                  <a:pt x="144" y="39"/>
                </a:lnTo>
                <a:close/>
                <a:moveTo>
                  <a:pt x="153" y="65"/>
                </a:move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4"/>
                  <a:pt x="153" y="65"/>
                </a:cubicBezTo>
                <a:close/>
                <a:moveTo>
                  <a:pt x="38" y="89"/>
                </a:moveTo>
                <a:cubicBezTo>
                  <a:pt x="38" y="89"/>
                  <a:pt x="38" y="89"/>
                  <a:pt x="38" y="89"/>
                </a:cubicBezTo>
                <a:cubicBezTo>
                  <a:pt x="38" y="89"/>
                  <a:pt x="38" y="89"/>
                  <a:pt x="38" y="89"/>
                </a:cubicBezTo>
                <a:close/>
                <a:moveTo>
                  <a:pt x="38" y="89"/>
                </a:moveTo>
                <a:cubicBezTo>
                  <a:pt x="39" y="90"/>
                  <a:pt x="39" y="90"/>
                  <a:pt x="39" y="89"/>
                </a:cubicBezTo>
                <a:cubicBezTo>
                  <a:pt x="38" y="88"/>
                  <a:pt x="38" y="89"/>
                  <a:pt x="38" y="88"/>
                </a:cubicBezTo>
                <a:cubicBezTo>
                  <a:pt x="38" y="89"/>
                  <a:pt x="38" y="89"/>
                  <a:pt x="38" y="89"/>
                </a:cubicBezTo>
                <a:close/>
                <a:moveTo>
                  <a:pt x="159" y="76"/>
                </a:moveTo>
                <a:cubicBezTo>
                  <a:pt x="158" y="77"/>
                  <a:pt x="158" y="77"/>
                  <a:pt x="158" y="77"/>
                </a:cubicBezTo>
                <a:cubicBezTo>
                  <a:pt x="158" y="77"/>
                  <a:pt x="158" y="77"/>
                  <a:pt x="158" y="77"/>
                </a:cubicBezTo>
                <a:lnTo>
                  <a:pt x="159" y="76"/>
                </a:lnTo>
                <a:close/>
                <a:moveTo>
                  <a:pt x="175" y="142"/>
                </a:moveTo>
                <a:cubicBezTo>
                  <a:pt x="174" y="143"/>
                  <a:pt x="174" y="143"/>
                  <a:pt x="174" y="143"/>
                </a:cubicBezTo>
                <a:cubicBezTo>
                  <a:pt x="174" y="143"/>
                  <a:pt x="175" y="143"/>
                  <a:pt x="175" y="143"/>
                </a:cubicBezTo>
                <a:lnTo>
                  <a:pt x="175" y="142"/>
                </a:lnTo>
                <a:close/>
                <a:moveTo>
                  <a:pt x="163" y="95"/>
                </a:moveTo>
                <a:cubicBezTo>
                  <a:pt x="163" y="95"/>
                  <a:pt x="163" y="95"/>
                  <a:pt x="163" y="95"/>
                </a:cubicBezTo>
                <a:cubicBezTo>
                  <a:pt x="163" y="94"/>
                  <a:pt x="163" y="93"/>
                  <a:pt x="162" y="93"/>
                </a:cubicBezTo>
                <a:cubicBezTo>
                  <a:pt x="161" y="93"/>
                  <a:pt x="161" y="93"/>
                  <a:pt x="161" y="93"/>
                </a:cubicBezTo>
                <a:lnTo>
                  <a:pt x="163" y="95"/>
                </a:lnTo>
                <a:close/>
                <a:moveTo>
                  <a:pt x="157" y="150"/>
                </a:moveTo>
                <a:cubicBezTo>
                  <a:pt x="157" y="150"/>
                  <a:pt x="157" y="150"/>
                  <a:pt x="157" y="150"/>
                </a:cubicBezTo>
                <a:cubicBezTo>
                  <a:pt x="156" y="151"/>
                  <a:pt x="156" y="150"/>
                  <a:pt x="157" y="150"/>
                </a:cubicBezTo>
                <a:close/>
                <a:moveTo>
                  <a:pt x="165" y="105"/>
                </a:moveTo>
                <a:cubicBezTo>
                  <a:pt x="165" y="105"/>
                  <a:pt x="165" y="105"/>
                  <a:pt x="165" y="105"/>
                </a:cubicBezTo>
                <a:cubicBezTo>
                  <a:pt x="166" y="104"/>
                  <a:pt x="166" y="104"/>
                  <a:pt x="166" y="104"/>
                </a:cubicBezTo>
                <a:lnTo>
                  <a:pt x="165" y="105"/>
                </a:lnTo>
                <a:close/>
                <a:moveTo>
                  <a:pt x="177" y="123"/>
                </a:moveTo>
                <a:cubicBezTo>
                  <a:pt x="177" y="122"/>
                  <a:pt x="177" y="122"/>
                  <a:pt x="176" y="123"/>
                </a:cubicBezTo>
                <a:cubicBezTo>
                  <a:pt x="177" y="123"/>
                  <a:pt x="177" y="123"/>
                  <a:pt x="177" y="123"/>
                </a:cubicBezTo>
                <a:close/>
                <a:moveTo>
                  <a:pt x="163" y="155"/>
                </a:moveTo>
                <a:cubicBezTo>
                  <a:pt x="163" y="155"/>
                  <a:pt x="164" y="155"/>
                  <a:pt x="164" y="154"/>
                </a:cubicBezTo>
                <a:cubicBezTo>
                  <a:pt x="163" y="154"/>
                  <a:pt x="163" y="154"/>
                  <a:pt x="163" y="154"/>
                </a:cubicBezTo>
                <a:cubicBezTo>
                  <a:pt x="163" y="154"/>
                  <a:pt x="163" y="155"/>
                  <a:pt x="163" y="155"/>
                </a:cubicBezTo>
                <a:close/>
                <a:moveTo>
                  <a:pt x="175" y="145"/>
                </a:moveTo>
                <a:cubicBezTo>
                  <a:pt x="175" y="144"/>
                  <a:pt x="175" y="144"/>
                  <a:pt x="175" y="144"/>
                </a:cubicBezTo>
                <a:cubicBezTo>
                  <a:pt x="175" y="144"/>
                  <a:pt x="175" y="145"/>
                  <a:pt x="175" y="145"/>
                </a:cubicBezTo>
                <a:close/>
                <a:moveTo>
                  <a:pt x="130" y="440"/>
                </a:moveTo>
                <a:cubicBezTo>
                  <a:pt x="130" y="439"/>
                  <a:pt x="129" y="439"/>
                  <a:pt x="130" y="440"/>
                </a:cubicBezTo>
                <a:close/>
                <a:moveTo>
                  <a:pt x="373" y="627"/>
                </a:moveTo>
                <a:cubicBezTo>
                  <a:pt x="373" y="627"/>
                  <a:pt x="373" y="627"/>
                  <a:pt x="373" y="627"/>
                </a:cubicBezTo>
                <a:cubicBezTo>
                  <a:pt x="374" y="626"/>
                  <a:pt x="374" y="626"/>
                  <a:pt x="374" y="625"/>
                </a:cubicBezTo>
                <a:lnTo>
                  <a:pt x="373" y="627"/>
                </a:lnTo>
                <a:close/>
                <a:moveTo>
                  <a:pt x="439" y="631"/>
                </a:moveTo>
                <a:cubicBezTo>
                  <a:pt x="440" y="631"/>
                  <a:pt x="440" y="631"/>
                  <a:pt x="440" y="631"/>
                </a:cubicBezTo>
                <a:cubicBezTo>
                  <a:pt x="440" y="631"/>
                  <a:pt x="440" y="630"/>
                  <a:pt x="439" y="631"/>
                </a:cubicBezTo>
                <a:close/>
                <a:moveTo>
                  <a:pt x="220" y="622"/>
                </a:moveTo>
                <a:cubicBezTo>
                  <a:pt x="221" y="621"/>
                  <a:pt x="221" y="621"/>
                  <a:pt x="222" y="621"/>
                </a:cubicBezTo>
                <a:cubicBezTo>
                  <a:pt x="221" y="621"/>
                  <a:pt x="221" y="621"/>
                  <a:pt x="220" y="622"/>
                </a:cubicBezTo>
                <a:close/>
                <a:moveTo>
                  <a:pt x="123" y="318"/>
                </a:moveTo>
                <a:cubicBezTo>
                  <a:pt x="123" y="319"/>
                  <a:pt x="123" y="319"/>
                  <a:pt x="123" y="319"/>
                </a:cubicBezTo>
                <a:cubicBezTo>
                  <a:pt x="124" y="318"/>
                  <a:pt x="124" y="318"/>
                  <a:pt x="124" y="318"/>
                </a:cubicBezTo>
                <a:lnTo>
                  <a:pt x="123" y="318"/>
                </a:lnTo>
                <a:close/>
                <a:moveTo>
                  <a:pt x="124" y="320"/>
                </a:moveTo>
                <a:cubicBezTo>
                  <a:pt x="124" y="320"/>
                  <a:pt x="124" y="319"/>
                  <a:pt x="123" y="319"/>
                </a:cubicBezTo>
                <a:cubicBezTo>
                  <a:pt x="123" y="320"/>
                  <a:pt x="123" y="322"/>
                  <a:pt x="123" y="323"/>
                </a:cubicBezTo>
                <a:cubicBezTo>
                  <a:pt x="124" y="323"/>
                  <a:pt x="124" y="321"/>
                  <a:pt x="124" y="320"/>
                </a:cubicBezTo>
                <a:close/>
                <a:moveTo>
                  <a:pt x="124" y="320"/>
                </a:moveTo>
                <a:cubicBezTo>
                  <a:pt x="124" y="320"/>
                  <a:pt x="124" y="320"/>
                  <a:pt x="124" y="320"/>
                </a:cubicBezTo>
                <a:cubicBezTo>
                  <a:pt x="124" y="320"/>
                  <a:pt x="124" y="320"/>
                  <a:pt x="124" y="320"/>
                </a:cubicBezTo>
                <a:close/>
                <a:moveTo>
                  <a:pt x="223" y="663"/>
                </a:moveTo>
                <a:cubicBezTo>
                  <a:pt x="222" y="663"/>
                  <a:pt x="222" y="663"/>
                  <a:pt x="222" y="663"/>
                </a:cubicBezTo>
                <a:cubicBezTo>
                  <a:pt x="222" y="663"/>
                  <a:pt x="222" y="663"/>
                  <a:pt x="223" y="663"/>
                </a:cubicBezTo>
                <a:close/>
                <a:moveTo>
                  <a:pt x="123" y="132"/>
                </a:moveTo>
                <a:cubicBezTo>
                  <a:pt x="124" y="132"/>
                  <a:pt x="124" y="132"/>
                  <a:pt x="124" y="132"/>
                </a:cubicBezTo>
                <a:cubicBezTo>
                  <a:pt x="123" y="132"/>
                  <a:pt x="123" y="132"/>
                  <a:pt x="123" y="132"/>
                </a:cubicBezTo>
                <a:close/>
                <a:moveTo>
                  <a:pt x="501" y="631"/>
                </a:moveTo>
                <a:cubicBezTo>
                  <a:pt x="501" y="632"/>
                  <a:pt x="501" y="632"/>
                  <a:pt x="501" y="632"/>
                </a:cubicBezTo>
                <a:cubicBezTo>
                  <a:pt x="501" y="632"/>
                  <a:pt x="501" y="632"/>
                  <a:pt x="501" y="632"/>
                </a:cubicBezTo>
                <a:lnTo>
                  <a:pt x="501" y="631"/>
                </a:lnTo>
                <a:close/>
                <a:moveTo>
                  <a:pt x="752" y="643"/>
                </a:moveTo>
                <a:cubicBezTo>
                  <a:pt x="751" y="644"/>
                  <a:pt x="751" y="644"/>
                  <a:pt x="751" y="644"/>
                </a:cubicBezTo>
                <a:cubicBezTo>
                  <a:pt x="751" y="644"/>
                  <a:pt x="752" y="643"/>
                  <a:pt x="752" y="643"/>
                </a:cubicBezTo>
                <a:close/>
                <a:moveTo>
                  <a:pt x="585" y="635"/>
                </a:moveTo>
                <a:cubicBezTo>
                  <a:pt x="585" y="635"/>
                  <a:pt x="586" y="635"/>
                  <a:pt x="586" y="635"/>
                </a:cubicBezTo>
                <a:cubicBezTo>
                  <a:pt x="584" y="634"/>
                  <a:pt x="580" y="634"/>
                  <a:pt x="575" y="634"/>
                </a:cubicBezTo>
                <a:cubicBezTo>
                  <a:pt x="575" y="636"/>
                  <a:pt x="575" y="636"/>
                  <a:pt x="575" y="636"/>
                </a:cubicBezTo>
                <a:lnTo>
                  <a:pt x="585" y="635"/>
                </a:lnTo>
                <a:close/>
                <a:moveTo>
                  <a:pt x="760" y="655"/>
                </a:moveTo>
                <a:cubicBezTo>
                  <a:pt x="760" y="655"/>
                  <a:pt x="755" y="649"/>
                  <a:pt x="753" y="646"/>
                </a:cubicBezTo>
                <a:cubicBezTo>
                  <a:pt x="755" y="647"/>
                  <a:pt x="754" y="646"/>
                  <a:pt x="753" y="645"/>
                </a:cubicBezTo>
                <a:cubicBezTo>
                  <a:pt x="753" y="645"/>
                  <a:pt x="753" y="645"/>
                  <a:pt x="753" y="645"/>
                </a:cubicBezTo>
                <a:cubicBezTo>
                  <a:pt x="752" y="645"/>
                  <a:pt x="752" y="643"/>
                  <a:pt x="751" y="642"/>
                </a:cubicBezTo>
                <a:cubicBezTo>
                  <a:pt x="752" y="643"/>
                  <a:pt x="752" y="643"/>
                  <a:pt x="752" y="643"/>
                </a:cubicBezTo>
                <a:cubicBezTo>
                  <a:pt x="752" y="642"/>
                  <a:pt x="752" y="642"/>
                  <a:pt x="752" y="642"/>
                </a:cubicBezTo>
                <a:cubicBezTo>
                  <a:pt x="752" y="643"/>
                  <a:pt x="752" y="643"/>
                  <a:pt x="752" y="643"/>
                </a:cubicBezTo>
                <a:cubicBezTo>
                  <a:pt x="752" y="644"/>
                  <a:pt x="752" y="644"/>
                  <a:pt x="751" y="644"/>
                </a:cubicBezTo>
                <a:cubicBezTo>
                  <a:pt x="751" y="644"/>
                  <a:pt x="751" y="644"/>
                  <a:pt x="751" y="644"/>
                </a:cubicBezTo>
                <a:cubicBezTo>
                  <a:pt x="751" y="644"/>
                  <a:pt x="750" y="644"/>
                  <a:pt x="750" y="644"/>
                </a:cubicBezTo>
                <a:cubicBezTo>
                  <a:pt x="750" y="642"/>
                  <a:pt x="750" y="642"/>
                  <a:pt x="750" y="642"/>
                </a:cubicBezTo>
                <a:cubicBezTo>
                  <a:pt x="749" y="645"/>
                  <a:pt x="744" y="638"/>
                  <a:pt x="743" y="638"/>
                </a:cubicBezTo>
                <a:cubicBezTo>
                  <a:pt x="742" y="636"/>
                  <a:pt x="741" y="638"/>
                  <a:pt x="739" y="637"/>
                </a:cubicBezTo>
                <a:cubicBezTo>
                  <a:pt x="737" y="637"/>
                  <a:pt x="738" y="635"/>
                  <a:pt x="737" y="634"/>
                </a:cubicBezTo>
                <a:cubicBezTo>
                  <a:pt x="737" y="634"/>
                  <a:pt x="737" y="633"/>
                  <a:pt x="736" y="633"/>
                </a:cubicBezTo>
                <a:cubicBezTo>
                  <a:pt x="736" y="633"/>
                  <a:pt x="736" y="633"/>
                  <a:pt x="736" y="634"/>
                </a:cubicBezTo>
                <a:cubicBezTo>
                  <a:pt x="736" y="634"/>
                  <a:pt x="736" y="634"/>
                  <a:pt x="736" y="634"/>
                </a:cubicBezTo>
                <a:cubicBezTo>
                  <a:pt x="737" y="635"/>
                  <a:pt x="737" y="636"/>
                  <a:pt x="737" y="636"/>
                </a:cubicBezTo>
                <a:cubicBezTo>
                  <a:pt x="737" y="636"/>
                  <a:pt x="737" y="635"/>
                  <a:pt x="736" y="635"/>
                </a:cubicBezTo>
                <a:cubicBezTo>
                  <a:pt x="735" y="635"/>
                  <a:pt x="735" y="635"/>
                  <a:pt x="735" y="635"/>
                </a:cubicBezTo>
                <a:cubicBezTo>
                  <a:pt x="733" y="635"/>
                  <a:pt x="733" y="635"/>
                  <a:pt x="733" y="635"/>
                </a:cubicBezTo>
                <a:cubicBezTo>
                  <a:pt x="729" y="634"/>
                  <a:pt x="729" y="634"/>
                  <a:pt x="729" y="634"/>
                </a:cubicBezTo>
                <a:cubicBezTo>
                  <a:pt x="734" y="633"/>
                  <a:pt x="731" y="633"/>
                  <a:pt x="730" y="632"/>
                </a:cubicBezTo>
                <a:cubicBezTo>
                  <a:pt x="723" y="632"/>
                  <a:pt x="712" y="630"/>
                  <a:pt x="710" y="633"/>
                </a:cubicBezTo>
                <a:cubicBezTo>
                  <a:pt x="700" y="632"/>
                  <a:pt x="700" y="631"/>
                  <a:pt x="696" y="631"/>
                </a:cubicBezTo>
                <a:cubicBezTo>
                  <a:pt x="697" y="631"/>
                  <a:pt x="700" y="632"/>
                  <a:pt x="700" y="632"/>
                </a:cubicBezTo>
                <a:cubicBezTo>
                  <a:pt x="696" y="631"/>
                  <a:pt x="698" y="633"/>
                  <a:pt x="700" y="633"/>
                </a:cubicBezTo>
                <a:cubicBezTo>
                  <a:pt x="694" y="635"/>
                  <a:pt x="669" y="628"/>
                  <a:pt x="668" y="632"/>
                </a:cubicBezTo>
                <a:cubicBezTo>
                  <a:pt x="668" y="631"/>
                  <a:pt x="668" y="631"/>
                  <a:pt x="668" y="631"/>
                </a:cubicBezTo>
                <a:cubicBezTo>
                  <a:pt x="667" y="634"/>
                  <a:pt x="669" y="636"/>
                  <a:pt x="665" y="638"/>
                </a:cubicBezTo>
                <a:cubicBezTo>
                  <a:pt x="662" y="637"/>
                  <a:pt x="662" y="637"/>
                  <a:pt x="662" y="637"/>
                </a:cubicBezTo>
                <a:cubicBezTo>
                  <a:pt x="658" y="638"/>
                  <a:pt x="658" y="638"/>
                  <a:pt x="658" y="638"/>
                </a:cubicBezTo>
                <a:cubicBezTo>
                  <a:pt x="655" y="638"/>
                  <a:pt x="656" y="637"/>
                  <a:pt x="656" y="637"/>
                </a:cubicBezTo>
                <a:cubicBezTo>
                  <a:pt x="650" y="638"/>
                  <a:pt x="640" y="637"/>
                  <a:pt x="632" y="637"/>
                </a:cubicBezTo>
                <a:cubicBezTo>
                  <a:pt x="641" y="644"/>
                  <a:pt x="641" y="644"/>
                  <a:pt x="641" y="644"/>
                </a:cubicBezTo>
                <a:cubicBezTo>
                  <a:pt x="634" y="642"/>
                  <a:pt x="622" y="639"/>
                  <a:pt x="620" y="642"/>
                </a:cubicBezTo>
                <a:cubicBezTo>
                  <a:pt x="616" y="639"/>
                  <a:pt x="616" y="639"/>
                  <a:pt x="616" y="639"/>
                </a:cubicBezTo>
                <a:cubicBezTo>
                  <a:pt x="602" y="635"/>
                  <a:pt x="607" y="642"/>
                  <a:pt x="601" y="641"/>
                </a:cubicBezTo>
                <a:cubicBezTo>
                  <a:pt x="594" y="638"/>
                  <a:pt x="594" y="638"/>
                  <a:pt x="594" y="638"/>
                </a:cubicBezTo>
                <a:cubicBezTo>
                  <a:pt x="601" y="638"/>
                  <a:pt x="601" y="638"/>
                  <a:pt x="601" y="638"/>
                </a:cubicBezTo>
                <a:cubicBezTo>
                  <a:pt x="594" y="637"/>
                  <a:pt x="591" y="636"/>
                  <a:pt x="586" y="635"/>
                </a:cubicBezTo>
                <a:cubicBezTo>
                  <a:pt x="586" y="635"/>
                  <a:pt x="586" y="635"/>
                  <a:pt x="586" y="635"/>
                </a:cubicBezTo>
                <a:cubicBezTo>
                  <a:pt x="586" y="635"/>
                  <a:pt x="586" y="635"/>
                  <a:pt x="586" y="635"/>
                </a:cubicBezTo>
                <a:cubicBezTo>
                  <a:pt x="585" y="635"/>
                  <a:pt x="585" y="635"/>
                  <a:pt x="585" y="635"/>
                </a:cubicBezTo>
                <a:cubicBezTo>
                  <a:pt x="585" y="636"/>
                  <a:pt x="581" y="637"/>
                  <a:pt x="576" y="637"/>
                </a:cubicBezTo>
                <a:cubicBezTo>
                  <a:pt x="569" y="637"/>
                  <a:pt x="564" y="639"/>
                  <a:pt x="553" y="637"/>
                </a:cubicBezTo>
                <a:cubicBezTo>
                  <a:pt x="550" y="640"/>
                  <a:pt x="550" y="640"/>
                  <a:pt x="550" y="640"/>
                </a:cubicBezTo>
                <a:cubicBezTo>
                  <a:pt x="542" y="638"/>
                  <a:pt x="542" y="638"/>
                  <a:pt x="542" y="638"/>
                </a:cubicBezTo>
                <a:cubicBezTo>
                  <a:pt x="542" y="636"/>
                  <a:pt x="542" y="636"/>
                  <a:pt x="542" y="636"/>
                </a:cubicBezTo>
                <a:cubicBezTo>
                  <a:pt x="550" y="636"/>
                  <a:pt x="565" y="635"/>
                  <a:pt x="575" y="634"/>
                </a:cubicBezTo>
                <a:cubicBezTo>
                  <a:pt x="576" y="633"/>
                  <a:pt x="576" y="633"/>
                  <a:pt x="576" y="633"/>
                </a:cubicBezTo>
                <a:cubicBezTo>
                  <a:pt x="569" y="634"/>
                  <a:pt x="562" y="635"/>
                  <a:pt x="558" y="635"/>
                </a:cubicBezTo>
                <a:cubicBezTo>
                  <a:pt x="556" y="634"/>
                  <a:pt x="551" y="632"/>
                  <a:pt x="555" y="631"/>
                </a:cubicBezTo>
                <a:cubicBezTo>
                  <a:pt x="551" y="633"/>
                  <a:pt x="551" y="633"/>
                  <a:pt x="551" y="633"/>
                </a:cubicBezTo>
                <a:cubicBezTo>
                  <a:pt x="531" y="634"/>
                  <a:pt x="530" y="634"/>
                  <a:pt x="509" y="632"/>
                </a:cubicBezTo>
                <a:cubicBezTo>
                  <a:pt x="511" y="633"/>
                  <a:pt x="511" y="633"/>
                  <a:pt x="511" y="633"/>
                </a:cubicBezTo>
                <a:cubicBezTo>
                  <a:pt x="507" y="633"/>
                  <a:pt x="502" y="634"/>
                  <a:pt x="501" y="632"/>
                </a:cubicBezTo>
                <a:cubicBezTo>
                  <a:pt x="488" y="632"/>
                  <a:pt x="475" y="631"/>
                  <a:pt x="467" y="628"/>
                </a:cubicBezTo>
                <a:cubicBezTo>
                  <a:pt x="465" y="631"/>
                  <a:pt x="465" y="631"/>
                  <a:pt x="465" y="631"/>
                </a:cubicBezTo>
                <a:cubicBezTo>
                  <a:pt x="462" y="631"/>
                  <a:pt x="458" y="627"/>
                  <a:pt x="457" y="630"/>
                </a:cubicBezTo>
                <a:cubicBezTo>
                  <a:pt x="451" y="631"/>
                  <a:pt x="451" y="631"/>
                  <a:pt x="451" y="631"/>
                </a:cubicBezTo>
                <a:cubicBezTo>
                  <a:pt x="447" y="631"/>
                  <a:pt x="445" y="633"/>
                  <a:pt x="441" y="631"/>
                </a:cubicBezTo>
                <a:cubicBezTo>
                  <a:pt x="441" y="631"/>
                  <a:pt x="441" y="631"/>
                  <a:pt x="441" y="631"/>
                </a:cubicBezTo>
                <a:cubicBezTo>
                  <a:pt x="440" y="631"/>
                  <a:pt x="440" y="631"/>
                  <a:pt x="440" y="631"/>
                </a:cubicBezTo>
                <a:cubicBezTo>
                  <a:pt x="440" y="631"/>
                  <a:pt x="440" y="631"/>
                  <a:pt x="440" y="631"/>
                </a:cubicBezTo>
                <a:cubicBezTo>
                  <a:pt x="431" y="630"/>
                  <a:pt x="440" y="633"/>
                  <a:pt x="430" y="632"/>
                </a:cubicBezTo>
                <a:cubicBezTo>
                  <a:pt x="427" y="630"/>
                  <a:pt x="427" y="635"/>
                  <a:pt x="422" y="634"/>
                </a:cubicBezTo>
                <a:cubicBezTo>
                  <a:pt x="417" y="631"/>
                  <a:pt x="417" y="631"/>
                  <a:pt x="417" y="631"/>
                </a:cubicBezTo>
                <a:cubicBezTo>
                  <a:pt x="409" y="629"/>
                  <a:pt x="407" y="632"/>
                  <a:pt x="395" y="632"/>
                </a:cubicBezTo>
                <a:cubicBezTo>
                  <a:pt x="389" y="631"/>
                  <a:pt x="387" y="628"/>
                  <a:pt x="390" y="625"/>
                </a:cubicBezTo>
                <a:cubicBezTo>
                  <a:pt x="385" y="628"/>
                  <a:pt x="388" y="627"/>
                  <a:pt x="381" y="629"/>
                </a:cubicBezTo>
                <a:cubicBezTo>
                  <a:pt x="380" y="627"/>
                  <a:pt x="381" y="627"/>
                  <a:pt x="382" y="626"/>
                </a:cubicBezTo>
                <a:cubicBezTo>
                  <a:pt x="376" y="624"/>
                  <a:pt x="378" y="627"/>
                  <a:pt x="373" y="627"/>
                </a:cubicBezTo>
                <a:cubicBezTo>
                  <a:pt x="372" y="629"/>
                  <a:pt x="370" y="633"/>
                  <a:pt x="369" y="633"/>
                </a:cubicBezTo>
                <a:cubicBezTo>
                  <a:pt x="371" y="634"/>
                  <a:pt x="371" y="634"/>
                  <a:pt x="371" y="634"/>
                </a:cubicBezTo>
                <a:cubicBezTo>
                  <a:pt x="365" y="635"/>
                  <a:pt x="360" y="636"/>
                  <a:pt x="354" y="635"/>
                </a:cubicBezTo>
                <a:cubicBezTo>
                  <a:pt x="354" y="633"/>
                  <a:pt x="354" y="633"/>
                  <a:pt x="354" y="633"/>
                </a:cubicBezTo>
                <a:cubicBezTo>
                  <a:pt x="348" y="634"/>
                  <a:pt x="348" y="634"/>
                  <a:pt x="348" y="634"/>
                </a:cubicBezTo>
                <a:cubicBezTo>
                  <a:pt x="348" y="632"/>
                  <a:pt x="348" y="632"/>
                  <a:pt x="348" y="632"/>
                </a:cubicBezTo>
                <a:cubicBezTo>
                  <a:pt x="339" y="632"/>
                  <a:pt x="339" y="632"/>
                  <a:pt x="339" y="632"/>
                </a:cubicBezTo>
                <a:cubicBezTo>
                  <a:pt x="340" y="633"/>
                  <a:pt x="340" y="633"/>
                  <a:pt x="340" y="633"/>
                </a:cubicBezTo>
                <a:cubicBezTo>
                  <a:pt x="338" y="633"/>
                  <a:pt x="331" y="633"/>
                  <a:pt x="327" y="632"/>
                </a:cubicBezTo>
                <a:cubicBezTo>
                  <a:pt x="327" y="631"/>
                  <a:pt x="327" y="631"/>
                  <a:pt x="327" y="631"/>
                </a:cubicBezTo>
                <a:cubicBezTo>
                  <a:pt x="316" y="628"/>
                  <a:pt x="307" y="631"/>
                  <a:pt x="294" y="631"/>
                </a:cubicBezTo>
                <a:cubicBezTo>
                  <a:pt x="296" y="629"/>
                  <a:pt x="296" y="629"/>
                  <a:pt x="296" y="629"/>
                </a:cubicBezTo>
                <a:cubicBezTo>
                  <a:pt x="292" y="627"/>
                  <a:pt x="295" y="632"/>
                  <a:pt x="289" y="630"/>
                </a:cubicBezTo>
                <a:cubicBezTo>
                  <a:pt x="289" y="628"/>
                  <a:pt x="289" y="628"/>
                  <a:pt x="289" y="628"/>
                </a:cubicBezTo>
                <a:cubicBezTo>
                  <a:pt x="284" y="631"/>
                  <a:pt x="283" y="627"/>
                  <a:pt x="280" y="626"/>
                </a:cubicBezTo>
                <a:cubicBezTo>
                  <a:pt x="282" y="629"/>
                  <a:pt x="282" y="629"/>
                  <a:pt x="282" y="629"/>
                </a:cubicBezTo>
                <a:cubicBezTo>
                  <a:pt x="276" y="628"/>
                  <a:pt x="276" y="628"/>
                  <a:pt x="276" y="628"/>
                </a:cubicBezTo>
                <a:cubicBezTo>
                  <a:pt x="269" y="626"/>
                  <a:pt x="272" y="624"/>
                  <a:pt x="273" y="622"/>
                </a:cubicBezTo>
                <a:cubicBezTo>
                  <a:pt x="268" y="624"/>
                  <a:pt x="268" y="624"/>
                  <a:pt x="268" y="624"/>
                </a:cubicBezTo>
                <a:cubicBezTo>
                  <a:pt x="268" y="621"/>
                  <a:pt x="268" y="621"/>
                  <a:pt x="268" y="621"/>
                </a:cubicBezTo>
                <a:cubicBezTo>
                  <a:pt x="264" y="624"/>
                  <a:pt x="264" y="621"/>
                  <a:pt x="259" y="622"/>
                </a:cubicBezTo>
                <a:cubicBezTo>
                  <a:pt x="258" y="621"/>
                  <a:pt x="260" y="620"/>
                  <a:pt x="258" y="620"/>
                </a:cubicBezTo>
                <a:cubicBezTo>
                  <a:pt x="248" y="622"/>
                  <a:pt x="248" y="622"/>
                  <a:pt x="248" y="622"/>
                </a:cubicBezTo>
                <a:cubicBezTo>
                  <a:pt x="254" y="621"/>
                  <a:pt x="254" y="621"/>
                  <a:pt x="254" y="621"/>
                </a:cubicBezTo>
                <a:cubicBezTo>
                  <a:pt x="253" y="625"/>
                  <a:pt x="253" y="625"/>
                  <a:pt x="253" y="625"/>
                </a:cubicBezTo>
                <a:cubicBezTo>
                  <a:pt x="247" y="628"/>
                  <a:pt x="245" y="624"/>
                  <a:pt x="241" y="625"/>
                </a:cubicBezTo>
                <a:cubicBezTo>
                  <a:pt x="244" y="624"/>
                  <a:pt x="244" y="624"/>
                  <a:pt x="244" y="624"/>
                </a:cubicBezTo>
                <a:cubicBezTo>
                  <a:pt x="237" y="624"/>
                  <a:pt x="237" y="622"/>
                  <a:pt x="233" y="621"/>
                </a:cubicBezTo>
                <a:cubicBezTo>
                  <a:pt x="234" y="622"/>
                  <a:pt x="236" y="623"/>
                  <a:pt x="233" y="623"/>
                </a:cubicBezTo>
                <a:cubicBezTo>
                  <a:pt x="231" y="623"/>
                  <a:pt x="232" y="622"/>
                  <a:pt x="230" y="621"/>
                </a:cubicBezTo>
                <a:cubicBezTo>
                  <a:pt x="229" y="624"/>
                  <a:pt x="224" y="624"/>
                  <a:pt x="220" y="622"/>
                </a:cubicBezTo>
                <a:cubicBezTo>
                  <a:pt x="220" y="622"/>
                  <a:pt x="220" y="622"/>
                  <a:pt x="220" y="622"/>
                </a:cubicBezTo>
                <a:cubicBezTo>
                  <a:pt x="219" y="622"/>
                  <a:pt x="219" y="622"/>
                  <a:pt x="217" y="621"/>
                </a:cubicBezTo>
                <a:cubicBezTo>
                  <a:pt x="218" y="619"/>
                  <a:pt x="218" y="619"/>
                  <a:pt x="218" y="619"/>
                </a:cubicBezTo>
                <a:cubicBezTo>
                  <a:pt x="214" y="621"/>
                  <a:pt x="214" y="621"/>
                  <a:pt x="214" y="621"/>
                </a:cubicBezTo>
                <a:cubicBezTo>
                  <a:pt x="212" y="620"/>
                  <a:pt x="208" y="621"/>
                  <a:pt x="209" y="619"/>
                </a:cubicBezTo>
                <a:cubicBezTo>
                  <a:pt x="210" y="619"/>
                  <a:pt x="210" y="619"/>
                  <a:pt x="210" y="619"/>
                </a:cubicBezTo>
                <a:cubicBezTo>
                  <a:pt x="204" y="618"/>
                  <a:pt x="198" y="616"/>
                  <a:pt x="192" y="615"/>
                </a:cubicBezTo>
                <a:cubicBezTo>
                  <a:pt x="192" y="612"/>
                  <a:pt x="192" y="612"/>
                  <a:pt x="192" y="612"/>
                </a:cubicBezTo>
                <a:cubicBezTo>
                  <a:pt x="189" y="615"/>
                  <a:pt x="183" y="609"/>
                  <a:pt x="182" y="613"/>
                </a:cubicBezTo>
                <a:cubicBezTo>
                  <a:pt x="180" y="610"/>
                  <a:pt x="169" y="611"/>
                  <a:pt x="173" y="607"/>
                </a:cubicBezTo>
                <a:cubicBezTo>
                  <a:pt x="168" y="605"/>
                  <a:pt x="164" y="604"/>
                  <a:pt x="160" y="603"/>
                </a:cubicBezTo>
                <a:cubicBezTo>
                  <a:pt x="159" y="603"/>
                  <a:pt x="157" y="602"/>
                  <a:pt x="156" y="602"/>
                </a:cubicBezTo>
                <a:cubicBezTo>
                  <a:pt x="156" y="601"/>
                  <a:pt x="155" y="601"/>
                  <a:pt x="154" y="598"/>
                </a:cubicBezTo>
                <a:cubicBezTo>
                  <a:pt x="155" y="596"/>
                  <a:pt x="154" y="592"/>
                  <a:pt x="153" y="588"/>
                </a:cubicBezTo>
                <a:cubicBezTo>
                  <a:pt x="151" y="583"/>
                  <a:pt x="150" y="578"/>
                  <a:pt x="149" y="573"/>
                </a:cubicBezTo>
                <a:cubicBezTo>
                  <a:pt x="143" y="556"/>
                  <a:pt x="140" y="544"/>
                  <a:pt x="136" y="525"/>
                </a:cubicBezTo>
                <a:cubicBezTo>
                  <a:pt x="140" y="512"/>
                  <a:pt x="131" y="495"/>
                  <a:pt x="133" y="482"/>
                </a:cubicBezTo>
                <a:cubicBezTo>
                  <a:pt x="131" y="479"/>
                  <a:pt x="131" y="479"/>
                  <a:pt x="131" y="479"/>
                </a:cubicBezTo>
                <a:cubicBezTo>
                  <a:pt x="133" y="470"/>
                  <a:pt x="128" y="457"/>
                  <a:pt x="131" y="445"/>
                </a:cubicBezTo>
                <a:cubicBezTo>
                  <a:pt x="130" y="442"/>
                  <a:pt x="130" y="440"/>
                  <a:pt x="130" y="440"/>
                </a:cubicBezTo>
                <a:cubicBezTo>
                  <a:pt x="129" y="440"/>
                  <a:pt x="129" y="441"/>
                  <a:pt x="128" y="442"/>
                </a:cubicBezTo>
                <a:cubicBezTo>
                  <a:pt x="129" y="438"/>
                  <a:pt x="127" y="431"/>
                  <a:pt x="130" y="431"/>
                </a:cubicBezTo>
                <a:cubicBezTo>
                  <a:pt x="130" y="432"/>
                  <a:pt x="130" y="432"/>
                  <a:pt x="130" y="432"/>
                </a:cubicBezTo>
                <a:cubicBezTo>
                  <a:pt x="133" y="433"/>
                  <a:pt x="128" y="422"/>
                  <a:pt x="130" y="418"/>
                </a:cubicBezTo>
                <a:cubicBezTo>
                  <a:pt x="128" y="420"/>
                  <a:pt x="128" y="420"/>
                  <a:pt x="128" y="420"/>
                </a:cubicBezTo>
                <a:cubicBezTo>
                  <a:pt x="128" y="414"/>
                  <a:pt x="128" y="414"/>
                  <a:pt x="128" y="414"/>
                </a:cubicBezTo>
                <a:cubicBezTo>
                  <a:pt x="129" y="415"/>
                  <a:pt x="129" y="415"/>
                  <a:pt x="129" y="415"/>
                </a:cubicBezTo>
                <a:cubicBezTo>
                  <a:pt x="121" y="387"/>
                  <a:pt x="130" y="374"/>
                  <a:pt x="124" y="347"/>
                </a:cubicBezTo>
                <a:cubicBezTo>
                  <a:pt x="127" y="351"/>
                  <a:pt x="122" y="342"/>
                  <a:pt x="125" y="342"/>
                </a:cubicBezTo>
                <a:cubicBezTo>
                  <a:pt x="130" y="335"/>
                  <a:pt x="124" y="329"/>
                  <a:pt x="123" y="323"/>
                </a:cubicBezTo>
                <a:cubicBezTo>
                  <a:pt x="123" y="323"/>
                  <a:pt x="123" y="323"/>
                  <a:pt x="122" y="323"/>
                </a:cubicBezTo>
                <a:cubicBezTo>
                  <a:pt x="123" y="313"/>
                  <a:pt x="123" y="313"/>
                  <a:pt x="123" y="313"/>
                </a:cubicBezTo>
                <a:cubicBezTo>
                  <a:pt x="127" y="319"/>
                  <a:pt x="119" y="306"/>
                  <a:pt x="123" y="312"/>
                </a:cubicBezTo>
                <a:cubicBezTo>
                  <a:pt x="126" y="286"/>
                  <a:pt x="123" y="253"/>
                  <a:pt x="125" y="224"/>
                </a:cubicBezTo>
                <a:cubicBezTo>
                  <a:pt x="124" y="225"/>
                  <a:pt x="124" y="225"/>
                  <a:pt x="124" y="225"/>
                </a:cubicBezTo>
                <a:cubicBezTo>
                  <a:pt x="124" y="218"/>
                  <a:pt x="123" y="209"/>
                  <a:pt x="124" y="203"/>
                </a:cubicBezTo>
                <a:cubicBezTo>
                  <a:pt x="126" y="197"/>
                  <a:pt x="122" y="190"/>
                  <a:pt x="122" y="188"/>
                </a:cubicBezTo>
                <a:cubicBezTo>
                  <a:pt x="120" y="182"/>
                  <a:pt x="124" y="177"/>
                  <a:pt x="124" y="179"/>
                </a:cubicBezTo>
                <a:cubicBezTo>
                  <a:pt x="123" y="173"/>
                  <a:pt x="119" y="166"/>
                  <a:pt x="121" y="157"/>
                </a:cubicBezTo>
                <a:cubicBezTo>
                  <a:pt x="125" y="154"/>
                  <a:pt x="118" y="132"/>
                  <a:pt x="123" y="132"/>
                </a:cubicBezTo>
                <a:cubicBezTo>
                  <a:pt x="122" y="132"/>
                  <a:pt x="122" y="132"/>
                  <a:pt x="122" y="132"/>
                </a:cubicBezTo>
                <a:cubicBezTo>
                  <a:pt x="125" y="122"/>
                  <a:pt x="122" y="112"/>
                  <a:pt x="123" y="102"/>
                </a:cubicBezTo>
                <a:cubicBezTo>
                  <a:pt x="126" y="105"/>
                  <a:pt x="129" y="109"/>
                  <a:pt x="130" y="114"/>
                </a:cubicBezTo>
                <a:cubicBezTo>
                  <a:pt x="128" y="117"/>
                  <a:pt x="139" y="131"/>
                  <a:pt x="141" y="131"/>
                </a:cubicBezTo>
                <a:cubicBezTo>
                  <a:pt x="143" y="128"/>
                  <a:pt x="143" y="128"/>
                  <a:pt x="143" y="128"/>
                </a:cubicBezTo>
                <a:cubicBezTo>
                  <a:pt x="147" y="133"/>
                  <a:pt x="146" y="137"/>
                  <a:pt x="151" y="140"/>
                </a:cubicBezTo>
                <a:cubicBezTo>
                  <a:pt x="150" y="140"/>
                  <a:pt x="150" y="140"/>
                  <a:pt x="150" y="140"/>
                </a:cubicBezTo>
                <a:cubicBezTo>
                  <a:pt x="150" y="140"/>
                  <a:pt x="151" y="141"/>
                  <a:pt x="151" y="141"/>
                </a:cubicBezTo>
                <a:cubicBezTo>
                  <a:pt x="152" y="141"/>
                  <a:pt x="156" y="140"/>
                  <a:pt x="154" y="149"/>
                </a:cubicBezTo>
                <a:cubicBezTo>
                  <a:pt x="153" y="149"/>
                  <a:pt x="153" y="149"/>
                  <a:pt x="153" y="149"/>
                </a:cubicBezTo>
                <a:cubicBezTo>
                  <a:pt x="153" y="150"/>
                  <a:pt x="154" y="149"/>
                  <a:pt x="154" y="150"/>
                </a:cubicBezTo>
                <a:cubicBezTo>
                  <a:pt x="154" y="148"/>
                  <a:pt x="154" y="148"/>
                  <a:pt x="154" y="148"/>
                </a:cubicBezTo>
                <a:cubicBezTo>
                  <a:pt x="156" y="148"/>
                  <a:pt x="157" y="148"/>
                  <a:pt x="158" y="149"/>
                </a:cubicBezTo>
                <a:cubicBezTo>
                  <a:pt x="158" y="149"/>
                  <a:pt x="157" y="150"/>
                  <a:pt x="157" y="150"/>
                </a:cubicBezTo>
                <a:cubicBezTo>
                  <a:pt x="159" y="152"/>
                  <a:pt x="159" y="152"/>
                  <a:pt x="159" y="152"/>
                </a:cubicBezTo>
                <a:cubicBezTo>
                  <a:pt x="158" y="154"/>
                  <a:pt x="158" y="154"/>
                  <a:pt x="158" y="154"/>
                </a:cubicBezTo>
                <a:cubicBezTo>
                  <a:pt x="159" y="154"/>
                  <a:pt x="163" y="151"/>
                  <a:pt x="162" y="154"/>
                </a:cubicBezTo>
                <a:cubicBezTo>
                  <a:pt x="164" y="152"/>
                  <a:pt x="164" y="154"/>
                  <a:pt x="165" y="153"/>
                </a:cubicBezTo>
                <a:cubicBezTo>
                  <a:pt x="165" y="153"/>
                  <a:pt x="164" y="154"/>
                  <a:pt x="164" y="154"/>
                </a:cubicBezTo>
                <a:cubicBezTo>
                  <a:pt x="165" y="155"/>
                  <a:pt x="167" y="157"/>
                  <a:pt x="169" y="156"/>
                </a:cubicBezTo>
                <a:cubicBezTo>
                  <a:pt x="169" y="156"/>
                  <a:pt x="171" y="148"/>
                  <a:pt x="173" y="146"/>
                </a:cubicBezTo>
                <a:cubicBezTo>
                  <a:pt x="174" y="147"/>
                  <a:pt x="174" y="146"/>
                  <a:pt x="175" y="145"/>
                </a:cubicBezTo>
                <a:cubicBezTo>
                  <a:pt x="174" y="145"/>
                  <a:pt x="174" y="145"/>
                  <a:pt x="174" y="145"/>
                </a:cubicBezTo>
                <a:cubicBezTo>
                  <a:pt x="174" y="144"/>
                  <a:pt x="175" y="143"/>
                  <a:pt x="176" y="142"/>
                </a:cubicBezTo>
                <a:cubicBezTo>
                  <a:pt x="175" y="142"/>
                  <a:pt x="175" y="142"/>
                  <a:pt x="175" y="142"/>
                </a:cubicBezTo>
                <a:cubicBezTo>
                  <a:pt x="175" y="142"/>
                  <a:pt x="175" y="142"/>
                  <a:pt x="175" y="142"/>
                </a:cubicBezTo>
                <a:cubicBezTo>
                  <a:pt x="175" y="142"/>
                  <a:pt x="175" y="143"/>
                  <a:pt x="175" y="143"/>
                </a:cubicBezTo>
                <a:cubicBezTo>
                  <a:pt x="174" y="143"/>
                  <a:pt x="174" y="143"/>
                  <a:pt x="174" y="143"/>
                </a:cubicBezTo>
                <a:cubicBezTo>
                  <a:pt x="174" y="143"/>
                  <a:pt x="174" y="143"/>
                  <a:pt x="174" y="143"/>
                </a:cubicBezTo>
                <a:cubicBezTo>
                  <a:pt x="174" y="142"/>
                  <a:pt x="174" y="142"/>
                  <a:pt x="174" y="141"/>
                </a:cubicBezTo>
                <a:cubicBezTo>
                  <a:pt x="175" y="140"/>
                  <a:pt x="175" y="140"/>
                  <a:pt x="175" y="140"/>
                </a:cubicBezTo>
                <a:cubicBezTo>
                  <a:pt x="172" y="141"/>
                  <a:pt x="176" y="133"/>
                  <a:pt x="175" y="132"/>
                </a:cubicBezTo>
                <a:cubicBezTo>
                  <a:pt x="176" y="130"/>
                  <a:pt x="174" y="131"/>
                  <a:pt x="174" y="129"/>
                </a:cubicBezTo>
                <a:cubicBezTo>
                  <a:pt x="173" y="127"/>
                  <a:pt x="175" y="127"/>
                  <a:pt x="176" y="125"/>
                </a:cubicBezTo>
                <a:cubicBezTo>
                  <a:pt x="176" y="123"/>
                  <a:pt x="174" y="126"/>
                  <a:pt x="174" y="126"/>
                </a:cubicBezTo>
                <a:cubicBezTo>
                  <a:pt x="175" y="123"/>
                  <a:pt x="175" y="123"/>
                  <a:pt x="175" y="123"/>
                </a:cubicBezTo>
                <a:cubicBezTo>
                  <a:pt x="176" y="124"/>
                  <a:pt x="176" y="123"/>
                  <a:pt x="176" y="123"/>
                </a:cubicBezTo>
                <a:cubicBezTo>
                  <a:pt x="176" y="121"/>
                  <a:pt x="177" y="117"/>
                  <a:pt x="174" y="119"/>
                </a:cubicBezTo>
                <a:cubicBezTo>
                  <a:pt x="174" y="116"/>
                  <a:pt x="175" y="116"/>
                  <a:pt x="175" y="115"/>
                </a:cubicBezTo>
                <a:cubicBezTo>
                  <a:pt x="175" y="115"/>
                  <a:pt x="175" y="116"/>
                  <a:pt x="174" y="116"/>
                </a:cubicBezTo>
                <a:cubicBezTo>
                  <a:pt x="175" y="115"/>
                  <a:pt x="174" y="116"/>
                  <a:pt x="173" y="117"/>
                </a:cubicBezTo>
                <a:cubicBezTo>
                  <a:pt x="172" y="116"/>
                  <a:pt x="175" y="108"/>
                  <a:pt x="172" y="110"/>
                </a:cubicBezTo>
                <a:cubicBezTo>
                  <a:pt x="172" y="109"/>
                  <a:pt x="172" y="109"/>
                  <a:pt x="172" y="109"/>
                </a:cubicBezTo>
                <a:cubicBezTo>
                  <a:pt x="170" y="111"/>
                  <a:pt x="168" y="112"/>
                  <a:pt x="166" y="112"/>
                </a:cubicBezTo>
                <a:cubicBezTo>
                  <a:pt x="167" y="111"/>
                  <a:pt x="167" y="111"/>
                  <a:pt x="167" y="111"/>
                </a:cubicBezTo>
                <a:cubicBezTo>
                  <a:pt x="166" y="111"/>
                  <a:pt x="166" y="111"/>
                  <a:pt x="166" y="111"/>
                </a:cubicBezTo>
                <a:cubicBezTo>
                  <a:pt x="166" y="110"/>
                  <a:pt x="167" y="110"/>
                  <a:pt x="167" y="110"/>
                </a:cubicBezTo>
                <a:cubicBezTo>
                  <a:pt x="165" y="109"/>
                  <a:pt x="166" y="107"/>
                  <a:pt x="165" y="105"/>
                </a:cubicBezTo>
                <a:cubicBezTo>
                  <a:pt x="160" y="110"/>
                  <a:pt x="160" y="110"/>
                  <a:pt x="160" y="110"/>
                </a:cubicBezTo>
                <a:cubicBezTo>
                  <a:pt x="160" y="108"/>
                  <a:pt x="162" y="104"/>
                  <a:pt x="160" y="105"/>
                </a:cubicBezTo>
                <a:cubicBezTo>
                  <a:pt x="161" y="103"/>
                  <a:pt x="161" y="103"/>
                  <a:pt x="161" y="103"/>
                </a:cubicBezTo>
                <a:cubicBezTo>
                  <a:pt x="164" y="98"/>
                  <a:pt x="159" y="102"/>
                  <a:pt x="159" y="101"/>
                </a:cubicBezTo>
                <a:cubicBezTo>
                  <a:pt x="161" y="98"/>
                  <a:pt x="161" y="98"/>
                  <a:pt x="161" y="98"/>
                </a:cubicBezTo>
                <a:cubicBezTo>
                  <a:pt x="161" y="99"/>
                  <a:pt x="161" y="99"/>
                  <a:pt x="161" y="99"/>
                </a:cubicBezTo>
                <a:cubicBezTo>
                  <a:pt x="162" y="97"/>
                  <a:pt x="162" y="96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1" y="95"/>
                  <a:pt x="160" y="95"/>
                  <a:pt x="160" y="94"/>
                </a:cubicBezTo>
                <a:cubicBezTo>
                  <a:pt x="159" y="93"/>
                  <a:pt x="157" y="93"/>
                  <a:pt x="158" y="89"/>
                </a:cubicBezTo>
                <a:cubicBezTo>
                  <a:pt x="156" y="90"/>
                  <a:pt x="156" y="90"/>
                  <a:pt x="156" y="90"/>
                </a:cubicBezTo>
                <a:cubicBezTo>
                  <a:pt x="156" y="88"/>
                  <a:pt x="156" y="88"/>
                  <a:pt x="156" y="88"/>
                </a:cubicBezTo>
                <a:cubicBezTo>
                  <a:pt x="158" y="87"/>
                  <a:pt x="158" y="87"/>
                  <a:pt x="158" y="87"/>
                </a:cubicBezTo>
                <a:cubicBezTo>
                  <a:pt x="159" y="88"/>
                  <a:pt x="161" y="91"/>
                  <a:pt x="162" y="93"/>
                </a:cubicBezTo>
                <a:cubicBezTo>
                  <a:pt x="163" y="92"/>
                  <a:pt x="163" y="92"/>
                  <a:pt x="163" y="92"/>
                </a:cubicBezTo>
                <a:cubicBezTo>
                  <a:pt x="163" y="91"/>
                  <a:pt x="161" y="90"/>
                  <a:pt x="161" y="89"/>
                </a:cubicBezTo>
                <a:cubicBezTo>
                  <a:pt x="161" y="89"/>
                  <a:pt x="162" y="87"/>
                  <a:pt x="164" y="87"/>
                </a:cubicBezTo>
                <a:cubicBezTo>
                  <a:pt x="162" y="87"/>
                  <a:pt x="162" y="87"/>
                  <a:pt x="162" y="87"/>
                </a:cubicBezTo>
                <a:cubicBezTo>
                  <a:pt x="159" y="83"/>
                  <a:pt x="159" y="83"/>
                  <a:pt x="159" y="78"/>
                </a:cubicBezTo>
                <a:cubicBezTo>
                  <a:pt x="158" y="79"/>
                  <a:pt x="158" y="79"/>
                  <a:pt x="158" y="79"/>
                </a:cubicBezTo>
                <a:cubicBezTo>
                  <a:pt x="157" y="78"/>
                  <a:pt x="156" y="78"/>
                  <a:pt x="158" y="77"/>
                </a:cubicBezTo>
                <a:cubicBezTo>
                  <a:pt x="157" y="74"/>
                  <a:pt x="156" y="71"/>
                  <a:pt x="158" y="68"/>
                </a:cubicBezTo>
                <a:cubicBezTo>
                  <a:pt x="156" y="69"/>
                  <a:pt x="156" y="69"/>
                  <a:pt x="156" y="69"/>
                </a:cubicBezTo>
                <a:cubicBezTo>
                  <a:pt x="155" y="69"/>
                  <a:pt x="158" y="66"/>
                  <a:pt x="155" y="68"/>
                </a:cubicBezTo>
                <a:cubicBezTo>
                  <a:pt x="153" y="67"/>
                  <a:pt x="153" y="67"/>
                  <a:pt x="153" y="67"/>
                </a:cubicBezTo>
                <a:cubicBezTo>
                  <a:pt x="153" y="66"/>
                  <a:pt x="152" y="66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4"/>
                  <a:pt x="152" y="64"/>
                  <a:pt x="152" y="64"/>
                </a:cubicBezTo>
                <a:cubicBezTo>
                  <a:pt x="151" y="64"/>
                  <a:pt x="151" y="65"/>
                  <a:pt x="151" y="63"/>
                </a:cubicBezTo>
                <a:cubicBezTo>
                  <a:pt x="151" y="61"/>
                  <a:pt x="147" y="63"/>
                  <a:pt x="147" y="62"/>
                </a:cubicBezTo>
                <a:cubicBezTo>
                  <a:pt x="148" y="60"/>
                  <a:pt x="148" y="59"/>
                  <a:pt x="149" y="58"/>
                </a:cubicBezTo>
                <a:cubicBezTo>
                  <a:pt x="149" y="54"/>
                  <a:pt x="146" y="56"/>
                  <a:pt x="144" y="52"/>
                </a:cubicBezTo>
                <a:cubicBezTo>
                  <a:pt x="144" y="49"/>
                  <a:pt x="145" y="45"/>
                  <a:pt x="148" y="44"/>
                </a:cubicBezTo>
                <a:cubicBezTo>
                  <a:pt x="145" y="45"/>
                  <a:pt x="146" y="45"/>
                  <a:pt x="144" y="44"/>
                </a:cubicBezTo>
                <a:cubicBezTo>
                  <a:pt x="144" y="43"/>
                  <a:pt x="145" y="43"/>
                  <a:pt x="146" y="42"/>
                </a:cubicBezTo>
                <a:cubicBezTo>
                  <a:pt x="146" y="38"/>
                  <a:pt x="144" y="42"/>
                  <a:pt x="143" y="40"/>
                </a:cubicBezTo>
                <a:cubicBezTo>
                  <a:pt x="141" y="42"/>
                  <a:pt x="139" y="45"/>
                  <a:pt x="138" y="45"/>
                </a:cubicBezTo>
                <a:cubicBezTo>
                  <a:pt x="138" y="46"/>
                  <a:pt x="138" y="46"/>
                  <a:pt x="138" y="46"/>
                </a:cubicBezTo>
                <a:cubicBezTo>
                  <a:pt x="136" y="46"/>
                  <a:pt x="135" y="45"/>
                  <a:pt x="135" y="42"/>
                </a:cubicBezTo>
                <a:cubicBezTo>
                  <a:pt x="136" y="40"/>
                  <a:pt x="136" y="40"/>
                  <a:pt x="136" y="40"/>
                </a:cubicBezTo>
                <a:cubicBezTo>
                  <a:pt x="134" y="39"/>
                  <a:pt x="134" y="39"/>
                  <a:pt x="134" y="39"/>
                </a:cubicBezTo>
                <a:cubicBezTo>
                  <a:pt x="135" y="37"/>
                  <a:pt x="135" y="37"/>
                  <a:pt x="135" y="37"/>
                </a:cubicBezTo>
                <a:cubicBezTo>
                  <a:pt x="133" y="35"/>
                  <a:pt x="133" y="35"/>
                  <a:pt x="133" y="35"/>
                </a:cubicBezTo>
                <a:cubicBezTo>
                  <a:pt x="133" y="36"/>
                  <a:pt x="133" y="36"/>
                  <a:pt x="133" y="36"/>
                </a:cubicBezTo>
                <a:cubicBezTo>
                  <a:pt x="133" y="35"/>
                  <a:pt x="132" y="34"/>
                  <a:pt x="131" y="32"/>
                </a:cubicBezTo>
                <a:cubicBezTo>
                  <a:pt x="132" y="31"/>
                  <a:pt x="132" y="31"/>
                  <a:pt x="132" y="31"/>
                </a:cubicBezTo>
                <a:cubicBezTo>
                  <a:pt x="132" y="27"/>
                  <a:pt x="131" y="25"/>
                  <a:pt x="129" y="24"/>
                </a:cubicBezTo>
                <a:cubicBezTo>
                  <a:pt x="128" y="24"/>
                  <a:pt x="127" y="23"/>
                  <a:pt x="126" y="21"/>
                </a:cubicBezTo>
                <a:cubicBezTo>
                  <a:pt x="127" y="19"/>
                  <a:pt x="127" y="19"/>
                  <a:pt x="127" y="19"/>
                </a:cubicBezTo>
                <a:cubicBezTo>
                  <a:pt x="127" y="15"/>
                  <a:pt x="126" y="23"/>
                  <a:pt x="125" y="20"/>
                </a:cubicBezTo>
                <a:cubicBezTo>
                  <a:pt x="126" y="16"/>
                  <a:pt x="126" y="16"/>
                  <a:pt x="126" y="16"/>
                </a:cubicBezTo>
                <a:cubicBezTo>
                  <a:pt x="124" y="20"/>
                  <a:pt x="125" y="13"/>
                  <a:pt x="125" y="10"/>
                </a:cubicBezTo>
                <a:cubicBezTo>
                  <a:pt x="124" y="16"/>
                  <a:pt x="124" y="16"/>
                  <a:pt x="124" y="16"/>
                </a:cubicBezTo>
                <a:cubicBezTo>
                  <a:pt x="123" y="13"/>
                  <a:pt x="123" y="13"/>
                  <a:pt x="123" y="13"/>
                </a:cubicBezTo>
                <a:cubicBezTo>
                  <a:pt x="122" y="9"/>
                  <a:pt x="124" y="5"/>
                  <a:pt x="124" y="3"/>
                </a:cubicBezTo>
                <a:cubicBezTo>
                  <a:pt x="124" y="3"/>
                  <a:pt x="123" y="4"/>
                  <a:pt x="123" y="5"/>
                </a:cubicBezTo>
                <a:cubicBezTo>
                  <a:pt x="123" y="0"/>
                  <a:pt x="123" y="0"/>
                  <a:pt x="123" y="0"/>
                </a:cubicBezTo>
                <a:cubicBezTo>
                  <a:pt x="123" y="1"/>
                  <a:pt x="123" y="1"/>
                  <a:pt x="123" y="1"/>
                </a:cubicBezTo>
                <a:cubicBezTo>
                  <a:pt x="123" y="2"/>
                  <a:pt x="123" y="2"/>
                  <a:pt x="122" y="2"/>
                </a:cubicBezTo>
                <a:cubicBezTo>
                  <a:pt x="122" y="3"/>
                  <a:pt x="122" y="3"/>
                  <a:pt x="122" y="3"/>
                </a:cubicBezTo>
                <a:cubicBezTo>
                  <a:pt x="122" y="2"/>
                  <a:pt x="121" y="2"/>
                  <a:pt x="121" y="4"/>
                </a:cubicBezTo>
                <a:cubicBezTo>
                  <a:pt x="121" y="3"/>
                  <a:pt x="121" y="1"/>
                  <a:pt x="121" y="1"/>
                </a:cubicBezTo>
                <a:cubicBezTo>
                  <a:pt x="117" y="11"/>
                  <a:pt x="117" y="11"/>
                  <a:pt x="117" y="11"/>
                </a:cubicBezTo>
                <a:cubicBezTo>
                  <a:pt x="119" y="6"/>
                  <a:pt x="119" y="6"/>
                  <a:pt x="119" y="6"/>
                </a:cubicBezTo>
                <a:cubicBezTo>
                  <a:pt x="118" y="13"/>
                  <a:pt x="118" y="13"/>
                  <a:pt x="118" y="13"/>
                </a:cubicBezTo>
                <a:cubicBezTo>
                  <a:pt x="116" y="20"/>
                  <a:pt x="116" y="14"/>
                  <a:pt x="115" y="17"/>
                </a:cubicBezTo>
                <a:cubicBezTo>
                  <a:pt x="116" y="15"/>
                  <a:pt x="116" y="15"/>
                  <a:pt x="116" y="15"/>
                </a:cubicBezTo>
                <a:cubicBezTo>
                  <a:pt x="114" y="18"/>
                  <a:pt x="114" y="16"/>
                  <a:pt x="113" y="16"/>
                </a:cubicBezTo>
                <a:cubicBezTo>
                  <a:pt x="113" y="16"/>
                  <a:pt x="114" y="18"/>
                  <a:pt x="113" y="19"/>
                </a:cubicBezTo>
                <a:cubicBezTo>
                  <a:pt x="113" y="20"/>
                  <a:pt x="113" y="17"/>
                  <a:pt x="112" y="17"/>
                </a:cubicBezTo>
                <a:cubicBezTo>
                  <a:pt x="112" y="21"/>
                  <a:pt x="111" y="25"/>
                  <a:pt x="110" y="24"/>
                </a:cubicBezTo>
                <a:cubicBezTo>
                  <a:pt x="110" y="24"/>
                  <a:pt x="110" y="23"/>
                  <a:pt x="110" y="23"/>
                </a:cubicBezTo>
                <a:cubicBezTo>
                  <a:pt x="110" y="24"/>
                  <a:pt x="109" y="25"/>
                  <a:pt x="109" y="25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8" y="25"/>
                  <a:pt x="108" y="25"/>
                  <a:pt x="108" y="25"/>
                </a:cubicBezTo>
                <a:cubicBezTo>
                  <a:pt x="107" y="25"/>
                  <a:pt x="107" y="29"/>
                  <a:pt x="107" y="26"/>
                </a:cubicBezTo>
                <a:cubicBezTo>
                  <a:pt x="107" y="25"/>
                  <a:pt x="107" y="25"/>
                  <a:pt x="107" y="25"/>
                </a:cubicBezTo>
                <a:cubicBezTo>
                  <a:pt x="102" y="30"/>
                  <a:pt x="102" y="30"/>
                  <a:pt x="102" y="30"/>
                </a:cubicBezTo>
                <a:cubicBezTo>
                  <a:pt x="101" y="27"/>
                  <a:pt x="101" y="27"/>
                  <a:pt x="101" y="27"/>
                </a:cubicBezTo>
                <a:cubicBezTo>
                  <a:pt x="101" y="31"/>
                  <a:pt x="98" y="29"/>
                  <a:pt x="99" y="33"/>
                </a:cubicBezTo>
                <a:cubicBezTo>
                  <a:pt x="97" y="32"/>
                  <a:pt x="96" y="39"/>
                  <a:pt x="95" y="34"/>
                </a:cubicBezTo>
                <a:cubicBezTo>
                  <a:pt x="93" y="35"/>
                  <a:pt x="92" y="38"/>
                  <a:pt x="91" y="40"/>
                </a:cubicBezTo>
                <a:cubicBezTo>
                  <a:pt x="89" y="42"/>
                  <a:pt x="88" y="44"/>
                  <a:pt x="85" y="46"/>
                </a:cubicBezTo>
                <a:cubicBezTo>
                  <a:pt x="84" y="45"/>
                  <a:pt x="82" y="46"/>
                  <a:pt x="80" y="47"/>
                </a:cubicBezTo>
                <a:cubicBezTo>
                  <a:pt x="79" y="48"/>
                  <a:pt x="78" y="49"/>
                  <a:pt x="77" y="49"/>
                </a:cubicBezTo>
                <a:cubicBezTo>
                  <a:pt x="77" y="50"/>
                  <a:pt x="76" y="50"/>
                  <a:pt x="76" y="50"/>
                </a:cubicBezTo>
                <a:cubicBezTo>
                  <a:pt x="74" y="54"/>
                  <a:pt x="73" y="57"/>
                  <a:pt x="71" y="61"/>
                </a:cubicBezTo>
                <a:cubicBezTo>
                  <a:pt x="65" y="58"/>
                  <a:pt x="67" y="66"/>
                  <a:pt x="63" y="66"/>
                </a:cubicBezTo>
                <a:cubicBezTo>
                  <a:pt x="64" y="68"/>
                  <a:pt x="64" y="68"/>
                  <a:pt x="64" y="68"/>
                </a:cubicBezTo>
                <a:cubicBezTo>
                  <a:pt x="60" y="66"/>
                  <a:pt x="61" y="71"/>
                  <a:pt x="57" y="70"/>
                </a:cubicBezTo>
                <a:cubicBezTo>
                  <a:pt x="57" y="71"/>
                  <a:pt x="57" y="72"/>
                  <a:pt x="57" y="72"/>
                </a:cubicBezTo>
                <a:cubicBezTo>
                  <a:pt x="57" y="72"/>
                  <a:pt x="57" y="72"/>
                  <a:pt x="58" y="73"/>
                </a:cubicBezTo>
                <a:cubicBezTo>
                  <a:pt x="57" y="73"/>
                  <a:pt x="56" y="75"/>
                  <a:pt x="55" y="72"/>
                </a:cubicBezTo>
                <a:cubicBezTo>
                  <a:pt x="55" y="72"/>
                  <a:pt x="55" y="72"/>
                  <a:pt x="55" y="72"/>
                </a:cubicBezTo>
                <a:cubicBezTo>
                  <a:pt x="53" y="70"/>
                  <a:pt x="54" y="74"/>
                  <a:pt x="52" y="73"/>
                </a:cubicBezTo>
                <a:cubicBezTo>
                  <a:pt x="54" y="75"/>
                  <a:pt x="54" y="75"/>
                  <a:pt x="54" y="75"/>
                </a:cubicBezTo>
                <a:cubicBezTo>
                  <a:pt x="53" y="76"/>
                  <a:pt x="53" y="76"/>
                  <a:pt x="53" y="76"/>
                </a:cubicBezTo>
                <a:cubicBezTo>
                  <a:pt x="52" y="75"/>
                  <a:pt x="52" y="75"/>
                  <a:pt x="52" y="75"/>
                </a:cubicBezTo>
                <a:cubicBezTo>
                  <a:pt x="52" y="84"/>
                  <a:pt x="44" y="78"/>
                  <a:pt x="43" y="86"/>
                </a:cubicBezTo>
                <a:cubicBezTo>
                  <a:pt x="42" y="83"/>
                  <a:pt x="43" y="88"/>
                  <a:pt x="41" y="85"/>
                </a:cubicBezTo>
                <a:cubicBezTo>
                  <a:pt x="37" y="83"/>
                  <a:pt x="39" y="87"/>
                  <a:pt x="39" y="89"/>
                </a:cubicBezTo>
                <a:cubicBezTo>
                  <a:pt x="39" y="89"/>
                  <a:pt x="39" y="89"/>
                  <a:pt x="39" y="90"/>
                </a:cubicBezTo>
                <a:cubicBezTo>
                  <a:pt x="37" y="91"/>
                  <a:pt x="37" y="91"/>
                  <a:pt x="37" y="91"/>
                </a:cubicBezTo>
                <a:cubicBezTo>
                  <a:pt x="36" y="86"/>
                  <a:pt x="38" y="94"/>
                  <a:pt x="37" y="91"/>
                </a:cubicBezTo>
                <a:cubicBezTo>
                  <a:pt x="31" y="91"/>
                  <a:pt x="27" y="98"/>
                  <a:pt x="21" y="100"/>
                </a:cubicBezTo>
                <a:cubicBezTo>
                  <a:pt x="22" y="101"/>
                  <a:pt x="22" y="101"/>
                  <a:pt x="22" y="101"/>
                </a:cubicBezTo>
                <a:cubicBezTo>
                  <a:pt x="20" y="101"/>
                  <a:pt x="19" y="104"/>
                  <a:pt x="18" y="103"/>
                </a:cubicBezTo>
                <a:cubicBezTo>
                  <a:pt x="16" y="102"/>
                  <a:pt x="17" y="106"/>
                  <a:pt x="17" y="107"/>
                </a:cubicBezTo>
                <a:cubicBezTo>
                  <a:pt x="16" y="109"/>
                  <a:pt x="13" y="107"/>
                  <a:pt x="14" y="106"/>
                </a:cubicBezTo>
                <a:cubicBezTo>
                  <a:pt x="13" y="108"/>
                  <a:pt x="14" y="112"/>
                  <a:pt x="12" y="111"/>
                </a:cubicBezTo>
                <a:cubicBezTo>
                  <a:pt x="9" y="109"/>
                  <a:pt x="9" y="117"/>
                  <a:pt x="7" y="114"/>
                </a:cubicBezTo>
                <a:cubicBezTo>
                  <a:pt x="7" y="114"/>
                  <a:pt x="7" y="114"/>
                  <a:pt x="7" y="114"/>
                </a:cubicBezTo>
                <a:cubicBezTo>
                  <a:pt x="3" y="113"/>
                  <a:pt x="4" y="118"/>
                  <a:pt x="0" y="117"/>
                </a:cubicBezTo>
                <a:cubicBezTo>
                  <a:pt x="0" y="117"/>
                  <a:pt x="0" y="117"/>
                  <a:pt x="0" y="117"/>
                </a:cubicBezTo>
                <a:cubicBezTo>
                  <a:pt x="1" y="121"/>
                  <a:pt x="1" y="126"/>
                  <a:pt x="2" y="130"/>
                </a:cubicBezTo>
                <a:cubicBezTo>
                  <a:pt x="10" y="141"/>
                  <a:pt x="10" y="141"/>
                  <a:pt x="10" y="141"/>
                </a:cubicBezTo>
                <a:cubicBezTo>
                  <a:pt x="20" y="148"/>
                  <a:pt x="20" y="148"/>
                  <a:pt x="20" y="148"/>
                </a:cubicBezTo>
                <a:cubicBezTo>
                  <a:pt x="23" y="145"/>
                  <a:pt x="27" y="142"/>
                  <a:pt x="30" y="139"/>
                </a:cubicBezTo>
                <a:cubicBezTo>
                  <a:pt x="42" y="137"/>
                  <a:pt x="42" y="137"/>
                  <a:pt x="42" y="137"/>
                </a:cubicBezTo>
                <a:cubicBezTo>
                  <a:pt x="49" y="132"/>
                  <a:pt x="56" y="127"/>
                  <a:pt x="63" y="121"/>
                </a:cubicBezTo>
                <a:cubicBezTo>
                  <a:pt x="62" y="117"/>
                  <a:pt x="62" y="117"/>
                  <a:pt x="62" y="117"/>
                </a:cubicBezTo>
                <a:cubicBezTo>
                  <a:pt x="70" y="119"/>
                  <a:pt x="72" y="110"/>
                  <a:pt x="78" y="109"/>
                </a:cubicBezTo>
                <a:cubicBezTo>
                  <a:pt x="77" y="107"/>
                  <a:pt x="77" y="107"/>
                  <a:pt x="77" y="107"/>
                </a:cubicBezTo>
                <a:cubicBezTo>
                  <a:pt x="78" y="106"/>
                  <a:pt x="79" y="108"/>
                  <a:pt x="79" y="108"/>
                </a:cubicBezTo>
                <a:cubicBezTo>
                  <a:pt x="82" y="105"/>
                  <a:pt x="85" y="103"/>
                  <a:pt x="87" y="101"/>
                </a:cubicBezTo>
                <a:cubicBezTo>
                  <a:pt x="87" y="121"/>
                  <a:pt x="87" y="141"/>
                  <a:pt x="88" y="160"/>
                </a:cubicBezTo>
                <a:cubicBezTo>
                  <a:pt x="82" y="209"/>
                  <a:pt x="82" y="209"/>
                  <a:pt x="82" y="209"/>
                </a:cubicBezTo>
                <a:cubicBezTo>
                  <a:pt x="82" y="249"/>
                  <a:pt x="82" y="288"/>
                  <a:pt x="83" y="328"/>
                </a:cubicBezTo>
                <a:cubicBezTo>
                  <a:pt x="87" y="336"/>
                  <a:pt x="87" y="336"/>
                  <a:pt x="87" y="336"/>
                </a:cubicBezTo>
                <a:cubicBezTo>
                  <a:pt x="81" y="359"/>
                  <a:pt x="88" y="389"/>
                  <a:pt x="85" y="415"/>
                </a:cubicBezTo>
                <a:cubicBezTo>
                  <a:pt x="88" y="415"/>
                  <a:pt x="88" y="415"/>
                  <a:pt x="88" y="415"/>
                </a:cubicBezTo>
                <a:cubicBezTo>
                  <a:pt x="89" y="422"/>
                  <a:pt x="87" y="422"/>
                  <a:pt x="86" y="423"/>
                </a:cubicBezTo>
                <a:cubicBezTo>
                  <a:pt x="88" y="456"/>
                  <a:pt x="91" y="490"/>
                  <a:pt x="96" y="523"/>
                </a:cubicBezTo>
                <a:cubicBezTo>
                  <a:pt x="98" y="539"/>
                  <a:pt x="100" y="556"/>
                  <a:pt x="103" y="572"/>
                </a:cubicBezTo>
                <a:cubicBezTo>
                  <a:pt x="105" y="580"/>
                  <a:pt x="107" y="588"/>
                  <a:pt x="109" y="597"/>
                </a:cubicBezTo>
                <a:cubicBezTo>
                  <a:pt x="112" y="605"/>
                  <a:pt x="114" y="613"/>
                  <a:pt x="120" y="623"/>
                </a:cubicBezTo>
                <a:cubicBezTo>
                  <a:pt x="121" y="625"/>
                  <a:pt x="123" y="628"/>
                  <a:pt x="126" y="632"/>
                </a:cubicBezTo>
                <a:cubicBezTo>
                  <a:pt x="129" y="635"/>
                  <a:pt x="133" y="638"/>
                  <a:pt x="136" y="640"/>
                </a:cubicBezTo>
                <a:cubicBezTo>
                  <a:pt x="143" y="644"/>
                  <a:pt x="149" y="647"/>
                  <a:pt x="151" y="649"/>
                </a:cubicBezTo>
                <a:cubicBezTo>
                  <a:pt x="163" y="652"/>
                  <a:pt x="173" y="654"/>
                  <a:pt x="184" y="655"/>
                </a:cubicBezTo>
                <a:cubicBezTo>
                  <a:pt x="194" y="657"/>
                  <a:pt x="204" y="659"/>
                  <a:pt x="214" y="661"/>
                </a:cubicBezTo>
                <a:cubicBezTo>
                  <a:pt x="213" y="661"/>
                  <a:pt x="213" y="661"/>
                  <a:pt x="213" y="661"/>
                </a:cubicBezTo>
                <a:cubicBezTo>
                  <a:pt x="223" y="662"/>
                  <a:pt x="223" y="662"/>
                  <a:pt x="223" y="662"/>
                </a:cubicBezTo>
                <a:cubicBezTo>
                  <a:pt x="223" y="662"/>
                  <a:pt x="223" y="662"/>
                  <a:pt x="223" y="663"/>
                </a:cubicBezTo>
                <a:cubicBezTo>
                  <a:pt x="233" y="662"/>
                  <a:pt x="249" y="666"/>
                  <a:pt x="262" y="668"/>
                </a:cubicBezTo>
                <a:cubicBezTo>
                  <a:pt x="261" y="668"/>
                  <a:pt x="261" y="668"/>
                  <a:pt x="261" y="668"/>
                </a:cubicBezTo>
                <a:cubicBezTo>
                  <a:pt x="298" y="671"/>
                  <a:pt x="334" y="672"/>
                  <a:pt x="369" y="672"/>
                </a:cubicBezTo>
                <a:cubicBezTo>
                  <a:pt x="404" y="672"/>
                  <a:pt x="439" y="672"/>
                  <a:pt x="476" y="673"/>
                </a:cubicBezTo>
                <a:cubicBezTo>
                  <a:pt x="509" y="677"/>
                  <a:pt x="549" y="671"/>
                  <a:pt x="587" y="673"/>
                </a:cubicBezTo>
                <a:cubicBezTo>
                  <a:pt x="594" y="676"/>
                  <a:pt x="672" y="671"/>
                  <a:pt x="679" y="669"/>
                </a:cubicBezTo>
                <a:cubicBezTo>
                  <a:pt x="670" y="666"/>
                  <a:pt x="670" y="666"/>
                  <a:pt x="670" y="666"/>
                </a:cubicBezTo>
                <a:cubicBezTo>
                  <a:pt x="699" y="664"/>
                  <a:pt x="713" y="666"/>
                  <a:pt x="738" y="662"/>
                </a:cubicBezTo>
                <a:cubicBezTo>
                  <a:pt x="736" y="663"/>
                  <a:pt x="736" y="663"/>
                  <a:pt x="736" y="663"/>
                </a:cubicBezTo>
                <a:cubicBezTo>
                  <a:pt x="739" y="663"/>
                  <a:pt x="738" y="662"/>
                  <a:pt x="739" y="661"/>
                </a:cubicBezTo>
                <a:cubicBezTo>
                  <a:pt x="740" y="660"/>
                  <a:pt x="742" y="661"/>
                  <a:pt x="747" y="665"/>
                </a:cubicBezTo>
                <a:cubicBezTo>
                  <a:pt x="747" y="665"/>
                  <a:pt x="747" y="665"/>
                  <a:pt x="747" y="665"/>
                </a:cubicBezTo>
                <a:cubicBezTo>
                  <a:pt x="747" y="665"/>
                  <a:pt x="747" y="665"/>
                  <a:pt x="747" y="665"/>
                </a:cubicBezTo>
                <a:cubicBezTo>
                  <a:pt x="746" y="663"/>
                  <a:pt x="746" y="663"/>
                  <a:pt x="746" y="663"/>
                </a:cubicBezTo>
                <a:cubicBezTo>
                  <a:pt x="747" y="663"/>
                  <a:pt x="747" y="661"/>
                  <a:pt x="748" y="661"/>
                </a:cubicBezTo>
                <a:cubicBezTo>
                  <a:pt x="749" y="661"/>
                  <a:pt x="749" y="662"/>
                  <a:pt x="749" y="662"/>
                </a:cubicBezTo>
                <a:cubicBezTo>
                  <a:pt x="751" y="662"/>
                  <a:pt x="751" y="662"/>
                  <a:pt x="751" y="662"/>
                </a:cubicBezTo>
                <a:cubicBezTo>
                  <a:pt x="752" y="664"/>
                  <a:pt x="752" y="664"/>
                  <a:pt x="752" y="664"/>
                </a:cubicBezTo>
                <a:cubicBezTo>
                  <a:pt x="753" y="662"/>
                  <a:pt x="753" y="658"/>
                  <a:pt x="755" y="660"/>
                </a:cubicBezTo>
                <a:cubicBezTo>
                  <a:pt x="754" y="657"/>
                  <a:pt x="756" y="658"/>
                  <a:pt x="755" y="657"/>
                </a:cubicBezTo>
                <a:cubicBezTo>
                  <a:pt x="756" y="657"/>
                  <a:pt x="756" y="658"/>
                  <a:pt x="756" y="658"/>
                </a:cubicBezTo>
                <a:cubicBezTo>
                  <a:pt x="757" y="658"/>
                  <a:pt x="760" y="657"/>
                  <a:pt x="760" y="655"/>
                </a:cubicBezTo>
                <a:close/>
                <a:moveTo>
                  <a:pt x="749" y="662"/>
                </a:moveTo>
                <a:cubicBezTo>
                  <a:pt x="749" y="662"/>
                  <a:pt x="749" y="662"/>
                  <a:pt x="749" y="662"/>
                </a:cubicBezTo>
                <a:cubicBezTo>
                  <a:pt x="749" y="663"/>
                  <a:pt x="749" y="663"/>
                  <a:pt x="749" y="662"/>
                </a:cubicBezTo>
                <a:close/>
                <a:moveTo>
                  <a:pt x="632" y="637"/>
                </a:moveTo>
                <a:cubicBezTo>
                  <a:pt x="632" y="637"/>
                  <a:pt x="632" y="637"/>
                  <a:pt x="632" y="637"/>
                </a:cubicBezTo>
                <a:cubicBezTo>
                  <a:pt x="630" y="635"/>
                  <a:pt x="630" y="635"/>
                  <a:pt x="630" y="635"/>
                </a:cubicBezTo>
                <a:lnTo>
                  <a:pt x="632" y="637"/>
                </a:lnTo>
                <a:close/>
                <a:moveTo>
                  <a:pt x="730" y="632"/>
                </a:moveTo>
                <a:cubicBezTo>
                  <a:pt x="732" y="632"/>
                  <a:pt x="733" y="632"/>
                  <a:pt x="734" y="631"/>
                </a:cubicBezTo>
                <a:cubicBezTo>
                  <a:pt x="730" y="631"/>
                  <a:pt x="730" y="632"/>
                  <a:pt x="730" y="632"/>
                </a:cubicBezTo>
                <a:close/>
                <a:moveTo>
                  <a:pt x="756" y="660"/>
                </a:moveTo>
                <a:cubicBezTo>
                  <a:pt x="757" y="660"/>
                  <a:pt x="756" y="659"/>
                  <a:pt x="756" y="658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56" y="659"/>
                  <a:pt x="756" y="659"/>
                  <a:pt x="756" y="660"/>
                </a:cubicBezTo>
                <a:close/>
                <a:moveTo>
                  <a:pt x="753" y="645"/>
                </a:moveTo>
                <a:cubicBezTo>
                  <a:pt x="753" y="644"/>
                  <a:pt x="753" y="644"/>
                  <a:pt x="753" y="644"/>
                </a:cubicBezTo>
                <a:cubicBezTo>
                  <a:pt x="753" y="644"/>
                  <a:pt x="753" y="644"/>
                  <a:pt x="753" y="64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42" name="Freeform 6"/>
          <p:cNvSpPr>
            <a:spLocks noEditPoints="1"/>
          </p:cNvSpPr>
          <p:nvPr/>
        </p:nvSpPr>
        <p:spPr bwMode="auto">
          <a:xfrm rot="10800000" flipH="1">
            <a:off x="2575323" y="1031082"/>
            <a:ext cx="959644" cy="854869"/>
          </a:xfrm>
          <a:custGeom>
            <a:avLst/>
            <a:gdLst>
              <a:gd name="T0" fmla="*/ 38 w 760"/>
              <a:gd name="T1" fmla="*/ 89 h 677"/>
              <a:gd name="T2" fmla="*/ 158 w 760"/>
              <a:gd name="T3" fmla="*/ 77 h 677"/>
              <a:gd name="T4" fmla="*/ 163 w 760"/>
              <a:gd name="T5" fmla="*/ 95 h 677"/>
              <a:gd name="T6" fmla="*/ 165 w 760"/>
              <a:gd name="T7" fmla="*/ 105 h 677"/>
              <a:gd name="T8" fmla="*/ 163 w 760"/>
              <a:gd name="T9" fmla="*/ 154 h 677"/>
              <a:gd name="T10" fmla="*/ 373 w 760"/>
              <a:gd name="T11" fmla="*/ 627 h 677"/>
              <a:gd name="T12" fmla="*/ 220 w 760"/>
              <a:gd name="T13" fmla="*/ 622 h 677"/>
              <a:gd name="T14" fmla="*/ 124 w 760"/>
              <a:gd name="T15" fmla="*/ 320 h 677"/>
              <a:gd name="T16" fmla="*/ 124 w 760"/>
              <a:gd name="T17" fmla="*/ 132 h 677"/>
              <a:gd name="T18" fmla="*/ 752 w 760"/>
              <a:gd name="T19" fmla="*/ 643 h 677"/>
              <a:gd name="T20" fmla="*/ 753 w 760"/>
              <a:gd name="T21" fmla="*/ 645 h 677"/>
              <a:gd name="T22" fmla="*/ 750 w 760"/>
              <a:gd name="T23" fmla="*/ 644 h 677"/>
              <a:gd name="T24" fmla="*/ 737 w 760"/>
              <a:gd name="T25" fmla="*/ 636 h 677"/>
              <a:gd name="T26" fmla="*/ 700 w 760"/>
              <a:gd name="T27" fmla="*/ 632 h 677"/>
              <a:gd name="T28" fmla="*/ 632 w 760"/>
              <a:gd name="T29" fmla="*/ 637 h 677"/>
              <a:gd name="T30" fmla="*/ 586 w 760"/>
              <a:gd name="T31" fmla="*/ 635 h 677"/>
              <a:gd name="T32" fmla="*/ 575 w 760"/>
              <a:gd name="T33" fmla="*/ 634 h 677"/>
              <a:gd name="T34" fmla="*/ 467 w 760"/>
              <a:gd name="T35" fmla="*/ 628 h 677"/>
              <a:gd name="T36" fmla="*/ 430 w 760"/>
              <a:gd name="T37" fmla="*/ 632 h 677"/>
              <a:gd name="T38" fmla="*/ 369 w 760"/>
              <a:gd name="T39" fmla="*/ 633 h 677"/>
              <a:gd name="T40" fmla="*/ 327 w 760"/>
              <a:gd name="T41" fmla="*/ 632 h 677"/>
              <a:gd name="T42" fmla="*/ 276 w 760"/>
              <a:gd name="T43" fmla="*/ 628 h 677"/>
              <a:gd name="T44" fmla="*/ 253 w 760"/>
              <a:gd name="T45" fmla="*/ 625 h 677"/>
              <a:gd name="T46" fmla="*/ 217 w 760"/>
              <a:gd name="T47" fmla="*/ 621 h 677"/>
              <a:gd name="T48" fmla="*/ 173 w 760"/>
              <a:gd name="T49" fmla="*/ 607 h 677"/>
              <a:gd name="T50" fmla="*/ 131 w 760"/>
              <a:gd name="T51" fmla="*/ 479 h 677"/>
              <a:gd name="T52" fmla="*/ 128 w 760"/>
              <a:gd name="T53" fmla="*/ 414 h 677"/>
              <a:gd name="T54" fmla="*/ 125 w 760"/>
              <a:gd name="T55" fmla="*/ 224 h 677"/>
              <a:gd name="T56" fmla="*/ 123 w 760"/>
              <a:gd name="T57" fmla="*/ 102 h 677"/>
              <a:gd name="T58" fmla="*/ 153 w 760"/>
              <a:gd name="T59" fmla="*/ 149 h 677"/>
              <a:gd name="T60" fmla="*/ 165 w 760"/>
              <a:gd name="T61" fmla="*/ 153 h 677"/>
              <a:gd name="T62" fmla="*/ 175 w 760"/>
              <a:gd name="T63" fmla="*/ 142 h 677"/>
              <a:gd name="T64" fmla="*/ 176 w 760"/>
              <a:gd name="T65" fmla="*/ 125 h 677"/>
              <a:gd name="T66" fmla="*/ 172 w 760"/>
              <a:gd name="T67" fmla="*/ 110 h 677"/>
              <a:gd name="T68" fmla="*/ 160 w 760"/>
              <a:gd name="T69" fmla="*/ 105 h 677"/>
              <a:gd name="T70" fmla="*/ 163 w 760"/>
              <a:gd name="T71" fmla="*/ 95 h 677"/>
              <a:gd name="T72" fmla="*/ 161 w 760"/>
              <a:gd name="T73" fmla="*/ 89 h 677"/>
              <a:gd name="T74" fmla="*/ 155 w 760"/>
              <a:gd name="T75" fmla="*/ 68 h 677"/>
              <a:gd name="T76" fmla="*/ 151 w 760"/>
              <a:gd name="T77" fmla="*/ 63 h 677"/>
              <a:gd name="T78" fmla="*/ 138 w 760"/>
              <a:gd name="T79" fmla="*/ 45 h 677"/>
              <a:gd name="T80" fmla="*/ 131 w 760"/>
              <a:gd name="T81" fmla="*/ 32 h 677"/>
              <a:gd name="T82" fmla="*/ 124 w 760"/>
              <a:gd name="T83" fmla="*/ 16 h 677"/>
              <a:gd name="T84" fmla="*/ 121 w 760"/>
              <a:gd name="T85" fmla="*/ 4 h 677"/>
              <a:gd name="T86" fmla="*/ 113 w 760"/>
              <a:gd name="T87" fmla="*/ 19 h 677"/>
              <a:gd name="T88" fmla="*/ 107 w 760"/>
              <a:gd name="T89" fmla="*/ 25 h 677"/>
              <a:gd name="T90" fmla="*/ 77 w 760"/>
              <a:gd name="T91" fmla="*/ 49 h 677"/>
              <a:gd name="T92" fmla="*/ 55 w 760"/>
              <a:gd name="T93" fmla="*/ 72 h 677"/>
              <a:gd name="T94" fmla="*/ 39 w 760"/>
              <a:gd name="T95" fmla="*/ 89 h 677"/>
              <a:gd name="T96" fmla="*/ 14 w 760"/>
              <a:gd name="T97" fmla="*/ 106 h 677"/>
              <a:gd name="T98" fmla="*/ 20 w 760"/>
              <a:gd name="T99" fmla="*/ 148 h 677"/>
              <a:gd name="T100" fmla="*/ 87 w 760"/>
              <a:gd name="T101" fmla="*/ 101 h 677"/>
              <a:gd name="T102" fmla="*/ 96 w 760"/>
              <a:gd name="T103" fmla="*/ 523 h 677"/>
              <a:gd name="T104" fmla="*/ 214 w 760"/>
              <a:gd name="T105" fmla="*/ 661 h 677"/>
              <a:gd name="T106" fmla="*/ 587 w 760"/>
              <a:gd name="T107" fmla="*/ 673 h 677"/>
              <a:gd name="T108" fmla="*/ 747 w 760"/>
              <a:gd name="T109" fmla="*/ 665 h 677"/>
              <a:gd name="T110" fmla="*/ 756 w 760"/>
              <a:gd name="T111" fmla="*/ 658 h 677"/>
              <a:gd name="T112" fmla="*/ 632 w 760"/>
              <a:gd name="T113" fmla="*/ 637 h 677"/>
              <a:gd name="T114" fmla="*/ 753 w 760"/>
              <a:gd name="T115" fmla="*/ 645 h 6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60" h="677">
                <a:moveTo>
                  <a:pt x="144" y="39"/>
                </a:moveTo>
                <a:cubicBezTo>
                  <a:pt x="144" y="39"/>
                  <a:pt x="144" y="40"/>
                  <a:pt x="143" y="40"/>
                </a:cubicBezTo>
                <a:cubicBezTo>
                  <a:pt x="143" y="40"/>
                  <a:pt x="143" y="40"/>
                  <a:pt x="143" y="40"/>
                </a:cubicBezTo>
                <a:lnTo>
                  <a:pt x="144" y="39"/>
                </a:lnTo>
                <a:close/>
                <a:moveTo>
                  <a:pt x="153" y="65"/>
                </a:move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4"/>
                  <a:pt x="153" y="65"/>
                </a:cubicBezTo>
                <a:close/>
                <a:moveTo>
                  <a:pt x="38" y="89"/>
                </a:moveTo>
                <a:cubicBezTo>
                  <a:pt x="38" y="89"/>
                  <a:pt x="38" y="89"/>
                  <a:pt x="38" y="89"/>
                </a:cubicBezTo>
                <a:cubicBezTo>
                  <a:pt x="38" y="89"/>
                  <a:pt x="38" y="89"/>
                  <a:pt x="38" y="89"/>
                </a:cubicBezTo>
                <a:close/>
                <a:moveTo>
                  <a:pt x="38" y="89"/>
                </a:moveTo>
                <a:cubicBezTo>
                  <a:pt x="39" y="90"/>
                  <a:pt x="39" y="90"/>
                  <a:pt x="39" y="89"/>
                </a:cubicBezTo>
                <a:cubicBezTo>
                  <a:pt x="38" y="88"/>
                  <a:pt x="38" y="89"/>
                  <a:pt x="38" y="88"/>
                </a:cubicBezTo>
                <a:cubicBezTo>
                  <a:pt x="38" y="89"/>
                  <a:pt x="38" y="89"/>
                  <a:pt x="38" y="89"/>
                </a:cubicBezTo>
                <a:close/>
                <a:moveTo>
                  <a:pt x="159" y="76"/>
                </a:moveTo>
                <a:cubicBezTo>
                  <a:pt x="158" y="77"/>
                  <a:pt x="158" y="77"/>
                  <a:pt x="158" y="77"/>
                </a:cubicBezTo>
                <a:cubicBezTo>
                  <a:pt x="158" y="77"/>
                  <a:pt x="158" y="77"/>
                  <a:pt x="158" y="77"/>
                </a:cubicBezTo>
                <a:lnTo>
                  <a:pt x="159" y="76"/>
                </a:lnTo>
                <a:close/>
                <a:moveTo>
                  <a:pt x="175" y="142"/>
                </a:moveTo>
                <a:cubicBezTo>
                  <a:pt x="174" y="143"/>
                  <a:pt x="174" y="143"/>
                  <a:pt x="174" y="143"/>
                </a:cubicBezTo>
                <a:cubicBezTo>
                  <a:pt x="174" y="143"/>
                  <a:pt x="175" y="143"/>
                  <a:pt x="175" y="143"/>
                </a:cubicBezTo>
                <a:lnTo>
                  <a:pt x="175" y="142"/>
                </a:lnTo>
                <a:close/>
                <a:moveTo>
                  <a:pt x="163" y="95"/>
                </a:moveTo>
                <a:cubicBezTo>
                  <a:pt x="163" y="95"/>
                  <a:pt x="163" y="95"/>
                  <a:pt x="163" y="95"/>
                </a:cubicBezTo>
                <a:cubicBezTo>
                  <a:pt x="163" y="94"/>
                  <a:pt x="163" y="93"/>
                  <a:pt x="162" y="93"/>
                </a:cubicBezTo>
                <a:cubicBezTo>
                  <a:pt x="161" y="93"/>
                  <a:pt x="161" y="93"/>
                  <a:pt x="161" y="93"/>
                </a:cubicBezTo>
                <a:lnTo>
                  <a:pt x="163" y="95"/>
                </a:lnTo>
                <a:close/>
                <a:moveTo>
                  <a:pt x="157" y="150"/>
                </a:moveTo>
                <a:cubicBezTo>
                  <a:pt x="157" y="150"/>
                  <a:pt x="157" y="150"/>
                  <a:pt x="157" y="150"/>
                </a:cubicBezTo>
                <a:cubicBezTo>
                  <a:pt x="156" y="151"/>
                  <a:pt x="156" y="150"/>
                  <a:pt x="157" y="150"/>
                </a:cubicBezTo>
                <a:close/>
                <a:moveTo>
                  <a:pt x="165" y="105"/>
                </a:moveTo>
                <a:cubicBezTo>
                  <a:pt x="165" y="105"/>
                  <a:pt x="165" y="105"/>
                  <a:pt x="165" y="105"/>
                </a:cubicBezTo>
                <a:cubicBezTo>
                  <a:pt x="166" y="104"/>
                  <a:pt x="166" y="104"/>
                  <a:pt x="166" y="104"/>
                </a:cubicBezTo>
                <a:lnTo>
                  <a:pt x="165" y="105"/>
                </a:lnTo>
                <a:close/>
                <a:moveTo>
                  <a:pt x="177" y="123"/>
                </a:moveTo>
                <a:cubicBezTo>
                  <a:pt x="177" y="122"/>
                  <a:pt x="177" y="122"/>
                  <a:pt x="176" y="123"/>
                </a:cubicBezTo>
                <a:cubicBezTo>
                  <a:pt x="177" y="123"/>
                  <a:pt x="177" y="123"/>
                  <a:pt x="177" y="123"/>
                </a:cubicBezTo>
                <a:close/>
                <a:moveTo>
                  <a:pt x="163" y="155"/>
                </a:moveTo>
                <a:cubicBezTo>
                  <a:pt x="163" y="155"/>
                  <a:pt x="164" y="155"/>
                  <a:pt x="164" y="154"/>
                </a:cubicBezTo>
                <a:cubicBezTo>
                  <a:pt x="163" y="154"/>
                  <a:pt x="163" y="154"/>
                  <a:pt x="163" y="154"/>
                </a:cubicBezTo>
                <a:cubicBezTo>
                  <a:pt x="163" y="154"/>
                  <a:pt x="163" y="155"/>
                  <a:pt x="163" y="155"/>
                </a:cubicBezTo>
                <a:close/>
                <a:moveTo>
                  <a:pt x="175" y="145"/>
                </a:moveTo>
                <a:cubicBezTo>
                  <a:pt x="175" y="144"/>
                  <a:pt x="175" y="144"/>
                  <a:pt x="175" y="144"/>
                </a:cubicBezTo>
                <a:cubicBezTo>
                  <a:pt x="175" y="144"/>
                  <a:pt x="175" y="145"/>
                  <a:pt x="175" y="145"/>
                </a:cubicBezTo>
                <a:close/>
                <a:moveTo>
                  <a:pt x="130" y="440"/>
                </a:moveTo>
                <a:cubicBezTo>
                  <a:pt x="130" y="439"/>
                  <a:pt x="129" y="439"/>
                  <a:pt x="130" y="440"/>
                </a:cubicBezTo>
                <a:close/>
                <a:moveTo>
                  <a:pt x="373" y="627"/>
                </a:moveTo>
                <a:cubicBezTo>
                  <a:pt x="373" y="627"/>
                  <a:pt x="373" y="627"/>
                  <a:pt x="373" y="627"/>
                </a:cubicBezTo>
                <a:cubicBezTo>
                  <a:pt x="374" y="626"/>
                  <a:pt x="374" y="626"/>
                  <a:pt x="374" y="625"/>
                </a:cubicBezTo>
                <a:lnTo>
                  <a:pt x="373" y="627"/>
                </a:lnTo>
                <a:close/>
                <a:moveTo>
                  <a:pt x="439" y="631"/>
                </a:moveTo>
                <a:cubicBezTo>
                  <a:pt x="440" y="631"/>
                  <a:pt x="440" y="631"/>
                  <a:pt x="440" y="631"/>
                </a:cubicBezTo>
                <a:cubicBezTo>
                  <a:pt x="440" y="631"/>
                  <a:pt x="440" y="630"/>
                  <a:pt x="439" y="631"/>
                </a:cubicBezTo>
                <a:close/>
                <a:moveTo>
                  <a:pt x="220" y="622"/>
                </a:moveTo>
                <a:cubicBezTo>
                  <a:pt x="221" y="621"/>
                  <a:pt x="221" y="621"/>
                  <a:pt x="222" y="621"/>
                </a:cubicBezTo>
                <a:cubicBezTo>
                  <a:pt x="221" y="621"/>
                  <a:pt x="221" y="621"/>
                  <a:pt x="220" y="622"/>
                </a:cubicBezTo>
                <a:close/>
                <a:moveTo>
                  <a:pt x="123" y="318"/>
                </a:moveTo>
                <a:cubicBezTo>
                  <a:pt x="123" y="319"/>
                  <a:pt x="123" y="319"/>
                  <a:pt x="123" y="319"/>
                </a:cubicBezTo>
                <a:cubicBezTo>
                  <a:pt x="124" y="318"/>
                  <a:pt x="124" y="318"/>
                  <a:pt x="124" y="318"/>
                </a:cubicBezTo>
                <a:lnTo>
                  <a:pt x="123" y="318"/>
                </a:lnTo>
                <a:close/>
                <a:moveTo>
                  <a:pt x="124" y="320"/>
                </a:moveTo>
                <a:cubicBezTo>
                  <a:pt x="124" y="320"/>
                  <a:pt x="124" y="319"/>
                  <a:pt x="123" y="319"/>
                </a:cubicBezTo>
                <a:cubicBezTo>
                  <a:pt x="123" y="320"/>
                  <a:pt x="123" y="322"/>
                  <a:pt x="123" y="323"/>
                </a:cubicBezTo>
                <a:cubicBezTo>
                  <a:pt x="124" y="323"/>
                  <a:pt x="124" y="321"/>
                  <a:pt x="124" y="320"/>
                </a:cubicBezTo>
                <a:close/>
                <a:moveTo>
                  <a:pt x="124" y="320"/>
                </a:moveTo>
                <a:cubicBezTo>
                  <a:pt x="124" y="320"/>
                  <a:pt x="124" y="320"/>
                  <a:pt x="124" y="320"/>
                </a:cubicBezTo>
                <a:cubicBezTo>
                  <a:pt x="124" y="320"/>
                  <a:pt x="124" y="320"/>
                  <a:pt x="124" y="320"/>
                </a:cubicBezTo>
                <a:close/>
                <a:moveTo>
                  <a:pt x="223" y="663"/>
                </a:moveTo>
                <a:cubicBezTo>
                  <a:pt x="222" y="663"/>
                  <a:pt x="222" y="663"/>
                  <a:pt x="222" y="663"/>
                </a:cubicBezTo>
                <a:cubicBezTo>
                  <a:pt x="222" y="663"/>
                  <a:pt x="222" y="663"/>
                  <a:pt x="223" y="663"/>
                </a:cubicBezTo>
                <a:close/>
                <a:moveTo>
                  <a:pt x="123" y="132"/>
                </a:moveTo>
                <a:cubicBezTo>
                  <a:pt x="124" y="132"/>
                  <a:pt x="124" y="132"/>
                  <a:pt x="124" y="132"/>
                </a:cubicBezTo>
                <a:cubicBezTo>
                  <a:pt x="123" y="132"/>
                  <a:pt x="123" y="132"/>
                  <a:pt x="123" y="132"/>
                </a:cubicBezTo>
                <a:close/>
                <a:moveTo>
                  <a:pt x="501" y="631"/>
                </a:moveTo>
                <a:cubicBezTo>
                  <a:pt x="501" y="632"/>
                  <a:pt x="501" y="632"/>
                  <a:pt x="501" y="632"/>
                </a:cubicBezTo>
                <a:cubicBezTo>
                  <a:pt x="501" y="632"/>
                  <a:pt x="501" y="632"/>
                  <a:pt x="501" y="632"/>
                </a:cubicBezTo>
                <a:lnTo>
                  <a:pt x="501" y="631"/>
                </a:lnTo>
                <a:close/>
                <a:moveTo>
                  <a:pt x="752" y="643"/>
                </a:moveTo>
                <a:cubicBezTo>
                  <a:pt x="751" y="644"/>
                  <a:pt x="751" y="644"/>
                  <a:pt x="751" y="644"/>
                </a:cubicBezTo>
                <a:cubicBezTo>
                  <a:pt x="751" y="644"/>
                  <a:pt x="752" y="643"/>
                  <a:pt x="752" y="643"/>
                </a:cubicBezTo>
                <a:close/>
                <a:moveTo>
                  <a:pt x="585" y="635"/>
                </a:moveTo>
                <a:cubicBezTo>
                  <a:pt x="585" y="635"/>
                  <a:pt x="586" y="635"/>
                  <a:pt x="586" y="635"/>
                </a:cubicBezTo>
                <a:cubicBezTo>
                  <a:pt x="584" y="634"/>
                  <a:pt x="580" y="634"/>
                  <a:pt x="575" y="634"/>
                </a:cubicBezTo>
                <a:cubicBezTo>
                  <a:pt x="575" y="636"/>
                  <a:pt x="575" y="636"/>
                  <a:pt x="575" y="636"/>
                </a:cubicBezTo>
                <a:lnTo>
                  <a:pt x="585" y="635"/>
                </a:lnTo>
                <a:close/>
                <a:moveTo>
                  <a:pt x="760" y="655"/>
                </a:moveTo>
                <a:cubicBezTo>
                  <a:pt x="760" y="655"/>
                  <a:pt x="755" y="649"/>
                  <a:pt x="753" y="646"/>
                </a:cubicBezTo>
                <a:cubicBezTo>
                  <a:pt x="755" y="647"/>
                  <a:pt x="754" y="646"/>
                  <a:pt x="753" y="645"/>
                </a:cubicBezTo>
                <a:cubicBezTo>
                  <a:pt x="753" y="645"/>
                  <a:pt x="753" y="645"/>
                  <a:pt x="753" y="645"/>
                </a:cubicBezTo>
                <a:cubicBezTo>
                  <a:pt x="752" y="645"/>
                  <a:pt x="752" y="643"/>
                  <a:pt x="751" y="642"/>
                </a:cubicBezTo>
                <a:cubicBezTo>
                  <a:pt x="752" y="643"/>
                  <a:pt x="752" y="643"/>
                  <a:pt x="752" y="643"/>
                </a:cubicBezTo>
                <a:cubicBezTo>
                  <a:pt x="752" y="642"/>
                  <a:pt x="752" y="642"/>
                  <a:pt x="752" y="642"/>
                </a:cubicBezTo>
                <a:cubicBezTo>
                  <a:pt x="752" y="643"/>
                  <a:pt x="752" y="643"/>
                  <a:pt x="752" y="643"/>
                </a:cubicBezTo>
                <a:cubicBezTo>
                  <a:pt x="752" y="644"/>
                  <a:pt x="752" y="644"/>
                  <a:pt x="751" y="644"/>
                </a:cubicBezTo>
                <a:cubicBezTo>
                  <a:pt x="751" y="644"/>
                  <a:pt x="751" y="644"/>
                  <a:pt x="751" y="644"/>
                </a:cubicBezTo>
                <a:cubicBezTo>
                  <a:pt x="751" y="644"/>
                  <a:pt x="750" y="644"/>
                  <a:pt x="750" y="644"/>
                </a:cubicBezTo>
                <a:cubicBezTo>
                  <a:pt x="750" y="642"/>
                  <a:pt x="750" y="642"/>
                  <a:pt x="750" y="642"/>
                </a:cubicBezTo>
                <a:cubicBezTo>
                  <a:pt x="749" y="645"/>
                  <a:pt x="744" y="638"/>
                  <a:pt x="743" y="638"/>
                </a:cubicBezTo>
                <a:cubicBezTo>
                  <a:pt x="742" y="636"/>
                  <a:pt x="741" y="638"/>
                  <a:pt x="739" y="637"/>
                </a:cubicBezTo>
                <a:cubicBezTo>
                  <a:pt x="737" y="637"/>
                  <a:pt x="738" y="635"/>
                  <a:pt x="737" y="634"/>
                </a:cubicBezTo>
                <a:cubicBezTo>
                  <a:pt x="737" y="634"/>
                  <a:pt x="737" y="633"/>
                  <a:pt x="736" y="633"/>
                </a:cubicBezTo>
                <a:cubicBezTo>
                  <a:pt x="736" y="633"/>
                  <a:pt x="736" y="633"/>
                  <a:pt x="736" y="634"/>
                </a:cubicBezTo>
                <a:cubicBezTo>
                  <a:pt x="736" y="634"/>
                  <a:pt x="736" y="634"/>
                  <a:pt x="736" y="634"/>
                </a:cubicBezTo>
                <a:cubicBezTo>
                  <a:pt x="737" y="635"/>
                  <a:pt x="737" y="636"/>
                  <a:pt x="737" y="636"/>
                </a:cubicBezTo>
                <a:cubicBezTo>
                  <a:pt x="737" y="636"/>
                  <a:pt x="737" y="635"/>
                  <a:pt x="736" y="635"/>
                </a:cubicBezTo>
                <a:cubicBezTo>
                  <a:pt x="735" y="635"/>
                  <a:pt x="735" y="635"/>
                  <a:pt x="735" y="635"/>
                </a:cubicBezTo>
                <a:cubicBezTo>
                  <a:pt x="733" y="635"/>
                  <a:pt x="733" y="635"/>
                  <a:pt x="733" y="635"/>
                </a:cubicBezTo>
                <a:cubicBezTo>
                  <a:pt x="729" y="634"/>
                  <a:pt x="729" y="634"/>
                  <a:pt x="729" y="634"/>
                </a:cubicBezTo>
                <a:cubicBezTo>
                  <a:pt x="734" y="633"/>
                  <a:pt x="731" y="633"/>
                  <a:pt x="730" y="632"/>
                </a:cubicBezTo>
                <a:cubicBezTo>
                  <a:pt x="723" y="632"/>
                  <a:pt x="712" y="630"/>
                  <a:pt x="710" y="633"/>
                </a:cubicBezTo>
                <a:cubicBezTo>
                  <a:pt x="700" y="632"/>
                  <a:pt x="700" y="631"/>
                  <a:pt x="696" y="631"/>
                </a:cubicBezTo>
                <a:cubicBezTo>
                  <a:pt x="697" y="631"/>
                  <a:pt x="700" y="632"/>
                  <a:pt x="700" y="632"/>
                </a:cubicBezTo>
                <a:cubicBezTo>
                  <a:pt x="696" y="631"/>
                  <a:pt x="698" y="633"/>
                  <a:pt x="700" y="633"/>
                </a:cubicBezTo>
                <a:cubicBezTo>
                  <a:pt x="694" y="635"/>
                  <a:pt x="669" y="628"/>
                  <a:pt x="668" y="632"/>
                </a:cubicBezTo>
                <a:cubicBezTo>
                  <a:pt x="668" y="631"/>
                  <a:pt x="668" y="631"/>
                  <a:pt x="668" y="631"/>
                </a:cubicBezTo>
                <a:cubicBezTo>
                  <a:pt x="667" y="634"/>
                  <a:pt x="669" y="636"/>
                  <a:pt x="665" y="638"/>
                </a:cubicBezTo>
                <a:cubicBezTo>
                  <a:pt x="662" y="637"/>
                  <a:pt x="662" y="637"/>
                  <a:pt x="662" y="637"/>
                </a:cubicBezTo>
                <a:cubicBezTo>
                  <a:pt x="658" y="638"/>
                  <a:pt x="658" y="638"/>
                  <a:pt x="658" y="638"/>
                </a:cubicBezTo>
                <a:cubicBezTo>
                  <a:pt x="655" y="638"/>
                  <a:pt x="656" y="637"/>
                  <a:pt x="656" y="637"/>
                </a:cubicBezTo>
                <a:cubicBezTo>
                  <a:pt x="650" y="638"/>
                  <a:pt x="640" y="637"/>
                  <a:pt x="632" y="637"/>
                </a:cubicBezTo>
                <a:cubicBezTo>
                  <a:pt x="641" y="644"/>
                  <a:pt x="641" y="644"/>
                  <a:pt x="641" y="644"/>
                </a:cubicBezTo>
                <a:cubicBezTo>
                  <a:pt x="634" y="642"/>
                  <a:pt x="622" y="639"/>
                  <a:pt x="620" y="642"/>
                </a:cubicBezTo>
                <a:cubicBezTo>
                  <a:pt x="616" y="639"/>
                  <a:pt x="616" y="639"/>
                  <a:pt x="616" y="639"/>
                </a:cubicBezTo>
                <a:cubicBezTo>
                  <a:pt x="602" y="635"/>
                  <a:pt x="607" y="642"/>
                  <a:pt x="601" y="641"/>
                </a:cubicBezTo>
                <a:cubicBezTo>
                  <a:pt x="594" y="638"/>
                  <a:pt x="594" y="638"/>
                  <a:pt x="594" y="638"/>
                </a:cubicBezTo>
                <a:cubicBezTo>
                  <a:pt x="601" y="638"/>
                  <a:pt x="601" y="638"/>
                  <a:pt x="601" y="638"/>
                </a:cubicBezTo>
                <a:cubicBezTo>
                  <a:pt x="594" y="637"/>
                  <a:pt x="591" y="636"/>
                  <a:pt x="586" y="635"/>
                </a:cubicBezTo>
                <a:cubicBezTo>
                  <a:pt x="586" y="635"/>
                  <a:pt x="586" y="635"/>
                  <a:pt x="586" y="635"/>
                </a:cubicBezTo>
                <a:cubicBezTo>
                  <a:pt x="586" y="635"/>
                  <a:pt x="586" y="635"/>
                  <a:pt x="586" y="635"/>
                </a:cubicBezTo>
                <a:cubicBezTo>
                  <a:pt x="585" y="635"/>
                  <a:pt x="585" y="635"/>
                  <a:pt x="585" y="635"/>
                </a:cubicBezTo>
                <a:cubicBezTo>
                  <a:pt x="585" y="636"/>
                  <a:pt x="581" y="637"/>
                  <a:pt x="576" y="637"/>
                </a:cubicBezTo>
                <a:cubicBezTo>
                  <a:pt x="569" y="637"/>
                  <a:pt x="564" y="639"/>
                  <a:pt x="553" y="637"/>
                </a:cubicBezTo>
                <a:cubicBezTo>
                  <a:pt x="550" y="640"/>
                  <a:pt x="550" y="640"/>
                  <a:pt x="550" y="640"/>
                </a:cubicBezTo>
                <a:cubicBezTo>
                  <a:pt x="542" y="638"/>
                  <a:pt x="542" y="638"/>
                  <a:pt x="542" y="638"/>
                </a:cubicBezTo>
                <a:cubicBezTo>
                  <a:pt x="542" y="636"/>
                  <a:pt x="542" y="636"/>
                  <a:pt x="542" y="636"/>
                </a:cubicBezTo>
                <a:cubicBezTo>
                  <a:pt x="550" y="636"/>
                  <a:pt x="565" y="635"/>
                  <a:pt x="575" y="634"/>
                </a:cubicBezTo>
                <a:cubicBezTo>
                  <a:pt x="576" y="633"/>
                  <a:pt x="576" y="633"/>
                  <a:pt x="576" y="633"/>
                </a:cubicBezTo>
                <a:cubicBezTo>
                  <a:pt x="569" y="634"/>
                  <a:pt x="562" y="635"/>
                  <a:pt x="558" y="635"/>
                </a:cubicBezTo>
                <a:cubicBezTo>
                  <a:pt x="556" y="634"/>
                  <a:pt x="551" y="632"/>
                  <a:pt x="555" y="631"/>
                </a:cubicBezTo>
                <a:cubicBezTo>
                  <a:pt x="551" y="633"/>
                  <a:pt x="551" y="633"/>
                  <a:pt x="551" y="633"/>
                </a:cubicBezTo>
                <a:cubicBezTo>
                  <a:pt x="531" y="634"/>
                  <a:pt x="530" y="634"/>
                  <a:pt x="509" y="632"/>
                </a:cubicBezTo>
                <a:cubicBezTo>
                  <a:pt x="511" y="633"/>
                  <a:pt x="511" y="633"/>
                  <a:pt x="511" y="633"/>
                </a:cubicBezTo>
                <a:cubicBezTo>
                  <a:pt x="507" y="633"/>
                  <a:pt x="502" y="634"/>
                  <a:pt x="501" y="632"/>
                </a:cubicBezTo>
                <a:cubicBezTo>
                  <a:pt x="488" y="632"/>
                  <a:pt x="475" y="631"/>
                  <a:pt x="467" y="628"/>
                </a:cubicBezTo>
                <a:cubicBezTo>
                  <a:pt x="465" y="631"/>
                  <a:pt x="465" y="631"/>
                  <a:pt x="465" y="631"/>
                </a:cubicBezTo>
                <a:cubicBezTo>
                  <a:pt x="462" y="631"/>
                  <a:pt x="458" y="627"/>
                  <a:pt x="457" y="630"/>
                </a:cubicBezTo>
                <a:cubicBezTo>
                  <a:pt x="451" y="631"/>
                  <a:pt x="451" y="631"/>
                  <a:pt x="451" y="631"/>
                </a:cubicBezTo>
                <a:cubicBezTo>
                  <a:pt x="447" y="631"/>
                  <a:pt x="445" y="633"/>
                  <a:pt x="441" y="631"/>
                </a:cubicBezTo>
                <a:cubicBezTo>
                  <a:pt x="441" y="631"/>
                  <a:pt x="441" y="631"/>
                  <a:pt x="441" y="631"/>
                </a:cubicBezTo>
                <a:cubicBezTo>
                  <a:pt x="440" y="631"/>
                  <a:pt x="440" y="631"/>
                  <a:pt x="440" y="631"/>
                </a:cubicBezTo>
                <a:cubicBezTo>
                  <a:pt x="440" y="631"/>
                  <a:pt x="440" y="631"/>
                  <a:pt x="440" y="631"/>
                </a:cubicBezTo>
                <a:cubicBezTo>
                  <a:pt x="431" y="630"/>
                  <a:pt x="440" y="633"/>
                  <a:pt x="430" y="632"/>
                </a:cubicBezTo>
                <a:cubicBezTo>
                  <a:pt x="427" y="630"/>
                  <a:pt x="427" y="635"/>
                  <a:pt x="422" y="634"/>
                </a:cubicBezTo>
                <a:cubicBezTo>
                  <a:pt x="417" y="631"/>
                  <a:pt x="417" y="631"/>
                  <a:pt x="417" y="631"/>
                </a:cubicBezTo>
                <a:cubicBezTo>
                  <a:pt x="409" y="629"/>
                  <a:pt x="407" y="632"/>
                  <a:pt x="395" y="632"/>
                </a:cubicBezTo>
                <a:cubicBezTo>
                  <a:pt x="389" y="631"/>
                  <a:pt x="387" y="628"/>
                  <a:pt x="390" y="625"/>
                </a:cubicBezTo>
                <a:cubicBezTo>
                  <a:pt x="385" y="628"/>
                  <a:pt x="388" y="627"/>
                  <a:pt x="381" y="629"/>
                </a:cubicBezTo>
                <a:cubicBezTo>
                  <a:pt x="380" y="627"/>
                  <a:pt x="381" y="627"/>
                  <a:pt x="382" y="626"/>
                </a:cubicBezTo>
                <a:cubicBezTo>
                  <a:pt x="376" y="624"/>
                  <a:pt x="378" y="627"/>
                  <a:pt x="373" y="627"/>
                </a:cubicBezTo>
                <a:cubicBezTo>
                  <a:pt x="372" y="629"/>
                  <a:pt x="370" y="633"/>
                  <a:pt x="369" y="633"/>
                </a:cubicBezTo>
                <a:cubicBezTo>
                  <a:pt x="371" y="634"/>
                  <a:pt x="371" y="634"/>
                  <a:pt x="371" y="634"/>
                </a:cubicBezTo>
                <a:cubicBezTo>
                  <a:pt x="365" y="635"/>
                  <a:pt x="360" y="636"/>
                  <a:pt x="354" y="635"/>
                </a:cubicBezTo>
                <a:cubicBezTo>
                  <a:pt x="354" y="633"/>
                  <a:pt x="354" y="633"/>
                  <a:pt x="354" y="633"/>
                </a:cubicBezTo>
                <a:cubicBezTo>
                  <a:pt x="348" y="634"/>
                  <a:pt x="348" y="634"/>
                  <a:pt x="348" y="634"/>
                </a:cubicBezTo>
                <a:cubicBezTo>
                  <a:pt x="348" y="632"/>
                  <a:pt x="348" y="632"/>
                  <a:pt x="348" y="632"/>
                </a:cubicBezTo>
                <a:cubicBezTo>
                  <a:pt x="339" y="632"/>
                  <a:pt x="339" y="632"/>
                  <a:pt x="339" y="632"/>
                </a:cubicBezTo>
                <a:cubicBezTo>
                  <a:pt x="340" y="633"/>
                  <a:pt x="340" y="633"/>
                  <a:pt x="340" y="633"/>
                </a:cubicBezTo>
                <a:cubicBezTo>
                  <a:pt x="338" y="633"/>
                  <a:pt x="331" y="633"/>
                  <a:pt x="327" y="632"/>
                </a:cubicBezTo>
                <a:cubicBezTo>
                  <a:pt x="327" y="631"/>
                  <a:pt x="327" y="631"/>
                  <a:pt x="327" y="631"/>
                </a:cubicBezTo>
                <a:cubicBezTo>
                  <a:pt x="316" y="628"/>
                  <a:pt x="307" y="631"/>
                  <a:pt x="294" y="631"/>
                </a:cubicBezTo>
                <a:cubicBezTo>
                  <a:pt x="296" y="629"/>
                  <a:pt x="296" y="629"/>
                  <a:pt x="296" y="629"/>
                </a:cubicBezTo>
                <a:cubicBezTo>
                  <a:pt x="292" y="627"/>
                  <a:pt x="295" y="632"/>
                  <a:pt x="289" y="630"/>
                </a:cubicBezTo>
                <a:cubicBezTo>
                  <a:pt x="289" y="628"/>
                  <a:pt x="289" y="628"/>
                  <a:pt x="289" y="628"/>
                </a:cubicBezTo>
                <a:cubicBezTo>
                  <a:pt x="284" y="631"/>
                  <a:pt x="283" y="627"/>
                  <a:pt x="280" y="626"/>
                </a:cubicBezTo>
                <a:cubicBezTo>
                  <a:pt x="282" y="629"/>
                  <a:pt x="282" y="629"/>
                  <a:pt x="282" y="629"/>
                </a:cubicBezTo>
                <a:cubicBezTo>
                  <a:pt x="276" y="628"/>
                  <a:pt x="276" y="628"/>
                  <a:pt x="276" y="628"/>
                </a:cubicBezTo>
                <a:cubicBezTo>
                  <a:pt x="269" y="626"/>
                  <a:pt x="272" y="624"/>
                  <a:pt x="273" y="622"/>
                </a:cubicBezTo>
                <a:cubicBezTo>
                  <a:pt x="268" y="624"/>
                  <a:pt x="268" y="624"/>
                  <a:pt x="268" y="624"/>
                </a:cubicBezTo>
                <a:cubicBezTo>
                  <a:pt x="268" y="621"/>
                  <a:pt x="268" y="621"/>
                  <a:pt x="268" y="621"/>
                </a:cubicBezTo>
                <a:cubicBezTo>
                  <a:pt x="264" y="624"/>
                  <a:pt x="264" y="621"/>
                  <a:pt x="259" y="622"/>
                </a:cubicBezTo>
                <a:cubicBezTo>
                  <a:pt x="258" y="621"/>
                  <a:pt x="260" y="620"/>
                  <a:pt x="258" y="620"/>
                </a:cubicBezTo>
                <a:cubicBezTo>
                  <a:pt x="248" y="622"/>
                  <a:pt x="248" y="622"/>
                  <a:pt x="248" y="622"/>
                </a:cubicBezTo>
                <a:cubicBezTo>
                  <a:pt x="254" y="621"/>
                  <a:pt x="254" y="621"/>
                  <a:pt x="254" y="621"/>
                </a:cubicBezTo>
                <a:cubicBezTo>
                  <a:pt x="253" y="625"/>
                  <a:pt x="253" y="625"/>
                  <a:pt x="253" y="625"/>
                </a:cubicBezTo>
                <a:cubicBezTo>
                  <a:pt x="247" y="628"/>
                  <a:pt x="245" y="624"/>
                  <a:pt x="241" y="625"/>
                </a:cubicBezTo>
                <a:cubicBezTo>
                  <a:pt x="244" y="624"/>
                  <a:pt x="244" y="624"/>
                  <a:pt x="244" y="624"/>
                </a:cubicBezTo>
                <a:cubicBezTo>
                  <a:pt x="237" y="624"/>
                  <a:pt x="237" y="622"/>
                  <a:pt x="233" y="621"/>
                </a:cubicBezTo>
                <a:cubicBezTo>
                  <a:pt x="234" y="622"/>
                  <a:pt x="236" y="623"/>
                  <a:pt x="233" y="623"/>
                </a:cubicBezTo>
                <a:cubicBezTo>
                  <a:pt x="231" y="623"/>
                  <a:pt x="232" y="622"/>
                  <a:pt x="230" y="621"/>
                </a:cubicBezTo>
                <a:cubicBezTo>
                  <a:pt x="229" y="624"/>
                  <a:pt x="224" y="624"/>
                  <a:pt x="220" y="622"/>
                </a:cubicBezTo>
                <a:cubicBezTo>
                  <a:pt x="220" y="622"/>
                  <a:pt x="220" y="622"/>
                  <a:pt x="220" y="622"/>
                </a:cubicBezTo>
                <a:cubicBezTo>
                  <a:pt x="219" y="622"/>
                  <a:pt x="219" y="622"/>
                  <a:pt x="217" y="621"/>
                </a:cubicBezTo>
                <a:cubicBezTo>
                  <a:pt x="218" y="619"/>
                  <a:pt x="218" y="619"/>
                  <a:pt x="218" y="619"/>
                </a:cubicBezTo>
                <a:cubicBezTo>
                  <a:pt x="214" y="621"/>
                  <a:pt x="214" y="621"/>
                  <a:pt x="214" y="621"/>
                </a:cubicBezTo>
                <a:cubicBezTo>
                  <a:pt x="212" y="620"/>
                  <a:pt x="208" y="621"/>
                  <a:pt x="209" y="619"/>
                </a:cubicBezTo>
                <a:cubicBezTo>
                  <a:pt x="210" y="619"/>
                  <a:pt x="210" y="619"/>
                  <a:pt x="210" y="619"/>
                </a:cubicBezTo>
                <a:cubicBezTo>
                  <a:pt x="204" y="618"/>
                  <a:pt x="198" y="616"/>
                  <a:pt x="192" y="615"/>
                </a:cubicBezTo>
                <a:cubicBezTo>
                  <a:pt x="192" y="612"/>
                  <a:pt x="192" y="612"/>
                  <a:pt x="192" y="612"/>
                </a:cubicBezTo>
                <a:cubicBezTo>
                  <a:pt x="189" y="615"/>
                  <a:pt x="183" y="609"/>
                  <a:pt x="182" y="613"/>
                </a:cubicBezTo>
                <a:cubicBezTo>
                  <a:pt x="180" y="610"/>
                  <a:pt x="169" y="611"/>
                  <a:pt x="173" y="607"/>
                </a:cubicBezTo>
                <a:cubicBezTo>
                  <a:pt x="168" y="605"/>
                  <a:pt x="164" y="604"/>
                  <a:pt x="160" y="603"/>
                </a:cubicBezTo>
                <a:cubicBezTo>
                  <a:pt x="159" y="603"/>
                  <a:pt x="157" y="602"/>
                  <a:pt x="156" y="602"/>
                </a:cubicBezTo>
                <a:cubicBezTo>
                  <a:pt x="156" y="601"/>
                  <a:pt x="155" y="601"/>
                  <a:pt x="154" y="598"/>
                </a:cubicBezTo>
                <a:cubicBezTo>
                  <a:pt x="155" y="596"/>
                  <a:pt x="154" y="592"/>
                  <a:pt x="153" y="588"/>
                </a:cubicBezTo>
                <a:cubicBezTo>
                  <a:pt x="151" y="583"/>
                  <a:pt x="150" y="578"/>
                  <a:pt x="149" y="573"/>
                </a:cubicBezTo>
                <a:cubicBezTo>
                  <a:pt x="143" y="556"/>
                  <a:pt x="140" y="544"/>
                  <a:pt x="136" y="525"/>
                </a:cubicBezTo>
                <a:cubicBezTo>
                  <a:pt x="140" y="512"/>
                  <a:pt x="131" y="495"/>
                  <a:pt x="133" y="482"/>
                </a:cubicBezTo>
                <a:cubicBezTo>
                  <a:pt x="131" y="479"/>
                  <a:pt x="131" y="479"/>
                  <a:pt x="131" y="479"/>
                </a:cubicBezTo>
                <a:cubicBezTo>
                  <a:pt x="133" y="470"/>
                  <a:pt x="128" y="457"/>
                  <a:pt x="131" y="445"/>
                </a:cubicBezTo>
                <a:cubicBezTo>
                  <a:pt x="130" y="442"/>
                  <a:pt x="130" y="440"/>
                  <a:pt x="130" y="440"/>
                </a:cubicBezTo>
                <a:cubicBezTo>
                  <a:pt x="129" y="440"/>
                  <a:pt x="129" y="441"/>
                  <a:pt x="128" y="442"/>
                </a:cubicBezTo>
                <a:cubicBezTo>
                  <a:pt x="129" y="438"/>
                  <a:pt x="127" y="431"/>
                  <a:pt x="130" y="431"/>
                </a:cubicBezTo>
                <a:cubicBezTo>
                  <a:pt x="130" y="432"/>
                  <a:pt x="130" y="432"/>
                  <a:pt x="130" y="432"/>
                </a:cubicBezTo>
                <a:cubicBezTo>
                  <a:pt x="133" y="433"/>
                  <a:pt x="128" y="422"/>
                  <a:pt x="130" y="418"/>
                </a:cubicBezTo>
                <a:cubicBezTo>
                  <a:pt x="128" y="420"/>
                  <a:pt x="128" y="420"/>
                  <a:pt x="128" y="420"/>
                </a:cubicBezTo>
                <a:cubicBezTo>
                  <a:pt x="128" y="414"/>
                  <a:pt x="128" y="414"/>
                  <a:pt x="128" y="414"/>
                </a:cubicBezTo>
                <a:cubicBezTo>
                  <a:pt x="129" y="415"/>
                  <a:pt x="129" y="415"/>
                  <a:pt x="129" y="415"/>
                </a:cubicBezTo>
                <a:cubicBezTo>
                  <a:pt x="121" y="387"/>
                  <a:pt x="130" y="374"/>
                  <a:pt x="124" y="347"/>
                </a:cubicBezTo>
                <a:cubicBezTo>
                  <a:pt x="127" y="351"/>
                  <a:pt x="122" y="342"/>
                  <a:pt x="125" y="342"/>
                </a:cubicBezTo>
                <a:cubicBezTo>
                  <a:pt x="130" y="335"/>
                  <a:pt x="124" y="329"/>
                  <a:pt x="123" y="323"/>
                </a:cubicBezTo>
                <a:cubicBezTo>
                  <a:pt x="123" y="323"/>
                  <a:pt x="123" y="323"/>
                  <a:pt x="122" y="323"/>
                </a:cubicBezTo>
                <a:cubicBezTo>
                  <a:pt x="123" y="313"/>
                  <a:pt x="123" y="313"/>
                  <a:pt x="123" y="313"/>
                </a:cubicBezTo>
                <a:cubicBezTo>
                  <a:pt x="127" y="319"/>
                  <a:pt x="119" y="306"/>
                  <a:pt x="123" y="312"/>
                </a:cubicBezTo>
                <a:cubicBezTo>
                  <a:pt x="126" y="286"/>
                  <a:pt x="123" y="253"/>
                  <a:pt x="125" y="224"/>
                </a:cubicBezTo>
                <a:cubicBezTo>
                  <a:pt x="124" y="225"/>
                  <a:pt x="124" y="225"/>
                  <a:pt x="124" y="225"/>
                </a:cubicBezTo>
                <a:cubicBezTo>
                  <a:pt x="124" y="218"/>
                  <a:pt x="123" y="209"/>
                  <a:pt x="124" y="203"/>
                </a:cubicBezTo>
                <a:cubicBezTo>
                  <a:pt x="126" y="197"/>
                  <a:pt x="122" y="190"/>
                  <a:pt x="122" y="188"/>
                </a:cubicBezTo>
                <a:cubicBezTo>
                  <a:pt x="120" y="182"/>
                  <a:pt x="124" y="177"/>
                  <a:pt x="124" y="179"/>
                </a:cubicBezTo>
                <a:cubicBezTo>
                  <a:pt x="123" y="173"/>
                  <a:pt x="119" y="166"/>
                  <a:pt x="121" y="157"/>
                </a:cubicBezTo>
                <a:cubicBezTo>
                  <a:pt x="125" y="154"/>
                  <a:pt x="118" y="132"/>
                  <a:pt x="123" y="132"/>
                </a:cubicBezTo>
                <a:cubicBezTo>
                  <a:pt x="122" y="132"/>
                  <a:pt x="122" y="132"/>
                  <a:pt x="122" y="132"/>
                </a:cubicBezTo>
                <a:cubicBezTo>
                  <a:pt x="125" y="122"/>
                  <a:pt x="122" y="112"/>
                  <a:pt x="123" y="102"/>
                </a:cubicBezTo>
                <a:cubicBezTo>
                  <a:pt x="126" y="105"/>
                  <a:pt x="129" y="109"/>
                  <a:pt x="130" y="114"/>
                </a:cubicBezTo>
                <a:cubicBezTo>
                  <a:pt x="128" y="117"/>
                  <a:pt x="139" y="131"/>
                  <a:pt x="141" y="131"/>
                </a:cubicBezTo>
                <a:cubicBezTo>
                  <a:pt x="143" y="128"/>
                  <a:pt x="143" y="128"/>
                  <a:pt x="143" y="128"/>
                </a:cubicBezTo>
                <a:cubicBezTo>
                  <a:pt x="147" y="133"/>
                  <a:pt x="146" y="137"/>
                  <a:pt x="151" y="140"/>
                </a:cubicBezTo>
                <a:cubicBezTo>
                  <a:pt x="150" y="140"/>
                  <a:pt x="150" y="140"/>
                  <a:pt x="150" y="140"/>
                </a:cubicBezTo>
                <a:cubicBezTo>
                  <a:pt x="150" y="140"/>
                  <a:pt x="151" y="141"/>
                  <a:pt x="151" y="141"/>
                </a:cubicBezTo>
                <a:cubicBezTo>
                  <a:pt x="152" y="141"/>
                  <a:pt x="156" y="140"/>
                  <a:pt x="154" y="149"/>
                </a:cubicBezTo>
                <a:cubicBezTo>
                  <a:pt x="153" y="149"/>
                  <a:pt x="153" y="149"/>
                  <a:pt x="153" y="149"/>
                </a:cubicBezTo>
                <a:cubicBezTo>
                  <a:pt x="153" y="150"/>
                  <a:pt x="154" y="149"/>
                  <a:pt x="154" y="150"/>
                </a:cubicBezTo>
                <a:cubicBezTo>
                  <a:pt x="154" y="148"/>
                  <a:pt x="154" y="148"/>
                  <a:pt x="154" y="148"/>
                </a:cubicBezTo>
                <a:cubicBezTo>
                  <a:pt x="156" y="148"/>
                  <a:pt x="157" y="148"/>
                  <a:pt x="158" y="149"/>
                </a:cubicBezTo>
                <a:cubicBezTo>
                  <a:pt x="158" y="149"/>
                  <a:pt x="157" y="150"/>
                  <a:pt x="157" y="150"/>
                </a:cubicBezTo>
                <a:cubicBezTo>
                  <a:pt x="159" y="152"/>
                  <a:pt x="159" y="152"/>
                  <a:pt x="159" y="152"/>
                </a:cubicBezTo>
                <a:cubicBezTo>
                  <a:pt x="158" y="154"/>
                  <a:pt x="158" y="154"/>
                  <a:pt x="158" y="154"/>
                </a:cubicBezTo>
                <a:cubicBezTo>
                  <a:pt x="159" y="154"/>
                  <a:pt x="163" y="151"/>
                  <a:pt x="162" y="154"/>
                </a:cubicBezTo>
                <a:cubicBezTo>
                  <a:pt x="164" y="152"/>
                  <a:pt x="164" y="154"/>
                  <a:pt x="165" y="153"/>
                </a:cubicBezTo>
                <a:cubicBezTo>
                  <a:pt x="165" y="153"/>
                  <a:pt x="164" y="154"/>
                  <a:pt x="164" y="154"/>
                </a:cubicBezTo>
                <a:cubicBezTo>
                  <a:pt x="165" y="155"/>
                  <a:pt x="167" y="157"/>
                  <a:pt x="169" y="156"/>
                </a:cubicBezTo>
                <a:cubicBezTo>
                  <a:pt x="169" y="156"/>
                  <a:pt x="171" y="148"/>
                  <a:pt x="173" y="146"/>
                </a:cubicBezTo>
                <a:cubicBezTo>
                  <a:pt x="174" y="147"/>
                  <a:pt x="174" y="146"/>
                  <a:pt x="175" y="145"/>
                </a:cubicBezTo>
                <a:cubicBezTo>
                  <a:pt x="174" y="145"/>
                  <a:pt x="174" y="145"/>
                  <a:pt x="174" y="145"/>
                </a:cubicBezTo>
                <a:cubicBezTo>
                  <a:pt x="174" y="144"/>
                  <a:pt x="175" y="143"/>
                  <a:pt x="176" y="142"/>
                </a:cubicBezTo>
                <a:cubicBezTo>
                  <a:pt x="175" y="142"/>
                  <a:pt x="175" y="142"/>
                  <a:pt x="175" y="142"/>
                </a:cubicBezTo>
                <a:cubicBezTo>
                  <a:pt x="175" y="142"/>
                  <a:pt x="175" y="142"/>
                  <a:pt x="175" y="142"/>
                </a:cubicBezTo>
                <a:cubicBezTo>
                  <a:pt x="175" y="142"/>
                  <a:pt x="175" y="143"/>
                  <a:pt x="175" y="143"/>
                </a:cubicBezTo>
                <a:cubicBezTo>
                  <a:pt x="174" y="143"/>
                  <a:pt x="174" y="143"/>
                  <a:pt x="174" y="143"/>
                </a:cubicBezTo>
                <a:cubicBezTo>
                  <a:pt x="174" y="143"/>
                  <a:pt x="174" y="143"/>
                  <a:pt x="174" y="143"/>
                </a:cubicBezTo>
                <a:cubicBezTo>
                  <a:pt x="174" y="142"/>
                  <a:pt x="174" y="142"/>
                  <a:pt x="174" y="141"/>
                </a:cubicBezTo>
                <a:cubicBezTo>
                  <a:pt x="175" y="140"/>
                  <a:pt x="175" y="140"/>
                  <a:pt x="175" y="140"/>
                </a:cubicBezTo>
                <a:cubicBezTo>
                  <a:pt x="172" y="141"/>
                  <a:pt x="176" y="133"/>
                  <a:pt x="175" y="132"/>
                </a:cubicBezTo>
                <a:cubicBezTo>
                  <a:pt x="176" y="130"/>
                  <a:pt x="174" y="131"/>
                  <a:pt x="174" y="129"/>
                </a:cubicBezTo>
                <a:cubicBezTo>
                  <a:pt x="173" y="127"/>
                  <a:pt x="175" y="127"/>
                  <a:pt x="176" y="125"/>
                </a:cubicBezTo>
                <a:cubicBezTo>
                  <a:pt x="176" y="123"/>
                  <a:pt x="174" y="126"/>
                  <a:pt x="174" y="126"/>
                </a:cubicBezTo>
                <a:cubicBezTo>
                  <a:pt x="175" y="123"/>
                  <a:pt x="175" y="123"/>
                  <a:pt x="175" y="123"/>
                </a:cubicBezTo>
                <a:cubicBezTo>
                  <a:pt x="176" y="124"/>
                  <a:pt x="176" y="123"/>
                  <a:pt x="176" y="123"/>
                </a:cubicBezTo>
                <a:cubicBezTo>
                  <a:pt x="176" y="121"/>
                  <a:pt x="177" y="117"/>
                  <a:pt x="174" y="119"/>
                </a:cubicBezTo>
                <a:cubicBezTo>
                  <a:pt x="174" y="116"/>
                  <a:pt x="175" y="116"/>
                  <a:pt x="175" y="115"/>
                </a:cubicBezTo>
                <a:cubicBezTo>
                  <a:pt x="175" y="115"/>
                  <a:pt x="175" y="116"/>
                  <a:pt x="174" y="116"/>
                </a:cubicBezTo>
                <a:cubicBezTo>
                  <a:pt x="175" y="115"/>
                  <a:pt x="174" y="116"/>
                  <a:pt x="173" y="117"/>
                </a:cubicBezTo>
                <a:cubicBezTo>
                  <a:pt x="172" y="116"/>
                  <a:pt x="175" y="108"/>
                  <a:pt x="172" y="110"/>
                </a:cubicBezTo>
                <a:cubicBezTo>
                  <a:pt x="172" y="109"/>
                  <a:pt x="172" y="109"/>
                  <a:pt x="172" y="109"/>
                </a:cubicBezTo>
                <a:cubicBezTo>
                  <a:pt x="170" y="111"/>
                  <a:pt x="168" y="112"/>
                  <a:pt x="166" y="112"/>
                </a:cubicBezTo>
                <a:cubicBezTo>
                  <a:pt x="167" y="111"/>
                  <a:pt x="167" y="111"/>
                  <a:pt x="167" y="111"/>
                </a:cubicBezTo>
                <a:cubicBezTo>
                  <a:pt x="166" y="111"/>
                  <a:pt x="166" y="111"/>
                  <a:pt x="166" y="111"/>
                </a:cubicBezTo>
                <a:cubicBezTo>
                  <a:pt x="166" y="110"/>
                  <a:pt x="167" y="110"/>
                  <a:pt x="167" y="110"/>
                </a:cubicBezTo>
                <a:cubicBezTo>
                  <a:pt x="165" y="109"/>
                  <a:pt x="166" y="107"/>
                  <a:pt x="165" y="105"/>
                </a:cubicBezTo>
                <a:cubicBezTo>
                  <a:pt x="160" y="110"/>
                  <a:pt x="160" y="110"/>
                  <a:pt x="160" y="110"/>
                </a:cubicBezTo>
                <a:cubicBezTo>
                  <a:pt x="160" y="108"/>
                  <a:pt x="162" y="104"/>
                  <a:pt x="160" y="105"/>
                </a:cubicBezTo>
                <a:cubicBezTo>
                  <a:pt x="161" y="103"/>
                  <a:pt x="161" y="103"/>
                  <a:pt x="161" y="103"/>
                </a:cubicBezTo>
                <a:cubicBezTo>
                  <a:pt x="164" y="98"/>
                  <a:pt x="159" y="102"/>
                  <a:pt x="159" y="101"/>
                </a:cubicBezTo>
                <a:cubicBezTo>
                  <a:pt x="161" y="98"/>
                  <a:pt x="161" y="98"/>
                  <a:pt x="161" y="98"/>
                </a:cubicBezTo>
                <a:cubicBezTo>
                  <a:pt x="161" y="99"/>
                  <a:pt x="161" y="99"/>
                  <a:pt x="161" y="99"/>
                </a:cubicBezTo>
                <a:cubicBezTo>
                  <a:pt x="162" y="97"/>
                  <a:pt x="162" y="96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1" y="95"/>
                  <a:pt x="160" y="95"/>
                  <a:pt x="160" y="94"/>
                </a:cubicBezTo>
                <a:cubicBezTo>
                  <a:pt x="159" y="93"/>
                  <a:pt x="157" y="93"/>
                  <a:pt x="158" y="89"/>
                </a:cubicBezTo>
                <a:cubicBezTo>
                  <a:pt x="156" y="90"/>
                  <a:pt x="156" y="90"/>
                  <a:pt x="156" y="90"/>
                </a:cubicBezTo>
                <a:cubicBezTo>
                  <a:pt x="156" y="88"/>
                  <a:pt x="156" y="88"/>
                  <a:pt x="156" y="88"/>
                </a:cubicBezTo>
                <a:cubicBezTo>
                  <a:pt x="158" y="87"/>
                  <a:pt x="158" y="87"/>
                  <a:pt x="158" y="87"/>
                </a:cubicBezTo>
                <a:cubicBezTo>
                  <a:pt x="159" y="88"/>
                  <a:pt x="161" y="91"/>
                  <a:pt x="162" y="93"/>
                </a:cubicBezTo>
                <a:cubicBezTo>
                  <a:pt x="163" y="92"/>
                  <a:pt x="163" y="92"/>
                  <a:pt x="163" y="92"/>
                </a:cubicBezTo>
                <a:cubicBezTo>
                  <a:pt x="163" y="91"/>
                  <a:pt x="161" y="90"/>
                  <a:pt x="161" y="89"/>
                </a:cubicBezTo>
                <a:cubicBezTo>
                  <a:pt x="161" y="89"/>
                  <a:pt x="162" y="87"/>
                  <a:pt x="164" y="87"/>
                </a:cubicBezTo>
                <a:cubicBezTo>
                  <a:pt x="162" y="87"/>
                  <a:pt x="162" y="87"/>
                  <a:pt x="162" y="87"/>
                </a:cubicBezTo>
                <a:cubicBezTo>
                  <a:pt x="159" y="83"/>
                  <a:pt x="159" y="83"/>
                  <a:pt x="159" y="78"/>
                </a:cubicBezTo>
                <a:cubicBezTo>
                  <a:pt x="158" y="79"/>
                  <a:pt x="158" y="79"/>
                  <a:pt x="158" y="79"/>
                </a:cubicBezTo>
                <a:cubicBezTo>
                  <a:pt x="157" y="78"/>
                  <a:pt x="156" y="78"/>
                  <a:pt x="158" y="77"/>
                </a:cubicBezTo>
                <a:cubicBezTo>
                  <a:pt x="157" y="74"/>
                  <a:pt x="156" y="71"/>
                  <a:pt x="158" y="68"/>
                </a:cubicBezTo>
                <a:cubicBezTo>
                  <a:pt x="156" y="69"/>
                  <a:pt x="156" y="69"/>
                  <a:pt x="156" y="69"/>
                </a:cubicBezTo>
                <a:cubicBezTo>
                  <a:pt x="155" y="69"/>
                  <a:pt x="158" y="66"/>
                  <a:pt x="155" y="68"/>
                </a:cubicBezTo>
                <a:cubicBezTo>
                  <a:pt x="153" y="67"/>
                  <a:pt x="153" y="67"/>
                  <a:pt x="153" y="67"/>
                </a:cubicBezTo>
                <a:cubicBezTo>
                  <a:pt x="153" y="66"/>
                  <a:pt x="152" y="66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4"/>
                  <a:pt x="152" y="64"/>
                  <a:pt x="152" y="64"/>
                </a:cubicBezTo>
                <a:cubicBezTo>
                  <a:pt x="151" y="64"/>
                  <a:pt x="151" y="65"/>
                  <a:pt x="151" y="63"/>
                </a:cubicBezTo>
                <a:cubicBezTo>
                  <a:pt x="151" y="61"/>
                  <a:pt x="147" y="63"/>
                  <a:pt x="147" y="62"/>
                </a:cubicBezTo>
                <a:cubicBezTo>
                  <a:pt x="148" y="60"/>
                  <a:pt x="148" y="59"/>
                  <a:pt x="149" y="58"/>
                </a:cubicBezTo>
                <a:cubicBezTo>
                  <a:pt x="149" y="54"/>
                  <a:pt x="146" y="56"/>
                  <a:pt x="144" y="52"/>
                </a:cubicBezTo>
                <a:cubicBezTo>
                  <a:pt x="144" y="49"/>
                  <a:pt x="145" y="45"/>
                  <a:pt x="148" y="44"/>
                </a:cubicBezTo>
                <a:cubicBezTo>
                  <a:pt x="145" y="45"/>
                  <a:pt x="146" y="45"/>
                  <a:pt x="144" y="44"/>
                </a:cubicBezTo>
                <a:cubicBezTo>
                  <a:pt x="144" y="43"/>
                  <a:pt x="145" y="43"/>
                  <a:pt x="146" y="42"/>
                </a:cubicBezTo>
                <a:cubicBezTo>
                  <a:pt x="146" y="38"/>
                  <a:pt x="144" y="42"/>
                  <a:pt x="143" y="40"/>
                </a:cubicBezTo>
                <a:cubicBezTo>
                  <a:pt x="141" y="42"/>
                  <a:pt x="139" y="45"/>
                  <a:pt x="138" y="45"/>
                </a:cubicBezTo>
                <a:cubicBezTo>
                  <a:pt x="138" y="46"/>
                  <a:pt x="138" y="46"/>
                  <a:pt x="138" y="46"/>
                </a:cubicBezTo>
                <a:cubicBezTo>
                  <a:pt x="136" y="46"/>
                  <a:pt x="135" y="45"/>
                  <a:pt x="135" y="42"/>
                </a:cubicBezTo>
                <a:cubicBezTo>
                  <a:pt x="136" y="40"/>
                  <a:pt x="136" y="40"/>
                  <a:pt x="136" y="40"/>
                </a:cubicBezTo>
                <a:cubicBezTo>
                  <a:pt x="134" y="39"/>
                  <a:pt x="134" y="39"/>
                  <a:pt x="134" y="39"/>
                </a:cubicBezTo>
                <a:cubicBezTo>
                  <a:pt x="135" y="37"/>
                  <a:pt x="135" y="37"/>
                  <a:pt x="135" y="37"/>
                </a:cubicBezTo>
                <a:cubicBezTo>
                  <a:pt x="133" y="35"/>
                  <a:pt x="133" y="35"/>
                  <a:pt x="133" y="35"/>
                </a:cubicBezTo>
                <a:cubicBezTo>
                  <a:pt x="133" y="36"/>
                  <a:pt x="133" y="36"/>
                  <a:pt x="133" y="36"/>
                </a:cubicBezTo>
                <a:cubicBezTo>
                  <a:pt x="133" y="35"/>
                  <a:pt x="132" y="34"/>
                  <a:pt x="131" y="32"/>
                </a:cubicBezTo>
                <a:cubicBezTo>
                  <a:pt x="132" y="31"/>
                  <a:pt x="132" y="31"/>
                  <a:pt x="132" y="31"/>
                </a:cubicBezTo>
                <a:cubicBezTo>
                  <a:pt x="132" y="27"/>
                  <a:pt x="131" y="25"/>
                  <a:pt x="129" y="24"/>
                </a:cubicBezTo>
                <a:cubicBezTo>
                  <a:pt x="128" y="24"/>
                  <a:pt x="127" y="23"/>
                  <a:pt x="126" y="21"/>
                </a:cubicBezTo>
                <a:cubicBezTo>
                  <a:pt x="127" y="19"/>
                  <a:pt x="127" y="19"/>
                  <a:pt x="127" y="19"/>
                </a:cubicBezTo>
                <a:cubicBezTo>
                  <a:pt x="127" y="15"/>
                  <a:pt x="126" y="23"/>
                  <a:pt x="125" y="20"/>
                </a:cubicBezTo>
                <a:cubicBezTo>
                  <a:pt x="126" y="16"/>
                  <a:pt x="126" y="16"/>
                  <a:pt x="126" y="16"/>
                </a:cubicBezTo>
                <a:cubicBezTo>
                  <a:pt x="124" y="20"/>
                  <a:pt x="125" y="13"/>
                  <a:pt x="125" y="10"/>
                </a:cubicBezTo>
                <a:cubicBezTo>
                  <a:pt x="124" y="16"/>
                  <a:pt x="124" y="16"/>
                  <a:pt x="124" y="16"/>
                </a:cubicBezTo>
                <a:cubicBezTo>
                  <a:pt x="123" y="13"/>
                  <a:pt x="123" y="13"/>
                  <a:pt x="123" y="13"/>
                </a:cubicBezTo>
                <a:cubicBezTo>
                  <a:pt x="122" y="9"/>
                  <a:pt x="124" y="5"/>
                  <a:pt x="124" y="3"/>
                </a:cubicBezTo>
                <a:cubicBezTo>
                  <a:pt x="124" y="3"/>
                  <a:pt x="123" y="4"/>
                  <a:pt x="123" y="5"/>
                </a:cubicBezTo>
                <a:cubicBezTo>
                  <a:pt x="123" y="0"/>
                  <a:pt x="123" y="0"/>
                  <a:pt x="123" y="0"/>
                </a:cubicBezTo>
                <a:cubicBezTo>
                  <a:pt x="123" y="1"/>
                  <a:pt x="123" y="1"/>
                  <a:pt x="123" y="1"/>
                </a:cubicBezTo>
                <a:cubicBezTo>
                  <a:pt x="123" y="2"/>
                  <a:pt x="123" y="2"/>
                  <a:pt x="122" y="2"/>
                </a:cubicBezTo>
                <a:cubicBezTo>
                  <a:pt x="122" y="3"/>
                  <a:pt x="122" y="3"/>
                  <a:pt x="122" y="3"/>
                </a:cubicBezTo>
                <a:cubicBezTo>
                  <a:pt x="122" y="2"/>
                  <a:pt x="121" y="2"/>
                  <a:pt x="121" y="4"/>
                </a:cubicBezTo>
                <a:cubicBezTo>
                  <a:pt x="121" y="3"/>
                  <a:pt x="121" y="1"/>
                  <a:pt x="121" y="1"/>
                </a:cubicBezTo>
                <a:cubicBezTo>
                  <a:pt x="117" y="11"/>
                  <a:pt x="117" y="11"/>
                  <a:pt x="117" y="11"/>
                </a:cubicBezTo>
                <a:cubicBezTo>
                  <a:pt x="119" y="6"/>
                  <a:pt x="119" y="6"/>
                  <a:pt x="119" y="6"/>
                </a:cubicBezTo>
                <a:cubicBezTo>
                  <a:pt x="118" y="13"/>
                  <a:pt x="118" y="13"/>
                  <a:pt x="118" y="13"/>
                </a:cubicBezTo>
                <a:cubicBezTo>
                  <a:pt x="116" y="20"/>
                  <a:pt x="116" y="14"/>
                  <a:pt x="115" y="17"/>
                </a:cubicBezTo>
                <a:cubicBezTo>
                  <a:pt x="116" y="15"/>
                  <a:pt x="116" y="15"/>
                  <a:pt x="116" y="15"/>
                </a:cubicBezTo>
                <a:cubicBezTo>
                  <a:pt x="114" y="18"/>
                  <a:pt x="114" y="16"/>
                  <a:pt x="113" y="16"/>
                </a:cubicBezTo>
                <a:cubicBezTo>
                  <a:pt x="113" y="16"/>
                  <a:pt x="114" y="18"/>
                  <a:pt x="113" y="19"/>
                </a:cubicBezTo>
                <a:cubicBezTo>
                  <a:pt x="113" y="20"/>
                  <a:pt x="113" y="17"/>
                  <a:pt x="112" y="17"/>
                </a:cubicBezTo>
                <a:cubicBezTo>
                  <a:pt x="112" y="21"/>
                  <a:pt x="111" y="25"/>
                  <a:pt x="110" y="24"/>
                </a:cubicBezTo>
                <a:cubicBezTo>
                  <a:pt x="110" y="24"/>
                  <a:pt x="110" y="23"/>
                  <a:pt x="110" y="23"/>
                </a:cubicBezTo>
                <a:cubicBezTo>
                  <a:pt x="110" y="24"/>
                  <a:pt x="109" y="25"/>
                  <a:pt x="109" y="25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8" y="25"/>
                  <a:pt x="108" y="25"/>
                  <a:pt x="108" y="25"/>
                </a:cubicBezTo>
                <a:cubicBezTo>
                  <a:pt x="107" y="25"/>
                  <a:pt x="107" y="29"/>
                  <a:pt x="107" y="26"/>
                </a:cubicBezTo>
                <a:cubicBezTo>
                  <a:pt x="107" y="25"/>
                  <a:pt x="107" y="25"/>
                  <a:pt x="107" y="25"/>
                </a:cubicBezTo>
                <a:cubicBezTo>
                  <a:pt x="102" y="30"/>
                  <a:pt x="102" y="30"/>
                  <a:pt x="102" y="30"/>
                </a:cubicBezTo>
                <a:cubicBezTo>
                  <a:pt x="101" y="27"/>
                  <a:pt x="101" y="27"/>
                  <a:pt x="101" y="27"/>
                </a:cubicBezTo>
                <a:cubicBezTo>
                  <a:pt x="101" y="31"/>
                  <a:pt x="98" y="29"/>
                  <a:pt x="99" y="33"/>
                </a:cubicBezTo>
                <a:cubicBezTo>
                  <a:pt x="97" y="32"/>
                  <a:pt x="96" y="39"/>
                  <a:pt x="95" y="34"/>
                </a:cubicBezTo>
                <a:cubicBezTo>
                  <a:pt x="93" y="35"/>
                  <a:pt x="92" y="38"/>
                  <a:pt x="91" y="40"/>
                </a:cubicBezTo>
                <a:cubicBezTo>
                  <a:pt x="89" y="42"/>
                  <a:pt x="88" y="44"/>
                  <a:pt x="85" y="46"/>
                </a:cubicBezTo>
                <a:cubicBezTo>
                  <a:pt x="84" y="45"/>
                  <a:pt x="82" y="46"/>
                  <a:pt x="80" y="47"/>
                </a:cubicBezTo>
                <a:cubicBezTo>
                  <a:pt x="79" y="48"/>
                  <a:pt x="78" y="49"/>
                  <a:pt x="77" y="49"/>
                </a:cubicBezTo>
                <a:cubicBezTo>
                  <a:pt x="77" y="50"/>
                  <a:pt x="76" y="50"/>
                  <a:pt x="76" y="50"/>
                </a:cubicBezTo>
                <a:cubicBezTo>
                  <a:pt x="74" y="54"/>
                  <a:pt x="73" y="57"/>
                  <a:pt x="71" y="61"/>
                </a:cubicBezTo>
                <a:cubicBezTo>
                  <a:pt x="65" y="58"/>
                  <a:pt x="67" y="66"/>
                  <a:pt x="63" y="66"/>
                </a:cubicBezTo>
                <a:cubicBezTo>
                  <a:pt x="64" y="68"/>
                  <a:pt x="64" y="68"/>
                  <a:pt x="64" y="68"/>
                </a:cubicBezTo>
                <a:cubicBezTo>
                  <a:pt x="60" y="66"/>
                  <a:pt x="61" y="71"/>
                  <a:pt x="57" y="70"/>
                </a:cubicBezTo>
                <a:cubicBezTo>
                  <a:pt x="57" y="71"/>
                  <a:pt x="57" y="72"/>
                  <a:pt x="57" y="72"/>
                </a:cubicBezTo>
                <a:cubicBezTo>
                  <a:pt x="57" y="72"/>
                  <a:pt x="57" y="72"/>
                  <a:pt x="58" y="73"/>
                </a:cubicBezTo>
                <a:cubicBezTo>
                  <a:pt x="57" y="73"/>
                  <a:pt x="56" y="75"/>
                  <a:pt x="55" y="72"/>
                </a:cubicBezTo>
                <a:cubicBezTo>
                  <a:pt x="55" y="72"/>
                  <a:pt x="55" y="72"/>
                  <a:pt x="55" y="72"/>
                </a:cubicBezTo>
                <a:cubicBezTo>
                  <a:pt x="53" y="70"/>
                  <a:pt x="54" y="74"/>
                  <a:pt x="52" y="73"/>
                </a:cubicBezTo>
                <a:cubicBezTo>
                  <a:pt x="54" y="75"/>
                  <a:pt x="54" y="75"/>
                  <a:pt x="54" y="75"/>
                </a:cubicBezTo>
                <a:cubicBezTo>
                  <a:pt x="53" y="76"/>
                  <a:pt x="53" y="76"/>
                  <a:pt x="53" y="76"/>
                </a:cubicBezTo>
                <a:cubicBezTo>
                  <a:pt x="52" y="75"/>
                  <a:pt x="52" y="75"/>
                  <a:pt x="52" y="75"/>
                </a:cubicBezTo>
                <a:cubicBezTo>
                  <a:pt x="52" y="84"/>
                  <a:pt x="44" y="78"/>
                  <a:pt x="43" y="86"/>
                </a:cubicBezTo>
                <a:cubicBezTo>
                  <a:pt x="42" y="83"/>
                  <a:pt x="43" y="88"/>
                  <a:pt x="41" y="85"/>
                </a:cubicBezTo>
                <a:cubicBezTo>
                  <a:pt x="37" y="83"/>
                  <a:pt x="39" y="87"/>
                  <a:pt x="39" y="89"/>
                </a:cubicBezTo>
                <a:cubicBezTo>
                  <a:pt x="39" y="89"/>
                  <a:pt x="39" y="89"/>
                  <a:pt x="39" y="90"/>
                </a:cubicBezTo>
                <a:cubicBezTo>
                  <a:pt x="37" y="91"/>
                  <a:pt x="37" y="91"/>
                  <a:pt x="37" y="91"/>
                </a:cubicBezTo>
                <a:cubicBezTo>
                  <a:pt x="36" y="86"/>
                  <a:pt x="38" y="94"/>
                  <a:pt x="37" y="91"/>
                </a:cubicBezTo>
                <a:cubicBezTo>
                  <a:pt x="31" y="91"/>
                  <a:pt x="27" y="98"/>
                  <a:pt x="21" y="100"/>
                </a:cubicBezTo>
                <a:cubicBezTo>
                  <a:pt x="22" y="101"/>
                  <a:pt x="22" y="101"/>
                  <a:pt x="22" y="101"/>
                </a:cubicBezTo>
                <a:cubicBezTo>
                  <a:pt x="20" y="101"/>
                  <a:pt x="19" y="104"/>
                  <a:pt x="18" y="103"/>
                </a:cubicBezTo>
                <a:cubicBezTo>
                  <a:pt x="16" y="102"/>
                  <a:pt x="17" y="106"/>
                  <a:pt x="17" y="107"/>
                </a:cubicBezTo>
                <a:cubicBezTo>
                  <a:pt x="16" y="109"/>
                  <a:pt x="13" y="107"/>
                  <a:pt x="14" y="106"/>
                </a:cubicBezTo>
                <a:cubicBezTo>
                  <a:pt x="13" y="108"/>
                  <a:pt x="14" y="112"/>
                  <a:pt x="12" y="111"/>
                </a:cubicBezTo>
                <a:cubicBezTo>
                  <a:pt x="9" y="109"/>
                  <a:pt x="9" y="117"/>
                  <a:pt x="7" y="114"/>
                </a:cubicBezTo>
                <a:cubicBezTo>
                  <a:pt x="7" y="114"/>
                  <a:pt x="7" y="114"/>
                  <a:pt x="7" y="114"/>
                </a:cubicBezTo>
                <a:cubicBezTo>
                  <a:pt x="3" y="113"/>
                  <a:pt x="4" y="118"/>
                  <a:pt x="0" y="117"/>
                </a:cubicBezTo>
                <a:cubicBezTo>
                  <a:pt x="0" y="117"/>
                  <a:pt x="0" y="117"/>
                  <a:pt x="0" y="117"/>
                </a:cubicBezTo>
                <a:cubicBezTo>
                  <a:pt x="1" y="121"/>
                  <a:pt x="1" y="126"/>
                  <a:pt x="2" y="130"/>
                </a:cubicBezTo>
                <a:cubicBezTo>
                  <a:pt x="10" y="141"/>
                  <a:pt x="10" y="141"/>
                  <a:pt x="10" y="141"/>
                </a:cubicBezTo>
                <a:cubicBezTo>
                  <a:pt x="20" y="148"/>
                  <a:pt x="20" y="148"/>
                  <a:pt x="20" y="148"/>
                </a:cubicBezTo>
                <a:cubicBezTo>
                  <a:pt x="23" y="145"/>
                  <a:pt x="27" y="142"/>
                  <a:pt x="30" y="139"/>
                </a:cubicBezTo>
                <a:cubicBezTo>
                  <a:pt x="42" y="137"/>
                  <a:pt x="42" y="137"/>
                  <a:pt x="42" y="137"/>
                </a:cubicBezTo>
                <a:cubicBezTo>
                  <a:pt x="49" y="132"/>
                  <a:pt x="56" y="127"/>
                  <a:pt x="63" y="121"/>
                </a:cubicBezTo>
                <a:cubicBezTo>
                  <a:pt x="62" y="117"/>
                  <a:pt x="62" y="117"/>
                  <a:pt x="62" y="117"/>
                </a:cubicBezTo>
                <a:cubicBezTo>
                  <a:pt x="70" y="119"/>
                  <a:pt x="72" y="110"/>
                  <a:pt x="78" y="109"/>
                </a:cubicBezTo>
                <a:cubicBezTo>
                  <a:pt x="77" y="107"/>
                  <a:pt x="77" y="107"/>
                  <a:pt x="77" y="107"/>
                </a:cubicBezTo>
                <a:cubicBezTo>
                  <a:pt x="78" y="106"/>
                  <a:pt x="79" y="108"/>
                  <a:pt x="79" y="108"/>
                </a:cubicBezTo>
                <a:cubicBezTo>
                  <a:pt x="82" y="105"/>
                  <a:pt x="85" y="103"/>
                  <a:pt x="87" y="101"/>
                </a:cubicBezTo>
                <a:cubicBezTo>
                  <a:pt x="87" y="121"/>
                  <a:pt x="87" y="141"/>
                  <a:pt x="88" y="160"/>
                </a:cubicBezTo>
                <a:cubicBezTo>
                  <a:pt x="82" y="209"/>
                  <a:pt x="82" y="209"/>
                  <a:pt x="82" y="209"/>
                </a:cubicBezTo>
                <a:cubicBezTo>
                  <a:pt x="82" y="249"/>
                  <a:pt x="82" y="288"/>
                  <a:pt x="83" y="328"/>
                </a:cubicBezTo>
                <a:cubicBezTo>
                  <a:pt x="87" y="336"/>
                  <a:pt x="87" y="336"/>
                  <a:pt x="87" y="336"/>
                </a:cubicBezTo>
                <a:cubicBezTo>
                  <a:pt x="81" y="359"/>
                  <a:pt x="88" y="389"/>
                  <a:pt x="85" y="415"/>
                </a:cubicBezTo>
                <a:cubicBezTo>
                  <a:pt x="88" y="415"/>
                  <a:pt x="88" y="415"/>
                  <a:pt x="88" y="415"/>
                </a:cubicBezTo>
                <a:cubicBezTo>
                  <a:pt x="89" y="422"/>
                  <a:pt x="87" y="422"/>
                  <a:pt x="86" y="423"/>
                </a:cubicBezTo>
                <a:cubicBezTo>
                  <a:pt x="88" y="456"/>
                  <a:pt x="91" y="490"/>
                  <a:pt x="96" y="523"/>
                </a:cubicBezTo>
                <a:cubicBezTo>
                  <a:pt x="98" y="539"/>
                  <a:pt x="100" y="556"/>
                  <a:pt x="103" y="572"/>
                </a:cubicBezTo>
                <a:cubicBezTo>
                  <a:pt x="105" y="580"/>
                  <a:pt x="107" y="588"/>
                  <a:pt x="109" y="597"/>
                </a:cubicBezTo>
                <a:cubicBezTo>
                  <a:pt x="112" y="605"/>
                  <a:pt x="114" y="613"/>
                  <a:pt x="120" y="623"/>
                </a:cubicBezTo>
                <a:cubicBezTo>
                  <a:pt x="121" y="625"/>
                  <a:pt x="123" y="628"/>
                  <a:pt x="126" y="632"/>
                </a:cubicBezTo>
                <a:cubicBezTo>
                  <a:pt x="129" y="635"/>
                  <a:pt x="133" y="638"/>
                  <a:pt x="136" y="640"/>
                </a:cubicBezTo>
                <a:cubicBezTo>
                  <a:pt x="143" y="644"/>
                  <a:pt x="149" y="647"/>
                  <a:pt x="151" y="649"/>
                </a:cubicBezTo>
                <a:cubicBezTo>
                  <a:pt x="163" y="652"/>
                  <a:pt x="173" y="654"/>
                  <a:pt x="184" y="655"/>
                </a:cubicBezTo>
                <a:cubicBezTo>
                  <a:pt x="194" y="657"/>
                  <a:pt x="204" y="659"/>
                  <a:pt x="214" y="661"/>
                </a:cubicBezTo>
                <a:cubicBezTo>
                  <a:pt x="213" y="661"/>
                  <a:pt x="213" y="661"/>
                  <a:pt x="213" y="661"/>
                </a:cubicBezTo>
                <a:cubicBezTo>
                  <a:pt x="223" y="662"/>
                  <a:pt x="223" y="662"/>
                  <a:pt x="223" y="662"/>
                </a:cubicBezTo>
                <a:cubicBezTo>
                  <a:pt x="223" y="662"/>
                  <a:pt x="223" y="662"/>
                  <a:pt x="223" y="663"/>
                </a:cubicBezTo>
                <a:cubicBezTo>
                  <a:pt x="233" y="662"/>
                  <a:pt x="249" y="666"/>
                  <a:pt x="262" y="668"/>
                </a:cubicBezTo>
                <a:cubicBezTo>
                  <a:pt x="261" y="668"/>
                  <a:pt x="261" y="668"/>
                  <a:pt x="261" y="668"/>
                </a:cubicBezTo>
                <a:cubicBezTo>
                  <a:pt x="298" y="671"/>
                  <a:pt x="334" y="672"/>
                  <a:pt x="369" y="672"/>
                </a:cubicBezTo>
                <a:cubicBezTo>
                  <a:pt x="404" y="672"/>
                  <a:pt x="439" y="672"/>
                  <a:pt x="476" y="673"/>
                </a:cubicBezTo>
                <a:cubicBezTo>
                  <a:pt x="509" y="677"/>
                  <a:pt x="549" y="671"/>
                  <a:pt x="587" y="673"/>
                </a:cubicBezTo>
                <a:cubicBezTo>
                  <a:pt x="594" y="676"/>
                  <a:pt x="672" y="671"/>
                  <a:pt x="679" y="669"/>
                </a:cubicBezTo>
                <a:cubicBezTo>
                  <a:pt x="670" y="666"/>
                  <a:pt x="670" y="666"/>
                  <a:pt x="670" y="666"/>
                </a:cubicBezTo>
                <a:cubicBezTo>
                  <a:pt x="699" y="664"/>
                  <a:pt x="713" y="666"/>
                  <a:pt x="738" y="662"/>
                </a:cubicBezTo>
                <a:cubicBezTo>
                  <a:pt x="736" y="663"/>
                  <a:pt x="736" y="663"/>
                  <a:pt x="736" y="663"/>
                </a:cubicBezTo>
                <a:cubicBezTo>
                  <a:pt x="739" y="663"/>
                  <a:pt x="738" y="662"/>
                  <a:pt x="739" y="661"/>
                </a:cubicBezTo>
                <a:cubicBezTo>
                  <a:pt x="740" y="660"/>
                  <a:pt x="742" y="661"/>
                  <a:pt x="747" y="665"/>
                </a:cubicBezTo>
                <a:cubicBezTo>
                  <a:pt x="747" y="665"/>
                  <a:pt x="747" y="665"/>
                  <a:pt x="747" y="665"/>
                </a:cubicBezTo>
                <a:cubicBezTo>
                  <a:pt x="747" y="665"/>
                  <a:pt x="747" y="665"/>
                  <a:pt x="747" y="665"/>
                </a:cubicBezTo>
                <a:cubicBezTo>
                  <a:pt x="746" y="663"/>
                  <a:pt x="746" y="663"/>
                  <a:pt x="746" y="663"/>
                </a:cubicBezTo>
                <a:cubicBezTo>
                  <a:pt x="747" y="663"/>
                  <a:pt x="747" y="661"/>
                  <a:pt x="748" y="661"/>
                </a:cubicBezTo>
                <a:cubicBezTo>
                  <a:pt x="749" y="661"/>
                  <a:pt x="749" y="662"/>
                  <a:pt x="749" y="662"/>
                </a:cubicBezTo>
                <a:cubicBezTo>
                  <a:pt x="751" y="662"/>
                  <a:pt x="751" y="662"/>
                  <a:pt x="751" y="662"/>
                </a:cubicBezTo>
                <a:cubicBezTo>
                  <a:pt x="752" y="664"/>
                  <a:pt x="752" y="664"/>
                  <a:pt x="752" y="664"/>
                </a:cubicBezTo>
                <a:cubicBezTo>
                  <a:pt x="753" y="662"/>
                  <a:pt x="753" y="658"/>
                  <a:pt x="755" y="660"/>
                </a:cubicBezTo>
                <a:cubicBezTo>
                  <a:pt x="754" y="657"/>
                  <a:pt x="756" y="658"/>
                  <a:pt x="755" y="657"/>
                </a:cubicBezTo>
                <a:cubicBezTo>
                  <a:pt x="756" y="657"/>
                  <a:pt x="756" y="658"/>
                  <a:pt x="756" y="658"/>
                </a:cubicBezTo>
                <a:cubicBezTo>
                  <a:pt x="757" y="658"/>
                  <a:pt x="760" y="657"/>
                  <a:pt x="760" y="655"/>
                </a:cubicBezTo>
                <a:close/>
                <a:moveTo>
                  <a:pt x="749" y="662"/>
                </a:moveTo>
                <a:cubicBezTo>
                  <a:pt x="749" y="662"/>
                  <a:pt x="749" y="662"/>
                  <a:pt x="749" y="662"/>
                </a:cubicBezTo>
                <a:cubicBezTo>
                  <a:pt x="749" y="663"/>
                  <a:pt x="749" y="663"/>
                  <a:pt x="749" y="662"/>
                </a:cubicBezTo>
                <a:close/>
                <a:moveTo>
                  <a:pt x="632" y="637"/>
                </a:moveTo>
                <a:cubicBezTo>
                  <a:pt x="632" y="637"/>
                  <a:pt x="632" y="637"/>
                  <a:pt x="632" y="637"/>
                </a:cubicBezTo>
                <a:cubicBezTo>
                  <a:pt x="630" y="635"/>
                  <a:pt x="630" y="635"/>
                  <a:pt x="630" y="635"/>
                </a:cubicBezTo>
                <a:lnTo>
                  <a:pt x="632" y="637"/>
                </a:lnTo>
                <a:close/>
                <a:moveTo>
                  <a:pt x="730" y="632"/>
                </a:moveTo>
                <a:cubicBezTo>
                  <a:pt x="732" y="632"/>
                  <a:pt x="733" y="632"/>
                  <a:pt x="734" y="631"/>
                </a:cubicBezTo>
                <a:cubicBezTo>
                  <a:pt x="730" y="631"/>
                  <a:pt x="730" y="632"/>
                  <a:pt x="730" y="632"/>
                </a:cubicBezTo>
                <a:close/>
                <a:moveTo>
                  <a:pt x="756" y="660"/>
                </a:moveTo>
                <a:cubicBezTo>
                  <a:pt x="757" y="660"/>
                  <a:pt x="756" y="659"/>
                  <a:pt x="756" y="658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56" y="659"/>
                  <a:pt x="756" y="659"/>
                  <a:pt x="756" y="660"/>
                </a:cubicBezTo>
                <a:close/>
                <a:moveTo>
                  <a:pt x="753" y="645"/>
                </a:moveTo>
                <a:cubicBezTo>
                  <a:pt x="753" y="644"/>
                  <a:pt x="753" y="644"/>
                  <a:pt x="753" y="644"/>
                </a:cubicBezTo>
                <a:cubicBezTo>
                  <a:pt x="753" y="644"/>
                  <a:pt x="753" y="644"/>
                  <a:pt x="753" y="64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43" name="Freeform 6"/>
          <p:cNvSpPr>
            <a:spLocks noEditPoints="1"/>
          </p:cNvSpPr>
          <p:nvPr/>
        </p:nvSpPr>
        <p:spPr bwMode="auto">
          <a:xfrm rot="16200000">
            <a:off x="1446610" y="2703910"/>
            <a:ext cx="960834" cy="856059"/>
          </a:xfrm>
          <a:custGeom>
            <a:avLst/>
            <a:gdLst>
              <a:gd name="T0" fmla="*/ 38 w 760"/>
              <a:gd name="T1" fmla="*/ 89 h 677"/>
              <a:gd name="T2" fmla="*/ 158 w 760"/>
              <a:gd name="T3" fmla="*/ 77 h 677"/>
              <a:gd name="T4" fmla="*/ 163 w 760"/>
              <a:gd name="T5" fmla="*/ 95 h 677"/>
              <a:gd name="T6" fmla="*/ 165 w 760"/>
              <a:gd name="T7" fmla="*/ 105 h 677"/>
              <a:gd name="T8" fmla="*/ 163 w 760"/>
              <a:gd name="T9" fmla="*/ 154 h 677"/>
              <a:gd name="T10" fmla="*/ 373 w 760"/>
              <a:gd name="T11" fmla="*/ 627 h 677"/>
              <a:gd name="T12" fmla="*/ 220 w 760"/>
              <a:gd name="T13" fmla="*/ 622 h 677"/>
              <a:gd name="T14" fmla="*/ 124 w 760"/>
              <a:gd name="T15" fmla="*/ 320 h 677"/>
              <a:gd name="T16" fmla="*/ 124 w 760"/>
              <a:gd name="T17" fmla="*/ 132 h 677"/>
              <a:gd name="T18" fmla="*/ 752 w 760"/>
              <a:gd name="T19" fmla="*/ 643 h 677"/>
              <a:gd name="T20" fmla="*/ 753 w 760"/>
              <a:gd name="T21" fmla="*/ 645 h 677"/>
              <a:gd name="T22" fmla="*/ 750 w 760"/>
              <a:gd name="T23" fmla="*/ 644 h 677"/>
              <a:gd name="T24" fmla="*/ 737 w 760"/>
              <a:gd name="T25" fmla="*/ 636 h 677"/>
              <a:gd name="T26" fmla="*/ 700 w 760"/>
              <a:gd name="T27" fmla="*/ 632 h 677"/>
              <a:gd name="T28" fmla="*/ 632 w 760"/>
              <a:gd name="T29" fmla="*/ 637 h 677"/>
              <a:gd name="T30" fmla="*/ 586 w 760"/>
              <a:gd name="T31" fmla="*/ 635 h 677"/>
              <a:gd name="T32" fmla="*/ 575 w 760"/>
              <a:gd name="T33" fmla="*/ 634 h 677"/>
              <a:gd name="T34" fmla="*/ 467 w 760"/>
              <a:gd name="T35" fmla="*/ 628 h 677"/>
              <a:gd name="T36" fmla="*/ 430 w 760"/>
              <a:gd name="T37" fmla="*/ 632 h 677"/>
              <a:gd name="T38" fmla="*/ 369 w 760"/>
              <a:gd name="T39" fmla="*/ 633 h 677"/>
              <a:gd name="T40" fmla="*/ 327 w 760"/>
              <a:gd name="T41" fmla="*/ 632 h 677"/>
              <a:gd name="T42" fmla="*/ 276 w 760"/>
              <a:gd name="T43" fmla="*/ 628 h 677"/>
              <a:gd name="T44" fmla="*/ 253 w 760"/>
              <a:gd name="T45" fmla="*/ 625 h 677"/>
              <a:gd name="T46" fmla="*/ 217 w 760"/>
              <a:gd name="T47" fmla="*/ 621 h 677"/>
              <a:gd name="T48" fmla="*/ 173 w 760"/>
              <a:gd name="T49" fmla="*/ 607 h 677"/>
              <a:gd name="T50" fmla="*/ 131 w 760"/>
              <a:gd name="T51" fmla="*/ 479 h 677"/>
              <a:gd name="T52" fmla="*/ 128 w 760"/>
              <a:gd name="T53" fmla="*/ 414 h 677"/>
              <a:gd name="T54" fmla="*/ 125 w 760"/>
              <a:gd name="T55" fmla="*/ 224 h 677"/>
              <a:gd name="T56" fmla="*/ 123 w 760"/>
              <a:gd name="T57" fmla="*/ 102 h 677"/>
              <a:gd name="T58" fmla="*/ 153 w 760"/>
              <a:gd name="T59" fmla="*/ 149 h 677"/>
              <a:gd name="T60" fmla="*/ 165 w 760"/>
              <a:gd name="T61" fmla="*/ 153 h 677"/>
              <a:gd name="T62" fmla="*/ 175 w 760"/>
              <a:gd name="T63" fmla="*/ 142 h 677"/>
              <a:gd name="T64" fmla="*/ 176 w 760"/>
              <a:gd name="T65" fmla="*/ 125 h 677"/>
              <a:gd name="T66" fmla="*/ 172 w 760"/>
              <a:gd name="T67" fmla="*/ 110 h 677"/>
              <a:gd name="T68" fmla="*/ 160 w 760"/>
              <a:gd name="T69" fmla="*/ 105 h 677"/>
              <a:gd name="T70" fmla="*/ 163 w 760"/>
              <a:gd name="T71" fmla="*/ 95 h 677"/>
              <a:gd name="T72" fmla="*/ 161 w 760"/>
              <a:gd name="T73" fmla="*/ 89 h 677"/>
              <a:gd name="T74" fmla="*/ 155 w 760"/>
              <a:gd name="T75" fmla="*/ 68 h 677"/>
              <a:gd name="T76" fmla="*/ 151 w 760"/>
              <a:gd name="T77" fmla="*/ 63 h 677"/>
              <a:gd name="T78" fmla="*/ 138 w 760"/>
              <a:gd name="T79" fmla="*/ 45 h 677"/>
              <a:gd name="T80" fmla="*/ 131 w 760"/>
              <a:gd name="T81" fmla="*/ 32 h 677"/>
              <a:gd name="T82" fmla="*/ 124 w 760"/>
              <a:gd name="T83" fmla="*/ 16 h 677"/>
              <a:gd name="T84" fmla="*/ 121 w 760"/>
              <a:gd name="T85" fmla="*/ 4 h 677"/>
              <a:gd name="T86" fmla="*/ 113 w 760"/>
              <a:gd name="T87" fmla="*/ 19 h 677"/>
              <a:gd name="T88" fmla="*/ 107 w 760"/>
              <a:gd name="T89" fmla="*/ 25 h 677"/>
              <a:gd name="T90" fmla="*/ 77 w 760"/>
              <a:gd name="T91" fmla="*/ 49 h 677"/>
              <a:gd name="T92" fmla="*/ 55 w 760"/>
              <a:gd name="T93" fmla="*/ 72 h 677"/>
              <a:gd name="T94" fmla="*/ 39 w 760"/>
              <a:gd name="T95" fmla="*/ 89 h 677"/>
              <a:gd name="T96" fmla="*/ 14 w 760"/>
              <a:gd name="T97" fmla="*/ 106 h 677"/>
              <a:gd name="T98" fmla="*/ 20 w 760"/>
              <a:gd name="T99" fmla="*/ 148 h 677"/>
              <a:gd name="T100" fmla="*/ 87 w 760"/>
              <a:gd name="T101" fmla="*/ 101 h 677"/>
              <a:gd name="T102" fmla="*/ 96 w 760"/>
              <a:gd name="T103" fmla="*/ 523 h 677"/>
              <a:gd name="T104" fmla="*/ 214 w 760"/>
              <a:gd name="T105" fmla="*/ 661 h 677"/>
              <a:gd name="T106" fmla="*/ 587 w 760"/>
              <a:gd name="T107" fmla="*/ 673 h 677"/>
              <a:gd name="T108" fmla="*/ 747 w 760"/>
              <a:gd name="T109" fmla="*/ 665 h 677"/>
              <a:gd name="T110" fmla="*/ 756 w 760"/>
              <a:gd name="T111" fmla="*/ 658 h 677"/>
              <a:gd name="T112" fmla="*/ 632 w 760"/>
              <a:gd name="T113" fmla="*/ 637 h 677"/>
              <a:gd name="T114" fmla="*/ 753 w 760"/>
              <a:gd name="T115" fmla="*/ 645 h 6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60" h="677">
                <a:moveTo>
                  <a:pt x="144" y="39"/>
                </a:moveTo>
                <a:cubicBezTo>
                  <a:pt x="144" y="39"/>
                  <a:pt x="144" y="40"/>
                  <a:pt x="143" y="40"/>
                </a:cubicBezTo>
                <a:cubicBezTo>
                  <a:pt x="143" y="40"/>
                  <a:pt x="143" y="40"/>
                  <a:pt x="143" y="40"/>
                </a:cubicBezTo>
                <a:lnTo>
                  <a:pt x="144" y="39"/>
                </a:lnTo>
                <a:close/>
                <a:moveTo>
                  <a:pt x="153" y="65"/>
                </a:move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4"/>
                  <a:pt x="153" y="65"/>
                </a:cubicBezTo>
                <a:close/>
                <a:moveTo>
                  <a:pt x="38" y="89"/>
                </a:moveTo>
                <a:cubicBezTo>
                  <a:pt x="38" y="89"/>
                  <a:pt x="38" y="89"/>
                  <a:pt x="38" y="89"/>
                </a:cubicBezTo>
                <a:cubicBezTo>
                  <a:pt x="38" y="89"/>
                  <a:pt x="38" y="89"/>
                  <a:pt x="38" y="89"/>
                </a:cubicBezTo>
                <a:close/>
                <a:moveTo>
                  <a:pt x="38" y="89"/>
                </a:moveTo>
                <a:cubicBezTo>
                  <a:pt x="39" y="90"/>
                  <a:pt x="39" y="90"/>
                  <a:pt x="39" y="89"/>
                </a:cubicBezTo>
                <a:cubicBezTo>
                  <a:pt x="38" y="88"/>
                  <a:pt x="38" y="89"/>
                  <a:pt x="38" y="88"/>
                </a:cubicBezTo>
                <a:cubicBezTo>
                  <a:pt x="38" y="89"/>
                  <a:pt x="38" y="89"/>
                  <a:pt x="38" y="89"/>
                </a:cubicBezTo>
                <a:close/>
                <a:moveTo>
                  <a:pt x="159" y="76"/>
                </a:moveTo>
                <a:cubicBezTo>
                  <a:pt x="158" y="77"/>
                  <a:pt x="158" y="77"/>
                  <a:pt x="158" y="77"/>
                </a:cubicBezTo>
                <a:cubicBezTo>
                  <a:pt x="158" y="77"/>
                  <a:pt x="158" y="77"/>
                  <a:pt x="158" y="77"/>
                </a:cubicBezTo>
                <a:lnTo>
                  <a:pt x="159" y="76"/>
                </a:lnTo>
                <a:close/>
                <a:moveTo>
                  <a:pt x="175" y="142"/>
                </a:moveTo>
                <a:cubicBezTo>
                  <a:pt x="174" y="143"/>
                  <a:pt x="174" y="143"/>
                  <a:pt x="174" y="143"/>
                </a:cubicBezTo>
                <a:cubicBezTo>
                  <a:pt x="174" y="143"/>
                  <a:pt x="175" y="143"/>
                  <a:pt x="175" y="143"/>
                </a:cubicBezTo>
                <a:lnTo>
                  <a:pt x="175" y="142"/>
                </a:lnTo>
                <a:close/>
                <a:moveTo>
                  <a:pt x="163" y="95"/>
                </a:moveTo>
                <a:cubicBezTo>
                  <a:pt x="163" y="95"/>
                  <a:pt x="163" y="95"/>
                  <a:pt x="163" y="95"/>
                </a:cubicBezTo>
                <a:cubicBezTo>
                  <a:pt x="163" y="94"/>
                  <a:pt x="163" y="93"/>
                  <a:pt x="162" y="93"/>
                </a:cubicBezTo>
                <a:cubicBezTo>
                  <a:pt x="161" y="93"/>
                  <a:pt x="161" y="93"/>
                  <a:pt x="161" y="93"/>
                </a:cubicBezTo>
                <a:lnTo>
                  <a:pt x="163" y="95"/>
                </a:lnTo>
                <a:close/>
                <a:moveTo>
                  <a:pt x="157" y="150"/>
                </a:moveTo>
                <a:cubicBezTo>
                  <a:pt x="157" y="150"/>
                  <a:pt x="157" y="150"/>
                  <a:pt x="157" y="150"/>
                </a:cubicBezTo>
                <a:cubicBezTo>
                  <a:pt x="156" y="151"/>
                  <a:pt x="156" y="150"/>
                  <a:pt x="157" y="150"/>
                </a:cubicBezTo>
                <a:close/>
                <a:moveTo>
                  <a:pt x="165" y="105"/>
                </a:moveTo>
                <a:cubicBezTo>
                  <a:pt x="165" y="105"/>
                  <a:pt x="165" y="105"/>
                  <a:pt x="165" y="105"/>
                </a:cubicBezTo>
                <a:cubicBezTo>
                  <a:pt x="166" y="104"/>
                  <a:pt x="166" y="104"/>
                  <a:pt x="166" y="104"/>
                </a:cubicBezTo>
                <a:lnTo>
                  <a:pt x="165" y="105"/>
                </a:lnTo>
                <a:close/>
                <a:moveTo>
                  <a:pt x="177" y="123"/>
                </a:moveTo>
                <a:cubicBezTo>
                  <a:pt x="177" y="122"/>
                  <a:pt x="177" y="122"/>
                  <a:pt x="176" y="123"/>
                </a:cubicBezTo>
                <a:cubicBezTo>
                  <a:pt x="177" y="123"/>
                  <a:pt x="177" y="123"/>
                  <a:pt x="177" y="123"/>
                </a:cubicBezTo>
                <a:close/>
                <a:moveTo>
                  <a:pt x="163" y="155"/>
                </a:moveTo>
                <a:cubicBezTo>
                  <a:pt x="163" y="155"/>
                  <a:pt x="164" y="155"/>
                  <a:pt x="164" y="154"/>
                </a:cubicBezTo>
                <a:cubicBezTo>
                  <a:pt x="163" y="154"/>
                  <a:pt x="163" y="154"/>
                  <a:pt x="163" y="154"/>
                </a:cubicBezTo>
                <a:cubicBezTo>
                  <a:pt x="163" y="154"/>
                  <a:pt x="163" y="155"/>
                  <a:pt x="163" y="155"/>
                </a:cubicBezTo>
                <a:close/>
                <a:moveTo>
                  <a:pt x="175" y="145"/>
                </a:moveTo>
                <a:cubicBezTo>
                  <a:pt x="175" y="144"/>
                  <a:pt x="175" y="144"/>
                  <a:pt x="175" y="144"/>
                </a:cubicBezTo>
                <a:cubicBezTo>
                  <a:pt x="175" y="144"/>
                  <a:pt x="175" y="145"/>
                  <a:pt x="175" y="145"/>
                </a:cubicBezTo>
                <a:close/>
                <a:moveTo>
                  <a:pt x="130" y="440"/>
                </a:moveTo>
                <a:cubicBezTo>
                  <a:pt x="130" y="439"/>
                  <a:pt x="129" y="439"/>
                  <a:pt x="130" y="440"/>
                </a:cubicBezTo>
                <a:close/>
                <a:moveTo>
                  <a:pt x="373" y="627"/>
                </a:moveTo>
                <a:cubicBezTo>
                  <a:pt x="373" y="627"/>
                  <a:pt x="373" y="627"/>
                  <a:pt x="373" y="627"/>
                </a:cubicBezTo>
                <a:cubicBezTo>
                  <a:pt x="374" y="626"/>
                  <a:pt x="374" y="626"/>
                  <a:pt x="374" y="625"/>
                </a:cubicBezTo>
                <a:lnTo>
                  <a:pt x="373" y="627"/>
                </a:lnTo>
                <a:close/>
                <a:moveTo>
                  <a:pt x="439" y="631"/>
                </a:moveTo>
                <a:cubicBezTo>
                  <a:pt x="440" y="631"/>
                  <a:pt x="440" y="631"/>
                  <a:pt x="440" y="631"/>
                </a:cubicBezTo>
                <a:cubicBezTo>
                  <a:pt x="440" y="631"/>
                  <a:pt x="440" y="630"/>
                  <a:pt x="439" y="631"/>
                </a:cubicBezTo>
                <a:close/>
                <a:moveTo>
                  <a:pt x="220" y="622"/>
                </a:moveTo>
                <a:cubicBezTo>
                  <a:pt x="221" y="621"/>
                  <a:pt x="221" y="621"/>
                  <a:pt x="222" y="621"/>
                </a:cubicBezTo>
                <a:cubicBezTo>
                  <a:pt x="221" y="621"/>
                  <a:pt x="221" y="621"/>
                  <a:pt x="220" y="622"/>
                </a:cubicBezTo>
                <a:close/>
                <a:moveTo>
                  <a:pt x="123" y="318"/>
                </a:moveTo>
                <a:cubicBezTo>
                  <a:pt x="123" y="319"/>
                  <a:pt x="123" y="319"/>
                  <a:pt x="123" y="319"/>
                </a:cubicBezTo>
                <a:cubicBezTo>
                  <a:pt x="124" y="318"/>
                  <a:pt x="124" y="318"/>
                  <a:pt x="124" y="318"/>
                </a:cubicBezTo>
                <a:lnTo>
                  <a:pt x="123" y="318"/>
                </a:lnTo>
                <a:close/>
                <a:moveTo>
                  <a:pt x="124" y="320"/>
                </a:moveTo>
                <a:cubicBezTo>
                  <a:pt x="124" y="320"/>
                  <a:pt x="124" y="319"/>
                  <a:pt x="123" y="319"/>
                </a:cubicBezTo>
                <a:cubicBezTo>
                  <a:pt x="123" y="320"/>
                  <a:pt x="123" y="322"/>
                  <a:pt x="123" y="323"/>
                </a:cubicBezTo>
                <a:cubicBezTo>
                  <a:pt x="124" y="323"/>
                  <a:pt x="124" y="321"/>
                  <a:pt x="124" y="320"/>
                </a:cubicBezTo>
                <a:close/>
                <a:moveTo>
                  <a:pt x="124" y="320"/>
                </a:moveTo>
                <a:cubicBezTo>
                  <a:pt x="124" y="320"/>
                  <a:pt x="124" y="320"/>
                  <a:pt x="124" y="320"/>
                </a:cubicBezTo>
                <a:cubicBezTo>
                  <a:pt x="124" y="320"/>
                  <a:pt x="124" y="320"/>
                  <a:pt x="124" y="320"/>
                </a:cubicBezTo>
                <a:close/>
                <a:moveTo>
                  <a:pt x="223" y="663"/>
                </a:moveTo>
                <a:cubicBezTo>
                  <a:pt x="222" y="663"/>
                  <a:pt x="222" y="663"/>
                  <a:pt x="222" y="663"/>
                </a:cubicBezTo>
                <a:cubicBezTo>
                  <a:pt x="222" y="663"/>
                  <a:pt x="222" y="663"/>
                  <a:pt x="223" y="663"/>
                </a:cubicBezTo>
                <a:close/>
                <a:moveTo>
                  <a:pt x="123" y="132"/>
                </a:moveTo>
                <a:cubicBezTo>
                  <a:pt x="124" y="132"/>
                  <a:pt x="124" y="132"/>
                  <a:pt x="124" y="132"/>
                </a:cubicBezTo>
                <a:cubicBezTo>
                  <a:pt x="123" y="132"/>
                  <a:pt x="123" y="132"/>
                  <a:pt x="123" y="132"/>
                </a:cubicBezTo>
                <a:close/>
                <a:moveTo>
                  <a:pt x="501" y="631"/>
                </a:moveTo>
                <a:cubicBezTo>
                  <a:pt x="501" y="632"/>
                  <a:pt x="501" y="632"/>
                  <a:pt x="501" y="632"/>
                </a:cubicBezTo>
                <a:cubicBezTo>
                  <a:pt x="501" y="632"/>
                  <a:pt x="501" y="632"/>
                  <a:pt x="501" y="632"/>
                </a:cubicBezTo>
                <a:lnTo>
                  <a:pt x="501" y="631"/>
                </a:lnTo>
                <a:close/>
                <a:moveTo>
                  <a:pt x="752" y="643"/>
                </a:moveTo>
                <a:cubicBezTo>
                  <a:pt x="751" y="644"/>
                  <a:pt x="751" y="644"/>
                  <a:pt x="751" y="644"/>
                </a:cubicBezTo>
                <a:cubicBezTo>
                  <a:pt x="751" y="644"/>
                  <a:pt x="752" y="643"/>
                  <a:pt x="752" y="643"/>
                </a:cubicBezTo>
                <a:close/>
                <a:moveTo>
                  <a:pt x="585" y="635"/>
                </a:moveTo>
                <a:cubicBezTo>
                  <a:pt x="585" y="635"/>
                  <a:pt x="586" y="635"/>
                  <a:pt x="586" y="635"/>
                </a:cubicBezTo>
                <a:cubicBezTo>
                  <a:pt x="584" y="634"/>
                  <a:pt x="580" y="634"/>
                  <a:pt x="575" y="634"/>
                </a:cubicBezTo>
                <a:cubicBezTo>
                  <a:pt x="575" y="636"/>
                  <a:pt x="575" y="636"/>
                  <a:pt x="575" y="636"/>
                </a:cubicBezTo>
                <a:lnTo>
                  <a:pt x="585" y="635"/>
                </a:lnTo>
                <a:close/>
                <a:moveTo>
                  <a:pt x="760" y="655"/>
                </a:moveTo>
                <a:cubicBezTo>
                  <a:pt x="760" y="655"/>
                  <a:pt x="755" y="649"/>
                  <a:pt x="753" y="646"/>
                </a:cubicBezTo>
                <a:cubicBezTo>
                  <a:pt x="755" y="647"/>
                  <a:pt x="754" y="646"/>
                  <a:pt x="753" y="645"/>
                </a:cubicBezTo>
                <a:cubicBezTo>
                  <a:pt x="753" y="645"/>
                  <a:pt x="753" y="645"/>
                  <a:pt x="753" y="645"/>
                </a:cubicBezTo>
                <a:cubicBezTo>
                  <a:pt x="752" y="645"/>
                  <a:pt x="752" y="643"/>
                  <a:pt x="751" y="642"/>
                </a:cubicBezTo>
                <a:cubicBezTo>
                  <a:pt x="752" y="643"/>
                  <a:pt x="752" y="643"/>
                  <a:pt x="752" y="643"/>
                </a:cubicBezTo>
                <a:cubicBezTo>
                  <a:pt x="752" y="642"/>
                  <a:pt x="752" y="642"/>
                  <a:pt x="752" y="642"/>
                </a:cubicBezTo>
                <a:cubicBezTo>
                  <a:pt x="752" y="643"/>
                  <a:pt x="752" y="643"/>
                  <a:pt x="752" y="643"/>
                </a:cubicBezTo>
                <a:cubicBezTo>
                  <a:pt x="752" y="644"/>
                  <a:pt x="752" y="644"/>
                  <a:pt x="751" y="644"/>
                </a:cubicBezTo>
                <a:cubicBezTo>
                  <a:pt x="751" y="644"/>
                  <a:pt x="751" y="644"/>
                  <a:pt x="751" y="644"/>
                </a:cubicBezTo>
                <a:cubicBezTo>
                  <a:pt x="751" y="644"/>
                  <a:pt x="750" y="644"/>
                  <a:pt x="750" y="644"/>
                </a:cubicBezTo>
                <a:cubicBezTo>
                  <a:pt x="750" y="642"/>
                  <a:pt x="750" y="642"/>
                  <a:pt x="750" y="642"/>
                </a:cubicBezTo>
                <a:cubicBezTo>
                  <a:pt x="749" y="645"/>
                  <a:pt x="744" y="638"/>
                  <a:pt x="743" y="638"/>
                </a:cubicBezTo>
                <a:cubicBezTo>
                  <a:pt x="742" y="636"/>
                  <a:pt x="741" y="638"/>
                  <a:pt x="739" y="637"/>
                </a:cubicBezTo>
                <a:cubicBezTo>
                  <a:pt x="737" y="637"/>
                  <a:pt x="738" y="635"/>
                  <a:pt x="737" y="634"/>
                </a:cubicBezTo>
                <a:cubicBezTo>
                  <a:pt x="737" y="634"/>
                  <a:pt x="737" y="633"/>
                  <a:pt x="736" y="633"/>
                </a:cubicBezTo>
                <a:cubicBezTo>
                  <a:pt x="736" y="633"/>
                  <a:pt x="736" y="633"/>
                  <a:pt x="736" y="634"/>
                </a:cubicBezTo>
                <a:cubicBezTo>
                  <a:pt x="736" y="634"/>
                  <a:pt x="736" y="634"/>
                  <a:pt x="736" y="634"/>
                </a:cubicBezTo>
                <a:cubicBezTo>
                  <a:pt x="737" y="635"/>
                  <a:pt x="737" y="636"/>
                  <a:pt x="737" y="636"/>
                </a:cubicBezTo>
                <a:cubicBezTo>
                  <a:pt x="737" y="636"/>
                  <a:pt x="737" y="635"/>
                  <a:pt x="736" y="635"/>
                </a:cubicBezTo>
                <a:cubicBezTo>
                  <a:pt x="735" y="635"/>
                  <a:pt x="735" y="635"/>
                  <a:pt x="735" y="635"/>
                </a:cubicBezTo>
                <a:cubicBezTo>
                  <a:pt x="733" y="635"/>
                  <a:pt x="733" y="635"/>
                  <a:pt x="733" y="635"/>
                </a:cubicBezTo>
                <a:cubicBezTo>
                  <a:pt x="729" y="634"/>
                  <a:pt x="729" y="634"/>
                  <a:pt x="729" y="634"/>
                </a:cubicBezTo>
                <a:cubicBezTo>
                  <a:pt x="734" y="633"/>
                  <a:pt x="731" y="633"/>
                  <a:pt x="730" y="632"/>
                </a:cubicBezTo>
                <a:cubicBezTo>
                  <a:pt x="723" y="632"/>
                  <a:pt x="712" y="630"/>
                  <a:pt x="710" y="633"/>
                </a:cubicBezTo>
                <a:cubicBezTo>
                  <a:pt x="700" y="632"/>
                  <a:pt x="700" y="631"/>
                  <a:pt x="696" y="631"/>
                </a:cubicBezTo>
                <a:cubicBezTo>
                  <a:pt x="697" y="631"/>
                  <a:pt x="700" y="632"/>
                  <a:pt x="700" y="632"/>
                </a:cubicBezTo>
                <a:cubicBezTo>
                  <a:pt x="696" y="631"/>
                  <a:pt x="698" y="633"/>
                  <a:pt x="700" y="633"/>
                </a:cubicBezTo>
                <a:cubicBezTo>
                  <a:pt x="694" y="635"/>
                  <a:pt x="669" y="628"/>
                  <a:pt x="668" y="632"/>
                </a:cubicBezTo>
                <a:cubicBezTo>
                  <a:pt x="668" y="631"/>
                  <a:pt x="668" y="631"/>
                  <a:pt x="668" y="631"/>
                </a:cubicBezTo>
                <a:cubicBezTo>
                  <a:pt x="667" y="634"/>
                  <a:pt x="669" y="636"/>
                  <a:pt x="665" y="638"/>
                </a:cubicBezTo>
                <a:cubicBezTo>
                  <a:pt x="662" y="637"/>
                  <a:pt x="662" y="637"/>
                  <a:pt x="662" y="637"/>
                </a:cubicBezTo>
                <a:cubicBezTo>
                  <a:pt x="658" y="638"/>
                  <a:pt x="658" y="638"/>
                  <a:pt x="658" y="638"/>
                </a:cubicBezTo>
                <a:cubicBezTo>
                  <a:pt x="655" y="638"/>
                  <a:pt x="656" y="637"/>
                  <a:pt x="656" y="637"/>
                </a:cubicBezTo>
                <a:cubicBezTo>
                  <a:pt x="650" y="638"/>
                  <a:pt x="640" y="637"/>
                  <a:pt x="632" y="637"/>
                </a:cubicBezTo>
                <a:cubicBezTo>
                  <a:pt x="641" y="644"/>
                  <a:pt x="641" y="644"/>
                  <a:pt x="641" y="644"/>
                </a:cubicBezTo>
                <a:cubicBezTo>
                  <a:pt x="634" y="642"/>
                  <a:pt x="622" y="639"/>
                  <a:pt x="620" y="642"/>
                </a:cubicBezTo>
                <a:cubicBezTo>
                  <a:pt x="616" y="639"/>
                  <a:pt x="616" y="639"/>
                  <a:pt x="616" y="639"/>
                </a:cubicBezTo>
                <a:cubicBezTo>
                  <a:pt x="602" y="635"/>
                  <a:pt x="607" y="642"/>
                  <a:pt x="601" y="641"/>
                </a:cubicBezTo>
                <a:cubicBezTo>
                  <a:pt x="594" y="638"/>
                  <a:pt x="594" y="638"/>
                  <a:pt x="594" y="638"/>
                </a:cubicBezTo>
                <a:cubicBezTo>
                  <a:pt x="601" y="638"/>
                  <a:pt x="601" y="638"/>
                  <a:pt x="601" y="638"/>
                </a:cubicBezTo>
                <a:cubicBezTo>
                  <a:pt x="594" y="637"/>
                  <a:pt x="591" y="636"/>
                  <a:pt x="586" y="635"/>
                </a:cubicBezTo>
                <a:cubicBezTo>
                  <a:pt x="586" y="635"/>
                  <a:pt x="586" y="635"/>
                  <a:pt x="586" y="635"/>
                </a:cubicBezTo>
                <a:cubicBezTo>
                  <a:pt x="586" y="635"/>
                  <a:pt x="586" y="635"/>
                  <a:pt x="586" y="635"/>
                </a:cubicBezTo>
                <a:cubicBezTo>
                  <a:pt x="585" y="635"/>
                  <a:pt x="585" y="635"/>
                  <a:pt x="585" y="635"/>
                </a:cubicBezTo>
                <a:cubicBezTo>
                  <a:pt x="585" y="636"/>
                  <a:pt x="581" y="637"/>
                  <a:pt x="576" y="637"/>
                </a:cubicBezTo>
                <a:cubicBezTo>
                  <a:pt x="569" y="637"/>
                  <a:pt x="564" y="639"/>
                  <a:pt x="553" y="637"/>
                </a:cubicBezTo>
                <a:cubicBezTo>
                  <a:pt x="550" y="640"/>
                  <a:pt x="550" y="640"/>
                  <a:pt x="550" y="640"/>
                </a:cubicBezTo>
                <a:cubicBezTo>
                  <a:pt x="542" y="638"/>
                  <a:pt x="542" y="638"/>
                  <a:pt x="542" y="638"/>
                </a:cubicBezTo>
                <a:cubicBezTo>
                  <a:pt x="542" y="636"/>
                  <a:pt x="542" y="636"/>
                  <a:pt x="542" y="636"/>
                </a:cubicBezTo>
                <a:cubicBezTo>
                  <a:pt x="550" y="636"/>
                  <a:pt x="565" y="635"/>
                  <a:pt x="575" y="634"/>
                </a:cubicBezTo>
                <a:cubicBezTo>
                  <a:pt x="576" y="633"/>
                  <a:pt x="576" y="633"/>
                  <a:pt x="576" y="633"/>
                </a:cubicBezTo>
                <a:cubicBezTo>
                  <a:pt x="569" y="634"/>
                  <a:pt x="562" y="635"/>
                  <a:pt x="558" y="635"/>
                </a:cubicBezTo>
                <a:cubicBezTo>
                  <a:pt x="556" y="634"/>
                  <a:pt x="551" y="632"/>
                  <a:pt x="555" y="631"/>
                </a:cubicBezTo>
                <a:cubicBezTo>
                  <a:pt x="551" y="633"/>
                  <a:pt x="551" y="633"/>
                  <a:pt x="551" y="633"/>
                </a:cubicBezTo>
                <a:cubicBezTo>
                  <a:pt x="531" y="634"/>
                  <a:pt x="530" y="634"/>
                  <a:pt x="509" y="632"/>
                </a:cubicBezTo>
                <a:cubicBezTo>
                  <a:pt x="511" y="633"/>
                  <a:pt x="511" y="633"/>
                  <a:pt x="511" y="633"/>
                </a:cubicBezTo>
                <a:cubicBezTo>
                  <a:pt x="507" y="633"/>
                  <a:pt x="502" y="634"/>
                  <a:pt x="501" y="632"/>
                </a:cubicBezTo>
                <a:cubicBezTo>
                  <a:pt x="488" y="632"/>
                  <a:pt x="475" y="631"/>
                  <a:pt x="467" y="628"/>
                </a:cubicBezTo>
                <a:cubicBezTo>
                  <a:pt x="465" y="631"/>
                  <a:pt x="465" y="631"/>
                  <a:pt x="465" y="631"/>
                </a:cubicBezTo>
                <a:cubicBezTo>
                  <a:pt x="462" y="631"/>
                  <a:pt x="458" y="627"/>
                  <a:pt x="457" y="630"/>
                </a:cubicBezTo>
                <a:cubicBezTo>
                  <a:pt x="451" y="631"/>
                  <a:pt x="451" y="631"/>
                  <a:pt x="451" y="631"/>
                </a:cubicBezTo>
                <a:cubicBezTo>
                  <a:pt x="447" y="631"/>
                  <a:pt x="445" y="633"/>
                  <a:pt x="441" y="631"/>
                </a:cubicBezTo>
                <a:cubicBezTo>
                  <a:pt x="441" y="631"/>
                  <a:pt x="441" y="631"/>
                  <a:pt x="441" y="631"/>
                </a:cubicBezTo>
                <a:cubicBezTo>
                  <a:pt x="440" y="631"/>
                  <a:pt x="440" y="631"/>
                  <a:pt x="440" y="631"/>
                </a:cubicBezTo>
                <a:cubicBezTo>
                  <a:pt x="440" y="631"/>
                  <a:pt x="440" y="631"/>
                  <a:pt x="440" y="631"/>
                </a:cubicBezTo>
                <a:cubicBezTo>
                  <a:pt x="431" y="630"/>
                  <a:pt x="440" y="633"/>
                  <a:pt x="430" y="632"/>
                </a:cubicBezTo>
                <a:cubicBezTo>
                  <a:pt x="427" y="630"/>
                  <a:pt x="427" y="635"/>
                  <a:pt x="422" y="634"/>
                </a:cubicBezTo>
                <a:cubicBezTo>
                  <a:pt x="417" y="631"/>
                  <a:pt x="417" y="631"/>
                  <a:pt x="417" y="631"/>
                </a:cubicBezTo>
                <a:cubicBezTo>
                  <a:pt x="409" y="629"/>
                  <a:pt x="407" y="632"/>
                  <a:pt x="395" y="632"/>
                </a:cubicBezTo>
                <a:cubicBezTo>
                  <a:pt x="389" y="631"/>
                  <a:pt x="387" y="628"/>
                  <a:pt x="390" y="625"/>
                </a:cubicBezTo>
                <a:cubicBezTo>
                  <a:pt x="385" y="628"/>
                  <a:pt x="388" y="627"/>
                  <a:pt x="381" y="629"/>
                </a:cubicBezTo>
                <a:cubicBezTo>
                  <a:pt x="380" y="627"/>
                  <a:pt x="381" y="627"/>
                  <a:pt x="382" y="626"/>
                </a:cubicBezTo>
                <a:cubicBezTo>
                  <a:pt x="376" y="624"/>
                  <a:pt x="378" y="627"/>
                  <a:pt x="373" y="627"/>
                </a:cubicBezTo>
                <a:cubicBezTo>
                  <a:pt x="372" y="629"/>
                  <a:pt x="370" y="633"/>
                  <a:pt x="369" y="633"/>
                </a:cubicBezTo>
                <a:cubicBezTo>
                  <a:pt x="371" y="634"/>
                  <a:pt x="371" y="634"/>
                  <a:pt x="371" y="634"/>
                </a:cubicBezTo>
                <a:cubicBezTo>
                  <a:pt x="365" y="635"/>
                  <a:pt x="360" y="636"/>
                  <a:pt x="354" y="635"/>
                </a:cubicBezTo>
                <a:cubicBezTo>
                  <a:pt x="354" y="633"/>
                  <a:pt x="354" y="633"/>
                  <a:pt x="354" y="633"/>
                </a:cubicBezTo>
                <a:cubicBezTo>
                  <a:pt x="348" y="634"/>
                  <a:pt x="348" y="634"/>
                  <a:pt x="348" y="634"/>
                </a:cubicBezTo>
                <a:cubicBezTo>
                  <a:pt x="348" y="632"/>
                  <a:pt x="348" y="632"/>
                  <a:pt x="348" y="632"/>
                </a:cubicBezTo>
                <a:cubicBezTo>
                  <a:pt x="339" y="632"/>
                  <a:pt x="339" y="632"/>
                  <a:pt x="339" y="632"/>
                </a:cubicBezTo>
                <a:cubicBezTo>
                  <a:pt x="340" y="633"/>
                  <a:pt x="340" y="633"/>
                  <a:pt x="340" y="633"/>
                </a:cubicBezTo>
                <a:cubicBezTo>
                  <a:pt x="338" y="633"/>
                  <a:pt x="331" y="633"/>
                  <a:pt x="327" y="632"/>
                </a:cubicBezTo>
                <a:cubicBezTo>
                  <a:pt x="327" y="631"/>
                  <a:pt x="327" y="631"/>
                  <a:pt x="327" y="631"/>
                </a:cubicBezTo>
                <a:cubicBezTo>
                  <a:pt x="316" y="628"/>
                  <a:pt x="307" y="631"/>
                  <a:pt x="294" y="631"/>
                </a:cubicBezTo>
                <a:cubicBezTo>
                  <a:pt x="296" y="629"/>
                  <a:pt x="296" y="629"/>
                  <a:pt x="296" y="629"/>
                </a:cubicBezTo>
                <a:cubicBezTo>
                  <a:pt x="292" y="627"/>
                  <a:pt x="295" y="632"/>
                  <a:pt x="289" y="630"/>
                </a:cubicBezTo>
                <a:cubicBezTo>
                  <a:pt x="289" y="628"/>
                  <a:pt x="289" y="628"/>
                  <a:pt x="289" y="628"/>
                </a:cubicBezTo>
                <a:cubicBezTo>
                  <a:pt x="284" y="631"/>
                  <a:pt x="283" y="627"/>
                  <a:pt x="280" y="626"/>
                </a:cubicBezTo>
                <a:cubicBezTo>
                  <a:pt x="282" y="629"/>
                  <a:pt x="282" y="629"/>
                  <a:pt x="282" y="629"/>
                </a:cubicBezTo>
                <a:cubicBezTo>
                  <a:pt x="276" y="628"/>
                  <a:pt x="276" y="628"/>
                  <a:pt x="276" y="628"/>
                </a:cubicBezTo>
                <a:cubicBezTo>
                  <a:pt x="269" y="626"/>
                  <a:pt x="272" y="624"/>
                  <a:pt x="273" y="622"/>
                </a:cubicBezTo>
                <a:cubicBezTo>
                  <a:pt x="268" y="624"/>
                  <a:pt x="268" y="624"/>
                  <a:pt x="268" y="624"/>
                </a:cubicBezTo>
                <a:cubicBezTo>
                  <a:pt x="268" y="621"/>
                  <a:pt x="268" y="621"/>
                  <a:pt x="268" y="621"/>
                </a:cubicBezTo>
                <a:cubicBezTo>
                  <a:pt x="264" y="624"/>
                  <a:pt x="264" y="621"/>
                  <a:pt x="259" y="622"/>
                </a:cubicBezTo>
                <a:cubicBezTo>
                  <a:pt x="258" y="621"/>
                  <a:pt x="260" y="620"/>
                  <a:pt x="258" y="620"/>
                </a:cubicBezTo>
                <a:cubicBezTo>
                  <a:pt x="248" y="622"/>
                  <a:pt x="248" y="622"/>
                  <a:pt x="248" y="622"/>
                </a:cubicBezTo>
                <a:cubicBezTo>
                  <a:pt x="254" y="621"/>
                  <a:pt x="254" y="621"/>
                  <a:pt x="254" y="621"/>
                </a:cubicBezTo>
                <a:cubicBezTo>
                  <a:pt x="253" y="625"/>
                  <a:pt x="253" y="625"/>
                  <a:pt x="253" y="625"/>
                </a:cubicBezTo>
                <a:cubicBezTo>
                  <a:pt x="247" y="628"/>
                  <a:pt x="245" y="624"/>
                  <a:pt x="241" y="625"/>
                </a:cubicBezTo>
                <a:cubicBezTo>
                  <a:pt x="244" y="624"/>
                  <a:pt x="244" y="624"/>
                  <a:pt x="244" y="624"/>
                </a:cubicBezTo>
                <a:cubicBezTo>
                  <a:pt x="237" y="624"/>
                  <a:pt x="237" y="622"/>
                  <a:pt x="233" y="621"/>
                </a:cubicBezTo>
                <a:cubicBezTo>
                  <a:pt x="234" y="622"/>
                  <a:pt x="236" y="623"/>
                  <a:pt x="233" y="623"/>
                </a:cubicBezTo>
                <a:cubicBezTo>
                  <a:pt x="231" y="623"/>
                  <a:pt x="232" y="622"/>
                  <a:pt x="230" y="621"/>
                </a:cubicBezTo>
                <a:cubicBezTo>
                  <a:pt x="229" y="624"/>
                  <a:pt x="224" y="624"/>
                  <a:pt x="220" y="622"/>
                </a:cubicBezTo>
                <a:cubicBezTo>
                  <a:pt x="220" y="622"/>
                  <a:pt x="220" y="622"/>
                  <a:pt x="220" y="622"/>
                </a:cubicBezTo>
                <a:cubicBezTo>
                  <a:pt x="219" y="622"/>
                  <a:pt x="219" y="622"/>
                  <a:pt x="217" y="621"/>
                </a:cubicBezTo>
                <a:cubicBezTo>
                  <a:pt x="218" y="619"/>
                  <a:pt x="218" y="619"/>
                  <a:pt x="218" y="619"/>
                </a:cubicBezTo>
                <a:cubicBezTo>
                  <a:pt x="214" y="621"/>
                  <a:pt x="214" y="621"/>
                  <a:pt x="214" y="621"/>
                </a:cubicBezTo>
                <a:cubicBezTo>
                  <a:pt x="212" y="620"/>
                  <a:pt x="208" y="621"/>
                  <a:pt x="209" y="619"/>
                </a:cubicBezTo>
                <a:cubicBezTo>
                  <a:pt x="210" y="619"/>
                  <a:pt x="210" y="619"/>
                  <a:pt x="210" y="619"/>
                </a:cubicBezTo>
                <a:cubicBezTo>
                  <a:pt x="204" y="618"/>
                  <a:pt x="198" y="616"/>
                  <a:pt x="192" y="615"/>
                </a:cubicBezTo>
                <a:cubicBezTo>
                  <a:pt x="192" y="612"/>
                  <a:pt x="192" y="612"/>
                  <a:pt x="192" y="612"/>
                </a:cubicBezTo>
                <a:cubicBezTo>
                  <a:pt x="189" y="615"/>
                  <a:pt x="183" y="609"/>
                  <a:pt x="182" y="613"/>
                </a:cubicBezTo>
                <a:cubicBezTo>
                  <a:pt x="180" y="610"/>
                  <a:pt x="169" y="611"/>
                  <a:pt x="173" y="607"/>
                </a:cubicBezTo>
                <a:cubicBezTo>
                  <a:pt x="168" y="605"/>
                  <a:pt x="164" y="604"/>
                  <a:pt x="160" y="603"/>
                </a:cubicBezTo>
                <a:cubicBezTo>
                  <a:pt x="159" y="603"/>
                  <a:pt x="157" y="602"/>
                  <a:pt x="156" y="602"/>
                </a:cubicBezTo>
                <a:cubicBezTo>
                  <a:pt x="156" y="601"/>
                  <a:pt x="155" y="601"/>
                  <a:pt x="154" y="598"/>
                </a:cubicBezTo>
                <a:cubicBezTo>
                  <a:pt x="155" y="596"/>
                  <a:pt x="154" y="592"/>
                  <a:pt x="153" y="588"/>
                </a:cubicBezTo>
                <a:cubicBezTo>
                  <a:pt x="151" y="583"/>
                  <a:pt x="150" y="578"/>
                  <a:pt x="149" y="573"/>
                </a:cubicBezTo>
                <a:cubicBezTo>
                  <a:pt x="143" y="556"/>
                  <a:pt x="140" y="544"/>
                  <a:pt x="136" y="525"/>
                </a:cubicBezTo>
                <a:cubicBezTo>
                  <a:pt x="140" y="512"/>
                  <a:pt x="131" y="495"/>
                  <a:pt x="133" y="482"/>
                </a:cubicBezTo>
                <a:cubicBezTo>
                  <a:pt x="131" y="479"/>
                  <a:pt x="131" y="479"/>
                  <a:pt x="131" y="479"/>
                </a:cubicBezTo>
                <a:cubicBezTo>
                  <a:pt x="133" y="470"/>
                  <a:pt x="128" y="457"/>
                  <a:pt x="131" y="445"/>
                </a:cubicBezTo>
                <a:cubicBezTo>
                  <a:pt x="130" y="442"/>
                  <a:pt x="130" y="440"/>
                  <a:pt x="130" y="440"/>
                </a:cubicBezTo>
                <a:cubicBezTo>
                  <a:pt x="129" y="440"/>
                  <a:pt x="129" y="441"/>
                  <a:pt x="128" y="442"/>
                </a:cubicBezTo>
                <a:cubicBezTo>
                  <a:pt x="129" y="438"/>
                  <a:pt x="127" y="431"/>
                  <a:pt x="130" y="431"/>
                </a:cubicBezTo>
                <a:cubicBezTo>
                  <a:pt x="130" y="432"/>
                  <a:pt x="130" y="432"/>
                  <a:pt x="130" y="432"/>
                </a:cubicBezTo>
                <a:cubicBezTo>
                  <a:pt x="133" y="433"/>
                  <a:pt x="128" y="422"/>
                  <a:pt x="130" y="418"/>
                </a:cubicBezTo>
                <a:cubicBezTo>
                  <a:pt x="128" y="420"/>
                  <a:pt x="128" y="420"/>
                  <a:pt x="128" y="420"/>
                </a:cubicBezTo>
                <a:cubicBezTo>
                  <a:pt x="128" y="414"/>
                  <a:pt x="128" y="414"/>
                  <a:pt x="128" y="414"/>
                </a:cubicBezTo>
                <a:cubicBezTo>
                  <a:pt x="129" y="415"/>
                  <a:pt x="129" y="415"/>
                  <a:pt x="129" y="415"/>
                </a:cubicBezTo>
                <a:cubicBezTo>
                  <a:pt x="121" y="387"/>
                  <a:pt x="130" y="374"/>
                  <a:pt x="124" y="347"/>
                </a:cubicBezTo>
                <a:cubicBezTo>
                  <a:pt x="127" y="351"/>
                  <a:pt x="122" y="342"/>
                  <a:pt x="125" y="342"/>
                </a:cubicBezTo>
                <a:cubicBezTo>
                  <a:pt x="130" y="335"/>
                  <a:pt x="124" y="329"/>
                  <a:pt x="123" y="323"/>
                </a:cubicBezTo>
                <a:cubicBezTo>
                  <a:pt x="123" y="323"/>
                  <a:pt x="123" y="323"/>
                  <a:pt x="122" y="323"/>
                </a:cubicBezTo>
                <a:cubicBezTo>
                  <a:pt x="123" y="313"/>
                  <a:pt x="123" y="313"/>
                  <a:pt x="123" y="313"/>
                </a:cubicBezTo>
                <a:cubicBezTo>
                  <a:pt x="127" y="319"/>
                  <a:pt x="119" y="306"/>
                  <a:pt x="123" y="312"/>
                </a:cubicBezTo>
                <a:cubicBezTo>
                  <a:pt x="126" y="286"/>
                  <a:pt x="123" y="253"/>
                  <a:pt x="125" y="224"/>
                </a:cubicBezTo>
                <a:cubicBezTo>
                  <a:pt x="124" y="225"/>
                  <a:pt x="124" y="225"/>
                  <a:pt x="124" y="225"/>
                </a:cubicBezTo>
                <a:cubicBezTo>
                  <a:pt x="124" y="218"/>
                  <a:pt x="123" y="209"/>
                  <a:pt x="124" y="203"/>
                </a:cubicBezTo>
                <a:cubicBezTo>
                  <a:pt x="126" y="197"/>
                  <a:pt x="122" y="190"/>
                  <a:pt x="122" y="188"/>
                </a:cubicBezTo>
                <a:cubicBezTo>
                  <a:pt x="120" y="182"/>
                  <a:pt x="124" y="177"/>
                  <a:pt x="124" y="179"/>
                </a:cubicBezTo>
                <a:cubicBezTo>
                  <a:pt x="123" y="173"/>
                  <a:pt x="119" y="166"/>
                  <a:pt x="121" y="157"/>
                </a:cubicBezTo>
                <a:cubicBezTo>
                  <a:pt x="125" y="154"/>
                  <a:pt x="118" y="132"/>
                  <a:pt x="123" y="132"/>
                </a:cubicBezTo>
                <a:cubicBezTo>
                  <a:pt x="122" y="132"/>
                  <a:pt x="122" y="132"/>
                  <a:pt x="122" y="132"/>
                </a:cubicBezTo>
                <a:cubicBezTo>
                  <a:pt x="125" y="122"/>
                  <a:pt x="122" y="112"/>
                  <a:pt x="123" y="102"/>
                </a:cubicBezTo>
                <a:cubicBezTo>
                  <a:pt x="126" y="105"/>
                  <a:pt x="129" y="109"/>
                  <a:pt x="130" y="114"/>
                </a:cubicBezTo>
                <a:cubicBezTo>
                  <a:pt x="128" y="117"/>
                  <a:pt x="139" y="131"/>
                  <a:pt x="141" y="131"/>
                </a:cubicBezTo>
                <a:cubicBezTo>
                  <a:pt x="143" y="128"/>
                  <a:pt x="143" y="128"/>
                  <a:pt x="143" y="128"/>
                </a:cubicBezTo>
                <a:cubicBezTo>
                  <a:pt x="147" y="133"/>
                  <a:pt x="146" y="137"/>
                  <a:pt x="151" y="140"/>
                </a:cubicBezTo>
                <a:cubicBezTo>
                  <a:pt x="150" y="140"/>
                  <a:pt x="150" y="140"/>
                  <a:pt x="150" y="140"/>
                </a:cubicBezTo>
                <a:cubicBezTo>
                  <a:pt x="150" y="140"/>
                  <a:pt x="151" y="141"/>
                  <a:pt x="151" y="141"/>
                </a:cubicBezTo>
                <a:cubicBezTo>
                  <a:pt x="152" y="141"/>
                  <a:pt x="156" y="140"/>
                  <a:pt x="154" y="149"/>
                </a:cubicBezTo>
                <a:cubicBezTo>
                  <a:pt x="153" y="149"/>
                  <a:pt x="153" y="149"/>
                  <a:pt x="153" y="149"/>
                </a:cubicBezTo>
                <a:cubicBezTo>
                  <a:pt x="153" y="150"/>
                  <a:pt x="154" y="149"/>
                  <a:pt x="154" y="150"/>
                </a:cubicBezTo>
                <a:cubicBezTo>
                  <a:pt x="154" y="148"/>
                  <a:pt x="154" y="148"/>
                  <a:pt x="154" y="148"/>
                </a:cubicBezTo>
                <a:cubicBezTo>
                  <a:pt x="156" y="148"/>
                  <a:pt x="157" y="148"/>
                  <a:pt x="158" y="149"/>
                </a:cubicBezTo>
                <a:cubicBezTo>
                  <a:pt x="158" y="149"/>
                  <a:pt x="157" y="150"/>
                  <a:pt x="157" y="150"/>
                </a:cubicBezTo>
                <a:cubicBezTo>
                  <a:pt x="159" y="152"/>
                  <a:pt x="159" y="152"/>
                  <a:pt x="159" y="152"/>
                </a:cubicBezTo>
                <a:cubicBezTo>
                  <a:pt x="158" y="154"/>
                  <a:pt x="158" y="154"/>
                  <a:pt x="158" y="154"/>
                </a:cubicBezTo>
                <a:cubicBezTo>
                  <a:pt x="159" y="154"/>
                  <a:pt x="163" y="151"/>
                  <a:pt x="162" y="154"/>
                </a:cubicBezTo>
                <a:cubicBezTo>
                  <a:pt x="164" y="152"/>
                  <a:pt x="164" y="154"/>
                  <a:pt x="165" y="153"/>
                </a:cubicBezTo>
                <a:cubicBezTo>
                  <a:pt x="165" y="153"/>
                  <a:pt x="164" y="154"/>
                  <a:pt x="164" y="154"/>
                </a:cubicBezTo>
                <a:cubicBezTo>
                  <a:pt x="165" y="155"/>
                  <a:pt x="167" y="157"/>
                  <a:pt x="169" y="156"/>
                </a:cubicBezTo>
                <a:cubicBezTo>
                  <a:pt x="169" y="156"/>
                  <a:pt x="171" y="148"/>
                  <a:pt x="173" y="146"/>
                </a:cubicBezTo>
                <a:cubicBezTo>
                  <a:pt x="174" y="147"/>
                  <a:pt x="174" y="146"/>
                  <a:pt x="175" y="145"/>
                </a:cubicBezTo>
                <a:cubicBezTo>
                  <a:pt x="174" y="145"/>
                  <a:pt x="174" y="145"/>
                  <a:pt x="174" y="145"/>
                </a:cubicBezTo>
                <a:cubicBezTo>
                  <a:pt x="174" y="144"/>
                  <a:pt x="175" y="143"/>
                  <a:pt x="176" y="142"/>
                </a:cubicBezTo>
                <a:cubicBezTo>
                  <a:pt x="175" y="142"/>
                  <a:pt x="175" y="142"/>
                  <a:pt x="175" y="142"/>
                </a:cubicBezTo>
                <a:cubicBezTo>
                  <a:pt x="175" y="142"/>
                  <a:pt x="175" y="142"/>
                  <a:pt x="175" y="142"/>
                </a:cubicBezTo>
                <a:cubicBezTo>
                  <a:pt x="175" y="142"/>
                  <a:pt x="175" y="143"/>
                  <a:pt x="175" y="143"/>
                </a:cubicBezTo>
                <a:cubicBezTo>
                  <a:pt x="174" y="143"/>
                  <a:pt x="174" y="143"/>
                  <a:pt x="174" y="143"/>
                </a:cubicBezTo>
                <a:cubicBezTo>
                  <a:pt x="174" y="143"/>
                  <a:pt x="174" y="143"/>
                  <a:pt x="174" y="143"/>
                </a:cubicBezTo>
                <a:cubicBezTo>
                  <a:pt x="174" y="142"/>
                  <a:pt x="174" y="142"/>
                  <a:pt x="174" y="141"/>
                </a:cubicBezTo>
                <a:cubicBezTo>
                  <a:pt x="175" y="140"/>
                  <a:pt x="175" y="140"/>
                  <a:pt x="175" y="140"/>
                </a:cubicBezTo>
                <a:cubicBezTo>
                  <a:pt x="172" y="141"/>
                  <a:pt x="176" y="133"/>
                  <a:pt x="175" y="132"/>
                </a:cubicBezTo>
                <a:cubicBezTo>
                  <a:pt x="176" y="130"/>
                  <a:pt x="174" y="131"/>
                  <a:pt x="174" y="129"/>
                </a:cubicBezTo>
                <a:cubicBezTo>
                  <a:pt x="173" y="127"/>
                  <a:pt x="175" y="127"/>
                  <a:pt x="176" y="125"/>
                </a:cubicBezTo>
                <a:cubicBezTo>
                  <a:pt x="176" y="123"/>
                  <a:pt x="174" y="126"/>
                  <a:pt x="174" y="126"/>
                </a:cubicBezTo>
                <a:cubicBezTo>
                  <a:pt x="175" y="123"/>
                  <a:pt x="175" y="123"/>
                  <a:pt x="175" y="123"/>
                </a:cubicBezTo>
                <a:cubicBezTo>
                  <a:pt x="176" y="124"/>
                  <a:pt x="176" y="123"/>
                  <a:pt x="176" y="123"/>
                </a:cubicBezTo>
                <a:cubicBezTo>
                  <a:pt x="176" y="121"/>
                  <a:pt x="177" y="117"/>
                  <a:pt x="174" y="119"/>
                </a:cubicBezTo>
                <a:cubicBezTo>
                  <a:pt x="174" y="116"/>
                  <a:pt x="175" y="116"/>
                  <a:pt x="175" y="115"/>
                </a:cubicBezTo>
                <a:cubicBezTo>
                  <a:pt x="175" y="115"/>
                  <a:pt x="175" y="116"/>
                  <a:pt x="174" y="116"/>
                </a:cubicBezTo>
                <a:cubicBezTo>
                  <a:pt x="175" y="115"/>
                  <a:pt x="174" y="116"/>
                  <a:pt x="173" y="117"/>
                </a:cubicBezTo>
                <a:cubicBezTo>
                  <a:pt x="172" y="116"/>
                  <a:pt x="175" y="108"/>
                  <a:pt x="172" y="110"/>
                </a:cubicBezTo>
                <a:cubicBezTo>
                  <a:pt x="172" y="109"/>
                  <a:pt x="172" y="109"/>
                  <a:pt x="172" y="109"/>
                </a:cubicBezTo>
                <a:cubicBezTo>
                  <a:pt x="170" y="111"/>
                  <a:pt x="168" y="112"/>
                  <a:pt x="166" y="112"/>
                </a:cubicBezTo>
                <a:cubicBezTo>
                  <a:pt x="167" y="111"/>
                  <a:pt x="167" y="111"/>
                  <a:pt x="167" y="111"/>
                </a:cubicBezTo>
                <a:cubicBezTo>
                  <a:pt x="166" y="111"/>
                  <a:pt x="166" y="111"/>
                  <a:pt x="166" y="111"/>
                </a:cubicBezTo>
                <a:cubicBezTo>
                  <a:pt x="166" y="110"/>
                  <a:pt x="167" y="110"/>
                  <a:pt x="167" y="110"/>
                </a:cubicBezTo>
                <a:cubicBezTo>
                  <a:pt x="165" y="109"/>
                  <a:pt x="166" y="107"/>
                  <a:pt x="165" y="105"/>
                </a:cubicBezTo>
                <a:cubicBezTo>
                  <a:pt x="160" y="110"/>
                  <a:pt x="160" y="110"/>
                  <a:pt x="160" y="110"/>
                </a:cubicBezTo>
                <a:cubicBezTo>
                  <a:pt x="160" y="108"/>
                  <a:pt x="162" y="104"/>
                  <a:pt x="160" y="105"/>
                </a:cubicBezTo>
                <a:cubicBezTo>
                  <a:pt x="161" y="103"/>
                  <a:pt x="161" y="103"/>
                  <a:pt x="161" y="103"/>
                </a:cubicBezTo>
                <a:cubicBezTo>
                  <a:pt x="164" y="98"/>
                  <a:pt x="159" y="102"/>
                  <a:pt x="159" y="101"/>
                </a:cubicBezTo>
                <a:cubicBezTo>
                  <a:pt x="161" y="98"/>
                  <a:pt x="161" y="98"/>
                  <a:pt x="161" y="98"/>
                </a:cubicBezTo>
                <a:cubicBezTo>
                  <a:pt x="161" y="99"/>
                  <a:pt x="161" y="99"/>
                  <a:pt x="161" y="99"/>
                </a:cubicBezTo>
                <a:cubicBezTo>
                  <a:pt x="162" y="97"/>
                  <a:pt x="162" y="96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1" y="95"/>
                  <a:pt x="160" y="95"/>
                  <a:pt x="160" y="94"/>
                </a:cubicBezTo>
                <a:cubicBezTo>
                  <a:pt x="159" y="93"/>
                  <a:pt x="157" y="93"/>
                  <a:pt x="158" y="89"/>
                </a:cubicBezTo>
                <a:cubicBezTo>
                  <a:pt x="156" y="90"/>
                  <a:pt x="156" y="90"/>
                  <a:pt x="156" y="90"/>
                </a:cubicBezTo>
                <a:cubicBezTo>
                  <a:pt x="156" y="88"/>
                  <a:pt x="156" y="88"/>
                  <a:pt x="156" y="88"/>
                </a:cubicBezTo>
                <a:cubicBezTo>
                  <a:pt x="158" y="87"/>
                  <a:pt x="158" y="87"/>
                  <a:pt x="158" y="87"/>
                </a:cubicBezTo>
                <a:cubicBezTo>
                  <a:pt x="159" y="88"/>
                  <a:pt x="161" y="91"/>
                  <a:pt x="162" y="93"/>
                </a:cubicBezTo>
                <a:cubicBezTo>
                  <a:pt x="163" y="92"/>
                  <a:pt x="163" y="92"/>
                  <a:pt x="163" y="92"/>
                </a:cubicBezTo>
                <a:cubicBezTo>
                  <a:pt x="163" y="91"/>
                  <a:pt x="161" y="90"/>
                  <a:pt x="161" y="89"/>
                </a:cubicBezTo>
                <a:cubicBezTo>
                  <a:pt x="161" y="89"/>
                  <a:pt x="162" y="87"/>
                  <a:pt x="164" y="87"/>
                </a:cubicBezTo>
                <a:cubicBezTo>
                  <a:pt x="162" y="87"/>
                  <a:pt x="162" y="87"/>
                  <a:pt x="162" y="87"/>
                </a:cubicBezTo>
                <a:cubicBezTo>
                  <a:pt x="159" y="83"/>
                  <a:pt x="159" y="83"/>
                  <a:pt x="159" y="78"/>
                </a:cubicBezTo>
                <a:cubicBezTo>
                  <a:pt x="158" y="79"/>
                  <a:pt x="158" y="79"/>
                  <a:pt x="158" y="79"/>
                </a:cubicBezTo>
                <a:cubicBezTo>
                  <a:pt x="157" y="78"/>
                  <a:pt x="156" y="78"/>
                  <a:pt x="158" y="77"/>
                </a:cubicBezTo>
                <a:cubicBezTo>
                  <a:pt x="157" y="74"/>
                  <a:pt x="156" y="71"/>
                  <a:pt x="158" y="68"/>
                </a:cubicBezTo>
                <a:cubicBezTo>
                  <a:pt x="156" y="69"/>
                  <a:pt x="156" y="69"/>
                  <a:pt x="156" y="69"/>
                </a:cubicBezTo>
                <a:cubicBezTo>
                  <a:pt x="155" y="69"/>
                  <a:pt x="158" y="66"/>
                  <a:pt x="155" y="68"/>
                </a:cubicBezTo>
                <a:cubicBezTo>
                  <a:pt x="153" y="67"/>
                  <a:pt x="153" y="67"/>
                  <a:pt x="153" y="67"/>
                </a:cubicBezTo>
                <a:cubicBezTo>
                  <a:pt x="153" y="66"/>
                  <a:pt x="152" y="66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4"/>
                  <a:pt x="152" y="64"/>
                  <a:pt x="152" y="64"/>
                </a:cubicBezTo>
                <a:cubicBezTo>
                  <a:pt x="151" y="64"/>
                  <a:pt x="151" y="65"/>
                  <a:pt x="151" y="63"/>
                </a:cubicBezTo>
                <a:cubicBezTo>
                  <a:pt x="151" y="61"/>
                  <a:pt x="147" y="63"/>
                  <a:pt x="147" y="62"/>
                </a:cubicBezTo>
                <a:cubicBezTo>
                  <a:pt x="148" y="60"/>
                  <a:pt x="148" y="59"/>
                  <a:pt x="149" y="58"/>
                </a:cubicBezTo>
                <a:cubicBezTo>
                  <a:pt x="149" y="54"/>
                  <a:pt x="146" y="56"/>
                  <a:pt x="144" y="52"/>
                </a:cubicBezTo>
                <a:cubicBezTo>
                  <a:pt x="144" y="49"/>
                  <a:pt x="145" y="45"/>
                  <a:pt x="148" y="44"/>
                </a:cubicBezTo>
                <a:cubicBezTo>
                  <a:pt x="145" y="45"/>
                  <a:pt x="146" y="45"/>
                  <a:pt x="144" y="44"/>
                </a:cubicBezTo>
                <a:cubicBezTo>
                  <a:pt x="144" y="43"/>
                  <a:pt x="145" y="43"/>
                  <a:pt x="146" y="42"/>
                </a:cubicBezTo>
                <a:cubicBezTo>
                  <a:pt x="146" y="38"/>
                  <a:pt x="144" y="42"/>
                  <a:pt x="143" y="40"/>
                </a:cubicBezTo>
                <a:cubicBezTo>
                  <a:pt x="141" y="42"/>
                  <a:pt x="139" y="45"/>
                  <a:pt x="138" y="45"/>
                </a:cubicBezTo>
                <a:cubicBezTo>
                  <a:pt x="138" y="46"/>
                  <a:pt x="138" y="46"/>
                  <a:pt x="138" y="46"/>
                </a:cubicBezTo>
                <a:cubicBezTo>
                  <a:pt x="136" y="46"/>
                  <a:pt x="135" y="45"/>
                  <a:pt x="135" y="42"/>
                </a:cubicBezTo>
                <a:cubicBezTo>
                  <a:pt x="136" y="40"/>
                  <a:pt x="136" y="40"/>
                  <a:pt x="136" y="40"/>
                </a:cubicBezTo>
                <a:cubicBezTo>
                  <a:pt x="134" y="39"/>
                  <a:pt x="134" y="39"/>
                  <a:pt x="134" y="39"/>
                </a:cubicBezTo>
                <a:cubicBezTo>
                  <a:pt x="135" y="37"/>
                  <a:pt x="135" y="37"/>
                  <a:pt x="135" y="37"/>
                </a:cubicBezTo>
                <a:cubicBezTo>
                  <a:pt x="133" y="35"/>
                  <a:pt x="133" y="35"/>
                  <a:pt x="133" y="35"/>
                </a:cubicBezTo>
                <a:cubicBezTo>
                  <a:pt x="133" y="36"/>
                  <a:pt x="133" y="36"/>
                  <a:pt x="133" y="36"/>
                </a:cubicBezTo>
                <a:cubicBezTo>
                  <a:pt x="133" y="35"/>
                  <a:pt x="132" y="34"/>
                  <a:pt x="131" y="32"/>
                </a:cubicBezTo>
                <a:cubicBezTo>
                  <a:pt x="132" y="31"/>
                  <a:pt x="132" y="31"/>
                  <a:pt x="132" y="31"/>
                </a:cubicBezTo>
                <a:cubicBezTo>
                  <a:pt x="132" y="27"/>
                  <a:pt x="131" y="25"/>
                  <a:pt x="129" y="24"/>
                </a:cubicBezTo>
                <a:cubicBezTo>
                  <a:pt x="128" y="24"/>
                  <a:pt x="127" y="23"/>
                  <a:pt x="126" y="21"/>
                </a:cubicBezTo>
                <a:cubicBezTo>
                  <a:pt x="127" y="19"/>
                  <a:pt x="127" y="19"/>
                  <a:pt x="127" y="19"/>
                </a:cubicBezTo>
                <a:cubicBezTo>
                  <a:pt x="127" y="15"/>
                  <a:pt x="126" y="23"/>
                  <a:pt x="125" y="20"/>
                </a:cubicBezTo>
                <a:cubicBezTo>
                  <a:pt x="126" y="16"/>
                  <a:pt x="126" y="16"/>
                  <a:pt x="126" y="16"/>
                </a:cubicBezTo>
                <a:cubicBezTo>
                  <a:pt x="124" y="20"/>
                  <a:pt x="125" y="13"/>
                  <a:pt x="125" y="10"/>
                </a:cubicBezTo>
                <a:cubicBezTo>
                  <a:pt x="124" y="16"/>
                  <a:pt x="124" y="16"/>
                  <a:pt x="124" y="16"/>
                </a:cubicBezTo>
                <a:cubicBezTo>
                  <a:pt x="123" y="13"/>
                  <a:pt x="123" y="13"/>
                  <a:pt x="123" y="13"/>
                </a:cubicBezTo>
                <a:cubicBezTo>
                  <a:pt x="122" y="9"/>
                  <a:pt x="124" y="5"/>
                  <a:pt x="124" y="3"/>
                </a:cubicBezTo>
                <a:cubicBezTo>
                  <a:pt x="124" y="3"/>
                  <a:pt x="123" y="4"/>
                  <a:pt x="123" y="5"/>
                </a:cubicBezTo>
                <a:cubicBezTo>
                  <a:pt x="123" y="0"/>
                  <a:pt x="123" y="0"/>
                  <a:pt x="123" y="0"/>
                </a:cubicBezTo>
                <a:cubicBezTo>
                  <a:pt x="123" y="1"/>
                  <a:pt x="123" y="1"/>
                  <a:pt x="123" y="1"/>
                </a:cubicBezTo>
                <a:cubicBezTo>
                  <a:pt x="123" y="2"/>
                  <a:pt x="123" y="2"/>
                  <a:pt x="122" y="2"/>
                </a:cubicBezTo>
                <a:cubicBezTo>
                  <a:pt x="122" y="3"/>
                  <a:pt x="122" y="3"/>
                  <a:pt x="122" y="3"/>
                </a:cubicBezTo>
                <a:cubicBezTo>
                  <a:pt x="122" y="2"/>
                  <a:pt x="121" y="2"/>
                  <a:pt x="121" y="4"/>
                </a:cubicBezTo>
                <a:cubicBezTo>
                  <a:pt x="121" y="3"/>
                  <a:pt x="121" y="1"/>
                  <a:pt x="121" y="1"/>
                </a:cubicBezTo>
                <a:cubicBezTo>
                  <a:pt x="117" y="11"/>
                  <a:pt x="117" y="11"/>
                  <a:pt x="117" y="11"/>
                </a:cubicBezTo>
                <a:cubicBezTo>
                  <a:pt x="119" y="6"/>
                  <a:pt x="119" y="6"/>
                  <a:pt x="119" y="6"/>
                </a:cubicBezTo>
                <a:cubicBezTo>
                  <a:pt x="118" y="13"/>
                  <a:pt x="118" y="13"/>
                  <a:pt x="118" y="13"/>
                </a:cubicBezTo>
                <a:cubicBezTo>
                  <a:pt x="116" y="20"/>
                  <a:pt x="116" y="14"/>
                  <a:pt x="115" y="17"/>
                </a:cubicBezTo>
                <a:cubicBezTo>
                  <a:pt x="116" y="15"/>
                  <a:pt x="116" y="15"/>
                  <a:pt x="116" y="15"/>
                </a:cubicBezTo>
                <a:cubicBezTo>
                  <a:pt x="114" y="18"/>
                  <a:pt x="114" y="16"/>
                  <a:pt x="113" y="16"/>
                </a:cubicBezTo>
                <a:cubicBezTo>
                  <a:pt x="113" y="16"/>
                  <a:pt x="114" y="18"/>
                  <a:pt x="113" y="19"/>
                </a:cubicBezTo>
                <a:cubicBezTo>
                  <a:pt x="113" y="20"/>
                  <a:pt x="113" y="17"/>
                  <a:pt x="112" y="17"/>
                </a:cubicBezTo>
                <a:cubicBezTo>
                  <a:pt x="112" y="21"/>
                  <a:pt x="111" y="25"/>
                  <a:pt x="110" y="24"/>
                </a:cubicBezTo>
                <a:cubicBezTo>
                  <a:pt x="110" y="24"/>
                  <a:pt x="110" y="23"/>
                  <a:pt x="110" y="23"/>
                </a:cubicBezTo>
                <a:cubicBezTo>
                  <a:pt x="110" y="24"/>
                  <a:pt x="109" y="25"/>
                  <a:pt x="109" y="25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8" y="25"/>
                  <a:pt x="108" y="25"/>
                  <a:pt x="108" y="25"/>
                </a:cubicBezTo>
                <a:cubicBezTo>
                  <a:pt x="107" y="25"/>
                  <a:pt x="107" y="29"/>
                  <a:pt x="107" y="26"/>
                </a:cubicBezTo>
                <a:cubicBezTo>
                  <a:pt x="107" y="25"/>
                  <a:pt x="107" y="25"/>
                  <a:pt x="107" y="25"/>
                </a:cubicBezTo>
                <a:cubicBezTo>
                  <a:pt x="102" y="30"/>
                  <a:pt x="102" y="30"/>
                  <a:pt x="102" y="30"/>
                </a:cubicBezTo>
                <a:cubicBezTo>
                  <a:pt x="101" y="27"/>
                  <a:pt x="101" y="27"/>
                  <a:pt x="101" y="27"/>
                </a:cubicBezTo>
                <a:cubicBezTo>
                  <a:pt x="101" y="31"/>
                  <a:pt x="98" y="29"/>
                  <a:pt x="99" y="33"/>
                </a:cubicBezTo>
                <a:cubicBezTo>
                  <a:pt x="97" y="32"/>
                  <a:pt x="96" y="39"/>
                  <a:pt x="95" y="34"/>
                </a:cubicBezTo>
                <a:cubicBezTo>
                  <a:pt x="93" y="35"/>
                  <a:pt x="92" y="38"/>
                  <a:pt x="91" y="40"/>
                </a:cubicBezTo>
                <a:cubicBezTo>
                  <a:pt x="89" y="42"/>
                  <a:pt x="88" y="44"/>
                  <a:pt x="85" y="46"/>
                </a:cubicBezTo>
                <a:cubicBezTo>
                  <a:pt x="84" y="45"/>
                  <a:pt x="82" y="46"/>
                  <a:pt x="80" y="47"/>
                </a:cubicBezTo>
                <a:cubicBezTo>
                  <a:pt x="79" y="48"/>
                  <a:pt x="78" y="49"/>
                  <a:pt x="77" y="49"/>
                </a:cubicBezTo>
                <a:cubicBezTo>
                  <a:pt x="77" y="50"/>
                  <a:pt x="76" y="50"/>
                  <a:pt x="76" y="50"/>
                </a:cubicBezTo>
                <a:cubicBezTo>
                  <a:pt x="74" y="54"/>
                  <a:pt x="73" y="57"/>
                  <a:pt x="71" y="61"/>
                </a:cubicBezTo>
                <a:cubicBezTo>
                  <a:pt x="65" y="58"/>
                  <a:pt x="67" y="66"/>
                  <a:pt x="63" y="66"/>
                </a:cubicBezTo>
                <a:cubicBezTo>
                  <a:pt x="64" y="68"/>
                  <a:pt x="64" y="68"/>
                  <a:pt x="64" y="68"/>
                </a:cubicBezTo>
                <a:cubicBezTo>
                  <a:pt x="60" y="66"/>
                  <a:pt x="61" y="71"/>
                  <a:pt x="57" y="70"/>
                </a:cubicBezTo>
                <a:cubicBezTo>
                  <a:pt x="57" y="71"/>
                  <a:pt x="57" y="72"/>
                  <a:pt x="57" y="72"/>
                </a:cubicBezTo>
                <a:cubicBezTo>
                  <a:pt x="57" y="72"/>
                  <a:pt x="57" y="72"/>
                  <a:pt x="58" y="73"/>
                </a:cubicBezTo>
                <a:cubicBezTo>
                  <a:pt x="57" y="73"/>
                  <a:pt x="56" y="75"/>
                  <a:pt x="55" y="72"/>
                </a:cubicBezTo>
                <a:cubicBezTo>
                  <a:pt x="55" y="72"/>
                  <a:pt x="55" y="72"/>
                  <a:pt x="55" y="72"/>
                </a:cubicBezTo>
                <a:cubicBezTo>
                  <a:pt x="53" y="70"/>
                  <a:pt x="54" y="74"/>
                  <a:pt x="52" y="73"/>
                </a:cubicBezTo>
                <a:cubicBezTo>
                  <a:pt x="54" y="75"/>
                  <a:pt x="54" y="75"/>
                  <a:pt x="54" y="75"/>
                </a:cubicBezTo>
                <a:cubicBezTo>
                  <a:pt x="53" y="76"/>
                  <a:pt x="53" y="76"/>
                  <a:pt x="53" y="76"/>
                </a:cubicBezTo>
                <a:cubicBezTo>
                  <a:pt x="52" y="75"/>
                  <a:pt x="52" y="75"/>
                  <a:pt x="52" y="75"/>
                </a:cubicBezTo>
                <a:cubicBezTo>
                  <a:pt x="52" y="84"/>
                  <a:pt x="44" y="78"/>
                  <a:pt x="43" y="86"/>
                </a:cubicBezTo>
                <a:cubicBezTo>
                  <a:pt x="42" y="83"/>
                  <a:pt x="43" y="88"/>
                  <a:pt x="41" y="85"/>
                </a:cubicBezTo>
                <a:cubicBezTo>
                  <a:pt x="37" y="83"/>
                  <a:pt x="39" y="87"/>
                  <a:pt x="39" y="89"/>
                </a:cubicBezTo>
                <a:cubicBezTo>
                  <a:pt x="39" y="89"/>
                  <a:pt x="39" y="89"/>
                  <a:pt x="39" y="90"/>
                </a:cubicBezTo>
                <a:cubicBezTo>
                  <a:pt x="37" y="91"/>
                  <a:pt x="37" y="91"/>
                  <a:pt x="37" y="91"/>
                </a:cubicBezTo>
                <a:cubicBezTo>
                  <a:pt x="36" y="86"/>
                  <a:pt x="38" y="94"/>
                  <a:pt x="37" y="91"/>
                </a:cubicBezTo>
                <a:cubicBezTo>
                  <a:pt x="31" y="91"/>
                  <a:pt x="27" y="98"/>
                  <a:pt x="21" y="100"/>
                </a:cubicBezTo>
                <a:cubicBezTo>
                  <a:pt x="22" y="101"/>
                  <a:pt x="22" y="101"/>
                  <a:pt x="22" y="101"/>
                </a:cubicBezTo>
                <a:cubicBezTo>
                  <a:pt x="20" y="101"/>
                  <a:pt x="19" y="104"/>
                  <a:pt x="18" y="103"/>
                </a:cubicBezTo>
                <a:cubicBezTo>
                  <a:pt x="16" y="102"/>
                  <a:pt x="17" y="106"/>
                  <a:pt x="17" y="107"/>
                </a:cubicBezTo>
                <a:cubicBezTo>
                  <a:pt x="16" y="109"/>
                  <a:pt x="13" y="107"/>
                  <a:pt x="14" y="106"/>
                </a:cubicBezTo>
                <a:cubicBezTo>
                  <a:pt x="13" y="108"/>
                  <a:pt x="14" y="112"/>
                  <a:pt x="12" y="111"/>
                </a:cubicBezTo>
                <a:cubicBezTo>
                  <a:pt x="9" y="109"/>
                  <a:pt x="9" y="117"/>
                  <a:pt x="7" y="114"/>
                </a:cubicBezTo>
                <a:cubicBezTo>
                  <a:pt x="7" y="114"/>
                  <a:pt x="7" y="114"/>
                  <a:pt x="7" y="114"/>
                </a:cubicBezTo>
                <a:cubicBezTo>
                  <a:pt x="3" y="113"/>
                  <a:pt x="4" y="118"/>
                  <a:pt x="0" y="117"/>
                </a:cubicBezTo>
                <a:cubicBezTo>
                  <a:pt x="0" y="117"/>
                  <a:pt x="0" y="117"/>
                  <a:pt x="0" y="117"/>
                </a:cubicBezTo>
                <a:cubicBezTo>
                  <a:pt x="1" y="121"/>
                  <a:pt x="1" y="126"/>
                  <a:pt x="2" y="130"/>
                </a:cubicBezTo>
                <a:cubicBezTo>
                  <a:pt x="10" y="141"/>
                  <a:pt x="10" y="141"/>
                  <a:pt x="10" y="141"/>
                </a:cubicBezTo>
                <a:cubicBezTo>
                  <a:pt x="20" y="148"/>
                  <a:pt x="20" y="148"/>
                  <a:pt x="20" y="148"/>
                </a:cubicBezTo>
                <a:cubicBezTo>
                  <a:pt x="23" y="145"/>
                  <a:pt x="27" y="142"/>
                  <a:pt x="30" y="139"/>
                </a:cubicBezTo>
                <a:cubicBezTo>
                  <a:pt x="42" y="137"/>
                  <a:pt x="42" y="137"/>
                  <a:pt x="42" y="137"/>
                </a:cubicBezTo>
                <a:cubicBezTo>
                  <a:pt x="49" y="132"/>
                  <a:pt x="56" y="127"/>
                  <a:pt x="63" y="121"/>
                </a:cubicBezTo>
                <a:cubicBezTo>
                  <a:pt x="62" y="117"/>
                  <a:pt x="62" y="117"/>
                  <a:pt x="62" y="117"/>
                </a:cubicBezTo>
                <a:cubicBezTo>
                  <a:pt x="70" y="119"/>
                  <a:pt x="72" y="110"/>
                  <a:pt x="78" y="109"/>
                </a:cubicBezTo>
                <a:cubicBezTo>
                  <a:pt x="77" y="107"/>
                  <a:pt x="77" y="107"/>
                  <a:pt x="77" y="107"/>
                </a:cubicBezTo>
                <a:cubicBezTo>
                  <a:pt x="78" y="106"/>
                  <a:pt x="79" y="108"/>
                  <a:pt x="79" y="108"/>
                </a:cubicBezTo>
                <a:cubicBezTo>
                  <a:pt x="82" y="105"/>
                  <a:pt x="85" y="103"/>
                  <a:pt x="87" y="101"/>
                </a:cubicBezTo>
                <a:cubicBezTo>
                  <a:pt x="87" y="121"/>
                  <a:pt x="87" y="141"/>
                  <a:pt x="88" y="160"/>
                </a:cubicBezTo>
                <a:cubicBezTo>
                  <a:pt x="82" y="209"/>
                  <a:pt x="82" y="209"/>
                  <a:pt x="82" y="209"/>
                </a:cubicBezTo>
                <a:cubicBezTo>
                  <a:pt x="82" y="249"/>
                  <a:pt x="82" y="288"/>
                  <a:pt x="83" y="328"/>
                </a:cubicBezTo>
                <a:cubicBezTo>
                  <a:pt x="87" y="336"/>
                  <a:pt x="87" y="336"/>
                  <a:pt x="87" y="336"/>
                </a:cubicBezTo>
                <a:cubicBezTo>
                  <a:pt x="81" y="359"/>
                  <a:pt x="88" y="389"/>
                  <a:pt x="85" y="415"/>
                </a:cubicBezTo>
                <a:cubicBezTo>
                  <a:pt x="88" y="415"/>
                  <a:pt x="88" y="415"/>
                  <a:pt x="88" y="415"/>
                </a:cubicBezTo>
                <a:cubicBezTo>
                  <a:pt x="89" y="422"/>
                  <a:pt x="87" y="422"/>
                  <a:pt x="86" y="423"/>
                </a:cubicBezTo>
                <a:cubicBezTo>
                  <a:pt x="88" y="456"/>
                  <a:pt x="91" y="490"/>
                  <a:pt x="96" y="523"/>
                </a:cubicBezTo>
                <a:cubicBezTo>
                  <a:pt x="98" y="539"/>
                  <a:pt x="100" y="556"/>
                  <a:pt x="103" y="572"/>
                </a:cubicBezTo>
                <a:cubicBezTo>
                  <a:pt x="105" y="580"/>
                  <a:pt x="107" y="588"/>
                  <a:pt x="109" y="597"/>
                </a:cubicBezTo>
                <a:cubicBezTo>
                  <a:pt x="112" y="605"/>
                  <a:pt x="114" y="613"/>
                  <a:pt x="120" y="623"/>
                </a:cubicBezTo>
                <a:cubicBezTo>
                  <a:pt x="121" y="625"/>
                  <a:pt x="123" y="628"/>
                  <a:pt x="126" y="632"/>
                </a:cubicBezTo>
                <a:cubicBezTo>
                  <a:pt x="129" y="635"/>
                  <a:pt x="133" y="638"/>
                  <a:pt x="136" y="640"/>
                </a:cubicBezTo>
                <a:cubicBezTo>
                  <a:pt x="143" y="644"/>
                  <a:pt x="149" y="647"/>
                  <a:pt x="151" y="649"/>
                </a:cubicBezTo>
                <a:cubicBezTo>
                  <a:pt x="163" y="652"/>
                  <a:pt x="173" y="654"/>
                  <a:pt x="184" y="655"/>
                </a:cubicBezTo>
                <a:cubicBezTo>
                  <a:pt x="194" y="657"/>
                  <a:pt x="204" y="659"/>
                  <a:pt x="214" y="661"/>
                </a:cubicBezTo>
                <a:cubicBezTo>
                  <a:pt x="213" y="661"/>
                  <a:pt x="213" y="661"/>
                  <a:pt x="213" y="661"/>
                </a:cubicBezTo>
                <a:cubicBezTo>
                  <a:pt x="223" y="662"/>
                  <a:pt x="223" y="662"/>
                  <a:pt x="223" y="662"/>
                </a:cubicBezTo>
                <a:cubicBezTo>
                  <a:pt x="223" y="662"/>
                  <a:pt x="223" y="662"/>
                  <a:pt x="223" y="663"/>
                </a:cubicBezTo>
                <a:cubicBezTo>
                  <a:pt x="233" y="662"/>
                  <a:pt x="249" y="666"/>
                  <a:pt x="262" y="668"/>
                </a:cubicBezTo>
                <a:cubicBezTo>
                  <a:pt x="261" y="668"/>
                  <a:pt x="261" y="668"/>
                  <a:pt x="261" y="668"/>
                </a:cubicBezTo>
                <a:cubicBezTo>
                  <a:pt x="298" y="671"/>
                  <a:pt x="334" y="672"/>
                  <a:pt x="369" y="672"/>
                </a:cubicBezTo>
                <a:cubicBezTo>
                  <a:pt x="404" y="672"/>
                  <a:pt x="439" y="672"/>
                  <a:pt x="476" y="673"/>
                </a:cubicBezTo>
                <a:cubicBezTo>
                  <a:pt x="509" y="677"/>
                  <a:pt x="549" y="671"/>
                  <a:pt x="587" y="673"/>
                </a:cubicBezTo>
                <a:cubicBezTo>
                  <a:pt x="594" y="676"/>
                  <a:pt x="672" y="671"/>
                  <a:pt x="679" y="669"/>
                </a:cubicBezTo>
                <a:cubicBezTo>
                  <a:pt x="670" y="666"/>
                  <a:pt x="670" y="666"/>
                  <a:pt x="670" y="666"/>
                </a:cubicBezTo>
                <a:cubicBezTo>
                  <a:pt x="699" y="664"/>
                  <a:pt x="713" y="666"/>
                  <a:pt x="738" y="662"/>
                </a:cubicBezTo>
                <a:cubicBezTo>
                  <a:pt x="736" y="663"/>
                  <a:pt x="736" y="663"/>
                  <a:pt x="736" y="663"/>
                </a:cubicBezTo>
                <a:cubicBezTo>
                  <a:pt x="739" y="663"/>
                  <a:pt x="738" y="662"/>
                  <a:pt x="739" y="661"/>
                </a:cubicBezTo>
                <a:cubicBezTo>
                  <a:pt x="740" y="660"/>
                  <a:pt x="742" y="661"/>
                  <a:pt x="747" y="665"/>
                </a:cubicBezTo>
                <a:cubicBezTo>
                  <a:pt x="747" y="665"/>
                  <a:pt x="747" y="665"/>
                  <a:pt x="747" y="665"/>
                </a:cubicBezTo>
                <a:cubicBezTo>
                  <a:pt x="747" y="665"/>
                  <a:pt x="747" y="665"/>
                  <a:pt x="747" y="665"/>
                </a:cubicBezTo>
                <a:cubicBezTo>
                  <a:pt x="746" y="663"/>
                  <a:pt x="746" y="663"/>
                  <a:pt x="746" y="663"/>
                </a:cubicBezTo>
                <a:cubicBezTo>
                  <a:pt x="747" y="663"/>
                  <a:pt x="747" y="661"/>
                  <a:pt x="748" y="661"/>
                </a:cubicBezTo>
                <a:cubicBezTo>
                  <a:pt x="749" y="661"/>
                  <a:pt x="749" y="662"/>
                  <a:pt x="749" y="662"/>
                </a:cubicBezTo>
                <a:cubicBezTo>
                  <a:pt x="751" y="662"/>
                  <a:pt x="751" y="662"/>
                  <a:pt x="751" y="662"/>
                </a:cubicBezTo>
                <a:cubicBezTo>
                  <a:pt x="752" y="664"/>
                  <a:pt x="752" y="664"/>
                  <a:pt x="752" y="664"/>
                </a:cubicBezTo>
                <a:cubicBezTo>
                  <a:pt x="753" y="662"/>
                  <a:pt x="753" y="658"/>
                  <a:pt x="755" y="660"/>
                </a:cubicBezTo>
                <a:cubicBezTo>
                  <a:pt x="754" y="657"/>
                  <a:pt x="756" y="658"/>
                  <a:pt x="755" y="657"/>
                </a:cubicBezTo>
                <a:cubicBezTo>
                  <a:pt x="756" y="657"/>
                  <a:pt x="756" y="658"/>
                  <a:pt x="756" y="658"/>
                </a:cubicBezTo>
                <a:cubicBezTo>
                  <a:pt x="757" y="658"/>
                  <a:pt x="760" y="657"/>
                  <a:pt x="760" y="655"/>
                </a:cubicBezTo>
                <a:close/>
                <a:moveTo>
                  <a:pt x="749" y="662"/>
                </a:moveTo>
                <a:cubicBezTo>
                  <a:pt x="749" y="662"/>
                  <a:pt x="749" y="662"/>
                  <a:pt x="749" y="662"/>
                </a:cubicBezTo>
                <a:cubicBezTo>
                  <a:pt x="749" y="663"/>
                  <a:pt x="749" y="663"/>
                  <a:pt x="749" y="662"/>
                </a:cubicBezTo>
                <a:close/>
                <a:moveTo>
                  <a:pt x="632" y="637"/>
                </a:moveTo>
                <a:cubicBezTo>
                  <a:pt x="632" y="637"/>
                  <a:pt x="632" y="637"/>
                  <a:pt x="632" y="637"/>
                </a:cubicBezTo>
                <a:cubicBezTo>
                  <a:pt x="630" y="635"/>
                  <a:pt x="630" y="635"/>
                  <a:pt x="630" y="635"/>
                </a:cubicBezTo>
                <a:lnTo>
                  <a:pt x="632" y="637"/>
                </a:lnTo>
                <a:close/>
                <a:moveTo>
                  <a:pt x="730" y="632"/>
                </a:moveTo>
                <a:cubicBezTo>
                  <a:pt x="732" y="632"/>
                  <a:pt x="733" y="632"/>
                  <a:pt x="734" y="631"/>
                </a:cubicBezTo>
                <a:cubicBezTo>
                  <a:pt x="730" y="631"/>
                  <a:pt x="730" y="632"/>
                  <a:pt x="730" y="632"/>
                </a:cubicBezTo>
                <a:close/>
                <a:moveTo>
                  <a:pt x="756" y="660"/>
                </a:moveTo>
                <a:cubicBezTo>
                  <a:pt x="757" y="660"/>
                  <a:pt x="756" y="659"/>
                  <a:pt x="756" y="658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56" y="659"/>
                  <a:pt x="756" y="659"/>
                  <a:pt x="756" y="660"/>
                </a:cubicBezTo>
                <a:close/>
                <a:moveTo>
                  <a:pt x="753" y="645"/>
                </a:moveTo>
                <a:cubicBezTo>
                  <a:pt x="753" y="644"/>
                  <a:pt x="753" y="644"/>
                  <a:pt x="753" y="644"/>
                </a:cubicBezTo>
                <a:cubicBezTo>
                  <a:pt x="753" y="644"/>
                  <a:pt x="753" y="644"/>
                  <a:pt x="753" y="645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44" name="Freeform 6"/>
          <p:cNvSpPr>
            <a:spLocks noEditPoints="1"/>
          </p:cNvSpPr>
          <p:nvPr/>
        </p:nvSpPr>
        <p:spPr bwMode="auto">
          <a:xfrm rot="5400000">
            <a:off x="1282899" y="2363986"/>
            <a:ext cx="960834" cy="854869"/>
          </a:xfrm>
          <a:custGeom>
            <a:avLst/>
            <a:gdLst>
              <a:gd name="T0" fmla="*/ 38 w 760"/>
              <a:gd name="T1" fmla="*/ 89 h 677"/>
              <a:gd name="T2" fmla="*/ 158 w 760"/>
              <a:gd name="T3" fmla="*/ 77 h 677"/>
              <a:gd name="T4" fmla="*/ 163 w 760"/>
              <a:gd name="T5" fmla="*/ 95 h 677"/>
              <a:gd name="T6" fmla="*/ 165 w 760"/>
              <a:gd name="T7" fmla="*/ 105 h 677"/>
              <a:gd name="T8" fmla="*/ 163 w 760"/>
              <a:gd name="T9" fmla="*/ 154 h 677"/>
              <a:gd name="T10" fmla="*/ 373 w 760"/>
              <a:gd name="T11" fmla="*/ 627 h 677"/>
              <a:gd name="T12" fmla="*/ 220 w 760"/>
              <a:gd name="T13" fmla="*/ 622 h 677"/>
              <a:gd name="T14" fmla="*/ 124 w 760"/>
              <a:gd name="T15" fmla="*/ 320 h 677"/>
              <a:gd name="T16" fmla="*/ 124 w 760"/>
              <a:gd name="T17" fmla="*/ 132 h 677"/>
              <a:gd name="T18" fmla="*/ 752 w 760"/>
              <a:gd name="T19" fmla="*/ 643 h 677"/>
              <a:gd name="T20" fmla="*/ 753 w 760"/>
              <a:gd name="T21" fmla="*/ 645 h 677"/>
              <a:gd name="T22" fmla="*/ 750 w 760"/>
              <a:gd name="T23" fmla="*/ 644 h 677"/>
              <a:gd name="T24" fmla="*/ 737 w 760"/>
              <a:gd name="T25" fmla="*/ 636 h 677"/>
              <a:gd name="T26" fmla="*/ 700 w 760"/>
              <a:gd name="T27" fmla="*/ 632 h 677"/>
              <a:gd name="T28" fmla="*/ 632 w 760"/>
              <a:gd name="T29" fmla="*/ 637 h 677"/>
              <a:gd name="T30" fmla="*/ 586 w 760"/>
              <a:gd name="T31" fmla="*/ 635 h 677"/>
              <a:gd name="T32" fmla="*/ 575 w 760"/>
              <a:gd name="T33" fmla="*/ 634 h 677"/>
              <a:gd name="T34" fmla="*/ 467 w 760"/>
              <a:gd name="T35" fmla="*/ 628 h 677"/>
              <a:gd name="T36" fmla="*/ 430 w 760"/>
              <a:gd name="T37" fmla="*/ 632 h 677"/>
              <a:gd name="T38" fmla="*/ 369 w 760"/>
              <a:gd name="T39" fmla="*/ 633 h 677"/>
              <a:gd name="T40" fmla="*/ 327 w 760"/>
              <a:gd name="T41" fmla="*/ 632 h 677"/>
              <a:gd name="T42" fmla="*/ 276 w 760"/>
              <a:gd name="T43" fmla="*/ 628 h 677"/>
              <a:gd name="T44" fmla="*/ 253 w 760"/>
              <a:gd name="T45" fmla="*/ 625 h 677"/>
              <a:gd name="T46" fmla="*/ 217 w 760"/>
              <a:gd name="T47" fmla="*/ 621 h 677"/>
              <a:gd name="T48" fmla="*/ 173 w 760"/>
              <a:gd name="T49" fmla="*/ 607 h 677"/>
              <a:gd name="T50" fmla="*/ 131 w 760"/>
              <a:gd name="T51" fmla="*/ 479 h 677"/>
              <a:gd name="T52" fmla="*/ 128 w 760"/>
              <a:gd name="T53" fmla="*/ 414 h 677"/>
              <a:gd name="T54" fmla="*/ 125 w 760"/>
              <a:gd name="T55" fmla="*/ 224 h 677"/>
              <a:gd name="T56" fmla="*/ 123 w 760"/>
              <a:gd name="T57" fmla="*/ 102 h 677"/>
              <a:gd name="T58" fmla="*/ 153 w 760"/>
              <a:gd name="T59" fmla="*/ 149 h 677"/>
              <a:gd name="T60" fmla="*/ 165 w 760"/>
              <a:gd name="T61" fmla="*/ 153 h 677"/>
              <a:gd name="T62" fmla="*/ 175 w 760"/>
              <a:gd name="T63" fmla="*/ 142 h 677"/>
              <a:gd name="T64" fmla="*/ 176 w 760"/>
              <a:gd name="T65" fmla="*/ 125 h 677"/>
              <a:gd name="T66" fmla="*/ 172 w 760"/>
              <a:gd name="T67" fmla="*/ 110 h 677"/>
              <a:gd name="T68" fmla="*/ 160 w 760"/>
              <a:gd name="T69" fmla="*/ 105 h 677"/>
              <a:gd name="T70" fmla="*/ 163 w 760"/>
              <a:gd name="T71" fmla="*/ 95 h 677"/>
              <a:gd name="T72" fmla="*/ 161 w 760"/>
              <a:gd name="T73" fmla="*/ 89 h 677"/>
              <a:gd name="T74" fmla="*/ 155 w 760"/>
              <a:gd name="T75" fmla="*/ 68 h 677"/>
              <a:gd name="T76" fmla="*/ 151 w 760"/>
              <a:gd name="T77" fmla="*/ 63 h 677"/>
              <a:gd name="T78" fmla="*/ 138 w 760"/>
              <a:gd name="T79" fmla="*/ 45 h 677"/>
              <a:gd name="T80" fmla="*/ 131 w 760"/>
              <a:gd name="T81" fmla="*/ 32 h 677"/>
              <a:gd name="T82" fmla="*/ 124 w 760"/>
              <a:gd name="T83" fmla="*/ 16 h 677"/>
              <a:gd name="T84" fmla="*/ 121 w 760"/>
              <a:gd name="T85" fmla="*/ 4 h 677"/>
              <a:gd name="T86" fmla="*/ 113 w 760"/>
              <a:gd name="T87" fmla="*/ 19 h 677"/>
              <a:gd name="T88" fmla="*/ 107 w 760"/>
              <a:gd name="T89" fmla="*/ 25 h 677"/>
              <a:gd name="T90" fmla="*/ 77 w 760"/>
              <a:gd name="T91" fmla="*/ 49 h 677"/>
              <a:gd name="T92" fmla="*/ 55 w 760"/>
              <a:gd name="T93" fmla="*/ 72 h 677"/>
              <a:gd name="T94" fmla="*/ 39 w 760"/>
              <a:gd name="T95" fmla="*/ 89 h 677"/>
              <a:gd name="T96" fmla="*/ 14 w 760"/>
              <a:gd name="T97" fmla="*/ 106 h 677"/>
              <a:gd name="T98" fmla="*/ 20 w 760"/>
              <a:gd name="T99" fmla="*/ 148 h 677"/>
              <a:gd name="T100" fmla="*/ 87 w 760"/>
              <a:gd name="T101" fmla="*/ 101 h 677"/>
              <a:gd name="T102" fmla="*/ 96 w 760"/>
              <a:gd name="T103" fmla="*/ 523 h 677"/>
              <a:gd name="T104" fmla="*/ 214 w 760"/>
              <a:gd name="T105" fmla="*/ 661 h 677"/>
              <a:gd name="T106" fmla="*/ 587 w 760"/>
              <a:gd name="T107" fmla="*/ 673 h 677"/>
              <a:gd name="T108" fmla="*/ 747 w 760"/>
              <a:gd name="T109" fmla="*/ 665 h 677"/>
              <a:gd name="T110" fmla="*/ 756 w 760"/>
              <a:gd name="T111" fmla="*/ 658 h 677"/>
              <a:gd name="T112" fmla="*/ 632 w 760"/>
              <a:gd name="T113" fmla="*/ 637 h 677"/>
              <a:gd name="T114" fmla="*/ 753 w 760"/>
              <a:gd name="T115" fmla="*/ 645 h 6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60" h="677">
                <a:moveTo>
                  <a:pt x="144" y="39"/>
                </a:moveTo>
                <a:cubicBezTo>
                  <a:pt x="144" y="39"/>
                  <a:pt x="144" y="40"/>
                  <a:pt x="143" y="40"/>
                </a:cubicBezTo>
                <a:cubicBezTo>
                  <a:pt x="143" y="40"/>
                  <a:pt x="143" y="40"/>
                  <a:pt x="143" y="40"/>
                </a:cubicBezTo>
                <a:lnTo>
                  <a:pt x="144" y="39"/>
                </a:lnTo>
                <a:close/>
                <a:moveTo>
                  <a:pt x="153" y="65"/>
                </a:move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4"/>
                  <a:pt x="153" y="65"/>
                </a:cubicBezTo>
                <a:close/>
                <a:moveTo>
                  <a:pt x="38" y="89"/>
                </a:moveTo>
                <a:cubicBezTo>
                  <a:pt x="38" y="89"/>
                  <a:pt x="38" y="89"/>
                  <a:pt x="38" y="89"/>
                </a:cubicBezTo>
                <a:cubicBezTo>
                  <a:pt x="38" y="89"/>
                  <a:pt x="38" y="89"/>
                  <a:pt x="38" y="89"/>
                </a:cubicBezTo>
                <a:close/>
                <a:moveTo>
                  <a:pt x="38" y="89"/>
                </a:moveTo>
                <a:cubicBezTo>
                  <a:pt x="39" y="90"/>
                  <a:pt x="39" y="90"/>
                  <a:pt x="39" y="89"/>
                </a:cubicBezTo>
                <a:cubicBezTo>
                  <a:pt x="38" y="88"/>
                  <a:pt x="38" y="89"/>
                  <a:pt x="38" y="88"/>
                </a:cubicBezTo>
                <a:cubicBezTo>
                  <a:pt x="38" y="89"/>
                  <a:pt x="38" y="89"/>
                  <a:pt x="38" y="89"/>
                </a:cubicBezTo>
                <a:close/>
                <a:moveTo>
                  <a:pt x="159" y="76"/>
                </a:moveTo>
                <a:cubicBezTo>
                  <a:pt x="158" y="77"/>
                  <a:pt x="158" y="77"/>
                  <a:pt x="158" y="77"/>
                </a:cubicBezTo>
                <a:cubicBezTo>
                  <a:pt x="158" y="77"/>
                  <a:pt x="158" y="77"/>
                  <a:pt x="158" y="77"/>
                </a:cubicBezTo>
                <a:lnTo>
                  <a:pt x="159" y="76"/>
                </a:lnTo>
                <a:close/>
                <a:moveTo>
                  <a:pt x="175" y="142"/>
                </a:moveTo>
                <a:cubicBezTo>
                  <a:pt x="174" y="143"/>
                  <a:pt x="174" y="143"/>
                  <a:pt x="174" y="143"/>
                </a:cubicBezTo>
                <a:cubicBezTo>
                  <a:pt x="174" y="143"/>
                  <a:pt x="175" y="143"/>
                  <a:pt x="175" y="143"/>
                </a:cubicBezTo>
                <a:lnTo>
                  <a:pt x="175" y="142"/>
                </a:lnTo>
                <a:close/>
                <a:moveTo>
                  <a:pt x="163" y="95"/>
                </a:moveTo>
                <a:cubicBezTo>
                  <a:pt x="163" y="95"/>
                  <a:pt x="163" y="95"/>
                  <a:pt x="163" y="95"/>
                </a:cubicBezTo>
                <a:cubicBezTo>
                  <a:pt x="163" y="94"/>
                  <a:pt x="163" y="93"/>
                  <a:pt x="162" y="93"/>
                </a:cubicBezTo>
                <a:cubicBezTo>
                  <a:pt x="161" y="93"/>
                  <a:pt x="161" y="93"/>
                  <a:pt x="161" y="93"/>
                </a:cubicBezTo>
                <a:lnTo>
                  <a:pt x="163" y="95"/>
                </a:lnTo>
                <a:close/>
                <a:moveTo>
                  <a:pt x="157" y="150"/>
                </a:moveTo>
                <a:cubicBezTo>
                  <a:pt x="157" y="150"/>
                  <a:pt x="157" y="150"/>
                  <a:pt x="157" y="150"/>
                </a:cubicBezTo>
                <a:cubicBezTo>
                  <a:pt x="156" y="151"/>
                  <a:pt x="156" y="150"/>
                  <a:pt x="157" y="150"/>
                </a:cubicBezTo>
                <a:close/>
                <a:moveTo>
                  <a:pt x="165" y="105"/>
                </a:moveTo>
                <a:cubicBezTo>
                  <a:pt x="165" y="105"/>
                  <a:pt x="165" y="105"/>
                  <a:pt x="165" y="105"/>
                </a:cubicBezTo>
                <a:cubicBezTo>
                  <a:pt x="166" y="104"/>
                  <a:pt x="166" y="104"/>
                  <a:pt x="166" y="104"/>
                </a:cubicBezTo>
                <a:lnTo>
                  <a:pt x="165" y="105"/>
                </a:lnTo>
                <a:close/>
                <a:moveTo>
                  <a:pt x="177" y="123"/>
                </a:moveTo>
                <a:cubicBezTo>
                  <a:pt x="177" y="122"/>
                  <a:pt x="177" y="122"/>
                  <a:pt x="176" y="123"/>
                </a:cubicBezTo>
                <a:cubicBezTo>
                  <a:pt x="177" y="123"/>
                  <a:pt x="177" y="123"/>
                  <a:pt x="177" y="123"/>
                </a:cubicBezTo>
                <a:close/>
                <a:moveTo>
                  <a:pt x="163" y="155"/>
                </a:moveTo>
                <a:cubicBezTo>
                  <a:pt x="163" y="155"/>
                  <a:pt x="164" y="155"/>
                  <a:pt x="164" y="154"/>
                </a:cubicBezTo>
                <a:cubicBezTo>
                  <a:pt x="163" y="154"/>
                  <a:pt x="163" y="154"/>
                  <a:pt x="163" y="154"/>
                </a:cubicBezTo>
                <a:cubicBezTo>
                  <a:pt x="163" y="154"/>
                  <a:pt x="163" y="155"/>
                  <a:pt x="163" y="155"/>
                </a:cubicBezTo>
                <a:close/>
                <a:moveTo>
                  <a:pt x="175" y="145"/>
                </a:moveTo>
                <a:cubicBezTo>
                  <a:pt x="175" y="144"/>
                  <a:pt x="175" y="144"/>
                  <a:pt x="175" y="144"/>
                </a:cubicBezTo>
                <a:cubicBezTo>
                  <a:pt x="175" y="144"/>
                  <a:pt x="175" y="145"/>
                  <a:pt x="175" y="145"/>
                </a:cubicBezTo>
                <a:close/>
                <a:moveTo>
                  <a:pt x="130" y="440"/>
                </a:moveTo>
                <a:cubicBezTo>
                  <a:pt x="130" y="439"/>
                  <a:pt x="129" y="439"/>
                  <a:pt x="130" y="440"/>
                </a:cubicBezTo>
                <a:close/>
                <a:moveTo>
                  <a:pt x="373" y="627"/>
                </a:moveTo>
                <a:cubicBezTo>
                  <a:pt x="373" y="627"/>
                  <a:pt x="373" y="627"/>
                  <a:pt x="373" y="627"/>
                </a:cubicBezTo>
                <a:cubicBezTo>
                  <a:pt x="374" y="626"/>
                  <a:pt x="374" y="626"/>
                  <a:pt x="374" y="625"/>
                </a:cubicBezTo>
                <a:lnTo>
                  <a:pt x="373" y="627"/>
                </a:lnTo>
                <a:close/>
                <a:moveTo>
                  <a:pt x="439" y="631"/>
                </a:moveTo>
                <a:cubicBezTo>
                  <a:pt x="440" y="631"/>
                  <a:pt x="440" y="631"/>
                  <a:pt x="440" y="631"/>
                </a:cubicBezTo>
                <a:cubicBezTo>
                  <a:pt x="440" y="631"/>
                  <a:pt x="440" y="630"/>
                  <a:pt x="439" y="631"/>
                </a:cubicBezTo>
                <a:close/>
                <a:moveTo>
                  <a:pt x="220" y="622"/>
                </a:moveTo>
                <a:cubicBezTo>
                  <a:pt x="221" y="621"/>
                  <a:pt x="221" y="621"/>
                  <a:pt x="222" y="621"/>
                </a:cubicBezTo>
                <a:cubicBezTo>
                  <a:pt x="221" y="621"/>
                  <a:pt x="221" y="621"/>
                  <a:pt x="220" y="622"/>
                </a:cubicBezTo>
                <a:close/>
                <a:moveTo>
                  <a:pt x="123" y="318"/>
                </a:moveTo>
                <a:cubicBezTo>
                  <a:pt x="123" y="319"/>
                  <a:pt x="123" y="319"/>
                  <a:pt x="123" y="319"/>
                </a:cubicBezTo>
                <a:cubicBezTo>
                  <a:pt x="124" y="318"/>
                  <a:pt x="124" y="318"/>
                  <a:pt x="124" y="318"/>
                </a:cubicBezTo>
                <a:lnTo>
                  <a:pt x="123" y="318"/>
                </a:lnTo>
                <a:close/>
                <a:moveTo>
                  <a:pt x="124" y="320"/>
                </a:moveTo>
                <a:cubicBezTo>
                  <a:pt x="124" y="320"/>
                  <a:pt x="124" y="319"/>
                  <a:pt x="123" y="319"/>
                </a:cubicBezTo>
                <a:cubicBezTo>
                  <a:pt x="123" y="320"/>
                  <a:pt x="123" y="322"/>
                  <a:pt x="123" y="323"/>
                </a:cubicBezTo>
                <a:cubicBezTo>
                  <a:pt x="124" y="323"/>
                  <a:pt x="124" y="321"/>
                  <a:pt x="124" y="320"/>
                </a:cubicBezTo>
                <a:close/>
                <a:moveTo>
                  <a:pt x="124" y="320"/>
                </a:moveTo>
                <a:cubicBezTo>
                  <a:pt x="124" y="320"/>
                  <a:pt x="124" y="320"/>
                  <a:pt x="124" y="320"/>
                </a:cubicBezTo>
                <a:cubicBezTo>
                  <a:pt x="124" y="320"/>
                  <a:pt x="124" y="320"/>
                  <a:pt x="124" y="320"/>
                </a:cubicBezTo>
                <a:close/>
                <a:moveTo>
                  <a:pt x="223" y="663"/>
                </a:moveTo>
                <a:cubicBezTo>
                  <a:pt x="222" y="663"/>
                  <a:pt x="222" y="663"/>
                  <a:pt x="222" y="663"/>
                </a:cubicBezTo>
                <a:cubicBezTo>
                  <a:pt x="222" y="663"/>
                  <a:pt x="222" y="663"/>
                  <a:pt x="223" y="663"/>
                </a:cubicBezTo>
                <a:close/>
                <a:moveTo>
                  <a:pt x="123" y="132"/>
                </a:moveTo>
                <a:cubicBezTo>
                  <a:pt x="124" y="132"/>
                  <a:pt x="124" y="132"/>
                  <a:pt x="124" y="132"/>
                </a:cubicBezTo>
                <a:cubicBezTo>
                  <a:pt x="123" y="132"/>
                  <a:pt x="123" y="132"/>
                  <a:pt x="123" y="132"/>
                </a:cubicBezTo>
                <a:close/>
                <a:moveTo>
                  <a:pt x="501" y="631"/>
                </a:moveTo>
                <a:cubicBezTo>
                  <a:pt x="501" y="632"/>
                  <a:pt x="501" y="632"/>
                  <a:pt x="501" y="632"/>
                </a:cubicBezTo>
                <a:cubicBezTo>
                  <a:pt x="501" y="632"/>
                  <a:pt x="501" y="632"/>
                  <a:pt x="501" y="632"/>
                </a:cubicBezTo>
                <a:lnTo>
                  <a:pt x="501" y="631"/>
                </a:lnTo>
                <a:close/>
                <a:moveTo>
                  <a:pt x="752" y="643"/>
                </a:moveTo>
                <a:cubicBezTo>
                  <a:pt x="751" y="644"/>
                  <a:pt x="751" y="644"/>
                  <a:pt x="751" y="644"/>
                </a:cubicBezTo>
                <a:cubicBezTo>
                  <a:pt x="751" y="644"/>
                  <a:pt x="752" y="643"/>
                  <a:pt x="752" y="643"/>
                </a:cubicBezTo>
                <a:close/>
                <a:moveTo>
                  <a:pt x="585" y="635"/>
                </a:moveTo>
                <a:cubicBezTo>
                  <a:pt x="585" y="635"/>
                  <a:pt x="586" y="635"/>
                  <a:pt x="586" y="635"/>
                </a:cubicBezTo>
                <a:cubicBezTo>
                  <a:pt x="584" y="634"/>
                  <a:pt x="580" y="634"/>
                  <a:pt x="575" y="634"/>
                </a:cubicBezTo>
                <a:cubicBezTo>
                  <a:pt x="575" y="636"/>
                  <a:pt x="575" y="636"/>
                  <a:pt x="575" y="636"/>
                </a:cubicBezTo>
                <a:lnTo>
                  <a:pt x="585" y="635"/>
                </a:lnTo>
                <a:close/>
                <a:moveTo>
                  <a:pt x="760" y="655"/>
                </a:moveTo>
                <a:cubicBezTo>
                  <a:pt x="760" y="655"/>
                  <a:pt x="755" y="649"/>
                  <a:pt x="753" y="646"/>
                </a:cubicBezTo>
                <a:cubicBezTo>
                  <a:pt x="755" y="647"/>
                  <a:pt x="754" y="646"/>
                  <a:pt x="753" y="645"/>
                </a:cubicBezTo>
                <a:cubicBezTo>
                  <a:pt x="753" y="645"/>
                  <a:pt x="753" y="645"/>
                  <a:pt x="753" y="645"/>
                </a:cubicBezTo>
                <a:cubicBezTo>
                  <a:pt x="752" y="645"/>
                  <a:pt x="752" y="643"/>
                  <a:pt x="751" y="642"/>
                </a:cubicBezTo>
                <a:cubicBezTo>
                  <a:pt x="752" y="643"/>
                  <a:pt x="752" y="643"/>
                  <a:pt x="752" y="643"/>
                </a:cubicBezTo>
                <a:cubicBezTo>
                  <a:pt x="752" y="642"/>
                  <a:pt x="752" y="642"/>
                  <a:pt x="752" y="642"/>
                </a:cubicBezTo>
                <a:cubicBezTo>
                  <a:pt x="752" y="643"/>
                  <a:pt x="752" y="643"/>
                  <a:pt x="752" y="643"/>
                </a:cubicBezTo>
                <a:cubicBezTo>
                  <a:pt x="752" y="644"/>
                  <a:pt x="752" y="644"/>
                  <a:pt x="751" y="644"/>
                </a:cubicBezTo>
                <a:cubicBezTo>
                  <a:pt x="751" y="644"/>
                  <a:pt x="751" y="644"/>
                  <a:pt x="751" y="644"/>
                </a:cubicBezTo>
                <a:cubicBezTo>
                  <a:pt x="751" y="644"/>
                  <a:pt x="750" y="644"/>
                  <a:pt x="750" y="644"/>
                </a:cubicBezTo>
                <a:cubicBezTo>
                  <a:pt x="750" y="642"/>
                  <a:pt x="750" y="642"/>
                  <a:pt x="750" y="642"/>
                </a:cubicBezTo>
                <a:cubicBezTo>
                  <a:pt x="749" y="645"/>
                  <a:pt x="744" y="638"/>
                  <a:pt x="743" y="638"/>
                </a:cubicBezTo>
                <a:cubicBezTo>
                  <a:pt x="742" y="636"/>
                  <a:pt x="741" y="638"/>
                  <a:pt x="739" y="637"/>
                </a:cubicBezTo>
                <a:cubicBezTo>
                  <a:pt x="737" y="637"/>
                  <a:pt x="738" y="635"/>
                  <a:pt x="737" y="634"/>
                </a:cubicBezTo>
                <a:cubicBezTo>
                  <a:pt x="737" y="634"/>
                  <a:pt x="737" y="633"/>
                  <a:pt x="736" y="633"/>
                </a:cubicBezTo>
                <a:cubicBezTo>
                  <a:pt x="736" y="633"/>
                  <a:pt x="736" y="633"/>
                  <a:pt x="736" y="634"/>
                </a:cubicBezTo>
                <a:cubicBezTo>
                  <a:pt x="736" y="634"/>
                  <a:pt x="736" y="634"/>
                  <a:pt x="736" y="634"/>
                </a:cubicBezTo>
                <a:cubicBezTo>
                  <a:pt x="737" y="635"/>
                  <a:pt x="737" y="636"/>
                  <a:pt x="737" y="636"/>
                </a:cubicBezTo>
                <a:cubicBezTo>
                  <a:pt x="737" y="636"/>
                  <a:pt x="737" y="635"/>
                  <a:pt x="736" y="635"/>
                </a:cubicBezTo>
                <a:cubicBezTo>
                  <a:pt x="735" y="635"/>
                  <a:pt x="735" y="635"/>
                  <a:pt x="735" y="635"/>
                </a:cubicBezTo>
                <a:cubicBezTo>
                  <a:pt x="733" y="635"/>
                  <a:pt x="733" y="635"/>
                  <a:pt x="733" y="635"/>
                </a:cubicBezTo>
                <a:cubicBezTo>
                  <a:pt x="729" y="634"/>
                  <a:pt x="729" y="634"/>
                  <a:pt x="729" y="634"/>
                </a:cubicBezTo>
                <a:cubicBezTo>
                  <a:pt x="734" y="633"/>
                  <a:pt x="731" y="633"/>
                  <a:pt x="730" y="632"/>
                </a:cubicBezTo>
                <a:cubicBezTo>
                  <a:pt x="723" y="632"/>
                  <a:pt x="712" y="630"/>
                  <a:pt x="710" y="633"/>
                </a:cubicBezTo>
                <a:cubicBezTo>
                  <a:pt x="700" y="632"/>
                  <a:pt x="700" y="631"/>
                  <a:pt x="696" y="631"/>
                </a:cubicBezTo>
                <a:cubicBezTo>
                  <a:pt x="697" y="631"/>
                  <a:pt x="700" y="632"/>
                  <a:pt x="700" y="632"/>
                </a:cubicBezTo>
                <a:cubicBezTo>
                  <a:pt x="696" y="631"/>
                  <a:pt x="698" y="633"/>
                  <a:pt x="700" y="633"/>
                </a:cubicBezTo>
                <a:cubicBezTo>
                  <a:pt x="694" y="635"/>
                  <a:pt x="669" y="628"/>
                  <a:pt x="668" y="632"/>
                </a:cubicBezTo>
                <a:cubicBezTo>
                  <a:pt x="668" y="631"/>
                  <a:pt x="668" y="631"/>
                  <a:pt x="668" y="631"/>
                </a:cubicBezTo>
                <a:cubicBezTo>
                  <a:pt x="667" y="634"/>
                  <a:pt x="669" y="636"/>
                  <a:pt x="665" y="638"/>
                </a:cubicBezTo>
                <a:cubicBezTo>
                  <a:pt x="662" y="637"/>
                  <a:pt x="662" y="637"/>
                  <a:pt x="662" y="637"/>
                </a:cubicBezTo>
                <a:cubicBezTo>
                  <a:pt x="658" y="638"/>
                  <a:pt x="658" y="638"/>
                  <a:pt x="658" y="638"/>
                </a:cubicBezTo>
                <a:cubicBezTo>
                  <a:pt x="655" y="638"/>
                  <a:pt x="656" y="637"/>
                  <a:pt x="656" y="637"/>
                </a:cubicBezTo>
                <a:cubicBezTo>
                  <a:pt x="650" y="638"/>
                  <a:pt x="640" y="637"/>
                  <a:pt x="632" y="637"/>
                </a:cubicBezTo>
                <a:cubicBezTo>
                  <a:pt x="641" y="644"/>
                  <a:pt x="641" y="644"/>
                  <a:pt x="641" y="644"/>
                </a:cubicBezTo>
                <a:cubicBezTo>
                  <a:pt x="634" y="642"/>
                  <a:pt x="622" y="639"/>
                  <a:pt x="620" y="642"/>
                </a:cubicBezTo>
                <a:cubicBezTo>
                  <a:pt x="616" y="639"/>
                  <a:pt x="616" y="639"/>
                  <a:pt x="616" y="639"/>
                </a:cubicBezTo>
                <a:cubicBezTo>
                  <a:pt x="602" y="635"/>
                  <a:pt x="607" y="642"/>
                  <a:pt x="601" y="641"/>
                </a:cubicBezTo>
                <a:cubicBezTo>
                  <a:pt x="594" y="638"/>
                  <a:pt x="594" y="638"/>
                  <a:pt x="594" y="638"/>
                </a:cubicBezTo>
                <a:cubicBezTo>
                  <a:pt x="601" y="638"/>
                  <a:pt x="601" y="638"/>
                  <a:pt x="601" y="638"/>
                </a:cubicBezTo>
                <a:cubicBezTo>
                  <a:pt x="594" y="637"/>
                  <a:pt x="591" y="636"/>
                  <a:pt x="586" y="635"/>
                </a:cubicBezTo>
                <a:cubicBezTo>
                  <a:pt x="586" y="635"/>
                  <a:pt x="586" y="635"/>
                  <a:pt x="586" y="635"/>
                </a:cubicBezTo>
                <a:cubicBezTo>
                  <a:pt x="586" y="635"/>
                  <a:pt x="586" y="635"/>
                  <a:pt x="586" y="635"/>
                </a:cubicBezTo>
                <a:cubicBezTo>
                  <a:pt x="585" y="635"/>
                  <a:pt x="585" y="635"/>
                  <a:pt x="585" y="635"/>
                </a:cubicBezTo>
                <a:cubicBezTo>
                  <a:pt x="585" y="636"/>
                  <a:pt x="581" y="637"/>
                  <a:pt x="576" y="637"/>
                </a:cubicBezTo>
                <a:cubicBezTo>
                  <a:pt x="569" y="637"/>
                  <a:pt x="564" y="639"/>
                  <a:pt x="553" y="637"/>
                </a:cubicBezTo>
                <a:cubicBezTo>
                  <a:pt x="550" y="640"/>
                  <a:pt x="550" y="640"/>
                  <a:pt x="550" y="640"/>
                </a:cubicBezTo>
                <a:cubicBezTo>
                  <a:pt x="542" y="638"/>
                  <a:pt x="542" y="638"/>
                  <a:pt x="542" y="638"/>
                </a:cubicBezTo>
                <a:cubicBezTo>
                  <a:pt x="542" y="636"/>
                  <a:pt x="542" y="636"/>
                  <a:pt x="542" y="636"/>
                </a:cubicBezTo>
                <a:cubicBezTo>
                  <a:pt x="550" y="636"/>
                  <a:pt x="565" y="635"/>
                  <a:pt x="575" y="634"/>
                </a:cubicBezTo>
                <a:cubicBezTo>
                  <a:pt x="576" y="633"/>
                  <a:pt x="576" y="633"/>
                  <a:pt x="576" y="633"/>
                </a:cubicBezTo>
                <a:cubicBezTo>
                  <a:pt x="569" y="634"/>
                  <a:pt x="562" y="635"/>
                  <a:pt x="558" y="635"/>
                </a:cubicBezTo>
                <a:cubicBezTo>
                  <a:pt x="556" y="634"/>
                  <a:pt x="551" y="632"/>
                  <a:pt x="555" y="631"/>
                </a:cubicBezTo>
                <a:cubicBezTo>
                  <a:pt x="551" y="633"/>
                  <a:pt x="551" y="633"/>
                  <a:pt x="551" y="633"/>
                </a:cubicBezTo>
                <a:cubicBezTo>
                  <a:pt x="531" y="634"/>
                  <a:pt x="530" y="634"/>
                  <a:pt x="509" y="632"/>
                </a:cubicBezTo>
                <a:cubicBezTo>
                  <a:pt x="511" y="633"/>
                  <a:pt x="511" y="633"/>
                  <a:pt x="511" y="633"/>
                </a:cubicBezTo>
                <a:cubicBezTo>
                  <a:pt x="507" y="633"/>
                  <a:pt x="502" y="634"/>
                  <a:pt x="501" y="632"/>
                </a:cubicBezTo>
                <a:cubicBezTo>
                  <a:pt x="488" y="632"/>
                  <a:pt x="475" y="631"/>
                  <a:pt x="467" y="628"/>
                </a:cubicBezTo>
                <a:cubicBezTo>
                  <a:pt x="465" y="631"/>
                  <a:pt x="465" y="631"/>
                  <a:pt x="465" y="631"/>
                </a:cubicBezTo>
                <a:cubicBezTo>
                  <a:pt x="462" y="631"/>
                  <a:pt x="458" y="627"/>
                  <a:pt x="457" y="630"/>
                </a:cubicBezTo>
                <a:cubicBezTo>
                  <a:pt x="451" y="631"/>
                  <a:pt x="451" y="631"/>
                  <a:pt x="451" y="631"/>
                </a:cubicBezTo>
                <a:cubicBezTo>
                  <a:pt x="447" y="631"/>
                  <a:pt x="445" y="633"/>
                  <a:pt x="441" y="631"/>
                </a:cubicBezTo>
                <a:cubicBezTo>
                  <a:pt x="441" y="631"/>
                  <a:pt x="441" y="631"/>
                  <a:pt x="441" y="631"/>
                </a:cubicBezTo>
                <a:cubicBezTo>
                  <a:pt x="440" y="631"/>
                  <a:pt x="440" y="631"/>
                  <a:pt x="440" y="631"/>
                </a:cubicBezTo>
                <a:cubicBezTo>
                  <a:pt x="440" y="631"/>
                  <a:pt x="440" y="631"/>
                  <a:pt x="440" y="631"/>
                </a:cubicBezTo>
                <a:cubicBezTo>
                  <a:pt x="431" y="630"/>
                  <a:pt x="440" y="633"/>
                  <a:pt x="430" y="632"/>
                </a:cubicBezTo>
                <a:cubicBezTo>
                  <a:pt x="427" y="630"/>
                  <a:pt x="427" y="635"/>
                  <a:pt x="422" y="634"/>
                </a:cubicBezTo>
                <a:cubicBezTo>
                  <a:pt x="417" y="631"/>
                  <a:pt x="417" y="631"/>
                  <a:pt x="417" y="631"/>
                </a:cubicBezTo>
                <a:cubicBezTo>
                  <a:pt x="409" y="629"/>
                  <a:pt x="407" y="632"/>
                  <a:pt x="395" y="632"/>
                </a:cubicBezTo>
                <a:cubicBezTo>
                  <a:pt x="389" y="631"/>
                  <a:pt x="387" y="628"/>
                  <a:pt x="390" y="625"/>
                </a:cubicBezTo>
                <a:cubicBezTo>
                  <a:pt x="385" y="628"/>
                  <a:pt x="388" y="627"/>
                  <a:pt x="381" y="629"/>
                </a:cubicBezTo>
                <a:cubicBezTo>
                  <a:pt x="380" y="627"/>
                  <a:pt x="381" y="627"/>
                  <a:pt x="382" y="626"/>
                </a:cubicBezTo>
                <a:cubicBezTo>
                  <a:pt x="376" y="624"/>
                  <a:pt x="378" y="627"/>
                  <a:pt x="373" y="627"/>
                </a:cubicBezTo>
                <a:cubicBezTo>
                  <a:pt x="372" y="629"/>
                  <a:pt x="370" y="633"/>
                  <a:pt x="369" y="633"/>
                </a:cubicBezTo>
                <a:cubicBezTo>
                  <a:pt x="371" y="634"/>
                  <a:pt x="371" y="634"/>
                  <a:pt x="371" y="634"/>
                </a:cubicBezTo>
                <a:cubicBezTo>
                  <a:pt x="365" y="635"/>
                  <a:pt x="360" y="636"/>
                  <a:pt x="354" y="635"/>
                </a:cubicBezTo>
                <a:cubicBezTo>
                  <a:pt x="354" y="633"/>
                  <a:pt x="354" y="633"/>
                  <a:pt x="354" y="633"/>
                </a:cubicBezTo>
                <a:cubicBezTo>
                  <a:pt x="348" y="634"/>
                  <a:pt x="348" y="634"/>
                  <a:pt x="348" y="634"/>
                </a:cubicBezTo>
                <a:cubicBezTo>
                  <a:pt x="348" y="632"/>
                  <a:pt x="348" y="632"/>
                  <a:pt x="348" y="632"/>
                </a:cubicBezTo>
                <a:cubicBezTo>
                  <a:pt x="339" y="632"/>
                  <a:pt x="339" y="632"/>
                  <a:pt x="339" y="632"/>
                </a:cubicBezTo>
                <a:cubicBezTo>
                  <a:pt x="340" y="633"/>
                  <a:pt x="340" y="633"/>
                  <a:pt x="340" y="633"/>
                </a:cubicBezTo>
                <a:cubicBezTo>
                  <a:pt x="338" y="633"/>
                  <a:pt x="331" y="633"/>
                  <a:pt x="327" y="632"/>
                </a:cubicBezTo>
                <a:cubicBezTo>
                  <a:pt x="327" y="631"/>
                  <a:pt x="327" y="631"/>
                  <a:pt x="327" y="631"/>
                </a:cubicBezTo>
                <a:cubicBezTo>
                  <a:pt x="316" y="628"/>
                  <a:pt x="307" y="631"/>
                  <a:pt x="294" y="631"/>
                </a:cubicBezTo>
                <a:cubicBezTo>
                  <a:pt x="296" y="629"/>
                  <a:pt x="296" y="629"/>
                  <a:pt x="296" y="629"/>
                </a:cubicBezTo>
                <a:cubicBezTo>
                  <a:pt x="292" y="627"/>
                  <a:pt x="295" y="632"/>
                  <a:pt x="289" y="630"/>
                </a:cubicBezTo>
                <a:cubicBezTo>
                  <a:pt x="289" y="628"/>
                  <a:pt x="289" y="628"/>
                  <a:pt x="289" y="628"/>
                </a:cubicBezTo>
                <a:cubicBezTo>
                  <a:pt x="284" y="631"/>
                  <a:pt x="283" y="627"/>
                  <a:pt x="280" y="626"/>
                </a:cubicBezTo>
                <a:cubicBezTo>
                  <a:pt x="282" y="629"/>
                  <a:pt x="282" y="629"/>
                  <a:pt x="282" y="629"/>
                </a:cubicBezTo>
                <a:cubicBezTo>
                  <a:pt x="276" y="628"/>
                  <a:pt x="276" y="628"/>
                  <a:pt x="276" y="628"/>
                </a:cubicBezTo>
                <a:cubicBezTo>
                  <a:pt x="269" y="626"/>
                  <a:pt x="272" y="624"/>
                  <a:pt x="273" y="622"/>
                </a:cubicBezTo>
                <a:cubicBezTo>
                  <a:pt x="268" y="624"/>
                  <a:pt x="268" y="624"/>
                  <a:pt x="268" y="624"/>
                </a:cubicBezTo>
                <a:cubicBezTo>
                  <a:pt x="268" y="621"/>
                  <a:pt x="268" y="621"/>
                  <a:pt x="268" y="621"/>
                </a:cubicBezTo>
                <a:cubicBezTo>
                  <a:pt x="264" y="624"/>
                  <a:pt x="264" y="621"/>
                  <a:pt x="259" y="622"/>
                </a:cubicBezTo>
                <a:cubicBezTo>
                  <a:pt x="258" y="621"/>
                  <a:pt x="260" y="620"/>
                  <a:pt x="258" y="620"/>
                </a:cubicBezTo>
                <a:cubicBezTo>
                  <a:pt x="248" y="622"/>
                  <a:pt x="248" y="622"/>
                  <a:pt x="248" y="622"/>
                </a:cubicBezTo>
                <a:cubicBezTo>
                  <a:pt x="254" y="621"/>
                  <a:pt x="254" y="621"/>
                  <a:pt x="254" y="621"/>
                </a:cubicBezTo>
                <a:cubicBezTo>
                  <a:pt x="253" y="625"/>
                  <a:pt x="253" y="625"/>
                  <a:pt x="253" y="625"/>
                </a:cubicBezTo>
                <a:cubicBezTo>
                  <a:pt x="247" y="628"/>
                  <a:pt x="245" y="624"/>
                  <a:pt x="241" y="625"/>
                </a:cubicBezTo>
                <a:cubicBezTo>
                  <a:pt x="244" y="624"/>
                  <a:pt x="244" y="624"/>
                  <a:pt x="244" y="624"/>
                </a:cubicBezTo>
                <a:cubicBezTo>
                  <a:pt x="237" y="624"/>
                  <a:pt x="237" y="622"/>
                  <a:pt x="233" y="621"/>
                </a:cubicBezTo>
                <a:cubicBezTo>
                  <a:pt x="234" y="622"/>
                  <a:pt x="236" y="623"/>
                  <a:pt x="233" y="623"/>
                </a:cubicBezTo>
                <a:cubicBezTo>
                  <a:pt x="231" y="623"/>
                  <a:pt x="232" y="622"/>
                  <a:pt x="230" y="621"/>
                </a:cubicBezTo>
                <a:cubicBezTo>
                  <a:pt x="229" y="624"/>
                  <a:pt x="224" y="624"/>
                  <a:pt x="220" y="622"/>
                </a:cubicBezTo>
                <a:cubicBezTo>
                  <a:pt x="220" y="622"/>
                  <a:pt x="220" y="622"/>
                  <a:pt x="220" y="622"/>
                </a:cubicBezTo>
                <a:cubicBezTo>
                  <a:pt x="219" y="622"/>
                  <a:pt x="219" y="622"/>
                  <a:pt x="217" y="621"/>
                </a:cubicBezTo>
                <a:cubicBezTo>
                  <a:pt x="218" y="619"/>
                  <a:pt x="218" y="619"/>
                  <a:pt x="218" y="619"/>
                </a:cubicBezTo>
                <a:cubicBezTo>
                  <a:pt x="214" y="621"/>
                  <a:pt x="214" y="621"/>
                  <a:pt x="214" y="621"/>
                </a:cubicBezTo>
                <a:cubicBezTo>
                  <a:pt x="212" y="620"/>
                  <a:pt x="208" y="621"/>
                  <a:pt x="209" y="619"/>
                </a:cubicBezTo>
                <a:cubicBezTo>
                  <a:pt x="210" y="619"/>
                  <a:pt x="210" y="619"/>
                  <a:pt x="210" y="619"/>
                </a:cubicBezTo>
                <a:cubicBezTo>
                  <a:pt x="204" y="618"/>
                  <a:pt x="198" y="616"/>
                  <a:pt x="192" y="615"/>
                </a:cubicBezTo>
                <a:cubicBezTo>
                  <a:pt x="192" y="612"/>
                  <a:pt x="192" y="612"/>
                  <a:pt x="192" y="612"/>
                </a:cubicBezTo>
                <a:cubicBezTo>
                  <a:pt x="189" y="615"/>
                  <a:pt x="183" y="609"/>
                  <a:pt x="182" y="613"/>
                </a:cubicBezTo>
                <a:cubicBezTo>
                  <a:pt x="180" y="610"/>
                  <a:pt x="169" y="611"/>
                  <a:pt x="173" y="607"/>
                </a:cubicBezTo>
                <a:cubicBezTo>
                  <a:pt x="168" y="605"/>
                  <a:pt x="164" y="604"/>
                  <a:pt x="160" y="603"/>
                </a:cubicBezTo>
                <a:cubicBezTo>
                  <a:pt x="159" y="603"/>
                  <a:pt x="157" y="602"/>
                  <a:pt x="156" y="602"/>
                </a:cubicBezTo>
                <a:cubicBezTo>
                  <a:pt x="156" y="601"/>
                  <a:pt x="155" y="601"/>
                  <a:pt x="154" y="598"/>
                </a:cubicBezTo>
                <a:cubicBezTo>
                  <a:pt x="155" y="596"/>
                  <a:pt x="154" y="592"/>
                  <a:pt x="153" y="588"/>
                </a:cubicBezTo>
                <a:cubicBezTo>
                  <a:pt x="151" y="583"/>
                  <a:pt x="150" y="578"/>
                  <a:pt x="149" y="573"/>
                </a:cubicBezTo>
                <a:cubicBezTo>
                  <a:pt x="143" y="556"/>
                  <a:pt x="140" y="544"/>
                  <a:pt x="136" y="525"/>
                </a:cubicBezTo>
                <a:cubicBezTo>
                  <a:pt x="140" y="512"/>
                  <a:pt x="131" y="495"/>
                  <a:pt x="133" y="482"/>
                </a:cubicBezTo>
                <a:cubicBezTo>
                  <a:pt x="131" y="479"/>
                  <a:pt x="131" y="479"/>
                  <a:pt x="131" y="479"/>
                </a:cubicBezTo>
                <a:cubicBezTo>
                  <a:pt x="133" y="470"/>
                  <a:pt x="128" y="457"/>
                  <a:pt x="131" y="445"/>
                </a:cubicBezTo>
                <a:cubicBezTo>
                  <a:pt x="130" y="442"/>
                  <a:pt x="130" y="440"/>
                  <a:pt x="130" y="440"/>
                </a:cubicBezTo>
                <a:cubicBezTo>
                  <a:pt x="129" y="440"/>
                  <a:pt x="129" y="441"/>
                  <a:pt x="128" y="442"/>
                </a:cubicBezTo>
                <a:cubicBezTo>
                  <a:pt x="129" y="438"/>
                  <a:pt x="127" y="431"/>
                  <a:pt x="130" y="431"/>
                </a:cubicBezTo>
                <a:cubicBezTo>
                  <a:pt x="130" y="432"/>
                  <a:pt x="130" y="432"/>
                  <a:pt x="130" y="432"/>
                </a:cubicBezTo>
                <a:cubicBezTo>
                  <a:pt x="133" y="433"/>
                  <a:pt x="128" y="422"/>
                  <a:pt x="130" y="418"/>
                </a:cubicBezTo>
                <a:cubicBezTo>
                  <a:pt x="128" y="420"/>
                  <a:pt x="128" y="420"/>
                  <a:pt x="128" y="420"/>
                </a:cubicBezTo>
                <a:cubicBezTo>
                  <a:pt x="128" y="414"/>
                  <a:pt x="128" y="414"/>
                  <a:pt x="128" y="414"/>
                </a:cubicBezTo>
                <a:cubicBezTo>
                  <a:pt x="129" y="415"/>
                  <a:pt x="129" y="415"/>
                  <a:pt x="129" y="415"/>
                </a:cubicBezTo>
                <a:cubicBezTo>
                  <a:pt x="121" y="387"/>
                  <a:pt x="130" y="374"/>
                  <a:pt x="124" y="347"/>
                </a:cubicBezTo>
                <a:cubicBezTo>
                  <a:pt x="127" y="351"/>
                  <a:pt x="122" y="342"/>
                  <a:pt x="125" y="342"/>
                </a:cubicBezTo>
                <a:cubicBezTo>
                  <a:pt x="130" y="335"/>
                  <a:pt x="124" y="329"/>
                  <a:pt x="123" y="323"/>
                </a:cubicBezTo>
                <a:cubicBezTo>
                  <a:pt x="123" y="323"/>
                  <a:pt x="123" y="323"/>
                  <a:pt x="122" y="323"/>
                </a:cubicBezTo>
                <a:cubicBezTo>
                  <a:pt x="123" y="313"/>
                  <a:pt x="123" y="313"/>
                  <a:pt x="123" y="313"/>
                </a:cubicBezTo>
                <a:cubicBezTo>
                  <a:pt x="127" y="319"/>
                  <a:pt x="119" y="306"/>
                  <a:pt x="123" y="312"/>
                </a:cubicBezTo>
                <a:cubicBezTo>
                  <a:pt x="126" y="286"/>
                  <a:pt x="123" y="253"/>
                  <a:pt x="125" y="224"/>
                </a:cubicBezTo>
                <a:cubicBezTo>
                  <a:pt x="124" y="225"/>
                  <a:pt x="124" y="225"/>
                  <a:pt x="124" y="225"/>
                </a:cubicBezTo>
                <a:cubicBezTo>
                  <a:pt x="124" y="218"/>
                  <a:pt x="123" y="209"/>
                  <a:pt x="124" y="203"/>
                </a:cubicBezTo>
                <a:cubicBezTo>
                  <a:pt x="126" y="197"/>
                  <a:pt x="122" y="190"/>
                  <a:pt x="122" y="188"/>
                </a:cubicBezTo>
                <a:cubicBezTo>
                  <a:pt x="120" y="182"/>
                  <a:pt x="124" y="177"/>
                  <a:pt x="124" y="179"/>
                </a:cubicBezTo>
                <a:cubicBezTo>
                  <a:pt x="123" y="173"/>
                  <a:pt x="119" y="166"/>
                  <a:pt x="121" y="157"/>
                </a:cubicBezTo>
                <a:cubicBezTo>
                  <a:pt x="125" y="154"/>
                  <a:pt x="118" y="132"/>
                  <a:pt x="123" y="132"/>
                </a:cubicBezTo>
                <a:cubicBezTo>
                  <a:pt x="122" y="132"/>
                  <a:pt x="122" y="132"/>
                  <a:pt x="122" y="132"/>
                </a:cubicBezTo>
                <a:cubicBezTo>
                  <a:pt x="125" y="122"/>
                  <a:pt x="122" y="112"/>
                  <a:pt x="123" y="102"/>
                </a:cubicBezTo>
                <a:cubicBezTo>
                  <a:pt x="126" y="105"/>
                  <a:pt x="129" y="109"/>
                  <a:pt x="130" y="114"/>
                </a:cubicBezTo>
                <a:cubicBezTo>
                  <a:pt x="128" y="117"/>
                  <a:pt x="139" y="131"/>
                  <a:pt x="141" y="131"/>
                </a:cubicBezTo>
                <a:cubicBezTo>
                  <a:pt x="143" y="128"/>
                  <a:pt x="143" y="128"/>
                  <a:pt x="143" y="128"/>
                </a:cubicBezTo>
                <a:cubicBezTo>
                  <a:pt x="147" y="133"/>
                  <a:pt x="146" y="137"/>
                  <a:pt x="151" y="140"/>
                </a:cubicBezTo>
                <a:cubicBezTo>
                  <a:pt x="150" y="140"/>
                  <a:pt x="150" y="140"/>
                  <a:pt x="150" y="140"/>
                </a:cubicBezTo>
                <a:cubicBezTo>
                  <a:pt x="150" y="140"/>
                  <a:pt x="151" y="141"/>
                  <a:pt x="151" y="141"/>
                </a:cubicBezTo>
                <a:cubicBezTo>
                  <a:pt x="152" y="141"/>
                  <a:pt x="156" y="140"/>
                  <a:pt x="154" y="149"/>
                </a:cubicBezTo>
                <a:cubicBezTo>
                  <a:pt x="153" y="149"/>
                  <a:pt x="153" y="149"/>
                  <a:pt x="153" y="149"/>
                </a:cubicBezTo>
                <a:cubicBezTo>
                  <a:pt x="153" y="150"/>
                  <a:pt x="154" y="149"/>
                  <a:pt x="154" y="150"/>
                </a:cubicBezTo>
                <a:cubicBezTo>
                  <a:pt x="154" y="148"/>
                  <a:pt x="154" y="148"/>
                  <a:pt x="154" y="148"/>
                </a:cubicBezTo>
                <a:cubicBezTo>
                  <a:pt x="156" y="148"/>
                  <a:pt x="157" y="148"/>
                  <a:pt x="158" y="149"/>
                </a:cubicBezTo>
                <a:cubicBezTo>
                  <a:pt x="158" y="149"/>
                  <a:pt x="157" y="150"/>
                  <a:pt x="157" y="150"/>
                </a:cubicBezTo>
                <a:cubicBezTo>
                  <a:pt x="159" y="152"/>
                  <a:pt x="159" y="152"/>
                  <a:pt x="159" y="152"/>
                </a:cubicBezTo>
                <a:cubicBezTo>
                  <a:pt x="158" y="154"/>
                  <a:pt x="158" y="154"/>
                  <a:pt x="158" y="154"/>
                </a:cubicBezTo>
                <a:cubicBezTo>
                  <a:pt x="159" y="154"/>
                  <a:pt x="163" y="151"/>
                  <a:pt x="162" y="154"/>
                </a:cubicBezTo>
                <a:cubicBezTo>
                  <a:pt x="164" y="152"/>
                  <a:pt x="164" y="154"/>
                  <a:pt x="165" y="153"/>
                </a:cubicBezTo>
                <a:cubicBezTo>
                  <a:pt x="165" y="153"/>
                  <a:pt x="164" y="154"/>
                  <a:pt x="164" y="154"/>
                </a:cubicBezTo>
                <a:cubicBezTo>
                  <a:pt x="165" y="155"/>
                  <a:pt x="167" y="157"/>
                  <a:pt x="169" y="156"/>
                </a:cubicBezTo>
                <a:cubicBezTo>
                  <a:pt x="169" y="156"/>
                  <a:pt x="171" y="148"/>
                  <a:pt x="173" y="146"/>
                </a:cubicBezTo>
                <a:cubicBezTo>
                  <a:pt x="174" y="147"/>
                  <a:pt x="174" y="146"/>
                  <a:pt x="175" y="145"/>
                </a:cubicBezTo>
                <a:cubicBezTo>
                  <a:pt x="174" y="145"/>
                  <a:pt x="174" y="145"/>
                  <a:pt x="174" y="145"/>
                </a:cubicBezTo>
                <a:cubicBezTo>
                  <a:pt x="174" y="144"/>
                  <a:pt x="175" y="143"/>
                  <a:pt x="176" y="142"/>
                </a:cubicBezTo>
                <a:cubicBezTo>
                  <a:pt x="175" y="142"/>
                  <a:pt x="175" y="142"/>
                  <a:pt x="175" y="142"/>
                </a:cubicBezTo>
                <a:cubicBezTo>
                  <a:pt x="175" y="142"/>
                  <a:pt x="175" y="142"/>
                  <a:pt x="175" y="142"/>
                </a:cubicBezTo>
                <a:cubicBezTo>
                  <a:pt x="175" y="142"/>
                  <a:pt x="175" y="143"/>
                  <a:pt x="175" y="143"/>
                </a:cubicBezTo>
                <a:cubicBezTo>
                  <a:pt x="174" y="143"/>
                  <a:pt x="174" y="143"/>
                  <a:pt x="174" y="143"/>
                </a:cubicBezTo>
                <a:cubicBezTo>
                  <a:pt x="174" y="143"/>
                  <a:pt x="174" y="143"/>
                  <a:pt x="174" y="143"/>
                </a:cubicBezTo>
                <a:cubicBezTo>
                  <a:pt x="174" y="142"/>
                  <a:pt x="174" y="142"/>
                  <a:pt x="174" y="141"/>
                </a:cubicBezTo>
                <a:cubicBezTo>
                  <a:pt x="175" y="140"/>
                  <a:pt x="175" y="140"/>
                  <a:pt x="175" y="140"/>
                </a:cubicBezTo>
                <a:cubicBezTo>
                  <a:pt x="172" y="141"/>
                  <a:pt x="176" y="133"/>
                  <a:pt x="175" y="132"/>
                </a:cubicBezTo>
                <a:cubicBezTo>
                  <a:pt x="176" y="130"/>
                  <a:pt x="174" y="131"/>
                  <a:pt x="174" y="129"/>
                </a:cubicBezTo>
                <a:cubicBezTo>
                  <a:pt x="173" y="127"/>
                  <a:pt x="175" y="127"/>
                  <a:pt x="176" y="125"/>
                </a:cubicBezTo>
                <a:cubicBezTo>
                  <a:pt x="176" y="123"/>
                  <a:pt x="174" y="126"/>
                  <a:pt x="174" y="126"/>
                </a:cubicBezTo>
                <a:cubicBezTo>
                  <a:pt x="175" y="123"/>
                  <a:pt x="175" y="123"/>
                  <a:pt x="175" y="123"/>
                </a:cubicBezTo>
                <a:cubicBezTo>
                  <a:pt x="176" y="124"/>
                  <a:pt x="176" y="123"/>
                  <a:pt x="176" y="123"/>
                </a:cubicBezTo>
                <a:cubicBezTo>
                  <a:pt x="176" y="121"/>
                  <a:pt x="177" y="117"/>
                  <a:pt x="174" y="119"/>
                </a:cubicBezTo>
                <a:cubicBezTo>
                  <a:pt x="174" y="116"/>
                  <a:pt x="175" y="116"/>
                  <a:pt x="175" y="115"/>
                </a:cubicBezTo>
                <a:cubicBezTo>
                  <a:pt x="175" y="115"/>
                  <a:pt x="175" y="116"/>
                  <a:pt x="174" y="116"/>
                </a:cubicBezTo>
                <a:cubicBezTo>
                  <a:pt x="175" y="115"/>
                  <a:pt x="174" y="116"/>
                  <a:pt x="173" y="117"/>
                </a:cubicBezTo>
                <a:cubicBezTo>
                  <a:pt x="172" y="116"/>
                  <a:pt x="175" y="108"/>
                  <a:pt x="172" y="110"/>
                </a:cubicBezTo>
                <a:cubicBezTo>
                  <a:pt x="172" y="109"/>
                  <a:pt x="172" y="109"/>
                  <a:pt x="172" y="109"/>
                </a:cubicBezTo>
                <a:cubicBezTo>
                  <a:pt x="170" y="111"/>
                  <a:pt x="168" y="112"/>
                  <a:pt x="166" y="112"/>
                </a:cubicBezTo>
                <a:cubicBezTo>
                  <a:pt x="167" y="111"/>
                  <a:pt x="167" y="111"/>
                  <a:pt x="167" y="111"/>
                </a:cubicBezTo>
                <a:cubicBezTo>
                  <a:pt x="166" y="111"/>
                  <a:pt x="166" y="111"/>
                  <a:pt x="166" y="111"/>
                </a:cubicBezTo>
                <a:cubicBezTo>
                  <a:pt x="166" y="110"/>
                  <a:pt x="167" y="110"/>
                  <a:pt x="167" y="110"/>
                </a:cubicBezTo>
                <a:cubicBezTo>
                  <a:pt x="165" y="109"/>
                  <a:pt x="166" y="107"/>
                  <a:pt x="165" y="105"/>
                </a:cubicBezTo>
                <a:cubicBezTo>
                  <a:pt x="160" y="110"/>
                  <a:pt x="160" y="110"/>
                  <a:pt x="160" y="110"/>
                </a:cubicBezTo>
                <a:cubicBezTo>
                  <a:pt x="160" y="108"/>
                  <a:pt x="162" y="104"/>
                  <a:pt x="160" y="105"/>
                </a:cubicBezTo>
                <a:cubicBezTo>
                  <a:pt x="161" y="103"/>
                  <a:pt x="161" y="103"/>
                  <a:pt x="161" y="103"/>
                </a:cubicBezTo>
                <a:cubicBezTo>
                  <a:pt x="164" y="98"/>
                  <a:pt x="159" y="102"/>
                  <a:pt x="159" y="101"/>
                </a:cubicBezTo>
                <a:cubicBezTo>
                  <a:pt x="161" y="98"/>
                  <a:pt x="161" y="98"/>
                  <a:pt x="161" y="98"/>
                </a:cubicBezTo>
                <a:cubicBezTo>
                  <a:pt x="161" y="99"/>
                  <a:pt x="161" y="99"/>
                  <a:pt x="161" y="99"/>
                </a:cubicBezTo>
                <a:cubicBezTo>
                  <a:pt x="162" y="97"/>
                  <a:pt x="162" y="96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1" y="95"/>
                  <a:pt x="160" y="95"/>
                  <a:pt x="160" y="94"/>
                </a:cubicBezTo>
                <a:cubicBezTo>
                  <a:pt x="159" y="93"/>
                  <a:pt x="157" y="93"/>
                  <a:pt x="158" y="89"/>
                </a:cubicBezTo>
                <a:cubicBezTo>
                  <a:pt x="156" y="90"/>
                  <a:pt x="156" y="90"/>
                  <a:pt x="156" y="90"/>
                </a:cubicBezTo>
                <a:cubicBezTo>
                  <a:pt x="156" y="88"/>
                  <a:pt x="156" y="88"/>
                  <a:pt x="156" y="88"/>
                </a:cubicBezTo>
                <a:cubicBezTo>
                  <a:pt x="158" y="87"/>
                  <a:pt x="158" y="87"/>
                  <a:pt x="158" y="87"/>
                </a:cubicBezTo>
                <a:cubicBezTo>
                  <a:pt x="159" y="88"/>
                  <a:pt x="161" y="91"/>
                  <a:pt x="162" y="93"/>
                </a:cubicBezTo>
                <a:cubicBezTo>
                  <a:pt x="163" y="92"/>
                  <a:pt x="163" y="92"/>
                  <a:pt x="163" y="92"/>
                </a:cubicBezTo>
                <a:cubicBezTo>
                  <a:pt x="163" y="91"/>
                  <a:pt x="161" y="90"/>
                  <a:pt x="161" y="89"/>
                </a:cubicBezTo>
                <a:cubicBezTo>
                  <a:pt x="161" y="89"/>
                  <a:pt x="162" y="87"/>
                  <a:pt x="164" y="87"/>
                </a:cubicBezTo>
                <a:cubicBezTo>
                  <a:pt x="162" y="87"/>
                  <a:pt x="162" y="87"/>
                  <a:pt x="162" y="87"/>
                </a:cubicBezTo>
                <a:cubicBezTo>
                  <a:pt x="159" y="83"/>
                  <a:pt x="159" y="83"/>
                  <a:pt x="159" y="78"/>
                </a:cubicBezTo>
                <a:cubicBezTo>
                  <a:pt x="158" y="79"/>
                  <a:pt x="158" y="79"/>
                  <a:pt x="158" y="79"/>
                </a:cubicBezTo>
                <a:cubicBezTo>
                  <a:pt x="157" y="78"/>
                  <a:pt x="156" y="78"/>
                  <a:pt x="158" y="77"/>
                </a:cubicBezTo>
                <a:cubicBezTo>
                  <a:pt x="157" y="74"/>
                  <a:pt x="156" y="71"/>
                  <a:pt x="158" y="68"/>
                </a:cubicBezTo>
                <a:cubicBezTo>
                  <a:pt x="156" y="69"/>
                  <a:pt x="156" y="69"/>
                  <a:pt x="156" y="69"/>
                </a:cubicBezTo>
                <a:cubicBezTo>
                  <a:pt x="155" y="69"/>
                  <a:pt x="158" y="66"/>
                  <a:pt x="155" y="68"/>
                </a:cubicBezTo>
                <a:cubicBezTo>
                  <a:pt x="153" y="67"/>
                  <a:pt x="153" y="67"/>
                  <a:pt x="153" y="67"/>
                </a:cubicBezTo>
                <a:cubicBezTo>
                  <a:pt x="153" y="66"/>
                  <a:pt x="152" y="66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4"/>
                  <a:pt x="152" y="64"/>
                  <a:pt x="152" y="64"/>
                </a:cubicBezTo>
                <a:cubicBezTo>
                  <a:pt x="151" y="64"/>
                  <a:pt x="151" y="65"/>
                  <a:pt x="151" y="63"/>
                </a:cubicBezTo>
                <a:cubicBezTo>
                  <a:pt x="151" y="61"/>
                  <a:pt x="147" y="63"/>
                  <a:pt x="147" y="62"/>
                </a:cubicBezTo>
                <a:cubicBezTo>
                  <a:pt x="148" y="60"/>
                  <a:pt x="148" y="59"/>
                  <a:pt x="149" y="58"/>
                </a:cubicBezTo>
                <a:cubicBezTo>
                  <a:pt x="149" y="54"/>
                  <a:pt x="146" y="56"/>
                  <a:pt x="144" y="52"/>
                </a:cubicBezTo>
                <a:cubicBezTo>
                  <a:pt x="144" y="49"/>
                  <a:pt x="145" y="45"/>
                  <a:pt x="148" y="44"/>
                </a:cubicBezTo>
                <a:cubicBezTo>
                  <a:pt x="145" y="45"/>
                  <a:pt x="146" y="45"/>
                  <a:pt x="144" y="44"/>
                </a:cubicBezTo>
                <a:cubicBezTo>
                  <a:pt x="144" y="43"/>
                  <a:pt x="145" y="43"/>
                  <a:pt x="146" y="42"/>
                </a:cubicBezTo>
                <a:cubicBezTo>
                  <a:pt x="146" y="38"/>
                  <a:pt x="144" y="42"/>
                  <a:pt x="143" y="40"/>
                </a:cubicBezTo>
                <a:cubicBezTo>
                  <a:pt x="141" y="42"/>
                  <a:pt x="139" y="45"/>
                  <a:pt x="138" y="45"/>
                </a:cubicBezTo>
                <a:cubicBezTo>
                  <a:pt x="138" y="46"/>
                  <a:pt x="138" y="46"/>
                  <a:pt x="138" y="46"/>
                </a:cubicBezTo>
                <a:cubicBezTo>
                  <a:pt x="136" y="46"/>
                  <a:pt x="135" y="45"/>
                  <a:pt x="135" y="42"/>
                </a:cubicBezTo>
                <a:cubicBezTo>
                  <a:pt x="136" y="40"/>
                  <a:pt x="136" y="40"/>
                  <a:pt x="136" y="40"/>
                </a:cubicBezTo>
                <a:cubicBezTo>
                  <a:pt x="134" y="39"/>
                  <a:pt x="134" y="39"/>
                  <a:pt x="134" y="39"/>
                </a:cubicBezTo>
                <a:cubicBezTo>
                  <a:pt x="135" y="37"/>
                  <a:pt x="135" y="37"/>
                  <a:pt x="135" y="37"/>
                </a:cubicBezTo>
                <a:cubicBezTo>
                  <a:pt x="133" y="35"/>
                  <a:pt x="133" y="35"/>
                  <a:pt x="133" y="35"/>
                </a:cubicBezTo>
                <a:cubicBezTo>
                  <a:pt x="133" y="36"/>
                  <a:pt x="133" y="36"/>
                  <a:pt x="133" y="36"/>
                </a:cubicBezTo>
                <a:cubicBezTo>
                  <a:pt x="133" y="35"/>
                  <a:pt x="132" y="34"/>
                  <a:pt x="131" y="32"/>
                </a:cubicBezTo>
                <a:cubicBezTo>
                  <a:pt x="132" y="31"/>
                  <a:pt x="132" y="31"/>
                  <a:pt x="132" y="31"/>
                </a:cubicBezTo>
                <a:cubicBezTo>
                  <a:pt x="132" y="27"/>
                  <a:pt x="131" y="25"/>
                  <a:pt x="129" y="24"/>
                </a:cubicBezTo>
                <a:cubicBezTo>
                  <a:pt x="128" y="24"/>
                  <a:pt x="127" y="23"/>
                  <a:pt x="126" y="21"/>
                </a:cubicBezTo>
                <a:cubicBezTo>
                  <a:pt x="127" y="19"/>
                  <a:pt x="127" y="19"/>
                  <a:pt x="127" y="19"/>
                </a:cubicBezTo>
                <a:cubicBezTo>
                  <a:pt x="127" y="15"/>
                  <a:pt x="126" y="23"/>
                  <a:pt x="125" y="20"/>
                </a:cubicBezTo>
                <a:cubicBezTo>
                  <a:pt x="126" y="16"/>
                  <a:pt x="126" y="16"/>
                  <a:pt x="126" y="16"/>
                </a:cubicBezTo>
                <a:cubicBezTo>
                  <a:pt x="124" y="20"/>
                  <a:pt x="125" y="13"/>
                  <a:pt x="125" y="10"/>
                </a:cubicBezTo>
                <a:cubicBezTo>
                  <a:pt x="124" y="16"/>
                  <a:pt x="124" y="16"/>
                  <a:pt x="124" y="16"/>
                </a:cubicBezTo>
                <a:cubicBezTo>
                  <a:pt x="123" y="13"/>
                  <a:pt x="123" y="13"/>
                  <a:pt x="123" y="13"/>
                </a:cubicBezTo>
                <a:cubicBezTo>
                  <a:pt x="122" y="9"/>
                  <a:pt x="124" y="5"/>
                  <a:pt x="124" y="3"/>
                </a:cubicBezTo>
                <a:cubicBezTo>
                  <a:pt x="124" y="3"/>
                  <a:pt x="123" y="4"/>
                  <a:pt x="123" y="5"/>
                </a:cubicBezTo>
                <a:cubicBezTo>
                  <a:pt x="123" y="0"/>
                  <a:pt x="123" y="0"/>
                  <a:pt x="123" y="0"/>
                </a:cubicBezTo>
                <a:cubicBezTo>
                  <a:pt x="123" y="1"/>
                  <a:pt x="123" y="1"/>
                  <a:pt x="123" y="1"/>
                </a:cubicBezTo>
                <a:cubicBezTo>
                  <a:pt x="123" y="2"/>
                  <a:pt x="123" y="2"/>
                  <a:pt x="122" y="2"/>
                </a:cubicBezTo>
                <a:cubicBezTo>
                  <a:pt x="122" y="3"/>
                  <a:pt x="122" y="3"/>
                  <a:pt x="122" y="3"/>
                </a:cubicBezTo>
                <a:cubicBezTo>
                  <a:pt x="122" y="2"/>
                  <a:pt x="121" y="2"/>
                  <a:pt x="121" y="4"/>
                </a:cubicBezTo>
                <a:cubicBezTo>
                  <a:pt x="121" y="3"/>
                  <a:pt x="121" y="1"/>
                  <a:pt x="121" y="1"/>
                </a:cubicBezTo>
                <a:cubicBezTo>
                  <a:pt x="117" y="11"/>
                  <a:pt x="117" y="11"/>
                  <a:pt x="117" y="11"/>
                </a:cubicBezTo>
                <a:cubicBezTo>
                  <a:pt x="119" y="6"/>
                  <a:pt x="119" y="6"/>
                  <a:pt x="119" y="6"/>
                </a:cubicBezTo>
                <a:cubicBezTo>
                  <a:pt x="118" y="13"/>
                  <a:pt x="118" y="13"/>
                  <a:pt x="118" y="13"/>
                </a:cubicBezTo>
                <a:cubicBezTo>
                  <a:pt x="116" y="20"/>
                  <a:pt x="116" y="14"/>
                  <a:pt x="115" y="17"/>
                </a:cubicBezTo>
                <a:cubicBezTo>
                  <a:pt x="116" y="15"/>
                  <a:pt x="116" y="15"/>
                  <a:pt x="116" y="15"/>
                </a:cubicBezTo>
                <a:cubicBezTo>
                  <a:pt x="114" y="18"/>
                  <a:pt x="114" y="16"/>
                  <a:pt x="113" y="16"/>
                </a:cubicBezTo>
                <a:cubicBezTo>
                  <a:pt x="113" y="16"/>
                  <a:pt x="114" y="18"/>
                  <a:pt x="113" y="19"/>
                </a:cubicBezTo>
                <a:cubicBezTo>
                  <a:pt x="113" y="20"/>
                  <a:pt x="113" y="17"/>
                  <a:pt x="112" y="17"/>
                </a:cubicBezTo>
                <a:cubicBezTo>
                  <a:pt x="112" y="21"/>
                  <a:pt x="111" y="25"/>
                  <a:pt x="110" y="24"/>
                </a:cubicBezTo>
                <a:cubicBezTo>
                  <a:pt x="110" y="24"/>
                  <a:pt x="110" y="23"/>
                  <a:pt x="110" y="23"/>
                </a:cubicBezTo>
                <a:cubicBezTo>
                  <a:pt x="110" y="24"/>
                  <a:pt x="109" y="25"/>
                  <a:pt x="109" y="25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8" y="25"/>
                  <a:pt x="108" y="25"/>
                  <a:pt x="108" y="25"/>
                </a:cubicBezTo>
                <a:cubicBezTo>
                  <a:pt x="107" y="25"/>
                  <a:pt x="107" y="29"/>
                  <a:pt x="107" y="26"/>
                </a:cubicBezTo>
                <a:cubicBezTo>
                  <a:pt x="107" y="25"/>
                  <a:pt x="107" y="25"/>
                  <a:pt x="107" y="25"/>
                </a:cubicBezTo>
                <a:cubicBezTo>
                  <a:pt x="102" y="30"/>
                  <a:pt x="102" y="30"/>
                  <a:pt x="102" y="30"/>
                </a:cubicBezTo>
                <a:cubicBezTo>
                  <a:pt x="101" y="27"/>
                  <a:pt x="101" y="27"/>
                  <a:pt x="101" y="27"/>
                </a:cubicBezTo>
                <a:cubicBezTo>
                  <a:pt x="101" y="31"/>
                  <a:pt x="98" y="29"/>
                  <a:pt x="99" y="33"/>
                </a:cubicBezTo>
                <a:cubicBezTo>
                  <a:pt x="97" y="32"/>
                  <a:pt x="96" y="39"/>
                  <a:pt x="95" y="34"/>
                </a:cubicBezTo>
                <a:cubicBezTo>
                  <a:pt x="93" y="35"/>
                  <a:pt x="92" y="38"/>
                  <a:pt x="91" y="40"/>
                </a:cubicBezTo>
                <a:cubicBezTo>
                  <a:pt x="89" y="42"/>
                  <a:pt x="88" y="44"/>
                  <a:pt x="85" y="46"/>
                </a:cubicBezTo>
                <a:cubicBezTo>
                  <a:pt x="84" y="45"/>
                  <a:pt x="82" y="46"/>
                  <a:pt x="80" y="47"/>
                </a:cubicBezTo>
                <a:cubicBezTo>
                  <a:pt x="79" y="48"/>
                  <a:pt x="78" y="49"/>
                  <a:pt x="77" y="49"/>
                </a:cubicBezTo>
                <a:cubicBezTo>
                  <a:pt x="77" y="50"/>
                  <a:pt x="76" y="50"/>
                  <a:pt x="76" y="50"/>
                </a:cubicBezTo>
                <a:cubicBezTo>
                  <a:pt x="74" y="54"/>
                  <a:pt x="73" y="57"/>
                  <a:pt x="71" y="61"/>
                </a:cubicBezTo>
                <a:cubicBezTo>
                  <a:pt x="65" y="58"/>
                  <a:pt x="67" y="66"/>
                  <a:pt x="63" y="66"/>
                </a:cubicBezTo>
                <a:cubicBezTo>
                  <a:pt x="64" y="68"/>
                  <a:pt x="64" y="68"/>
                  <a:pt x="64" y="68"/>
                </a:cubicBezTo>
                <a:cubicBezTo>
                  <a:pt x="60" y="66"/>
                  <a:pt x="61" y="71"/>
                  <a:pt x="57" y="70"/>
                </a:cubicBezTo>
                <a:cubicBezTo>
                  <a:pt x="57" y="71"/>
                  <a:pt x="57" y="72"/>
                  <a:pt x="57" y="72"/>
                </a:cubicBezTo>
                <a:cubicBezTo>
                  <a:pt x="57" y="72"/>
                  <a:pt x="57" y="72"/>
                  <a:pt x="58" y="73"/>
                </a:cubicBezTo>
                <a:cubicBezTo>
                  <a:pt x="57" y="73"/>
                  <a:pt x="56" y="75"/>
                  <a:pt x="55" y="72"/>
                </a:cubicBezTo>
                <a:cubicBezTo>
                  <a:pt x="55" y="72"/>
                  <a:pt x="55" y="72"/>
                  <a:pt x="55" y="72"/>
                </a:cubicBezTo>
                <a:cubicBezTo>
                  <a:pt x="53" y="70"/>
                  <a:pt x="54" y="74"/>
                  <a:pt x="52" y="73"/>
                </a:cubicBezTo>
                <a:cubicBezTo>
                  <a:pt x="54" y="75"/>
                  <a:pt x="54" y="75"/>
                  <a:pt x="54" y="75"/>
                </a:cubicBezTo>
                <a:cubicBezTo>
                  <a:pt x="53" y="76"/>
                  <a:pt x="53" y="76"/>
                  <a:pt x="53" y="76"/>
                </a:cubicBezTo>
                <a:cubicBezTo>
                  <a:pt x="52" y="75"/>
                  <a:pt x="52" y="75"/>
                  <a:pt x="52" y="75"/>
                </a:cubicBezTo>
                <a:cubicBezTo>
                  <a:pt x="52" y="84"/>
                  <a:pt x="44" y="78"/>
                  <a:pt x="43" y="86"/>
                </a:cubicBezTo>
                <a:cubicBezTo>
                  <a:pt x="42" y="83"/>
                  <a:pt x="43" y="88"/>
                  <a:pt x="41" y="85"/>
                </a:cubicBezTo>
                <a:cubicBezTo>
                  <a:pt x="37" y="83"/>
                  <a:pt x="39" y="87"/>
                  <a:pt x="39" y="89"/>
                </a:cubicBezTo>
                <a:cubicBezTo>
                  <a:pt x="39" y="89"/>
                  <a:pt x="39" y="89"/>
                  <a:pt x="39" y="90"/>
                </a:cubicBezTo>
                <a:cubicBezTo>
                  <a:pt x="37" y="91"/>
                  <a:pt x="37" y="91"/>
                  <a:pt x="37" y="91"/>
                </a:cubicBezTo>
                <a:cubicBezTo>
                  <a:pt x="36" y="86"/>
                  <a:pt x="38" y="94"/>
                  <a:pt x="37" y="91"/>
                </a:cubicBezTo>
                <a:cubicBezTo>
                  <a:pt x="31" y="91"/>
                  <a:pt x="27" y="98"/>
                  <a:pt x="21" y="100"/>
                </a:cubicBezTo>
                <a:cubicBezTo>
                  <a:pt x="22" y="101"/>
                  <a:pt x="22" y="101"/>
                  <a:pt x="22" y="101"/>
                </a:cubicBezTo>
                <a:cubicBezTo>
                  <a:pt x="20" y="101"/>
                  <a:pt x="19" y="104"/>
                  <a:pt x="18" y="103"/>
                </a:cubicBezTo>
                <a:cubicBezTo>
                  <a:pt x="16" y="102"/>
                  <a:pt x="17" y="106"/>
                  <a:pt x="17" y="107"/>
                </a:cubicBezTo>
                <a:cubicBezTo>
                  <a:pt x="16" y="109"/>
                  <a:pt x="13" y="107"/>
                  <a:pt x="14" y="106"/>
                </a:cubicBezTo>
                <a:cubicBezTo>
                  <a:pt x="13" y="108"/>
                  <a:pt x="14" y="112"/>
                  <a:pt x="12" y="111"/>
                </a:cubicBezTo>
                <a:cubicBezTo>
                  <a:pt x="9" y="109"/>
                  <a:pt x="9" y="117"/>
                  <a:pt x="7" y="114"/>
                </a:cubicBezTo>
                <a:cubicBezTo>
                  <a:pt x="7" y="114"/>
                  <a:pt x="7" y="114"/>
                  <a:pt x="7" y="114"/>
                </a:cubicBezTo>
                <a:cubicBezTo>
                  <a:pt x="3" y="113"/>
                  <a:pt x="4" y="118"/>
                  <a:pt x="0" y="117"/>
                </a:cubicBezTo>
                <a:cubicBezTo>
                  <a:pt x="0" y="117"/>
                  <a:pt x="0" y="117"/>
                  <a:pt x="0" y="117"/>
                </a:cubicBezTo>
                <a:cubicBezTo>
                  <a:pt x="1" y="121"/>
                  <a:pt x="1" y="126"/>
                  <a:pt x="2" y="130"/>
                </a:cubicBezTo>
                <a:cubicBezTo>
                  <a:pt x="10" y="141"/>
                  <a:pt x="10" y="141"/>
                  <a:pt x="10" y="141"/>
                </a:cubicBezTo>
                <a:cubicBezTo>
                  <a:pt x="20" y="148"/>
                  <a:pt x="20" y="148"/>
                  <a:pt x="20" y="148"/>
                </a:cubicBezTo>
                <a:cubicBezTo>
                  <a:pt x="23" y="145"/>
                  <a:pt x="27" y="142"/>
                  <a:pt x="30" y="139"/>
                </a:cubicBezTo>
                <a:cubicBezTo>
                  <a:pt x="42" y="137"/>
                  <a:pt x="42" y="137"/>
                  <a:pt x="42" y="137"/>
                </a:cubicBezTo>
                <a:cubicBezTo>
                  <a:pt x="49" y="132"/>
                  <a:pt x="56" y="127"/>
                  <a:pt x="63" y="121"/>
                </a:cubicBezTo>
                <a:cubicBezTo>
                  <a:pt x="62" y="117"/>
                  <a:pt x="62" y="117"/>
                  <a:pt x="62" y="117"/>
                </a:cubicBezTo>
                <a:cubicBezTo>
                  <a:pt x="70" y="119"/>
                  <a:pt x="72" y="110"/>
                  <a:pt x="78" y="109"/>
                </a:cubicBezTo>
                <a:cubicBezTo>
                  <a:pt x="77" y="107"/>
                  <a:pt x="77" y="107"/>
                  <a:pt x="77" y="107"/>
                </a:cubicBezTo>
                <a:cubicBezTo>
                  <a:pt x="78" y="106"/>
                  <a:pt x="79" y="108"/>
                  <a:pt x="79" y="108"/>
                </a:cubicBezTo>
                <a:cubicBezTo>
                  <a:pt x="82" y="105"/>
                  <a:pt x="85" y="103"/>
                  <a:pt x="87" y="101"/>
                </a:cubicBezTo>
                <a:cubicBezTo>
                  <a:pt x="87" y="121"/>
                  <a:pt x="87" y="141"/>
                  <a:pt x="88" y="160"/>
                </a:cubicBezTo>
                <a:cubicBezTo>
                  <a:pt x="82" y="209"/>
                  <a:pt x="82" y="209"/>
                  <a:pt x="82" y="209"/>
                </a:cubicBezTo>
                <a:cubicBezTo>
                  <a:pt x="82" y="249"/>
                  <a:pt x="82" y="288"/>
                  <a:pt x="83" y="328"/>
                </a:cubicBezTo>
                <a:cubicBezTo>
                  <a:pt x="87" y="336"/>
                  <a:pt x="87" y="336"/>
                  <a:pt x="87" y="336"/>
                </a:cubicBezTo>
                <a:cubicBezTo>
                  <a:pt x="81" y="359"/>
                  <a:pt x="88" y="389"/>
                  <a:pt x="85" y="415"/>
                </a:cubicBezTo>
                <a:cubicBezTo>
                  <a:pt x="88" y="415"/>
                  <a:pt x="88" y="415"/>
                  <a:pt x="88" y="415"/>
                </a:cubicBezTo>
                <a:cubicBezTo>
                  <a:pt x="89" y="422"/>
                  <a:pt x="87" y="422"/>
                  <a:pt x="86" y="423"/>
                </a:cubicBezTo>
                <a:cubicBezTo>
                  <a:pt x="88" y="456"/>
                  <a:pt x="91" y="490"/>
                  <a:pt x="96" y="523"/>
                </a:cubicBezTo>
                <a:cubicBezTo>
                  <a:pt x="98" y="539"/>
                  <a:pt x="100" y="556"/>
                  <a:pt x="103" y="572"/>
                </a:cubicBezTo>
                <a:cubicBezTo>
                  <a:pt x="105" y="580"/>
                  <a:pt x="107" y="588"/>
                  <a:pt x="109" y="597"/>
                </a:cubicBezTo>
                <a:cubicBezTo>
                  <a:pt x="112" y="605"/>
                  <a:pt x="114" y="613"/>
                  <a:pt x="120" y="623"/>
                </a:cubicBezTo>
                <a:cubicBezTo>
                  <a:pt x="121" y="625"/>
                  <a:pt x="123" y="628"/>
                  <a:pt x="126" y="632"/>
                </a:cubicBezTo>
                <a:cubicBezTo>
                  <a:pt x="129" y="635"/>
                  <a:pt x="133" y="638"/>
                  <a:pt x="136" y="640"/>
                </a:cubicBezTo>
                <a:cubicBezTo>
                  <a:pt x="143" y="644"/>
                  <a:pt x="149" y="647"/>
                  <a:pt x="151" y="649"/>
                </a:cubicBezTo>
                <a:cubicBezTo>
                  <a:pt x="163" y="652"/>
                  <a:pt x="173" y="654"/>
                  <a:pt x="184" y="655"/>
                </a:cubicBezTo>
                <a:cubicBezTo>
                  <a:pt x="194" y="657"/>
                  <a:pt x="204" y="659"/>
                  <a:pt x="214" y="661"/>
                </a:cubicBezTo>
                <a:cubicBezTo>
                  <a:pt x="213" y="661"/>
                  <a:pt x="213" y="661"/>
                  <a:pt x="213" y="661"/>
                </a:cubicBezTo>
                <a:cubicBezTo>
                  <a:pt x="223" y="662"/>
                  <a:pt x="223" y="662"/>
                  <a:pt x="223" y="662"/>
                </a:cubicBezTo>
                <a:cubicBezTo>
                  <a:pt x="223" y="662"/>
                  <a:pt x="223" y="662"/>
                  <a:pt x="223" y="663"/>
                </a:cubicBezTo>
                <a:cubicBezTo>
                  <a:pt x="233" y="662"/>
                  <a:pt x="249" y="666"/>
                  <a:pt x="262" y="668"/>
                </a:cubicBezTo>
                <a:cubicBezTo>
                  <a:pt x="261" y="668"/>
                  <a:pt x="261" y="668"/>
                  <a:pt x="261" y="668"/>
                </a:cubicBezTo>
                <a:cubicBezTo>
                  <a:pt x="298" y="671"/>
                  <a:pt x="334" y="672"/>
                  <a:pt x="369" y="672"/>
                </a:cubicBezTo>
                <a:cubicBezTo>
                  <a:pt x="404" y="672"/>
                  <a:pt x="439" y="672"/>
                  <a:pt x="476" y="673"/>
                </a:cubicBezTo>
                <a:cubicBezTo>
                  <a:pt x="509" y="677"/>
                  <a:pt x="549" y="671"/>
                  <a:pt x="587" y="673"/>
                </a:cubicBezTo>
                <a:cubicBezTo>
                  <a:pt x="594" y="676"/>
                  <a:pt x="672" y="671"/>
                  <a:pt x="679" y="669"/>
                </a:cubicBezTo>
                <a:cubicBezTo>
                  <a:pt x="670" y="666"/>
                  <a:pt x="670" y="666"/>
                  <a:pt x="670" y="666"/>
                </a:cubicBezTo>
                <a:cubicBezTo>
                  <a:pt x="699" y="664"/>
                  <a:pt x="713" y="666"/>
                  <a:pt x="738" y="662"/>
                </a:cubicBezTo>
                <a:cubicBezTo>
                  <a:pt x="736" y="663"/>
                  <a:pt x="736" y="663"/>
                  <a:pt x="736" y="663"/>
                </a:cubicBezTo>
                <a:cubicBezTo>
                  <a:pt x="739" y="663"/>
                  <a:pt x="738" y="662"/>
                  <a:pt x="739" y="661"/>
                </a:cubicBezTo>
                <a:cubicBezTo>
                  <a:pt x="740" y="660"/>
                  <a:pt x="742" y="661"/>
                  <a:pt x="747" y="665"/>
                </a:cubicBezTo>
                <a:cubicBezTo>
                  <a:pt x="747" y="665"/>
                  <a:pt x="747" y="665"/>
                  <a:pt x="747" y="665"/>
                </a:cubicBezTo>
                <a:cubicBezTo>
                  <a:pt x="747" y="665"/>
                  <a:pt x="747" y="665"/>
                  <a:pt x="747" y="665"/>
                </a:cubicBezTo>
                <a:cubicBezTo>
                  <a:pt x="746" y="663"/>
                  <a:pt x="746" y="663"/>
                  <a:pt x="746" y="663"/>
                </a:cubicBezTo>
                <a:cubicBezTo>
                  <a:pt x="747" y="663"/>
                  <a:pt x="747" y="661"/>
                  <a:pt x="748" y="661"/>
                </a:cubicBezTo>
                <a:cubicBezTo>
                  <a:pt x="749" y="661"/>
                  <a:pt x="749" y="662"/>
                  <a:pt x="749" y="662"/>
                </a:cubicBezTo>
                <a:cubicBezTo>
                  <a:pt x="751" y="662"/>
                  <a:pt x="751" y="662"/>
                  <a:pt x="751" y="662"/>
                </a:cubicBezTo>
                <a:cubicBezTo>
                  <a:pt x="752" y="664"/>
                  <a:pt x="752" y="664"/>
                  <a:pt x="752" y="664"/>
                </a:cubicBezTo>
                <a:cubicBezTo>
                  <a:pt x="753" y="662"/>
                  <a:pt x="753" y="658"/>
                  <a:pt x="755" y="660"/>
                </a:cubicBezTo>
                <a:cubicBezTo>
                  <a:pt x="754" y="657"/>
                  <a:pt x="756" y="658"/>
                  <a:pt x="755" y="657"/>
                </a:cubicBezTo>
                <a:cubicBezTo>
                  <a:pt x="756" y="657"/>
                  <a:pt x="756" y="658"/>
                  <a:pt x="756" y="658"/>
                </a:cubicBezTo>
                <a:cubicBezTo>
                  <a:pt x="757" y="658"/>
                  <a:pt x="760" y="657"/>
                  <a:pt x="760" y="655"/>
                </a:cubicBezTo>
                <a:close/>
                <a:moveTo>
                  <a:pt x="749" y="662"/>
                </a:moveTo>
                <a:cubicBezTo>
                  <a:pt x="749" y="662"/>
                  <a:pt x="749" y="662"/>
                  <a:pt x="749" y="662"/>
                </a:cubicBezTo>
                <a:cubicBezTo>
                  <a:pt x="749" y="663"/>
                  <a:pt x="749" y="663"/>
                  <a:pt x="749" y="662"/>
                </a:cubicBezTo>
                <a:close/>
                <a:moveTo>
                  <a:pt x="632" y="637"/>
                </a:moveTo>
                <a:cubicBezTo>
                  <a:pt x="632" y="637"/>
                  <a:pt x="632" y="637"/>
                  <a:pt x="632" y="637"/>
                </a:cubicBezTo>
                <a:cubicBezTo>
                  <a:pt x="630" y="635"/>
                  <a:pt x="630" y="635"/>
                  <a:pt x="630" y="635"/>
                </a:cubicBezTo>
                <a:lnTo>
                  <a:pt x="632" y="637"/>
                </a:lnTo>
                <a:close/>
                <a:moveTo>
                  <a:pt x="730" y="632"/>
                </a:moveTo>
                <a:cubicBezTo>
                  <a:pt x="732" y="632"/>
                  <a:pt x="733" y="632"/>
                  <a:pt x="734" y="631"/>
                </a:cubicBezTo>
                <a:cubicBezTo>
                  <a:pt x="730" y="631"/>
                  <a:pt x="730" y="632"/>
                  <a:pt x="730" y="632"/>
                </a:cubicBezTo>
                <a:close/>
                <a:moveTo>
                  <a:pt x="756" y="660"/>
                </a:moveTo>
                <a:cubicBezTo>
                  <a:pt x="757" y="660"/>
                  <a:pt x="756" y="659"/>
                  <a:pt x="756" y="658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56" y="659"/>
                  <a:pt x="756" y="659"/>
                  <a:pt x="756" y="660"/>
                </a:cubicBezTo>
                <a:close/>
                <a:moveTo>
                  <a:pt x="753" y="645"/>
                </a:moveTo>
                <a:cubicBezTo>
                  <a:pt x="753" y="644"/>
                  <a:pt x="753" y="644"/>
                  <a:pt x="753" y="644"/>
                </a:cubicBezTo>
                <a:cubicBezTo>
                  <a:pt x="753" y="644"/>
                  <a:pt x="753" y="644"/>
                  <a:pt x="753" y="645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45" name="Freeform 6"/>
          <p:cNvSpPr>
            <a:spLocks noEditPoints="1"/>
          </p:cNvSpPr>
          <p:nvPr/>
        </p:nvSpPr>
        <p:spPr bwMode="auto">
          <a:xfrm rot="5400000" flipH="1">
            <a:off x="2518768" y="2680692"/>
            <a:ext cx="960834" cy="854869"/>
          </a:xfrm>
          <a:custGeom>
            <a:avLst/>
            <a:gdLst>
              <a:gd name="T0" fmla="*/ 38 w 760"/>
              <a:gd name="T1" fmla="*/ 89 h 677"/>
              <a:gd name="T2" fmla="*/ 158 w 760"/>
              <a:gd name="T3" fmla="*/ 77 h 677"/>
              <a:gd name="T4" fmla="*/ 163 w 760"/>
              <a:gd name="T5" fmla="*/ 95 h 677"/>
              <a:gd name="T6" fmla="*/ 165 w 760"/>
              <a:gd name="T7" fmla="*/ 105 h 677"/>
              <a:gd name="T8" fmla="*/ 163 w 760"/>
              <a:gd name="T9" fmla="*/ 154 h 677"/>
              <a:gd name="T10" fmla="*/ 373 w 760"/>
              <a:gd name="T11" fmla="*/ 627 h 677"/>
              <a:gd name="T12" fmla="*/ 220 w 760"/>
              <a:gd name="T13" fmla="*/ 622 h 677"/>
              <a:gd name="T14" fmla="*/ 124 w 760"/>
              <a:gd name="T15" fmla="*/ 320 h 677"/>
              <a:gd name="T16" fmla="*/ 124 w 760"/>
              <a:gd name="T17" fmla="*/ 132 h 677"/>
              <a:gd name="T18" fmla="*/ 752 w 760"/>
              <a:gd name="T19" fmla="*/ 643 h 677"/>
              <a:gd name="T20" fmla="*/ 753 w 760"/>
              <a:gd name="T21" fmla="*/ 645 h 677"/>
              <a:gd name="T22" fmla="*/ 750 w 760"/>
              <a:gd name="T23" fmla="*/ 644 h 677"/>
              <a:gd name="T24" fmla="*/ 737 w 760"/>
              <a:gd name="T25" fmla="*/ 636 h 677"/>
              <a:gd name="T26" fmla="*/ 700 w 760"/>
              <a:gd name="T27" fmla="*/ 632 h 677"/>
              <a:gd name="T28" fmla="*/ 632 w 760"/>
              <a:gd name="T29" fmla="*/ 637 h 677"/>
              <a:gd name="T30" fmla="*/ 586 w 760"/>
              <a:gd name="T31" fmla="*/ 635 h 677"/>
              <a:gd name="T32" fmla="*/ 575 w 760"/>
              <a:gd name="T33" fmla="*/ 634 h 677"/>
              <a:gd name="T34" fmla="*/ 467 w 760"/>
              <a:gd name="T35" fmla="*/ 628 h 677"/>
              <a:gd name="T36" fmla="*/ 430 w 760"/>
              <a:gd name="T37" fmla="*/ 632 h 677"/>
              <a:gd name="T38" fmla="*/ 369 w 760"/>
              <a:gd name="T39" fmla="*/ 633 h 677"/>
              <a:gd name="T40" fmla="*/ 327 w 760"/>
              <a:gd name="T41" fmla="*/ 632 h 677"/>
              <a:gd name="T42" fmla="*/ 276 w 760"/>
              <a:gd name="T43" fmla="*/ 628 h 677"/>
              <a:gd name="T44" fmla="*/ 253 w 760"/>
              <a:gd name="T45" fmla="*/ 625 h 677"/>
              <a:gd name="T46" fmla="*/ 217 w 760"/>
              <a:gd name="T47" fmla="*/ 621 h 677"/>
              <a:gd name="T48" fmla="*/ 173 w 760"/>
              <a:gd name="T49" fmla="*/ 607 h 677"/>
              <a:gd name="T50" fmla="*/ 131 w 760"/>
              <a:gd name="T51" fmla="*/ 479 h 677"/>
              <a:gd name="T52" fmla="*/ 128 w 760"/>
              <a:gd name="T53" fmla="*/ 414 h 677"/>
              <a:gd name="T54" fmla="*/ 125 w 760"/>
              <a:gd name="T55" fmla="*/ 224 h 677"/>
              <a:gd name="T56" fmla="*/ 123 w 760"/>
              <a:gd name="T57" fmla="*/ 102 h 677"/>
              <a:gd name="T58" fmla="*/ 153 w 760"/>
              <a:gd name="T59" fmla="*/ 149 h 677"/>
              <a:gd name="T60" fmla="*/ 165 w 760"/>
              <a:gd name="T61" fmla="*/ 153 h 677"/>
              <a:gd name="T62" fmla="*/ 175 w 760"/>
              <a:gd name="T63" fmla="*/ 142 h 677"/>
              <a:gd name="T64" fmla="*/ 176 w 760"/>
              <a:gd name="T65" fmla="*/ 125 h 677"/>
              <a:gd name="T66" fmla="*/ 172 w 760"/>
              <a:gd name="T67" fmla="*/ 110 h 677"/>
              <a:gd name="T68" fmla="*/ 160 w 760"/>
              <a:gd name="T69" fmla="*/ 105 h 677"/>
              <a:gd name="T70" fmla="*/ 163 w 760"/>
              <a:gd name="T71" fmla="*/ 95 h 677"/>
              <a:gd name="T72" fmla="*/ 161 w 760"/>
              <a:gd name="T73" fmla="*/ 89 h 677"/>
              <a:gd name="T74" fmla="*/ 155 w 760"/>
              <a:gd name="T75" fmla="*/ 68 h 677"/>
              <a:gd name="T76" fmla="*/ 151 w 760"/>
              <a:gd name="T77" fmla="*/ 63 h 677"/>
              <a:gd name="T78" fmla="*/ 138 w 760"/>
              <a:gd name="T79" fmla="*/ 45 h 677"/>
              <a:gd name="T80" fmla="*/ 131 w 760"/>
              <a:gd name="T81" fmla="*/ 32 h 677"/>
              <a:gd name="T82" fmla="*/ 124 w 760"/>
              <a:gd name="T83" fmla="*/ 16 h 677"/>
              <a:gd name="T84" fmla="*/ 121 w 760"/>
              <a:gd name="T85" fmla="*/ 4 h 677"/>
              <a:gd name="T86" fmla="*/ 113 w 760"/>
              <a:gd name="T87" fmla="*/ 19 h 677"/>
              <a:gd name="T88" fmla="*/ 107 w 760"/>
              <a:gd name="T89" fmla="*/ 25 h 677"/>
              <a:gd name="T90" fmla="*/ 77 w 760"/>
              <a:gd name="T91" fmla="*/ 49 h 677"/>
              <a:gd name="T92" fmla="*/ 55 w 760"/>
              <a:gd name="T93" fmla="*/ 72 h 677"/>
              <a:gd name="T94" fmla="*/ 39 w 760"/>
              <a:gd name="T95" fmla="*/ 89 h 677"/>
              <a:gd name="T96" fmla="*/ 14 w 760"/>
              <a:gd name="T97" fmla="*/ 106 h 677"/>
              <a:gd name="T98" fmla="*/ 20 w 760"/>
              <a:gd name="T99" fmla="*/ 148 h 677"/>
              <a:gd name="T100" fmla="*/ 87 w 760"/>
              <a:gd name="T101" fmla="*/ 101 h 677"/>
              <a:gd name="T102" fmla="*/ 96 w 760"/>
              <a:gd name="T103" fmla="*/ 523 h 677"/>
              <a:gd name="T104" fmla="*/ 214 w 760"/>
              <a:gd name="T105" fmla="*/ 661 h 677"/>
              <a:gd name="T106" fmla="*/ 587 w 760"/>
              <a:gd name="T107" fmla="*/ 673 h 677"/>
              <a:gd name="T108" fmla="*/ 747 w 760"/>
              <a:gd name="T109" fmla="*/ 665 h 677"/>
              <a:gd name="T110" fmla="*/ 756 w 760"/>
              <a:gd name="T111" fmla="*/ 658 h 677"/>
              <a:gd name="T112" fmla="*/ 632 w 760"/>
              <a:gd name="T113" fmla="*/ 637 h 677"/>
              <a:gd name="T114" fmla="*/ 753 w 760"/>
              <a:gd name="T115" fmla="*/ 645 h 6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60" h="677">
                <a:moveTo>
                  <a:pt x="144" y="39"/>
                </a:moveTo>
                <a:cubicBezTo>
                  <a:pt x="144" y="39"/>
                  <a:pt x="144" y="40"/>
                  <a:pt x="143" y="40"/>
                </a:cubicBezTo>
                <a:cubicBezTo>
                  <a:pt x="143" y="40"/>
                  <a:pt x="143" y="40"/>
                  <a:pt x="143" y="40"/>
                </a:cubicBezTo>
                <a:lnTo>
                  <a:pt x="144" y="39"/>
                </a:lnTo>
                <a:close/>
                <a:moveTo>
                  <a:pt x="153" y="65"/>
                </a:move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4"/>
                  <a:pt x="153" y="65"/>
                </a:cubicBezTo>
                <a:close/>
                <a:moveTo>
                  <a:pt x="38" y="89"/>
                </a:moveTo>
                <a:cubicBezTo>
                  <a:pt x="38" y="89"/>
                  <a:pt x="38" y="89"/>
                  <a:pt x="38" y="89"/>
                </a:cubicBezTo>
                <a:cubicBezTo>
                  <a:pt x="38" y="89"/>
                  <a:pt x="38" y="89"/>
                  <a:pt x="38" y="89"/>
                </a:cubicBezTo>
                <a:close/>
                <a:moveTo>
                  <a:pt x="38" y="89"/>
                </a:moveTo>
                <a:cubicBezTo>
                  <a:pt x="39" y="90"/>
                  <a:pt x="39" y="90"/>
                  <a:pt x="39" y="89"/>
                </a:cubicBezTo>
                <a:cubicBezTo>
                  <a:pt x="38" y="88"/>
                  <a:pt x="38" y="89"/>
                  <a:pt x="38" y="88"/>
                </a:cubicBezTo>
                <a:cubicBezTo>
                  <a:pt x="38" y="89"/>
                  <a:pt x="38" y="89"/>
                  <a:pt x="38" y="89"/>
                </a:cubicBezTo>
                <a:close/>
                <a:moveTo>
                  <a:pt x="159" y="76"/>
                </a:moveTo>
                <a:cubicBezTo>
                  <a:pt x="158" y="77"/>
                  <a:pt x="158" y="77"/>
                  <a:pt x="158" y="77"/>
                </a:cubicBezTo>
                <a:cubicBezTo>
                  <a:pt x="158" y="77"/>
                  <a:pt x="158" y="77"/>
                  <a:pt x="158" y="77"/>
                </a:cubicBezTo>
                <a:lnTo>
                  <a:pt x="159" y="76"/>
                </a:lnTo>
                <a:close/>
                <a:moveTo>
                  <a:pt x="175" y="142"/>
                </a:moveTo>
                <a:cubicBezTo>
                  <a:pt x="174" y="143"/>
                  <a:pt x="174" y="143"/>
                  <a:pt x="174" y="143"/>
                </a:cubicBezTo>
                <a:cubicBezTo>
                  <a:pt x="174" y="143"/>
                  <a:pt x="175" y="143"/>
                  <a:pt x="175" y="143"/>
                </a:cubicBezTo>
                <a:lnTo>
                  <a:pt x="175" y="142"/>
                </a:lnTo>
                <a:close/>
                <a:moveTo>
                  <a:pt x="163" y="95"/>
                </a:moveTo>
                <a:cubicBezTo>
                  <a:pt x="163" y="95"/>
                  <a:pt x="163" y="95"/>
                  <a:pt x="163" y="95"/>
                </a:cubicBezTo>
                <a:cubicBezTo>
                  <a:pt x="163" y="94"/>
                  <a:pt x="163" y="93"/>
                  <a:pt x="162" y="93"/>
                </a:cubicBezTo>
                <a:cubicBezTo>
                  <a:pt x="161" y="93"/>
                  <a:pt x="161" y="93"/>
                  <a:pt x="161" y="93"/>
                </a:cubicBezTo>
                <a:lnTo>
                  <a:pt x="163" y="95"/>
                </a:lnTo>
                <a:close/>
                <a:moveTo>
                  <a:pt x="157" y="150"/>
                </a:moveTo>
                <a:cubicBezTo>
                  <a:pt x="157" y="150"/>
                  <a:pt x="157" y="150"/>
                  <a:pt x="157" y="150"/>
                </a:cubicBezTo>
                <a:cubicBezTo>
                  <a:pt x="156" y="151"/>
                  <a:pt x="156" y="150"/>
                  <a:pt x="157" y="150"/>
                </a:cubicBezTo>
                <a:close/>
                <a:moveTo>
                  <a:pt x="165" y="105"/>
                </a:moveTo>
                <a:cubicBezTo>
                  <a:pt x="165" y="105"/>
                  <a:pt x="165" y="105"/>
                  <a:pt x="165" y="105"/>
                </a:cubicBezTo>
                <a:cubicBezTo>
                  <a:pt x="166" y="104"/>
                  <a:pt x="166" y="104"/>
                  <a:pt x="166" y="104"/>
                </a:cubicBezTo>
                <a:lnTo>
                  <a:pt x="165" y="105"/>
                </a:lnTo>
                <a:close/>
                <a:moveTo>
                  <a:pt x="177" y="123"/>
                </a:moveTo>
                <a:cubicBezTo>
                  <a:pt x="177" y="122"/>
                  <a:pt x="177" y="122"/>
                  <a:pt x="176" y="123"/>
                </a:cubicBezTo>
                <a:cubicBezTo>
                  <a:pt x="177" y="123"/>
                  <a:pt x="177" y="123"/>
                  <a:pt x="177" y="123"/>
                </a:cubicBezTo>
                <a:close/>
                <a:moveTo>
                  <a:pt x="163" y="155"/>
                </a:moveTo>
                <a:cubicBezTo>
                  <a:pt x="163" y="155"/>
                  <a:pt x="164" y="155"/>
                  <a:pt x="164" y="154"/>
                </a:cubicBezTo>
                <a:cubicBezTo>
                  <a:pt x="163" y="154"/>
                  <a:pt x="163" y="154"/>
                  <a:pt x="163" y="154"/>
                </a:cubicBezTo>
                <a:cubicBezTo>
                  <a:pt x="163" y="154"/>
                  <a:pt x="163" y="155"/>
                  <a:pt x="163" y="155"/>
                </a:cubicBezTo>
                <a:close/>
                <a:moveTo>
                  <a:pt x="175" y="145"/>
                </a:moveTo>
                <a:cubicBezTo>
                  <a:pt x="175" y="144"/>
                  <a:pt x="175" y="144"/>
                  <a:pt x="175" y="144"/>
                </a:cubicBezTo>
                <a:cubicBezTo>
                  <a:pt x="175" y="144"/>
                  <a:pt x="175" y="145"/>
                  <a:pt x="175" y="145"/>
                </a:cubicBezTo>
                <a:close/>
                <a:moveTo>
                  <a:pt x="130" y="440"/>
                </a:moveTo>
                <a:cubicBezTo>
                  <a:pt x="130" y="439"/>
                  <a:pt x="129" y="439"/>
                  <a:pt x="130" y="440"/>
                </a:cubicBezTo>
                <a:close/>
                <a:moveTo>
                  <a:pt x="373" y="627"/>
                </a:moveTo>
                <a:cubicBezTo>
                  <a:pt x="373" y="627"/>
                  <a:pt x="373" y="627"/>
                  <a:pt x="373" y="627"/>
                </a:cubicBezTo>
                <a:cubicBezTo>
                  <a:pt x="374" y="626"/>
                  <a:pt x="374" y="626"/>
                  <a:pt x="374" y="625"/>
                </a:cubicBezTo>
                <a:lnTo>
                  <a:pt x="373" y="627"/>
                </a:lnTo>
                <a:close/>
                <a:moveTo>
                  <a:pt x="439" y="631"/>
                </a:moveTo>
                <a:cubicBezTo>
                  <a:pt x="440" y="631"/>
                  <a:pt x="440" y="631"/>
                  <a:pt x="440" y="631"/>
                </a:cubicBezTo>
                <a:cubicBezTo>
                  <a:pt x="440" y="631"/>
                  <a:pt x="440" y="630"/>
                  <a:pt x="439" y="631"/>
                </a:cubicBezTo>
                <a:close/>
                <a:moveTo>
                  <a:pt x="220" y="622"/>
                </a:moveTo>
                <a:cubicBezTo>
                  <a:pt x="221" y="621"/>
                  <a:pt x="221" y="621"/>
                  <a:pt x="222" y="621"/>
                </a:cubicBezTo>
                <a:cubicBezTo>
                  <a:pt x="221" y="621"/>
                  <a:pt x="221" y="621"/>
                  <a:pt x="220" y="622"/>
                </a:cubicBezTo>
                <a:close/>
                <a:moveTo>
                  <a:pt x="123" y="318"/>
                </a:moveTo>
                <a:cubicBezTo>
                  <a:pt x="123" y="319"/>
                  <a:pt x="123" y="319"/>
                  <a:pt x="123" y="319"/>
                </a:cubicBezTo>
                <a:cubicBezTo>
                  <a:pt x="124" y="318"/>
                  <a:pt x="124" y="318"/>
                  <a:pt x="124" y="318"/>
                </a:cubicBezTo>
                <a:lnTo>
                  <a:pt x="123" y="318"/>
                </a:lnTo>
                <a:close/>
                <a:moveTo>
                  <a:pt x="124" y="320"/>
                </a:moveTo>
                <a:cubicBezTo>
                  <a:pt x="124" y="320"/>
                  <a:pt x="124" y="319"/>
                  <a:pt x="123" y="319"/>
                </a:cubicBezTo>
                <a:cubicBezTo>
                  <a:pt x="123" y="320"/>
                  <a:pt x="123" y="322"/>
                  <a:pt x="123" y="323"/>
                </a:cubicBezTo>
                <a:cubicBezTo>
                  <a:pt x="124" y="323"/>
                  <a:pt x="124" y="321"/>
                  <a:pt x="124" y="320"/>
                </a:cubicBezTo>
                <a:close/>
                <a:moveTo>
                  <a:pt x="124" y="320"/>
                </a:moveTo>
                <a:cubicBezTo>
                  <a:pt x="124" y="320"/>
                  <a:pt x="124" y="320"/>
                  <a:pt x="124" y="320"/>
                </a:cubicBezTo>
                <a:cubicBezTo>
                  <a:pt x="124" y="320"/>
                  <a:pt x="124" y="320"/>
                  <a:pt x="124" y="320"/>
                </a:cubicBezTo>
                <a:close/>
                <a:moveTo>
                  <a:pt x="223" y="663"/>
                </a:moveTo>
                <a:cubicBezTo>
                  <a:pt x="222" y="663"/>
                  <a:pt x="222" y="663"/>
                  <a:pt x="222" y="663"/>
                </a:cubicBezTo>
                <a:cubicBezTo>
                  <a:pt x="222" y="663"/>
                  <a:pt x="222" y="663"/>
                  <a:pt x="223" y="663"/>
                </a:cubicBezTo>
                <a:close/>
                <a:moveTo>
                  <a:pt x="123" y="132"/>
                </a:moveTo>
                <a:cubicBezTo>
                  <a:pt x="124" y="132"/>
                  <a:pt x="124" y="132"/>
                  <a:pt x="124" y="132"/>
                </a:cubicBezTo>
                <a:cubicBezTo>
                  <a:pt x="123" y="132"/>
                  <a:pt x="123" y="132"/>
                  <a:pt x="123" y="132"/>
                </a:cubicBezTo>
                <a:close/>
                <a:moveTo>
                  <a:pt x="501" y="631"/>
                </a:moveTo>
                <a:cubicBezTo>
                  <a:pt x="501" y="632"/>
                  <a:pt x="501" y="632"/>
                  <a:pt x="501" y="632"/>
                </a:cubicBezTo>
                <a:cubicBezTo>
                  <a:pt x="501" y="632"/>
                  <a:pt x="501" y="632"/>
                  <a:pt x="501" y="632"/>
                </a:cubicBezTo>
                <a:lnTo>
                  <a:pt x="501" y="631"/>
                </a:lnTo>
                <a:close/>
                <a:moveTo>
                  <a:pt x="752" y="643"/>
                </a:moveTo>
                <a:cubicBezTo>
                  <a:pt x="751" y="644"/>
                  <a:pt x="751" y="644"/>
                  <a:pt x="751" y="644"/>
                </a:cubicBezTo>
                <a:cubicBezTo>
                  <a:pt x="751" y="644"/>
                  <a:pt x="752" y="643"/>
                  <a:pt x="752" y="643"/>
                </a:cubicBezTo>
                <a:close/>
                <a:moveTo>
                  <a:pt x="585" y="635"/>
                </a:moveTo>
                <a:cubicBezTo>
                  <a:pt x="585" y="635"/>
                  <a:pt x="586" y="635"/>
                  <a:pt x="586" y="635"/>
                </a:cubicBezTo>
                <a:cubicBezTo>
                  <a:pt x="584" y="634"/>
                  <a:pt x="580" y="634"/>
                  <a:pt x="575" y="634"/>
                </a:cubicBezTo>
                <a:cubicBezTo>
                  <a:pt x="575" y="636"/>
                  <a:pt x="575" y="636"/>
                  <a:pt x="575" y="636"/>
                </a:cubicBezTo>
                <a:lnTo>
                  <a:pt x="585" y="635"/>
                </a:lnTo>
                <a:close/>
                <a:moveTo>
                  <a:pt x="760" y="655"/>
                </a:moveTo>
                <a:cubicBezTo>
                  <a:pt x="760" y="655"/>
                  <a:pt x="755" y="649"/>
                  <a:pt x="753" y="646"/>
                </a:cubicBezTo>
                <a:cubicBezTo>
                  <a:pt x="755" y="647"/>
                  <a:pt x="754" y="646"/>
                  <a:pt x="753" y="645"/>
                </a:cubicBezTo>
                <a:cubicBezTo>
                  <a:pt x="753" y="645"/>
                  <a:pt x="753" y="645"/>
                  <a:pt x="753" y="645"/>
                </a:cubicBezTo>
                <a:cubicBezTo>
                  <a:pt x="752" y="645"/>
                  <a:pt x="752" y="643"/>
                  <a:pt x="751" y="642"/>
                </a:cubicBezTo>
                <a:cubicBezTo>
                  <a:pt x="752" y="643"/>
                  <a:pt x="752" y="643"/>
                  <a:pt x="752" y="643"/>
                </a:cubicBezTo>
                <a:cubicBezTo>
                  <a:pt x="752" y="642"/>
                  <a:pt x="752" y="642"/>
                  <a:pt x="752" y="642"/>
                </a:cubicBezTo>
                <a:cubicBezTo>
                  <a:pt x="752" y="643"/>
                  <a:pt x="752" y="643"/>
                  <a:pt x="752" y="643"/>
                </a:cubicBezTo>
                <a:cubicBezTo>
                  <a:pt x="752" y="644"/>
                  <a:pt x="752" y="644"/>
                  <a:pt x="751" y="644"/>
                </a:cubicBezTo>
                <a:cubicBezTo>
                  <a:pt x="751" y="644"/>
                  <a:pt x="751" y="644"/>
                  <a:pt x="751" y="644"/>
                </a:cubicBezTo>
                <a:cubicBezTo>
                  <a:pt x="751" y="644"/>
                  <a:pt x="750" y="644"/>
                  <a:pt x="750" y="644"/>
                </a:cubicBezTo>
                <a:cubicBezTo>
                  <a:pt x="750" y="642"/>
                  <a:pt x="750" y="642"/>
                  <a:pt x="750" y="642"/>
                </a:cubicBezTo>
                <a:cubicBezTo>
                  <a:pt x="749" y="645"/>
                  <a:pt x="744" y="638"/>
                  <a:pt x="743" y="638"/>
                </a:cubicBezTo>
                <a:cubicBezTo>
                  <a:pt x="742" y="636"/>
                  <a:pt x="741" y="638"/>
                  <a:pt x="739" y="637"/>
                </a:cubicBezTo>
                <a:cubicBezTo>
                  <a:pt x="737" y="637"/>
                  <a:pt x="738" y="635"/>
                  <a:pt x="737" y="634"/>
                </a:cubicBezTo>
                <a:cubicBezTo>
                  <a:pt x="737" y="634"/>
                  <a:pt x="737" y="633"/>
                  <a:pt x="736" y="633"/>
                </a:cubicBezTo>
                <a:cubicBezTo>
                  <a:pt x="736" y="633"/>
                  <a:pt x="736" y="633"/>
                  <a:pt x="736" y="634"/>
                </a:cubicBezTo>
                <a:cubicBezTo>
                  <a:pt x="736" y="634"/>
                  <a:pt x="736" y="634"/>
                  <a:pt x="736" y="634"/>
                </a:cubicBezTo>
                <a:cubicBezTo>
                  <a:pt x="737" y="635"/>
                  <a:pt x="737" y="636"/>
                  <a:pt x="737" y="636"/>
                </a:cubicBezTo>
                <a:cubicBezTo>
                  <a:pt x="737" y="636"/>
                  <a:pt x="737" y="635"/>
                  <a:pt x="736" y="635"/>
                </a:cubicBezTo>
                <a:cubicBezTo>
                  <a:pt x="735" y="635"/>
                  <a:pt x="735" y="635"/>
                  <a:pt x="735" y="635"/>
                </a:cubicBezTo>
                <a:cubicBezTo>
                  <a:pt x="733" y="635"/>
                  <a:pt x="733" y="635"/>
                  <a:pt x="733" y="635"/>
                </a:cubicBezTo>
                <a:cubicBezTo>
                  <a:pt x="729" y="634"/>
                  <a:pt x="729" y="634"/>
                  <a:pt x="729" y="634"/>
                </a:cubicBezTo>
                <a:cubicBezTo>
                  <a:pt x="734" y="633"/>
                  <a:pt x="731" y="633"/>
                  <a:pt x="730" y="632"/>
                </a:cubicBezTo>
                <a:cubicBezTo>
                  <a:pt x="723" y="632"/>
                  <a:pt x="712" y="630"/>
                  <a:pt x="710" y="633"/>
                </a:cubicBezTo>
                <a:cubicBezTo>
                  <a:pt x="700" y="632"/>
                  <a:pt x="700" y="631"/>
                  <a:pt x="696" y="631"/>
                </a:cubicBezTo>
                <a:cubicBezTo>
                  <a:pt x="697" y="631"/>
                  <a:pt x="700" y="632"/>
                  <a:pt x="700" y="632"/>
                </a:cubicBezTo>
                <a:cubicBezTo>
                  <a:pt x="696" y="631"/>
                  <a:pt x="698" y="633"/>
                  <a:pt x="700" y="633"/>
                </a:cubicBezTo>
                <a:cubicBezTo>
                  <a:pt x="694" y="635"/>
                  <a:pt x="669" y="628"/>
                  <a:pt x="668" y="632"/>
                </a:cubicBezTo>
                <a:cubicBezTo>
                  <a:pt x="668" y="631"/>
                  <a:pt x="668" y="631"/>
                  <a:pt x="668" y="631"/>
                </a:cubicBezTo>
                <a:cubicBezTo>
                  <a:pt x="667" y="634"/>
                  <a:pt x="669" y="636"/>
                  <a:pt x="665" y="638"/>
                </a:cubicBezTo>
                <a:cubicBezTo>
                  <a:pt x="662" y="637"/>
                  <a:pt x="662" y="637"/>
                  <a:pt x="662" y="637"/>
                </a:cubicBezTo>
                <a:cubicBezTo>
                  <a:pt x="658" y="638"/>
                  <a:pt x="658" y="638"/>
                  <a:pt x="658" y="638"/>
                </a:cubicBezTo>
                <a:cubicBezTo>
                  <a:pt x="655" y="638"/>
                  <a:pt x="656" y="637"/>
                  <a:pt x="656" y="637"/>
                </a:cubicBezTo>
                <a:cubicBezTo>
                  <a:pt x="650" y="638"/>
                  <a:pt x="640" y="637"/>
                  <a:pt x="632" y="637"/>
                </a:cubicBezTo>
                <a:cubicBezTo>
                  <a:pt x="641" y="644"/>
                  <a:pt x="641" y="644"/>
                  <a:pt x="641" y="644"/>
                </a:cubicBezTo>
                <a:cubicBezTo>
                  <a:pt x="634" y="642"/>
                  <a:pt x="622" y="639"/>
                  <a:pt x="620" y="642"/>
                </a:cubicBezTo>
                <a:cubicBezTo>
                  <a:pt x="616" y="639"/>
                  <a:pt x="616" y="639"/>
                  <a:pt x="616" y="639"/>
                </a:cubicBezTo>
                <a:cubicBezTo>
                  <a:pt x="602" y="635"/>
                  <a:pt x="607" y="642"/>
                  <a:pt x="601" y="641"/>
                </a:cubicBezTo>
                <a:cubicBezTo>
                  <a:pt x="594" y="638"/>
                  <a:pt x="594" y="638"/>
                  <a:pt x="594" y="638"/>
                </a:cubicBezTo>
                <a:cubicBezTo>
                  <a:pt x="601" y="638"/>
                  <a:pt x="601" y="638"/>
                  <a:pt x="601" y="638"/>
                </a:cubicBezTo>
                <a:cubicBezTo>
                  <a:pt x="594" y="637"/>
                  <a:pt x="591" y="636"/>
                  <a:pt x="586" y="635"/>
                </a:cubicBezTo>
                <a:cubicBezTo>
                  <a:pt x="586" y="635"/>
                  <a:pt x="586" y="635"/>
                  <a:pt x="586" y="635"/>
                </a:cubicBezTo>
                <a:cubicBezTo>
                  <a:pt x="586" y="635"/>
                  <a:pt x="586" y="635"/>
                  <a:pt x="586" y="635"/>
                </a:cubicBezTo>
                <a:cubicBezTo>
                  <a:pt x="585" y="635"/>
                  <a:pt x="585" y="635"/>
                  <a:pt x="585" y="635"/>
                </a:cubicBezTo>
                <a:cubicBezTo>
                  <a:pt x="585" y="636"/>
                  <a:pt x="581" y="637"/>
                  <a:pt x="576" y="637"/>
                </a:cubicBezTo>
                <a:cubicBezTo>
                  <a:pt x="569" y="637"/>
                  <a:pt x="564" y="639"/>
                  <a:pt x="553" y="637"/>
                </a:cubicBezTo>
                <a:cubicBezTo>
                  <a:pt x="550" y="640"/>
                  <a:pt x="550" y="640"/>
                  <a:pt x="550" y="640"/>
                </a:cubicBezTo>
                <a:cubicBezTo>
                  <a:pt x="542" y="638"/>
                  <a:pt x="542" y="638"/>
                  <a:pt x="542" y="638"/>
                </a:cubicBezTo>
                <a:cubicBezTo>
                  <a:pt x="542" y="636"/>
                  <a:pt x="542" y="636"/>
                  <a:pt x="542" y="636"/>
                </a:cubicBezTo>
                <a:cubicBezTo>
                  <a:pt x="550" y="636"/>
                  <a:pt x="565" y="635"/>
                  <a:pt x="575" y="634"/>
                </a:cubicBezTo>
                <a:cubicBezTo>
                  <a:pt x="576" y="633"/>
                  <a:pt x="576" y="633"/>
                  <a:pt x="576" y="633"/>
                </a:cubicBezTo>
                <a:cubicBezTo>
                  <a:pt x="569" y="634"/>
                  <a:pt x="562" y="635"/>
                  <a:pt x="558" y="635"/>
                </a:cubicBezTo>
                <a:cubicBezTo>
                  <a:pt x="556" y="634"/>
                  <a:pt x="551" y="632"/>
                  <a:pt x="555" y="631"/>
                </a:cubicBezTo>
                <a:cubicBezTo>
                  <a:pt x="551" y="633"/>
                  <a:pt x="551" y="633"/>
                  <a:pt x="551" y="633"/>
                </a:cubicBezTo>
                <a:cubicBezTo>
                  <a:pt x="531" y="634"/>
                  <a:pt x="530" y="634"/>
                  <a:pt x="509" y="632"/>
                </a:cubicBezTo>
                <a:cubicBezTo>
                  <a:pt x="511" y="633"/>
                  <a:pt x="511" y="633"/>
                  <a:pt x="511" y="633"/>
                </a:cubicBezTo>
                <a:cubicBezTo>
                  <a:pt x="507" y="633"/>
                  <a:pt x="502" y="634"/>
                  <a:pt x="501" y="632"/>
                </a:cubicBezTo>
                <a:cubicBezTo>
                  <a:pt x="488" y="632"/>
                  <a:pt x="475" y="631"/>
                  <a:pt x="467" y="628"/>
                </a:cubicBezTo>
                <a:cubicBezTo>
                  <a:pt x="465" y="631"/>
                  <a:pt x="465" y="631"/>
                  <a:pt x="465" y="631"/>
                </a:cubicBezTo>
                <a:cubicBezTo>
                  <a:pt x="462" y="631"/>
                  <a:pt x="458" y="627"/>
                  <a:pt x="457" y="630"/>
                </a:cubicBezTo>
                <a:cubicBezTo>
                  <a:pt x="451" y="631"/>
                  <a:pt x="451" y="631"/>
                  <a:pt x="451" y="631"/>
                </a:cubicBezTo>
                <a:cubicBezTo>
                  <a:pt x="447" y="631"/>
                  <a:pt x="445" y="633"/>
                  <a:pt x="441" y="631"/>
                </a:cubicBezTo>
                <a:cubicBezTo>
                  <a:pt x="441" y="631"/>
                  <a:pt x="441" y="631"/>
                  <a:pt x="441" y="631"/>
                </a:cubicBezTo>
                <a:cubicBezTo>
                  <a:pt x="440" y="631"/>
                  <a:pt x="440" y="631"/>
                  <a:pt x="440" y="631"/>
                </a:cubicBezTo>
                <a:cubicBezTo>
                  <a:pt x="440" y="631"/>
                  <a:pt x="440" y="631"/>
                  <a:pt x="440" y="631"/>
                </a:cubicBezTo>
                <a:cubicBezTo>
                  <a:pt x="431" y="630"/>
                  <a:pt x="440" y="633"/>
                  <a:pt x="430" y="632"/>
                </a:cubicBezTo>
                <a:cubicBezTo>
                  <a:pt x="427" y="630"/>
                  <a:pt x="427" y="635"/>
                  <a:pt x="422" y="634"/>
                </a:cubicBezTo>
                <a:cubicBezTo>
                  <a:pt x="417" y="631"/>
                  <a:pt x="417" y="631"/>
                  <a:pt x="417" y="631"/>
                </a:cubicBezTo>
                <a:cubicBezTo>
                  <a:pt x="409" y="629"/>
                  <a:pt x="407" y="632"/>
                  <a:pt x="395" y="632"/>
                </a:cubicBezTo>
                <a:cubicBezTo>
                  <a:pt x="389" y="631"/>
                  <a:pt x="387" y="628"/>
                  <a:pt x="390" y="625"/>
                </a:cubicBezTo>
                <a:cubicBezTo>
                  <a:pt x="385" y="628"/>
                  <a:pt x="388" y="627"/>
                  <a:pt x="381" y="629"/>
                </a:cubicBezTo>
                <a:cubicBezTo>
                  <a:pt x="380" y="627"/>
                  <a:pt x="381" y="627"/>
                  <a:pt x="382" y="626"/>
                </a:cubicBezTo>
                <a:cubicBezTo>
                  <a:pt x="376" y="624"/>
                  <a:pt x="378" y="627"/>
                  <a:pt x="373" y="627"/>
                </a:cubicBezTo>
                <a:cubicBezTo>
                  <a:pt x="372" y="629"/>
                  <a:pt x="370" y="633"/>
                  <a:pt x="369" y="633"/>
                </a:cubicBezTo>
                <a:cubicBezTo>
                  <a:pt x="371" y="634"/>
                  <a:pt x="371" y="634"/>
                  <a:pt x="371" y="634"/>
                </a:cubicBezTo>
                <a:cubicBezTo>
                  <a:pt x="365" y="635"/>
                  <a:pt x="360" y="636"/>
                  <a:pt x="354" y="635"/>
                </a:cubicBezTo>
                <a:cubicBezTo>
                  <a:pt x="354" y="633"/>
                  <a:pt x="354" y="633"/>
                  <a:pt x="354" y="633"/>
                </a:cubicBezTo>
                <a:cubicBezTo>
                  <a:pt x="348" y="634"/>
                  <a:pt x="348" y="634"/>
                  <a:pt x="348" y="634"/>
                </a:cubicBezTo>
                <a:cubicBezTo>
                  <a:pt x="348" y="632"/>
                  <a:pt x="348" y="632"/>
                  <a:pt x="348" y="632"/>
                </a:cubicBezTo>
                <a:cubicBezTo>
                  <a:pt x="339" y="632"/>
                  <a:pt x="339" y="632"/>
                  <a:pt x="339" y="632"/>
                </a:cubicBezTo>
                <a:cubicBezTo>
                  <a:pt x="340" y="633"/>
                  <a:pt x="340" y="633"/>
                  <a:pt x="340" y="633"/>
                </a:cubicBezTo>
                <a:cubicBezTo>
                  <a:pt x="338" y="633"/>
                  <a:pt x="331" y="633"/>
                  <a:pt x="327" y="632"/>
                </a:cubicBezTo>
                <a:cubicBezTo>
                  <a:pt x="327" y="631"/>
                  <a:pt x="327" y="631"/>
                  <a:pt x="327" y="631"/>
                </a:cubicBezTo>
                <a:cubicBezTo>
                  <a:pt x="316" y="628"/>
                  <a:pt x="307" y="631"/>
                  <a:pt x="294" y="631"/>
                </a:cubicBezTo>
                <a:cubicBezTo>
                  <a:pt x="296" y="629"/>
                  <a:pt x="296" y="629"/>
                  <a:pt x="296" y="629"/>
                </a:cubicBezTo>
                <a:cubicBezTo>
                  <a:pt x="292" y="627"/>
                  <a:pt x="295" y="632"/>
                  <a:pt x="289" y="630"/>
                </a:cubicBezTo>
                <a:cubicBezTo>
                  <a:pt x="289" y="628"/>
                  <a:pt x="289" y="628"/>
                  <a:pt x="289" y="628"/>
                </a:cubicBezTo>
                <a:cubicBezTo>
                  <a:pt x="284" y="631"/>
                  <a:pt x="283" y="627"/>
                  <a:pt x="280" y="626"/>
                </a:cubicBezTo>
                <a:cubicBezTo>
                  <a:pt x="282" y="629"/>
                  <a:pt x="282" y="629"/>
                  <a:pt x="282" y="629"/>
                </a:cubicBezTo>
                <a:cubicBezTo>
                  <a:pt x="276" y="628"/>
                  <a:pt x="276" y="628"/>
                  <a:pt x="276" y="628"/>
                </a:cubicBezTo>
                <a:cubicBezTo>
                  <a:pt x="269" y="626"/>
                  <a:pt x="272" y="624"/>
                  <a:pt x="273" y="622"/>
                </a:cubicBezTo>
                <a:cubicBezTo>
                  <a:pt x="268" y="624"/>
                  <a:pt x="268" y="624"/>
                  <a:pt x="268" y="624"/>
                </a:cubicBezTo>
                <a:cubicBezTo>
                  <a:pt x="268" y="621"/>
                  <a:pt x="268" y="621"/>
                  <a:pt x="268" y="621"/>
                </a:cubicBezTo>
                <a:cubicBezTo>
                  <a:pt x="264" y="624"/>
                  <a:pt x="264" y="621"/>
                  <a:pt x="259" y="622"/>
                </a:cubicBezTo>
                <a:cubicBezTo>
                  <a:pt x="258" y="621"/>
                  <a:pt x="260" y="620"/>
                  <a:pt x="258" y="620"/>
                </a:cubicBezTo>
                <a:cubicBezTo>
                  <a:pt x="248" y="622"/>
                  <a:pt x="248" y="622"/>
                  <a:pt x="248" y="622"/>
                </a:cubicBezTo>
                <a:cubicBezTo>
                  <a:pt x="254" y="621"/>
                  <a:pt x="254" y="621"/>
                  <a:pt x="254" y="621"/>
                </a:cubicBezTo>
                <a:cubicBezTo>
                  <a:pt x="253" y="625"/>
                  <a:pt x="253" y="625"/>
                  <a:pt x="253" y="625"/>
                </a:cubicBezTo>
                <a:cubicBezTo>
                  <a:pt x="247" y="628"/>
                  <a:pt x="245" y="624"/>
                  <a:pt x="241" y="625"/>
                </a:cubicBezTo>
                <a:cubicBezTo>
                  <a:pt x="244" y="624"/>
                  <a:pt x="244" y="624"/>
                  <a:pt x="244" y="624"/>
                </a:cubicBezTo>
                <a:cubicBezTo>
                  <a:pt x="237" y="624"/>
                  <a:pt x="237" y="622"/>
                  <a:pt x="233" y="621"/>
                </a:cubicBezTo>
                <a:cubicBezTo>
                  <a:pt x="234" y="622"/>
                  <a:pt x="236" y="623"/>
                  <a:pt x="233" y="623"/>
                </a:cubicBezTo>
                <a:cubicBezTo>
                  <a:pt x="231" y="623"/>
                  <a:pt x="232" y="622"/>
                  <a:pt x="230" y="621"/>
                </a:cubicBezTo>
                <a:cubicBezTo>
                  <a:pt x="229" y="624"/>
                  <a:pt x="224" y="624"/>
                  <a:pt x="220" y="622"/>
                </a:cubicBezTo>
                <a:cubicBezTo>
                  <a:pt x="220" y="622"/>
                  <a:pt x="220" y="622"/>
                  <a:pt x="220" y="622"/>
                </a:cubicBezTo>
                <a:cubicBezTo>
                  <a:pt x="219" y="622"/>
                  <a:pt x="219" y="622"/>
                  <a:pt x="217" y="621"/>
                </a:cubicBezTo>
                <a:cubicBezTo>
                  <a:pt x="218" y="619"/>
                  <a:pt x="218" y="619"/>
                  <a:pt x="218" y="619"/>
                </a:cubicBezTo>
                <a:cubicBezTo>
                  <a:pt x="214" y="621"/>
                  <a:pt x="214" y="621"/>
                  <a:pt x="214" y="621"/>
                </a:cubicBezTo>
                <a:cubicBezTo>
                  <a:pt x="212" y="620"/>
                  <a:pt x="208" y="621"/>
                  <a:pt x="209" y="619"/>
                </a:cubicBezTo>
                <a:cubicBezTo>
                  <a:pt x="210" y="619"/>
                  <a:pt x="210" y="619"/>
                  <a:pt x="210" y="619"/>
                </a:cubicBezTo>
                <a:cubicBezTo>
                  <a:pt x="204" y="618"/>
                  <a:pt x="198" y="616"/>
                  <a:pt x="192" y="615"/>
                </a:cubicBezTo>
                <a:cubicBezTo>
                  <a:pt x="192" y="612"/>
                  <a:pt x="192" y="612"/>
                  <a:pt x="192" y="612"/>
                </a:cubicBezTo>
                <a:cubicBezTo>
                  <a:pt x="189" y="615"/>
                  <a:pt x="183" y="609"/>
                  <a:pt x="182" y="613"/>
                </a:cubicBezTo>
                <a:cubicBezTo>
                  <a:pt x="180" y="610"/>
                  <a:pt x="169" y="611"/>
                  <a:pt x="173" y="607"/>
                </a:cubicBezTo>
                <a:cubicBezTo>
                  <a:pt x="168" y="605"/>
                  <a:pt x="164" y="604"/>
                  <a:pt x="160" y="603"/>
                </a:cubicBezTo>
                <a:cubicBezTo>
                  <a:pt x="159" y="603"/>
                  <a:pt x="157" y="602"/>
                  <a:pt x="156" y="602"/>
                </a:cubicBezTo>
                <a:cubicBezTo>
                  <a:pt x="156" y="601"/>
                  <a:pt x="155" y="601"/>
                  <a:pt x="154" y="598"/>
                </a:cubicBezTo>
                <a:cubicBezTo>
                  <a:pt x="155" y="596"/>
                  <a:pt x="154" y="592"/>
                  <a:pt x="153" y="588"/>
                </a:cubicBezTo>
                <a:cubicBezTo>
                  <a:pt x="151" y="583"/>
                  <a:pt x="150" y="578"/>
                  <a:pt x="149" y="573"/>
                </a:cubicBezTo>
                <a:cubicBezTo>
                  <a:pt x="143" y="556"/>
                  <a:pt x="140" y="544"/>
                  <a:pt x="136" y="525"/>
                </a:cubicBezTo>
                <a:cubicBezTo>
                  <a:pt x="140" y="512"/>
                  <a:pt x="131" y="495"/>
                  <a:pt x="133" y="482"/>
                </a:cubicBezTo>
                <a:cubicBezTo>
                  <a:pt x="131" y="479"/>
                  <a:pt x="131" y="479"/>
                  <a:pt x="131" y="479"/>
                </a:cubicBezTo>
                <a:cubicBezTo>
                  <a:pt x="133" y="470"/>
                  <a:pt x="128" y="457"/>
                  <a:pt x="131" y="445"/>
                </a:cubicBezTo>
                <a:cubicBezTo>
                  <a:pt x="130" y="442"/>
                  <a:pt x="130" y="440"/>
                  <a:pt x="130" y="440"/>
                </a:cubicBezTo>
                <a:cubicBezTo>
                  <a:pt x="129" y="440"/>
                  <a:pt x="129" y="441"/>
                  <a:pt x="128" y="442"/>
                </a:cubicBezTo>
                <a:cubicBezTo>
                  <a:pt x="129" y="438"/>
                  <a:pt x="127" y="431"/>
                  <a:pt x="130" y="431"/>
                </a:cubicBezTo>
                <a:cubicBezTo>
                  <a:pt x="130" y="432"/>
                  <a:pt x="130" y="432"/>
                  <a:pt x="130" y="432"/>
                </a:cubicBezTo>
                <a:cubicBezTo>
                  <a:pt x="133" y="433"/>
                  <a:pt x="128" y="422"/>
                  <a:pt x="130" y="418"/>
                </a:cubicBezTo>
                <a:cubicBezTo>
                  <a:pt x="128" y="420"/>
                  <a:pt x="128" y="420"/>
                  <a:pt x="128" y="420"/>
                </a:cubicBezTo>
                <a:cubicBezTo>
                  <a:pt x="128" y="414"/>
                  <a:pt x="128" y="414"/>
                  <a:pt x="128" y="414"/>
                </a:cubicBezTo>
                <a:cubicBezTo>
                  <a:pt x="129" y="415"/>
                  <a:pt x="129" y="415"/>
                  <a:pt x="129" y="415"/>
                </a:cubicBezTo>
                <a:cubicBezTo>
                  <a:pt x="121" y="387"/>
                  <a:pt x="130" y="374"/>
                  <a:pt x="124" y="347"/>
                </a:cubicBezTo>
                <a:cubicBezTo>
                  <a:pt x="127" y="351"/>
                  <a:pt x="122" y="342"/>
                  <a:pt x="125" y="342"/>
                </a:cubicBezTo>
                <a:cubicBezTo>
                  <a:pt x="130" y="335"/>
                  <a:pt x="124" y="329"/>
                  <a:pt x="123" y="323"/>
                </a:cubicBezTo>
                <a:cubicBezTo>
                  <a:pt x="123" y="323"/>
                  <a:pt x="123" y="323"/>
                  <a:pt x="122" y="323"/>
                </a:cubicBezTo>
                <a:cubicBezTo>
                  <a:pt x="123" y="313"/>
                  <a:pt x="123" y="313"/>
                  <a:pt x="123" y="313"/>
                </a:cubicBezTo>
                <a:cubicBezTo>
                  <a:pt x="127" y="319"/>
                  <a:pt x="119" y="306"/>
                  <a:pt x="123" y="312"/>
                </a:cubicBezTo>
                <a:cubicBezTo>
                  <a:pt x="126" y="286"/>
                  <a:pt x="123" y="253"/>
                  <a:pt x="125" y="224"/>
                </a:cubicBezTo>
                <a:cubicBezTo>
                  <a:pt x="124" y="225"/>
                  <a:pt x="124" y="225"/>
                  <a:pt x="124" y="225"/>
                </a:cubicBezTo>
                <a:cubicBezTo>
                  <a:pt x="124" y="218"/>
                  <a:pt x="123" y="209"/>
                  <a:pt x="124" y="203"/>
                </a:cubicBezTo>
                <a:cubicBezTo>
                  <a:pt x="126" y="197"/>
                  <a:pt x="122" y="190"/>
                  <a:pt x="122" y="188"/>
                </a:cubicBezTo>
                <a:cubicBezTo>
                  <a:pt x="120" y="182"/>
                  <a:pt x="124" y="177"/>
                  <a:pt x="124" y="179"/>
                </a:cubicBezTo>
                <a:cubicBezTo>
                  <a:pt x="123" y="173"/>
                  <a:pt x="119" y="166"/>
                  <a:pt x="121" y="157"/>
                </a:cubicBezTo>
                <a:cubicBezTo>
                  <a:pt x="125" y="154"/>
                  <a:pt x="118" y="132"/>
                  <a:pt x="123" y="132"/>
                </a:cubicBezTo>
                <a:cubicBezTo>
                  <a:pt x="122" y="132"/>
                  <a:pt x="122" y="132"/>
                  <a:pt x="122" y="132"/>
                </a:cubicBezTo>
                <a:cubicBezTo>
                  <a:pt x="125" y="122"/>
                  <a:pt x="122" y="112"/>
                  <a:pt x="123" y="102"/>
                </a:cubicBezTo>
                <a:cubicBezTo>
                  <a:pt x="126" y="105"/>
                  <a:pt x="129" y="109"/>
                  <a:pt x="130" y="114"/>
                </a:cubicBezTo>
                <a:cubicBezTo>
                  <a:pt x="128" y="117"/>
                  <a:pt x="139" y="131"/>
                  <a:pt x="141" y="131"/>
                </a:cubicBezTo>
                <a:cubicBezTo>
                  <a:pt x="143" y="128"/>
                  <a:pt x="143" y="128"/>
                  <a:pt x="143" y="128"/>
                </a:cubicBezTo>
                <a:cubicBezTo>
                  <a:pt x="147" y="133"/>
                  <a:pt x="146" y="137"/>
                  <a:pt x="151" y="140"/>
                </a:cubicBezTo>
                <a:cubicBezTo>
                  <a:pt x="150" y="140"/>
                  <a:pt x="150" y="140"/>
                  <a:pt x="150" y="140"/>
                </a:cubicBezTo>
                <a:cubicBezTo>
                  <a:pt x="150" y="140"/>
                  <a:pt x="151" y="141"/>
                  <a:pt x="151" y="141"/>
                </a:cubicBezTo>
                <a:cubicBezTo>
                  <a:pt x="152" y="141"/>
                  <a:pt x="156" y="140"/>
                  <a:pt x="154" y="149"/>
                </a:cubicBezTo>
                <a:cubicBezTo>
                  <a:pt x="153" y="149"/>
                  <a:pt x="153" y="149"/>
                  <a:pt x="153" y="149"/>
                </a:cubicBezTo>
                <a:cubicBezTo>
                  <a:pt x="153" y="150"/>
                  <a:pt x="154" y="149"/>
                  <a:pt x="154" y="150"/>
                </a:cubicBezTo>
                <a:cubicBezTo>
                  <a:pt x="154" y="148"/>
                  <a:pt x="154" y="148"/>
                  <a:pt x="154" y="148"/>
                </a:cubicBezTo>
                <a:cubicBezTo>
                  <a:pt x="156" y="148"/>
                  <a:pt x="157" y="148"/>
                  <a:pt x="158" y="149"/>
                </a:cubicBezTo>
                <a:cubicBezTo>
                  <a:pt x="158" y="149"/>
                  <a:pt x="157" y="150"/>
                  <a:pt x="157" y="150"/>
                </a:cubicBezTo>
                <a:cubicBezTo>
                  <a:pt x="159" y="152"/>
                  <a:pt x="159" y="152"/>
                  <a:pt x="159" y="152"/>
                </a:cubicBezTo>
                <a:cubicBezTo>
                  <a:pt x="158" y="154"/>
                  <a:pt x="158" y="154"/>
                  <a:pt x="158" y="154"/>
                </a:cubicBezTo>
                <a:cubicBezTo>
                  <a:pt x="159" y="154"/>
                  <a:pt x="163" y="151"/>
                  <a:pt x="162" y="154"/>
                </a:cubicBezTo>
                <a:cubicBezTo>
                  <a:pt x="164" y="152"/>
                  <a:pt x="164" y="154"/>
                  <a:pt x="165" y="153"/>
                </a:cubicBezTo>
                <a:cubicBezTo>
                  <a:pt x="165" y="153"/>
                  <a:pt x="164" y="154"/>
                  <a:pt x="164" y="154"/>
                </a:cubicBezTo>
                <a:cubicBezTo>
                  <a:pt x="165" y="155"/>
                  <a:pt x="167" y="157"/>
                  <a:pt x="169" y="156"/>
                </a:cubicBezTo>
                <a:cubicBezTo>
                  <a:pt x="169" y="156"/>
                  <a:pt x="171" y="148"/>
                  <a:pt x="173" y="146"/>
                </a:cubicBezTo>
                <a:cubicBezTo>
                  <a:pt x="174" y="147"/>
                  <a:pt x="174" y="146"/>
                  <a:pt x="175" y="145"/>
                </a:cubicBezTo>
                <a:cubicBezTo>
                  <a:pt x="174" y="145"/>
                  <a:pt x="174" y="145"/>
                  <a:pt x="174" y="145"/>
                </a:cubicBezTo>
                <a:cubicBezTo>
                  <a:pt x="174" y="144"/>
                  <a:pt x="175" y="143"/>
                  <a:pt x="176" y="142"/>
                </a:cubicBezTo>
                <a:cubicBezTo>
                  <a:pt x="175" y="142"/>
                  <a:pt x="175" y="142"/>
                  <a:pt x="175" y="142"/>
                </a:cubicBezTo>
                <a:cubicBezTo>
                  <a:pt x="175" y="142"/>
                  <a:pt x="175" y="142"/>
                  <a:pt x="175" y="142"/>
                </a:cubicBezTo>
                <a:cubicBezTo>
                  <a:pt x="175" y="142"/>
                  <a:pt x="175" y="143"/>
                  <a:pt x="175" y="143"/>
                </a:cubicBezTo>
                <a:cubicBezTo>
                  <a:pt x="174" y="143"/>
                  <a:pt x="174" y="143"/>
                  <a:pt x="174" y="143"/>
                </a:cubicBezTo>
                <a:cubicBezTo>
                  <a:pt x="174" y="143"/>
                  <a:pt x="174" y="143"/>
                  <a:pt x="174" y="143"/>
                </a:cubicBezTo>
                <a:cubicBezTo>
                  <a:pt x="174" y="142"/>
                  <a:pt x="174" y="142"/>
                  <a:pt x="174" y="141"/>
                </a:cubicBezTo>
                <a:cubicBezTo>
                  <a:pt x="175" y="140"/>
                  <a:pt x="175" y="140"/>
                  <a:pt x="175" y="140"/>
                </a:cubicBezTo>
                <a:cubicBezTo>
                  <a:pt x="172" y="141"/>
                  <a:pt x="176" y="133"/>
                  <a:pt x="175" y="132"/>
                </a:cubicBezTo>
                <a:cubicBezTo>
                  <a:pt x="176" y="130"/>
                  <a:pt x="174" y="131"/>
                  <a:pt x="174" y="129"/>
                </a:cubicBezTo>
                <a:cubicBezTo>
                  <a:pt x="173" y="127"/>
                  <a:pt x="175" y="127"/>
                  <a:pt x="176" y="125"/>
                </a:cubicBezTo>
                <a:cubicBezTo>
                  <a:pt x="176" y="123"/>
                  <a:pt x="174" y="126"/>
                  <a:pt x="174" y="126"/>
                </a:cubicBezTo>
                <a:cubicBezTo>
                  <a:pt x="175" y="123"/>
                  <a:pt x="175" y="123"/>
                  <a:pt x="175" y="123"/>
                </a:cubicBezTo>
                <a:cubicBezTo>
                  <a:pt x="176" y="124"/>
                  <a:pt x="176" y="123"/>
                  <a:pt x="176" y="123"/>
                </a:cubicBezTo>
                <a:cubicBezTo>
                  <a:pt x="176" y="121"/>
                  <a:pt x="177" y="117"/>
                  <a:pt x="174" y="119"/>
                </a:cubicBezTo>
                <a:cubicBezTo>
                  <a:pt x="174" y="116"/>
                  <a:pt x="175" y="116"/>
                  <a:pt x="175" y="115"/>
                </a:cubicBezTo>
                <a:cubicBezTo>
                  <a:pt x="175" y="115"/>
                  <a:pt x="175" y="116"/>
                  <a:pt x="174" y="116"/>
                </a:cubicBezTo>
                <a:cubicBezTo>
                  <a:pt x="175" y="115"/>
                  <a:pt x="174" y="116"/>
                  <a:pt x="173" y="117"/>
                </a:cubicBezTo>
                <a:cubicBezTo>
                  <a:pt x="172" y="116"/>
                  <a:pt x="175" y="108"/>
                  <a:pt x="172" y="110"/>
                </a:cubicBezTo>
                <a:cubicBezTo>
                  <a:pt x="172" y="109"/>
                  <a:pt x="172" y="109"/>
                  <a:pt x="172" y="109"/>
                </a:cubicBezTo>
                <a:cubicBezTo>
                  <a:pt x="170" y="111"/>
                  <a:pt x="168" y="112"/>
                  <a:pt x="166" y="112"/>
                </a:cubicBezTo>
                <a:cubicBezTo>
                  <a:pt x="167" y="111"/>
                  <a:pt x="167" y="111"/>
                  <a:pt x="167" y="111"/>
                </a:cubicBezTo>
                <a:cubicBezTo>
                  <a:pt x="166" y="111"/>
                  <a:pt x="166" y="111"/>
                  <a:pt x="166" y="111"/>
                </a:cubicBezTo>
                <a:cubicBezTo>
                  <a:pt x="166" y="110"/>
                  <a:pt x="167" y="110"/>
                  <a:pt x="167" y="110"/>
                </a:cubicBezTo>
                <a:cubicBezTo>
                  <a:pt x="165" y="109"/>
                  <a:pt x="166" y="107"/>
                  <a:pt x="165" y="105"/>
                </a:cubicBezTo>
                <a:cubicBezTo>
                  <a:pt x="160" y="110"/>
                  <a:pt x="160" y="110"/>
                  <a:pt x="160" y="110"/>
                </a:cubicBezTo>
                <a:cubicBezTo>
                  <a:pt x="160" y="108"/>
                  <a:pt x="162" y="104"/>
                  <a:pt x="160" y="105"/>
                </a:cubicBezTo>
                <a:cubicBezTo>
                  <a:pt x="161" y="103"/>
                  <a:pt x="161" y="103"/>
                  <a:pt x="161" y="103"/>
                </a:cubicBezTo>
                <a:cubicBezTo>
                  <a:pt x="164" y="98"/>
                  <a:pt x="159" y="102"/>
                  <a:pt x="159" y="101"/>
                </a:cubicBezTo>
                <a:cubicBezTo>
                  <a:pt x="161" y="98"/>
                  <a:pt x="161" y="98"/>
                  <a:pt x="161" y="98"/>
                </a:cubicBezTo>
                <a:cubicBezTo>
                  <a:pt x="161" y="99"/>
                  <a:pt x="161" y="99"/>
                  <a:pt x="161" y="99"/>
                </a:cubicBezTo>
                <a:cubicBezTo>
                  <a:pt x="162" y="97"/>
                  <a:pt x="162" y="96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1" y="95"/>
                  <a:pt x="160" y="95"/>
                  <a:pt x="160" y="94"/>
                </a:cubicBezTo>
                <a:cubicBezTo>
                  <a:pt x="159" y="93"/>
                  <a:pt x="157" y="93"/>
                  <a:pt x="158" y="89"/>
                </a:cubicBezTo>
                <a:cubicBezTo>
                  <a:pt x="156" y="90"/>
                  <a:pt x="156" y="90"/>
                  <a:pt x="156" y="90"/>
                </a:cubicBezTo>
                <a:cubicBezTo>
                  <a:pt x="156" y="88"/>
                  <a:pt x="156" y="88"/>
                  <a:pt x="156" y="88"/>
                </a:cubicBezTo>
                <a:cubicBezTo>
                  <a:pt x="158" y="87"/>
                  <a:pt x="158" y="87"/>
                  <a:pt x="158" y="87"/>
                </a:cubicBezTo>
                <a:cubicBezTo>
                  <a:pt x="159" y="88"/>
                  <a:pt x="161" y="91"/>
                  <a:pt x="162" y="93"/>
                </a:cubicBezTo>
                <a:cubicBezTo>
                  <a:pt x="163" y="92"/>
                  <a:pt x="163" y="92"/>
                  <a:pt x="163" y="92"/>
                </a:cubicBezTo>
                <a:cubicBezTo>
                  <a:pt x="163" y="91"/>
                  <a:pt x="161" y="90"/>
                  <a:pt x="161" y="89"/>
                </a:cubicBezTo>
                <a:cubicBezTo>
                  <a:pt x="161" y="89"/>
                  <a:pt x="162" y="87"/>
                  <a:pt x="164" y="87"/>
                </a:cubicBezTo>
                <a:cubicBezTo>
                  <a:pt x="162" y="87"/>
                  <a:pt x="162" y="87"/>
                  <a:pt x="162" y="87"/>
                </a:cubicBezTo>
                <a:cubicBezTo>
                  <a:pt x="159" y="83"/>
                  <a:pt x="159" y="83"/>
                  <a:pt x="159" y="78"/>
                </a:cubicBezTo>
                <a:cubicBezTo>
                  <a:pt x="158" y="79"/>
                  <a:pt x="158" y="79"/>
                  <a:pt x="158" y="79"/>
                </a:cubicBezTo>
                <a:cubicBezTo>
                  <a:pt x="157" y="78"/>
                  <a:pt x="156" y="78"/>
                  <a:pt x="158" y="77"/>
                </a:cubicBezTo>
                <a:cubicBezTo>
                  <a:pt x="157" y="74"/>
                  <a:pt x="156" y="71"/>
                  <a:pt x="158" y="68"/>
                </a:cubicBezTo>
                <a:cubicBezTo>
                  <a:pt x="156" y="69"/>
                  <a:pt x="156" y="69"/>
                  <a:pt x="156" y="69"/>
                </a:cubicBezTo>
                <a:cubicBezTo>
                  <a:pt x="155" y="69"/>
                  <a:pt x="158" y="66"/>
                  <a:pt x="155" y="68"/>
                </a:cubicBezTo>
                <a:cubicBezTo>
                  <a:pt x="153" y="67"/>
                  <a:pt x="153" y="67"/>
                  <a:pt x="153" y="67"/>
                </a:cubicBezTo>
                <a:cubicBezTo>
                  <a:pt x="153" y="66"/>
                  <a:pt x="152" y="66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4"/>
                  <a:pt x="152" y="64"/>
                  <a:pt x="152" y="64"/>
                </a:cubicBezTo>
                <a:cubicBezTo>
                  <a:pt x="151" y="64"/>
                  <a:pt x="151" y="65"/>
                  <a:pt x="151" y="63"/>
                </a:cubicBezTo>
                <a:cubicBezTo>
                  <a:pt x="151" y="61"/>
                  <a:pt x="147" y="63"/>
                  <a:pt x="147" y="62"/>
                </a:cubicBezTo>
                <a:cubicBezTo>
                  <a:pt x="148" y="60"/>
                  <a:pt x="148" y="59"/>
                  <a:pt x="149" y="58"/>
                </a:cubicBezTo>
                <a:cubicBezTo>
                  <a:pt x="149" y="54"/>
                  <a:pt x="146" y="56"/>
                  <a:pt x="144" y="52"/>
                </a:cubicBezTo>
                <a:cubicBezTo>
                  <a:pt x="144" y="49"/>
                  <a:pt x="145" y="45"/>
                  <a:pt x="148" y="44"/>
                </a:cubicBezTo>
                <a:cubicBezTo>
                  <a:pt x="145" y="45"/>
                  <a:pt x="146" y="45"/>
                  <a:pt x="144" y="44"/>
                </a:cubicBezTo>
                <a:cubicBezTo>
                  <a:pt x="144" y="43"/>
                  <a:pt x="145" y="43"/>
                  <a:pt x="146" y="42"/>
                </a:cubicBezTo>
                <a:cubicBezTo>
                  <a:pt x="146" y="38"/>
                  <a:pt x="144" y="42"/>
                  <a:pt x="143" y="40"/>
                </a:cubicBezTo>
                <a:cubicBezTo>
                  <a:pt x="141" y="42"/>
                  <a:pt x="139" y="45"/>
                  <a:pt x="138" y="45"/>
                </a:cubicBezTo>
                <a:cubicBezTo>
                  <a:pt x="138" y="46"/>
                  <a:pt x="138" y="46"/>
                  <a:pt x="138" y="46"/>
                </a:cubicBezTo>
                <a:cubicBezTo>
                  <a:pt x="136" y="46"/>
                  <a:pt x="135" y="45"/>
                  <a:pt x="135" y="42"/>
                </a:cubicBezTo>
                <a:cubicBezTo>
                  <a:pt x="136" y="40"/>
                  <a:pt x="136" y="40"/>
                  <a:pt x="136" y="40"/>
                </a:cubicBezTo>
                <a:cubicBezTo>
                  <a:pt x="134" y="39"/>
                  <a:pt x="134" y="39"/>
                  <a:pt x="134" y="39"/>
                </a:cubicBezTo>
                <a:cubicBezTo>
                  <a:pt x="135" y="37"/>
                  <a:pt x="135" y="37"/>
                  <a:pt x="135" y="37"/>
                </a:cubicBezTo>
                <a:cubicBezTo>
                  <a:pt x="133" y="35"/>
                  <a:pt x="133" y="35"/>
                  <a:pt x="133" y="35"/>
                </a:cubicBezTo>
                <a:cubicBezTo>
                  <a:pt x="133" y="36"/>
                  <a:pt x="133" y="36"/>
                  <a:pt x="133" y="36"/>
                </a:cubicBezTo>
                <a:cubicBezTo>
                  <a:pt x="133" y="35"/>
                  <a:pt x="132" y="34"/>
                  <a:pt x="131" y="32"/>
                </a:cubicBezTo>
                <a:cubicBezTo>
                  <a:pt x="132" y="31"/>
                  <a:pt x="132" y="31"/>
                  <a:pt x="132" y="31"/>
                </a:cubicBezTo>
                <a:cubicBezTo>
                  <a:pt x="132" y="27"/>
                  <a:pt x="131" y="25"/>
                  <a:pt x="129" y="24"/>
                </a:cubicBezTo>
                <a:cubicBezTo>
                  <a:pt x="128" y="24"/>
                  <a:pt x="127" y="23"/>
                  <a:pt x="126" y="21"/>
                </a:cubicBezTo>
                <a:cubicBezTo>
                  <a:pt x="127" y="19"/>
                  <a:pt x="127" y="19"/>
                  <a:pt x="127" y="19"/>
                </a:cubicBezTo>
                <a:cubicBezTo>
                  <a:pt x="127" y="15"/>
                  <a:pt x="126" y="23"/>
                  <a:pt x="125" y="20"/>
                </a:cubicBezTo>
                <a:cubicBezTo>
                  <a:pt x="126" y="16"/>
                  <a:pt x="126" y="16"/>
                  <a:pt x="126" y="16"/>
                </a:cubicBezTo>
                <a:cubicBezTo>
                  <a:pt x="124" y="20"/>
                  <a:pt x="125" y="13"/>
                  <a:pt x="125" y="10"/>
                </a:cubicBezTo>
                <a:cubicBezTo>
                  <a:pt x="124" y="16"/>
                  <a:pt x="124" y="16"/>
                  <a:pt x="124" y="16"/>
                </a:cubicBezTo>
                <a:cubicBezTo>
                  <a:pt x="123" y="13"/>
                  <a:pt x="123" y="13"/>
                  <a:pt x="123" y="13"/>
                </a:cubicBezTo>
                <a:cubicBezTo>
                  <a:pt x="122" y="9"/>
                  <a:pt x="124" y="5"/>
                  <a:pt x="124" y="3"/>
                </a:cubicBezTo>
                <a:cubicBezTo>
                  <a:pt x="124" y="3"/>
                  <a:pt x="123" y="4"/>
                  <a:pt x="123" y="5"/>
                </a:cubicBezTo>
                <a:cubicBezTo>
                  <a:pt x="123" y="0"/>
                  <a:pt x="123" y="0"/>
                  <a:pt x="123" y="0"/>
                </a:cubicBezTo>
                <a:cubicBezTo>
                  <a:pt x="123" y="1"/>
                  <a:pt x="123" y="1"/>
                  <a:pt x="123" y="1"/>
                </a:cubicBezTo>
                <a:cubicBezTo>
                  <a:pt x="123" y="2"/>
                  <a:pt x="123" y="2"/>
                  <a:pt x="122" y="2"/>
                </a:cubicBezTo>
                <a:cubicBezTo>
                  <a:pt x="122" y="3"/>
                  <a:pt x="122" y="3"/>
                  <a:pt x="122" y="3"/>
                </a:cubicBezTo>
                <a:cubicBezTo>
                  <a:pt x="122" y="2"/>
                  <a:pt x="121" y="2"/>
                  <a:pt x="121" y="4"/>
                </a:cubicBezTo>
                <a:cubicBezTo>
                  <a:pt x="121" y="3"/>
                  <a:pt x="121" y="1"/>
                  <a:pt x="121" y="1"/>
                </a:cubicBezTo>
                <a:cubicBezTo>
                  <a:pt x="117" y="11"/>
                  <a:pt x="117" y="11"/>
                  <a:pt x="117" y="11"/>
                </a:cubicBezTo>
                <a:cubicBezTo>
                  <a:pt x="119" y="6"/>
                  <a:pt x="119" y="6"/>
                  <a:pt x="119" y="6"/>
                </a:cubicBezTo>
                <a:cubicBezTo>
                  <a:pt x="118" y="13"/>
                  <a:pt x="118" y="13"/>
                  <a:pt x="118" y="13"/>
                </a:cubicBezTo>
                <a:cubicBezTo>
                  <a:pt x="116" y="20"/>
                  <a:pt x="116" y="14"/>
                  <a:pt x="115" y="17"/>
                </a:cubicBezTo>
                <a:cubicBezTo>
                  <a:pt x="116" y="15"/>
                  <a:pt x="116" y="15"/>
                  <a:pt x="116" y="15"/>
                </a:cubicBezTo>
                <a:cubicBezTo>
                  <a:pt x="114" y="18"/>
                  <a:pt x="114" y="16"/>
                  <a:pt x="113" y="16"/>
                </a:cubicBezTo>
                <a:cubicBezTo>
                  <a:pt x="113" y="16"/>
                  <a:pt x="114" y="18"/>
                  <a:pt x="113" y="19"/>
                </a:cubicBezTo>
                <a:cubicBezTo>
                  <a:pt x="113" y="20"/>
                  <a:pt x="113" y="17"/>
                  <a:pt x="112" y="17"/>
                </a:cubicBezTo>
                <a:cubicBezTo>
                  <a:pt x="112" y="21"/>
                  <a:pt x="111" y="25"/>
                  <a:pt x="110" y="24"/>
                </a:cubicBezTo>
                <a:cubicBezTo>
                  <a:pt x="110" y="24"/>
                  <a:pt x="110" y="23"/>
                  <a:pt x="110" y="23"/>
                </a:cubicBezTo>
                <a:cubicBezTo>
                  <a:pt x="110" y="24"/>
                  <a:pt x="109" y="25"/>
                  <a:pt x="109" y="25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8" y="25"/>
                  <a:pt x="108" y="25"/>
                  <a:pt x="108" y="25"/>
                </a:cubicBezTo>
                <a:cubicBezTo>
                  <a:pt x="107" y="25"/>
                  <a:pt x="107" y="29"/>
                  <a:pt x="107" y="26"/>
                </a:cubicBezTo>
                <a:cubicBezTo>
                  <a:pt x="107" y="25"/>
                  <a:pt x="107" y="25"/>
                  <a:pt x="107" y="25"/>
                </a:cubicBezTo>
                <a:cubicBezTo>
                  <a:pt x="102" y="30"/>
                  <a:pt x="102" y="30"/>
                  <a:pt x="102" y="30"/>
                </a:cubicBezTo>
                <a:cubicBezTo>
                  <a:pt x="101" y="27"/>
                  <a:pt x="101" y="27"/>
                  <a:pt x="101" y="27"/>
                </a:cubicBezTo>
                <a:cubicBezTo>
                  <a:pt x="101" y="31"/>
                  <a:pt x="98" y="29"/>
                  <a:pt x="99" y="33"/>
                </a:cubicBezTo>
                <a:cubicBezTo>
                  <a:pt x="97" y="32"/>
                  <a:pt x="96" y="39"/>
                  <a:pt x="95" y="34"/>
                </a:cubicBezTo>
                <a:cubicBezTo>
                  <a:pt x="93" y="35"/>
                  <a:pt x="92" y="38"/>
                  <a:pt x="91" y="40"/>
                </a:cubicBezTo>
                <a:cubicBezTo>
                  <a:pt x="89" y="42"/>
                  <a:pt x="88" y="44"/>
                  <a:pt x="85" y="46"/>
                </a:cubicBezTo>
                <a:cubicBezTo>
                  <a:pt x="84" y="45"/>
                  <a:pt x="82" y="46"/>
                  <a:pt x="80" y="47"/>
                </a:cubicBezTo>
                <a:cubicBezTo>
                  <a:pt x="79" y="48"/>
                  <a:pt x="78" y="49"/>
                  <a:pt x="77" y="49"/>
                </a:cubicBezTo>
                <a:cubicBezTo>
                  <a:pt x="77" y="50"/>
                  <a:pt x="76" y="50"/>
                  <a:pt x="76" y="50"/>
                </a:cubicBezTo>
                <a:cubicBezTo>
                  <a:pt x="74" y="54"/>
                  <a:pt x="73" y="57"/>
                  <a:pt x="71" y="61"/>
                </a:cubicBezTo>
                <a:cubicBezTo>
                  <a:pt x="65" y="58"/>
                  <a:pt x="67" y="66"/>
                  <a:pt x="63" y="66"/>
                </a:cubicBezTo>
                <a:cubicBezTo>
                  <a:pt x="64" y="68"/>
                  <a:pt x="64" y="68"/>
                  <a:pt x="64" y="68"/>
                </a:cubicBezTo>
                <a:cubicBezTo>
                  <a:pt x="60" y="66"/>
                  <a:pt x="61" y="71"/>
                  <a:pt x="57" y="70"/>
                </a:cubicBezTo>
                <a:cubicBezTo>
                  <a:pt x="57" y="71"/>
                  <a:pt x="57" y="72"/>
                  <a:pt x="57" y="72"/>
                </a:cubicBezTo>
                <a:cubicBezTo>
                  <a:pt x="57" y="72"/>
                  <a:pt x="57" y="72"/>
                  <a:pt x="58" y="73"/>
                </a:cubicBezTo>
                <a:cubicBezTo>
                  <a:pt x="57" y="73"/>
                  <a:pt x="56" y="75"/>
                  <a:pt x="55" y="72"/>
                </a:cubicBezTo>
                <a:cubicBezTo>
                  <a:pt x="55" y="72"/>
                  <a:pt x="55" y="72"/>
                  <a:pt x="55" y="72"/>
                </a:cubicBezTo>
                <a:cubicBezTo>
                  <a:pt x="53" y="70"/>
                  <a:pt x="54" y="74"/>
                  <a:pt x="52" y="73"/>
                </a:cubicBezTo>
                <a:cubicBezTo>
                  <a:pt x="54" y="75"/>
                  <a:pt x="54" y="75"/>
                  <a:pt x="54" y="75"/>
                </a:cubicBezTo>
                <a:cubicBezTo>
                  <a:pt x="53" y="76"/>
                  <a:pt x="53" y="76"/>
                  <a:pt x="53" y="76"/>
                </a:cubicBezTo>
                <a:cubicBezTo>
                  <a:pt x="52" y="75"/>
                  <a:pt x="52" y="75"/>
                  <a:pt x="52" y="75"/>
                </a:cubicBezTo>
                <a:cubicBezTo>
                  <a:pt x="52" y="84"/>
                  <a:pt x="44" y="78"/>
                  <a:pt x="43" y="86"/>
                </a:cubicBezTo>
                <a:cubicBezTo>
                  <a:pt x="42" y="83"/>
                  <a:pt x="43" y="88"/>
                  <a:pt x="41" y="85"/>
                </a:cubicBezTo>
                <a:cubicBezTo>
                  <a:pt x="37" y="83"/>
                  <a:pt x="39" y="87"/>
                  <a:pt x="39" y="89"/>
                </a:cubicBezTo>
                <a:cubicBezTo>
                  <a:pt x="39" y="89"/>
                  <a:pt x="39" y="89"/>
                  <a:pt x="39" y="90"/>
                </a:cubicBezTo>
                <a:cubicBezTo>
                  <a:pt x="37" y="91"/>
                  <a:pt x="37" y="91"/>
                  <a:pt x="37" y="91"/>
                </a:cubicBezTo>
                <a:cubicBezTo>
                  <a:pt x="36" y="86"/>
                  <a:pt x="38" y="94"/>
                  <a:pt x="37" y="91"/>
                </a:cubicBezTo>
                <a:cubicBezTo>
                  <a:pt x="31" y="91"/>
                  <a:pt x="27" y="98"/>
                  <a:pt x="21" y="100"/>
                </a:cubicBezTo>
                <a:cubicBezTo>
                  <a:pt x="22" y="101"/>
                  <a:pt x="22" y="101"/>
                  <a:pt x="22" y="101"/>
                </a:cubicBezTo>
                <a:cubicBezTo>
                  <a:pt x="20" y="101"/>
                  <a:pt x="19" y="104"/>
                  <a:pt x="18" y="103"/>
                </a:cubicBezTo>
                <a:cubicBezTo>
                  <a:pt x="16" y="102"/>
                  <a:pt x="17" y="106"/>
                  <a:pt x="17" y="107"/>
                </a:cubicBezTo>
                <a:cubicBezTo>
                  <a:pt x="16" y="109"/>
                  <a:pt x="13" y="107"/>
                  <a:pt x="14" y="106"/>
                </a:cubicBezTo>
                <a:cubicBezTo>
                  <a:pt x="13" y="108"/>
                  <a:pt x="14" y="112"/>
                  <a:pt x="12" y="111"/>
                </a:cubicBezTo>
                <a:cubicBezTo>
                  <a:pt x="9" y="109"/>
                  <a:pt x="9" y="117"/>
                  <a:pt x="7" y="114"/>
                </a:cubicBezTo>
                <a:cubicBezTo>
                  <a:pt x="7" y="114"/>
                  <a:pt x="7" y="114"/>
                  <a:pt x="7" y="114"/>
                </a:cubicBezTo>
                <a:cubicBezTo>
                  <a:pt x="3" y="113"/>
                  <a:pt x="4" y="118"/>
                  <a:pt x="0" y="117"/>
                </a:cubicBezTo>
                <a:cubicBezTo>
                  <a:pt x="0" y="117"/>
                  <a:pt x="0" y="117"/>
                  <a:pt x="0" y="117"/>
                </a:cubicBezTo>
                <a:cubicBezTo>
                  <a:pt x="1" y="121"/>
                  <a:pt x="1" y="126"/>
                  <a:pt x="2" y="130"/>
                </a:cubicBezTo>
                <a:cubicBezTo>
                  <a:pt x="10" y="141"/>
                  <a:pt x="10" y="141"/>
                  <a:pt x="10" y="141"/>
                </a:cubicBezTo>
                <a:cubicBezTo>
                  <a:pt x="20" y="148"/>
                  <a:pt x="20" y="148"/>
                  <a:pt x="20" y="148"/>
                </a:cubicBezTo>
                <a:cubicBezTo>
                  <a:pt x="23" y="145"/>
                  <a:pt x="27" y="142"/>
                  <a:pt x="30" y="139"/>
                </a:cubicBezTo>
                <a:cubicBezTo>
                  <a:pt x="42" y="137"/>
                  <a:pt x="42" y="137"/>
                  <a:pt x="42" y="137"/>
                </a:cubicBezTo>
                <a:cubicBezTo>
                  <a:pt x="49" y="132"/>
                  <a:pt x="56" y="127"/>
                  <a:pt x="63" y="121"/>
                </a:cubicBezTo>
                <a:cubicBezTo>
                  <a:pt x="62" y="117"/>
                  <a:pt x="62" y="117"/>
                  <a:pt x="62" y="117"/>
                </a:cubicBezTo>
                <a:cubicBezTo>
                  <a:pt x="70" y="119"/>
                  <a:pt x="72" y="110"/>
                  <a:pt x="78" y="109"/>
                </a:cubicBezTo>
                <a:cubicBezTo>
                  <a:pt x="77" y="107"/>
                  <a:pt x="77" y="107"/>
                  <a:pt x="77" y="107"/>
                </a:cubicBezTo>
                <a:cubicBezTo>
                  <a:pt x="78" y="106"/>
                  <a:pt x="79" y="108"/>
                  <a:pt x="79" y="108"/>
                </a:cubicBezTo>
                <a:cubicBezTo>
                  <a:pt x="82" y="105"/>
                  <a:pt x="85" y="103"/>
                  <a:pt x="87" y="101"/>
                </a:cubicBezTo>
                <a:cubicBezTo>
                  <a:pt x="87" y="121"/>
                  <a:pt x="87" y="141"/>
                  <a:pt x="88" y="160"/>
                </a:cubicBezTo>
                <a:cubicBezTo>
                  <a:pt x="82" y="209"/>
                  <a:pt x="82" y="209"/>
                  <a:pt x="82" y="209"/>
                </a:cubicBezTo>
                <a:cubicBezTo>
                  <a:pt x="82" y="249"/>
                  <a:pt x="82" y="288"/>
                  <a:pt x="83" y="328"/>
                </a:cubicBezTo>
                <a:cubicBezTo>
                  <a:pt x="87" y="336"/>
                  <a:pt x="87" y="336"/>
                  <a:pt x="87" y="336"/>
                </a:cubicBezTo>
                <a:cubicBezTo>
                  <a:pt x="81" y="359"/>
                  <a:pt x="88" y="389"/>
                  <a:pt x="85" y="415"/>
                </a:cubicBezTo>
                <a:cubicBezTo>
                  <a:pt x="88" y="415"/>
                  <a:pt x="88" y="415"/>
                  <a:pt x="88" y="415"/>
                </a:cubicBezTo>
                <a:cubicBezTo>
                  <a:pt x="89" y="422"/>
                  <a:pt x="87" y="422"/>
                  <a:pt x="86" y="423"/>
                </a:cubicBezTo>
                <a:cubicBezTo>
                  <a:pt x="88" y="456"/>
                  <a:pt x="91" y="490"/>
                  <a:pt x="96" y="523"/>
                </a:cubicBezTo>
                <a:cubicBezTo>
                  <a:pt x="98" y="539"/>
                  <a:pt x="100" y="556"/>
                  <a:pt x="103" y="572"/>
                </a:cubicBezTo>
                <a:cubicBezTo>
                  <a:pt x="105" y="580"/>
                  <a:pt x="107" y="588"/>
                  <a:pt x="109" y="597"/>
                </a:cubicBezTo>
                <a:cubicBezTo>
                  <a:pt x="112" y="605"/>
                  <a:pt x="114" y="613"/>
                  <a:pt x="120" y="623"/>
                </a:cubicBezTo>
                <a:cubicBezTo>
                  <a:pt x="121" y="625"/>
                  <a:pt x="123" y="628"/>
                  <a:pt x="126" y="632"/>
                </a:cubicBezTo>
                <a:cubicBezTo>
                  <a:pt x="129" y="635"/>
                  <a:pt x="133" y="638"/>
                  <a:pt x="136" y="640"/>
                </a:cubicBezTo>
                <a:cubicBezTo>
                  <a:pt x="143" y="644"/>
                  <a:pt x="149" y="647"/>
                  <a:pt x="151" y="649"/>
                </a:cubicBezTo>
                <a:cubicBezTo>
                  <a:pt x="163" y="652"/>
                  <a:pt x="173" y="654"/>
                  <a:pt x="184" y="655"/>
                </a:cubicBezTo>
                <a:cubicBezTo>
                  <a:pt x="194" y="657"/>
                  <a:pt x="204" y="659"/>
                  <a:pt x="214" y="661"/>
                </a:cubicBezTo>
                <a:cubicBezTo>
                  <a:pt x="213" y="661"/>
                  <a:pt x="213" y="661"/>
                  <a:pt x="213" y="661"/>
                </a:cubicBezTo>
                <a:cubicBezTo>
                  <a:pt x="223" y="662"/>
                  <a:pt x="223" y="662"/>
                  <a:pt x="223" y="662"/>
                </a:cubicBezTo>
                <a:cubicBezTo>
                  <a:pt x="223" y="662"/>
                  <a:pt x="223" y="662"/>
                  <a:pt x="223" y="663"/>
                </a:cubicBezTo>
                <a:cubicBezTo>
                  <a:pt x="233" y="662"/>
                  <a:pt x="249" y="666"/>
                  <a:pt x="262" y="668"/>
                </a:cubicBezTo>
                <a:cubicBezTo>
                  <a:pt x="261" y="668"/>
                  <a:pt x="261" y="668"/>
                  <a:pt x="261" y="668"/>
                </a:cubicBezTo>
                <a:cubicBezTo>
                  <a:pt x="298" y="671"/>
                  <a:pt x="334" y="672"/>
                  <a:pt x="369" y="672"/>
                </a:cubicBezTo>
                <a:cubicBezTo>
                  <a:pt x="404" y="672"/>
                  <a:pt x="439" y="672"/>
                  <a:pt x="476" y="673"/>
                </a:cubicBezTo>
                <a:cubicBezTo>
                  <a:pt x="509" y="677"/>
                  <a:pt x="549" y="671"/>
                  <a:pt x="587" y="673"/>
                </a:cubicBezTo>
                <a:cubicBezTo>
                  <a:pt x="594" y="676"/>
                  <a:pt x="672" y="671"/>
                  <a:pt x="679" y="669"/>
                </a:cubicBezTo>
                <a:cubicBezTo>
                  <a:pt x="670" y="666"/>
                  <a:pt x="670" y="666"/>
                  <a:pt x="670" y="666"/>
                </a:cubicBezTo>
                <a:cubicBezTo>
                  <a:pt x="699" y="664"/>
                  <a:pt x="713" y="666"/>
                  <a:pt x="738" y="662"/>
                </a:cubicBezTo>
                <a:cubicBezTo>
                  <a:pt x="736" y="663"/>
                  <a:pt x="736" y="663"/>
                  <a:pt x="736" y="663"/>
                </a:cubicBezTo>
                <a:cubicBezTo>
                  <a:pt x="739" y="663"/>
                  <a:pt x="738" y="662"/>
                  <a:pt x="739" y="661"/>
                </a:cubicBezTo>
                <a:cubicBezTo>
                  <a:pt x="740" y="660"/>
                  <a:pt x="742" y="661"/>
                  <a:pt x="747" y="665"/>
                </a:cubicBezTo>
                <a:cubicBezTo>
                  <a:pt x="747" y="665"/>
                  <a:pt x="747" y="665"/>
                  <a:pt x="747" y="665"/>
                </a:cubicBezTo>
                <a:cubicBezTo>
                  <a:pt x="747" y="665"/>
                  <a:pt x="747" y="665"/>
                  <a:pt x="747" y="665"/>
                </a:cubicBezTo>
                <a:cubicBezTo>
                  <a:pt x="746" y="663"/>
                  <a:pt x="746" y="663"/>
                  <a:pt x="746" y="663"/>
                </a:cubicBezTo>
                <a:cubicBezTo>
                  <a:pt x="747" y="663"/>
                  <a:pt x="747" y="661"/>
                  <a:pt x="748" y="661"/>
                </a:cubicBezTo>
                <a:cubicBezTo>
                  <a:pt x="749" y="661"/>
                  <a:pt x="749" y="662"/>
                  <a:pt x="749" y="662"/>
                </a:cubicBezTo>
                <a:cubicBezTo>
                  <a:pt x="751" y="662"/>
                  <a:pt x="751" y="662"/>
                  <a:pt x="751" y="662"/>
                </a:cubicBezTo>
                <a:cubicBezTo>
                  <a:pt x="752" y="664"/>
                  <a:pt x="752" y="664"/>
                  <a:pt x="752" y="664"/>
                </a:cubicBezTo>
                <a:cubicBezTo>
                  <a:pt x="753" y="662"/>
                  <a:pt x="753" y="658"/>
                  <a:pt x="755" y="660"/>
                </a:cubicBezTo>
                <a:cubicBezTo>
                  <a:pt x="754" y="657"/>
                  <a:pt x="756" y="658"/>
                  <a:pt x="755" y="657"/>
                </a:cubicBezTo>
                <a:cubicBezTo>
                  <a:pt x="756" y="657"/>
                  <a:pt x="756" y="658"/>
                  <a:pt x="756" y="658"/>
                </a:cubicBezTo>
                <a:cubicBezTo>
                  <a:pt x="757" y="658"/>
                  <a:pt x="760" y="657"/>
                  <a:pt x="760" y="655"/>
                </a:cubicBezTo>
                <a:close/>
                <a:moveTo>
                  <a:pt x="749" y="662"/>
                </a:moveTo>
                <a:cubicBezTo>
                  <a:pt x="749" y="662"/>
                  <a:pt x="749" y="662"/>
                  <a:pt x="749" y="662"/>
                </a:cubicBezTo>
                <a:cubicBezTo>
                  <a:pt x="749" y="663"/>
                  <a:pt x="749" y="663"/>
                  <a:pt x="749" y="662"/>
                </a:cubicBezTo>
                <a:close/>
                <a:moveTo>
                  <a:pt x="632" y="637"/>
                </a:moveTo>
                <a:cubicBezTo>
                  <a:pt x="632" y="637"/>
                  <a:pt x="632" y="637"/>
                  <a:pt x="632" y="637"/>
                </a:cubicBezTo>
                <a:cubicBezTo>
                  <a:pt x="630" y="635"/>
                  <a:pt x="630" y="635"/>
                  <a:pt x="630" y="635"/>
                </a:cubicBezTo>
                <a:lnTo>
                  <a:pt x="632" y="637"/>
                </a:lnTo>
                <a:close/>
                <a:moveTo>
                  <a:pt x="730" y="632"/>
                </a:moveTo>
                <a:cubicBezTo>
                  <a:pt x="732" y="632"/>
                  <a:pt x="733" y="632"/>
                  <a:pt x="734" y="631"/>
                </a:cubicBezTo>
                <a:cubicBezTo>
                  <a:pt x="730" y="631"/>
                  <a:pt x="730" y="632"/>
                  <a:pt x="730" y="632"/>
                </a:cubicBezTo>
                <a:close/>
                <a:moveTo>
                  <a:pt x="756" y="660"/>
                </a:moveTo>
                <a:cubicBezTo>
                  <a:pt x="757" y="660"/>
                  <a:pt x="756" y="659"/>
                  <a:pt x="756" y="658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56" y="659"/>
                  <a:pt x="756" y="659"/>
                  <a:pt x="756" y="660"/>
                </a:cubicBezTo>
                <a:close/>
                <a:moveTo>
                  <a:pt x="753" y="645"/>
                </a:moveTo>
                <a:cubicBezTo>
                  <a:pt x="753" y="644"/>
                  <a:pt x="753" y="644"/>
                  <a:pt x="753" y="644"/>
                </a:cubicBezTo>
                <a:cubicBezTo>
                  <a:pt x="753" y="644"/>
                  <a:pt x="753" y="644"/>
                  <a:pt x="753" y="64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46" name="Freeform 6"/>
          <p:cNvSpPr>
            <a:spLocks noEditPoints="1"/>
          </p:cNvSpPr>
          <p:nvPr/>
        </p:nvSpPr>
        <p:spPr bwMode="auto">
          <a:xfrm rot="16200000" flipH="1">
            <a:off x="2689027" y="2338983"/>
            <a:ext cx="960835" cy="854869"/>
          </a:xfrm>
          <a:custGeom>
            <a:avLst/>
            <a:gdLst>
              <a:gd name="T0" fmla="*/ 38 w 760"/>
              <a:gd name="T1" fmla="*/ 89 h 677"/>
              <a:gd name="T2" fmla="*/ 158 w 760"/>
              <a:gd name="T3" fmla="*/ 77 h 677"/>
              <a:gd name="T4" fmla="*/ 163 w 760"/>
              <a:gd name="T5" fmla="*/ 95 h 677"/>
              <a:gd name="T6" fmla="*/ 165 w 760"/>
              <a:gd name="T7" fmla="*/ 105 h 677"/>
              <a:gd name="T8" fmla="*/ 163 w 760"/>
              <a:gd name="T9" fmla="*/ 154 h 677"/>
              <a:gd name="T10" fmla="*/ 373 w 760"/>
              <a:gd name="T11" fmla="*/ 627 h 677"/>
              <a:gd name="T12" fmla="*/ 220 w 760"/>
              <a:gd name="T13" fmla="*/ 622 h 677"/>
              <a:gd name="T14" fmla="*/ 124 w 760"/>
              <a:gd name="T15" fmla="*/ 320 h 677"/>
              <a:gd name="T16" fmla="*/ 124 w 760"/>
              <a:gd name="T17" fmla="*/ 132 h 677"/>
              <a:gd name="T18" fmla="*/ 752 w 760"/>
              <a:gd name="T19" fmla="*/ 643 h 677"/>
              <a:gd name="T20" fmla="*/ 753 w 760"/>
              <a:gd name="T21" fmla="*/ 645 h 677"/>
              <a:gd name="T22" fmla="*/ 750 w 760"/>
              <a:gd name="T23" fmla="*/ 644 h 677"/>
              <a:gd name="T24" fmla="*/ 737 w 760"/>
              <a:gd name="T25" fmla="*/ 636 h 677"/>
              <a:gd name="T26" fmla="*/ 700 w 760"/>
              <a:gd name="T27" fmla="*/ 632 h 677"/>
              <a:gd name="T28" fmla="*/ 632 w 760"/>
              <a:gd name="T29" fmla="*/ 637 h 677"/>
              <a:gd name="T30" fmla="*/ 586 w 760"/>
              <a:gd name="T31" fmla="*/ 635 h 677"/>
              <a:gd name="T32" fmla="*/ 575 w 760"/>
              <a:gd name="T33" fmla="*/ 634 h 677"/>
              <a:gd name="T34" fmla="*/ 467 w 760"/>
              <a:gd name="T35" fmla="*/ 628 h 677"/>
              <a:gd name="T36" fmla="*/ 430 w 760"/>
              <a:gd name="T37" fmla="*/ 632 h 677"/>
              <a:gd name="T38" fmla="*/ 369 w 760"/>
              <a:gd name="T39" fmla="*/ 633 h 677"/>
              <a:gd name="T40" fmla="*/ 327 w 760"/>
              <a:gd name="T41" fmla="*/ 632 h 677"/>
              <a:gd name="T42" fmla="*/ 276 w 760"/>
              <a:gd name="T43" fmla="*/ 628 h 677"/>
              <a:gd name="T44" fmla="*/ 253 w 760"/>
              <a:gd name="T45" fmla="*/ 625 h 677"/>
              <a:gd name="T46" fmla="*/ 217 w 760"/>
              <a:gd name="T47" fmla="*/ 621 h 677"/>
              <a:gd name="T48" fmla="*/ 173 w 760"/>
              <a:gd name="T49" fmla="*/ 607 h 677"/>
              <a:gd name="T50" fmla="*/ 131 w 760"/>
              <a:gd name="T51" fmla="*/ 479 h 677"/>
              <a:gd name="T52" fmla="*/ 128 w 760"/>
              <a:gd name="T53" fmla="*/ 414 h 677"/>
              <a:gd name="T54" fmla="*/ 125 w 760"/>
              <a:gd name="T55" fmla="*/ 224 h 677"/>
              <a:gd name="T56" fmla="*/ 123 w 760"/>
              <a:gd name="T57" fmla="*/ 102 h 677"/>
              <a:gd name="T58" fmla="*/ 153 w 760"/>
              <a:gd name="T59" fmla="*/ 149 h 677"/>
              <a:gd name="T60" fmla="*/ 165 w 760"/>
              <a:gd name="T61" fmla="*/ 153 h 677"/>
              <a:gd name="T62" fmla="*/ 175 w 760"/>
              <a:gd name="T63" fmla="*/ 142 h 677"/>
              <a:gd name="T64" fmla="*/ 176 w 760"/>
              <a:gd name="T65" fmla="*/ 125 h 677"/>
              <a:gd name="T66" fmla="*/ 172 w 760"/>
              <a:gd name="T67" fmla="*/ 110 h 677"/>
              <a:gd name="T68" fmla="*/ 160 w 760"/>
              <a:gd name="T69" fmla="*/ 105 h 677"/>
              <a:gd name="T70" fmla="*/ 163 w 760"/>
              <a:gd name="T71" fmla="*/ 95 h 677"/>
              <a:gd name="T72" fmla="*/ 161 w 760"/>
              <a:gd name="T73" fmla="*/ 89 h 677"/>
              <a:gd name="T74" fmla="*/ 155 w 760"/>
              <a:gd name="T75" fmla="*/ 68 h 677"/>
              <a:gd name="T76" fmla="*/ 151 w 760"/>
              <a:gd name="T77" fmla="*/ 63 h 677"/>
              <a:gd name="T78" fmla="*/ 138 w 760"/>
              <a:gd name="T79" fmla="*/ 45 h 677"/>
              <a:gd name="T80" fmla="*/ 131 w 760"/>
              <a:gd name="T81" fmla="*/ 32 h 677"/>
              <a:gd name="T82" fmla="*/ 124 w 760"/>
              <a:gd name="T83" fmla="*/ 16 h 677"/>
              <a:gd name="T84" fmla="*/ 121 w 760"/>
              <a:gd name="T85" fmla="*/ 4 h 677"/>
              <a:gd name="T86" fmla="*/ 113 w 760"/>
              <a:gd name="T87" fmla="*/ 19 h 677"/>
              <a:gd name="T88" fmla="*/ 107 w 760"/>
              <a:gd name="T89" fmla="*/ 25 h 677"/>
              <a:gd name="T90" fmla="*/ 77 w 760"/>
              <a:gd name="T91" fmla="*/ 49 h 677"/>
              <a:gd name="T92" fmla="*/ 55 w 760"/>
              <a:gd name="T93" fmla="*/ 72 h 677"/>
              <a:gd name="T94" fmla="*/ 39 w 760"/>
              <a:gd name="T95" fmla="*/ 89 h 677"/>
              <a:gd name="T96" fmla="*/ 14 w 760"/>
              <a:gd name="T97" fmla="*/ 106 h 677"/>
              <a:gd name="T98" fmla="*/ 20 w 760"/>
              <a:gd name="T99" fmla="*/ 148 h 677"/>
              <a:gd name="T100" fmla="*/ 87 w 760"/>
              <a:gd name="T101" fmla="*/ 101 h 677"/>
              <a:gd name="T102" fmla="*/ 96 w 760"/>
              <a:gd name="T103" fmla="*/ 523 h 677"/>
              <a:gd name="T104" fmla="*/ 214 w 760"/>
              <a:gd name="T105" fmla="*/ 661 h 677"/>
              <a:gd name="T106" fmla="*/ 587 w 760"/>
              <a:gd name="T107" fmla="*/ 673 h 677"/>
              <a:gd name="T108" fmla="*/ 747 w 760"/>
              <a:gd name="T109" fmla="*/ 665 h 677"/>
              <a:gd name="T110" fmla="*/ 756 w 760"/>
              <a:gd name="T111" fmla="*/ 658 h 677"/>
              <a:gd name="T112" fmla="*/ 632 w 760"/>
              <a:gd name="T113" fmla="*/ 637 h 677"/>
              <a:gd name="T114" fmla="*/ 753 w 760"/>
              <a:gd name="T115" fmla="*/ 645 h 6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60" h="677">
                <a:moveTo>
                  <a:pt x="144" y="39"/>
                </a:moveTo>
                <a:cubicBezTo>
                  <a:pt x="144" y="39"/>
                  <a:pt x="144" y="40"/>
                  <a:pt x="143" y="40"/>
                </a:cubicBezTo>
                <a:cubicBezTo>
                  <a:pt x="143" y="40"/>
                  <a:pt x="143" y="40"/>
                  <a:pt x="143" y="40"/>
                </a:cubicBezTo>
                <a:lnTo>
                  <a:pt x="144" y="39"/>
                </a:lnTo>
                <a:close/>
                <a:moveTo>
                  <a:pt x="153" y="65"/>
                </a:move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4"/>
                  <a:pt x="153" y="65"/>
                </a:cubicBezTo>
                <a:close/>
                <a:moveTo>
                  <a:pt x="38" y="89"/>
                </a:moveTo>
                <a:cubicBezTo>
                  <a:pt x="38" y="89"/>
                  <a:pt x="38" y="89"/>
                  <a:pt x="38" y="89"/>
                </a:cubicBezTo>
                <a:cubicBezTo>
                  <a:pt x="38" y="89"/>
                  <a:pt x="38" y="89"/>
                  <a:pt x="38" y="89"/>
                </a:cubicBezTo>
                <a:close/>
                <a:moveTo>
                  <a:pt x="38" y="89"/>
                </a:moveTo>
                <a:cubicBezTo>
                  <a:pt x="39" y="90"/>
                  <a:pt x="39" y="90"/>
                  <a:pt x="39" y="89"/>
                </a:cubicBezTo>
                <a:cubicBezTo>
                  <a:pt x="38" y="88"/>
                  <a:pt x="38" y="89"/>
                  <a:pt x="38" y="88"/>
                </a:cubicBezTo>
                <a:cubicBezTo>
                  <a:pt x="38" y="89"/>
                  <a:pt x="38" y="89"/>
                  <a:pt x="38" y="89"/>
                </a:cubicBezTo>
                <a:close/>
                <a:moveTo>
                  <a:pt x="159" y="76"/>
                </a:moveTo>
                <a:cubicBezTo>
                  <a:pt x="158" y="77"/>
                  <a:pt x="158" y="77"/>
                  <a:pt x="158" y="77"/>
                </a:cubicBezTo>
                <a:cubicBezTo>
                  <a:pt x="158" y="77"/>
                  <a:pt x="158" y="77"/>
                  <a:pt x="158" y="77"/>
                </a:cubicBezTo>
                <a:lnTo>
                  <a:pt x="159" y="76"/>
                </a:lnTo>
                <a:close/>
                <a:moveTo>
                  <a:pt x="175" y="142"/>
                </a:moveTo>
                <a:cubicBezTo>
                  <a:pt x="174" y="143"/>
                  <a:pt x="174" y="143"/>
                  <a:pt x="174" y="143"/>
                </a:cubicBezTo>
                <a:cubicBezTo>
                  <a:pt x="174" y="143"/>
                  <a:pt x="175" y="143"/>
                  <a:pt x="175" y="143"/>
                </a:cubicBezTo>
                <a:lnTo>
                  <a:pt x="175" y="142"/>
                </a:lnTo>
                <a:close/>
                <a:moveTo>
                  <a:pt x="163" y="95"/>
                </a:moveTo>
                <a:cubicBezTo>
                  <a:pt x="163" y="95"/>
                  <a:pt x="163" y="95"/>
                  <a:pt x="163" y="95"/>
                </a:cubicBezTo>
                <a:cubicBezTo>
                  <a:pt x="163" y="94"/>
                  <a:pt x="163" y="93"/>
                  <a:pt x="162" y="93"/>
                </a:cubicBezTo>
                <a:cubicBezTo>
                  <a:pt x="161" y="93"/>
                  <a:pt x="161" y="93"/>
                  <a:pt x="161" y="93"/>
                </a:cubicBezTo>
                <a:lnTo>
                  <a:pt x="163" y="95"/>
                </a:lnTo>
                <a:close/>
                <a:moveTo>
                  <a:pt x="157" y="150"/>
                </a:moveTo>
                <a:cubicBezTo>
                  <a:pt x="157" y="150"/>
                  <a:pt x="157" y="150"/>
                  <a:pt x="157" y="150"/>
                </a:cubicBezTo>
                <a:cubicBezTo>
                  <a:pt x="156" y="151"/>
                  <a:pt x="156" y="150"/>
                  <a:pt x="157" y="150"/>
                </a:cubicBezTo>
                <a:close/>
                <a:moveTo>
                  <a:pt x="165" y="105"/>
                </a:moveTo>
                <a:cubicBezTo>
                  <a:pt x="165" y="105"/>
                  <a:pt x="165" y="105"/>
                  <a:pt x="165" y="105"/>
                </a:cubicBezTo>
                <a:cubicBezTo>
                  <a:pt x="166" y="104"/>
                  <a:pt x="166" y="104"/>
                  <a:pt x="166" y="104"/>
                </a:cubicBezTo>
                <a:lnTo>
                  <a:pt x="165" y="105"/>
                </a:lnTo>
                <a:close/>
                <a:moveTo>
                  <a:pt x="177" y="123"/>
                </a:moveTo>
                <a:cubicBezTo>
                  <a:pt x="177" y="122"/>
                  <a:pt x="177" y="122"/>
                  <a:pt x="176" y="123"/>
                </a:cubicBezTo>
                <a:cubicBezTo>
                  <a:pt x="177" y="123"/>
                  <a:pt x="177" y="123"/>
                  <a:pt x="177" y="123"/>
                </a:cubicBezTo>
                <a:close/>
                <a:moveTo>
                  <a:pt x="163" y="155"/>
                </a:moveTo>
                <a:cubicBezTo>
                  <a:pt x="163" y="155"/>
                  <a:pt x="164" y="155"/>
                  <a:pt x="164" y="154"/>
                </a:cubicBezTo>
                <a:cubicBezTo>
                  <a:pt x="163" y="154"/>
                  <a:pt x="163" y="154"/>
                  <a:pt x="163" y="154"/>
                </a:cubicBezTo>
                <a:cubicBezTo>
                  <a:pt x="163" y="154"/>
                  <a:pt x="163" y="155"/>
                  <a:pt x="163" y="155"/>
                </a:cubicBezTo>
                <a:close/>
                <a:moveTo>
                  <a:pt x="175" y="145"/>
                </a:moveTo>
                <a:cubicBezTo>
                  <a:pt x="175" y="144"/>
                  <a:pt x="175" y="144"/>
                  <a:pt x="175" y="144"/>
                </a:cubicBezTo>
                <a:cubicBezTo>
                  <a:pt x="175" y="144"/>
                  <a:pt x="175" y="145"/>
                  <a:pt x="175" y="145"/>
                </a:cubicBezTo>
                <a:close/>
                <a:moveTo>
                  <a:pt x="130" y="440"/>
                </a:moveTo>
                <a:cubicBezTo>
                  <a:pt x="130" y="439"/>
                  <a:pt x="129" y="439"/>
                  <a:pt x="130" y="440"/>
                </a:cubicBezTo>
                <a:close/>
                <a:moveTo>
                  <a:pt x="373" y="627"/>
                </a:moveTo>
                <a:cubicBezTo>
                  <a:pt x="373" y="627"/>
                  <a:pt x="373" y="627"/>
                  <a:pt x="373" y="627"/>
                </a:cubicBezTo>
                <a:cubicBezTo>
                  <a:pt x="374" y="626"/>
                  <a:pt x="374" y="626"/>
                  <a:pt x="374" y="625"/>
                </a:cubicBezTo>
                <a:lnTo>
                  <a:pt x="373" y="627"/>
                </a:lnTo>
                <a:close/>
                <a:moveTo>
                  <a:pt x="439" y="631"/>
                </a:moveTo>
                <a:cubicBezTo>
                  <a:pt x="440" y="631"/>
                  <a:pt x="440" y="631"/>
                  <a:pt x="440" y="631"/>
                </a:cubicBezTo>
                <a:cubicBezTo>
                  <a:pt x="440" y="631"/>
                  <a:pt x="440" y="630"/>
                  <a:pt x="439" y="631"/>
                </a:cubicBezTo>
                <a:close/>
                <a:moveTo>
                  <a:pt x="220" y="622"/>
                </a:moveTo>
                <a:cubicBezTo>
                  <a:pt x="221" y="621"/>
                  <a:pt x="221" y="621"/>
                  <a:pt x="222" y="621"/>
                </a:cubicBezTo>
                <a:cubicBezTo>
                  <a:pt x="221" y="621"/>
                  <a:pt x="221" y="621"/>
                  <a:pt x="220" y="622"/>
                </a:cubicBezTo>
                <a:close/>
                <a:moveTo>
                  <a:pt x="123" y="318"/>
                </a:moveTo>
                <a:cubicBezTo>
                  <a:pt x="123" y="319"/>
                  <a:pt x="123" y="319"/>
                  <a:pt x="123" y="319"/>
                </a:cubicBezTo>
                <a:cubicBezTo>
                  <a:pt x="124" y="318"/>
                  <a:pt x="124" y="318"/>
                  <a:pt x="124" y="318"/>
                </a:cubicBezTo>
                <a:lnTo>
                  <a:pt x="123" y="318"/>
                </a:lnTo>
                <a:close/>
                <a:moveTo>
                  <a:pt x="124" y="320"/>
                </a:moveTo>
                <a:cubicBezTo>
                  <a:pt x="124" y="320"/>
                  <a:pt x="124" y="319"/>
                  <a:pt x="123" y="319"/>
                </a:cubicBezTo>
                <a:cubicBezTo>
                  <a:pt x="123" y="320"/>
                  <a:pt x="123" y="322"/>
                  <a:pt x="123" y="323"/>
                </a:cubicBezTo>
                <a:cubicBezTo>
                  <a:pt x="124" y="323"/>
                  <a:pt x="124" y="321"/>
                  <a:pt x="124" y="320"/>
                </a:cubicBezTo>
                <a:close/>
                <a:moveTo>
                  <a:pt x="124" y="320"/>
                </a:moveTo>
                <a:cubicBezTo>
                  <a:pt x="124" y="320"/>
                  <a:pt x="124" y="320"/>
                  <a:pt x="124" y="320"/>
                </a:cubicBezTo>
                <a:cubicBezTo>
                  <a:pt x="124" y="320"/>
                  <a:pt x="124" y="320"/>
                  <a:pt x="124" y="320"/>
                </a:cubicBezTo>
                <a:close/>
                <a:moveTo>
                  <a:pt x="223" y="663"/>
                </a:moveTo>
                <a:cubicBezTo>
                  <a:pt x="222" y="663"/>
                  <a:pt x="222" y="663"/>
                  <a:pt x="222" y="663"/>
                </a:cubicBezTo>
                <a:cubicBezTo>
                  <a:pt x="222" y="663"/>
                  <a:pt x="222" y="663"/>
                  <a:pt x="223" y="663"/>
                </a:cubicBezTo>
                <a:close/>
                <a:moveTo>
                  <a:pt x="123" y="132"/>
                </a:moveTo>
                <a:cubicBezTo>
                  <a:pt x="124" y="132"/>
                  <a:pt x="124" y="132"/>
                  <a:pt x="124" y="132"/>
                </a:cubicBezTo>
                <a:cubicBezTo>
                  <a:pt x="123" y="132"/>
                  <a:pt x="123" y="132"/>
                  <a:pt x="123" y="132"/>
                </a:cubicBezTo>
                <a:close/>
                <a:moveTo>
                  <a:pt x="501" y="631"/>
                </a:moveTo>
                <a:cubicBezTo>
                  <a:pt x="501" y="632"/>
                  <a:pt x="501" y="632"/>
                  <a:pt x="501" y="632"/>
                </a:cubicBezTo>
                <a:cubicBezTo>
                  <a:pt x="501" y="632"/>
                  <a:pt x="501" y="632"/>
                  <a:pt x="501" y="632"/>
                </a:cubicBezTo>
                <a:lnTo>
                  <a:pt x="501" y="631"/>
                </a:lnTo>
                <a:close/>
                <a:moveTo>
                  <a:pt x="752" y="643"/>
                </a:moveTo>
                <a:cubicBezTo>
                  <a:pt x="751" y="644"/>
                  <a:pt x="751" y="644"/>
                  <a:pt x="751" y="644"/>
                </a:cubicBezTo>
                <a:cubicBezTo>
                  <a:pt x="751" y="644"/>
                  <a:pt x="752" y="643"/>
                  <a:pt x="752" y="643"/>
                </a:cubicBezTo>
                <a:close/>
                <a:moveTo>
                  <a:pt x="585" y="635"/>
                </a:moveTo>
                <a:cubicBezTo>
                  <a:pt x="585" y="635"/>
                  <a:pt x="586" y="635"/>
                  <a:pt x="586" y="635"/>
                </a:cubicBezTo>
                <a:cubicBezTo>
                  <a:pt x="584" y="634"/>
                  <a:pt x="580" y="634"/>
                  <a:pt x="575" y="634"/>
                </a:cubicBezTo>
                <a:cubicBezTo>
                  <a:pt x="575" y="636"/>
                  <a:pt x="575" y="636"/>
                  <a:pt x="575" y="636"/>
                </a:cubicBezTo>
                <a:lnTo>
                  <a:pt x="585" y="635"/>
                </a:lnTo>
                <a:close/>
                <a:moveTo>
                  <a:pt x="760" y="655"/>
                </a:moveTo>
                <a:cubicBezTo>
                  <a:pt x="760" y="655"/>
                  <a:pt x="755" y="649"/>
                  <a:pt x="753" y="646"/>
                </a:cubicBezTo>
                <a:cubicBezTo>
                  <a:pt x="755" y="647"/>
                  <a:pt x="754" y="646"/>
                  <a:pt x="753" y="645"/>
                </a:cubicBezTo>
                <a:cubicBezTo>
                  <a:pt x="753" y="645"/>
                  <a:pt x="753" y="645"/>
                  <a:pt x="753" y="645"/>
                </a:cubicBezTo>
                <a:cubicBezTo>
                  <a:pt x="752" y="645"/>
                  <a:pt x="752" y="643"/>
                  <a:pt x="751" y="642"/>
                </a:cubicBezTo>
                <a:cubicBezTo>
                  <a:pt x="752" y="643"/>
                  <a:pt x="752" y="643"/>
                  <a:pt x="752" y="643"/>
                </a:cubicBezTo>
                <a:cubicBezTo>
                  <a:pt x="752" y="642"/>
                  <a:pt x="752" y="642"/>
                  <a:pt x="752" y="642"/>
                </a:cubicBezTo>
                <a:cubicBezTo>
                  <a:pt x="752" y="643"/>
                  <a:pt x="752" y="643"/>
                  <a:pt x="752" y="643"/>
                </a:cubicBezTo>
                <a:cubicBezTo>
                  <a:pt x="752" y="644"/>
                  <a:pt x="752" y="644"/>
                  <a:pt x="751" y="644"/>
                </a:cubicBezTo>
                <a:cubicBezTo>
                  <a:pt x="751" y="644"/>
                  <a:pt x="751" y="644"/>
                  <a:pt x="751" y="644"/>
                </a:cubicBezTo>
                <a:cubicBezTo>
                  <a:pt x="751" y="644"/>
                  <a:pt x="750" y="644"/>
                  <a:pt x="750" y="644"/>
                </a:cubicBezTo>
                <a:cubicBezTo>
                  <a:pt x="750" y="642"/>
                  <a:pt x="750" y="642"/>
                  <a:pt x="750" y="642"/>
                </a:cubicBezTo>
                <a:cubicBezTo>
                  <a:pt x="749" y="645"/>
                  <a:pt x="744" y="638"/>
                  <a:pt x="743" y="638"/>
                </a:cubicBezTo>
                <a:cubicBezTo>
                  <a:pt x="742" y="636"/>
                  <a:pt x="741" y="638"/>
                  <a:pt x="739" y="637"/>
                </a:cubicBezTo>
                <a:cubicBezTo>
                  <a:pt x="737" y="637"/>
                  <a:pt x="738" y="635"/>
                  <a:pt x="737" y="634"/>
                </a:cubicBezTo>
                <a:cubicBezTo>
                  <a:pt x="737" y="634"/>
                  <a:pt x="737" y="633"/>
                  <a:pt x="736" y="633"/>
                </a:cubicBezTo>
                <a:cubicBezTo>
                  <a:pt x="736" y="633"/>
                  <a:pt x="736" y="633"/>
                  <a:pt x="736" y="634"/>
                </a:cubicBezTo>
                <a:cubicBezTo>
                  <a:pt x="736" y="634"/>
                  <a:pt x="736" y="634"/>
                  <a:pt x="736" y="634"/>
                </a:cubicBezTo>
                <a:cubicBezTo>
                  <a:pt x="737" y="635"/>
                  <a:pt x="737" y="636"/>
                  <a:pt x="737" y="636"/>
                </a:cubicBezTo>
                <a:cubicBezTo>
                  <a:pt x="737" y="636"/>
                  <a:pt x="737" y="635"/>
                  <a:pt x="736" y="635"/>
                </a:cubicBezTo>
                <a:cubicBezTo>
                  <a:pt x="735" y="635"/>
                  <a:pt x="735" y="635"/>
                  <a:pt x="735" y="635"/>
                </a:cubicBezTo>
                <a:cubicBezTo>
                  <a:pt x="733" y="635"/>
                  <a:pt x="733" y="635"/>
                  <a:pt x="733" y="635"/>
                </a:cubicBezTo>
                <a:cubicBezTo>
                  <a:pt x="729" y="634"/>
                  <a:pt x="729" y="634"/>
                  <a:pt x="729" y="634"/>
                </a:cubicBezTo>
                <a:cubicBezTo>
                  <a:pt x="734" y="633"/>
                  <a:pt x="731" y="633"/>
                  <a:pt x="730" y="632"/>
                </a:cubicBezTo>
                <a:cubicBezTo>
                  <a:pt x="723" y="632"/>
                  <a:pt x="712" y="630"/>
                  <a:pt x="710" y="633"/>
                </a:cubicBezTo>
                <a:cubicBezTo>
                  <a:pt x="700" y="632"/>
                  <a:pt x="700" y="631"/>
                  <a:pt x="696" y="631"/>
                </a:cubicBezTo>
                <a:cubicBezTo>
                  <a:pt x="697" y="631"/>
                  <a:pt x="700" y="632"/>
                  <a:pt x="700" y="632"/>
                </a:cubicBezTo>
                <a:cubicBezTo>
                  <a:pt x="696" y="631"/>
                  <a:pt x="698" y="633"/>
                  <a:pt x="700" y="633"/>
                </a:cubicBezTo>
                <a:cubicBezTo>
                  <a:pt x="694" y="635"/>
                  <a:pt x="669" y="628"/>
                  <a:pt x="668" y="632"/>
                </a:cubicBezTo>
                <a:cubicBezTo>
                  <a:pt x="668" y="631"/>
                  <a:pt x="668" y="631"/>
                  <a:pt x="668" y="631"/>
                </a:cubicBezTo>
                <a:cubicBezTo>
                  <a:pt x="667" y="634"/>
                  <a:pt x="669" y="636"/>
                  <a:pt x="665" y="638"/>
                </a:cubicBezTo>
                <a:cubicBezTo>
                  <a:pt x="662" y="637"/>
                  <a:pt x="662" y="637"/>
                  <a:pt x="662" y="637"/>
                </a:cubicBezTo>
                <a:cubicBezTo>
                  <a:pt x="658" y="638"/>
                  <a:pt x="658" y="638"/>
                  <a:pt x="658" y="638"/>
                </a:cubicBezTo>
                <a:cubicBezTo>
                  <a:pt x="655" y="638"/>
                  <a:pt x="656" y="637"/>
                  <a:pt x="656" y="637"/>
                </a:cubicBezTo>
                <a:cubicBezTo>
                  <a:pt x="650" y="638"/>
                  <a:pt x="640" y="637"/>
                  <a:pt x="632" y="637"/>
                </a:cubicBezTo>
                <a:cubicBezTo>
                  <a:pt x="641" y="644"/>
                  <a:pt x="641" y="644"/>
                  <a:pt x="641" y="644"/>
                </a:cubicBezTo>
                <a:cubicBezTo>
                  <a:pt x="634" y="642"/>
                  <a:pt x="622" y="639"/>
                  <a:pt x="620" y="642"/>
                </a:cubicBezTo>
                <a:cubicBezTo>
                  <a:pt x="616" y="639"/>
                  <a:pt x="616" y="639"/>
                  <a:pt x="616" y="639"/>
                </a:cubicBezTo>
                <a:cubicBezTo>
                  <a:pt x="602" y="635"/>
                  <a:pt x="607" y="642"/>
                  <a:pt x="601" y="641"/>
                </a:cubicBezTo>
                <a:cubicBezTo>
                  <a:pt x="594" y="638"/>
                  <a:pt x="594" y="638"/>
                  <a:pt x="594" y="638"/>
                </a:cubicBezTo>
                <a:cubicBezTo>
                  <a:pt x="601" y="638"/>
                  <a:pt x="601" y="638"/>
                  <a:pt x="601" y="638"/>
                </a:cubicBezTo>
                <a:cubicBezTo>
                  <a:pt x="594" y="637"/>
                  <a:pt x="591" y="636"/>
                  <a:pt x="586" y="635"/>
                </a:cubicBezTo>
                <a:cubicBezTo>
                  <a:pt x="586" y="635"/>
                  <a:pt x="586" y="635"/>
                  <a:pt x="586" y="635"/>
                </a:cubicBezTo>
                <a:cubicBezTo>
                  <a:pt x="586" y="635"/>
                  <a:pt x="586" y="635"/>
                  <a:pt x="586" y="635"/>
                </a:cubicBezTo>
                <a:cubicBezTo>
                  <a:pt x="585" y="635"/>
                  <a:pt x="585" y="635"/>
                  <a:pt x="585" y="635"/>
                </a:cubicBezTo>
                <a:cubicBezTo>
                  <a:pt x="585" y="636"/>
                  <a:pt x="581" y="637"/>
                  <a:pt x="576" y="637"/>
                </a:cubicBezTo>
                <a:cubicBezTo>
                  <a:pt x="569" y="637"/>
                  <a:pt x="564" y="639"/>
                  <a:pt x="553" y="637"/>
                </a:cubicBezTo>
                <a:cubicBezTo>
                  <a:pt x="550" y="640"/>
                  <a:pt x="550" y="640"/>
                  <a:pt x="550" y="640"/>
                </a:cubicBezTo>
                <a:cubicBezTo>
                  <a:pt x="542" y="638"/>
                  <a:pt x="542" y="638"/>
                  <a:pt x="542" y="638"/>
                </a:cubicBezTo>
                <a:cubicBezTo>
                  <a:pt x="542" y="636"/>
                  <a:pt x="542" y="636"/>
                  <a:pt x="542" y="636"/>
                </a:cubicBezTo>
                <a:cubicBezTo>
                  <a:pt x="550" y="636"/>
                  <a:pt x="565" y="635"/>
                  <a:pt x="575" y="634"/>
                </a:cubicBezTo>
                <a:cubicBezTo>
                  <a:pt x="576" y="633"/>
                  <a:pt x="576" y="633"/>
                  <a:pt x="576" y="633"/>
                </a:cubicBezTo>
                <a:cubicBezTo>
                  <a:pt x="569" y="634"/>
                  <a:pt x="562" y="635"/>
                  <a:pt x="558" y="635"/>
                </a:cubicBezTo>
                <a:cubicBezTo>
                  <a:pt x="556" y="634"/>
                  <a:pt x="551" y="632"/>
                  <a:pt x="555" y="631"/>
                </a:cubicBezTo>
                <a:cubicBezTo>
                  <a:pt x="551" y="633"/>
                  <a:pt x="551" y="633"/>
                  <a:pt x="551" y="633"/>
                </a:cubicBezTo>
                <a:cubicBezTo>
                  <a:pt x="531" y="634"/>
                  <a:pt x="530" y="634"/>
                  <a:pt x="509" y="632"/>
                </a:cubicBezTo>
                <a:cubicBezTo>
                  <a:pt x="511" y="633"/>
                  <a:pt x="511" y="633"/>
                  <a:pt x="511" y="633"/>
                </a:cubicBezTo>
                <a:cubicBezTo>
                  <a:pt x="507" y="633"/>
                  <a:pt x="502" y="634"/>
                  <a:pt x="501" y="632"/>
                </a:cubicBezTo>
                <a:cubicBezTo>
                  <a:pt x="488" y="632"/>
                  <a:pt x="475" y="631"/>
                  <a:pt x="467" y="628"/>
                </a:cubicBezTo>
                <a:cubicBezTo>
                  <a:pt x="465" y="631"/>
                  <a:pt x="465" y="631"/>
                  <a:pt x="465" y="631"/>
                </a:cubicBezTo>
                <a:cubicBezTo>
                  <a:pt x="462" y="631"/>
                  <a:pt x="458" y="627"/>
                  <a:pt x="457" y="630"/>
                </a:cubicBezTo>
                <a:cubicBezTo>
                  <a:pt x="451" y="631"/>
                  <a:pt x="451" y="631"/>
                  <a:pt x="451" y="631"/>
                </a:cubicBezTo>
                <a:cubicBezTo>
                  <a:pt x="447" y="631"/>
                  <a:pt x="445" y="633"/>
                  <a:pt x="441" y="631"/>
                </a:cubicBezTo>
                <a:cubicBezTo>
                  <a:pt x="441" y="631"/>
                  <a:pt x="441" y="631"/>
                  <a:pt x="441" y="631"/>
                </a:cubicBezTo>
                <a:cubicBezTo>
                  <a:pt x="440" y="631"/>
                  <a:pt x="440" y="631"/>
                  <a:pt x="440" y="631"/>
                </a:cubicBezTo>
                <a:cubicBezTo>
                  <a:pt x="440" y="631"/>
                  <a:pt x="440" y="631"/>
                  <a:pt x="440" y="631"/>
                </a:cubicBezTo>
                <a:cubicBezTo>
                  <a:pt x="431" y="630"/>
                  <a:pt x="440" y="633"/>
                  <a:pt x="430" y="632"/>
                </a:cubicBezTo>
                <a:cubicBezTo>
                  <a:pt x="427" y="630"/>
                  <a:pt x="427" y="635"/>
                  <a:pt x="422" y="634"/>
                </a:cubicBezTo>
                <a:cubicBezTo>
                  <a:pt x="417" y="631"/>
                  <a:pt x="417" y="631"/>
                  <a:pt x="417" y="631"/>
                </a:cubicBezTo>
                <a:cubicBezTo>
                  <a:pt x="409" y="629"/>
                  <a:pt x="407" y="632"/>
                  <a:pt x="395" y="632"/>
                </a:cubicBezTo>
                <a:cubicBezTo>
                  <a:pt x="389" y="631"/>
                  <a:pt x="387" y="628"/>
                  <a:pt x="390" y="625"/>
                </a:cubicBezTo>
                <a:cubicBezTo>
                  <a:pt x="385" y="628"/>
                  <a:pt x="388" y="627"/>
                  <a:pt x="381" y="629"/>
                </a:cubicBezTo>
                <a:cubicBezTo>
                  <a:pt x="380" y="627"/>
                  <a:pt x="381" y="627"/>
                  <a:pt x="382" y="626"/>
                </a:cubicBezTo>
                <a:cubicBezTo>
                  <a:pt x="376" y="624"/>
                  <a:pt x="378" y="627"/>
                  <a:pt x="373" y="627"/>
                </a:cubicBezTo>
                <a:cubicBezTo>
                  <a:pt x="372" y="629"/>
                  <a:pt x="370" y="633"/>
                  <a:pt x="369" y="633"/>
                </a:cubicBezTo>
                <a:cubicBezTo>
                  <a:pt x="371" y="634"/>
                  <a:pt x="371" y="634"/>
                  <a:pt x="371" y="634"/>
                </a:cubicBezTo>
                <a:cubicBezTo>
                  <a:pt x="365" y="635"/>
                  <a:pt x="360" y="636"/>
                  <a:pt x="354" y="635"/>
                </a:cubicBezTo>
                <a:cubicBezTo>
                  <a:pt x="354" y="633"/>
                  <a:pt x="354" y="633"/>
                  <a:pt x="354" y="633"/>
                </a:cubicBezTo>
                <a:cubicBezTo>
                  <a:pt x="348" y="634"/>
                  <a:pt x="348" y="634"/>
                  <a:pt x="348" y="634"/>
                </a:cubicBezTo>
                <a:cubicBezTo>
                  <a:pt x="348" y="632"/>
                  <a:pt x="348" y="632"/>
                  <a:pt x="348" y="632"/>
                </a:cubicBezTo>
                <a:cubicBezTo>
                  <a:pt x="339" y="632"/>
                  <a:pt x="339" y="632"/>
                  <a:pt x="339" y="632"/>
                </a:cubicBezTo>
                <a:cubicBezTo>
                  <a:pt x="340" y="633"/>
                  <a:pt x="340" y="633"/>
                  <a:pt x="340" y="633"/>
                </a:cubicBezTo>
                <a:cubicBezTo>
                  <a:pt x="338" y="633"/>
                  <a:pt x="331" y="633"/>
                  <a:pt x="327" y="632"/>
                </a:cubicBezTo>
                <a:cubicBezTo>
                  <a:pt x="327" y="631"/>
                  <a:pt x="327" y="631"/>
                  <a:pt x="327" y="631"/>
                </a:cubicBezTo>
                <a:cubicBezTo>
                  <a:pt x="316" y="628"/>
                  <a:pt x="307" y="631"/>
                  <a:pt x="294" y="631"/>
                </a:cubicBezTo>
                <a:cubicBezTo>
                  <a:pt x="296" y="629"/>
                  <a:pt x="296" y="629"/>
                  <a:pt x="296" y="629"/>
                </a:cubicBezTo>
                <a:cubicBezTo>
                  <a:pt x="292" y="627"/>
                  <a:pt x="295" y="632"/>
                  <a:pt x="289" y="630"/>
                </a:cubicBezTo>
                <a:cubicBezTo>
                  <a:pt x="289" y="628"/>
                  <a:pt x="289" y="628"/>
                  <a:pt x="289" y="628"/>
                </a:cubicBezTo>
                <a:cubicBezTo>
                  <a:pt x="284" y="631"/>
                  <a:pt x="283" y="627"/>
                  <a:pt x="280" y="626"/>
                </a:cubicBezTo>
                <a:cubicBezTo>
                  <a:pt x="282" y="629"/>
                  <a:pt x="282" y="629"/>
                  <a:pt x="282" y="629"/>
                </a:cubicBezTo>
                <a:cubicBezTo>
                  <a:pt x="276" y="628"/>
                  <a:pt x="276" y="628"/>
                  <a:pt x="276" y="628"/>
                </a:cubicBezTo>
                <a:cubicBezTo>
                  <a:pt x="269" y="626"/>
                  <a:pt x="272" y="624"/>
                  <a:pt x="273" y="622"/>
                </a:cubicBezTo>
                <a:cubicBezTo>
                  <a:pt x="268" y="624"/>
                  <a:pt x="268" y="624"/>
                  <a:pt x="268" y="624"/>
                </a:cubicBezTo>
                <a:cubicBezTo>
                  <a:pt x="268" y="621"/>
                  <a:pt x="268" y="621"/>
                  <a:pt x="268" y="621"/>
                </a:cubicBezTo>
                <a:cubicBezTo>
                  <a:pt x="264" y="624"/>
                  <a:pt x="264" y="621"/>
                  <a:pt x="259" y="622"/>
                </a:cubicBezTo>
                <a:cubicBezTo>
                  <a:pt x="258" y="621"/>
                  <a:pt x="260" y="620"/>
                  <a:pt x="258" y="620"/>
                </a:cubicBezTo>
                <a:cubicBezTo>
                  <a:pt x="248" y="622"/>
                  <a:pt x="248" y="622"/>
                  <a:pt x="248" y="622"/>
                </a:cubicBezTo>
                <a:cubicBezTo>
                  <a:pt x="254" y="621"/>
                  <a:pt x="254" y="621"/>
                  <a:pt x="254" y="621"/>
                </a:cubicBezTo>
                <a:cubicBezTo>
                  <a:pt x="253" y="625"/>
                  <a:pt x="253" y="625"/>
                  <a:pt x="253" y="625"/>
                </a:cubicBezTo>
                <a:cubicBezTo>
                  <a:pt x="247" y="628"/>
                  <a:pt x="245" y="624"/>
                  <a:pt x="241" y="625"/>
                </a:cubicBezTo>
                <a:cubicBezTo>
                  <a:pt x="244" y="624"/>
                  <a:pt x="244" y="624"/>
                  <a:pt x="244" y="624"/>
                </a:cubicBezTo>
                <a:cubicBezTo>
                  <a:pt x="237" y="624"/>
                  <a:pt x="237" y="622"/>
                  <a:pt x="233" y="621"/>
                </a:cubicBezTo>
                <a:cubicBezTo>
                  <a:pt x="234" y="622"/>
                  <a:pt x="236" y="623"/>
                  <a:pt x="233" y="623"/>
                </a:cubicBezTo>
                <a:cubicBezTo>
                  <a:pt x="231" y="623"/>
                  <a:pt x="232" y="622"/>
                  <a:pt x="230" y="621"/>
                </a:cubicBezTo>
                <a:cubicBezTo>
                  <a:pt x="229" y="624"/>
                  <a:pt x="224" y="624"/>
                  <a:pt x="220" y="622"/>
                </a:cubicBezTo>
                <a:cubicBezTo>
                  <a:pt x="220" y="622"/>
                  <a:pt x="220" y="622"/>
                  <a:pt x="220" y="622"/>
                </a:cubicBezTo>
                <a:cubicBezTo>
                  <a:pt x="219" y="622"/>
                  <a:pt x="219" y="622"/>
                  <a:pt x="217" y="621"/>
                </a:cubicBezTo>
                <a:cubicBezTo>
                  <a:pt x="218" y="619"/>
                  <a:pt x="218" y="619"/>
                  <a:pt x="218" y="619"/>
                </a:cubicBezTo>
                <a:cubicBezTo>
                  <a:pt x="214" y="621"/>
                  <a:pt x="214" y="621"/>
                  <a:pt x="214" y="621"/>
                </a:cubicBezTo>
                <a:cubicBezTo>
                  <a:pt x="212" y="620"/>
                  <a:pt x="208" y="621"/>
                  <a:pt x="209" y="619"/>
                </a:cubicBezTo>
                <a:cubicBezTo>
                  <a:pt x="210" y="619"/>
                  <a:pt x="210" y="619"/>
                  <a:pt x="210" y="619"/>
                </a:cubicBezTo>
                <a:cubicBezTo>
                  <a:pt x="204" y="618"/>
                  <a:pt x="198" y="616"/>
                  <a:pt x="192" y="615"/>
                </a:cubicBezTo>
                <a:cubicBezTo>
                  <a:pt x="192" y="612"/>
                  <a:pt x="192" y="612"/>
                  <a:pt x="192" y="612"/>
                </a:cubicBezTo>
                <a:cubicBezTo>
                  <a:pt x="189" y="615"/>
                  <a:pt x="183" y="609"/>
                  <a:pt x="182" y="613"/>
                </a:cubicBezTo>
                <a:cubicBezTo>
                  <a:pt x="180" y="610"/>
                  <a:pt x="169" y="611"/>
                  <a:pt x="173" y="607"/>
                </a:cubicBezTo>
                <a:cubicBezTo>
                  <a:pt x="168" y="605"/>
                  <a:pt x="164" y="604"/>
                  <a:pt x="160" y="603"/>
                </a:cubicBezTo>
                <a:cubicBezTo>
                  <a:pt x="159" y="603"/>
                  <a:pt x="157" y="602"/>
                  <a:pt x="156" y="602"/>
                </a:cubicBezTo>
                <a:cubicBezTo>
                  <a:pt x="156" y="601"/>
                  <a:pt x="155" y="601"/>
                  <a:pt x="154" y="598"/>
                </a:cubicBezTo>
                <a:cubicBezTo>
                  <a:pt x="155" y="596"/>
                  <a:pt x="154" y="592"/>
                  <a:pt x="153" y="588"/>
                </a:cubicBezTo>
                <a:cubicBezTo>
                  <a:pt x="151" y="583"/>
                  <a:pt x="150" y="578"/>
                  <a:pt x="149" y="573"/>
                </a:cubicBezTo>
                <a:cubicBezTo>
                  <a:pt x="143" y="556"/>
                  <a:pt x="140" y="544"/>
                  <a:pt x="136" y="525"/>
                </a:cubicBezTo>
                <a:cubicBezTo>
                  <a:pt x="140" y="512"/>
                  <a:pt x="131" y="495"/>
                  <a:pt x="133" y="482"/>
                </a:cubicBezTo>
                <a:cubicBezTo>
                  <a:pt x="131" y="479"/>
                  <a:pt x="131" y="479"/>
                  <a:pt x="131" y="479"/>
                </a:cubicBezTo>
                <a:cubicBezTo>
                  <a:pt x="133" y="470"/>
                  <a:pt x="128" y="457"/>
                  <a:pt x="131" y="445"/>
                </a:cubicBezTo>
                <a:cubicBezTo>
                  <a:pt x="130" y="442"/>
                  <a:pt x="130" y="440"/>
                  <a:pt x="130" y="440"/>
                </a:cubicBezTo>
                <a:cubicBezTo>
                  <a:pt x="129" y="440"/>
                  <a:pt x="129" y="441"/>
                  <a:pt x="128" y="442"/>
                </a:cubicBezTo>
                <a:cubicBezTo>
                  <a:pt x="129" y="438"/>
                  <a:pt x="127" y="431"/>
                  <a:pt x="130" y="431"/>
                </a:cubicBezTo>
                <a:cubicBezTo>
                  <a:pt x="130" y="432"/>
                  <a:pt x="130" y="432"/>
                  <a:pt x="130" y="432"/>
                </a:cubicBezTo>
                <a:cubicBezTo>
                  <a:pt x="133" y="433"/>
                  <a:pt x="128" y="422"/>
                  <a:pt x="130" y="418"/>
                </a:cubicBezTo>
                <a:cubicBezTo>
                  <a:pt x="128" y="420"/>
                  <a:pt x="128" y="420"/>
                  <a:pt x="128" y="420"/>
                </a:cubicBezTo>
                <a:cubicBezTo>
                  <a:pt x="128" y="414"/>
                  <a:pt x="128" y="414"/>
                  <a:pt x="128" y="414"/>
                </a:cubicBezTo>
                <a:cubicBezTo>
                  <a:pt x="129" y="415"/>
                  <a:pt x="129" y="415"/>
                  <a:pt x="129" y="415"/>
                </a:cubicBezTo>
                <a:cubicBezTo>
                  <a:pt x="121" y="387"/>
                  <a:pt x="130" y="374"/>
                  <a:pt x="124" y="347"/>
                </a:cubicBezTo>
                <a:cubicBezTo>
                  <a:pt x="127" y="351"/>
                  <a:pt x="122" y="342"/>
                  <a:pt x="125" y="342"/>
                </a:cubicBezTo>
                <a:cubicBezTo>
                  <a:pt x="130" y="335"/>
                  <a:pt x="124" y="329"/>
                  <a:pt x="123" y="323"/>
                </a:cubicBezTo>
                <a:cubicBezTo>
                  <a:pt x="123" y="323"/>
                  <a:pt x="123" y="323"/>
                  <a:pt x="122" y="323"/>
                </a:cubicBezTo>
                <a:cubicBezTo>
                  <a:pt x="123" y="313"/>
                  <a:pt x="123" y="313"/>
                  <a:pt x="123" y="313"/>
                </a:cubicBezTo>
                <a:cubicBezTo>
                  <a:pt x="127" y="319"/>
                  <a:pt x="119" y="306"/>
                  <a:pt x="123" y="312"/>
                </a:cubicBezTo>
                <a:cubicBezTo>
                  <a:pt x="126" y="286"/>
                  <a:pt x="123" y="253"/>
                  <a:pt x="125" y="224"/>
                </a:cubicBezTo>
                <a:cubicBezTo>
                  <a:pt x="124" y="225"/>
                  <a:pt x="124" y="225"/>
                  <a:pt x="124" y="225"/>
                </a:cubicBezTo>
                <a:cubicBezTo>
                  <a:pt x="124" y="218"/>
                  <a:pt x="123" y="209"/>
                  <a:pt x="124" y="203"/>
                </a:cubicBezTo>
                <a:cubicBezTo>
                  <a:pt x="126" y="197"/>
                  <a:pt x="122" y="190"/>
                  <a:pt x="122" y="188"/>
                </a:cubicBezTo>
                <a:cubicBezTo>
                  <a:pt x="120" y="182"/>
                  <a:pt x="124" y="177"/>
                  <a:pt x="124" y="179"/>
                </a:cubicBezTo>
                <a:cubicBezTo>
                  <a:pt x="123" y="173"/>
                  <a:pt x="119" y="166"/>
                  <a:pt x="121" y="157"/>
                </a:cubicBezTo>
                <a:cubicBezTo>
                  <a:pt x="125" y="154"/>
                  <a:pt x="118" y="132"/>
                  <a:pt x="123" y="132"/>
                </a:cubicBezTo>
                <a:cubicBezTo>
                  <a:pt x="122" y="132"/>
                  <a:pt x="122" y="132"/>
                  <a:pt x="122" y="132"/>
                </a:cubicBezTo>
                <a:cubicBezTo>
                  <a:pt x="125" y="122"/>
                  <a:pt x="122" y="112"/>
                  <a:pt x="123" y="102"/>
                </a:cubicBezTo>
                <a:cubicBezTo>
                  <a:pt x="126" y="105"/>
                  <a:pt x="129" y="109"/>
                  <a:pt x="130" y="114"/>
                </a:cubicBezTo>
                <a:cubicBezTo>
                  <a:pt x="128" y="117"/>
                  <a:pt x="139" y="131"/>
                  <a:pt x="141" y="131"/>
                </a:cubicBezTo>
                <a:cubicBezTo>
                  <a:pt x="143" y="128"/>
                  <a:pt x="143" y="128"/>
                  <a:pt x="143" y="128"/>
                </a:cubicBezTo>
                <a:cubicBezTo>
                  <a:pt x="147" y="133"/>
                  <a:pt x="146" y="137"/>
                  <a:pt x="151" y="140"/>
                </a:cubicBezTo>
                <a:cubicBezTo>
                  <a:pt x="150" y="140"/>
                  <a:pt x="150" y="140"/>
                  <a:pt x="150" y="140"/>
                </a:cubicBezTo>
                <a:cubicBezTo>
                  <a:pt x="150" y="140"/>
                  <a:pt x="151" y="141"/>
                  <a:pt x="151" y="141"/>
                </a:cubicBezTo>
                <a:cubicBezTo>
                  <a:pt x="152" y="141"/>
                  <a:pt x="156" y="140"/>
                  <a:pt x="154" y="149"/>
                </a:cubicBezTo>
                <a:cubicBezTo>
                  <a:pt x="153" y="149"/>
                  <a:pt x="153" y="149"/>
                  <a:pt x="153" y="149"/>
                </a:cubicBezTo>
                <a:cubicBezTo>
                  <a:pt x="153" y="150"/>
                  <a:pt x="154" y="149"/>
                  <a:pt x="154" y="150"/>
                </a:cubicBezTo>
                <a:cubicBezTo>
                  <a:pt x="154" y="148"/>
                  <a:pt x="154" y="148"/>
                  <a:pt x="154" y="148"/>
                </a:cubicBezTo>
                <a:cubicBezTo>
                  <a:pt x="156" y="148"/>
                  <a:pt x="157" y="148"/>
                  <a:pt x="158" y="149"/>
                </a:cubicBezTo>
                <a:cubicBezTo>
                  <a:pt x="158" y="149"/>
                  <a:pt x="157" y="150"/>
                  <a:pt x="157" y="150"/>
                </a:cubicBezTo>
                <a:cubicBezTo>
                  <a:pt x="159" y="152"/>
                  <a:pt x="159" y="152"/>
                  <a:pt x="159" y="152"/>
                </a:cubicBezTo>
                <a:cubicBezTo>
                  <a:pt x="158" y="154"/>
                  <a:pt x="158" y="154"/>
                  <a:pt x="158" y="154"/>
                </a:cubicBezTo>
                <a:cubicBezTo>
                  <a:pt x="159" y="154"/>
                  <a:pt x="163" y="151"/>
                  <a:pt x="162" y="154"/>
                </a:cubicBezTo>
                <a:cubicBezTo>
                  <a:pt x="164" y="152"/>
                  <a:pt x="164" y="154"/>
                  <a:pt x="165" y="153"/>
                </a:cubicBezTo>
                <a:cubicBezTo>
                  <a:pt x="165" y="153"/>
                  <a:pt x="164" y="154"/>
                  <a:pt x="164" y="154"/>
                </a:cubicBezTo>
                <a:cubicBezTo>
                  <a:pt x="165" y="155"/>
                  <a:pt x="167" y="157"/>
                  <a:pt x="169" y="156"/>
                </a:cubicBezTo>
                <a:cubicBezTo>
                  <a:pt x="169" y="156"/>
                  <a:pt x="171" y="148"/>
                  <a:pt x="173" y="146"/>
                </a:cubicBezTo>
                <a:cubicBezTo>
                  <a:pt x="174" y="147"/>
                  <a:pt x="174" y="146"/>
                  <a:pt x="175" y="145"/>
                </a:cubicBezTo>
                <a:cubicBezTo>
                  <a:pt x="174" y="145"/>
                  <a:pt x="174" y="145"/>
                  <a:pt x="174" y="145"/>
                </a:cubicBezTo>
                <a:cubicBezTo>
                  <a:pt x="174" y="144"/>
                  <a:pt x="175" y="143"/>
                  <a:pt x="176" y="142"/>
                </a:cubicBezTo>
                <a:cubicBezTo>
                  <a:pt x="175" y="142"/>
                  <a:pt x="175" y="142"/>
                  <a:pt x="175" y="142"/>
                </a:cubicBezTo>
                <a:cubicBezTo>
                  <a:pt x="175" y="142"/>
                  <a:pt x="175" y="142"/>
                  <a:pt x="175" y="142"/>
                </a:cubicBezTo>
                <a:cubicBezTo>
                  <a:pt x="175" y="142"/>
                  <a:pt x="175" y="143"/>
                  <a:pt x="175" y="143"/>
                </a:cubicBezTo>
                <a:cubicBezTo>
                  <a:pt x="174" y="143"/>
                  <a:pt x="174" y="143"/>
                  <a:pt x="174" y="143"/>
                </a:cubicBezTo>
                <a:cubicBezTo>
                  <a:pt x="174" y="143"/>
                  <a:pt x="174" y="143"/>
                  <a:pt x="174" y="143"/>
                </a:cubicBezTo>
                <a:cubicBezTo>
                  <a:pt x="174" y="142"/>
                  <a:pt x="174" y="142"/>
                  <a:pt x="174" y="141"/>
                </a:cubicBezTo>
                <a:cubicBezTo>
                  <a:pt x="175" y="140"/>
                  <a:pt x="175" y="140"/>
                  <a:pt x="175" y="140"/>
                </a:cubicBezTo>
                <a:cubicBezTo>
                  <a:pt x="172" y="141"/>
                  <a:pt x="176" y="133"/>
                  <a:pt x="175" y="132"/>
                </a:cubicBezTo>
                <a:cubicBezTo>
                  <a:pt x="176" y="130"/>
                  <a:pt x="174" y="131"/>
                  <a:pt x="174" y="129"/>
                </a:cubicBezTo>
                <a:cubicBezTo>
                  <a:pt x="173" y="127"/>
                  <a:pt x="175" y="127"/>
                  <a:pt x="176" y="125"/>
                </a:cubicBezTo>
                <a:cubicBezTo>
                  <a:pt x="176" y="123"/>
                  <a:pt x="174" y="126"/>
                  <a:pt x="174" y="126"/>
                </a:cubicBezTo>
                <a:cubicBezTo>
                  <a:pt x="175" y="123"/>
                  <a:pt x="175" y="123"/>
                  <a:pt x="175" y="123"/>
                </a:cubicBezTo>
                <a:cubicBezTo>
                  <a:pt x="176" y="124"/>
                  <a:pt x="176" y="123"/>
                  <a:pt x="176" y="123"/>
                </a:cubicBezTo>
                <a:cubicBezTo>
                  <a:pt x="176" y="121"/>
                  <a:pt x="177" y="117"/>
                  <a:pt x="174" y="119"/>
                </a:cubicBezTo>
                <a:cubicBezTo>
                  <a:pt x="174" y="116"/>
                  <a:pt x="175" y="116"/>
                  <a:pt x="175" y="115"/>
                </a:cubicBezTo>
                <a:cubicBezTo>
                  <a:pt x="175" y="115"/>
                  <a:pt x="175" y="116"/>
                  <a:pt x="174" y="116"/>
                </a:cubicBezTo>
                <a:cubicBezTo>
                  <a:pt x="175" y="115"/>
                  <a:pt x="174" y="116"/>
                  <a:pt x="173" y="117"/>
                </a:cubicBezTo>
                <a:cubicBezTo>
                  <a:pt x="172" y="116"/>
                  <a:pt x="175" y="108"/>
                  <a:pt x="172" y="110"/>
                </a:cubicBezTo>
                <a:cubicBezTo>
                  <a:pt x="172" y="109"/>
                  <a:pt x="172" y="109"/>
                  <a:pt x="172" y="109"/>
                </a:cubicBezTo>
                <a:cubicBezTo>
                  <a:pt x="170" y="111"/>
                  <a:pt x="168" y="112"/>
                  <a:pt x="166" y="112"/>
                </a:cubicBezTo>
                <a:cubicBezTo>
                  <a:pt x="167" y="111"/>
                  <a:pt x="167" y="111"/>
                  <a:pt x="167" y="111"/>
                </a:cubicBezTo>
                <a:cubicBezTo>
                  <a:pt x="166" y="111"/>
                  <a:pt x="166" y="111"/>
                  <a:pt x="166" y="111"/>
                </a:cubicBezTo>
                <a:cubicBezTo>
                  <a:pt x="166" y="110"/>
                  <a:pt x="167" y="110"/>
                  <a:pt x="167" y="110"/>
                </a:cubicBezTo>
                <a:cubicBezTo>
                  <a:pt x="165" y="109"/>
                  <a:pt x="166" y="107"/>
                  <a:pt x="165" y="105"/>
                </a:cubicBezTo>
                <a:cubicBezTo>
                  <a:pt x="160" y="110"/>
                  <a:pt x="160" y="110"/>
                  <a:pt x="160" y="110"/>
                </a:cubicBezTo>
                <a:cubicBezTo>
                  <a:pt x="160" y="108"/>
                  <a:pt x="162" y="104"/>
                  <a:pt x="160" y="105"/>
                </a:cubicBezTo>
                <a:cubicBezTo>
                  <a:pt x="161" y="103"/>
                  <a:pt x="161" y="103"/>
                  <a:pt x="161" y="103"/>
                </a:cubicBezTo>
                <a:cubicBezTo>
                  <a:pt x="164" y="98"/>
                  <a:pt x="159" y="102"/>
                  <a:pt x="159" y="101"/>
                </a:cubicBezTo>
                <a:cubicBezTo>
                  <a:pt x="161" y="98"/>
                  <a:pt x="161" y="98"/>
                  <a:pt x="161" y="98"/>
                </a:cubicBezTo>
                <a:cubicBezTo>
                  <a:pt x="161" y="99"/>
                  <a:pt x="161" y="99"/>
                  <a:pt x="161" y="99"/>
                </a:cubicBezTo>
                <a:cubicBezTo>
                  <a:pt x="162" y="97"/>
                  <a:pt x="162" y="96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3" y="95"/>
                  <a:pt x="163" y="95"/>
                  <a:pt x="163" y="95"/>
                </a:cubicBezTo>
                <a:cubicBezTo>
                  <a:pt x="161" y="95"/>
                  <a:pt x="160" y="95"/>
                  <a:pt x="160" y="94"/>
                </a:cubicBezTo>
                <a:cubicBezTo>
                  <a:pt x="159" y="93"/>
                  <a:pt x="157" y="93"/>
                  <a:pt x="158" y="89"/>
                </a:cubicBezTo>
                <a:cubicBezTo>
                  <a:pt x="156" y="90"/>
                  <a:pt x="156" y="90"/>
                  <a:pt x="156" y="90"/>
                </a:cubicBezTo>
                <a:cubicBezTo>
                  <a:pt x="156" y="88"/>
                  <a:pt x="156" y="88"/>
                  <a:pt x="156" y="88"/>
                </a:cubicBezTo>
                <a:cubicBezTo>
                  <a:pt x="158" y="87"/>
                  <a:pt x="158" y="87"/>
                  <a:pt x="158" y="87"/>
                </a:cubicBezTo>
                <a:cubicBezTo>
                  <a:pt x="159" y="88"/>
                  <a:pt x="161" y="91"/>
                  <a:pt x="162" y="93"/>
                </a:cubicBezTo>
                <a:cubicBezTo>
                  <a:pt x="163" y="92"/>
                  <a:pt x="163" y="92"/>
                  <a:pt x="163" y="92"/>
                </a:cubicBezTo>
                <a:cubicBezTo>
                  <a:pt x="163" y="91"/>
                  <a:pt x="161" y="90"/>
                  <a:pt x="161" y="89"/>
                </a:cubicBezTo>
                <a:cubicBezTo>
                  <a:pt x="161" y="89"/>
                  <a:pt x="162" y="87"/>
                  <a:pt x="164" y="87"/>
                </a:cubicBezTo>
                <a:cubicBezTo>
                  <a:pt x="162" y="87"/>
                  <a:pt x="162" y="87"/>
                  <a:pt x="162" y="87"/>
                </a:cubicBezTo>
                <a:cubicBezTo>
                  <a:pt x="159" y="83"/>
                  <a:pt x="159" y="83"/>
                  <a:pt x="159" y="78"/>
                </a:cubicBezTo>
                <a:cubicBezTo>
                  <a:pt x="158" y="79"/>
                  <a:pt x="158" y="79"/>
                  <a:pt x="158" y="79"/>
                </a:cubicBezTo>
                <a:cubicBezTo>
                  <a:pt x="157" y="78"/>
                  <a:pt x="156" y="78"/>
                  <a:pt x="158" y="77"/>
                </a:cubicBezTo>
                <a:cubicBezTo>
                  <a:pt x="157" y="74"/>
                  <a:pt x="156" y="71"/>
                  <a:pt x="158" y="68"/>
                </a:cubicBezTo>
                <a:cubicBezTo>
                  <a:pt x="156" y="69"/>
                  <a:pt x="156" y="69"/>
                  <a:pt x="156" y="69"/>
                </a:cubicBezTo>
                <a:cubicBezTo>
                  <a:pt x="155" y="69"/>
                  <a:pt x="158" y="66"/>
                  <a:pt x="155" y="68"/>
                </a:cubicBezTo>
                <a:cubicBezTo>
                  <a:pt x="153" y="67"/>
                  <a:pt x="153" y="67"/>
                  <a:pt x="153" y="67"/>
                </a:cubicBezTo>
                <a:cubicBezTo>
                  <a:pt x="153" y="66"/>
                  <a:pt x="152" y="66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5"/>
                  <a:pt x="153" y="65"/>
                  <a:pt x="153" y="65"/>
                </a:cubicBezTo>
                <a:cubicBezTo>
                  <a:pt x="153" y="64"/>
                  <a:pt x="152" y="64"/>
                  <a:pt x="152" y="64"/>
                </a:cubicBezTo>
                <a:cubicBezTo>
                  <a:pt x="151" y="64"/>
                  <a:pt x="151" y="65"/>
                  <a:pt x="151" y="63"/>
                </a:cubicBezTo>
                <a:cubicBezTo>
                  <a:pt x="151" y="61"/>
                  <a:pt x="147" y="63"/>
                  <a:pt x="147" y="62"/>
                </a:cubicBezTo>
                <a:cubicBezTo>
                  <a:pt x="148" y="60"/>
                  <a:pt x="148" y="59"/>
                  <a:pt x="149" y="58"/>
                </a:cubicBezTo>
                <a:cubicBezTo>
                  <a:pt x="149" y="54"/>
                  <a:pt x="146" y="56"/>
                  <a:pt x="144" y="52"/>
                </a:cubicBezTo>
                <a:cubicBezTo>
                  <a:pt x="144" y="49"/>
                  <a:pt x="145" y="45"/>
                  <a:pt x="148" y="44"/>
                </a:cubicBezTo>
                <a:cubicBezTo>
                  <a:pt x="145" y="45"/>
                  <a:pt x="146" y="45"/>
                  <a:pt x="144" y="44"/>
                </a:cubicBezTo>
                <a:cubicBezTo>
                  <a:pt x="144" y="43"/>
                  <a:pt x="145" y="43"/>
                  <a:pt x="146" y="42"/>
                </a:cubicBezTo>
                <a:cubicBezTo>
                  <a:pt x="146" y="38"/>
                  <a:pt x="144" y="42"/>
                  <a:pt x="143" y="40"/>
                </a:cubicBezTo>
                <a:cubicBezTo>
                  <a:pt x="141" y="42"/>
                  <a:pt x="139" y="45"/>
                  <a:pt x="138" y="45"/>
                </a:cubicBezTo>
                <a:cubicBezTo>
                  <a:pt x="138" y="46"/>
                  <a:pt x="138" y="46"/>
                  <a:pt x="138" y="46"/>
                </a:cubicBezTo>
                <a:cubicBezTo>
                  <a:pt x="136" y="46"/>
                  <a:pt x="135" y="45"/>
                  <a:pt x="135" y="42"/>
                </a:cubicBezTo>
                <a:cubicBezTo>
                  <a:pt x="136" y="40"/>
                  <a:pt x="136" y="40"/>
                  <a:pt x="136" y="40"/>
                </a:cubicBezTo>
                <a:cubicBezTo>
                  <a:pt x="134" y="39"/>
                  <a:pt x="134" y="39"/>
                  <a:pt x="134" y="39"/>
                </a:cubicBezTo>
                <a:cubicBezTo>
                  <a:pt x="135" y="37"/>
                  <a:pt x="135" y="37"/>
                  <a:pt x="135" y="37"/>
                </a:cubicBezTo>
                <a:cubicBezTo>
                  <a:pt x="133" y="35"/>
                  <a:pt x="133" y="35"/>
                  <a:pt x="133" y="35"/>
                </a:cubicBezTo>
                <a:cubicBezTo>
                  <a:pt x="133" y="36"/>
                  <a:pt x="133" y="36"/>
                  <a:pt x="133" y="36"/>
                </a:cubicBezTo>
                <a:cubicBezTo>
                  <a:pt x="133" y="35"/>
                  <a:pt x="132" y="34"/>
                  <a:pt x="131" y="32"/>
                </a:cubicBezTo>
                <a:cubicBezTo>
                  <a:pt x="132" y="31"/>
                  <a:pt x="132" y="31"/>
                  <a:pt x="132" y="31"/>
                </a:cubicBezTo>
                <a:cubicBezTo>
                  <a:pt x="132" y="27"/>
                  <a:pt x="131" y="25"/>
                  <a:pt x="129" y="24"/>
                </a:cubicBezTo>
                <a:cubicBezTo>
                  <a:pt x="128" y="24"/>
                  <a:pt x="127" y="23"/>
                  <a:pt x="126" y="21"/>
                </a:cubicBezTo>
                <a:cubicBezTo>
                  <a:pt x="127" y="19"/>
                  <a:pt x="127" y="19"/>
                  <a:pt x="127" y="19"/>
                </a:cubicBezTo>
                <a:cubicBezTo>
                  <a:pt x="127" y="15"/>
                  <a:pt x="126" y="23"/>
                  <a:pt x="125" y="20"/>
                </a:cubicBezTo>
                <a:cubicBezTo>
                  <a:pt x="126" y="16"/>
                  <a:pt x="126" y="16"/>
                  <a:pt x="126" y="16"/>
                </a:cubicBezTo>
                <a:cubicBezTo>
                  <a:pt x="124" y="20"/>
                  <a:pt x="125" y="13"/>
                  <a:pt x="125" y="10"/>
                </a:cubicBezTo>
                <a:cubicBezTo>
                  <a:pt x="124" y="16"/>
                  <a:pt x="124" y="16"/>
                  <a:pt x="124" y="16"/>
                </a:cubicBezTo>
                <a:cubicBezTo>
                  <a:pt x="123" y="13"/>
                  <a:pt x="123" y="13"/>
                  <a:pt x="123" y="13"/>
                </a:cubicBezTo>
                <a:cubicBezTo>
                  <a:pt x="122" y="9"/>
                  <a:pt x="124" y="5"/>
                  <a:pt x="124" y="3"/>
                </a:cubicBezTo>
                <a:cubicBezTo>
                  <a:pt x="124" y="3"/>
                  <a:pt x="123" y="4"/>
                  <a:pt x="123" y="5"/>
                </a:cubicBezTo>
                <a:cubicBezTo>
                  <a:pt x="123" y="0"/>
                  <a:pt x="123" y="0"/>
                  <a:pt x="123" y="0"/>
                </a:cubicBezTo>
                <a:cubicBezTo>
                  <a:pt x="123" y="1"/>
                  <a:pt x="123" y="1"/>
                  <a:pt x="123" y="1"/>
                </a:cubicBezTo>
                <a:cubicBezTo>
                  <a:pt x="123" y="2"/>
                  <a:pt x="123" y="2"/>
                  <a:pt x="122" y="2"/>
                </a:cubicBezTo>
                <a:cubicBezTo>
                  <a:pt x="122" y="3"/>
                  <a:pt x="122" y="3"/>
                  <a:pt x="122" y="3"/>
                </a:cubicBezTo>
                <a:cubicBezTo>
                  <a:pt x="122" y="2"/>
                  <a:pt x="121" y="2"/>
                  <a:pt x="121" y="4"/>
                </a:cubicBezTo>
                <a:cubicBezTo>
                  <a:pt x="121" y="3"/>
                  <a:pt x="121" y="1"/>
                  <a:pt x="121" y="1"/>
                </a:cubicBezTo>
                <a:cubicBezTo>
                  <a:pt x="117" y="11"/>
                  <a:pt x="117" y="11"/>
                  <a:pt x="117" y="11"/>
                </a:cubicBezTo>
                <a:cubicBezTo>
                  <a:pt x="119" y="6"/>
                  <a:pt x="119" y="6"/>
                  <a:pt x="119" y="6"/>
                </a:cubicBezTo>
                <a:cubicBezTo>
                  <a:pt x="118" y="13"/>
                  <a:pt x="118" y="13"/>
                  <a:pt x="118" y="13"/>
                </a:cubicBezTo>
                <a:cubicBezTo>
                  <a:pt x="116" y="20"/>
                  <a:pt x="116" y="14"/>
                  <a:pt x="115" y="17"/>
                </a:cubicBezTo>
                <a:cubicBezTo>
                  <a:pt x="116" y="15"/>
                  <a:pt x="116" y="15"/>
                  <a:pt x="116" y="15"/>
                </a:cubicBezTo>
                <a:cubicBezTo>
                  <a:pt x="114" y="18"/>
                  <a:pt x="114" y="16"/>
                  <a:pt x="113" y="16"/>
                </a:cubicBezTo>
                <a:cubicBezTo>
                  <a:pt x="113" y="16"/>
                  <a:pt x="114" y="18"/>
                  <a:pt x="113" y="19"/>
                </a:cubicBezTo>
                <a:cubicBezTo>
                  <a:pt x="113" y="20"/>
                  <a:pt x="113" y="17"/>
                  <a:pt x="112" y="17"/>
                </a:cubicBezTo>
                <a:cubicBezTo>
                  <a:pt x="112" y="21"/>
                  <a:pt x="111" y="25"/>
                  <a:pt x="110" y="24"/>
                </a:cubicBezTo>
                <a:cubicBezTo>
                  <a:pt x="110" y="24"/>
                  <a:pt x="110" y="23"/>
                  <a:pt x="110" y="23"/>
                </a:cubicBezTo>
                <a:cubicBezTo>
                  <a:pt x="110" y="24"/>
                  <a:pt x="109" y="25"/>
                  <a:pt x="109" y="25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8" y="25"/>
                  <a:pt x="108" y="25"/>
                  <a:pt x="108" y="25"/>
                </a:cubicBezTo>
                <a:cubicBezTo>
                  <a:pt x="107" y="25"/>
                  <a:pt x="107" y="29"/>
                  <a:pt x="107" y="26"/>
                </a:cubicBezTo>
                <a:cubicBezTo>
                  <a:pt x="107" y="25"/>
                  <a:pt x="107" y="25"/>
                  <a:pt x="107" y="25"/>
                </a:cubicBezTo>
                <a:cubicBezTo>
                  <a:pt x="102" y="30"/>
                  <a:pt x="102" y="30"/>
                  <a:pt x="102" y="30"/>
                </a:cubicBezTo>
                <a:cubicBezTo>
                  <a:pt x="101" y="27"/>
                  <a:pt x="101" y="27"/>
                  <a:pt x="101" y="27"/>
                </a:cubicBezTo>
                <a:cubicBezTo>
                  <a:pt x="101" y="31"/>
                  <a:pt x="98" y="29"/>
                  <a:pt x="99" y="33"/>
                </a:cubicBezTo>
                <a:cubicBezTo>
                  <a:pt x="97" y="32"/>
                  <a:pt x="96" y="39"/>
                  <a:pt x="95" y="34"/>
                </a:cubicBezTo>
                <a:cubicBezTo>
                  <a:pt x="93" y="35"/>
                  <a:pt x="92" y="38"/>
                  <a:pt x="91" y="40"/>
                </a:cubicBezTo>
                <a:cubicBezTo>
                  <a:pt x="89" y="42"/>
                  <a:pt x="88" y="44"/>
                  <a:pt x="85" y="46"/>
                </a:cubicBezTo>
                <a:cubicBezTo>
                  <a:pt x="84" y="45"/>
                  <a:pt x="82" y="46"/>
                  <a:pt x="80" y="47"/>
                </a:cubicBezTo>
                <a:cubicBezTo>
                  <a:pt x="79" y="48"/>
                  <a:pt x="78" y="49"/>
                  <a:pt x="77" y="49"/>
                </a:cubicBezTo>
                <a:cubicBezTo>
                  <a:pt x="77" y="50"/>
                  <a:pt x="76" y="50"/>
                  <a:pt x="76" y="50"/>
                </a:cubicBezTo>
                <a:cubicBezTo>
                  <a:pt x="74" y="54"/>
                  <a:pt x="73" y="57"/>
                  <a:pt x="71" y="61"/>
                </a:cubicBezTo>
                <a:cubicBezTo>
                  <a:pt x="65" y="58"/>
                  <a:pt x="67" y="66"/>
                  <a:pt x="63" y="66"/>
                </a:cubicBezTo>
                <a:cubicBezTo>
                  <a:pt x="64" y="68"/>
                  <a:pt x="64" y="68"/>
                  <a:pt x="64" y="68"/>
                </a:cubicBezTo>
                <a:cubicBezTo>
                  <a:pt x="60" y="66"/>
                  <a:pt x="61" y="71"/>
                  <a:pt x="57" y="70"/>
                </a:cubicBezTo>
                <a:cubicBezTo>
                  <a:pt x="57" y="71"/>
                  <a:pt x="57" y="72"/>
                  <a:pt x="57" y="72"/>
                </a:cubicBezTo>
                <a:cubicBezTo>
                  <a:pt x="57" y="72"/>
                  <a:pt x="57" y="72"/>
                  <a:pt x="58" y="73"/>
                </a:cubicBezTo>
                <a:cubicBezTo>
                  <a:pt x="57" y="73"/>
                  <a:pt x="56" y="75"/>
                  <a:pt x="55" y="72"/>
                </a:cubicBezTo>
                <a:cubicBezTo>
                  <a:pt x="55" y="72"/>
                  <a:pt x="55" y="72"/>
                  <a:pt x="55" y="72"/>
                </a:cubicBezTo>
                <a:cubicBezTo>
                  <a:pt x="53" y="70"/>
                  <a:pt x="54" y="74"/>
                  <a:pt x="52" y="73"/>
                </a:cubicBezTo>
                <a:cubicBezTo>
                  <a:pt x="54" y="75"/>
                  <a:pt x="54" y="75"/>
                  <a:pt x="54" y="75"/>
                </a:cubicBezTo>
                <a:cubicBezTo>
                  <a:pt x="53" y="76"/>
                  <a:pt x="53" y="76"/>
                  <a:pt x="53" y="76"/>
                </a:cubicBezTo>
                <a:cubicBezTo>
                  <a:pt x="52" y="75"/>
                  <a:pt x="52" y="75"/>
                  <a:pt x="52" y="75"/>
                </a:cubicBezTo>
                <a:cubicBezTo>
                  <a:pt x="52" y="84"/>
                  <a:pt x="44" y="78"/>
                  <a:pt x="43" y="86"/>
                </a:cubicBezTo>
                <a:cubicBezTo>
                  <a:pt x="42" y="83"/>
                  <a:pt x="43" y="88"/>
                  <a:pt x="41" y="85"/>
                </a:cubicBezTo>
                <a:cubicBezTo>
                  <a:pt x="37" y="83"/>
                  <a:pt x="39" y="87"/>
                  <a:pt x="39" y="89"/>
                </a:cubicBezTo>
                <a:cubicBezTo>
                  <a:pt x="39" y="89"/>
                  <a:pt x="39" y="89"/>
                  <a:pt x="39" y="90"/>
                </a:cubicBezTo>
                <a:cubicBezTo>
                  <a:pt x="37" y="91"/>
                  <a:pt x="37" y="91"/>
                  <a:pt x="37" y="91"/>
                </a:cubicBezTo>
                <a:cubicBezTo>
                  <a:pt x="36" y="86"/>
                  <a:pt x="38" y="94"/>
                  <a:pt x="37" y="91"/>
                </a:cubicBezTo>
                <a:cubicBezTo>
                  <a:pt x="31" y="91"/>
                  <a:pt x="27" y="98"/>
                  <a:pt x="21" y="100"/>
                </a:cubicBezTo>
                <a:cubicBezTo>
                  <a:pt x="22" y="101"/>
                  <a:pt x="22" y="101"/>
                  <a:pt x="22" y="101"/>
                </a:cubicBezTo>
                <a:cubicBezTo>
                  <a:pt x="20" y="101"/>
                  <a:pt x="19" y="104"/>
                  <a:pt x="18" y="103"/>
                </a:cubicBezTo>
                <a:cubicBezTo>
                  <a:pt x="16" y="102"/>
                  <a:pt x="17" y="106"/>
                  <a:pt x="17" y="107"/>
                </a:cubicBezTo>
                <a:cubicBezTo>
                  <a:pt x="16" y="109"/>
                  <a:pt x="13" y="107"/>
                  <a:pt x="14" y="106"/>
                </a:cubicBezTo>
                <a:cubicBezTo>
                  <a:pt x="13" y="108"/>
                  <a:pt x="14" y="112"/>
                  <a:pt x="12" y="111"/>
                </a:cubicBezTo>
                <a:cubicBezTo>
                  <a:pt x="9" y="109"/>
                  <a:pt x="9" y="117"/>
                  <a:pt x="7" y="114"/>
                </a:cubicBezTo>
                <a:cubicBezTo>
                  <a:pt x="7" y="114"/>
                  <a:pt x="7" y="114"/>
                  <a:pt x="7" y="114"/>
                </a:cubicBezTo>
                <a:cubicBezTo>
                  <a:pt x="3" y="113"/>
                  <a:pt x="4" y="118"/>
                  <a:pt x="0" y="117"/>
                </a:cubicBezTo>
                <a:cubicBezTo>
                  <a:pt x="0" y="117"/>
                  <a:pt x="0" y="117"/>
                  <a:pt x="0" y="117"/>
                </a:cubicBezTo>
                <a:cubicBezTo>
                  <a:pt x="1" y="121"/>
                  <a:pt x="1" y="126"/>
                  <a:pt x="2" y="130"/>
                </a:cubicBezTo>
                <a:cubicBezTo>
                  <a:pt x="10" y="141"/>
                  <a:pt x="10" y="141"/>
                  <a:pt x="10" y="141"/>
                </a:cubicBezTo>
                <a:cubicBezTo>
                  <a:pt x="20" y="148"/>
                  <a:pt x="20" y="148"/>
                  <a:pt x="20" y="148"/>
                </a:cubicBezTo>
                <a:cubicBezTo>
                  <a:pt x="23" y="145"/>
                  <a:pt x="27" y="142"/>
                  <a:pt x="30" y="139"/>
                </a:cubicBezTo>
                <a:cubicBezTo>
                  <a:pt x="42" y="137"/>
                  <a:pt x="42" y="137"/>
                  <a:pt x="42" y="137"/>
                </a:cubicBezTo>
                <a:cubicBezTo>
                  <a:pt x="49" y="132"/>
                  <a:pt x="56" y="127"/>
                  <a:pt x="63" y="121"/>
                </a:cubicBezTo>
                <a:cubicBezTo>
                  <a:pt x="62" y="117"/>
                  <a:pt x="62" y="117"/>
                  <a:pt x="62" y="117"/>
                </a:cubicBezTo>
                <a:cubicBezTo>
                  <a:pt x="70" y="119"/>
                  <a:pt x="72" y="110"/>
                  <a:pt x="78" y="109"/>
                </a:cubicBezTo>
                <a:cubicBezTo>
                  <a:pt x="77" y="107"/>
                  <a:pt x="77" y="107"/>
                  <a:pt x="77" y="107"/>
                </a:cubicBezTo>
                <a:cubicBezTo>
                  <a:pt x="78" y="106"/>
                  <a:pt x="79" y="108"/>
                  <a:pt x="79" y="108"/>
                </a:cubicBezTo>
                <a:cubicBezTo>
                  <a:pt x="82" y="105"/>
                  <a:pt x="85" y="103"/>
                  <a:pt x="87" y="101"/>
                </a:cubicBezTo>
                <a:cubicBezTo>
                  <a:pt x="87" y="121"/>
                  <a:pt x="87" y="141"/>
                  <a:pt x="88" y="160"/>
                </a:cubicBezTo>
                <a:cubicBezTo>
                  <a:pt x="82" y="209"/>
                  <a:pt x="82" y="209"/>
                  <a:pt x="82" y="209"/>
                </a:cubicBezTo>
                <a:cubicBezTo>
                  <a:pt x="82" y="249"/>
                  <a:pt x="82" y="288"/>
                  <a:pt x="83" y="328"/>
                </a:cubicBezTo>
                <a:cubicBezTo>
                  <a:pt x="87" y="336"/>
                  <a:pt x="87" y="336"/>
                  <a:pt x="87" y="336"/>
                </a:cubicBezTo>
                <a:cubicBezTo>
                  <a:pt x="81" y="359"/>
                  <a:pt x="88" y="389"/>
                  <a:pt x="85" y="415"/>
                </a:cubicBezTo>
                <a:cubicBezTo>
                  <a:pt x="88" y="415"/>
                  <a:pt x="88" y="415"/>
                  <a:pt x="88" y="415"/>
                </a:cubicBezTo>
                <a:cubicBezTo>
                  <a:pt x="89" y="422"/>
                  <a:pt x="87" y="422"/>
                  <a:pt x="86" y="423"/>
                </a:cubicBezTo>
                <a:cubicBezTo>
                  <a:pt x="88" y="456"/>
                  <a:pt x="91" y="490"/>
                  <a:pt x="96" y="523"/>
                </a:cubicBezTo>
                <a:cubicBezTo>
                  <a:pt x="98" y="539"/>
                  <a:pt x="100" y="556"/>
                  <a:pt x="103" y="572"/>
                </a:cubicBezTo>
                <a:cubicBezTo>
                  <a:pt x="105" y="580"/>
                  <a:pt x="107" y="588"/>
                  <a:pt x="109" y="597"/>
                </a:cubicBezTo>
                <a:cubicBezTo>
                  <a:pt x="112" y="605"/>
                  <a:pt x="114" y="613"/>
                  <a:pt x="120" y="623"/>
                </a:cubicBezTo>
                <a:cubicBezTo>
                  <a:pt x="121" y="625"/>
                  <a:pt x="123" y="628"/>
                  <a:pt x="126" y="632"/>
                </a:cubicBezTo>
                <a:cubicBezTo>
                  <a:pt x="129" y="635"/>
                  <a:pt x="133" y="638"/>
                  <a:pt x="136" y="640"/>
                </a:cubicBezTo>
                <a:cubicBezTo>
                  <a:pt x="143" y="644"/>
                  <a:pt x="149" y="647"/>
                  <a:pt x="151" y="649"/>
                </a:cubicBezTo>
                <a:cubicBezTo>
                  <a:pt x="163" y="652"/>
                  <a:pt x="173" y="654"/>
                  <a:pt x="184" y="655"/>
                </a:cubicBezTo>
                <a:cubicBezTo>
                  <a:pt x="194" y="657"/>
                  <a:pt x="204" y="659"/>
                  <a:pt x="214" y="661"/>
                </a:cubicBezTo>
                <a:cubicBezTo>
                  <a:pt x="213" y="661"/>
                  <a:pt x="213" y="661"/>
                  <a:pt x="213" y="661"/>
                </a:cubicBezTo>
                <a:cubicBezTo>
                  <a:pt x="223" y="662"/>
                  <a:pt x="223" y="662"/>
                  <a:pt x="223" y="662"/>
                </a:cubicBezTo>
                <a:cubicBezTo>
                  <a:pt x="223" y="662"/>
                  <a:pt x="223" y="662"/>
                  <a:pt x="223" y="663"/>
                </a:cubicBezTo>
                <a:cubicBezTo>
                  <a:pt x="233" y="662"/>
                  <a:pt x="249" y="666"/>
                  <a:pt x="262" y="668"/>
                </a:cubicBezTo>
                <a:cubicBezTo>
                  <a:pt x="261" y="668"/>
                  <a:pt x="261" y="668"/>
                  <a:pt x="261" y="668"/>
                </a:cubicBezTo>
                <a:cubicBezTo>
                  <a:pt x="298" y="671"/>
                  <a:pt x="334" y="672"/>
                  <a:pt x="369" y="672"/>
                </a:cubicBezTo>
                <a:cubicBezTo>
                  <a:pt x="404" y="672"/>
                  <a:pt x="439" y="672"/>
                  <a:pt x="476" y="673"/>
                </a:cubicBezTo>
                <a:cubicBezTo>
                  <a:pt x="509" y="677"/>
                  <a:pt x="549" y="671"/>
                  <a:pt x="587" y="673"/>
                </a:cubicBezTo>
                <a:cubicBezTo>
                  <a:pt x="594" y="676"/>
                  <a:pt x="672" y="671"/>
                  <a:pt x="679" y="669"/>
                </a:cubicBezTo>
                <a:cubicBezTo>
                  <a:pt x="670" y="666"/>
                  <a:pt x="670" y="666"/>
                  <a:pt x="670" y="666"/>
                </a:cubicBezTo>
                <a:cubicBezTo>
                  <a:pt x="699" y="664"/>
                  <a:pt x="713" y="666"/>
                  <a:pt x="738" y="662"/>
                </a:cubicBezTo>
                <a:cubicBezTo>
                  <a:pt x="736" y="663"/>
                  <a:pt x="736" y="663"/>
                  <a:pt x="736" y="663"/>
                </a:cubicBezTo>
                <a:cubicBezTo>
                  <a:pt x="739" y="663"/>
                  <a:pt x="738" y="662"/>
                  <a:pt x="739" y="661"/>
                </a:cubicBezTo>
                <a:cubicBezTo>
                  <a:pt x="740" y="660"/>
                  <a:pt x="742" y="661"/>
                  <a:pt x="747" y="665"/>
                </a:cubicBezTo>
                <a:cubicBezTo>
                  <a:pt x="747" y="665"/>
                  <a:pt x="747" y="665"/>
                  <a:pt x="747" y="665"/>
                </a:cubicBezTo>
                <a:cubicBezTo>
                  <a:pt x="747" y="665"/>
                  <a:pt x="747" y="665"/>
                  <a:pt x="747" y="665"/>
                </a:cubicBezTo>
                <a:cubicBezTo>
                  <a:pt x="746" y="663"/>
                  <a:pt x="746" y="663"/>
                  <a:pt x="746" y="663"/>
                </a:cubicBezTo>
                <a:cubicBezTo>
                  <a:pt x="747" y="663"/>
                  <a:pt x="747" y="661"/>
                  <a:pt x="748" y="661"/>
                </a:cubicBezTo>
                <a:cubicBezTo>
                  <a:pt x="749" y="661"/>
                  <a:pt x="749" y="662"/>
                  <a:pt x="749" y="662"/>
                </a:cubicBezTo>
                <a:cubicBezTo>
                  <a:pt x="751" y="662"/>
                  <a:pt x="751" y="662"/>
                  <a:pt x="751" y="662"/>
                </a:cubicBezTo>
                <a:cubicBezTo>
                  <a:pt x="752" y="664"/>
                  <a:pt x="752" y="664"/>
                  <a:pt x="752" y="664"/>
                </a:cubicBezTo>
                <a:cubicBezTo>
                  <a:pt x="753" y="662"/>
                  <a:pt x="753" y="658"/>
                  <a:pt x="755" y="660"/>
                </a:cubicBezTo>
                <a:cubicBezTo>
                  <a:pt x="754" y="657"/>
                  <a:pt x="756" y="658"/>
                  <a:pt x="755" y="657"/>
                </a:cubicBezTo>
                <a:cubicBezTo>
                  <a:pt x="756" y="657"/>
                  <a:pt x="756" y="658"/>
                  <a:pt x="756" y="658"/>
                </a:cubicBezTo>
                <a:cubicBezTo>
                  <a:pt x="757" y="658"/>
                  <a:pt x="760" y="657"/>
                  <a:pt x="760" y="655"/>
                </a:cubicBezTo>
                <a:close/>
                <a:moveTo>
                  <a:pt x="749" y="662"/>
                </a:moveTo>
                <a:cubicBezTo>
                  <a:pt x="749" y="662"/>
                  <a:pt x="749" y="662"/>
                  <a:pt x="749" y="662"/>
                </a:cubicBezTo>
                <a:cubicBezTo>
                  <a:pt x="749" y="663"/>
                  <a:pt x="749" y="663"/>
                  <a:pt x="749" y="662"/>
                </a:cubicBezTo>
                <a:close/>
                <a:moveTo>
                  <a:pt x="632" y="637"/>
                </a:moveTo>
                <a:cubicBezTo>
                  <a:pt x="632" y="637"/>
                  <a:pt x="632" y="637"/>
                  <a:pt x="632" y="637"/>
                </a:cubicBezTo>
                <a:cubicBezTo>
                  <a:pt x="630" y="635"/>
                  <a:pt x="630" y="635"/>
                  <a:pt x="630" y="635"/>
                </a:cubicBezTo>
                <a:lnTo>
                  <a:pt x="632" y="637"/>
                </a:lnTo>
                <a:close/>
                <a:moveTo>
                  <a:pt x="730" y="632"/>
                </a:moveTo>
                <a:cubicBezTo>
                  <a:pt x="732" y="632"/>
                  <a:pt x="733" y="632"/>
                  <a:pt x="734" y="631"/>
                </a:cubicBezTo>
                <a:cubicBezTo>
                  <a:pt x="730" y="631"/>
                  <a:pt x="730" y="632"/>
                  <a:pt x="730" y="632"/>
                </a:cubicBezTo>
                <a:close/>
                <a:moveTo>
                  <a:pt x="756" y="660"/>
                </a:moveTo>
                <a:cubicBezTo>
                  <a:pt x="757" y="660"/>
                  <a:pt x="756" y="659"/>
                  <a:pt x="756" y="658"/>
                </a:cubicBezTo>
                <a:cubicBezTo>
                  <a:pt x="755" y="659"/>
                  <a:pt x="755" y="659"/>
                  <a:pt x="755" y="659"/>
                </a:cubicBezTo>
                <a:cubicBezTo>
                  <a:pt x="756" y="659"/>
                  <a:pt x="756" y="659"/>
                  <a:pt x="756" y="660"/>
                </a:cubicBezTo>
                <a:close/>
                <a:moveTo>
                  <a:pt x="753" y="645"/>
                </a:moveTo>
                <a:cubicBezTo>
                  <a:pt x="753" y="644"/>
                  <a:pt x="753" y="644"/>
                  <a:pt x="753" y="644"/>
                </a:cubicBezTo>
                <a:cubicBezTo>
                  <a:pt x="753" y="644"/>
                  <a:pt x="753" y="644"/>
                  <a:pt x="753" y="645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2206936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ounded Rectangle 12"/>
          <p:cNvSpPr/>
          <p:nvPr/>
        </p:nvSpPr>
        <p:spPr>
          <a:xfrm rot="1218972">
            <a:off x="5217759" y="3261085"/>
            <a:ext cx="3177060" cy="1694432"/>
          </a:xfrm>
          <a:prstGeom prst="roundRect">
            <a:avLst>
              <a:gd name="adj" fmla="val 6883"/>
            </a:avLst>
          </a:prstGeom>
          <a:gradFill flip="none" rotWithShape="1">
            <a:gsLst>
              <a:gs pos="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5400000" scaled="0"/>
            <a:tileRect/>
          </a:gra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12700" dir="10620000">
              <a:schemeClr val="bg1">
                <a:lumMod val="65000"/>
                <a:alpha val="43000"/>
              </a:schemeClr>
            </a:outerShdw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b-NO" dirty="0"/>
          </a:p>
        </p:txBody>
      </p:sp>
      <p:sp>
        <p:nvSpPr>
          <p:cNvPr id="14" name="Rounded Rectangle 13"/>
          <p:cNvSpPr>
            <a:spLocks noChangeArrowheads="1"/>
          </p:cNvSpPr>
          <p:nvPr/>
        </p:nvSpPr>
        <p:spPr bwMode="auto">
          <a:xfrm>
            <a:off x="2770188" y="1314450"/>
            <a:ext cx="3176587" cy="1693863"/>
          </a:xfrm>
          <a:prstGeom prst="roundRect">
            <a:avLst>
              <a:gd name="adj" fmla="val 6884"/>
            </a:avLst>
          </a:prstGeom>
          <a:gradFill rotWithShape="1">
            <a:gsLst>
              <a:gs pos="0">
                <a:srgbClr val="FFFFFF"/>
              </a:gs>
              <a:gs pos="100000">
                <a:srgbClr val="F2F2F2"/>
              </a:gs>
            </a:gsLst>
            <a:lin ang="5400000"/>
          </a:gradFill>
          <a:ln w="6350">
            <a:solidFill>
              <a:srgbClr val="D9D9D9"/>
            </a:solidFill>
            <a:round/>
            <a:headEnd/>
            <a:tailEnd/>
          </a:ln>
          <a:effectLst>
            <a:outerShdw blurRad="50800" dist="12700" dir="10619916" rotWithShape="0">
              <a:srgbClr val="A6A6A6">
                <a:alpha val="42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15" name="Rounded Rectangle 14"/>
          <p:cNvSpPr/>
          <p:nvPr/>
        </p:nvSpPr>
        <p:spPr>
          <a:xfrm rot="21025548">
            <a:off x="681476" y="3039453"/>
            <a:ext cx="3177060" cy="1694432"/>
          </a:xfrm>
          <a:prstGeom prst="roundRect">
            <a:avLst>
              <a:gd name="adj" fmla="val 6883"/>
            </a:avLst>
          </a:prstGeom>
          <a:gradFill flip="none" rotWithShape="1">
            <a:gsLst>
              <a:gs pos="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5400000" scaled="0"/>
            <a:tileRect/>
          </a:gra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12700" dir="10620000">
              <a:schemeClr val="bg1">
                <a:lumMod val="65000"/>
                <a:alpha val="43000"/>
              </a:schemeClr>
            </a:outerShdw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b-NO" dirty="0"/>
          </a:p>
        </p:txBody>
      </p:sp>
      <p:sp>
        <p:nvSpPr>
          <p:cNvPr id="16" name="Rounded Rectangle 15"/>
          <p:cNvSpPr/>
          <p:nvPr/>
        </p:nvSpPr>
        <p:spPr>
          <a:xfrm rot="511540">
            <a:off x="3029494" y="4574415"/>
            <a:ext cx="3177060" cy="1694432"/>
          </a:xfrm>
          <a:prstGeom prst="roundRect">
            <a:avLst>
              <a:gd name="adj" fmla="val 6883"/>
            </a:avLst>
          </a:prstGeom>
          <a:gradFill flip="none" rotWithShape="1">
            <a:gsLst>
              <a:gs pos="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5400000" scaled="0"/>
            <a:tileRect/>
          </a:gra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12700" dir="10620000">
              <a:schemeClr val="bg1">
                <a:lumMod val="65000"/>
                <a:alpha val="43000"/>
              </a:schemeClr>
            </a:outerShdw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b-NO" dirty="0"/>
          </a:p>
        </p:txBody>
      </p:sp>
      <p:sp>
        <p:nvSpPr>
          <p:cNvPr id="17" name="TextBox 19"/>
          <p:cNvSpPr txBox="1">
            <a:spLocks noChangeArrowheads="1"/>
          </p:cNvSpPr>
          <p:nvPr/>
        </p:nvSpPr>
        <p:spPr bwMode="auto">
          <a:xfrm rot="1259190">
            <a:off x="5591175" y="3684588"/>
            <a:ext cx="2805113" cy="1108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buFont typeface="Arial" charset="0"/>
              <a:buChar char="•"/>
            </a:pPr>
            <a:r>
              <a:rPr lang="en-GB" sz="1000">
                <a:solidFill>
                  <a:srgbClr val="595959"/>
                </a:solidFill>
                <a:latin typeface="Calibri" charset="0"/>
              </a:rPr>
              <a:t>This is an example text. </a:t>
            </a:r>
          </a:p>
          <a:p>
            <a:pPr eaLnBrk="1" hangingPunct="1">
              <a:buFont typeface="Arial" charset="0"/>
              <a:buChar char="•"/>
            </a:pPr>
            <a:r>
              <a:rPr lang="en-GB" sz="1000">
                <a:solidFill>
                  <a:srgbClr val="595959"/>
                </a:solidFill>
                <a:latin typeface="Calibri" charset="0"/>
              </a:rPr>
              <a:t>Please fill in your own text – Example text</a:t>
            </a:r>
          </a:p>
          <a:p>
            <a:pPr eaLnBrk="1" hangingPunct="1">
              <a:buFont typeface="Arial" charset="0"/>
              <a:buChar char="•"/>
            </a:pPr>
            <a:r>
              <a:rPr lang="en-GB" sz="1000">
                <a:solidFill>
                  <a:srgbClr val="595959"/>
                </a:solidFill>
                <a:latin typeface="Calibri" charset="0"/>
              </a:rPr>
              <a:t>This is an example text</a:t>
            </a:r>
          </a:p>
          <a:p>
            <a:pPr eaLnBrk="1" hangingPunct="1">
              <a:buFont typeface="Arial" charset="0"/>
              <a:buChar char="•"/>
            </a:pPr>
            <a:r>
              <a:rPr lang="en-GB" sz="1000">
                <a:solidFill>
                  <a:srgbClr val="595959"/>
                </a:solidFill>
                <a:latin typeface="Calibri" charset="0"/>
              </a:rPr>
              <a:t>Please fill in your own text</a:t>
            </a:r>
          </a:p>
          <a:p>
            <a:pPr eaLnBrk="1" hangingPunct="1">
              <a:buFont typeface="Arial" charset="0"/>
              <a:buChar char="•"/>
            </a:pPr>
            <a:r>
              <a:rPr lang="en-GB" sz="1000">
                <a:solidFill>
                  <a:srgbClr val="595959"/>
                </a:solidFill>
                <a:latin typeface="Calibri" charset="0"/>
              </a:rPr>
              <a:t>This is an example text</a:t>
            </a:r>
          </a:p>
          <a:p>
            <a:pPr eaLnBrk="1" hangingPunct="1">
              <a:buFont typeface="Wingdings" pitchFamily="-65" charset="2"/>
              <a:buChar char="ü"/>
            </a:pPr>
            <a:endParaRPr lang="en-GB" sz="1100">
              <a:solidFill>
                <a:srgbClr val="404040"/>
              </a:solidFill>
              <a:latin typeface="Calibri" charset="0"/>
            </a:endParaRPr>
          </a:p>
        </p:txBody>
      </p:sp>
      <p:sp>
        <p:nvSpPr>
          <p:cNvPr id="18" name="TextBox 20"/>
          <p:cNvSpPr txBox="1">
            <a:spLocks noChangeArrowheads="1"/>
          </p:cNvSpPr>
          <p:nvPr/>
        </p:nvSpPr>
        <p:spPr bwMode="auto">
          <a:xfrm rot="1259190">
            <a:off x="5832475" y="3527425"/>
            <a:ext cx="2805113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GB" sz="1100" b="1">
                <a:solidFill>
                  <a:srgbClr val="376092"/>
                </a:solidFill>
                <a:latin typeface="+mn-lt"/>
              </a:rPr>
              <a:t>WEAKNESSES</a:t>
            </a:r>
          </a:p>
          <a:p>
            <a:pPr eaLnBrk="1" hangingPunct="1">
              <a:buFont typeface="Wingdings" pitchFamily="-65" charset="2"/>
              <a:buChar char="ü"/>
            </a:pPr>
            <a:endParaRPr lang="en-GB" sz="1100">
              <a:solidFill>
                <a:srgbClr val="376092"/>
              </a:solidFill>
              <a:latin typeface="+mn-lt"/>
            </a:endParaRPr>
          </a:p>
        </p:txBody>
      </p:sp>
      <p:sp>
        <p:nvSpPr>
          <p:cNvPr id="19" name="TextBox 23"/>
          <p:cNvSpPr txBox="1">
            <a:spLocks noChangeArrowheads="1"/>
          </p:cNvSpPr>
          <p:nvPr/>
        </p:nvSpPr>
        <p:spPr bwMode="auto">
          <a:xfrm rot="21087023">
            <a:off x="911225" y="3421063"/>
            <a:ext cx="2805113" cy="1108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buFont typeface="Arial" charset="0"/>
              <a:buChar char="•"/>
            </a:pPr>
            <a:r>
              <a:rPr lang="en-GB" sz="1000">
                <a:solidFill>
                  <a:srgbClr val="595959"/>
                </a:solidFill>
                <a:latin typeface="Calibri" charset="0"/>
              </a:rPr>
              <a:t>This is an example text. </a:t>
            </a:r>
          </a:p>
          <a:p>
            <a:pPr eaLnBrk="1" hangingPunct="1">
              <a:buFont typeface="Arial" charset="0"/>
              <a:buChar char="•"/>
            </a:pPr>
            <a:r>
              <a:rPr lang="en-GB" sz="1000">
                <a:solidFill>
                  <a:srgbClr val="595959"/>
                </a:solidFill>
                <a:latin typeface="Calibri" charset="0"/>
              </a:rPr>
              <a:t>Please fill in your own text – Example text</a:t>
            </a:r>
          </a:p>
          <a:p>
            <a:pPr eaLnBrk="1" hangingPunct="1">
              <a:buFont typeface="Arial" charset="0"/>
              <a:buChar char="•"/>
            </a:pPr>
            <a:r>
              <a:rPr lang="en-GB" sz="1000">
                <a:solidFill>
                  <a:srgbClr val="595959"/>
                </a:solidFill>
                <a:latin typeface="Calibri" charset="0"/>
              </a:rPr>
              <a:t>This is an example text</a:t>
            </a:r>
          </a:p>
          <a:p>
            <a:pPr eaLnBrk="1" hangingPunct="1">
              <a:buFont typeface="Arial" charset="0"/>
              <a:buChar char="•"/>
            </a:pPr>
            <a:r>
              <a:rPr lang="en-GB" sz="1000">
                <a:solidFill>
                  <a:srgbClr val="595959"/>
                </a:solidFill>
                <a:latin typeface="Calibri" charset="0"/>
              </a:rPr>
              <a:t>Please fill in your own text</a:t>
            </a:r>
          </a:p>
          <a:p>
            <a:pPr eaLnBrk="1" hangingPunct="1">
              <a:buFont typeface="Arial" charset="0"/>
              <a:buChar char="•"/>
            </a:pPr>
            <a:r>
              <a:rPr lang="en-GB" sz="1000">
                <a:solidFill>
                  <a:srgbClr val="595959"/>
                </a:solidFill>
                <a:latin typeface="Calibri" charset="0"/>
              </a:rPr>
              <a:t>This is an example text</a:t>
            </a:r>
          </a:p>
          <a:p>
            <a:pPr eaLnBrk="1" hangingPunct="1">
              <a:buFont typeface="Wingdings" pitchFamily="-65" charset="2"/>
              <a:buChar char="ü"/>
            </a:pPr>
            <a:endParaRPr lang="en-GB" sz="1100">
              <a:solidFill>
                <a:srgbClr val="404040"/>
              </a:solidFill>
              <a:latin typeface="Calibri" charset="0"/>
            </a:endParaRPr>
          </a:p>
        </p:txBody>
      </p:sp>
      <p:sp>
        <p:nvSpPr>
          <p:cNvPr id="20" name="TextBox 24"/>
          <p:cNvSpPr txBox="1">
            <a:spLocks noChangeArrowheads="1"/>
          </p:cNvSpPr>
          <p:nvPr/>
        </p:nvSpPr>
        <p:spPr bwMode="auto">
          <a:xfrm rot="21087023">
            <a:off x="847725" y="3197225"/>
            <a:ext cx="2805113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GB" sz="1100" b="1">
                <a:solidFill>
                  <a:srgbClr val="376092"/>
                </a:solidFill>
                <a:latin typeface="+mn-lt"/>
              </a:rPr>
              <a:t>STRENGTHS</a:t>
            </a:r>
          </a:p>
          <a:p>
            <a:pPr eaLnBrk="1" hangingPunct="1">
              <a:buFont typeface="Wingdings" pitchFamily="-65" charset="2"/>
              <a:buChar char="ü"/>
            </a:pPr>
            <a:endParaRPr lang="en-GB" sz="1100">
              <a:solidFill>
                <a:srgbClr val="376092"/>
              </a:solidFill>
              <a:latin typeface="+mn-lt"/>
            </a:endParaRPr>
          </a:p>
        </p:txBody>
      </p:sp>
      <p:sp>
        <p:nvSpPr>
          <p:cNvPr id="21" name="TextBox 17"/>
          <p:cNvSpPr txBox="1">
            <a:spLocks noChangeArrowheads="1"/>
          </p:cNvSpPr>
          <p:nvPr/>
        </p:nvSpPr>
        <p:spPr bwMode="auto">
          <a:xfrm>
            <a:off x="2982913" y="1662113"/>
            <a:ext cx="2805112" cy="1108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buFont typeface="Arial" charset="0"/>
              <a:buChar char="•"/>
            </a:pPr>
            <a:r>
              <a:rPr lang="en-GB" sz="1000" dirty="0">
                <a:solidFill>
                  <a:srgbClr val="595959"/>
                </a:solidFill>
                <a:latin typeface="Calibri" charset="0"/>
              </a:rPr>
              <a:t>This is an example text. </a:t>
            </a:r>
          </a:p>
          <a:p>
            <a:pPr eaLnBrk="1" hangingPunct="1">
              <a:buFont typeface="Arial" charset="0"/>
              <a:buChar char="•"/>
            </a:pPr>
            <a:r>
              <a:rPr lang="en-GB" sz="1000" dirty="0">
                <a:solidFill>
                  <a:srgbClr val="595959"/>
                </a:solidFill>
                <a:latin typeface="Calibri" charset="0"/>
              </a:rPr>
              <a:t>Please fill in your own text – Example text</a:t>
            </a:r>
          </a:p>
          <a:p>
            <a:pPr eaLnBrk="1" hangingPunct="1">
              <a:buFont typeface="Arial" charset="0"/>
              <a:buChar char="•"/>
            </a:pPr>
            <a:r>
              <a:rPr lang="en-GB" sz="1000" dirty="0">
                <a:solidFill>
                  <a:srgbClr val="595959"/>
                </a:solidFill>
                <a:latin typeface="Calibri" charset="0"/>
              </a:rPr>
              <a:t>This is an example text</a:t>
            </a:r>
          </a:p>
          <a:p>
            <a:pPr eaLnBrk="1" hangingPunct="1">
              <a:buFont typeface="Arial" charset="0"/>
              <a:buChar char="•"/>
            </a:pPr>
            <a:r>
              <a:rPr lang="en-GB" sz="1000" dirty="0">
                <a:solidFill>
                  <a:srgbClr val="595959"/>
                </a:solidFill>
                <a:latin typeface="Calibri" charset="0"/>
              </a:rPr>
              <a:t>Please fill in your own text</a:t>
            </a:r>
          </a:p>
          <a:p>
            <a:pPr eaLnBrk="1" hangingPunct="1">
              <a:buFont typeface="Arial" charset="0"/>
              <a:buChar char="•"/>
            </a:pPr>
            <a:r>
              <a:rPr lang="en-GB" sz="1100" dirty="0">
                <a:solidFill>
                  <a:srgbClr val="595959"/>
                </a:solidFill>
                <a:latin typeface="Calibri" charset="0"/>
              </a:rPr>
              <a:t>This is an example text</a:t>
            </a:r>
          </a:p>
          <a:p>
            <a:pPr eaLnBrk="1" hangingPunct="1">
              <a:buFont typeface="Wingdings" pitchFamily="-65" charset="2"/>
              <a:buChar char="ü"/>
            </a:pPr>
            <a:endParaRPr lang="en-GB" sz="1100" dirty="0">
              <a:solidFill>
                <a:srgbClr val="404040"/>
              </a:solidFill>
              <a:latin typeface="Calibri" charset="0"/>
            </a:endParaRPr>
          </a:p>
        </p:txBody>
      </p:sp>
      <p:sp>
        <p:nvSpPr>
          <p:cNvPr id="22" name="TextBox 18"/>
          <p:cNvSpPr txBox="1">
            <a:spLocks noChangeArrowheads="1"/>
          </p:cNvSpPr>
          <p:nvPr/>
        </p:nvSpPr>
        <p:spPr bwMode="auto">
          <a:xfrm>
            <a:off x="2982913" y="1441450"/>
            <a:ext cx="2805112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GB" sz="1100" b="1" dirty="0">
                <a:solidFill>
                  <a:srgbClr val="376092"/>
                </a:solidFill>
                <a:latin typeface="+mn-lt"/>
              </a:rPr>
              <a:t>OPPORTUNITIES</a:t>
            </a:r>
          </a:p>
          <a:p>
            <a:pPr eaLnBrk="1" hangingPunct="1">
              <a:buFont typeface="Wingdings" pitchFamily="-65" charset="2"/>
              <a:buChar char="ü"/>
            </a:pPr>
            <a:endParaRPr lang="en-GB" sz="1100" dirty="0">
              <a:solidFill>
                <a:srgbClr val="376092"/>
              </a:solidFill>
              <a:latin typeface="+mn-lt"/>
            </a:endParaRPr>
          </a:p>
        </p:txBody>
      </p:sp>
      <p:sp>
        <p:nvSpPr>
          <p:cNvPr id="33" name="TextBox 21"/>
          <p:cNvSpPr txBox="1">
            <a:spLocks noChangeArrowheads="1"/>
          </p:cNvSpPr>
          <p:nvPr/>
        </p:nvSpPr>
        <p:spPr bwMode="auto">
          <a:xfrm rot="567377">
            <a:off x="3195638" y="5013325"/>
            <a:ext cx="2805112" cy="1108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buFont typeface="Arial" charset="0"/>
              <a:buChar char="•"/>
            </a:pPr>
            <a:r>
              <a:rPr lang="en-GB" sz="1000">
                <a:solidFill>
                  <a:srgbClr val="595959"/>
                </a:solidFill>
                <a:latin typeface="Calibri" charset="0"/>
              </a:rPr>
              <a:t>This is an example text. </a:t>
            </a:r>
          </a:p>
          <a:p>
            <a:pPr eaLnBrk="1" hangingPunct="1">
              <a:buFont typeface="Arial" charset="0"/>
              <a:buChar char="•"/>
            </a:pPr>
            <a:r>
              <a:rPr lang="en-GB" sz="1000">
                <a:solidFill>
                  <a:srgbClr val="595959"/>
                </a:solidFill>
                <a:latin typeface="Calibri" charset="0"/>
              </a:rPr>
              <a:t>Please fill in your own text – Example text</a:t>
            </a:r>
          </a:p>
          <a:p>
            <a:pPr eaLnBrk="1" hangingPunct="1">
              <a:buFont typeface="Arial" charset="0"/>
              <a:buChar char="•"/>
            </a:pPr>
            <a:r>
              <a:rPr lang="en-GB" sz="1000">
                <a:solidFill>
                  <a:srgbClr val="595959"/>
                </a:solidFill>
                <a:latin typeface="Calibri" charset="0"/>
              </a:rPr>
              <a:t>This is an example text</a:t>
            </a:r>
          </a:p>
          <a:p>
            <a:pPr eaLnBrk="1" hangingPunct="1">
              <a:buFont typeface="Arial" charset="0"/>
              <a:buChar char="•"/>
            </a:pPr>
            <a:r>
              <a:rPr lang="en-GB" sz="1000">
                <a:solidFill>
                  <a:srgbClr val="595959"/>
                </a:solidFill>
                <a:latin typeface="Calibri" charset="0"/>
              </a:rPr>
              <a:t>Please fill in your own text</a:t>
            </a:r>
          </a:p>
          <a:p>
            <a:pPr eaLnBrk="1" hangingPunct="1">
              <a:buFont typeface="Arial" charset="0"/>
              <a:buChar char="•"/>
            </a:pPr>
            <a:r>
              <a:rPr lang="en-GB" sz="1000">
                <a:solidFill>
                  <a:srgbClr val="595959"/>
                </a:solidFill>
                <a:latin typeface="Calibri" charset="0"/>
              </a:rPr>
              <a:t>This is an example text</a:t>
            </a:r>
          </a:p>
          <a:p>
            <a:pPr eaLnBrk="1" hangingPunct="1">
              <a:buFont typeface="Wingdings" pitchFamily="-65" charset="2"/>
              <a:buChar char="ü"/>
            </a:pPr>
            <a:endParaRPr lang="en-GB" sz="1100">
              <a:solidFill>
                <a:srgbClr val="404040"/>
              </a:solidFill>
              <a:latin typeface="Calibri" charset="0"/>
            </a:endParaRPr>
          </a:p>
        </p:txBody>
      </p:sp>
      <p:sp>
        <p:nvSpPr>
          <p:cNvPr id="34" name="TextBox 22"/>
          <p:cNvSpPr txBox="1">
            <a:spLocks noChangeArrowheads="1"/>
          </p:cNvSpPr>
          <p:nvPr/>
        </p:nvSpPr>
        <p:spPr bwMode="auto">
          <a:xfrm rot="567377">
            <a:off x="3341688" y="4800600"/>
            <a:ext cx="2805112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GB" sz="1100" b="1">
                <a:solidFill>
                  <a:srgbClr val="376092"/>
                </a:solidFill>
                <a:latin typeface="+mn-lt"/>
              </a:rPr>
              <a:t>THREATS</a:t>
            </a:r>
          </a:p>
          <a:p>
            <a:pPr eaLnBrk="1" hangingPunct="1">
              <a:buFont typeface="Wingdings" pitchFamily="-65" charset="2"/>
              <a:buChar char="ü"/>
            </a:pPr>
            <a:endParaRPr lang="en-GB" sz="1100">
              <a:solidFill>
                <a:srgbClr val="376092"/>
              </a:solidFill>
              <a:latin typeface="+mn-lt"/>
            </a:endParaRPr>
          </a:p>
        </p:txBody>
      </p:sp>
      <p:grpSp>
        <p:nvGrpSpPr>
          <p:cNvPr id="35" name="Group 33"/>
          <p:cNvGrpSpPr>
            <a:grpSpLocks/>
          </p:cNvGrpSpPr>
          <p:nvPr/>
        </p:nvGrpSpPr>
        <p:grpSpPr bwMode="auto">
          <a:xfrm>
            <a:off x="3833813" y="3143250"/>
            <a:ext cx="1358900" cy="1354138"/>
            <a:chOff x="1177873" y="4160209"/>
            <a:chExt cx="1297078" cy="1293510"/>
          </a:xfrm>
        </p:grpSpPr>
        <p:sp>
          <p:nvSpPr>
            <p:cNvPr id="36" name="Ellipse 83"/>
            <p:cNvSpPr/>
            <p:nvPr/>
          </p:nvSpPr>
          <p:spPr bwMode="auto">
            <a:xfrm rot="1356468">
              <a:off x="1188557" y="4160209"/>
              <a:ext cx="1286394" cy="1287037"/>
            </a:xfrm>
            <a:prstGeom prst="ellipse">
              <a:avLst/>
            </a:prstGeom>
            <a:gradFill flip="none" rotWithShape="1">
              <a:gsLst>
                <a:gs pos="100000">
                  <a:srgbClr val="17375E"/>
                </a:gs>
                <a:gs pos="0">
                  <a:srgbClr val="376092"/>
                </a:gs>
              </a:gsLst>
              <a:path path="circle">
                <a:fillToRect l="50000" t="50000" r="50000" b="50000"/>
              </a:path>
              <a:tileRect/>
            </a:gradFill>
            <a:ln w="12700"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defRPr/>
              </a:pPr>
              <a:endParaRPr lang="en-US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37" name="Ellipse 84"/>
            <p:cNvSpPr>
              <a:spLocks noChangeArrowheads="1"/>
            </p:cNvSpPr>
            <p:nvPr/>
          </p:nvSpPr>
          <p:spPr bwMode="auto">
            <a:xfrm>
              <a:off x="1318731" y="4214255"/>
              <a:ext cx="1048130" cy="777702"/>
            </a:xfrm>
            <a:prstGeom prst="ellipse">
              <a:avLst/>
            </a:prstGeom>
            <a:gradFill rotWithShape="1">
              <a:gsLst>
                <a:gs pos="0">
                  <a:schemeClr val="bg1">
                    <a:alpha val="80000"/>
                  </a:schemeClr>
                </a:gs>
                <a:gs pos="100000">
                  <a:schemeClr val="bg1">
                    <a:lumMod val="85000"/>
                    <a:alpha val="0"/>
                  </a:schemeClr>
                </a:gs>
              </a:gsLst>
              <a:lin ang="5400000"/>
            </a:gradFill>
            <a:ln w="9525">
              <a:noFill/>
              <a:round/>
              <a:headEnd/>
              <a:tailEnd/>
            </a:ln>
            <a:effectLst>
              <a:softEdge rad="127000"/>
            </a:effectLst>
          </p:spPr>
          <p:txBody>
            <a:bodyPr anchor="ctr"/>
            <a:lstStyle>
              <a:lvl1pPr marL="342900" indent="-3429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buFont typeface="Calibri" charset="0"/>
                <a:buAutoNum type="arabicPeriod"/>
                <a:defRPr/>
              </a:pPr>
              <a:endParaRPr lang="en-US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38" name="Måne 85"/>
            <p:cNvSpPr/>
            <p:nvPr/>
          </p:nvSpPr>
          <p:spPr bwMode="auto">
            <a:xfrm rot="16552097">
              <a:off x="1514252" y="4603641"/>
              <a:ext cx="513699" cy="1186457"/>
            </a:xfrm>
            <a:prstGeom prst="moon">
              <a:avLst>
                <a:gd name="adj" fmla="val 18952"/>
              </a:avLst>
            </a:prstGeom>
            <a:gradFill flip="none" rotWithShape="1">
              <a:gsLst>
                <a:gs pos="24000">
                  <a:sysClr val="windowText" lastClr="000000">
                    <a:alpha val="24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defRPr/>
              </a:pPr>
              <a:endParaRPr lang="en-US" sz="1800" smtClean="0">
                <a:solidFill>
                  <a:srgbClr val="FFFFFF"/>
                </a:solidFill>
                <a:latin typeface="Calibri" charset="0"/>
              </a:endParaRPr>
            </a:p>
          </p:txBody>
        </p:sp>
      </p:grpSp>
      <p:pic>
        <p:nvPicPr>
          <p:cNvPr id="39" name="Freeform 9"/>
          <p:cNvPicPr>
            <a:picLocks noEditPoints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1225" y="2746375"/>
            <a:ext cx="2085975" cy="209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Freeform 12"/>
          <p:cNvSpPr>
            <a:spLocks/>
          </p:cNvSpPr>
          <p:nvPr/>
        </p:nvSpPr>
        <p:spPr bwMode="auto">
          <a:xfrm>
            <a:off x="4349750" y="2622550"/>
            <a:ext cx="298450" cy="149225"/>
          </a:xfrm>
          <a:custGeom>
            <a:avLst/>
            <a:gdLst>
              <a:gd name="T0" fmla="*/ 2147483647 w 252"/>
              <a:gd name="T1" fmla="*/ 2147483647 h 126"/>
              <a:gd name="T2" fmla="*/ 2147483647 w 252"/>
              <a:gd name="T3" fmla="*/ 0 h 126"/>
              <a:gd name="T4" fmla="*/ 0 w 252"/>
              <a:gd name="T5" fmla="*/ 2147483647 h 126"/>
              <a:gd name="T6" fmla="*/ 2147483647 w 252"/>
              <a:gd name="T7" fmla="*/ 2147483647 h 126"/>
              <a:gd name="T8" fmla="*/ 0 60000 65536"/>
              <a:gd name="T9" fmla="*/ 0 60000 65536"/>
              <a:gd name="T10" fmla="*/ 0 60000 65536"/>
              <a:gd name="T11" fmla="*/ 0 60000 65536"/>
              <a:gd name="T12" fmla="*/ 0 w 252"/>
              <a:gd name="T13" fmla="*/ 0 h 126"/>
              <a:gd name="T14" fmla="*/ 252 w 252"/>
              <a:gd name="T15" fmla="*/ 126 h 12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52" h="126">
                <a:moveTo>
                  <a:pt x="252" y="126"/>
                </a:moveTo>
                <a:lnTo>
                  <a:pt x="126" y="0"/>
                </a:lnTo>
                <a:lnTo>
                  <a:pt x="0" y="126"/>
                </a:lnTo>
                <a:lnTo>
                  <a:pt x="252" y="126"/>
                </a:lnTo>
                <a:close/>
              </a:path>
            </a:pathLst>
          </a:custGeom>
          <a:solidFill>
            <a:srgbClr val="2A9B18"/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42" name="Freeform 13"/>
          <p:cNvSpPr>
            <a:spLocks/>
          </p:cNvSpPr>
          <p:nvPr/>
        </p:nvSpPr>
        <p:spPr bwMode="auto">
          <a:xfrm>
            <a:off x="4349750" y="2622550"/>
            <a:ext cx="298450" cy="149225"/>
          </a:xfrm>
          <a:custGeom>
            <a:avLst/>
            <a:gdLst>
              <a:gd name="T0" fmla="*/ 2147483647 w 252"/>
              <a:gd name="T1" fmla="*/ 2147483647 h 126"/>
              <a:gd name="T2" fmla="*/ 2147483647 w 252"/>
              <a:gd name="T3" fmla="*/ 0 h 126"/>
              <a:gd name="T4" fmla="*/ 0 w 252"/>
              <a:gd name="T5" fmla="*/ 2147483647 h 126"/>
              <a:gd name="T6" fmla="*/ 0 60000 65536"/>
              <a:gd name="T7" fmla="*/ 0 60000 65536"/>
              <a:gd name="T8" fmla="*/ 0 60000 65536"/>
              <a:gd name="T9" fmla="*/ 0 w 252"/>
              <a:gd name="T10" fmla="*/ 0 h 126"/>
              <a:gd name="T11" fmla="*/ 252 w 252"/>
              <a:gd name="T12" fmla="*/ 126 h 1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2" h="126">
                <a:moveTo>
                  <a:pt x="252" y="126"/>
                </a:moveTo>
                <a:lnTo>
                  <a:pt x="126" y="0"/>
                </a:lnTo>
                <a:lnTo>
                  <a:pt x="0" y="1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4"/>
          <p:cNvSpPr>
            <a:spLocks/>
          </p:cNvSpPr>
          <p:nvPr/>
        </p:nvSpPr>
        <p:spPr bwMode="auto">
          <a:xfrm>
            <a:off x="4349750" y="4819650"/>
            <a:ext cx="298450" cy="149225"/>
          </a:xfrm>
          <a:custGeom>
            <a:avLst/>
            <a:gdLst>
              <a:gd name="T0" fmla="*/ 0 w 252"/>
              <a:gd name="T1" fmla="*/ 0 h 126"/>
              <a:gd name="T2" fmla="*/ 2147483647 w 252"/>
              <a:gd name="T3" fmla="*/ 2147483647 h 126"/>
              <a:gd name="T4" fmla="*/ 2147483647 w 252"/>
              <a:gd name="T5" fmla="*/ 0 h 126"/>
              <a:gd name="T6" fmla="*/ 0 w 252"/>
              <a:gd name="T7" fmla="*/ 0 h 126"/>
              <a:gd name="T8" fmla="*/ 0 60000 65536"/>
              <a:gd name="T9" fmla="*/ 0 60000 65536"/>
              <a:gd name="T10" fmla="*/ 0 60000 65536"/>
              <a:gd name="T11" fmla="*/ 0 60000 65536"/>
              <a:gd name="T12" fmla="*/ 0 w 252"/>
              <a:gd name="T13" fmla="*/ 0 h 126"/>
              <a:gd name="T14" fmla="*/ 252 w 252"/>
              <a:gd name="T15" fmla="*/ 126 h 12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52" h="126">
                <a:moveTo>
                  <a:pt x="0" y="0"/>
                </a:moveTo>
                <a:lnTo>
                  <a:pt x="126" y="126"/>
                </a:lnTo>
                <a:lnTo>
                  <a:pt x="252" y="0"/>
                </a:lnTo>
                <a:lnTo>
                  <a:pt x="0" y="0"/>
                </a:lnTo>
                <a:close/>
              </a:path>
            </a:pathLst>
          </a:custGeom>
          <a:solidFill>
            <a:srgbClr val="2A9B18"/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44" name="Freeform 15"/>
          <p:cNvSpPr>
            <a:spLocks/>
          </p:cNvSpPr>
          <p:nvPr/>
        </p:nvSpPr>
        <p:spPr bwMode="auto">
          <a:xfrm>
            <a:off x="4349750" y="4819650"/>
            <a:ext cx="298450" cy="149225"/>
          </a:xfrm>
          <a:custGeom>
            <a:avLst/>
            <a:gdLst>
              <a:gd name="T0" fmla="*/ 0 w 252"/>
              <a:gd name="T1" fmla="*/ 0 h 126"/>
              <a:gd name="T2" fmla="*/ 2147483647 w 252"/>
              <a:gd name="T3" fmla="*/ 2147483647 h 126"/>
              <a:gd name="T4" fmla="*/ 2147483647 w 252"/>
              <a:gd name="T5" fmla="*/ 0 h 126"/>
              <a:gd name="T6" fmla="*/ 0 60000 65536"/>
              <a:gd name="T7" fmla="*/ 0 60000 65536"/>
              <a:gd name="T8" fmla="*/ 0 60000 65536"/>
              <a:gd name="T9" fmla="*/ 0 w 252"/>
              <a:gd name="T10" fmla="*/ 0 h 126"/>
              <a:gd name="T11" fmla="*/ 252 w 252"/>
              <a:gd name="T12" fmla="*/ 126 h 1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2" h="126">
                <a:moveTo>
                  <a:pt x="0" y="0"/>
                </a:moveTo>
                <a:lnTo>
                  <a:pt x="126" y="126"/>
                </a:lnTo>
                <a:lnTo>
                  <a:pt x="25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6"/>
          <p:cNvSpPr>
            <a:spLocks/>
          </p:cNvSpPr>
          <p:nvPr/>
        </p:nvSpPr>
        <p:spPr bwMode="auto">
          <a:xfrm>
            <a:off x="3324225" y="3663950"/>
            <a:ext cx="149225" cy="293688"/>
          </a:xfrm>
          <a:custGeom>
            <a:avLst/>
            <a:gdLst>
              <a:gd name="T0" fmla="*/ 2147483647 w 126"/>
              <a:gd name="T1" fmla="*/ 0 h 250"/>
              <a:gd name="T2" fmla="*/ 0 w 126"/>
              <a:gd name="T3" fmla="*/ 2147483647 h 250"/>
              <a:gd name="T4" fmla="*/ 2147483647 w 126"/>
              <a:gd name="T5" fmla="*/ 2147483647 h 250"/>
              <a:gd name="T6" fmla="*/ 2147483647 w 126"/>
              <a:gd name="T7" fmla="*/ 0 h 250"/>
              <a:gd name="T8" fmla="*/ 0 60000 65536"/>
              <a:gd name="T9" fmla="*/ 0 60000 65536"/>
              <a:gd name="T10" fmla="*/ 0 60000 65536"/>
              <a:gd name="T11" fmla="*/ 0 60000 65536"/>
              <a:gd name="T12" fmla="*/ 0 w 126"/>
              <a:gd name="T13" fmla="*/ 0 h 250"/>
              <a:gd name="T14" fmla="*/ 126 w 126"/>
              <a:gd name="T15" fmla="*/ 250 h 25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26" h="250">
                <a:moveTo>
                  <a:pt x="126" y="0"/>
                </a:moveTo>
                <a:lnTo>
                  <a:pt x="0" y="124"/>
                </a:lnTo>
                <a:lnTo>
                  <a:pt x="126" y="250"/>
                </a:lnTo>
                <a:lnTo>
                  <a:pt x="126" y="0"/>
                </a:lnTo>
                <a:close/>
              </a:path>
            </a:pathLst>
          </a:custGeom>
          <a:solidFill>
            <a:srgbClr val="808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Freeform 17"/>
          <p:cNvSpPr>
            <a:spLocks/>
          </p:cNvSpPr>
          <p:nvPr/>
        </p:nvSpPr>
        <p:spPr bwMode="auto">
          <a:xfrm>
            <a:off x="3324225" y="3646488"/>
            <a:ext cx="149225" cy="295275"/>
          </a:xfrm>
          <a:custGeom>
            <a:avLst/>
            <a:gdLst>
              <a:gd name="T0" fmla="*/ 2147483647 w 126"/>
              <a:gd name="T1" fmla="*/ 0 h 250"/>
              <a:gd name="T2" fmla="*/ 0 w 126"/>
              <a:gd name="T3" fmla="*/ 2147483647 h 250"/>
              <a:gd name="T4" fmla="*/ 2147483647 w 126"/>
              <a:gd name="T5" fmla="*/ 2147483647 h 250"/>
              <a:gd name="T6" fmla="*/ 0 60000 65536"/>
              <a:gd name="T7" fmla="*/ 0 60000 65536"/>
              <a:gd name="T8" fmla="*/ 0 60000 65536"/>
              <a:gd name="T9" fmla="*/ 0 w 126"/>
              <a:gd name="T10" fmla="*/ 0 h 250"/>
              <a:gd name="T11" fmla="*/ 126 w 126"/>
              <a:gd name="T12" fmla="*/ 250 h 25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26" h="250">
                <a:moveTo>
                  <a:pt x="126" y="0"/>
                </a:moveTo>
                <a:lnTo>
                  <a:pt x="0" y="124"/>
                </a:lnTo>
                <a:lnTo>
                  <a:pt x="126" y="250"/>
                </a:lnTo>
              </a:path>
            </a:pathLst>
          </a:custGeom>
          <a:solidFill>
            <a:srgbClr val="2A9B18"/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47" name="Freeform 36"/>
          <p:cNvSpPr>
            <a:spLocks/>
          </p:cNvSpPr>
          <p:nvPr/>
        </p:nvSpPr>
        <p:spPr bwMode="auto">
          <a:xfrm>
            <a:off x="3862388" y="3146425"/>
            <a:ext cx="1298575" cy="1298575"/>
          </a:xfrm>
          <a:custGeom>
            <a:avLst/>
            <a:gdLst>
              <a:gd name="T0" fmla="*/ 0 w 1102"/>
              <a:gd name="T1" fmla="*/ 2147483647 h 1102"/>
              <a:gd name="T2" fmla="*/ 2147483647 w 1102"/>
              <a:gd name="T3" fmla="*/ 2147483647 h 1102"/>
              <a:gd name="T4" fmla="*/ 2147483647 w 1102"/>
              <a:gd name="T5" fmla="*/ 2147483647 h 1102"/>
              <a:gd name="T6" fmla="*/ 2147483647 w 1102"/>
              <a:gd name="T7" fmla="*/ 2147483647 h 1102"/>
              <a:gd name="T8" fmla="*/ 2147483647 w 1102"/>
              <a:gd name="T9" fmla="*/ 2147483647 h 1102"/>
              <a:gd name="T10" fmla="*/ 2147483647 w 1102"/>
              <a:gd name="T11" fmla="*/ 2147483647 h 1102"/>
              <a:gd name="T12" fmla="*/ 2147483647 w 1102"/>
              <a:gd name="T13" fmla="*/ 2147483647 h 1102"/>
              <a:gd name="T14" fmla="*/ 2147483647 w 1102"/>
              <a:gd name="T15" fmla="*/ 2147483647 h 1102"/>
              <a:gd name="T16" fmla="*/ 2147483647 w 1102"/>
              <a:gd name="T17" fmla="*/ 2147483647 h 1102"/>
              <a:gd name="T18" fmla="*/ 2147483647 w 1102"/>
              <a:gd name="T19" fmla="*/ 2147483647 h 1102"/>
              <a:gd name="T20" fmla="*/ 2147483647 w 1102"/>
              <a:gd name="T21" fmla="*/ 2147483647 h 1102"/>
              <a:gd name="T22" fmla="*/ 2147483647 w 1102"/>
              <a:gd name="T23" fmla="*/ 2147483647 h 1102"/>
              <a:gd name="T24" fmla="*/ 2147483647 w 1102"/>
              <a:gd name="T25" fmla="*/ 2147483647 h 1102"/>
              <a:gd name="T26" fmla="*/ 2147483647 w 1102"/>
              <a:gd name="T27" fmla="*/ 2147483647 h 1102"/>
              <a:gd name="T28" fmla="*/ 2147483647 w 1102"/>
              <a:gd name="T29" fmla="*/ 2147483647 h 1102"/>
              <a:gd name="T30" fmla="*/ 2147483647 w 1102"/>
              <a:gd name="T31" fmla="*/ 2147483647 h 1102"/>
              <a:gd name="T32" fmla="*/ 2147483647 w 1102"/>
              <a:gd name="T33" fmla="*/ 2147483647 h 1102"/>
              <a:gd name="T34" fmla="*/ 2147483647 w 1102"/>
              <a:gd name="T35" fmla="*/ 2147483647 h 1102"/>
              <a:gd name="T36" fmla="*/ 2147483647 w 1102"/>
              <a:gd name="T37" fmla="*/ 2147483647 h 1102"/>
              <a:gd name="T38" fmla="*/ 2147483647 w 1102"/>
              <a:gd name="T39" fmla="*/ 2147483647 h 1102"/>
              <a:gd name="T40" fmla="*/ 2147483647 w 1102"/>
              <a:gd name="T41" fmla="*/ 2147483647 h 1102"/>
              <a:gd name="T42" fmla="*/ 2147483647 w 1102"/>
              <a:gd name="T43" fmla="*/ 2147483647 h 1102"/>
              <a:gd name="T44" fmla="*/ 2147483647 w 1102"/>
              <a:gd name="T45" fmla="*/ 2147483647 h 1102"/>
              <a:gd name="T46" fmla="*/ 2147483647 w 1102"/>
              <a:gd name="T47" fmla="*/ 2147483647 h 1102"/>
              <a:gd name="T48" fmla="*/ 2147483647 w 1102"/>
              <a:gd name="T49" fmla="*/ 2147483647 h 1102"/>
              <a:gd name="T50" fmla="*/ 2147483647 w 1102"/>
              <a:gd name="T51" fmla="*/ 2147483647 h 1102"/>
              <a:gd name="T52" fmla="*/ 2147483647 w 1102"/>
              <a:gd name="T53" fmla="*/ 2147483647 h 1102"/>
              <a:gd name="T54" fmla="*/ 2147483647 w 1102"/>
              <a:gd name="T55" fmla="*/ 2147483647 h 1102"/>
              <a:gd name="T56" fmla="*/ 2147483647 w 1102"/>
              <a:gd name="T57" fmla="*/ 2147483647 h 1102"/>
              <a:gd name="T58" fmla="*/ 2147483647 w 1102"/>
              <a:gd name="T59" fmla="*/ 2147483647 h 1102"/>
              <a:gd name="T60" fmla="*/ 2147483647 w 1102"/>
              <a:gd name="T61" fmla="*/ 2147483647 h 1102"/>
              <a:gd name="T62" fmla="*/ 2147483647 w 1102"/>
              <a:gd name="T63" fmla="*/ 2147483647 h 1102"/>
              <a:gd name="T64" fmla="*/ 2147483647 w 1102"/>
              <a:gd name="T65" fmla="*/ 2147483647 h 1102"/>
              <a:gd name="T66" fmla="*/ 2147483647 w 1102"/>
              <a:gd name="T67" fmla="*/ 2147483647 h 1102"/>
              <a:gd name="T68" fmla="*/ 2147483647 w 1102"/>
              <a:gd name="T69" fmla="*/ 0 h 1102"/>
              <a:gd name="T70" fmla="*/ 2147483647 w 1102"/>
              <a:gd name="T71" fmla="*/ 2147483647 h 1102"/>
              <a:gd name="T72" fmla="*/ 2147483647 w 1102"/>
              <a:gd name="T73" fmla="*/ 2147483647 h 1102"/>
              <a:gd name="T74" fmla="*/ 2147483647 w 1102"/>
              <a:gd name="T75" fmla="*/ 2147483647 h 1102"/>
              <a:gd name="T76" fmla="*/ 2147483647 w 1102"/>
              <a:gd name="T77" fmla="*/ 2147483647 h 1102"/>
              <a:gd name="T78" fmla="*/ 2147483647 w 1102"/>
              <a:gd name="T79" fmla="*/ 2147483647 h 1102"/>
              <a:gd name="T80" fmla="*/ 2147483647 w 1102"/>
              <a:gd name="T81" fmla="*/ 2147483647 h 1102"/>
              <a:gd name="T82" fmla="*/ 2147483647 w 1102"/>
              <a:gd name="T83" fmla="*/ 2147483647 h 1102"/>
              <a:gd name="T84" fmla="*/ 2147483647 w 1102"/>
              <a:gd name="T85" fmla="*/ 2147483647 h 1102"/>
              <a:gd name="T86" fmla="*/ 2147483647 w 1102"/>
              <a:gd name="T87" fmla="*/ 2147483647 h 1102"/>
              <a:gd name="T88" fmla="*/ 2147483647 w 1102"/>
              <a:gd name="T89" fmla="*/ 2147483647 h 1102"/>
              <a:gd name="T90" fmla="*/ 0 w 1102"/>
              <a:gd name="T91" fmla="*/ 2147483647 h 1102"/>
              <a:gd name="T92" fmla="*/ 0 w 1102"/>
              <a:gd name="T93" fmla="*/ 2147483647 h 110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102"/>
              <a:gd name="T142" fmla="*/ 0 h 1102"/>
              <a:gd name="T143" fmla="*/ 1102 w 1102"/>
              <a:gd name="T144" fmla="*/ 1102 h 1102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102" h="1102">
                <a:moveTo>
                  <a:pt x="0" y="552"/>
                </a:moveTo>
                <a:lnTo>
                  <a:pt x="0" y="552"/>
                </a:lnTo>
                <a:lnTo>
                  <a:pt x="0" y="580"/>
                </a:lnTo>
                <a:lnTo>
                  <a:pt x="4" y="608"/>
                </a:lnTo>
                <a:lnTo>
                  <a:pt x="6" y="636"/>
                </a:lnTo>
                <a:lnTo>
                  <a:pt x="12" y="662"/>
                </a:lnTo>
                <a:lnTo>
                  <a:pt x="18" y="688"/>
                </a:lnTo>
                <a:lnTo>
                  <a:pt x="26" y="714"/>
                </a:lnTo>
                <a:lnTo>
                  <a:pt x="34" y="740"/>
                </a:lnTo>
                <a:lnTo>
                  <a:pt x="44" y="766"/>
                </a:lnTo>
                <a:lnTo>
                  <a:pt x="54" y="790"/>
                </a:lnTo>
                <a:lnTo>
                  <a:pt x="66" y="814"/>
                </a:lnTo>
                <a:lnTo>
                  <a:pt x="80" y="836"/>
                </a:lnTo>
                <a:lnTo>
                  <a:pt x="94" y="858"/>
                </a:lnTo>
                <a:lnTo>
                  <a:pt x="110" y="880"/>
                </a:lnTo>
                <a:lnTo>
                  <a:pt x="126" y="902"/>
                </a:lnTo>
                <a:lnTo>
                  <a:pt x="144" y="922"/>
                </a:lnTo>
                <a:lnTo>
                  <a:pt x="162" y="940"/>
                </a:lnTo>
                <a:lnTo>
                  <a:pt x="180" y="958"/>
                </a:lnTo>
                <a:lnTo>
                  <a:pt x="200" y="976"/>
                </a:lnTo>
                <a:lnTo>
                  <a:pt x="222" y="992"/>
                </a:lnTo>
                <a:lnTo>
                  <a:pt x="244" y="1008"/>
                </a:lnTo>
                <a:lnTo>
                  <a:pt x="266" y="1022"/>
                </a:lnTo>
                <a:lnTo>
                  <a:pt x="288" y="1034"/>
                </a:lnTo>
                <a:lnTo>
                  <a:pt x="312" y="1048"/>
                </a:lnTo>
                <a:lnTo>
                  <a:pt x="336" y="1058"/>
                </a:lnTo>
                <a:lnTo>
                  <a:pt x="362" y="1068"/>
                </a:lnTo>
                <a:lnTo>
                  <a:pt x="388" y="1076"/>
                </a:lnTo>
                <a:lnTo>
                  <a:pt x="414" y="1084"/>
                </a:lnTo>
                <a:lnTo>
                  <a:pt x="440" y="1090"/>
                </a:lnTo>
                <a:lnTo>
                  <a:pt x="468" y="1094"/>
                </a:lnTo>
                <a:lnTo>
                  <a:pt x="494" y="1098"/>
                </a:lnTo>
                <a:lnTo>
                  <a:pt x="522" y="1100"/>
                </a:lnTo>
                <a:lnTo>
                  <a:pt x="550" y="1102"/>
                </a:lnTo>
                <a:lnTo>
                  <a:pt x="580" y="1100"/>
                </a:lnTo>
                <a:lnTo>
                  <a:pt x="608" y="1098"/>
                </a:lnTo>
                <a:lnTo>
                  <a:pt x="634" y="1094"/>
                </a:lnTo>
                <a:lnTo>
                  <a:pt x="662" y="1090"/>
                </a:lnTo>
                <a:lnTo>
                  <a:pt x="688" y="1084"/>
                </a:lnTo>
                <a:lnTo>
                  <a:pt x="714" y="1076"/>
                </a:lnTo>
                <a:lnTo>
                  <a:pt x="740" y="1068"/>
                </a:lnTo>
                <a:lnTo>
                  <a:pt x="764" y="1058"/>
                </a:lnTo>
                <a:lnTo>
                  <a:pt x="790" y="1048"/>
                </a:lnTo>
                <a:lnTo>
                  <a:pt x="814" y="1034"/>
                </a:lnTo>
                <a:lnTo>
                  <a:pt x="836" y="1022"/>
                </a:lnTo>
                <a:lnTo>
                  <a:pt x="858" y="1008"/>
                </a:lnTo>
                <a:lnTo>
                  <a:pt x="880" y="992"/>
                </a:lnTo>
                <a:lnTo>
                  <a:pt x="900" y="976"/>
                </a:lnTo>
                <a:lnTo>
                  <a:pt x="920" y="958"/>
                </a:lnTo>
                <a:lnTo>
                  <a:pt x="940" y="940"/>
                </a:lnTo>
                <a:lnTo>
                  <a:pt x="958" y="922"/>
                </a:lnTo>
                <a:lnTo>
                  <a:pt x="976" y="902"/>
                </a:lnTo>
                <a:lnTo>
                  <a:pt x="992" y="880"/>
                </a:lnTo>
                <a:lnTo>
                  <a:pt x="1008" y="858"/>
                </a:lnTo>
                <a:lnTo>
                  <a:pt x="1022" y="836"/>
                </a:lnTo>
                <a:lnTo>
                  <a:pt x="1034" y="814"/>
                </a:lnTo>
                <a:lnTo>
                  <a:pt x="1046" y="790"/>
                </a:lnTo>
                <a:lnTo>
                  <a:pt x="1058" y="766"/>
                </a:lnTo>
                <a:lnTo>
                  <a:pt x="1068" y="740"/>
                </a:lnTo>
                <a:lnTo>
                  <a:pt x="1076" y="716"/>
                </a:lnTo>
                <a:lnTo>
                  <a:pt x="1084" y="690"/>
                </a:lnTo>
                <a:lnTo>
                  <a:pt x="1090" y="662"/>
                </a:lnTo>
                <a:lnTo>
                  <a:pt x="1094" y="636"/>
                </a:lnTo>
                <a:lnTo>
                  <a:pt x="1098" y="608"/>
                </a:lnTo>
                <a:lnTo>
                  <a:pt x="1100" y="580"/>
                </a:lnTo>
                <a:lnTo>
                  <a:pt x="1102" y="552"/>
                </a:lnTo>
                <a:lnTo>
                  <a:pt x="1102" y="550"/>
                </a:lnTo>
                <a:lnTo>
                  <a:pt x="1100" y="522"/>
                </a:lnTo>
                <a:lnTo>
                  <a:pt x="1098" y="494"/>
                </a:lnTo>
                <a:lnTo>
                  <a:pt x="1096" y="466"/>
                </a:lnTo>
                <a:lnTo>
                  <a:pt x="1090" y="440"/>
                </a:lnTo>
                <a:lnTo>
                  <a:pt x="1084" y="412"/>
                </a:lnTo>
                <a:lnTo>
                  <a:pt x="1076" y="386"/>
                </a:lnTo>
                <a:lnTo>
                  <a:pt x="1068" y="362"/>
                </a:lnTo>
                <a:lnTo>
                  <a:pt x="1058" y="336"/>
                </a:lnTo>
                <a:lnTo>
                  <a:pt x="1048" y="312"/>
                </a:lnTo>
                <a:lnTo>
                  <a:pt x="1036" y="288"/>
                </a:lnTo>
                <a:lnTo>
                  <a:pt x="1022" y="266"/>
                </a:lnTo>
                <a:lnTo>
                  <a:pt x="1008" y="242"/>
                </a:lnTo>
                <a:lnTo>
                  <a:pt x="992" y="222"/>
                </a:lnTo>
                <a:lnTo>
                  <a:pt x="976" y="200"/>
                </a:lnTo>
                <a:lnTo>
                  <a:pt x="958" y="180"/>
                </a:lnTo>
                <a:lnTo>
                  <a:pt x="940" y="162"/>
                </a:lnTo>
                <a:lnTo>
                  <a:pt x="922" y="142"/>
                </a:lnTo>
                <a:lnTo>
                  <a:pt x="902" y="126"/>
                </a:lnTo>
                <a:lnTo>
                  <a:pt x="880" y="110"/>
                </a:lnTo>
                <a:lnTo>
                  <a:pt x="858" y="94"/>
                </a:lnTo>
                <a:lnTo>
                  <a:pt x="836" y="80"/>
                </a:lnTo>
                <a:lnTo>
                  <a:pt x="814" y="66"/>
                </a:lnTo>
                <a:lnTo>
                  <a:pt x="790" y="54"/>
                </a:lnTo>
                <a:lnTo>
                  <a:pt x="766" y="44"/>
                </a:lnTo>
                <a:lnTo>
                  <a:pt x="740" y="34"/>
                </a:lnTo>
                <a:lnTo>
                  <a:pt x="714" y="24"/>
                </a:lnTo>
                <a:lnTo>
                  <a:pt x="688" y="18"/>
                </a:lnTo>
                <a:lnTo>
                  <a:pt x="662" y="12"/>
                </a:lnTo>
                <a:lnTo>
                  <a:pt x="634" y="6"/>
                </a:lnTo>
                <a:lnTo>
                  <a:pt x="608" y="2"/>
                </a:lnTo>
                <a:lnTo>
                  <a:pt x="580" y="0"/>
                </a:lnTo>
                <a:lnTo>
                  <a:pt x="550" y="0"/>
                </a:lnTo>
                <a:lnTo>
                  <a:pt x="522" y="0"/>
                </a:lnTo>
                <a:lnTo>
                  <a:pt x="494" y="2"/>
                </a:lnTo>
                <a:lnTo>
                  <a:pt x="466" y="6"/>
                </a:lnTo>
                <a:lnTo>
                  <a:pt x="440" y="12"/>
                </a:lnTo>
                <a:lnTo>
                  <a:pt x="414" y="18"/>
                </a:lnTo>
                <a:lnTo>
                  <a:pt x="388" y="24"/>
                </a:lnTo>
                <a:lnTo>
                  <a:pt x="362" y="34"/>
                </a:lnTo>
                <a:lnTo>
                  <a:pt x="336" y="44"/>
                </a:lnTo>
                <a:lnTo>
                  <a:pt x="312" y="54"/>
                </a:lnTo>
                <a:lnTo>
                  <a:pt x="288" y="66"/>
                </a:lnTo>
                <a:lnTo>
                  <a:pt x="266" y="80"/>
                </a:lnTo>
                <a:lnTo>
                  <a:pt x="242" y="94"/>
                </a:lnTo>
                <a:lnTo>
                  <a:pt x="222" y="110"/>
                </a:lnTo>
                <a:lnTo>
                  <a:pt x="200" y="126"/>
                </a:lnTo>
                <a:lnTo>
                  <a:pt x="180" y="142"/>
                </a:lnTo>
                <a:lnTo>
                  <a:pt x="162" y="162"/>
                </a:lnTo>
                <a:lnTo>
                  <a:pt x="144" y="180"/>
                </a:lnTo>
                <a:lnTo>
                  <a:pt x="126" y="200"/>
                </a:lnTo>
                <a:lnTo>
                  <a:pt x="110" y="222"/>
                </a:lnTo>
                <a:lnTo>
                  <a:pt x="94" y="242"/>
                </a:lnTo>
                <a:lnTo>
                  <a:pt x="80" y="266"/>
                </a:lnTo>
                <a:lnTo>
                  <a:pt x="66" y="288"/>
                </a:lnTo>
                <a:lnTo>
                  <a:pt x="54" y="312"/>
                </a:lnTo>
                <a:lnTo>
                  <a:pt x="44" y="336"/>
                </a:lnTo>
                <a:lnTo>
                  <a:pt x="34" y="362"/>
                </a:lnTo>
                <a:lnTo>
                  <a:pt x="24" y="386"/>
                </a:lnTo>
                <a:lnTo>
                  <a:pt x="18" y="412"/>
                </a:lnTo>
                <a:lnTo>
                  <a:pt x="12" y="440"/>
                </a:lnTo>
                <a:lnTo>
                  <a:pt x="6" y="466"/>
                </a:lnTo>
                <a:lnTo>
                  <a:pt x="2" y="494"/>
                </a:lnTo>
                <a:lnTo>
                  <a:pt x="0" y="522"/>
                </a:lnTo>
                <a:lnTo>
                  <a:pt x="0" y="550"/>
                </a:lnTo>
                <a:lnTo>
                  <a:pt x="0" y="55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Freeform 38"/>
          <p:cNvSpPr>
            <a:spLocks/>
          </p:cNvSpPr>
          <p:nvPr/>
        </p:nvSpPr>
        <p:spPr bwMode="auto">
          <a:xfrm>
            <a:off x="3862388" y="3548063"/>
            <a:ext cx="1298575" cy="896937"/>
          </a:xfrm>
          <a:custGeom>
            <a:avLst/>
            <a:gdLst>
              <a:gd name="T0" fmla="*/ 2147483647 w 1102"/>
              <a:gd name="T1" fmla="*/ 2147483647 h 762"/>
              <a:gd name="T2" fmla="*/ 2147483647 w 1102"/>
              <a:gd name="T3" fmla="*/ 2147483647 h 762"/>
              <a:gd name="T4" fmla="*/ 2147483647 w 1102"/>
              <a:gd name="T5" fmla="*/ 2147483647 h 762"/>
              <a:gd name="T6" fmla="*/ 2147483647 w 1102"/>
              <a:gd name="T7" fmla="*/ 2147483647 h 762"/>
              <a:gd name="T8" fmla="*/ 2147483647 w 1102"/>
              <a:gd name="T9" fmla="*/ 2147483647 h 762"/>
              <a:gd name="T10" fmla="*/ 2147483647 w 1102"/>
              <a:gd name="T11" fmla="*/ 2147483647 h 762"/>
              <a:gd name="T12" fmla="*/ 2147483647 w 1102"/>
              <a:gd name="T13" fmla="*/ 2147483647 h 762"/>
              <a:gd name="T14" fmla="*/ 2147483647 w 1102"/>
              <a:gd name="T15" fmla="*/ 2147483647 h 762"/>
              <a:gd name="T16" fmla="*/ 2147483647 w 1102"/>
              <a:gd name="T17" fmla="*/ 2147483647 h 762"/>
              <a:gd name="T18" fmla="*/ 2147483647 w 1102"/>
              <a:gd name="T19" fmla="*/ 2147483647 h 762"/>
              <a:gd name="T20" fmla="*/ 2147483647 w 1102"/>
              <a:gd name="T21" fmla="*/ 2147483647 h 762"/>
              <a:gd name="T22" fmla="*/ 2147483647 w 1102"/>
              <a:gd name="T23" fmla="*/ 2147483647 h 762"/>
              <a:gd name="T24" fmla="*/ 2147483647 w 1102"/>
              <a:gd name="T25" fmla="*/ 2147483647 h 762"/>
              <a:gd name="T26" fmla="*/ 2147483647 w 1102"/>
              <a:gd name="T27" fmla="*/ 2147483647 h 762"/>
              <a:gd name="T28" fmla="*/ 2147483647 w 1102"/>
              <a:gd name="T29" fmla="*/ 2147483647 h 762"/>
              <a:gd name="T30" fmla="*/ 2147483647 w 1102"/>
              <a:gd name="T31" fmla="*/ 2147483647 h 762"/>
              <a:gd name="T32" fmla="*/ 0 w 1102"/>
              <a:gd name="T33" fmla="*/ 2147483647 h 762"/>
              <a:gd name="T34" fmla="*/ 2147483647 w 1102"/>
              <a:gd name="T35" fmla="*/ 2147483647 h 762"/>
              <a:gd name="T36" fmla="*/ 2147483647 w 1102"/>
              <a:gd name="T37" fmla="*/ 2147483647 h 762"/>
              <a:gd name="T38" fmla="*/ 2147483647 w 1102"/>
              <a:gd name="T39" fmla="*/ 2147483647 h 762"/>
              <a:gd name="T40" fmla="*/ 2147483647 w 1102"/>
              <a:gd name="T41" fmla="*/ 2147483647 h 762"/>
              <a:gd name="T42" fmla="*/ 2147483647 w 1102"/>
              <a:gd name="T43" fmla="*/ 2147483647 h 762"/>
              <a:gd name="T44" fmla="*/ 2147483647 w 1102"/>
              <a:gd name="T45" fmla="*/ 2147483647 h 762"/>
              <a:gd name="T46" fmla="*/ 2147483647 w 1102"/>
              <a:gd name="T47" fmla="*/ 2147483647 h 762"/>
              <a:gd name="T48" fmla="*/ 2147483647 w 1102"/>
              <a:gd name="T49" fmla="*/ 2147483647 h 762"/>
              <a:gd name="T50" fmla="*/ 2147483647 w 1102"/>
              <a:gd name="T51" fmla="*/ 0 h 762"/>
              <a:gd name="T52" fmla="*/ 2147483647 w 1102"/>
              <a:gd name="T53" fmla="*/ 0 h 762"/>
              <a:gd name="T54" fmla="*/ 2147483647 w 1102"/>
              <a:gd name="T55" fmla="*/ 2147483647 h 762"/>
              <a:gd name="T56" fmla="*/ 2147483647 w 1102"/>
              <a:gd name="T57" fmla="*/ 2147483647 h 762"/>
              <a:gd name="T58" fmla="*/ 2147483647 w 1102"/>
              <a:gd name="T59" fmla="*/ 2147483647 h 762"/>
              <a:gd name="T60" fmla="*/ 2147483647 w 1102"/>
              <a:gd name="T61" fmla="*/ 2147483647 h 762"/>
              <a:gd name="T62" fmla="*/ 2147483647 w 1102"/>
              <a:gd name="T63" fmla="*/ 2147483647 h 762"/>
              <a:gd name="T64" fmla="*/ 2147483647 w 1102"/>
              <a:gd name="T65" fmla="*/ 2147483647 h 762"/>
              <a:gd name="T66" fmla="*/ 2147483647 w 1102"/>
              <a:gd name="T67" fmla="*/ 2147483647 h 762"/>
              <a:gd name="T68" fmla="*/ 2147483647 w 1102"/>
              <a:gd name="T69" fmla="*/ 2147483647 h 762"/>
              <a:gd name="T70" fmla="*/ 2147483647 w 1102"/>
              <a:gd name="T71" fmla="*/ 2147483647 h 762"/>
              <a:gd name="T72" fmla="*/ 2147483647 w 1102"/>
              <a:gd name="T73" fmla="*/ 2147483647 h 762"/>
              <a:gd name="T74" fmla="*/ 2147483647 w 1102"/>
              <a:gd name="T75" fmla="*/ 2147483647 h 762"/>
              <a:gd name="T76" fmla="*/ 2147483647 w 1102"/>
              <a:gd name="T77" fmla="*/ 2147483647 h 762"/>
              <a:gd name="T78" fmla="*/ 2147483647 w 1102"/>
              <a:gd name="T79" fmla="*/ 2147483647 h 762"/>
              <a:gd name="T80" fmla="*/ 2147483647 w 1102"/>
              <a:gd name="T81" fmla="*/ 2147483647 h 762"/>
              <a:gd name="T82" fmla="*/ 2147483647 w 1102"/>
              <a:gd name="T83" fmla="*/ 2147483647 h 762"/>
              <a:gd name="T84" fmla="*/ 2147483647 w 1102"/>
              <a:gd name="T85" fmla="*/ 2147483647 h 762"/>
              <a:gd name="T86" fmla="*/ 2147483647 w 1102"/>
              <a:gd name="T87" fmla="*/ 2147483647 h 762"/>
              <a:gd name="T88" fmla="*/ 2147483647 w 1102"/>
              <a:gd name="T89" fmla="*/ 2147483647 h 762"/>
              <a:gd name="T90" fmla="*/ 2147483647 w 1102"/>
              <a:gd name="T91" fmla="*/ 2147483647 h 762"/>
              <a:gd name="T92" fmla="*/ 2147483647 w 1102"/>
              <a:gd name="T93" fmla="*/ 2147483647 h 762"/>
              <a:gd name="T94" fmla="*/ 2147483647 w 1102"/>
              <a:gd name="T95" fmla="*/ 2147483647 h 762"/>
              <a:gd name="T96" fmla="*/ 2147483647 w 1102"/>
              <a:gd name="T97" fmla="*/ 2147483647 h 762"/>
              <a:gd name="T98" fmla="*/ 2147483647 w 1102"/>
              <a:gd name="T99" fmla="*/ 2147483647 h 762"/>
              <a:gd name="T100" fmla="*/ 2147483647 w 1102"/>
              <a:gd name="T101" fmla="*/ 2147483647 h 762"/>
              <a:gd name="T102" fmla="*/ 2147483647 w 1102"/>
              <a:gd name="T103" fmla="*/ 2147483647 h 76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102"/>
              <a:gd name="T157" fmla="*/ 0 h 762"/>
              <a:gd name="T158" fmla="*/ 1102 w 1102"/>
              <a:gd name="T159" fmla="*/ 762 h 762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102" h="762">
                <a:moveTo>
                  <a:pt x="550" y="762"/>
                </a:moveTo>
                <a:lnTo>
                  <a:pt x="550" y="762"/>
                </a:lnTo>
                <a:lnTo>
                  <a:pt x="522" y="760"/>
                </a:lnTo>
                <a:lnTo>
                  <a:pt x="494" y="758"/>
                </a:lnTo>
                <a:lnTo>
                  <a:pt x="468" y="754"/>
                </a:lnTo>
                <a:lnTo>
                  <a:pt x="440" y="750"/>
                </a:lnTo>
                <a:lnTo>
                  <a:pt x="414" y="744"/>
                </a:lnTo>
                <a:lnTo>
                  <a:pt x="388" y="736"/>
                </a:lnTo>
                <a:lnTo>
                  <a:pt x="362" y="728"/>
                </a:lnTo>
                <a:lnTo>
                  <a:pt x="336" y="718"/>
                </a:lnTo>
                <a:lnTo>
                  <a:pt x="312" y="708"/>
                </a:lnTo>
                <a:lnTo>
                  <a:pt x="288" y="694"/>
                </a:lnTo>
                <a:lnTo>
                  <a:pt x="266" y="682"/>
                </a:lnTo>
                <a:lnTo>
                  <a:pt x="244" y="668"/>
                </a:lnTo>
                <a:lnTo>
                  <a:pt x="222" y="652"/>
                </a:lnTo>
                <a:lnTo>
                  <a:pt x="200" y="636"/>
                </a:lnTo>
                <a:lnTo>
                  <a:pt x="180" y="618"/>
                </a:lnTo>
                <a:lnTo>
                  <a:pt x="162" y="600"/>
                </a:lnTo>
                <a:lnTo>
                  <a:pt x="144" y="582"/>
                </a:lnTo>
                <a:lnTo>
                  <a:pt x="126" y="562"/>
                </a:lnTo>
                <a:lnTo>
                  <a:pt x="110" y="540"/>
                </a:lnTo>
                <a:lnTo>
                  <a:pt x="94" y="518"/>
                </a:lnTo>
                <a:lnTo>
                  <a:pt x="80" y="496"/>
                </a:lnTo>
                <a:lnTo>
                  <a:pt x="66" y="474"/>
                </a:lnTo>
                <a:lnTo>
                  <a:pt x="54" y="450"/>
                </a:lnTo>
                <a:lnTo>
                  <a:pt x="44" y="426"/>
                </a:lnTo>
                <a:lnTo>
                  <a:pt x="34" y="400"/>
                </a:lnTo>
                <a:lnTo>
                  <a:pt x="26" y="374"/>
                </a:lnTo>
                <a:lnTo>
                  <a:pt x="18" y="348"/>
                </a:lnTo>
                <a:lnTo>
                  <a:pt x="12" y="322"/>
                </a:lnTo>
                <a:lnTo>
                  <a:pt x="6" y="296"/>
                </a:lnTo>
                <a:lnTo>
                  <a:pt x="4" y="268"/>
                </a:lnTo>
                <a:lnTo>
                  <a:pt x="0" y="240"/>
                </a:lnTo>
                <a:lnTo>
                  <a:pt x="0" y="212"/>
                </a:lnTo>
                <a:lnTo>
                  <a:pt x="2" y="214"/>
                </a:lnTo>
                <a:lnTo>
                  <a:pt x="4" y="216"/>
                </a:lnTo>
                <a:lnTo>
                  <a:pt x="14" y="214"/>
                </a:lnTo>
                <a:lnTo>
                  <a:pt x="26" y="206"/>
                </a:lnTo>
                <a:lnTo>
                  <a:pt x="66" y="182"/>
                </a:lnTo>
                <a:lnTo>
                  <a:pt x="120" y="148"/>
                </a:lnTo>
                <a:lnTo>
                  <a:pt x="188" y="108"/>
                </a:lnTo>
                <a:lnTo>
                  <a:pt x="226" y="88"/>
                </a:lnTo>
                <a:lnTo>
                  <a:pt x="266" y="68"/>
                </a:lnTo>
                <a:lnTo>
                  <a:pt x="310" y="50"/>
                </a:lnTo>
                <a:lnTo>
                  <a:pt x="356" y="34"/>
                </a:lnTo>
                <a:lnTo>
                  <a:pt x="402" y="20"/>
                </a:lnTo>
                <a:lnTo>
                  <a:pt x="452" y="10"/>
                </a:lnTo>
                <a:lnTo>
                  <a:pt x="502" y="2"/>
                </a:lnTo>
                <a:lnTo>
                  <a:pt x="528" y="0"/>
                </a:lnTo>
                <a:lnTo>
                  <a:pt x="554" y="0"/>
                </a:lnTo>
                <a:lnTo>
                  <a:pt x="580" y="0"/>
                </a:lnTo>
                <a:lnTo>
                  <a:pt x="604" y="2"/>
                </a:lnTo>
                <a:lnTo>
                  <a:pt x="654" y="10"/>
                </a:lnTo>
                <a:lnTo>
                  <a:pt x="702" y="20"/>
                </a:lnTo>
                <a:lnTo>
                  <a:pt x="746" y="34"/>
                </a:lnTo>
                <a:lnTo>
                  <a:pt x="790" y="52"/>
                </a:lnTo>
                <a:lnTo>
                  <a:pt x="832" y="70"/>
                </a:lnTo>
                <a:lnTo>
                  <a:pt x="872" y="90"/>
                </a:lnTo>
                <a:lnTo>
                  <a:pt x="910" y="110"/>
                </a:lnTo>
                <a:lnTo>
                  <a:pt x="976" y="150"/>
                </a:lnTo>
                <a:lnTo>
                  <a:pt x="1030" y="186"/>
                </a:lnTo>
                <a:lnTo>
                  <a:pt x="1070" y="212"/>
                </a:lnTo>
                <a:lnTo>
                  <a:pt x="1084" y="218"/>
                </a:lnTo>
                <a:lnTo>
                  <a:pt x="1094" y="220"/>
                </a:lnTo>
                <a:lnTo>
                  <a:pt x="1098" y="220"/>
                </a:lnTo>
                <a:lnTo>
                  <a:pt x="1100" y="218"/>
                </a:lnTo>
                <a:lnTo>
                  <a:pt x="1100" y="216"/>
                </a:lnTo>
                <a:lnTo>
                  <a:pt x="1102" y="212"/>
                </a:lnTo>
                <a:lnTo>
                  <a:pt x="1100" y="240"/>
                </a:lnTo>
                <a:lnTo>
                  <a:pt x="1098" y="268"/>
                </a:lnTo>
                <a:lnTo>
                  <a:pt x="1094" y="296"/>
                </a:lnTo>
                <a:lnTo>
                  <a:pt x="1090" y="322"/>
                </a:lnTo>
                <a:lnTo>
                  <a:pt x="1084" y="350"/>
                </a:lnTo>
                <a:lnTo>
                  <a:pt x="1076" y="376"/>
                </a:lnTo>
                <a:lnTo>
                  <a:pt x="1068" y="400"/>
                </a:lnTo>
                <a:lnTo>
                  <a:pt x="1058" y="426"/>
                </a:lnTo>
                <a:lnTo>
                  <a:pt x="1046" y="450"/>
                </a:lnTo>
                <a:lnTo>
                  <a:pt x="1034" y="474"/>
                </a:lnTo>
                <a:lnTo>
                  <a:pt x="1022" y="496"/>
                </a:lnTo>
                <a:lnTo>
                  <a:pt x="1008" y="518"/>
                </a:lnTo>
                <a:lnTo>
                  <a:pt x="992" y="540"/>
                </a:lnTo>
                <a:lnTo>
                  <a:pt x="976" y="562"/>
                </a:lnTo>
                <a:lnTo>
                  <a:pt x="958" y="582"/>
                </a:lnTo>
                <a:lnTo>
                  <a:pt x="940" y="600"/>
                </a:lnTo>
                <a:lnTo>
                  <a:pt x="920" y="618"/>
                </a:lnTo>
                <a:lnTo>
                  <a:pt x="900" y="636"/>
                </a:lnTo>
                <a:lnTo>
                  <a:pt x="880" y="652"/>
                </a:lnTo>
                <a:lnTo>
                  <a:pt x="858" y="668"/>
                </a:lnTo>
                <a:lnTo>
                  <a:pt x="836" y="682"/>
                </a:lnTo>
                <a:lnTo>
                  <a:pt x="814" y="694"/>
                </a:lnTo>
                <a:lnTo>
                  <a:pt x="790" y="708"/>
                </a:lnTo>
                <a:lnTo>
                  <a:pt x="764" y="718"/>
                </a:lnTo>
                <a:lnTo>
                  <a:pt x="740" y="728"/>
                </a:lnTo>
                <a:lnTo>
                  <a:pt x="714" y="736"/>
                </a:lnTo>
                <a:lnTo>
                  <a:pt x="688" y="744"/>
                </a:lnTo>
                <a:lnTo>
                  <a:pt x="662" y="750"/>
                </a:lnTo>
                <a:lnTo>
                  <a:pt x="634" y="754"/>
                </a:lnTo>
                <a:lnTo>
                  <a:pt x="608" y="758"/>
                </a:lnTo>
                <a:lnTo>
                  <a:pt x="580" y="760"/>
                </a:lnTo>
                <a:lnTo>
                  <a:pt x="550" y="76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Freeform 39"/>
          <p:cNvSpPr>
            <a:spLocks/>
          </p:cNvSpPr>
          <p:nvPr/>
        </p:nvSpPr>
        <p:spPr bwMode="auto">
          <a:xfrm>
            <a:off x="3862388" y="3146425"/>
            <a:ext cx="1298575" cy="647700"/>
          </a:xfrm>
          <a:custGeom>
            <a:avLst/>
            <a:gdLst>
              <a:gd name="T0" fmla="*/ 2147483647 w 1102"/>
              <a:gd name="T1" fmla="*/ 2147483647 h 550"/>
              <a:gd name="T2" fmla="*/ 2147483647 w 1102"/>
              <a:gd name="T3" fmla="*/ 2147483647 h 550"/>
              <a:gd name="T4" fmla="*/ 2147483647 w 1102"/>
              <a:gd name="T5" fmla="*/ 2147483647 h 550"/>
              <a:gd name="T6" fmla="*/ 2147483647 w 1102"/>
              <a:gd name="T7" fmla="*/ 2147483647 h 550"/>
              <a:gd name="T8" fmla="*/ 2147483647 w 1102"/>
              <a:gd name="T9" fmla="*/ 2147483647 h 550"/>
              <a:gd name="T10" fmla="*/ 2147483647 w 1102"/>
              <a:gd name="T11" fmla="*/ 2147483647 h 550"/>
              <a:gd name="T12" fmla="*/ 2147483647 w 1102"/>
              <a:gd name="T13" fmla="*/ 2147483647 h 550"/>
              <a:gd name="T14" fmla="*/ 2147483647 w 1102"/>
              <a:gd name="T15" fmla="*/ 2147483647 h 550"/>
              <a:gd name="T16" fmla="*/ 2147483647 w 1102"/>
              <a:gd name="T17" fmla="*/ 2147483647 h 550"/>
              <a:gd name="T18" fmla="*/ 2147483647 w 1102"/>
              <a:gd name="T19" fmla="*/ 2147483647 h 550"/>
              <a:gd name="T20" fmla="*/ 2147483647 w 1102"/>
              <a:gd name="T21" fmla="*/ 0 h 550"/>
              <a:gd name="T22" fmla="*/ 2147483647 w 1102"/>
              <a:gd name="T23" fmla="*/ 0 h 550"/>
              <a:gd name="T24" fmla="*/ 2147483647 w 1102"/>
              <a:gd name="T25" fmla="*/ 2147483647 h 550"/>
              <a:gd name="T26" fmla="*/ 2147483647 w 1102"/>
              <a:gd name="T27" fmla="*/ 2147483647 h 550"/>
              <a:gd name="T28" fmla="*/ 2147483647 w 1102"/>
              <a:gd name="T29" fmla="*/ 2147483647 h 550"/>
              <a:gd name="T30" fmla="*/ 2147483647 w 1102"/>
              <a:gd name="T31" fmla="*/ 2147483647 h 550"/>
              <a:gd name="T32" fmla="*/ 2147483647 w 1102"/>
              <a:gd name="T33" fmla="*/ 2147483647 h 550"/>
              <a:gd name="T34" fmla="*/ 2147483647 w 1102"/>
              <a:gd name="T35" fmla="*/ 2147483647 h 550"/>
              <a:gd name="T36" fmla="*/ 2147483647 w 1102"/>
              <a:gd name="T37" fmla="*/ 2147483647 h 550"/>
              <a:gd name="T38" fmla="*/ 2147483647 w 1102"/>
              <a:gd name="T39" fmla="*/ 2147483647 h 550"/>
              <a:gd name="T40" fmla="*/ 2147483647 w 1102"/>
              <a:gd name="T41" fmla="*/ 2147483647 h 550"/>
              <a:gd name="T42" fmla="*/ 2147483647 w 1102"/>
              <a:gd name="T43" fmla="*/ 2147483647 h 550"/>
              <a:gd name="T44" fmla="*/ 0 w 1102"/>
              <a:gd name="T45" fmla="*/ 2147483647 h 550"/>
              <a:gd name="T46" fmla="*/ 2147483647 w 1102"/>
              <a:gd name="T47" fmla="*/ 2147483647 h 550"/>
              <a:gd name="T48" fmla="*/ 2147483647 w 1102"/>
              <a:gd name="T49" fmla="*/ 2147483647 h 550"/>
              <a:gd name="T50" fmla="*/ 2147483647 w 1102"/>
              <a:gd name="T51" fmla="*/ 2147483647 h 550"/>
              <a:gd name="T52" fmla="*/ 2147483647 w 1102"/>
              <a:gd name="T53" fmla="*/ 2147483647 h 550"/>
              <a:gd name="T54" fmla="*/ 2147483647 w 1102"/>
              <a:gd name="T55" fmla="*/ 2147483647 h 550"/>
              <a:gd name="T56" fmla="*/ 2147483647 w 1102"/>
              <a:gd name="T57" fmla="*/ 2147483647 h 550"/>
              <a:gd name="T58" fmla="*/ 2147483647 w 1102"/>
              <a:gd name="T59" fmla="*/ 2147483647 h 550"/>
              <a:gd name="T60" fmla="*/ 2147483647 w 1102"/>
              <a:gd name="T61" fmla="*/ 2147483647 h 550"/>
              <a:gd name="T62" fmla="*/ 2147483647 w 1102"/>
              <a:gd name="T63" fmla="*/ 2147483647 h 550"/>
              <a:gd name="T64" fmla="*/ 2147483647 w 1102"/>
              <a:gd name="T65" fmla="*/ 2147483647 h 550"/>
              <a:gd name="T66" fmla="*/ 2147483647 w 1102"/>
              <a:gd name="T67" fmla="*/ 0 h 550"/>
              <a:gd name="T68" fmla="*/ 2147483647 w 1102"/>
              <a:gd name="T69" fmla="*/ 2147483647 h 550"/>
              <a:gd name="T70" fmla="*/ 2147483647 w 1102"/>
              <a:gd name="T71" fmla="*/ 2147483647 h 550"/>
              <a:gd name="T72" fmla="*/ 2147483647 w 1102"/>
              <a:gd name="T73" fmla="*/ 2147483647 h 550"/>
              <a:gd name="T74" fmla="*/ 2147483647 w 1102"/>
              <a:gd name="T75" fmla="*/ 2147483647 h 550"/>
              <a:gd name="T76" fmla="*/ 2147483647 w 1102"/>
              <a:gd name="T77" fmla="*/ 2147483647 h 550"/>
              <a:gd name="T78" fmla="*/ 2147483647 w 1102"/>
              <a:gd name="T79" fmla="*/ 2147483647 h 550"/>
              <a:gd name="T80" fmla="*/ 2147483647 w 1102"/>
              <a:gd name="T81" fmla="*/ 2147483647 h 550"/>
              <a:gd name="T82" fmla="*/ 2147483647 w 1102"/>
              <a:gd name="T83" fmla="*/ 2147483647 h 550"/>
              <a:gd name="T84" fmla="*/ 2147483647 w 1102"/>
              <a:gd name="T85" fmla="*/ 2147483647 h 550"/>
              <a:gd name="T86" fmla="*/ 2147483647 w 1102"/>
              <a:gd name="T87" fmla="*/ 2147483647 h 550"/>
              <a:gd name="T88" fmla="*/ 2147483647 w 1102"/>
              <a:gd name="T89" fmla="*/ 2147483647 h 55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02"/>
              <a:gd name="T136" fmla="*/ 0 h 550"/>
              <a:gd name="T137" fmla="*/ 1102 w 1102"/>
              <a:gd name="T138" fmla="*/ 550 h 550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02" h="550">
                <a:moveTo>
                  <a:pt x="1102" y="550"/>
                </a:moveTo>
                <a:lnTo>
                  <a:pt x="1102" y="550"/>
                </a:lnTo>
                <a:lnTo>
                  <a:pt x="1100" y="522"/>
                </a:lnTo>
                <a:lnTo>
                  <a:pt x="1098" y="494"/>
                </a:lnTo>
                <a:lnTo>
                  <a:pt x="1094" y="466"/>
                </a:lnTo>
                <a:lnTo>
                  <a:pt x="1088" y="440"/>
                </a:lnTo>
                <a:lnTo>
                  <a:pt x="1082" y="412"/>
                </a:lnTo>
                <a:lnTo>
                  <a:pt x="1074" y="386"/>
                </a:lnTo>
                <a:lnTo>
                  <a:pt x="1066" y="362"/>
                </a:lnTo>
                <a:lnTo>
                  <a:pt x="1056" y="336"/>
                </a:lnTo>
                <a:lnTo>
                  <a:pt x="1044" y="312"/>
                </a:lnTo>
                <a:lnTo>
                  <a:pt x="1032" y="288"/>
                </a:lnTo>
                <a:lnTo>
                  <a:pt x="1020" y="266"/>
                </a:lnTo>
                <a:lnTo>
                  <a:pt x="1004" y="242"/>
                </a:lnTo>
                <a:lnTo>
                  <a:pt x="990" y="222"/>
                </a:lnTo>
                <a:lnTo>
                  <a:pt x="974" y="200"/>
                </a:lnTo>
                <a:lnTo>
                  <a:pt x="956" y="180"/>
                </a:lnTo>
                <a:lnTo>
                  <a:pt x="938" y="162"/>
                </a:lnTo>
                <a:lnTo>
                  <a:pt x="918" y="142"/>
                </a:lnTo>
                <a:lnTo>
                  <a:pt x="900" y="126"/>
                </a:lnTo>
                <a:lnTo>
                  <a:pt x="878" y="110"/>
                </a:lnTo>
                <a:lnTo>
                  <a:pt x="858" y="94"/>
                </a:lnTo>
                <a:lnTo>
                  <a:pt x="834" y="80"/>
                </a:lnTo>
                <a:lnTo>
                  <a:pt x="812" y="66"/>
                </a:lnTo>
                <a:lnTo>
                  <a:pt x="788" y="54"/>
                </a:lnTo>
                <a:lnTo>
                  <a:pt x="764" y="44"/>
                </a:lnTo>
                <a:lnTo>
                  <a:pt x="740" y="34"/>
                </a:lnTo>
                <a:lnTo>
                  <a:pt x="714" y="24"/>
                </a:lnTo>
                <a:lnTo>
                  <a:pt x="688" y="18"/>
                </a:lnTo>
                <a:lnTo>
                  <a:pt x="662" y="12"/>
                </a:lnTo>
                <a:lnTo>
                  <a:pt x="634" y="6"/>
                </a:lnTo>
                <a:lnTo>
                  <a:pt x="608" y="2"/>
                </a:lnTo>
                <a:lnTo>
                  <a:pt x="580" y="0"/>
                </a:lnTo>
                <a:lnTo>
                  <a:pt x="550" y="0"/>
                </a:lnTo>
                <a:lnTo>
                  <a:pt x="522" y="0"/>
                </a:lnTo>
                <a:lnTo>
                  <a:pt x="494" y="2"/>
                </a:lnTo>
                <a:lnTo>
                  <a:pt x="468" y="6"/>
                </a:lnTo>
                <a:lnTo>
                  <a:pt x="440" y="12"/>
                </a:lnTo>
                <a:lnTo>
                  <a:pt x="414" y="18"/>
                </a:lnTo>
                <a:lnTo>
                  <a:pt x="388" y="24"/>
                </a:lnTo>
                <a:lnTo>
                  <a:pt x="362" y="34"/>
                </a:lnTo>
                <a:lnTo>
                  <a:pt x="338" y="44"/>
                </a:lnTo>
                <a:lnTo>
                  <a:pt x="314" y="54"/>
                </a:lnTo>
                <a:lnTo>
                  <a:pt x="290" y="66"/>
                </a:lnTo>
                <a:lnTo>
                  <a:pt x="268" y="80"/>
                </a:lnTo>
                <a:lnTo>
                  <a:pt x="246" y="94"/>
                </a:lnTo>
                <a:lnTo>
                  <a:pt x="224" y="110"/>
                </a:lnTo>
                <a:lnTo>
                  <a:pt x="204" y="126"/>
                </a:lnTo>
                <a:lnTo>
                  <a:pt x="184" y="144"/>
                </a:lnTo>
                <a:lnTo>
                  <a:pt x="164" y="162"/>
                </a:lnTo>
                <a:lnTo>
                  <a:pt x="146" y="180"/>
                </a:lnTo>
                <a:lnTo>
                  <a:pt x="130" y="200"/>
                </a:lnTo>
                <a:lnTo>
                  <a:pt x="114" y="222"/>
                </a:lnTo>
                <a:lnTo>
                  <a:pt x="98" y="242"/>
                </a:lnTo>
                <a:lnTo>
                  <a:pt x="84" y="266"/>
                </a:lnTo>
                <a:lnTo>
                  <a:pt x="70" y="288"/>
                </a:lnTo>
                <a:lnTo>
                  <a:pt x="58" y="312"/>
                </a:lnTo>
                <a:lnTo>
                  <a:pt x="48" y="336"/>
                </a:lnTo>
                <a:lnTo>
                  <a:pt x="38" y="362"/>
                </a:lnTo>
                <a:lnTo>
                  <a:pt x="28" y="386"/>
                </a:lnTo>
                <a:lnTo>
                  <a:pt x="20" y="412"/>
                </a:lnTo>
                <a:lnTo>
                  <a:pt x="14" y="440"/>
                </a:lnTo>
                <a:lnTo>
                  <a:pt x="8" y="466"/>
                </a:lnTo>
                <a:lnTo>
                  <a:pt x="4" y="494"/>
                </a:lnTo>
                <a:lnTo>
                  <a:pt x="2" y="522"/>
                </a:lnTo>
                <a:lnTo>
                  <a:pt x="0" y="550"/>
                </a:lnTo>
                <a:lnTo>
                  <a:pt x="0" y="522"/>
                </a:lnTo>
                <a:lnTo>
                  <a:pt x="2" y="494"/>
                </a:lnTo>
                <a:lnTo>
                  <a:pt x="6" y="466"/>
                </a:lnTo>
                <a:lnTo>
                  <a:pt x="12" y="440"/>
                </a:lnTo>
                <a:lnTo>
                  <a:pt x="18" y="412"/>
                </a:lnTo>
                <a:lnTo>
                  <a:pt x="24" y="386"/>
                </a:lnTo>
                <a:lnTo>
                  <a:pt x="34" y="362"/>
                </a:lnTo>
                <a:lnTo>
                  <a:pt x="44" y="336"/>
                </a:lnTo>
                <a:lnTo>
                  <a:pt x="54" y="312"/>
                </a:lnTo>
                <a:lnTo>
                  <a:pt x="66" y="288"/>
                </a:lnTo>
                <a:lnTo>
                  <a:pt x="80" y="266"/>
                </a:lnTo>
                <a:lnTo>
                  <a:pt x="94" y="242"/>
                </a:lnTo>
                <a:lnTo>
                  <a:pt x="110" y="222"/>
                </a:lnTo>
                <a:lnTo>
                  <a:pt x="126" y="200"/>
                </a:lnTo>
                <a:lnTo>
                  <a:pt x="144" y="180"/>
                </a:lnTo>
                <a:lnTo>
                  <a:pt x="162" y="162"/>
                </a:lnTo>
                <a:lnTo>
                  <a:pt x="180" y="142"/>
                </a:lnTo>
                <a:lnTo>
                  <a:pt x="200" y="126"/>
                </a:lnTo>
                <a:lnTo>
                  <a:pt x="222" y="110"/>
                </a:lnTo>
                <a:lnTo>
                  <a:pt x="242" y="94"/>
                </a:lnTo>
                <a:lnTo>
                  <a:pt x="266" y="80"/>
                </a:lnTo>
                <a:lnTo>
                  <a:pt x="288" y="66"/>
                </a:lnTo>
                <a:lnTo>
                  <a:pt x="312" y="54"/>
                </a:lnTo>
                <a:lnTo>
                  <a:pt x="336" y="44"/>
                </a:lnTo>
                <a:lnTo>
                  <a:pt x="362" y="34"/>
                </a:lnTo>
                <a:lnTo>
                  <a:pt x="388" y="24"/>
                </a:lnTo>
                <a:lnTo>
                  <a:pt x="414" y="18"/>
                </a:lnTo>
                <a:lnTo>
                  <a:pt x="440" y="12"/>
                </a:lnTo>
                <a:lnTo>
                  <a:pt x="466" y="6"/>
                </a:lnTo>
                <a:lnTo>
                  <a:pt x="494" y="2"/>
                </a:lnTo>
                <a:lnTo>
                  <a:pt x="522" y="0"/>
                </a:lnTo>
                <a:lnTo>
                  <a:pt x="550" y="0"/>
                </a:lnTo>
                <a:lnTo>
                  <a:pt x="580" y="0"/>
                </a:lnTo>
                <a:lnTo>
                  <a:pt x="608" y="2"/>
                </a:lnTo>
                <a:lnTo>
                  <a:pt x="634" y="6"/>
                </a:lnTo>
                <a:lnTo>
                  <a:pt x="662" y="12"/>
                </a:lnTo>
                <a:lnTo>
                  <a:pt x="688" y="18"/>
                </a:lnTo>
                <a:lnTo>
                  <a:pt x="714" y="24"/>
                </a:lnTo>
                <a:lnTo>
                  <a:pt x="740" y="34"/>
                </a:lnTo>
                <a:lnTo>
                  <a:pt x="766" y="44"/>
                </a:lnTo>
                <a:lnTo>
                  <a:pt x="790" y="54"/>
                </a:lnTo>
                <a:lnTo>
                  <a:pt x="814" y="66"/>
                </a:lnTo>
                <a:lnTo>
                  <a:pt x="836" y="80"/>
                </a:lnTo>
                <a:lnTo>
                  <a:pt x="858" y="94"/>
                </a:lnTo>
                <a:lnTo>
                  <a:pt x="880" y="110"/>
                </a:lnTo>
                <a:lnTo>
                  <a:pt x="902" y="126"/>
                </a:lnTo>
                <a:lnTo>
                  <a:pt x="922" y="142"/>
                </a:lnTo>
                <a:lnTo>
                  <a:pt x="940" y="162"/>
                </a:lnTo>
                <a:lnTo>
                  <a:pt x="958" y="180"/>
                </a:lnTo>
                <a:lnTo>
                  <a:pt x="976" y="200"/>
                </a:lnTo>
                <a:lnTo>
                  <a:pt x="992" y="222"/>
                </a:lnTo>
                <a:lnTo>
                  <a:pt x="1008" y="242"/>
                </a:lnTo>
                <a:lnTo>
                  <a:pt x="1022" y="266"/>
                </a:lnTo>
                <a:lnTo>
                  <a:pt x="1036" y="288"/>
                </a:lnTo>
                <a:lnTo>
                  <a:pt x="1048" y="312"/>
                </a:lnTo>
                <a:lnTo>
                  <a:pt x="1058" y="336"/>
                </a:lnTo>
                <a:lnTo>
                  <a:pt x="1068" y="362"/>
                </a:lnTo>
                <a:lnTo>
                  <a:pt x="1076" y="386"/>
                </a:lnTo>
                <a:lnTo>
                  <a:pt x="1084" y="412"/>
                </a:lnTo>
                <a:lnTo>
                  <a:pt x="1090" y="440"/>
                </a:lnTo>
                <a:lnTo>
                  <a:pt x="1096" y="466"/>
                </a:lnTo>
                <a:lnTo>
                  <a:pt x="1098" y="494"/>
                </a:lnTo>
                <a:lnTo>
                  <a:pt x="1100" y="522"/>
                </a:lnTo>
                <a:lnTo>
                  <a:pt x="1102" y="55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Freeform 42"/>
          <p:cNvSpPr>
            <a:spLocks/>
          </p:cNvSpPr>
          <p:nvPr/>
        </p:nvSpPr>
        <p:spPr bwMode="auto">
          <a:xfrm>
            <a:off x="3862388" y="3146425"/>
            <a:ext cx="1298575" cy="660400"/>
          </a:xfrm>
          <a:custGeom>
            <a:avLst/>
            <a:gdLst>
              <a:gd name="T0" fmla="*/ 2147483647 w 1102"/>
              <a:gd name="T1" fmla="*/ 2147483647 h 560"/>
              <a:gd name="T2" fmla="*/ 2147483647 w 1102"/>
              <a:gd name="T3" fmla="*/ 2147483647 h 560"/>
              <a:gd name="T4" fmla="*/ 2147483647 w 1102"/>
              <a:gd name="T5" fmla="*/ 2147483647 h 560"/>
              <a:gd name="T6" fmla="*/ 2147483647 w 1102"/>
              <a:gd name="T7" fmla="*/ 2147483647 h 560"/>
              <a:gd name="T8" fmla="*/ 2147483647 w 1102"/>
              <a:gd name="T9" fmla="*/ 2147483647 h 560"/>
              <a:gd name="T10" fmla="*/ 2147483647 w 1102"/>
              <a:gd name="T11" fmla="*/ 2147483647 h 560"/>
              <a:gd name="T12" fmla="*/ 2147483647 w 1102"/>
              <a:gd name="T13" fmla="*/ 2147483647 h 560"/>
              <a:gd name="T14" fmla="*/ 2147483647 w 1102"/>
              <a:gd name="T15" fmla="*/ 2147483647 h 560"/>
              <a:gd name="T16" fmla="*/ 2147483647 w 1102"/>
              <a:gd name="T17" fmla="*/ 2147483647 h 560"/>
              <a:gd name="T18" fmla="*/ 2147483647 w 1102"/>
              <a:gd name="T19" fmla="*/ 2147483647 h 560"/>
              <a:gd name="T20" fmla="*/ 2147483647 w 1102"/>
              <a:gd name="T21" fmla="*/ 2147483647 h 560"/>
              <a:gd name="T22" fmla="*/ 2147483647 w 1102"/>
              <a:gd name="T23" fmla="*/ 2147483647 h 560"/>
              <a:gd name="T24" fmla="*/ 2147483647 w 1102"/>
              <a:gd name="T25" fmla="*/ 2147483647 h 560"/>
              <a:gd name="T26" fmla="*/ 2147483647 w 1102"/>
              <a:gd name="T27" fmla="*/ 2147483647 h 560"/>
              <a:gd name="T28" fmla="*/ 2147483647 w 1102"/>
              <a:gd name="T29" fmla="*/ 2147483647 h 560"/>
              <a:gd name="T30" fmla="*/ 2147483647 w 1102"/>
              <a:gd name="T31" fmla="*/ 2147483647 h 560"/>
              <a:gd name="T32" fmla="*/ 0 w 1102"/>
              <a:gd name="T33" fmla="*/ 2147483647 h 560"/>
              <a:gd name="T34" fmla="*/ 0 w 1102"/>
              <a:gd name="T35" fmla="*/ 2147483647 h 560"/>
              <a:gd name="T36" fmla="*/ 2147483647 w 1102"/>
              <a:gd name="T37" fmla="*/ 2147483647 h 560"/>
              <a:gd name="T38" fmla="*/ 2147483647 w 1102"/>
              <a:gd name="T39" fmla="*/ 2147483647 h 560"/>
              <a:gd name="T40" fmla="*/ 2147483647 w 1102"/>
              <a:gd name="T41" fmla="*/ 2147483647 h 560"/>
              <a:gd name="T42" fmla="*/ 2147483647 w 1102"/>
              <a:gd name="T43" fmla="*/ 2147483647 h 560"/>
              <a:gd name="T44" fmla="*/ 2147483647 w 1102"/>
              <a:gd name="T45" fmla="*/ 2147483647 h 560"/>
              <a:gd name="T46" fmla="*/ 2147483647 w 1102"/>
              <a:gd name="T47" fmla="*/ 2147483647 h 560"/>
              <a:gd name="T48" fmla="*/ 2147483647 w 1102"/>
              <a:gd name="T49" fmla="*/ 2147483647 h 560"/>
              <a:gd name="T50" fmla="*/ 2147483647 w 1102"/>
              <a:gd name="T51" fmla="*/ 2147483647 h 560"/>
              <a:gd name="T52" fmla="*/ 2147483647 w 1102"/>
              <a:gd name="T53" fmla="*/ 2147483647 h 560"/>
              <a:gd name="T54" fmla="*/ 2147483647 w 1102"/>
              <a:gd name="T55" fmla="*/ 2147483647 h 560"/>
              <a:gd name="T56" fmla="*/ 2147483647 w 1102"/>
              <a:gd name="T57" fmla="*/ 2147483647 h 560"/>
              <a:gd name="T58" fmla="*/ 2147483647 w 1102"/>
              <a:gd name="T59" fmla="*/ 2147483647 h 560"/>
              <a:gd name="T60" fmla="*/ 2147483647 w 1102"/>
              <a:gd name="T61" fmla="*/ 2147483647 h 560"/>
              <a:gd name="T62" fmla="*/ 2147483647 w 1102"/>
              <a:gd name="T63" fmla="*/ 2147483647 h 560"/>
              <a:gd name="T64" fmla="*/ 2147483647 w 1102"/>
              <a:gd name="T65" fmla="*/ 2147483647 h 560"/>
              <a:gd name="T66" fmla="*/ 2147483647 w 1102"/>
              <a:gd name="T67" fmla="*/ 0 h 560"/>
              <a:gd name="T68" fmla="*/ 2147483647 w 1102"/>
              <a:gd name="T69" fmla="*/ 0 h 560"/>
              <a:gd name="T70" fmla="*/ 2147483647 w 1102"/>
              <a:gd name="T71" fmla="*/ 2147483647 h 560"/>
              <a:gd name="T72" fmla="*/ 2147483647 w 1102"/>
              <a:gd name="T73" fmla="*/ 2147483647 h 560"/>
              <a:gd name="T74" fmla="*/ 2147483647 w 1102"/>
              <a:gd name="T75" fmla="*/ 2147483647 h 560"/>
              <a:gd name="T76" fmla="*/ 2147483647 w 1102"/>
              <a:gd name="T77" fmla="*/ 2147483647 h 560"/>
              <a:gd name="T78" fmla="*/ 2147483647 w 1102"/>
              <a:gd name="T79" fmla="*/ 2147483647 h 560"/>
              <a:gd name="T80" fmla="*/ 2147483647 w 1102"/>
              <a:gd name="T81" fmla="*/ 2147483647 h 560"/>
              <a:gd name="T82" fmla="*/ 2147483647 w 1102"/>
              <a:gd name="T83" fmla="*/ 2147483647 h 560"/>
              <a:gd name="T84" fmla="*/ 2147483647 w 1102"/>
              <a:gd name="T85" fmla="*/ 2147483647 h 560"/>
              <a:gd name="T86" fmla="*/ 2147483647 w 1102"/>
              <a:gd name="T87" fmla="*/ 2147483647 h 560"/>
              <a:gd name="T88" fmla="*/ 2147483647 w 1102"/>
              <a:gd name="T89" fmla="*/ 2147483647 h 560"/>
              <a:gd name="T90" fmla="*/ 2147483647 w 1102"/>
              <a:gd name="T91" fmla="*/ 2147483647 h 560"/>
              <a:gd name="T92" fmla="*/ 2147483647 w 1102"/>
              <a:gd name="T93" fmla="*/ 2147483647 h 560"/>
              <a:gd name="T94" fmla="*/ 2147483647 w 1102"/>
              <a:gd name="T95" fmla="*/ 2147483647 h 560"/>
              <a:gd name="T96" fmla="*/ 2147483647 w 1102"/>
              <a:gd name="T97" fmla="*/ 2147483647 h 560"/>
              <a:gd name="T98" fmla="*/ 2147483647 w 1102"/>
              <a:gd name="T99" fmla="*/ 2147483647 h 560"/>
              <a:gd name="T100" fmla="*/ 2147483647 w 1102"/>
              <a:gd name="T101" fmla="*/ 2147483647 h 560"/>
              <a:gd name="T102" fmla="*/ 2147483647 w 1102"/>
              <a:gd name="T103" fmla="*/ 2147483647 h 560"/>
              <a:gd name="T104" fmla="*/ 2147483647 w 1102"/>
              <a:gd name="T105" fmla="*/ 2147483647 h 560"/>
              <a:gd name="T106" fmla="*/ 2147483647 w 1102"/>
              <a:gd name="T107" fmla="*/ 2147483647 h 56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102"/>
              <a:gd name="T163" fmla="*/ 0 h 560"/>
              <a:gd name="T164" fmla="*/ 1102 w 1102"/>
              <a:gd name="T165" fmla="*/ 560 h 560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102" h="560">
                <a:moveTo>
                  <a:pt x="1094" y="560"/>
                </a:moveTo>
                <a:lnTo>
                  <a:pt x="1094" y="560"/>
                </a:lnTo>
                <a:lnTo>
                  <a:pt x="1084" y="558"/>
                </a:lnTo>
                <a:lnTo>
                  <a:pt x="1070" y="552"/>
                </a:lnTo>
                <a:lnTo>
                  <a:pt x="1030" y="526"/>
                </a:lnTo>
                <a:lnTo>
                  <a:pt x="976" y="490"/>
                </a:lnTo>
                <a:lnTo>
                  <a:pt x="910" y="450"/>
                </a:lnTo>
                <a:lnTo>
                  <a:pt x="872" y="430"/>
                </a:lnTo>
                <a:lnTo>
                  <a:pt x="832" y="410"/>
                </a:lnTo>
                <a:lnTo>
                  <a:pt x="790" y="392"/>
                </a:lnTo>
                <a:lnTo>
                  <a:pt x="746" y="374"/>
                </a:lnTo>
                <a:lnTo>
                  <a:pt x="702" y="360"/>
                </a:lnTo>
                <a:lnTo>
                  <a:pt x="654" y="350"/>
                </a:lnTo>
                <a:lnTo>
                  <a:pt x="604" y="342"/>
                </a:lnTo>
                <a:lnTo>
                  <a:pt x="580" y="340"/>
                </a:lnTo>
                <a:lnTo>
                  <a:pt x="554" y="340"/>
                </a:lnTo>
                <a:lnTo>
                  <a:pt x="528" y="340"/>
                </a:lnTo>
                <a:lnTo>
                  <a:pt x="502" y="342"/>
                </a:lnTo>
                <a:lnTo>
                  <a:pt x="452" y="350"/>
                </a:lnTo>
                <a:lnTo>
                  <a:pt x="402" y="360"/>
                </a:lnTo>
                <a:lnTo>
                  <a:pt x="356" y="374"/>
                </a:lnTo>
                <a:lnTo>
                  <a:pt x="310" y="390"/>
                </a:lnTo>
                <a:lnTo>
                  <a:pt x="266" y="408"/>
                </a:lnTo>
                <a:lnTo>
                  <a:pt x="226" y="428"/>
                </a:lnTo>
                <a:lnTo>
                  <a:pt x="188" y="448"/>
                </a:lnTo>
                <a:lnTo>
                  <a:pt x="120" y="488"/>
                </a:lnTo>
                <a:lnTo>
                  <a:pt x="66" y="522"/>
                </a:lnTo>
                <a:lnTo>
                  <a:pt x="26" y="546"/>
                </a:lnTo>
                <a:lnTo>
                  <a:pt x="14" y="554"/>
                </a:lnTo>
                <a:lnTo>
                  <a:pt x="4" y="556"/>
                </a:lnTo>
                <a:lnTo>
                  <a:pt x="2" y="554"/>
                </a:lnTo>
                <a:lnTo>
                  <a:pt x="0" y="552"/>
                </a:lnTo>
                <a:lnTo>
                  <a:pt x="0" y="550"/>
                </a:lnTo>
                <a:lnTo>
                  <a:pt x="2" y="522"/>
                </a:lnTo>
                <a:lnTo>
                  <a:pt x="4" y="494"/>
                </a:lnTo>
                <a:lnTo>
                  <a:pt x="8" y="466"/>
                </a:lnTo>
                <a:lnTo>
                  <a:pt x="14" y="440"/>
                </a:lnTo>
                <a:lnTo>
                  <a:pt x="20" y="412"/>
                </a:lnTo>
                <a:lnTo>
                  <a:pt x="28" y="386"/>
                </a:lnTo>
                <a:lnTo>
                  <a:pt x="38" y="362"/>
                </a:lnTo>
                <a:lnTo>
                  <a:pt x="48" y="336"/>
                </a:lnTo>
                <a:lnTo>
                  <a:pt x="58" y="312"/>
                </a:lnTo>
                <a:lnTo>
                  <a:pt x="70" y="288"/>
                </a:lnTo>
                <a:lnTo>
                  <a:pt x="84" y="266"/>
                </a:lnTo>
                <a:lnTo>
                  <a:pt x="98" y="242"/>
                </a:lnTo>
                <a:lnTo>
                  <a:pt x="114" y="222"/>
                </a:lnTo>
                <a:lnTo>
                  <a:pt x="130" y="200"/>
                </a:lnTo>
                <a:lnTo>
                  <a:pt x="146" y="180"/>
                </a:lnTo>
                <a:lnTo>
                  <a:pt x="164" y="162"/>
                </a:lnTo>
                <a:lnTo>
                  <a:pt x="184" y="144"/>
                </a:lnTo>
                <a:lnTo>
                  <a:pt x="204" y="126"/>
                </a:lnTo>
                <a:lnTo>
                  <a:pt x="224" y="110"/>
                </a:lnTo>
                <a:lnTo>
                  <a:pt x="246" y="94"/>
                </a:lnTo>
                <a:lnTo>
                  <a:pt x="268" y="80"/>
                </a:lnTo>
                <a:lnTo>
                  <a:pt x="290" y="66"/>
                </a:lnTo>
                <a:lnTo>
                  <a:pt x="314" y="54"/>
                </a:lnTo>
                <a:lnTo>
                  <a:pt x="338" y="44"/>
                </a:lnTo>
                <a:lnTo>
                  <a:pt x="362" y="34"/>
                </a:lnTo>
                <a:lnTo>
                  <a:pt x="388" y="24"/>
                </a:lnTo>
                <a:lnTo>
                  <a:pt x="414" y="18"/>
                </a:lnTo>
                <a:lnTo>
                  <a:pt x="440" y="12"/>
                </a:lnTo>
                <a:lnTo>
                  <a:pt x="468" y="6"/>
                </a:lnTo>
                <a:lnTo>
                  <a:pt x="494" y="2"/>
                </a:lnTo>
                <a:lnTo>
                  <a:pt x="522" y="0"/>
                </a:lnTo>
                <a:lnTo>
                  <a:pt x="550" y="0"/>
                </a:lnTo>
                <a:lnTo>
                  <a:pt x="580" y="0"/>
                </a:lnTo>
                <a:lnTo>
                  <a:pt x="608" y="2"/>
                </a:lnTo>
                <a:lnTo>
                  <a:pt x="634" y="6"/>
                </a:lnTo>
                <a:lnTo>
                  <a:pt x="662" y="12"/>
                </a:lnTo>
                <a:lnTo>
                  <a:pt x="688" y="18"/>
                </a:lnTo>
                <a:lnTo>
                  <a:pt x="714" y="24"/>
                </a:lnTo>
                <a:lnTo>
                  <a:pt x="740" y="34"/>
                </a:lnTo>
                <a:lnTo>
                  <a:pt x="764" y="44"/>
                </a:lnTo>
                <a:lnTo>
                  <a:pt x="788" y="54"/>
                </a:lnTo>
                <a:lnTo>
                  <a:pt x="812" y="66"/>
                </a:lnTo>
                <a:lnTo>
                  <a:pt x="834" y="80"/>
                </a:lnTo>
                <a:lnTo>
                  <a:pt x="858" y="94"/>
                </a:lnTo>
                <a:lnTo>
                  <a:pt x="878" y="110"/>
                </a:lnTo>
                <a:lnTo>
                  <a:pt x="900" y="126"/>
                </a:lnTo>
                <a:lnTo>
                  <a:pt x="918" y="142"/>
                </a:lnTo>
                <a:lnTo>
                  <a:pt x="938" y="162"/>
                </a:lnTo>
                <a:lnTo>
                  <a:pt x="956" y="180"/>
                </a:lnTo>
                <a:lnTo>
                  <a:pt x="974" y="200"/>
                </a:lnTo>
                <a:lnTo>
                  <a:pt x="990" y="222"/>
                </a:lnTo>
                <a:lnTo>
                  <a:pt x="1004" y="242"/>
                </a:lnTo>
                <a:lnTo>
                  <a:pt x="1020" y="266"/>
                </a:lnTo>
                <a:lnTo>
                  <a:pt x="1032" y="288"/>
                </a:lnTo>
                <a:lnTo>
                  <a:pt x="1044" y="312"/>
                </a:lnTo>
                <a:lnTo>
                  <a:pt x="1056" y="336"/>
                </a:lnTo>
                <a:lnTo>
                  <a:pt x="1066" y="362"/>
                </a:lnTo>
                <a:lnTo>
                  <a:pt x="1074" y="386"/>
                </a:lnTo>
                <a:lnTo>
                  <a:pt x="1082" y="412"/>
                </a:lnTo>
                <a:lnTo>
                  <a:pt x="1088" y="440"/>
                </a:lnTo>
                <a:lnTo>
                  <a:pt x="1094" y="466"/>
                </a:lnTo>
                <a:lnTo>
                  <a:pt x="1098" y="494"/>
                </a:lnTo>
                <a:lnTo>
                  <a:pt x="1100" y="522"/>
                </a:lnTo>
                <a:lnTo>
                  <a:pt x="1102" y="550"/>
                </a:lnTo>
                <a:lnTo>
                  <a:pt x="1102" y="552"/>
                </a:lnTo>
                <a:lnTo>
                  <a:pt x="1100" y="556"/>
                </a:lnTo>
                <a:lnTo>
                  <a:pt x="1100" y="558"/>
                </a:lnTo>
                <a:lnTo>
                  <a:pt x="1098" y="560"/>
                </a:lnTo>
                <a:lnTo>
                  <a:pt x="1094" y="56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TextBox 50"/>
          <p:cNvSpPr txBox="1">
            <a:spLocks noChangeArrowheads="1"/>
          </p:cNvSpPr>
          <p:nvPr/>
        </p:nvSpPr>
        <p:spPr bwMode="auto">
          <a:xfrm>
            <a:off x="4154488" y="3643313"/>
            <a:ext cx="90487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endParaRPr lang="en-US" sz="2000">
              <a:solidFill>
                <a:schemeClr val="bg1"/>
              </a:solidFill>
              <a:latin typeface="Arial Narrow Bold" pitchFamily="-65" charset="0"/>
            </a:endParaRPr>
          </a:p>
        </p:txBody>
      </p:sp>
      <p:sp>
        <p:nvSpPr>
          <p:cNvPr id="54" name="TextBox 53"/>
          <p:cNvSpPr txBox="1">
            <a:spLocks noChangeArrowheads="1"/>
          </p:cNvSpPr>
          <p:nvPr/>
        </p:nvSpPr>
        <p:spPr bwMode="auto">
          <a:xfrm>
            <a:off x="3438525" y="3662363"/>
            <a:ext cx="28257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nb-NO" sz="1100">
                <a:solidFill>
                  <a:srgbClr val="595959"/>
                </a:solidFill>
                <a:latin typeface="Calibri" charset="0"/>
              </a:rPr>
              <a:t>S</a:t>
            </a:r>
          </a:p>
        </p:txBody>
      </p:sp>
      <p:cxnSp>
        <p:nvCxnSpPr>
          <p:cNvPr id="55" name="Straight Connector 54"/>
          <p:cNvCxnSpPr/>
          <p:nvPr/>
        </p:nvCxnSpPr>
        <p:spPr>
          <a:xfrm rot="5400000" flipH="1" flipV="1">
            <a:off x="4994315" y="3072604"/>
            <a:ext cx="227012" cy="225425"/>
          </a:xfrm>
          <a:prstGeom prst="line">
            <a:avLst/>
          </a:prstGeom>
          <a:ln w="12700" cap="flat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 rot="5400000" flipH="1" flipV="1">
            <a:off x="3766341" y="4308269"/>
            <a:ext cx="225425" cy="225425"/>
          </a:xfrm>
          <a:prstGeom prst="line">
            <a:avLst/>
          </a:prstGeom>
          <a:ln w="12700" cap="flat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 rot="16200000" flipV="1">
            <a:off x="3757125" y="3071811"/>
            <a:ext cx="227012" cy="227013"/>
          </a:xfrm>
          <a:prstGeom prst="line">
            <a:avLst/>
          </a:prstGeom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TextBox 60"/>
          <p:cNvSpPr txBox="1">
            <a:spLocks noChangeArrowheads="1"/>
          </p:cNvSpPr>
          <p:nvPr/>
        </p:nvSpPr>
        <p:spPr bwMode="auto">
          <a:xfrm>
            <a:off x="5208588" y="3662363"/>
            <a:ext cx="28257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nb-NO" sz="1100">
                <a:solidFill>
                  <a:srgbClr val="595959"/>
                </a:solidFill>
                <a:latin typeface="Calibri" charset="0"/>
              </a:rPr>
              <a:t>W</a:t>
            </a:r>
          </a:p>
        </p:txBody>
      </p:sp>
      <p:sp>
        <p:nvSpPr>
          <p:cNvPr id="59" name="TextBox 61"/>
          <p:cNvSpPr txBox="1">
            <a:spLocks noChangeArrowheads="1"/>
          </p:cNvSpPr>
          <p:nvPr/>
        </p:nvSpPr>
        <p:spPr bwMode="auto">
          <a:xfrm>
            <a:off x="4362450" y="2762250"/>
            <a:ext cx="282575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nb-NO" sz="1100" dirty="0">
                <a:solidFill>
                  <a:srgbClr val="595959"/>
                </a:solidFill>
                <a:latin typeface="Calibri" charset="0"/>
              </a:rPr>
              <a:t>O</a:t>
            </a:r>
          </a:p>
        </p:txBody>
      </p:sp>
      <p:sp>
        <p:nvSpPr>
          <p:cNvPr id="60" name="TextBox 62"/>
          <p:cNvSpPr txBox="1">
            <a:spLocks noChangeArrowheads="1"/>
          </p:cNvSpPr>
          <p:nvPr/>
        </p:nvSpPr>
        <p:spPr bwMode="auto">
          <a:xfrm>
            <a:off x="4362450" y="4573588"/>
            <a:ext cx="28257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nb-NO" sz="1100">
                <a:solidFill>
                  <a:srgbClr val="595959"/>
                </a:solidFill>
                <a:latin typeface="Calibri" charset="0"/>
              </a:rPr>
              <a:t>T</a:t>
            </a:r>
          </a:p>
        </p:txBody>
      </p:sp>
      <p:sp>
        <p:nvSpPr>
          <p:cNvPr id="61" name="Freeform 16"/>
          <p:cNvSpPr>
            <a:spLocks/>
          </p:cNvSpPr>
          <p:nvPr/>
        </p:nvSpPr>
        <p:spPr bwMode="auto">
          <a:xfrm flipH="1">
            <a:off x="5518468" y="3646488"/>
            <a:ext cx="149225" cy="295275"/>
          </a:xfrm>
          <a:custGeom>
            <a:avLst/>
            <a:gdLst>
              <a:gd name="T0" fmla="*/ 2147483647 w 126"/>
              <a:gd name="T1" fmla="*/ 0 h 250"/>
              <a:gd name="T2" fmla="*/ 0 w 126"/>
              <a:gd name="T3" fmla="*/ 2147483647 h 250"/>
              <a:gd name="T4" fmla="*/ 2147483647 w 126"/>
              <a:gd name="T5" fmla="*/ 2147483647 h 250"/>
              <a:gd name="T6" fmla="*/ 2147483647 w 126"/>
              <a:gd name="T7" fmla="*/ 0 h 250"/>
              <a:gd name="T8" fmla="*/ 0 60000 65536"/>
              <a:gd name="T9" fmla="*/ 0 60000 65536"/>
              <a:gd name="T10" fmla="*/ 0 60000 65536"/>
              <a:gd name="T11" fmla="*/ 0 60000 65536"/>
              <a:gd name="T12" fmla="*/ 0 w 126"/>
              <a:gd name="T13" fmla="*/ 0 h 250"/>
              <a:gd name="T14" fmla="*/ 126 w 126"/>
              <a:gd name="T15" fmla="*/ 250 h 25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26" h="250">
                <a:moveTo>
                  <a:pt x="126" y="0"/>
                </a:moveTo>
                <a:lnTo>
                  <a:pt x="0" y="124"/>
                </a:lnTo>
                <a:lnTo>
                  <a:pt x="126" y="250"/>
                </a:lnTo>
                <a:lnTo>
                  <a:pt x="126" y="0"/>
                </a:lnTo>
                <a:close/>
              </a:path>
            </a:pathLst>
          </a:custGeom>
          <a:solidFill>
            <a:srgbClr val="2A9B18"/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  <p:cxnSp>
        <p:nvCxnSpPr>
          <p:cNvPr id="62" name="Straight Connector 61"/>
          <p:cNvCxnSpPr/>
          <p:nvPr/>
        </p:nvCxnSpPr>
        <p:spPr>
          <a:xfrm rot="16200000" flipV="1">
            <a:off x="4995902" y="4307476"/>
            <a:ext cx="225425" cy="227013"/>
          </a:xfrm>
          <a:prstGeom prst="line">
            <a:avLst/>
          </a:prstGeom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Freeform 34"/>
          <p:cNvSpPr>
            <a:spLocks noEditPoints="1"/>
          </p:cNvSpPr>
          <p:nvPr/>
        </p:nvSpPr>
        <p:spPr bwMode="auto">
          <a:xfrm>
            <a:off x="3744913" y="3044825"/>
            <a:ext cx="1497012" cy="1497013"/>
          </a:xfrm>
          <a:custGeom>
            <a:avLst/>
            <a:gdLst>
              <a:gd name="T0" fmla="*/ 540 w 1270"/>
              <a:gd name="T1" fmla="*/ 1262 h 1270"/>
              <a:gd name="T2" fmla="*/ 394 w 1270"/>
              <a:gd name="T3" fmla="*/ 1222 h 1270"/>
              <a:gd name="T4" fmla="*/ 264 w 1270"/>
              <a:gd name="T5" fmla="*/ 1150 h 1270"/>
              <a:gd name="T6" fmla="*/ 190 w 1270"/>
              <a:gd name="T7" fmla="*/ 1086 h 1270"/>
              <a:gd name="T8" fmla="*/ 144 w 1270"/>
              <a:gd name="T9" fmla="*/ 1036 h 1270"/>
              <a:gd name="T10" fmla="*/ 62 w 1270"/>
              <a:gd name="T11" fmla="*/ 908 h 1270"/>
              <a:gd name="T12" fmla="*/ 12 w 1270"/>
              <a:gd name="T13" fmla="*/ 762 h 1270"/>
              <a:gd name="T14" fmla="*/ 0 w 1270"/>
              <a:gd name="T15" fmla="*/ 634 h 1270"/>
              <a:gd name="T16" fmla="*/ 20 w 1270"/>
              <a:gd name="T17" fmla="*/ 480 h 1270"/>
              <a:gd name="T18" fmla="*/ 72 w 1270"/>
              <a:gd name="T19" fmla="*/ 340 h 1270"/>
              <a:gd name="T20" fmla="*/ 156 w 1270"/>
              <a:gd name="T21" fmla="*/ 218 h 1270"/>
              <a:gd name="T22" fmla="*/ 182 w 1270"/>
              <a:gd name="T23" fmla="*/ 190 h 1270"/>
              <a:gd name="T24" fmla="*/ 232 w 1270"/>
              <a:gd name="T25" fmla="*/ 142 h 1270"/>
              <a:gd name="T26" fmla="*/ 362 w 1270"/>
              <a:gd name="T27" fmla="*/ 62 h 1270"/>
              <a:gd name="T28" fmla="*/ 508 w 1270"/>
              <a:gd name="T29" fmla="*/ 12 h 1270"/>
              <a:gd name="T30" fmla="*/ 636 w 1270"/>
              <a:gd name="T31" fmla="*/ 0 h 1270"/>
              <a:gd name="T32" fmla="*/ 792 w 1270"/>
              <a:gd name="T33" fmla="*/ 18 h 1270"/>
              <a:gd name="T34" fmla="*/ 936 w 1270"/>
              <a:gd name="T35" fmla="*/ 74 h 1270"/>
              <a:gd name="T36" fmla="*/ 1060 w 1270"/>
              <a:gd name="T37" fmla="*/ 162 h 1270"/>
              <a:gd name="T38" fmla="*/ 1092 w 1270"/>
              <a:gd name="T39" fmla="*/ 194 h 1270"/>
              <a:gd name="T40" fmla="*/ 1166 w 1270"/>
              <a:gd name="T41" fmla="*/ 286 h 1270"/>
              <a:gd name="T42" fmla="*/ 1234 w 1270"/>
              <a:gd name="T43" fmla="*/ 420 h 1270"/>
              <a:gd name="T44" fmla="*/ 1268 w 1270"/>
              <a:gd name="T45" fmla="*/ 570 h 1270"/>
              <a:gd name="T46" fmla="*/ 1266 w 1270"/>
              <a:gd name="T47" fmla="*/ 698 h 1270"/>
              <a:gd name="T48" fmla="*/ 1232 w 1270"/>
              <a:gd name="T49" fmla="*/ 852 h 1270"/>
              <a:gd name="T50" fmla="*/ 1162 w 1270"/>
              <a:gd name="T51" fmla="*/ 988 h 1270"/>
              <a:gd name="T52" fmla="*/ 1086 w 1270"/>
              <a:gd name="T53" fmla="*/ 1082 h 1270"/>
              <a:gd name="T54" fmla="*/ 1052 w 1270"/>
              <a:gd name="T55" fmla="*/ 1112 h 1270"/>
              <a:gd name="T56" fmla="*/ 930 w 1270"/>
              <a:gd name="T57" fmla="*/ 1196 h 1270"/>
              <a:gd name="T58" fmla="*/ 790 w 1270"/>
              <a:gd name="T59" fmla="*/ 1250 h 1270"/>
              <a:gd name="T60" fmla="*/ 636 w 1270"/>
              <a:gd name="T61" fmla="*/ 1270 h 1270"/>
              <a:gd name="T62" fmla="*/ 102 w 1270"/>
              <a:gd name="T63" fmla="*/ 722 h 1270"/>
              <a:gd name="T64" fmla="*/ 140 w 1270"/>
              <a:gd name="T65" fmla="*/ 852 h 1270"/>
              <a:gd name="T66" fmla="*/ 206 w 1270"/>
              <a:gd name="T67" fmla="*/ 966 h 1270"/>
              <a:gd name="T68" fmla="*/ 296 w 1270"/>
              <a:gd name="T69" fmla="*/ 1062 h 1270"/>
              <a:gd name="T70" fmla="*/ 408 w 1270"/>
              <a:gd name="T71" fmla="*/ 1134 h 1270"/>
              <a:gd name="T72" fmla="*/ 536 w 1270"/>
              <a:gd name="T73" fmla="*/ 1176 h 1270"/>
              <a:gd name="T74" fmla="*/ 646 w 1270"/>
              <a:gd name="T75" fmla="*/ 1188 h 1270"/>
              <a:gd name="T76" fmla="*/ 784 w 1270"/>
              <a:gd name="T77" fmla="*/ 1170 h 1270"/>
              <a:gd name="T78" fmla="*/ 910 w 1270"/>
              <a:gd name="T79" fmla="*/ 1120 h 1270"/>
              <a:gd name="T80" fmla="*/ 1016 w 1270"/>
              <a:gd name="T81" fmla="*/ 1044 h 1270"/>
              <a:gd name="T82" fmla="*/ 1104 w 1270"/>
              <a:gd name="T83" fmla="*/ 944 h 1270"/>
              <a:gd name="T84" fmla="*/ 1164 w 1270"/>
              <a:gd name="T85" fmla="*/ 826 h 1270"/>
              <a:gd name="T86" fmla="*/ 1194 w 1270"/>
              <a:gd name="T87" fmla="*/ 694 h 1270"/>
              <a:gd name="T88" fmla="*/ 1198 w 1270"/>
              <a:gd name="T89" fmla="*/ 636 h 1270"/>
              <a:gd name="T90" fmla="*/ 1194 w 1270"/>
              <a:gd name="T91" fmla="*/ 580 h 1270"/>
              <a:gd name="T92" fmla="*/ 1164 w 1270"/>
              <a:gd name="T93" fmla="*/ 448 h 1270"/>
              <a:gd name="T94" fmla="*/ 1104 w 1270"/>
              <a:gd name="T95" fmla="*/ 328 h 1270"/>
              <a:gd name="T96" fmla="*/ 1018 w 1270"/>
              <a:gd name="T97" fmla="*/ 228 h 1270"/>
              <a:gd name="T98" fmla="*/ 910 w 1270"/>
              <a:gd name="T99" fmla="*/ 152 h 1270"/>
              <a:gd name="T100" fmla="*/ 784 w 1270"/>
              <a:gd name="T101" fmla="*/ 104 h 1270"/>
              <a:gd name="T102" fmla="*/ 646 w 1270"/>
              <a:gd name="T103" fmla="*/ 86 h 1270"/>
              <a:gd name="T104" fmla="*/ 536 w 1270"/>
              <a:gd name="T105" fmla="*/ 98 h 1270"/>
              <a:gd name="T106" fmla="*/ 408 w 1270"/>
              <a:gd name="T107" fmla="*/ 140 h 1270"/>
              <a:gd name="T108" fmla="*/ 296 w 1270"/>
              <a:gd name="T109" fmla="*/ 212 h 1270"/>
              <a:gd name="T110" fmla="*/ 206 w 1270"/>
              <a:gd name="T111" fmla="*/ 308 h 1270"/>
              <a:gd name="T112" fmla="*/ 140 w 1270"/>
              <a:gd name="T113" fmla="*/ 422 h 1270"/>
              <a:gd name="T114" fmla="*/ 102 w 1270"/>
              <a:gd name="T115" fmla="*/ 552 h 1270"/>
              <a:gd name="T116" fmla="*/ 96 w 1270"/>
              <a:gd name="T117" fmla="*/ 636 h 127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270"/>
              <a:gd name="T178" fmla="*/ 0 h 1270"/>
              <a:gd name="T179" fmla="*/ 1270 w 1270"/>
              <a:gd name="T180" fmla="*/ 1270 h 1270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270" h="1270">
                <a:moveTo>
                  <a:pt x="636" y="1270"/>
                </a:moveTo>
                <a:lnTo>
                  <a:pt x="636" y="1270"/>
                </a:lnTo>
                <a:lnTo>
                  <a:pt x="604" y="1268"/>
                </a:lnTo>
                <a:lnTo>
                  <a:pt x="572" y="1266"/>
                </a:lnTo>
                <a:lnTo>
                  <a:pt x="540" y="1262"/>
                </a:lnTo>
                <a:lnTo>
                  <a:pt x="510" y="1256"/>
                </a:lnTo>
                <a:lnTo>
                  <a:pt x="480" y="1250"/>
                </a:lnTo>
                <a:lnTo>
                  <a:pt x="452" y="1242"/>
                </a:lnTo>
                <a:lnTo>
                  <a:pt x="422" y="1232"/>
                </a:lnTo>
                <a:lnTo>
                  <a:pt x="394" y="1222"/>
                </a:lnTo>
                <a:lnTo>
                  <a:pt x="366" y="1210"/>
                </a:lnTo>
                <a:lnTo>
                  <a:pt x="340" y="1196"/>
                </a:lnTo>
                <a:lnTo>
                  <a:pt x="314" y="1182"/>
                </a:lnTo>
                <a:lnTo>
                  <a:pt x="288" y="1166"/>
                </a:lnTo>
                <a:lnTo>
                  <a:pt x="264" y="1150"/>
                </a:lnTo>
                <a:lnTo>
                  <a:pt x="240" y="1132"/>
                </a:lnTo>
                <a:lnTo>
                  <a:pt x="218" y="1112"/>
                </a:lnTo>
                <a:lnTo>
                  <a:pt x="196" y="1092"/>
                </a:lnTo>
                <a:lnTo>
                  <a:pt x="190" y="1086"/>
                </a:lnTo>
                <a:lnTo>
                  <a:pt x="184" y="1082"/>
                </a:lnTo>
                <a:lnTo>
                  <a:pt x="164" y="1060"/>
                </a:lnTo>
                <a:lnTo>
                  <a:pt x="144" y="1036"/>
                </a:lnTo>
                <a:lnTo>
                  <a:pt x="124" y="1012"/>
                </a:lnTo>
                <a:lnTo>
                  <a:pt x="108" y="988"/>
                </a:lnTo>
                <a:lnTo>
                  <a:pt x="92" y="962"/>
                </a:lnTo>
                <a:lnTo>
                  <a:pt x="76" y="936"/>
                </a:lnTo>
                <a:lnTo>
                  <a:pt x="62" y="908"/>
                </a:lnTo>
                <a:lnTo>
                  <a:pt x="50" y="880"/>
                </a:lnTo>
                <a:lnTo>
                  <a:pt x="38" y="852"/>
                </a:lnTo>
                <a:lnTo>
                  <a:pt x="28" y="822"/>
                </a:lnTo>
                <a:lnTo>
                  <a:pt x="20" y="792"/>
                </a:lnTo>
                <a:lnTo>
                  <a:pt x="12" y="762"/>
                </a:lnTo>
                <a:lnTo>
                  <a:pt x="8" y="730"/>
                </a:lnTo>
                <a:lnTo>
                  <a:pt x="4" y="698"/>
                </a:lnTo>
                <a:lnTo>
                  <a:pt x="0" y="666"/>
                </a:lnTo>
                <a:lnTo>
                  <a:pt x="0" y="634"/>
                </a:lnTo>
                <a:lnTo>
                  <a:pt x="0" y="602"/>
                </a:lnTo>
                <a:lnTo>
                  <a:pt x="4" y="572"/>
                </a:lnTo>
                <a:lnTo>
                  <a:pt x="8" y="540"/>
                </a:lnTo>
                <a:lnTo>
                  <a:pt x="12" y="510"/>
                </a:lnTo>
                <a:lnTo>
                  <a:pt x="20" y="480"/>
                </a:lnTo>
                <a:lnTo>
                  <a:pt x="28" y="450"/>
                </a:lnTo>
                <a:lnTo>
                  <a:pt x="36" y="422"/>
                </a:lnTo>
                <a:lnTo>
                  <a:pt x="48" y="394"/>
                </a:lnTo>
                <a:lnTo>
                  <a:pt x="60" y="366"/>
                </a:lnTo>
                <a:lnTo>
                  <a:pt x="72" y="340"/>
                </a:lnTo>
                <a:lnTo>
                  <a:pt x="86" y="314"/>
                </a:lnTo>
                <a:lnTo>
                  <a:pt x="102" y="288"/>
                </a:lnTo>
                <a:lnTo>
                  <a:pt x="120" y="264"/>
                </a:lnTo>
                <a:lnTo>
                  <a:pt x="138" y="240"/>
                </a:lnTo>
                <a:lnTo>
                  <a:pt x="156" y="218"/>
                </a:lnTo>
                <a:lnTo>
                  <a:pt x="176" y="196"/>
                </a:lnTo>
                <a:lnTo>
                  <a:pt x="182" y="190"/>
                </a:lnTo>
                <a:lnTo>
                  <a:pt x="188" y="184"/>
                </a:lnTo>
                <a:lnTo>
                  <a:pt x="210" y="162"/>
                </a:lnTo>
                <a:lnTo>
                  <a:pt x="232" y="142"/>
                </a:lnTo>
                <a:lnTo>
                  <a:pt x="256" y="124"/>
                </a:lnTo>
                <a:lnTo>
                  <a:pt x="282" y="106"/>
                </a:lnTo>
                <a:lnTo>
                  <a:pt x="308" y="90"/>
                </a:lnTo>
                <a:lnTo>
                  <a:pt x="334" y="76"/>
                </a:lnTo>
                <a:lnTo>
                  <a:pt x="362" y="62"/>
                </a:lnTo>
                <a:lnTo>
                  <a:pt x="390" y="48"/>
                </a:lnTo>
                <a:lnTo>
                  <a:pt x="418" y="38"/>
                </a:lnTo>
                <a:lnTo>
                  <a:pt x="448" y="28"/>
                </a:lnTo>
                <a:lnTo>
                  <a:pt x="478" y="20"/>
                </a:lnTo>
                <a:lnTo>
                  <a:pt x="508" y="12"/>
                </a:lnTo>
                <a:lnTo>
                  <a:pt x="538" y="6"/>
                </a:lnTo>
                <a:lnTo>
                  <a:pt x="570" y="2"/>
                </a:lnTo>
                <a:lnTo>
                  <a:pt x="602" y="0"/>
                </a:lnTo>
                <a:lnTo>
                  <a:pt x="636" y="0"/>
                </a:lnTo>
                <a:lnTo>
                  <a:pt x="668" y="0"/>
                </a:lnTo>
                <a:lnTo>
                  <a:pt x="700" y="2"/>
                </a:lnTo>
                <a:lnTo>
                  <a:pt x="732" y="6"/>
                </a:lnTo>
                <a:lnTo>
                  <a:pt x="762" y="12"/>
                </a:lnTo>
                <a:lnTo>
                  <a:pt x="792" y="18"/>
                </a:lnTo>
                <a:lnTo>
                  <a:pt x="822" y="28"/>
                </a:lnTo>
                <a:lnTo>
                  <a:pt x="852" y="38"/>
                </a:lnTo>
                <a:lnTo>
                  <a:pt x="880" y="48"/>
                </a:lnTo>
                <a:lnTo>
                  <a:pt x="908" y="62"/>
                </a:lnTo>
                <a:lnTo>
                  <a:pt x="936" y="74"/>
                </a:lnTo>
                <a:lnTo>
                  <a:pt x="962" y="90"/>
                </a:lnTo>
                <a:lnTo>
                  <a:pt x="988" y="106"/>
                </a:lnTo>
                <a:lnTo>
                  <a:pt x="1014" y="124"/>
                </a:lnTo>
                <a:lnTo>
                  <a:pt x="1038" y="142"/>
                </a:lnTo>
                <a:lnTo>
                  <a:pt x="1060" y="162"/>
                </a:lnTo>
                <a:lnTo>
                  <a:pt x="1082" y="184"/>
                </a:lnTo>
                <a:lnTo>
                  <a:pt x="1086" y="188"/>
                </a:lnTo>
                <a:lnTo>
                  <a:pt x="1092" y="194"/>
                </a:lnTo>
                <a:lnTo>
                  <a:pt x="1112" y="216"/>
                </a:lnTo>
                <a:lnTo>
                  <a:pt x="1132" y="238"/>
                </a:lnTo>
                <a:lnTo>
                  <a:pt x="1150" y="262"/>
                </a:lnTo>
                <a:lnTo>
                  <a:pt x="1166" y="286"/>
                </a:lnTo>
                <a:lnTo>
                  <a:pt x="1182" y="312"/>
                </a:lnTo>
                <a:lnTo>
                  <a:pt x="1198" y="338"/>
                </a:lnTo>
                <a:lnTo>
                  <a:pt x="1210" y="364"/>
                </a:lnTo>
                <a:lnTo>
                  <a:pt x="1222" y="392"/>
                </a:lnTo>
                <a:lnTo>
                  <a:pt x="1234" y="420"/>
                </a:lnTo>
                <a:lnTo>
                  <a:pt x="1242" y="450"/>
                </a:lnTo>
                <a:lnTo>
                  <a:pt x="1252" y="480"/>
                </a:lnTo>
                <a:lnTo>
                  <a:pt x="1258" y="510"/>
                </a:lnTo>
                <a:lnTo>
                  <a:pt x="1264" y="540"/>
                </a:lnTo>
                <a:lnTo>
                  <a:pt x="1268" y="570"/>
                </a:lnTo>
                <a:lnTo>
                  <a:pt x="1270" y="602"/>
                </a:lnTo>
                <a:lnTo>
                  <a:pt x="1270" y="634"/>
                </a:lnTo>
                <a:lnTo>
                  <a:pt x="1270" y="666"/>
                </a:lnTo>
                <a:lnTo>
                  <a:pt x="1266" y="698"/>
                </a:lnTo>
                <a:lnTo>
                  <a:pt x="1262" y="730"/>
                </a:lnTo>
                <a:lnTo>
                  <a:pt x="1258" y="762"/>
                </a:lnTo>
                <a:lnTo>
                  <a:pt x="1250" y="792"/>
                </a:lnTo>
                <a:lnTo>
                  <a:pt x="1242" y="822"/>
                </a:lnTo>
                <a:lnTo>
                  <a:pt x="1232" y="852"/>
                </a:lnTo>
                <a:lnTo>
                  <a:pt x="1220" y="880"/>
                </a:lnTo>
                <a:lnTo>
                  <a:pt x="1208" y="908"/>
                </a:lnTo>
                <a:lnTo>
                  <a:pt x="1194" y="936"/>
                </a:lnTo>
                <a:lnTo>
                  <a:pt x="1180" y="962"/>
                </a:lnTo>
                <a:lnTo>
                  <a:pt x="1162" y="988"/>
                </a:lnTo>
                <a:lnTo>
                  <a:pt x="1146" y="1012"/>
                </a:lnTo>
                <a:lnTo>
                  <a:pt x="1126" y="1036"/>
                </a:lnTo>
                <a:lnTo>
                  <a:pt x="1106" y="1060"/>
                </a:lnTo>
                <a:lnTo>
                  <a:pt x="1086" y="1082"/>
                </a:lnTo>
                <a:lnTo>
                  <a:pt x="1080" y="1088"/>
                </a:lnTo>
                <a:lnTo>
                  <a:pt x="1074" y="1092"/>
                </a:lnTo>
                <a:lnTo>
                  <a:pt x="1052" y="1112"/>
                </a:lnTo>
                <a:lnTo>
                  <a:pt x="1030" y="1132"/>
                </a:lnTo>
                <a:lnTo>
                  <a:pt x="1006" y="1150"/>
                </a:lnTo>
                <a:lnTo>
                  <a:pt x="982" y="1166"/>
                </a:lnTo>
                <a:lnTo>
                  <a:pt x="956" y="1182"/>
                </a:lnTo>
                <a:lnTo>
                  <a:pt x="930" y="1196"/>
                </a:lnTo>
                <a:lnTo>
                  <a:pt x="904" y="1210"/>
                </a:lnTo>
                <a:lnTo>
                  <a:pt x="876" y="1222"/>
                </a:lnTo>
                <a:lnTo>
                  <a:pt x="848" y="1232"/>
                </a:lnTo>
                <a:lnTo>
                  <a:pt x="820" y="1242"/>
                </a:lnTo>
                <a:lnTo>
                  <a:pt x="790" y="1250"/>
                </a:lnTo>
                <a:lnTo>
                  <a:pt x="760" y="1258"/>
                </a:lnTo>
                <a:lnTo>
                  <a:pt x="730" y="1262"/>
                </a:lnTo>
                <a:lnTo>
                  <a:pt x="698" y="1266"/>
                </a:lnTo>
                <a:lnTo>
                  <a:pt x="666" y="1268"/>
                </a:lnTo>
                <a:lnTo>
                  <a:pt x="636" y="1270"/>
                </a:lnTo>
                <a:close/>
                <a:moveTo>
                  <a:pt x="96" y="638"/>
                </a:moveTo>
                <a:lnTo>
                  <a:pt x="96" y="638"/>
                </a:lnTo>
                <a:lnTo>
                  <a:pt x="96" y="666"/>
                </a:lnTo>
                <a:lnTo>
                  <a:pt x="100" y="694"/>
                </a:lnTo>
                <a:lnTo>
                  <a:pt x="102" y="722"/>
                </a:lnTo>
                <a:lnTo>
                  <a:pt x="108" y="748"/>
                </a:lnTo>
                <a:lnTo>
                  <a:pt x="114" y="774"/>
                </a:lnTo>
                <a:lnTo>
                  <a:pt x="122" y="800"/>
                </a:lnTo>
                <a:lnTo>
                  <a:pt x="130" y="826"/>
                </a:lnTo>
                <a:lnTo>
                  <a:pt x="140" y="852"/>
                </a:lnTo>
                <a:lnTo>
                  <a:pt x="150" y="876"/>
                </a:lnTo>
                <a:lnTo>
                  <a:pt x="162" y="900"/>
                </a:lnTo>
                <a:lnTo>
                  <a:pt x="176" y="922"/>
                </a:lnTo>
                <a:lnTo>
                  <a:pt x="190" y="944"/>
                </a:lnTo>
                <a:lnTo>
                  <a:pt x="206" y="966"/>
                </a:lnTo>
                <a:lnTo>
                  <a:pt x="222" y="988"/>
                </a:lnTo>
                <a:lnTo>
                  <a:pt x="240" y="1008"/>
                </a:lnTo>
                <a:lnTo>
                  <a:pt x="258" y="1026"/>
                </a:lnTo>
                <a:lnTo>
                  <a:pt x="276" y="1044"/>
                </a:lnTo>
                <a:lnTo>
                  <a:pt x="296" y="1062"/>
                </a:lnTo>
                <a:lnTo>
                  <a:pt x="318" y="1078"/>
                </a:lnTo>
                <a:lnTo>
                  <a:pt x="340" y="1094"/>
                </a:lnTo>
                <a:lnTo>
                  <a:pt x="362" y="1108"/>
                </a:lnTo>
                <a:lnTo>
                  <a:pt x="384" y="1120"/>
                </a:lnTo>
                <a:lnTo>
                  <a:pt x="408" y="1134"/>
                </a:lnTo>
                <a:lnTo>
                  <a:pt x="432" y="1144"/>
                </a:lnTo>
                <a:lnTo>
                  <a:pt x="458" y="1154"/>
                </a:lnTo>
                <a:lnTo>
                  <a:pt x="484" y="1162"/>
                </a:lnTo>
                <a:lnTo>
                  <a:pt x="510" y="1170"/>
                </a:lnTo>
                <a:lnTo>
                  <a:pt x="536" y="1176"/>
                </a:lnTo>
                <a:lnTo>
                  <a:pt x="564" y="1180"/>
                </a:lnTo>
                <a:lnTo>
                  <a:pt x="590" y="1184"/>
                </a:lnTo>
                <a:lnTo>
                  <a:pt x="618" y="1186"/>
                </a:lnTo>
                <a:lnTo>
                  <a:pt x="646" y="1188"/>
                </a:lnTo>
                <a:lnTo>
                  <a:pt x="676" y="1186"/>
                </a:lnTo>
                <a:lnTo>
                  <a:pt x="704" y="1184"/>
                </a:lnTo>
                <a:lnTo>
                  <a:pt x="730" y="1180"/>
                </a:lnTo>
                <a:lnTo>
                  <a:pt x="758" y="1176"/>
                </a:lnTo>
                <a:lnTo>
                  <a:pt x="784" y="1170"/>
                </a:lnTo>
                <a:lnTo>
                  <a:pt x="810" y="1162"/>
                </a:lnTo>
                <a:lnTo>
                  <a:pt x="836" y="1154"/>
                </a:lnTo>
                <a:lnTo>
                  <a:pt x="860" y="1144"/>
                </a:lnTo>
                <a:lnTo>
                  <a:pt x="886" y="1134"/>
                </a:lnTo>
                <a:lnTo>
                  <a:pt x="910" y="1120"/>
                </a:lnTo>
                <a:lnTo>
                  <a:pt x="932" y="1108"/>
                </a:lnTo>
                <a:lnTo>
                  <a:pt x="954" y="1094"/>
                </a:lnTo>
                <a:lnTo>
                  <a:pt x="976" y="1078"/>
                </a:lnTo>
                <a:lnTo>
                  <a:pt x="996" y="1062"/>
                </a:lnTo>
                <a:lnTo>
                  <a:pt x="1016" y="1044"/>
                </a:lnTo>
                <a:lnTo>
                  <a:pt x="1036" y="1026"/>
                </a:lnTo>
                <a:lnTo>
                  <a:pt x="1054" y="1008"/>
                </a:lnTo>
                <a:lnTo>
                  <a:pt x="1072" y="988"/>
                </a:lnTo>
                <a:lnTo>
                  <a:pt x="1088" y="966"/>
                </a:lnTo>
                <a:lnTo>
                  <a:pt x="1104" y="944"/>
                </a:lnTo>
                <a:lnTo>
                  <a:pt x="1118" y="922"/>
                </a:lnTo>
                <a:lnTo>
                  <a:pt x="1130" y="900"/>
                </a:lnTo>
                <a:lnTo>
                  <a:pt x="1142" y="876"/>
                </a:lnTo>
                <a:lnTo>
                  <a:pt x="1154" y="852"/>
                </a:lnTo>
                <a:lnTo>
                  <a:pt x="1164" y="826"/>
                </a:lnTo>
                <a:lnTo>
                  <a:pt x="1172" y="802"/>
                </a:lnTo>
                <a:lnTo>
                  <a:pt x="1180" y="776"/>
                </a:lnTo>
                <a:lnTo>
                  <a:pt x="1186" y="748"/>
                </a:lnTo>
                <a:lnTo>
                  <a:pt x="1190" y="722"/>
                </a:lnTo>
                <a:lnTo>
                  <a:pt x="1194" y="694"/>
                </a:lnTo>
                <a:lnTo>
                  <a:pt x="1196" y="666"/>
                </a:lnTo>
                <a:lnTo>
                  <a:pt x="1198" y="638"/>
                </a:lnTo>
                <a:lnTo>
                  <a:pt x="1198" y="636"/>
                </a:lnTo>
                <a:lnTo>
                  <a:pt x="1196" y="608"/>
                </a:lnTo>
                <a:lnTo>
                  <a:pt x="1194" y="580"/>
                </a:lnTo>
                <a:lnTo>
                  <a:pt x="1192" y="552"/>
                </a:lnTo>
                <a:lnTo>
                  <a:pt x="1186" y="526"/>
                </a:lnTo>
                <a:lnTo>
                  <a:pt x="1180" y="498"/>
                </a:lnTo>
                <a:lnTo>
                  <a:pt x="1172" y="472"/>
                </a:lnTo>
                <a:lnTo>
                  <a:pt x="1164" y="448"/>
                </a:lnTo>
                <a:lnTo>
                  <a:pt x="1154" y="422"/>
                </a:lnTo>
                <a:lnTo>
                  <a:pt x="1144" y="398"/>
                </a:lnTo>
                <a:lnTo>
                  <a:pt x="1132" y="374"/>
                </a:lnTo>
                <a:lnTo>
                  <a:pt x="1118" y="352"/>
                </a:lnTo>
                <a:lnTo>
                  <a:pt x="1104" y="328"/>
                </a:lnTo>
                <a:lnTo>
                  <a:pt x="1088" y="308"/>
                </a:lnTo>
                <a:lnTo>
                  <a:pt x="1072" y="286"/>
                </a:lnTo>
                <a:lnTo>
                  <a:pt x="1054" y="266"/>
                </a:lnTo>
                <a:lnTo>
                  <a:pt x="1036" y="248"/>
                </a:lnTo>
                <a:lnTo>
                  <a:pt x="1018" y="228"/>
                </a:lnTo>
                <a:lnTo>
                  <a:pt x="998" y="212"/>
                </a:lnTo>
                <a:lnTo>
                  <a:pt x="976" y="196"/>
                </a:lnTo>
                <a:lnTo>
                  <a:pt x="954" y="180"/>
                </a:lnTo>
                <a:lnTo>
                  <a:pt x="932" y="166"/>
                </a:lnTo>
                <a:lnTo>
                  <a:pt x="910" y="152"/>
                </a:lnTo>
                <a:lnTo>
                  <a:pt x="886" y="140"/>
                </a:lnTo>
                <a:lnTo>
                  <a:pt x="862" y="130"/>
                </a:lnTo>
                <a:lnTo>
                  <a:pt x="836" y="120"/>
                </a:lnTo>
                <a:lnTo>
                  <a:pt x="810" y="110"/>
                </a:lnTo>
                <a:lnTo>
                  <a:pt x="784" y="104"/>
                </a:lnTo>
                <a:lnTo>
                  <a:pt x="758" y="98"/>
                </a:lnTo>
                <a:lnTo>
                  <a:pt x="730" y="92"/>
                </a:lnTo>
                <a:lnTo>
                  <a:pt x="704" y="88"/>
                </a:lnTo>
                <a:lnTo>
                  <a:pt x="676" y="86"/>
                </a:lnTo>
                <a:lnTo>
                  <a:pt x="646" y="86"/>
                </a:lnTo>
                <a:lnTo>
                  <a:pt x="618" y="86"/>
                </a:lnTo>
                <a:lnTo>
                  <a:pt x="590" y="88"/>
                </a:lnTo>
                <a:lnTo>
                  <a:pt x="562" y="92"/>
                </a:lnTo>
                <a:lnTo>
                  <a:pt x="536" y="98"/>
                </a:lnTo>
                <a:lnTo>
                  <a:pt x="510" y="104"/>
                </a:lnTo>
                <a:lnTo>
                  <a:pt x="484" y="110"/>
                </a:lnTo>
                <a:lnTo>
                  <a:pt x="458" y="120"/>
                </a:lnTo>
                <a:lnTo>
                  <a:pt x="432" y="130"/>
                </a:lnTo>
                <a:lnTo>
                  <a:pt x="408" y="140"/>
                </a:lnTo>
                <a:lnTo>
                  <a:pt x="384" y="152"/>
                </a:lnTo>
                <a:lnTo>
                  <a:pt x="362" y="166"/>
                </a:lnTo>
                <a:lnTo>
                  <a:pt x="338" y="180"/>
                </a:lnTo>
                <a:lnTo>
                  <a:pt x="318" y="196"/>
                </a:lnTo>
                <a:lnTo>
                  <a:pt x="296" y="212"/>
                </a:lnTo>
                <a:lnTo>
                  <a:pt x="276" y="228"/>
                </a:lnTo>
                <a:lnTo>
                  <a:pt x="258" y="248"/>
                </a:lnTo>
                <a:lnTo>
                  <a:pt x="240" y="266"/>
                </a:lnTo>
                <a:lnTo>
                  <a:pt x="222" y="286"/>
                </a:lnTo>
                <a:lnTo>
                  <a:pt x="206" y="308"/>
                </a:lnTo>
                <a:lnTo>
                  <a:pt x="190" y="328"/>
                </a:lnTo>
                <a:lnTo>
                  <a:pt x="176" y="352"/>
                </a:lnTo>
                <a:lnTo>
                  <a:pt x="162" y="374"/>
                </a:lnTo>
                <a:lnTo>
                  <a:pt x="150" y="398"/>
                </a:lnTo>
                <a:lnTo>
                  <a:pt x="140" y="422"/>
                </a:lnTo>
                <a:lnTo>
                  <a:pt x="130" y="448"/>
                </a:lnTo>
                <a:lnTo>
                  <a:pt x="120" y="472"/>
                </a:lnTo>
                <a:lnTo>
                  <a:pt x="114" y="498"/>
                </a:lnTo>
                <a:lnTo>
                  <a:pt x="108" y="526"/>
                </a:lnTo>
                <a:lnTo>
                  <a:pt x="102" y="552"/>
                </a:lnTo>
                <a:lnTo>
                  <a:pt x="98" y="580"/>
                </a:lnTo>
                <a:lnTo>
                  <a:pt x="96" y="608"/>
                </a:lnTo>
                <a:lnTo>
                  <a:pt x="96" y="636"/>
                </a:lnTo>
                <a:lnTo>
                  <a:pt x="96" y="638"/>
                </a:lnTo>
                <a:close/>
              </a:path>
            </a:pathLst>
          </a:custGeom>
          <a:gradFill flip="none" rotWithShape="1">
            <a:gsLst>
              <a:gs pos="0">
                <a:srgbClr val="C1C1C1"/>
              </a:gs>
              <a:gs pos="100000">
                <a:schemeClr val="tx1">
                  <a:lumMod val="65000"/>
                  <a:lumOff val="35000"/>
                </a:schemeClr>
              </a:gs>
            </a:gsLst>
            <a:lin ang="0" scaled="1"/>
            <a:tileRect/>
          </a:gra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>
              <a:latin typeface="Calibri" charset="0"/>
            </a:endParaRPr>
          </a:p>
        </p:txBody>
      </p:sp>
      <p:sp>
        <p:nvSpPr>
          <p:cNvPr id="65" name="TextBox 52"/>
          <p:cNvSpPr txBox="1">
            <a:spLocks noChangeArrowheads="1"/>
          </p:cNvSpPr>
          <p:nvPr/>
        </p:nvSpPr>
        <p:spPr bwMode="auto">
          <a:xfrm>
            <a:off x="4102224" y="3557588"/>
            <a:ext cx="92020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nb-NO" sz="2000" dirty="0">
                <a:solidFill>
                  <a:schemeClr val="bg1"/>
                </a:solidFill>
                <a:latin typeface="+mn-lt"/>
              </a:rPr>
              <a:t>SWO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/>
              <a:t>Replace this tex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5</a:t>
            </a:fld>
            <a:r>
              <a:rPr lang="en-US" smtClean="0"/>
              <a:t>|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dirty="0"/>
              <a:t>SWOT ANALYISI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23506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14" name="Group 364"/>
          <p:cNvGrpSpPr>
            <a:grpSpLocks/>
          </p:cNvGrpSpPr>
          <p:nvPr/>
        </p:nvGrpSpPr>
        <p:grpSpPr bwMode="auto">
          <a:xfrm>
            <a:off x="1547813" y="3013075"/>
            <a:ext cx="6891337" cy="2673350"/>
            <a:chOff x="1295400" y="2342001"/>
            <a:chExt cx="7467600" cy="3651516"/>
          </a:xfrm>
        </p:grpSpPr>
        <p:sp>
          <p:nvSpPr>
            <p:cNvPr id="366" name="Rectangle 365"/>
            <p:cNvSpPr/>
            <p:nvPr/>
          </p:nvSpPr>
          <p:spPr>
            <a:xfrm flipH="1">
              <a:off x="8530767" y="2342001"/>
              <a:ext cx="232233" cy="3651516"/>
            </a:xfrm>
            <a:prstGeom prst="rect">
              <a:avLst/>
            </a:prstGeom>
            <a:gradFill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67" name="Rectangle 366"/>
            <p:cNvSpPr/>
            <p:nvPr/>
          </p:nvSpPr>
          <p:spPr>
            <a:xfrm flipH="1">
              <a:off x="8300254" y="2342001"/>
              <a:ext cx="230513" cy="3651516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68" name="Rectangle 367"/>
            <p:cNvSpPr/>
            <p:nvPr/>
          </p:nvSpPr>
          <p:spPr>
            <a:xfrm flipH="1">
              <a:off x="8068019" y="2342001"/>
              <a:ext cx="232234" cy="3651516"/>
            </a:xfrm>
            <a:prstGeom prst="rect">
              <a:avLst/>
            </a:prstGeom>
            <a:gradFill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69" name="Rectangle 368"/>
            <p:cNvSpPr/>
            <p:nvPr/>
          </p:nvSpPr>
          <p:spPr>
            <a:xfrm flipH="1">
              <a:off x="7835786" y="2342001"/>
              <a:ext cx="232233" cy="3651516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70" name="Rectangle 369"/>
            <p:cNvSpPr/>
            <p:nvPr/>
          </p:nvSpPr>
          <p:spPr>
            <a:xfrm flipH="1">
              <a:off x="7601833" y="2342001"/>
              <a:ext cx="233954" cy="3651516"/>
            </a:xfrm>
            <a:prstGeom prst="rect">
              <a:avLst/>
            </a:prstGeom>
            <a:gradFill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71" name="Rectangle 370"/>
            <p:cNvSpPr/>
            <p:nvPr/>
          </p:nvSpPr>
          <p:spPr>
            <a:xfrm flipH="1">
              <a:off x="7371319" y="2342001"/>
              <a:ext cx="230513" cy="3651516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72" name="Rectangle 371"/>
            <p:cNvSpPr/>
            <p:nvPr/>
          </p:nvSpPr>
          <p:spPr>
            <a:xfrm flipH="1">
              <a:off x="7139085" y="2342001"/>
              <a:ext cx="232234" cy="3651516"/>
            </a:xfrm>
            <a:prstGeom prst="rect">
              <a:avLst/>
            </a:prstGeom>
            <a:gradFill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73" name="Rectangle 372"/>
            <p:cNvSpPr/>
            <p:nvPr/>
          </p:nvSpPr>
          <p:spPr>
            <a:xfrm flipH="1">
              <a:off x="6906852" y="2342001"/>
              <a:ext cx="232233" cy="3651516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74" name="Rectangle 373"/>
            <p:cNvSpPr/>
            <p:nvPr/>
          </p:nvSpPr>
          <p:spPr>
            <a:xfrm flipH="1">
              <a:off x="6674618" y="2342001"/>
              <a:ext cx="232234" cy="3651516"/>
            </a:xfrm>
            <a:prstGeom prst="rect">
              <a:avLst/>
            </a:prstGeom>
            <a:gradFill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75" name="Rectangle 374"/>
            <p:cNvSpPr/>
            <p:nvPr/>
          </p:nvSpPr>
          <p:spPr>
            <a:xfrm flipH="1">
              <a:off x="6444104" y="2342001"/>
              <a:ext cx="230513" cy="3651516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76" name="Rectangle 375"/>
            <p:cNvSpPr/>
            <p:nvPr/>
          </p:nvSpPr>
          <p:spPr>
            <a:xfrm flipH="1">
              <a:off x="6211871" y="2342001"/>
              <a:ext cx="232233" cy="3651516"/>
            </a:xfrm>
            <a:prstGeom prst="rect">
              <a:avLst/>
            </a:prstGeom>
            <a:gradFill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77" name="Rectangle 376"/>
            <p:cNvSpPr/>
            <p:nvPr/>
          </p:nvSpPr>
          <p:spPr>
            <a:xfrm flipH="1">
              <a:off x="5979637" y="2342001"/>
              <a:ext cx="232234" cy="3651516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78" name="Rectangle 377"/>
            <p:cNvSpPr/>
            <p:nvPr/>
          </p:nvSpPr>
          <p:spPr>
            <a:xfrm flipH="1">
              <a:off x="5750845" y="2342001"/>
              <a:ext cx="232233" cy="3651516"/>
            </a:xfrm>
            <a:prstGeom prst="rect">
              <a:avLst/>
            </a:prstGeom>
            <a:gradFill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79" name="Rectangle 378"/>
            <p:cNvSpPr/>
            <p:nvPr/>
          </p:nvSpPr>
          <p:spPr>
            <a:xfrm flipH="1">
              <a:off x="5520331" y="2342001"/>
              <a:ext cx="230513" cy="3651516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80" name="Rectangle 379"/>
            <p:cNvSpPr/>
            <p:nvPr/>
          </p:nvSpPr>
          <p:spPr>
            <a:xfrm flipH="1">
              <a:off x="5288097" y="2342001"/>
              <a:ext cx="232234" cy="3651516"/>
            </a:xfrm>
            <a:prstGeom prst="rect">
              <a:avLst/>
            </a:prstGeom>
            <a:gradFill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81" name="Rectangle 380"/>
            <p:cNvSpPr/>
            <p:nvPr/>
          </p:nvSpPr>
          <p:spPr>
            <a:xfrm flipH="1">
              <a:off x="5055864" y="2342001"/>
              <a:ext cx="232233" cy="3651516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82" name="Rectangle 381"/>
            <p:cNvSpPr/>
            <p:nvPr/>
          </p:nvSpPr>
          <p:spPr>
            <a:xfrm flipH="1">
              <a:off x="4823630" y="2342001"/>
              <a:ext cx="232234" cy="3651516"/>
            </a:xfrm>
            <a:prstGeom prst="rect">
              <a:avLst/>
            </a:prstGeom>
            <a:gradFill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83" name="Rectangle 382"/>
            <p:cNvSpPr/>
            <p:nvPr/>
          </p:nvSpPr>
          <p:spPr>
            <a:xfrm flipH="1">
              <a:off x="4593117" y="2342001"/>
              <a:ext cx="230513" cy="3651516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84" name="Rectangle 383"/>
            <p:cNvSpPr/>
            <p:nvPr/>
          </p:nvSpPr>
          <p:spPr>
            <a:xfrm flipH="1">
              <a:off x="4359163" y="2342001"/>
              <a:ext cx="233954" cy="3651516"/>
            </a:xfrm>
            <a:prstGeom prst="rect">
              <a:avLst/>
            </a:prstGeom>
            <a:gradFill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85" name="Rectangle 384"/>
            <p:cNvSpPr/>
            <p:nvPr/>
          </p:nvSpPr>
          <p:spPr>
            <a:xfrm flipH="1">
              <a:off x="4126930" y="2342001"/>
              <a:ext cx="232233" cy="3651516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86" name="Rectangle 385"/>
            <p:cNvSpPr/>
            <p:nvPr/>
          </p:nvSpPr>
          <p:spPr>
            <a:xfrm flipH="1">
              <a:off x="3896416" y="2342001"/>
              <a:ext cx="230513" cy="3651516"/>
            </a:xfrm>
            <a:prstGeom prst="rect">
              <a:avLst/>
            </a:prstGeom>
            <a:gradFill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87" name="Rectangle 386"/>
            <p:cNvSpPr/>
            <p:nvPr/>
          </p:nvSpPr>
          <p:spPr>
            <a:xfrm flipH="1">
              <a:off x="3664182" y="2342001"/>
              <a:ext cx="232234" cy="3651516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88" name="Rectangle 387"/>
            <p:cNvSpPr/>
            <p:nvPr/>
          </p:nvSpPr>
          <p:spPr>
            <a:xfrm flipH="1">
              <a:off x="3431949" y="2342001"/>
              <a:ext cx="232233" cy="3651516"/>
            </a:xfrm>
            <a:prstGeom prst="rect">
              <a:avLst/>
            </a:prstGeom>
            <a:gradFill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89" name="Rectangle 388"/>
            <p:cNvSpPr/>
            <p:nvPr/>
          </p:nvSpPr>
          <p:spPr>
            <a:xfrm flipH="1">
              <a:off x="3199715" y="2342001"/>
              <a:ext cx="232234" cy="3651516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90" name="Rectangle 389"/>
            <p:cNvSpPr/>
            <p:nvPr/>
          </p:nvSpPr>
          <p:spPr>
            <a:xfrm flipH="1">
              <a:off x="2969202" y="2342001"/>
              <a:ext cx="230513" cy="3651516"/>
            </a:xfrm>
            <a:prstGeom prst="rect">
              <a:avLst/>
            </a:prstGeom>
            <a:gradFill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91" name="Rectangle 390"/>
            <p:cNvSpPr/>
            <p:nvPr/>
          </p:nvSpPr>
          <p:spPr>
            <a:xfrm flipH="1">
              <a:off x="2736969" y="2342001"/>
              <a:ext cx="232233" cy="3651516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92" name="Rectangle 391"/>
            <p:cNvSpPr/>
            <p:nvPr/>
          </p:nvSpPr>
          <p:spPr>
            <a:xfrm flipH="1">
              <a:off x="2503015" y="2342001"/>
              <a:ext cx="233954" cy="3651516"/>
            </a:xfrm>
            <a:prstGeom prst="rect">
              <a:avLst/>
            </a:prstGeom>
            <a:gradFill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93" name="Rectangle 392"/>
            <p:cNvSpPr/>
            <p:nvPr/>
          </p:nvSpPr>
          <p:spPr>
            <a:xfrm flipH="1">
              <a:off x="2272501" y="2342001"/>
              <a:ext cx="230513" cy="3651516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94" name="Rectangle 393"/>
            <p:cNvSpPr/>
            <p:nvPr/>
          </p:nvSpPr>
          <p:spPr>
            <a:xfrm flipH="1">
              <a:off x="2040267" y="2342001"/>
              <a:ext cx="232234" cy="3651516"/>
            </a:xfrm>
            <a:prstGeom prst="rect">
              <a:avLst/>
            </a:prstGeom>
            <a:gradFill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95" name="Rectangle 394"/>
            <p:cNvSpPr/>
            <p:nvPr/>
          </p:nvSpPr>
          <p:spPr>
            <a:xfrm flipH="1">
              <a:off x="1808034" y="2342001"/>
              <a:ext cx="232233" cy="3651516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96" name="Rectangle 395"/>
            <p:cNvSpPr/>
            <p:nvPr/>
          </p:nvSpPr>
          <p:spPr>
            <a:xfrm flipH="1">
              <a:off x="1295400" y="2342001"/>
              <a:ext cx="512634" cy="3651516"/>
            </a:xfrm>
            <a:prstGeom prst="rect">
              <a:avLst/>
            </a:prstGeom>
            <a:gradFill>
              <a:gsLst>
                <a:gs pos="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81150" y="1897063"/>
            <a:ext cx="6858000" cy="97155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50800" dist="38100" dir="9479969" rotWithShape="0">
              <a:srgbClr val="808080">
                <a:alpha val="42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" name="Wave 5"/>
          <p:cNvSpPr>
            <a:spLocks noChangeArrowheads="1"/>
          </p:cNvSpPr>
          <p:nvPr/>
        </p:nvSpPr>
        <p:spPr bwMode="auto">
          <a:xfrm flipH="1">
            <a:off x="639763" y="1866900"/>
            <a:ext cx="941387" cy="1042988"/>
          </a:xfrm>
          <a:prstGeom prst="wave">
            <a:avLst>
              <a:gd name="adj1" fmla="val 4213"/>
              <a:gd name="adj2" fmla="val 0"/>
            </a:avLst>
          </a:prstGeom>
          <a:gradFill rotWithShape="1">
            <a:gsLst>
              <a:gs pos="0">
                <a:srgbClr val="0D0D0D"/>
              </a:gs>
              <a:gs pos="100000">
                <a:srgbClr val="262626"/>
              </a:gs>
            </a:gsLst>
            <a:lin ang="0" scaled="1"/>
          </a:gradFill>
          <a:ln w="9525">
            <a:solidFill>
              <a:srgbClr val="0D0D0D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7" name="Wave 6"/>
          <p:cNvSpPr>
            <a:spLocks noChangeArrowheads="1"/>
          </p:cNvSpPr>
          <p:nvPr/>
        </p:nvSpPr>
        <p:spPr bwMode="auto">
          <a:xfrm flipH="1">
            <a:off x="671513" y="1890713"/>
            <a:ext cx="909637" cy="968375"/>
          </a:xfrm>
          <a:prstGeom prst="wave">
            <a:avLst>
              <a:gd name="adj1" fmla="val 4213"/>
              <a:gd name="adj2" fmla="val 0"/>
            </a:avLst>
          </a:prstGeom>
          <a:gradFill rotWithShape="1">
            <a:gsLst>
              <a:gs pos="0">
                <a:srgbClr val="D9D9D9"/>
              </a:gs>
              <a:gs pos="28999">
                <a:srgbClr val="FFFFFF"/>
              </a:gs>
              <a:gs pos="64000">
                <a:srgbClr val="D9D9D9"/>
              </a:gs>
              <a:gs pos="100000">
                <a:srgbClr val="FFFFFF"/>
              </a:gs>
            </a:gsLst>
            <a:lin ang="60000"/>
          </a:gradFill>
          <a:ln w="9525">
            <a:solidFill>
              <a:srgbClr val="A6A6A6"/>
            </a:solidFill>
            <a:round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8" name="Rektangel 274"/>
          <p:cNvSpPr>
            <a:spLocks noChangeArrowheads="1"/>
          </p:cNvSpPr>
          <p:nvPr/>
        </p:nvSpPr>
        <p:spPr bwMode="auto">
          <a:xfrm>
            <a:off x="639763" y="2054225"/>
            <a:ext cx="101600" cy="298450"/>
          </a:xfrm>
          <a:prstGeom prst="rect">
            <a:avLst/>
          </a:prstGeom>
          <a:solidFill>
            <a:srgbClr val="CE202A"/>
          </a:solidFill>
          <a:ln w="9525">
            <a:noFill/>
            <a:miter lim="800000"/>
            <a:headEnd/>
            <a:tailEnd/>
          </a:ln>
          <a:effectLst>
            <a:outerShdw blurRad="63500" dist="38100" dir="5400000" algn="t" rotWithShape="0">
              <a:srgbClr val="000000">
                <a:alpha val="39999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n-US" sz="14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9" name="Wave 8"/>
          <p:cNvSpPr>
            <a:spLocks noChangeArrowheads="1"/>
          </p:cNvSpPr>
          <p:nvPr/>
        </p:nvSpPr>
        <p:spPr bwMode="auto">
          <a:xfrm flipH="1">
            <a:off x="711200" y="1890713"/>
            <a:ext cx="869950" cy="968375"/>
          </a:xfrm>
          <a:prstGeom prst="wave">
            <a:avLst>
              <a:gd name="adj1" fmla="val 4213"/>
              <a:gd name="adj2" fmla="val 0"/>
            </a:avLst>
          </a:prstGeom>
          <a:gradFill rotWithShape="1">
            <a:gsLst>
              <a:gs pos="0">
                <a:srgbClr val="D9D9D9"/>
              </a:gs>
              <a:gs pos="28999">
                <a:srgbClr val="FFFFFF"/>
              </a:gs>
              <a:gs pos="64000">
                <a:srgbClr val="D9D9D9"/>
              </a:gs>
              <a:gs pos="100000">
                <a:srgbClr val="FFFFFF"/>
              </a:gs>
            </a:gsLst>
            <a:lin ang="60000"/>
          </a:gradFill>
          <a:ln w="9525">
            <a:solidFill>
              <a:srgbClr val="A6A6A6"/>
            </a:solidFill>
            <a:round/>
            <a:headEnd/>
            <a:tailEnd/>
          </a:ln>
          <a:effectLst>
            <a:outerShdw blurRad="40000" dist="35687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46113" y="5537200"/>
            <a:ext cx="7793037" cy="2651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solidFill>
                <a:srgbClr val="FFFFFF"/>
              </a:solidFill>
              <a:ea typeface="ＭＳ Ｐゴシック" pitchFamily="34" charset="-128"/>
            </a:endParaRPr>
          </a:p>
        </p:txBody>
      </p:sp>
      <p:grpSp>
        <p:nvGrpSpPr>
          <p:cNvPr id="13321" name="Group 25"/>
          <p:cNvGrpSpPr>
            <a:grpSpLocks/>
          </p:cNvGrpSpPr>
          <p:nvPr/>
        </p:nvGrpSpPr>
        <p:grpSpPr bwMode="auto">
          <a:xfrm>
            <a:off x="4127500" y="3254375"/>
            <a:ext cx="1511300" cy="261938"/>
            <a:chOff x="3240127" y="1240494"/>
            <a:chExt cx="1636673" cy="478898"/>
          </a:xfrm>
        </p:grpSpPr>
        <p:sp>
          <p:nvSpPr>
            <p:cNvPr id="13509" name="Rounded Rectangle 26"/>
            <p:cNvSpPr>
              <a:spLocks noChangeArrowheads="1"/>
            </p:cNvSpPr>
            <p:nvPr/>
          </p:nvSpPr>
          <p:spPr bwMode="auto">
            <a:xfrm>
              <a:off x="3240127" y="1337032"/>
              <a:ext cx="1636673" cy="340567"/>
            </a:xfrm>
            <a:prstGeom prst="roundRect">
              <a:avLst>
                <a:gd name="adj" fmla="val 13278"/>
              </a:avLst>
            </a:prstGeom>
            <a:gradFill rotWithShape="1">
              <a:gsLst>
                <a:gs pos="0">
                  <a:srgbClr val="800000"/>
                </a:gs>
                <a:gs pos="100000">
                  <a:srgbClr val="FF0000"/>
                </a:gs>
              </a:gsLst>
              <a:lin ang="162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914400"/>
              <a:endParaRPr lang="en-US" sz="140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3286546" y="1374005"/>
              <a:ext cx="1526645" cy="177048"/>
            </a:xfrm>
            <a:prstGeom prst="roundRect">
              <a:avLst/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  <a:alpha val="15000"/>
                  </a:srgb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400">
                <a:defRPr/>
              </a:pPr>
              <a:endParaRPr lang="en-US" sz="140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3513" name="Tekstboks 23"/>
            <p:cNvSpPr txBox="1">
              <a:spLocks noChangeArrowheads="1"/>
            </p:cNvSpPr>
            <p:nvPr/>
          </p:nvSpPr>
          <p:spPr bwMode="auto">
            <a:xfrm>
              <a:off x="3255600" y="1240494"/>
              <a:ext cx="1621200" cy="4788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algn="ctr">
                <a:defRPr/>
              </a:pPr>
              <a:r>
                <a:rPr lang="en-GB" sz="1050" smtClean="0">
                  <a:solidFill>
                    <a:srgbClr val="FFFFFF"/>
                  </a:solidFill>
                </a:rPr>
                <a:t>Text</a:t>
              </a:r>
            </a:p>
          </p:txBody>
        </p:sp>
      </p:grpSp>
      <p:sp>
        <p:nvSpPr>
          <p:cNvPr id="30" name="Round Same Side Corner Rectangle 29"/>
          <p:cNvSpPr/>
          <p:nvPr/>
        </p:nvSpPr>
        <p:spPr>
          <a:xfrm>
            <a:off x="646113" y="1546225"/>
            <a:ext cx="7793037" cy="304800"/>
          </a:xfrm>
          <a:prstGeom prst="round2SameRect">
            <a:avLst/>
          </a:prstGeom>
          <a:gradFill flip="none" rotWithShape="1">
            <a:gsLst>
              <a:gs pos="0">
                <a:schemeClr val="accent1">
                  <a:lumMod val="75000"/>
                  <a:shade val="30000"/>
                  <a:satMod val="115000"/>
                </a:schemeClr>
              </a:gs>
              <a:gs pos="50000">
                <a:schemeClr val="accent1">
                  <a:lumMod val="75000"/>
                  <a:shade val="67500"/>
                  <a:satMod val="115000"/>
                </a:schemeClr>
              </a:gs>
              <a:gs pos="100000">
                <a:schemeClr val="accent1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>
              <a:defRPr/>
            </a:pPr>
            <a:endParaRPr lang="en-US" sz="14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704850" y="1593850"/>
            <a:ext cx="7688263" cy="114300"/>
          </a:xfrm>
          <a:prstGeom prst="roundRect">
            <a:avLst/>
          </a:prstGeom>
          <a:gradFill rotWithShape="1">
            <a:gsLst>
              <a:gs pos="0">
                <a:srgbClr val="E6E6E6">
                  <a:tint val="100000"/>
                  <a:shade val="100000"/>
                  <a:satMod val="130000"/>
                  <a:alpha val="15000"/>
                </a:srgbClr>
              </a:gs>
              <a:gs pos="100000">
                <a:schemeClr val="bg1">
                  <a:lumMod val="95000"/>
                  <a:alpha val="32000"/>
                </a:schemeClr>
              </a:gs>
            </a:gsLst>
            <a:lin ang="16200000" scaled="0"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>
              <a:defRPr/>
            </a:pPr>
            <a:endParaRPr lang="en-US" sz="14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3324" name="TextBox 31"/>
          <p:cNvSpPr txBox="1">
            <a:spLocks noChangeArrowheads="1"/>
          </p:cNvSpPr>
          <p:nvPr/>
        </p:nvSpPr>
        <p:spPr bwMode="auto">
          <a:xfrm>
            <a:off x="809625" y="1543050"/>
            <a:ext cx="1004888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4400" eaLnBrk="1" hangingPunct="1"/>
            <a:r>
              <a:rPr lang="en-US" sz="1100">
                <a:solidFill>
                  <a:schemeClr val="bg1"/>
                </a:solidFill>
                <a:latin typeface="Calibri" pitchFamily="34" charset="0"/>
              </a:rPr>
              <a:t>Activity</a:t>
            </a:r>
          </a:p>
        </p:txBody>
      </p:sp>
      <p:cxnSp>
        <p:nvCxnSpPr>
          <p:cNvPr id="21" name="Straight Connector 20"/>
          <p:cNvCxnSpPr/>
          <p:nvPr/>
        </p:nvCxnSpPr>
        <p:spPr>
          <a:xfrm flipV="1">
            <a:off x="1582738" y="4279900"/>
            <a:ext cx="6856412" cy="1588"/>
          </a:xfrm>
          <a:prstGeom prst="line">
            <a:avLst/>
          </a:prstGeom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V="1">
            <a:off x="1582738" y="4530725"/>
            <a:ext cx="6856412" cy="1588"/>
          </a:xfrm>
          <a:prstGeom prst="line">
            <a:avLst/>
          </a:prstGeom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1582738" y="4775200"/>
            <a:ext cx="6856412" cy="1588"/>
          </a:xfrm>
          <a:prstGeom prst="line">
            <a:avLst/>
          </a:prstGeom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1582738" y="5030788"/>
            <a:ext cx="6856412" cy="1587"/>
          </a:xfrm>
          <a:prstGeom prst="line">
            <a:avLst/>
          </a:prstGeom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1582738" y="5294313"/>
            <a:ext cx="6856412" cy="1587"/>
          </a:xfrm>
          <a:prstGeom prst="line">
            <a:avLst/>
          </a:prstGeom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flipV="1">
            <a:off x="1582738" y="4025900"/>
            <a:ext cx="6856412" cy="1588"/>
          </a:xfrm>
          <a:prstGeom prst="line">
            <a:avLst/>
          </a:prstGeom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flipV="1">
            <a:off x="1582738" y="3762375"/>
            <a:ext cx="6856412" cy="0"/>
          </a:xfrm>
          <a:prstGeom prst="line">
            <a:avLst/>
          </a:prstGeom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flipV="1">
            <a:off x="1582738" y="3522663"/>
            <a:ext cx="6856412" cy="1587"/>
          </a:xfrm>
          <a:prstGeom prst="line">
            <a:avLst/>
          </a:prstGeom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flipV="1">
            <a:off x="1582738" y="3267075"/>
            <a:ext cx="6856412" cy="1588"/>
          </a:xfrm>
          <a:prstGeom prst="line">
            <a:avLst/>
          </a:prstGeom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337" name="TextBox 36"/>
          <p:cNvSpPr txBox="1">
            <a:spLocks noChangeArrowheads="1"/>
          </p:cNvSpPr>
          <p:nvPr/>
        </p:nvSpPr>
        <p:spPr bwMode="auto">
          <a:xfrm>
            <a:off x="3727450" y="5546725"/>
            <a:ext cx="93186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n-US" sz="1050" smtClean="0"/>
              <a:t>Example text</a:t>
            </a:r>
          </a:p>
        </p:txBody>
      </p:sp>
      <p:grpSp>
        <p:nvGrpSpPr>
          <p:cNvPr id="13335" name="Group 38"/>
          <p:cNvGrpSpPr>
            <a:grpSpLocks/>
          </p:cNvGrpSpPr>
          <p:nvPr/>
        </p:nvGrpSpPr>
        <p:grpSpPr bwMode="auto">
          <a:xfrm>
            <a:off x="6556375" y="4265613"/>
            <a:ext cx="414338" cy="430212"/>
            <a:chOff x="4429504" y="1240494"/>
            <a:chExt cx="447296" cy="788773"/>
          </a:xfrm>
        </p:grpSpPr>
        <p:sp>
          <p:nvSpPr>
            <p:cNvPr id="13506" name="Rounded Rectangle 39"/>
            <p:cNvSpPr>
              <a:spLocks noChangeArrowheads="1"/>
            </p:cNvSpPr>
            <p:nvPr/>
          </p:nvSpPr>
          <p:spPr bwMode="auto">
            <a:xfrm>
              <a:off x="4429504" y="1337032"/>
              <a:ext cx="447296" cy="327158"/>
            </a:xfrm>
            <a:prstGeom prst="roundRect">
              <a:avLst>
                <a:gd name="adj" fmla="val 13278"/>
              </a:avLst>
            </a:prstGeom>
            <a:gradFill rotWithShape="1">
              <a:gsLst>
                <a:gs pos="0">
                  <a:srgbClr val="800000"/>
                </a:gs>
                <a:gs pos="100000">
                  <a:srgbClr val="FF0000"/>
                </a:gs>
              </a:gsLst>
              <a:lin ang="162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914400"/>
              <a:endParaRPr lang="en-US" sz="140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41" name="Rounded Rectangle 40"/>
            <p:cNvSpPr/>
            <p:nvPr/>
          </p:nvSpPr>
          <p:spPr>
            <a:xfrm>
              <a:off x="4463780" y="1374382"/>
              <a:ext cx="363320" cy="130976"/>
            </a:xfrm>
            <a:prstGeom prst="roundRect">
              <a:avLst/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  <a:alpha val="15000"/>
                  </a:srgb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400">
                <a:defRPr/>
              </a:pPr>
              <a:endParaRPr lang="en-US" sz="140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3510" name="Tekstboks 23"/>
            <p:cNvSpPr txBox="1">
              <a:spLocks noChangeArrowheads="1"/>
            </p:cNvSpPr>
            <p:nvPr/>
          </p:nvSpPr>
          <p:spPr bwMode="auto">
            <a:xfrm>
              <a:off x="4429504" y="1240494"/>
              <a:ext cx="447296" cy="7887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algn="ctr">
                <a:defRPr/>
              </a:pPr>
              <a:r>
                <a:rPr lang="en-GB" sz="1050" smtClean="0">
                  <a:solidFill>
                    <a:srgbClr val="FFFFFF"/>
                  </a:solidFill>
                </a:rPr>
                <a:t>Text</a:t>
              </a:r>
            </a:p>
          </p:txBody>
        </p:sp>
      </p:grpSp>
      <p:grpSp>
        <p:nvGrpSpPr>
          <p:cNvPr id="13336" name="Group 42"/>
          <p:cNvGrpSpPr>
            <a:grpSpLocks/>
          </p:cNvGrpSpPr>
          <p:nvPr/>
        </p:nvGrpSpPr>
        <p:grpSpPr bwMode="auto">
          <a:xfrm>
            <a:off x="6405563" y="4497388"/>
            <a:ext cx="823912" cy="261937"/>
            <a:chOff x="3240128" y="1240495"/>
            <a:chExt cx="892394" cy="476160"/>
          </a:xfrm>
        </p:grpSpPr>
        <p:sp>
          <p:nvSpPr>
            <p:cNvPr id="44" name="Rounded Rectangle 43"/>
            <p:cNvSpPr/>
            <p:nvPr/>
          </p:nvSpPr>
          <p:spPr>
            <a:xfrm>
              <a:off x="3240128" y="1335726"/>
              <a:ext cx="892394" cy="346299"/>
            </a:xfrm>
            <a:prstGeom prst="roundRect">
              <a:avLst>
                <a:gd name="adj" fmla="val 13277"/>
              </a:avLst>
            </a:prstGeom>
            <a:gradFill rotWithShape="1">
              <a:gsLst>
                <a:gs pos="0">
                  <a:schemeClr val="tx1"/>
                </a:gs>
                <a:gs pos="100000">
                  <a:schemeClr val="tx1">
                    <a:lumMod val="85000"/>
                    <a:lumOff val="15000"/>
                  </a:scheme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400">
                <a:defRPr/>
              </a:pPr>
              <a:endParaRPr lang="en-US" sz="140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2" name="Rounded Rectangle 44"/>
            <p:cNvSpPr>
              <a:spLocks noChangeArrowheads="1"/>
            </p:cNvSpPr>
            <p:nvPr/>
          </p:nvSpPr>
          <p:spPr bwMode="auto">
            <a:xfrm>
              <a:off x="3286177" y="1376477"/>
              <a:ext cx="809824" cy="135980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E6E6E6">
                    <a:alpha val="14998"/>
                  </a:srgbClr>
                </a:gs>
                <a:gs pos="100000">
                  <a:srgbClr val="7F7F7F"/>
                </a:gs>
              </a:gsLst>
              <a:lin ang="162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914400"/>
              <a:endParaRPr lang="en-US" sz="140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3507" name="Tekstboks 23"/>
            <p:cNvSpPr txBox="1">
              <a:spLocks noChangeArrowheads="1"/>
            </p:cNvSpPr>
            <p:nvPr/>
          </p:nvSpPr>
          <p:spPr bwMode="auto">
            <a:xfrm>
              <a:off x="3255603" y="1240495"/>
              <a:ext cx="876919" cy="476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algn="ctr">
                <a:defRPr/>
              </a:pPr>
              <a:r>
                <a:rPr lang="en-GB" sz="1050" smtClean="0">
                  <a:solidFill>
                    <a:srgbClr val="FFFFFF"/>
                  </a:solidFill>
                </a:rPr>
                <a:t>Text</a:t>
              </a:r>
            </a:p>
          </p:txBody>
        </p:sp>
      </p:grpSp>
      <p:grpSp>
        <p:nvGrpSpPr>
          <p:cNvPr id="3" name="Group 46"/>
          <p:cNvGrpSpPr>
            <a:grpSpLocks/>
          </p:cNvGrpSpPr>
          <p:nvPr/>
        </p:nvGrpSpPr>
        <p:grpSpPr bwMode="auto">
          <a:xfrm>
            <a:off x="4960938" y="3494088"/>
            <a:ext cx="823912" cy="261937"/>
            <a:chOff x="3240128" y="1240495"/>
            <a:chExt cx="892394" cy="478899"/>
          </a:xfrm>
        </p:grpSpPr>
        <p:sp>
          <p:nvSpPr>
            <p:cNvPr id="48" name="Rounded Rectangle 47"/>
            <p:cNvSpPr/>
            <p:nvPr/>
          </p:nvSpPr>
          <p:spPr>
            <a:xfrm>
              <a:off x="3240128" y="1336274"/>
              <a:ext cx="892394" cy="345389"/>
            </a:xfrm>
            <a:prstGeom prst="roundRect">
              <a:avLst>
                <a:gd name="adj" fmla="val 13277"/>
              </a:avLst>
            </a:prstGeom>
            <a:gradFill rotWithShape="1">
              <a:gsLst>
                <a:gs pos="0">
                  <a:schemeClr val="tx1"/>
                </a:gs>
                <a:gs pos="100000">
                  <a:schemeClr val="tx1">
                    <a:lumMod val="85000"/>
                    <a:lumOff val="15000"/>
                  </a:scheme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400">
                <a:defRPr/>
              </a:pPr>
              <a:endParaRPr lang="en-US" sz="140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4" name="Rounded Rectangle 48"/>
            <p:cNvSpPr>
              <a:spLocks noChangeArrowheads="1"/>
            </p:cNvSpPr>
            <p:nvPr/>
          </p:nvSpPr>
          <p:spPr bwMode="auto">
            <a:xfrm>
              <a:off x="3286177" y="1374576"/>
              <a:ext cx="809824" cy="139445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E6E6E6">
                    <a:alpha val="14998"/>
                  </a:srgbClr>
                </a:gs>
                <a:gs pos="100000">
                  <a:srgbClr val="7F7F7F"/>
                </a:gs>
              </a:gsLst>
              <a:lin ang="162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914400"/>
              <a:endParaRPr lang="en-US" sz="140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3504" name="Tekstboks 23"/>
            <p:cNvSpPr txBox="1">
              <a:spLocks noChangeArrowheads="1"/>
            </p:cNvSpPr>
            <p:nvPr/>
          </p:nvSpPr>
          <p:spPr bwMode="auto">
            <a:xfrm>
              <a:off x="3255603" y="1240495"/>
              <a:ext cx="876919" cy="4788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algn="ctr">
                <a:defRPr/>
              </a:pPr>
              <a:r>
                <a:rPr lang="en-GB" sz="1050" smtClean="0">
                  <a:solidFill>
                    <a:srgbClr val="FFFFFF"/>
                  </a:solidFill>
                </a:rPr>
                <a:t>Text</a:t>
              </a:r>
            </a:p>
          </p:txBody>
        </p:sp>
      </p:grpSp>
      <p:grpSp>
        <p:nvGrpSpPr>
          <p:cNvPr id="13338" name="Group 50"/>
          <p:cNvGrpSpPr>
            <a:grpSpLocks/>
          </p:cNvGrpSpPr>
          <p:nvPr/>
        </p:nvGrpSpPr>
        <p:grpSpPr bwMode="auto">
          <a:xfrm>
            <a:off x="6848475" y="4752975"/>
            <a:ext cx="1082675" cy="261938"/>
            <a:chOff x="3702674" y="1240494"/>
            <a:chExt cx="1174126" cy="478898"/>
          </a:xfrm>
        </p:grpSpPr>
        <p:sp>
          <p:nvSpPr>
            <p:cNvPr id="13497" name="Rounded Rectangle 51"/>
            <p:cNvSpPr>
              <a:spLocks noChangeArrowheads="1"/>
            </p:cNvSpPr>
            <p:nvPr/>
          </p:nvSpPr>
          <p:spPr bwMode="auto">
            <a:xfrm>
              <a:off x="3702674" y="1337032"/>
              <a:ext cx="1174126" cy="327158"/>
            </a:xfrm>
            <a:prstGeom prst="roundRect">
              <a:avLst>
                <a:gd name="adj" fmla="val 13278"/>
              </a:avLst>
            </a:prstGeom>
            <a:gradFill rotWithShape="1">
              <a:gsLst>
                <a:gs pos="0">
                  <a:srgbClr val="800000"/>
                </a:gs>
                <a:gs pos="100000">
                  <a:srgbClr val="FF0000"/>
                </a:gs>
              </a:gsLst>
              <a:lin ang="162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914400"/>
              <a:endParaRPr lang="en-US" sz="140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53" name="Rounded Rectangle 52"/>
            <p:cNvSpPr/>
            <p:nvPr/>
          </p:nvSpPr>
          <p:spPr>
            <a:xfrm>
              <a:off x="3754322" y="1374005"/>
              <a:ext cx="1072553" cy="159633"/>
            </a:xfrm>
            <a:prstGeom prst="roundRect">
              <a:avLst/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  <a:alpha val="15000"/>
                  </a:srgb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400">
                <a:defRPr/>
              </a:pPr>
              <a:endParaRPr lang="en-US" sz="140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3501" name="Tekstboks 23"/>
            <p:cNvSpPr txBox="1">
              <a:spLocks noChangeArrowheads="1"/>
            </p:cNvSpPr>
            <p:nvPr/>
          </p:nvSpPr>
          <p:spPr bwMode="auto">
            <a:xfrm>
              <a:off x="3702674" y="1240494"/>
              <a:ext cx="1174126" cy="4788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algn="ctr">
                <a:defRPr/>
              </a:pPr>
              <a:r>
                <a:rPr lang="en-GB" sz="1050" smtClean="0">
                  <a:solidFill>
                    <a:srgbClr val="FFFFFF"/>
                  </a:solidFill>
                </a:rPr>
                <a:t>Text</a:t>
              </a:r>
            </a:p>
          </p:txBody>
        </p:sp>
      </p:grpSp>
      <p:grpSp>
        <p:nvGrpSpPr>
          <p:cNvPr id="13339" name="Group 54"/>
          <p:cNvGrpSpPr>
            <a:grpSpLocks/>
          </p:cNvGrpSpPr>
          <p:nvPr/>
        </p:nvGrpSpPr>
        <p:grpSpPr bwMode="auto">
          <a:xfrm>
            <a:off x="7672388" y="5264150"/>
            <a:ext cx="701675" cy="261938"/>
            <a:chOff x="5597768" y="3609201"/>
            <a:chExt cx="760395" cy="282673"/>
          </a:xfrm>
        </p:grpSpPr>
        <p:sp>
          <p:nvSpPr>
            <p:cNvPr id="13494" name="Rounded Rectangle 55"/>
            <p:cNvSpPr>
              <a:spLocks noChangeArrowheads="1"/>
            </p:cNvSpPr>
            <p:nvPr/>
          </p:nvSpPr>
          <p:spPr bwMode="auto">
            <a:xfrm>
              <a:off x="5597768" y="3666184"/>
              <a:ext cx="757220" cy="194691"/>
            </a:xfrm>
            <a:prstGeom prst="roundRect">
              <a:avLst>
                <a:gd name="adj" fmla="val 13278"/>
              </a:avLst>
            </a:prstGeom>
            <a:gradFill rotWithShape="1">
              <a:gsLst>
                <a:gs pos="0">
                  <a:srgbClr val="800000"/>
                </a:gs>
                <a:gs pos="100000">
                  <a:srgbClr val="FF0000"/>
                </a:gs>
              </a:gsLst>
              <a:lin ang="162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914400"/>
              <a:endParaRPr lang="en-US" sz="140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57" name="Rounded Rectangle 56"/>
            <p:cNvSpPr/>
            <p:nvPr/>
          </p:nvSpPr>
          <p:spPr>
            <a:xfrm>
              <a:off x="5647658" y="3689720"/>
              <a:ext cx="662336" cy="61674"/>
            </a:xfrm>
            <a:prstGeom prst="roundRect">
              <a:avLst/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  <a:alpha val="15000"/>
                  </a:srgb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400">
                <a:defRPr/>
              </a:pPr>
              <a:endParaRPr lang="en-US" sz="140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3498" name="Tekstboks 23"/>
            <p:cNvSpPr txBox="1">
              <a:spLocks noChangeArrowheads="1"/>
            </p:cNvSpPr>
            <p:nvPr/>
          </p:nvSpPr>
          <p:spPr bwMode="auto">
            <a:xfrm>
              <a:off x="5599488" y="3609201"/>
              <a:ext cx="758675" cy="2826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algn="ctr">
                <a:defRPr/>
              </a:pPr>
              <a:r>
                <a:rPr lang="en-GB" sz="1050" smtClean="0">
                  <a:solidFill>
                    <a:srgbClr val="FFFFFF"/>
                  </a:solidFill>
                </a:rPr>
                <a:t>Text</a:t>
              </a:r>
            </a:p>
          </p:txBody>
        </p:sp>
      </p:grpSp>
      <p:grpSp>
        <p:nvGrpSpPr>
          <p:cNvPr id="13340" name="Group 62"/>
          <p:cNvGrpSpPr>
            <a:grpSpLocks/>
          </p:cNvGrpSpPr>
          <p:nvPr/>
        </p:nvGrpSpPr>
        <p:grpSpPr bwMode="auto">
          <a:xfrm>
            <a:off x="3689350" y="3014663"/>
            <a:ext cx="88900" cy="2635250"/>
            <a:chOff x="3622552" y="2261804"/>
            <a:chExt cx="97790" cy="2855164"/>
          </a:xfrm>
        </p:grpSpPr>
        <p:cxnSp>
          <p:nvCxnSpPr>
            <p:cNvPr id="64" name="Straight Connector 63"/>
            <p:cNvCxnSpPr>
              <a:endCxn id="65" idx="0"/>
            </p:cNvCxnSpPr>
            <p:nvPr/>
          </p:nvCxnSpPr>
          <p:spPr>
            <a:xfrm rot="16200000" flipH="1">
              <a:off x="2292885" y="3640366"/>
              <a:ext cx="2757125" cy="0"/>
            </a:xfrm>
            <a:prstGeom prst="line">
              <a:avLst/>
            </a:prstGeom>
            <a:ln w="12700" cap="flat" cmpd="sng" algn="ctr">
              <a:solidFill>
                <a:srgbClr val="8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Oval 64"/>
            <p:cNvSpPr>
              <a:spLocks noChangeArrowheads="1"/>
            </p:cNvSpPr>
            <p:nvPr/>
          </p:nvSpPr>
          <p:spPr bwMode="auto">
            <a:xfrm>
              <a:off x="3622552" y="5018929"/>
              <a:ext cx="97790" cy="98039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800000"/>
              </a:solidFill>
              <a:round/>
              <a:headEnd/>
              <a:tailEnd/>
            </a:ln>
            <a:effectLst>
              <a:outerShdw blurRad="40000" dist="127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sp>
        <p:nvSpPr>
          <p:cNvPr id="13344" name="TextBox 72"/>
          <p:cNvSpPr txBox="1">
            <a:spLocks noChangeArrowheads="1"/>
          </p:cNvSpPr>
          <p:nvPr/>
        </p:nvSpPr>
        <p:spPr bwMode="auto">
          <a:xfrm>
            <a:off x="5889625" y="5546725"/>
            <a:ext cx="93186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n-US" sz="1050" smtClean="0"/>
              <a:t>Example text</a:t>
            </a:r>
          </a:p>
        </p:txBody>
      </p:sp>
      <p:grpSp>
        <p:nvGrpSpPr>
          <p:cNvPr id="13342" name="Group 75"/>
          <p:cNvGrpSpPr>
            <a:grpSpLocks/>
          </p:cNvGrpSpPr>
          <p:nvPr/>
        </p:nvGrpSpPr>
        <p:grpSpPr bwMode="auto">
          <a:xfrm>
            <a:off x="1582738" y="1931988"/>
            <a:ext cx="6810375" cy="920750"/>
            <a:chOff x="1324800" y="1763230"/>
            <a:chExt cx="7381050" cy="996740"/>
          </a:xfrm>
        </p:grpSpPr>
        <p:sp>
          <p:nvSpPr>
            <p:cNvPr id="77" name="Rectangle 76"/>
            <p:cNvSpPr/>
            <p:nvPr/>
          </p:nvSpPr>
          <p:spPr>
            <a:xfrm>
              <a:off x="1324800" y="1763230"/>
              <a:ext cx="7381050" cy="9675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cxnSp>
          <p:nvCxnSpPr>
            <p:cNvPr id="78" name="Straight Connector 77"/>
            <p:cNvCxnSpPr/>
            <p:nvPr/>
          </p:nvCxnSpPr>
          <p:spPr>
            <a:xfrm rot="16200000" flipV="1">
              <a:off x="5376357" y="2260739"/>
              <a:ext cx="996740" cy="1720"/>
            </a:xfrm>
            <a:prstGeom prst="line">
              <a:avLst/>
            </a:prstGeom>
            <a:ln w="19050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/>
          </p:nvCxnSpPr>
          <p:spPr>
            <a:xfrm rot="16200000" flipV="1">
              <a:off x="2427378" y="2260739"/>
              <a:ext cx="996740" cy="1720"/>
            </a:xfrm>
            <a:prstGeom prst="line">
              <a:avLst/>
            </a:prstGeom>
            <a:ln w="19050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343" name="TextBox 79"/>
          <p:cNvSpPr txBox="1">
            <a:spLocks noChangeArrowheads="1"/>
          </p:cNvSpPr>
          <p:nvPr/>
        </p:nvSpPr>
        <p:spPr bwMode="auto">
          <a:xfrm>
            <a:off x="3101975" y="1960563"/>
            <a:ext cx="1970088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4400" eaLnBrk="1" hangingPunct="1"/>
            <a:r>
              <a:rPr lang="en-US" sz="800" b="1">
                <a:solidFill>
                  <a:srgbClr val="262626"/>
                </a:solidFill>
                <a:latin typeface="Calibri" pitchFamily="34" charset="0"/>
              </a:rPr>
              <a:t>Short briefing</a:t>
            </a:r>
          </a:p>
          <a:p>
            <a:pPr defTabSz="914400" eaLnBrk="1" hangingPunct="1"/>
            <a:r>
              <a:rPr lang="en-US" sz="800">
                <a:solidFill>
                  <a:srgbClr val="262626"/>
                </a:solidFill>
                <a:latin typeface="Calibri" pitchFamily="34" charset="0"/>
              </a:rPr>
              <a:t>Place your own text</a:t>
            </a:r>
          </a:p>
        </p:txBody>
      </p:sp>
      <p:sp>
        <p:nvSpPr>
          <p:cNvPr id="10" name="TextBox 80"/>
          <p:cNvSpPr txBox="1">
            <a:spLocks noChangeArrowheads="1"/>
          </p:cNvSpPr>
          <p:nvPr/>
        </p:nvSpPr>
        <p:spPr bwMode="auto">
          <a:xfrm>
            <a:off x="4230688" y="1960563"/>
            <a:ext cx="1489075" cy="41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4400" eaLnBrk="1" hangingPunct="1"/>
            <a:r>
              <a:rPr lang="en-US" sz="1000" b="1">
                <a:solidFill>
                  <a:srgbClr val="262626"/>
                </a:solidFill>
                <a:latin typeface="Calibri" pitchFamily="34" charset="0"/>
              </a:rPr>
              <a:t>Status meeting</a:t>
            </a:r>
          </a:p>
          <a:p>
            <a:pPr defTabSz="914400" eaLnBrk="1" hangingPunct="1"/>
            <a:r>
              <a:rPr lang="en-US" sz="1000">
                <a:solidFill>
                  <a:srgbClr val="262626"/>
                </a:solidFill>
                <a:latin typeface="Calibri" pitchFamily="34" charset="0"/>
              </a:rPr>
              <a:t>Place your own text</a:t>
            </a:r>
          </a:p>
        </p:txBody>
      </p:sp>
      <p:sp>
        <p:nvSpPr>
          <p:cNvPr id="13345" name="TextBox 81"/>
          <p:cNvSpPr txBox="1">
            <a:spLocks noChangeArrowheads="1"/>
          </p:cNvSpPr>
          <p:nvPr/>
        </p:nvSpPr>
        <p:spPr bwMode="auto">
          <a:xfrm>
            <a:off x="757238" y="2055813"/>
            <a:ext cx="823912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4400" eaLnBrk="1" hangingPunct="1"/>
            <a:r>
              <a:rPr lang="en-US" sz="1100">
                <a:latin typeface="Calibri" pitchFamily="34" charset="0"/>
              </a:rPr>
              <a:t>Meetings</a:t>
            </a:r>
          </a:p>
        </p:txBody>
      </p:sp>
      <p:grpSp>
        <p:nvGrpSpPr>
          <p:cNvPr id="13346" name="Group 82"/>
          <p:cNvGrpSpPr>
            <a:grpSpLocks/>
          </p:cNvGrpSpPr>
          <p:nvPr/>
        </p:nvGrpSpPr>
        <p:grpSpPr bwMode="auto">
          <a:xfrm>
            <a:off x="3236913" y="2381250"/>
            <a:ext cx="379412" cy="422275"/>
            <a:chOff x="3088818" y="2423777"/>
            <a:chExt cx="411680" cy="458965"/>
          </a:xfrm>
        </p:grpSpPr>
        <p:grpSp>
          <p:nvGrpSpPr>
            <p:cNvPr id="13475" name="Gruppe 270"/>
            <p:cNvGrpSpPr>
              <a:grpSpLocks/>
            </p:cNvGrpSpPr>
            <p:nvPr/>
          </p:nvGrpSpPr>
          <p:grpSpPr bwMode="auto">
            <a:xfrm rot="-874011">
              <a:off x="3113520" y="2423777"/>
              <a:ext cx="386978" cy="458965"/>
              <a:chOff x="7225403" y="3984187"/>
              <a:chExt cx="1127288" cy="1342480"/>
            </a:xfrm>
          </p:grpSpPr>
          <p:grpSp>
            <p:nvGrpSpPr>
              <p:cNvPr id="13477" name="Gruppe 647"/>
              <p:cNvGrpSpPr>
                <a:grpSpLocks/>
              </p:cNvGrpSpPr>
              <p:nvPr/>
            </p:nvGrpSpPr>
            <p:grpSpPr bwMode="auto">
              <a:xfrm>
                <a:off x="7247326" y="4816263"/>
                <a:ext cx="1105365" cy="399337"/>
                <a:chOff x="6332111" y="2552613"/>
                <a:chExt cx="1252481" cy="422217"/>
              </a:xfrm>
            </p:grpSpPr>
            <p:sp>
              <p:nvSpPr>
                <p:cNvPr id="13487" name="Freeform 14"/>
                <p:cNvSpPr>
                  <a:spLocks/>
                </p:cNvSpPr>
                <p:nvPr/>
              </p:nvSpPr>
              <p:spPr bwMode="auto">
                <a:xfrm rot="4140000" flipH="1">
                  <a:off x="6558572" y="2626786"/>
                  <a:ext cx="98318" cy="550608"/>
                </a:xfrm>
                <a:custGeom>
                  <a:avLst/>
                  <a:gdLst>
                    <a:gd name="T0" fmla="*/ 71076685 w 136"/>
                    <a:gd name="T1" fmla="*/ 664844670 h 456"/>
                    <a:gd name="T2" fmla="*/ 71076685 w 136"/>
                    <a:gd name="T3" fmla="*/ 664844670 h 456"/>
                    <a:gd name="T4" fmla="*/ 64805298 w 136"/>
                    <a:gd name="T5" fmla="*/ 562785372 h 456"/>
                    <a:gd name="T6" fmla="*/ 51217172 w 136"/>
                    <a:gd name="T7" fmla="*/ 344086531 h 456"/>
                    <a:gd name="T8" fmla="*/ 42855081 w 136"/>
                    <a:gd name="T9" fmla="*/ 224530939 h 456"/>
                    <a:gd name="T10" fmla="*/ 34492991 w 136"/>
                    <a:gd name="T11" fmla="*/ 116639543 h 456"/>
                    <a:gd name="T12" fmla="*/ 27176252 w 136"/>
                    <a:gd name="T13" fmla="*/ 37907429 h 456"/>
                    <a:gd name="T14" fmla="*/ 24040920 w 136"/>
                    <a:gd name="T15" fmla="*/ 14580245 h 456"/>
                    <a:gd name="T16" fmla="*/ 21950216 w 136"/>
                    <a:gd name="T17" fmla="*/ 2916049 h 456"/>
                    <a:gd name="T18" fmla="*/ 21950216 w 136"/>
                    <a:gd name="T19" fmla="*/ 2916049 h 456"/>
                    <a:gd name="T20" fmla="*/ 19859513 w 136"/>
                    <a:gd name="T21" fmla="*/ 0 h 456"/>
                    <a:gd name="T22" fmla="*/ 16724181 w 136"/>
                    <a:gd name="T23" fmla="*/ 0 h 456"/>
                    <a:gd name="T24" fmla="*/ 9407442 w 136"/>
                    <a:gd name="T25" fmla="*/ 2916049 h 456"/>
                    <a:gd name="T26" fmla="*/ 5226035 w 136"/>
                    <a:gd name="T27" fmla="*/ 5832098 h 456"/>
                    <a:gd name="T28" fmla="*/ 2090703 w 136"/>
                    <a:gd name="T29" fmla="*/ 11664196 h 456"/>
                    <a:gd name="T30" fmla="*/ 0 w 136"/>
                    <a:gd name="T31" fmla="*/ 17496294 h 456"/>
                    <a:gd name="T32" fmla="*/ 0 w 136"/>
                    <a:gd name="T33" fmla="*/ 23328392 h 456"/>
                    <a:gd name="T34" fmla="*/ 0 w 136"/>
                    <a:gd name="T35" fmla="*/ 23328392 h 456"/>
                    <a:gd name="T36" fmla="*/ 10452794 w 136"/>
                    <a:gd name="T37" fmla="*/ 128303739 h 456"/>
                    <a:gd name="T38" fmla="*/ 35538342 w 136"/>
                    <a:gd name="T39" fmla="*/ 347002580 h 456"/>
                    <a:gd name="T40" fmla="*/ 71076685 w 136"/>
                    <a:gd name="T41" fmla="*/ 664844670 h 456"/>
                    <a:gd name="T42" fmla="*/ 71076685 w 136"/>
                    <a:gd name="T43" fmla="*/ 664844670 h 45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36"/>
                    <a:gd name="T67" fmla="*/ 0 h 456"/>
                    <a:gd name="T68" fmla="*/ 136 w 136"/>
                    <a:gd name="T69" fmla="*/ 456 h 45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36" h="456">
                      <a:moveTo>
                        <a:pt x="136" y="456"/>
                      </a:moveTo>
                      <a:lnTo>
                        <a:pt x="136" y="456"/>
                      </a:lnTo>
                      <a:lnTo>
                        <a:pt x="124" y="386"/>
                      </a:lnTo>
                      <a:lnTo>
                        <a:pt x="98" y="236"/>
                      </a:lnTo>
                      <a:lnTo>
                        <a:pt x="82" y="154"/>
                      </a:lnTo>
                      <a:lnTo>
                        <a:pt x="66" y="80"/>
                      </a:lnTo>
                      <a:lnTo>
                        <a:pt x="52" y="26"/>
                      </a:lnTo>
                      <a:lnTo>
                        <a:pt x="46" y="10"/>
                      </a:lnTo>
                      <a:lnTo>
                        <a:pt x="42" y="2"/>
                      </a:lnTo>
                      <a:lnTo>
                        <a:pt x="38" y="0"/>
                      </a:lnTo>
                      <a:lnTo>
                        <a:pt x="32" y="0"/>
                      </a:lnTo>
                      <a:lnTo>
                        <a:pt x="18" y="2"/>
                      </a:lnTo>
                      <a:lnTo>
                        <a:pt x="10" y="4"/>
                      </a:lnTo>
                      <a:lnTo>
                        <a:pt x="4" y="8"/>
                      </a:lnTo>
                      <a:lnTo>
                        <a:pt x="0" y="12"/>
                      </a:lnTo>
                      <a:lnTo>
                        <a:pt x="0" y="16"/>
                      </a:lnTo>
                      <a:lnTo>
                        <a:pt x="20" y="88"/>
                      </a:lnTo>
                      <a:lnTo>
                        <a:pt x="68" y="238"/>
                      </a:lnTo>
                      <a:lnTo>
                        <a:pt x="136" y="456"/>
                      </a:lnTo>
                      <a:close/>
                    </a:path>
                  </a:pathLst>
                </a:custGeom>
                <a:solidFill>
                  <a:srgbClr val="151616">
                    <a:alpha val="1411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3488" name="Ellipse 191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6990422" y="2384823"/>
                  <a:ext cx="422768" cy="755118"/>
                </a:xfrm>
                <a:prstGeom prst="ellipse">
                  <a:avLst/>
                </a:prstGeom>
                <a:solidFill>
                  <a:srgbClr val="151616">
                    <a:alpha val="1411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 lang="en-US" sz="1400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</p:grpSp>
          <p:grpSp>
            <p:nvGrpSpPr>
              <p:cNvPr id="11" name="Gruppe 261"/>
              <p:cNvGrpSpPr>
                <a:grpSpLocks/>
              </p:cNvGrpSpPr>
              <p:nvPr/>
            </p:nvGrpSpPr>
            <p:grpSpPr bwMode="auto">
              <a:xfrm>
                <a:off x="7225403" y="3984187"/>
                <a:ext cx="749164" cy="1342480"/>
                <a:chOff x="7225403" y="3984187"/>
                <a:chExt cx="749164" cy="1342480"/>
              </a:xfrm>
            </p:grpSpPr>
            <p:sp>
              <p:nvSpPr>
                <p:cNvPr id="13479" name="Freeform 14"/>
                <p:cNvSpPr>
                  <a:spLocks/>
                </p:cNvSpPr>
                <p:nvPr/>
              </p:nvSpPr>
              <p:spPr bwMode="auto">
                <a:xfrm rot="2340000">
                  <a:off x="7264017" y="4517520"/>
                  <a:ext cx="240652" cy="804370"/>
                </a:xfrm>
                <a:custGeom>
                  <a:avLst/>
                  <a:gdLst>
                    <a:gd name="T0" fmla="*/ 425833714 w 136"/>
                    <a:gd name="T1" fmla="*/ 1418883984 h 456"/>
                    <a:gd name="T2" fmla="*/ 425833714 w 136"/>
                    <a:gd name="T3" fmla="*/ 1418883984 h 456"/>
                    <a:gd name="T4" fmla="*/ 388260151 w 136"/>
                    <a:gd name="T5" fmla="*/ 1201072583 h 456"/>
                    <a:gd name="T6" fmla="*/ 306850765 w 136"/>
                    <a:gd name="T7" fmla="*/ 734335127 h 456"/>
                    <a:gd name="T8" fmla="*/ 256752681 w 136"/>
                    <a:gd name="T9" fmla="*/ 479184024 h 456"/>
                    <a:gd name="T10" fmla="*/ 206654597 w 136"/>
                    <a:gd name="T11" fmla="*/ 248927819 h 456"/>
                    <a:gd name="T12" fmla="*/ 162818773 w 136"/>
                    <a:gd name="T13" fmla="*/ 80900924 h 456"/>
                    <a:gd name="T14" fmla="*/ 144031992 w 136"/>
                    <a:gd name="T15" fmla="*/ 31116418 h 456"/>
                    <a:gd name="T16" fmla="*/ 131507471 w 136"/>
                    <a:gd name="T17" fmla="*/ 6223284 h 456"/>
                    <a:gd name="T18" fmla="*/ 131507471 w 136"/>
                    <a:gd name="T19" fmla="*/ 6223284 h 456"/>
                    <a:gd name="T20" fmla="*/ 118982950 w 136"/>
                    <a:gd name="T21" fmla="*/ 0 h 456"/>
                    <a:gd name="T22" fmla="*/ 100196168 w 136"/>
                    <a:gd name="T23" fmla="*/ 0 h 456"/>
                    <a:gd name="T24" fmla="*/ 56360345 w 136"/>
                    <a:gd name="T25" fmla="*/ 6223284 h 456"/>
                    <a:gd name="T26" fmla="*/ 31311303 w 136"/>
                    <a:gd name="T27" fmla="*/ 12446567 h 456"/>
                    <a:gd name="T28" fmla="*/ 12524521 w 136"/>
                    <a:gd name="T29" fmla="*/ 24893135 h 456"/>
                    <a:gd name="T30" fmla="*/ 0 w 136"/>
                    <a:gd name="T31" fmla="*/ 37339702 h 456"/>
                    <a:gd name="T32" fmla="*/ 0 w 136"/>
                    <a:gd name="T33" fmla="*/ 49786269 h 456"/>
                    <a:gd name="T34" fmla="*/ 0 w 136"/>
                    <a:gd name="T35" fmla="*/ 49786269 h 456"/>
                    <a:gd name="T36" fmla="*/ 62622605 w 136"/>
                    <a:gd name="T37" fmla="*/ 273819190 h 456"/>
                    <a:gd name="T38" fmla="*/ 212916857 w 136"/>
                    <a:gd name="T39" fmla="*/ 740558411 h 456"/>
                    <a:gd name="T40" fmla="*/ 425833714 w 136"/>
                    <a:gd name="T41" fmla="*/ 1418883984 h 456"/>
                    <a:gd name="T42" fmla="*/ 425833714 w 136"/>
                    <a:gd name="T43" fmla="*/ 1418883984 h 45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36"/>
                    <a:gd name="T67" fmla="*/ 0 h 456"/>
                    <a:gd name="T68" fmla="*/ 136 w 136"/>
                    <a:gd name="T69" fmla="*/ 456 h 45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36" h="456">
                      <a:moveTo>
                        <a:pt x="136" y="456"/>
                      </a:moveTo>
                      <a:lnTo>
                        <a:pt x="136" y="456"/>
                      </a:lnTo>
                      <a:lnTo>
                        <a:pt x="124" y="386"/>
                      </a:lnTo>
                      <a:lnTo>
                        <a:pt x="98" y="236"/>
                      </a:lnTo>
                      <a:lnTo>
                        <a:pt x="82" y="154"/>
                      </a:lnTo>
                      <a:lnTo>
                        <a:pt x="66" y="80"/>
                      </a:lnTo>
                      <a:lnTo>
                        <a:pt x="52" y="26"/>
                      </a:lnTo>
                      <a:lnTo>
                        <a:pt x="46" y="10"/>
                      </a:lnTo>
                      <a:lnTo>
                        <a:pt x="42" y="2"/>
                      </a:lnTo>
                      <a:lnTo>
                        <a:pt x="38" y="0"/>
                      </a:lnTo>
                      <a:lnTo>
                        <a:pt x="32" y="0"/>
                      </a:lnTo>
                      <a:lnTo>
                        <a:pt x="18" y="2"/>
                      </a:lnTo>
                      <a:lnTo>
                        <a:pt x="10" y="4"/>
                      </a:lnTo>
                      <a:lnTo>
                        <a:pt x="4" y="8"/>
                      </a:lnTo>
                      <a:lnTo>
                        <a:pt x="0" y="12"/>
                      </a:lnTo>
                      <a:lnTo>
                        <a:pt x="0" y="16"/>
                      </a:lnTo>
                      <a:lnTo>
                        <a:pt x="20" y="88"/>
                      </a:lnTo>
                      <a:lnTo>
                        <a:pt x="68" y="238"/>
                      </a:lnTo>
                      <a:lnTo>
                        <a:pt x="136" y="456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171717"/>
                    </a:gs>
                    <a:gs pos="100000">
                      <a:srgbClr val="F2F2F2"/>
                    </a:gs>
                    <a:gs pos="100000">
                      <a:srgbClr val="ADADAD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13480" name="Gruppe 215"/>
                <p:cNvGrpSpPr>
                  <a:grpSpLocks/>
                </p:cNvGrpSpPr>
                <p:nvPr/>
              </p:nvGrpSpPr>
              <p:grpSpPr bwMode="auto">
                <a:xfrm>
                  <a:off x="7225403" y="3984187"/>
                  <a:ext cx="749164" cy="792599"/>
                  <a:chOff x="7521525" y="1752131"/>
                  <a:chExt cx="1073240" cy="1135464"/>
                </a:xfrm>
              </p:grpSpPr>
              <p:sp>
                <p:nvSpPr>
                  <p:cNvPr id="13481" name="Ellipse 186"/>
                  <p:cNvSpPr>
                    <a:spLocks noChangeArrowheads="1"/>
                  </p:cNvSpPr>
                  <p:nvPr/>
                </p:nvSpPr>
                <p:spPr bwMode="auto">
                  <a:xfrm>
                    <a:off x="7521995" y="1741928"/>
                    <a:ext cx="1067414" cy="1099040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7F060D"/>
                      </a:gs>
                      <a:gs pos="50000">
                        <a:srgbClr val="B80E18"/>
                      </a:gs>
                      <a:gs pos="100000">
                        <a:srgbClr val="DB131E"/>
                      </a:gs>
                    </a:gsLst>
                    <a:lin ang="13500000" scaled="1"/>
                  </a:gradFill>
                  <a:ln w="6350">
                    <a:solidFill>
                      <a:srgbClr val="CE202A"/>
                    </a:solidFill>
                    <a:round/>
                    <a:headEnd/>
                    <a:tailEnd/>
                  </a:ln>
                </p:spPr>
                <p:txBody>
                  <a:bodyPr anchor="ctr"/>
                  <a:lstStyle/>
                  <a:p>
                    <a:pPr algn="ctr"/>
                    <a:endParaRPr lang="en-US" sz="1400">
                      <a:solidFill>
                        <a:srgbClr val="FFFFFF"/>
                      </a:solidFill>
                      <a:latin typeface="Calibri" pitchFamily="34" charset="0"/>
                    </a:endParaRPr>
                  </a:p>
                </p:txBody>
              </p:sp>
              <p:grpSp>
                <p:nvGrpSpPr>
                  <p:cNvPr id="13482" name="Gruppe 91"/>
                  <p:cNvGrpSpPr>
                    <a:grpSpLocks/>
                  </p:cNvGrpSpPr>
                  <p:nvPr/>
                </p:nvGrpSpPr>
                <p:grpSpPr bwMode="auto">
                  <a:xfrm>
                    <a:off x="7539039" y="1774149"/>
                    <a:ext cx="1035783" cy="1113446"/>
                    <a:chOff x="1088055" y="2856117"/>
                    <a:chExt cx="1372317" cy="1475926"/>
                  </a:xfrm>
                </p:grpSpPr>
                <p:sp>
                  <p:nvSpPr>
                    <p:cNvPr id="13483" name="Ellipse 4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61201" y="2825547"/>
                      <a:ext cx="992588" cy="776976"/>
                    </a:xfrm>
                    <a:prstGeom prst="ellipse">
                      <a:avLst/>
                    </a:prstGeom>
                    <a:gradFill rotWithShape="1">
                      <a:gsLst>
                        <a:gs pos="0">
                          <a:srgbClr val="FFFCF9">
                            <a:alpha val="76999"/>
                          </a:srgbClr>
                        </a:gs>
                        <a:gs pos="100000">
                          <a:srgbClr val="FFFFFF">
                            <a:alpha val="0"/>
                          </a:srgbClr>
                        </a:gs>
                      </a:gsLst>
                      <a:lin ang="5400000"/>
                    </a:gra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anchor="ctr"/>
                    <a:lstStyle/>
                    <a:p>
                      <a:pPr algn="ctr"/>
                      <a:endParaRPr lang="en-US" sz="1400">
                        <a:solidFill>
                          <a:srgbClr val="FFFFFF"/>
                        </a:solidFill>
                        <a:latin typeface="Calibri" pitchFamily="34" charset="0"/>
                      </a:endParaRPr>
                    </a:p>
                  </p:txBody>
                </p:sp>
                <p:sp>
                  <p:nvSpPr>
                    <p:cNvPr id="93" name="Måne 189"/>
                    <p:cNvSpPr/>
                    <p:nvPr/>
                  </p:nvSpPr>
                  <p:spPr bwMode="auto">
                    <a:xfrm rot="16552097">
                      <a:off x="1463017" y="3334688"/>
                      <a:ext cx="622393" cy="1372317"/>
                    </a:xfrm>
                    <a:prstGeom prst="moon">
                      <a:avLst>
                        <a:gd name="adj" fmla="val 8311"/>
                      </a:avLst>
                    </a:prstGeom>
                    <a:gradFill flip="none" rotWithShape="1">
                      <a:gsLst>
                        <a:gs pos="24000">
                          <a:sysClr val="windowText" lastClr="000000">
                            <a:alpha val="24000"/>
                          </a:sysClr>
                        </a:gs>
                        <a:gs pos="100000">
                          <a:sysClr val="window" lastClr="FFFFFF">
                            <a:alpha val="0"/>
                          </a:sysClr>
                        </a:gs>
                      </a:gsLst>
                      <a:path path="shape">
                        <a:fillToRect l="50000" t="50000" r="50000" b="50000"/>
                      </a:path>
                      <a:tileRect/>
                    </a:gradFill>
                    <a:ln w="9525" cap="flat" cmpd="sng" algn="ctr">
                      <a:noFill/>
                      <a:prstDash val="solid"/>
                    </a:ln>
                    <a:effectLst/>
                  </p:spPr>
                  <p:txBody>
                    <a:bodyPr anchor="ctr"/>
                    <a:lstStyle>
                      <a:lvl1pPr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37931725" indent="-37474525"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4572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9144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1371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18288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algn="ctr">
                        <a:defRPr/>
                      </a:pPr>
                      <a:endParaRPr lang="en-US" sz="1400" smtClean="0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</p:grpSp>
        <p:sp>
          <p:nvSpPr>
            <p:cNvPr id="13478" name="TextBox 84"/>
            <p:cNvSpPr txBox="1">
              <a:spLocks noChangeArrowheads="1"/>
            </p:cNvSpPr>
            <p:nvPr/>
          </p:nvSpPr>
          <p:spPr bwMode="auto">
            <a:xfrm>
              <a:off x="3088818" y="2425503"/>
              <a:ext cx="218759" cy="2829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algn="ctr">
                <a:defRPr/>
              </a:pPr>
              <a:r>
                <a:rPr lang="nb-NO" sz="1050" smtClean="0">
                  <a:solidFill>
                    <a:srgbClr val="FFFFFF"/>
                  </a:solidFill>
                </a:rPr>
                <a:t>3</a:t>
              </a:r>
            </a:p>
          </p:txBody>
        </p:sp>
      </p:grpSp>
      <p:grpSp>
        <p:nvGrpSpPr>
          <p:cNvPr id="13347" name="Group 95"/>
          <p:cNvGrpSpPr>
            <a:grpSpLocks/>
          </p:cNvGrpSpPr>
          <p:nvPr/>
        </p:nvGrpSpPr>
        <p:grpSpPr bwMode="auto">
          <a:xfrm>
            <a:off x="6419850" y="2408238"/>
            <a:ext cx="379413" cy="425450"/>
            <a:chOff x="3090157" y="2422189"/>
            <a:chExt cx="410341" cy="460553"/>
          </a:xfrm>
        </p:grpSpPr>
        <p:grpSp>
          <p:nvGrpSpPr>
            <p:cNvPr id="13461" name="Gruppe 270"/>
            <p:cNvGrpSpPr>
              <a:grpSpLocks/>
            </p:cNvGrpSpPr>
            <p:nvPr/>
          </p:nvGrpSpPr>
          <p:grpSpPr bwMode="auto">
            <a:xfrm rot="-874011">
              <a:off x="3113520" y="2423777"/>
              <a:ext cx="386978" cy="458965"/>
              <a:chOff x="7225403" y="3984187"/>
              <a:chExt cx="1127288" cy="1342480"/>
            </a:xfrm>
          </p:grpSpPr>
          <p:grpSp>
            <p:nvGrpSpPr>
              <p:cNvPr id="13463" name="Gruppe 647"/>
              <p:cNvGrpSpPr>
                <a:grpSpLocks/>
              </p:cNvGrpSpPr>
              <p:nvPr/>
            </p:nvGrpSpPr>
            <p:grpSpPr bwMode="auto">
              <a:xfrm>
                <a:off x="7247326" y="4816263"/>
                <a:ext cx="1105365" cy="399337"/>
                <a:chOff x="6332111" y="2552613"/>
                <a:chExt cx="1252481" cy="422217"/>
              </a:xfrm>
            </p:grpSpPr>
            <p:sp>
              <p:nvSpPr>
                <p:cNvPr id="13473" name="Freeform 14"/>
                <p:cNvSpPr>
                  <a:spLocks/>
                </p:cNvSpPr>
                <p:nvPr/>
              </p:nvSpPr>
              <p:spPr bwMode="auto">
                <a:xfrm rot="4140000" flipH="1">
                  <a:off x="6558175" y="2621623"/>
                  <a:ext cx="98228" cy="549096"/>
                </a:xfrm>
                <a:custGeom>
                  <a:avLst/>
                  <a:gdLst>
                    <a:gd name="T0" fmla="*/ 70946618 w 136"/>
                    <a:gd name="T1" fmla="*/ 661198283 h 456"/>
                    <a:gd name="T2" fmla="*/ 70946618 w 136"/>
                    <a:gd name="T3" fmla="*/ 661198283 h 456"/>
                    <a:gd name="T4" fmla="*/ 64686749 w 136"/>
                    <a:gd name="T5" fmla="*/ 559698610 h 456"/>
                    <a:gd name="T6" fmla="*/ 51123340 w 136"/>
                    <a:gd name="T7" fmla="*/ 342198795 h 456"/>
                    <a:gd name="T8" fmla="*/ 42776849 w 136"/>
                    <a:gd name="T9" fmla="*/ 223299040 h 456"/>
                    <a:gd name="T10" fmla="*/ 34429636 w 136"/>
                    <a:gd name="T11" fmla="*/ 116000142 h 456"/>
                    <a:gd name="T12" fmla="*/ 27126818 w 136"/>
                    <a:gd name="T13" fmla="*/ 37699775 h 456"/>
                    <a:gd name="T14" fmla="*/ 23996523 w 136"/>
                    <a:gd name="T15" fmla="*/ 14500469 h 456"/>
                    <a:gd name="T16" fmla="*/ 21909900 w 136"/>
                    <a:gd name="T17" fmla="*/ 2899612 h 456"/>
                    <a:gd name="T18" fmla="*/ 21909900 w 136"/>
                    <a:gd name="T19" fmla="*/ 2899612 h 456"/>
                    <a:gd name="T20" fmla="*/ 19823277 w 136"/>
                    <a:gd name="T21" fmla="*/ 0 h 456"/>
                    <a:gd name="T22" fmla="*/ 16692982 w 136"/>
                    <a:gd name="T23" fmla="*/ 0 h 456"/>
                    <a:gd name="T24" fmla="*/ 9390163 w 136"/>
                    <a:gd name="T25" fmla="*/ 2899612 h 456"/>
                    <a:gd name="T26" fmla="*/ 5216918 w 136"/>
                    <a:gd name="T27" fmla="*/ 5800429 h 456"/>
                    <a:gd name="T28" fmla="*/ 2086623 w 136"/>
                    <a:gd name="T29" fmla="*/ 11599653 h 456"/>
                    <a:gd name="T30" fmla="*/ 0 w 136"/>
                    <a:gd name="T31" fmla="*/ 17400082 h 456"/>
                    <a:gd name="T32" fmla="*/ 0 w 136"/>
                    <a:gd name="T33" fmla="*/ 23200510 h 456"/>
                    <a:gd name="T34" fmla="*/ 0 w 136"/>
                    <a:gd name="T35" fmla="*/ 23200510 h 456"/>
                    <a:gd name="T36" fmla="*/ 10433114 w 136"/>
                    <a:gd name="T37" fmla="*/ 127599795 h 456"/>
                    <a:gd name="T38" fmla="*/ 35473309 w 136"/>
                    <a:gd name="T39" fmla="*/ 345099611 h 456"/>
                    <a:gd name="T40" fmla="*/ 70946618 w 136"/>
                    <a:gd name="T41" fmla="*/ 661198283 h 456"/>
                    <a:gd name="T42" fmla="*/ 70946618 w 136"/>
                    <a:gd name="T43" fmla="*/ 661198283 h 45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36"/>
                    <a:gd name="T67" fmla="*/ 0 h 456"/>
                    <a:gd name="T68" fmla="*/ 136 w 136"/>
                    <a:gd name="T69" fmla="*/ 456 h 45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36" h="456">
                      <a:moveTo>
                        <a:pt x="136" y="456"/>
                      </a:moveTo>
                      <a:lnTo>
                        <a:pt x="136" y="456"/>
                      </a:lnTo>
                      <a:lnTo>
                        <a:pt x="124" y="386"/>
                      </a:lnTo>
                      <a:lnTo>
                        <a:pt x="98" y="236"/>
                      </a:lnTo>
                      <a:lnTo>
                        <a:pt x="82" y="154"/>
                      </a:lnTo>
                      <a:lnTo>
                        <a:pt x="66" y="80"/>
                      </a:lnTo>
                      <a:lnTo>
                        <a:pt x="52" y="26"/>
                      </a:lnTo>
                      <a:lnTo>
                        <a:pt x="46" y="10"/>
                      </a:lnTo>
                      <a:lnTo>
                        <a:pt x="42" y="2"/>
                      </a:lnTo>
                      <a:lnTo>
                        <a:pt x="38" y="0"/>
                      </a:lnTo>
                      <a:lnTo>
                        <a:pt x="32" y="0"/>
                      </a:lnTo>
                      <a:lnTo>
                        <a:pt x="18" y="2"/>
                      </a:lnTo>
                      <a:lnTo>
                        <a:pt x="10" y="4"/>
                      </a:lnTo>
                      <a:lnTo>
                        <a:pt x="4" y="8"/>
                      </a:lnTo>
                      <a:lnTo>
                        <a:pt x="0" y="12"/>
                      </a:lnTo>
                      <a:lnTo>
                        <a:pt x="0" y="16"/>
                      </a:lnTo>
                      <a:lnTo>
                        <a:pt x="20" y="88"/>
                      </a:lnTo>
                      <a:lnTo>
                        <a:pt x="68" y="238"/>
                      </a:lnTo>
                      <a:lnTo>
                        <a:pt x="136" y="456"/>
                      </a:lnTo>
                      <a:close/>
                    </a:path>
                  </a:pathLst>
                </a:custGeom>
                <a:solidFill>
                  <a:srgbClr val="151616">
                    <a:alpha val="1411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3474" name="Ellipse 191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6991074" y="2378066"/>
                  <a:ext cx="422381" cy="758279"/>
                </a:xfrm>
                <a:prstGeom prst="ellipse">
                  <a:avLst/>
                </a:prstGeom>
                <a:solidFill>
                  <a:srgbClr val="151616">
                    <a:alpha val="1411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 lang="en-US" sz="1400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</p:grpSp>
          <p:grpSp>
            <p:nvGrpSpPr>
              <p:cNvPr id="12" name="Gruppe 261"/>
              <p:cNvGrpSpPr>
                <a:grpSpLocks/>
              </p:cNvGrpSpPr>
              <p:nvPr/>
            </p:nvGrpSpPr>
            <p:grpSpPr bwMode="auto">
              <a:xfrm>
                <a:off x="7225403" y="3984187"/>
                <a:ext cx="749164" cy="1342480"/>
                <a:chOff x="7225403" y="3984187"/>
                <a:chExt cx="749164" cy="1342480"/>
              </a:xfrm>
            </p:grpSpPr>
            <p:sp>
              <p:nvSpPr>
                <p:cNvPr id="13465" name="Freeform 14"/>
                <p:cNvSpPr>
                  <a:spLocks/>
                </p:cNvSpPr>
                <p:nvPr/>
              </p:nvSpPr>
              <p:spPr bwMode="auto">
                <a:xfrm rot="2340000">
                  <a:off x="7263090" y="4516998"/>
                  <a:ext cx="239993" cy="803630"/>
                </a:xfrm>
                <a:custGeom>
                  <a:avLst/>
                  <a:gdLst>
                    <a:gd name="T0" fmla="*/ 423504706 w 136"/>
                    <a:gd name="T1" fmla="*/ 1416274511 h 456"/>
                    <a:gd name="T2" fmla="*/ 423504706 w 136"/>
                    <a:gd name="T3" fmla="*/ 1416274511 h 456"/>
                    <a:gd name="T4" fmla="*/ 386136384 w 136"/>
                    <a:gd name="T5" fmla="*/ 1198864398 h 456"/>
                    <a:gd name="T6" fmla="*/ 305172275 w 136"/>
                    <a:gd name="T7" fmla="*/ 732984579 h 456"/>
                    <a:gd name="T8" fmla="*/ 255349023 w 136"/>
                    <a:gd name="T9" fmla="*/ 478302600 h 456"/>
                    <a:gd name="T10" fmla="*/ 205524005 w 136"/>
                    <a:gd name="T11" fmla="*/ 248469707 h 456"/>
                    <a:gd name="T12" fmla="*/ 161928218 w 136"/>
                    <a:gd name="T13" fmla="*/ 80752479 h 456"/>
                    <a:gd name="T14" fmla="*/ 143244057 w 136"/>
                    <a:gd name="T15" fmla="*/ 31057832 h 456"/>
                    <a:gd name="T16" fmla="*/ 130787362 w 136"/>
                    <a:gd name="T17" fmla="*/ 6212271 h 456"/>
                    <a:gd name="T18" fmla="*/ 130787362 w 136"/>
                    <a:gd name="T19" fmla="*/ 6212271 h 456"/>
                    <a:gd name="T20" fmla="*/ 118332431 w 136"/>
                    <a:gd name="T21" fmla="*/ 0 h 456"/>
                    <a:gd name="T22" fmla="*/ 99648270 w 136"/>
                    <a:gd name="T23" fmla="*/ 0 h 456"/>
                    <a:gd name="T24" fmla="*/ 56052483 w 136"/>
                    <a:gd name="T25" fmla="*/ 6212271 h 456"/>
                    <a:gd name="T26" fmla="*/ 31140856 w 136"/>
                    <a:gd name="T27" fmla="*/ 12422780 h 456"/>
                    <a:gd name="T28" fmla="*/ 12456695 w 136"/>
                    <a:gd name="T29" fmla="*/ 24847323 h 456"/>
                    <a:gd name="T30" fmla="*/ 0 w 136"/>
                    <a:gd name="T31" fmla="*/ 37270104 h 456"/>
                    <a:gd name="T32" fmla="*/ 0 w 136"/>
                    <a:gd name="T33" fmla="*/ 49694646 h 456"/>
                    <a:gd name="T34" fmla="*/ 0 w 136"/>
                    <a:gd name="T35" fmla="*/ 49694646 h 456"/>
                    <a:gd name="T36" fmla="*/ 62279948 w 136"/>
                    <a:gd name="T37" fmla="*/ 273315268 h 456"/>
                    <a:gd name="T38" fmla="*/ 211753235 w 136"/>
                    <a:gd name="T39" fmla="*/ 739195088 h 456"/>
                    <a:gd name="T40" fmla="*/ 423504706 w 136"/>
                    <a:gd name="T41" fmla="*/ 1416274511 h 456"/>
                    <a:gd name="T42" fmla="*/ 423504706 w 136"/>
                    <a:gd name="T43" fmla="*/ 1416274511 h 45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36"/>
                    <a:gd name="T67" fmla="*/ 0 h 456"/>
                    <a:gd name="T68" fmla="*/ 136 w 136"/>
                    <a:gd name="T69" fmla="*/ 456 h 45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36" h="456">
                      <a:moveTo>
                        <a:pt x="136" y="456"/>
                      </a:moveTo>
                      <a:lnTo>
                        <a:pt x="136" y="456"/>
                      </a:lnTo>
                      <a:lnTo>
                        <a:pt x="124" y="386"/>
                      </a:lnTo>
                      <a:lnTo>
                        <a:pt x="98" y="236"/>
                      </a:lnTo>
                      <a:lnTo>
                        <a:pt x="82" y="154"/>
                      </a:lnTo>
                      <a:lnTo>
                        <a:pt x="66" y="80"/>
                      </a:lnTo>
                      <a:lnTo>
                        <a:pt x="52" y="26"/>
                      </a:lnTo>
                      <a:lnTo>
                        <a:pt x="46" y="10"/>
                      </a:lnTo>
                      <a:lnTo>
                        <a:pt x="42" y="2"/>
                      </a:lnTo>
                      <a:lnTo>
                        <a:pt x="38" y="0"/>
                      </a:lnTo>
                      <a:lnTo>
                        <a:pt x="32" y="0"/>
                      </a:lnTo>
                      <a:lnTo>
                        <a:pt x="18" y="2"/>
                      </a:lnTo>
                      <a:lnTo>
                        <a:pt x="10" y="4"/>
                      </a:lnTo>
                      <a:lnTo>
                        <a:pt x="4" y="8"/>
                      </a:lnTo>
                      <a:lnTo>
                        <a:pt x="0" y="12"/>
                      </a:lnTo>
                      <a:lnTo>
                        <a:pt x="0" y="16"/>
                      </a:lnTo>
                      <a:lnTo>
                        <a:pt x="20" y="88"/>
                      </a:lnTo>
                      <a:lnTo>
                        <a:pt x="68" y="238"/>
                      </a:lnTo>
                      <a:lnTo>
                        <a:pt x="136" y="456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171717"/>
                    </a:gs>
                    <a:gs pos="100000">
                      <a:srgbClr val="F2F2F2"/>
                    </a:gs>
                    <a:gs pos="100000">
                      <a:srgbClr val="ADADAD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13466" name="Gruppe 215"/>
                <p:cNvGrpSpPr>
                  <a:grpSpLocks/>
                </p:cNvGrpSpPr>
                <p:nvPr/>
              </p:nvGrpSpPr>
              <p:grpSpPr bwMode="auto">
                <a:xfrm>
                  <a:off x="7225403" y="3984187"/>
                  <a:ext cx="749164" cy="792599"/>
                  <a:chOff x="7521525" y="1752131"/>
                  <a:chExt cx="1073240" cy="1135464"/>
                </a:xfrm>
              </p:grpSpPr>
              <p:sp>
                <p:nvSpPr>
                  <p:cNvPr id="13467" name="Ellipse 186"/>
                  <p:cNvSpPr>
                    <a:spLocks noChangeArrowheads="1"/>
                  </p:cNvSpPr>
                  <p:nvPr/>
                </p:nvSpPr>
                <p:spPr bwMode="auto">
                  <a:xfrm>
                    <a:off x="7520711" y="1742731"/>
                    <a:ext cx="1071099" cy="1098030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7F060D"/>
                      </a:gs>
                      <a:gs pos="50000">
                        <a:srgbClr val="B80E18"/>
                      </a:gs>
                      <a:gs pos="100000">
                        <a:srgbClr val="DB131E"/>
                      </a:gs>
                    </a:gsLst>
                    <a:lin ang="13500000" scaled="1"/>
                  </a:gradFill>
                  <a:ln w="6350">
                    <a:solidFill>
                      <a:srgbClr val="CE202A"/>
                    </a:solidFill>
                    <a:round/>
                    <a:headEnd/>
                    <a:tailEnd/>
                  </a:ln>
                </p:spPr>
                <p:txBody>
                  <a:bodyPr anchor="ctr"/>
                  <a:lstStyle/>
                  <a:p>
                    <a:pPr algn="ctr"/>
                    <a:endParaRPr lang="en-US" sz="1400">
                      <a:solidFill>
                        <a:srgbClr val="FFFFFF"/>
                      </a:solidFill>
                      <a:latin typeface="Calibri" pitchFamily="34" charset="0"/>
                    </a:endParaRPr>
                  </a:p>
                </p:txBody>
              </p:sp>
              <p:grpSp>
                <p:nvGrpSpPr>
                  <p:cNvPr id="13468" name="Gruppe 91"/>
                  <p:cNvGrpSpPr>
                    <a:grpSpLocks/>
                  </p:cNvGrpSpPr>
                  <p:nvPr/>
                </p:nvGrpSpPr>
                <p:grpSpPr bwMode="auto">
                  <a:xfrm>
                    <a:off x="7539039" y="1774149"/>
                    <a:ext cx="1035783" cy="1113446"/>
                    <a:chOff x="1088055" y="2856117"/>
                    <a:chExt cx="1372317" cy="1475926"/>
                  </a:xfrm>
                </p:grpSpPr>
                <p:sp>
                  <p:nvSpPr>
                    <p:cNvPr id="13469" name="Ellipse 4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58959" y="2826600"/>
                      <a:ext cx="998633" cy="776259"/>
                    </a:xfrm>
                    <a:prstGeom prst="ellipse">
                      <a:avLst/>
                    </a:prstGeom>
                    <a:gradFill rotWithShape="1">
                      <a:gsLst>
                        <a:gs pos="0">
                          <a:srgbClr val="FFFCF9">
                            <a:alpha val="76999"/>
                          </a:srgbClr>
                        </a:gs>
                        <a:gs pos="100000">
                          <a:srgbClr val="FFFFFF">
                            <a:alpha val="0"/>
                          </a:srgbClr>
                        </a:gs>
                      </a:gsLst>
                      <a:lin ang="5400000"/>
                    </a:gra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anchor="ctr"/>
                    <a:lstStyle/>
                    <a:p>
                      <a:pPr algn="ctr"/>
                      <a:endParaRPr lang="en-US" sz="1400">
                        <a:solidFill>
                          <a:srgbClr val="FFFFFF"/>
                        </a:solidFill>
                        <a:latin typeface="Calibri" pitchFamily="34" charset="0"/>
                      </a:endParaRPr>
                    </a:p>
                  </p:txBody>
                </p:sp>
                <p:sp>
                  <p:nvSpPr>
                    <p:cNvPr id="106" name="Måne 189"/>
                    <p:cNvSpPr/>
                    <p:nvPr/>
                  </p:nvSpPr>
                  <p:spPr bwMode="auto">
                    <a:xfrm rot="16552097">
                      <a:off x="1463017" y="3334688"/>
                      <a:ext cx="622393" cy="1372317"/>
                    </a:xfrm>
                    <a:prstGeom prst="moon">
                      <a:avLst>
                        <a:gd name="adj" fmla="val 8311"/>
                      </a:avLst>
                    </a:prstGeom>
                    <a:gradFill flip="none" rotWithShape="1">
                      <a:gsLst>
                        <a:gs pos="24000">
                          <a:sysClr val="windowText" lastClr="000000">
                            <a:alpha val="24000"/>
                          </a:sysClr>
                        </a:gs>
                        <a:gs pos="100000">
                          <a:sysClr val="window" lastClr="FFFFFF">
                            <a:alpha val="0"/>
                          </a:sysClr>
                        </a:gs>
                      </a:gsLst>
                      <a:path path="shape">
                        <a:fillToRect l="50000" t="50000" r="50000" b="50000"/>
                      </a:path>
                      <a:tileRect/>
                    </a:gradFill>
                    <a:ln w="9525" cap="flat" cmpd="sng" algn="ctr">
                      <a:noFill/>
                      <a:prstDash val="solid"/>
                    </a:ln>
                    <a:effectLst/>
                  </p:spPr>
                  <p:txBody>
                    <a:bodyPr anchor="ctr"/>
                    <a:lstStyle>
                      <a:lvl1pPr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37931725" indent="-37474525"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4572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9144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1371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18288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algn="ctr">
                        <a:defRPr/>
                      </a:pPr>
                      <a:endParaRPr lang="en-US" sz="1400" smtClean="0">
                        <a:solidFill>
                          <a:srgbClr val="FFFFFF"/>
                        </a:solidFill>
                      </a:endParaRPr>
                    </a:p>
                  </p:txBody>
                </p:sp>
              </p:grpSp>
            </p:grpSp>
          </p:grpSp>
        </p:grpSp>
        <p:sp>
          <p:nvSpPr>
            <p:cNvPr id="13464" name="TextBox 97"/>
            <p:cNvSpPr txBox="1">
              <a:spLocks noChangeArrowheads="1"/>
            </p:cNvSpPr>
            <p:nvPr/>
          </p:nvSpPr>
          <p:spPr bwMode="auto">
            <a:xfrm>
              <a:off x="3090157" y="2422189"/>
              <a:ext cx="218048" cy="283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algn="ctr">
                <a:defRPr/>
              </a:pPr>
              <a:r>
                <a:rPr lang="nb-NO" sz="1050" smtClean="0">
                  <a:solidFill>
                    <a:srgbClr val="FFFFFF"/>
                  </a:solidFill>
                </a:rPr>
                <a:t>5</a:t>
              </a:r>
            </a:p>
          </p:txBody>
        </p:sp>
      </p:grpSp>
      <p:grpSp>
        <p:nvGrpSpPr>
          <p:cNvPr id="13348" name="Gruppe 270"/>
          <p:cNvGrpSpPr>
            <a:grpSpLocks/>
          </p:cNvGrpSpPr>
          <p:nvPr/>
        </p:nvGrpSpPr>
        <p:grpSpPr bwMode="auto">
          <a:xfrm rot="-874011">
            <a:off x="4387850" y="2381250"/>
            <a:ext cx="357188" cy="423863"/>
            <a:chOff x="7225403" y="3984187"/>
            <a:chExt cx="1127288" cy="1342480"/>
          </a:xfrm>
        </p:grpSpPr>
        <p:grpSp>
          <p:nvGrpSpPr>
            <p:cNvPr id="13449" name="Gruppe 647"/>
            <p:cNvGrpSpPr>
              <a:grpSpLocks/>
            </p:cNvGrpSpPr>
            <p:nvPr/>
          </p:nvGrpSpPr>
          <p:grpSpPr bwMode="auto">
            <a:xfrm>
              <a:off x="7247326" y="4816263"/>
              <a:ext cx="1105365" cy="399337"/>
              <a:chOff x="6332111" y="2552613"/>
              <a:chExt cx="1252481" cy="422217"/>
            </a:xfrm>
          </p:grpSpPr>
          <p:sp>
            <p:nvSpPr>
              <p:cNvPr id="13459" name="Freeform 14"/>
              <p:cNvSpPr>
                <a:spLocks/>
              </p:cNvSpPr>
              <p:nvPr/>
            </p:nvSpPr>
            <p:spPr bwMode="auto">
              <a:xfrm rot="4140000" flipH="1">
                <a:off x="6558510" y="2626090"/>
                <a:ext cx="98228" cy="551065"/>
              </a:xfrm>
              <a:custGeom>
                <a:avLst/>
                <a:gdLst>
                  <a:gd name="T0" fmla="*/ 70946618 w 136"/>
                  <a:gd name="T1" fmla="*/ 665948759 h 456"/>
                  <a:gd name="T2" fmla="*/ 70946618 w 136"/>
                  <a:gd name="T3" fmla="*/ 665948759 h 456"/>
                  <a:gd name="T4" fmla="*/ 64686749 w 136"/>
                  <a:gd name="T5" fmla="*/ 563720159 h 456"/>
                  <a:gd name="T6" fmla="*/ 51123340 w 136"/>
                  <a:gd name="T7" fmla="*/ 344657320 h 456"/>
                  <a:gd name="T8" fmla="*/ 42776849 w 136"/>
                  <a:gd name="T9" fmla="*/ 224903403 h 456"/>
                  <a:gd name="T10" fmla="*/ 34429636 w 136"/>
                  <a:gd name="T11" fmla="*/ 116833031 h 456"/>
                  <a:gd name="T12" fmla="*/ 27126818 w 136"/>
                  <a:gd name="T13" fmla="*/ 37970312 h 456"/>
                  <a:gd name="T14" fmla="*/ 23996523 w 136"/>
                  <a:gd name="T15" fmla="*/ 14604431 h 456"/>
                  <a:gd name="T16" fmla="*/ 21909900 w 136"/>
                  <a:gd name="T17" fmla="*/ 2920886 h 456"/>
                  <a:gd name="T18" fmla="*/ 21909900 w 136"/>
                  <a:gd name="T19" fmla="*/ 2920886 h 456"/>
                  <a:gd name="T20" fmla="*/ 19823277 w 136"/>
                  <a:gd name="T21" fmla="*/ 0 h 456"/>
                  <a:gd name="T22" fmla="*/ 16692982 w 136"/>
                  <a:gd name="T23" fmla="*/ 0 h 456"/>
                  <a:gd name="T24" fmla="*/ 9390163 w 136"/>
                  <a:gd name="T25" fmla="*/ 2920886 h 456"/>
                  <a:gd name="T26" fmla="*/ 5216918 w 136"/>
                  <a:gd name="T27" fmla="*/ 5841772 h 456"/>
                  <a:gd name="T28" fmla="*/ 2086623 w 136"/>
                  <a:gd name="T29" fmla="*/ 11683545 h 456"/>
                  <a:gd name="T30" fmla="*/ 0 w 136"/>
                  <a:gd name="T31" fmla="*/ 17525317 h 456"/>
                  <a:gd name="T32" fmla="*/ 0 w 136"/>
                  <a:gd name="T33" fmla="*/ 23367090 h 456"/>
                  <a:gd name="T34" fmla="*/ 0 w 136"/>
                  <a:gd name="T35" fmla="*/ 23367090 h 456"/>
                  <a:gd name="T36" fmla="*/ 10433114 w 136"/>
                  <a:gd name="T37" fmla="*/ 128516576 h 456"/>
                  <a:gd name="T38" fmla="*/ 35473309 w 136"/>
                  <a:gd name="T39" fmla="*/ 347578206 h 456"/>
                  <a:gd name="T40" fmla="*/ 70946618 w 136"/>
                  <a:gd name="T41" fmla="*/ 665948759 h 456"/>
                  <a:gd name="T42" fmla="*/ 70946618 w 136"/>
                  <a:gd name="T43" fmla="*/ 665948759 h 45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36"/>
                  <a:gd name="T67" fmla="*/ 0 h 456"/>
                  <a:gd name="T68" fmla="*/ 136 w 136"/>
                  <a:gd name="T69" fmla="*/ 456 h 45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36" h="456">
                    <a:moveTo>
                      <a:pt x="136" y="456"/>
                    </a:moveTo>
                    <a:lnTo>
                      <a:pt x="136" y="456"/>
                    </a:lnTo>
                    <a:lnTo>
                      <a:pt x="124" y="386"/>
                    </a:lnTo>
                    <a:lnTo>
                      <a:pt x="98" y="236"/>
                    </a:lnTo>
                    <a:lnTo>
                      <a:pt x="82" y="154"/>
                    </a:lnTo>
                    <a:lnTo>
                      <a:pt x="66" y="80"/>
                    </a:lnTo>
                    <a:lnTo>
                      <a:pt x="52" y="26"/>
                    </a:lnTo>
                    <a:lnTo>
                      <a:pt x="46" y="10"/>
                    </a:lnTo>
                    <a:lnTo>
                      <a:pt x="42" y="2"/>
                    </a:lnTo>
                    <a:lnTo>
                      <a:pt x="38" y="0"/>
                    </a:lnTo>
                    <a:lnTo>
                      <a:pt x="32" y="0"/>
                    </a:lnTo>
                    <a:lnTo>
                      <a:pt x="18" y="2"/>
                    </a:lnTo>
                    <a:lnTo>
                      <a:pt x="10" y="4"/>
                    </a:lnTo>
                    <a:lnTo>
                      <a:pt x="4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0" y="88"/>
                    </a:lnTo>
                    <a:lnTo>
                      <a:pt x="68" y="238"/>
                    </a:lnTo>
                    <a:lnTo>
                      <a:pt x="136" y="456"/>
                    </a:lnTo>
                    <a:close/>
                  </a:path>
                </a:pathLst>
              </a:custGeom>
              <a:solidFill>
                <a:srgbClr val="151616">
                  <a:alpha val="1411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460" name="Ellipse 191"/>
              <p:cNvSpPr>
                <a:spLocks noChangeArrowheads="1"/>
              </p:cNvSpPr>
              <p:nvPr/>
            </p:nvSpPr>
            <p:spPr bwMode="auto">
              <a:xfrm rot="5400000" flipH="1">
                <a:off x="6991001" y="2384168"/>
                <a:ext cx="422381" cy="755743"/>
              </a:xfrm>
              <a:prstGeom prst="ellipse">
                <a:avLst/>
              </a:prstGeom>
              <a:solidFill>
                <a:srgbClr val="151616">
                  <a:alpha val="1411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lang="en-US" sz="1400">
                  <a:solidFill>
                    <a:srgbClr val="FFFFFF"/>
                  </a:solidFill>
                  <a:latin typeface="Calibri" pitchFamily="34" charset="0"/>
                </a:endParaRPr>
              </a:p>
            </p:txBody>
          </p:sp>
        </p:grpSp>
        <p:grpSp>
          <p:nvGrpSpPr>
            <p:cNvPr id="13450" name="Gruppe 261"/>
            <p:cNvGrpSpPr>
              <a:grpSpLocks/>
            </p:cNvGrpSpPr>
            <p:nvPr/>
          </p:nvGrpSpPr>
          <p:grpSpPr bwMode="auto">
            <a:xfrm>
              <a:off x="7225403" y="3984187"/>
              <a:ext cx="749164" cy="1342480"/>
              <a:chOff x="7225403" y="3984187"/>
              <a:chExt cx="749164" cy="1342480"/>
            </a:xfrm>
          </p:grpSpPr>
          <p:sp>
            <p:nvSpPr>
              <p:cNvPr id="13451" name="Freeform 14"/>
              <p:cNvSpPr>
                <a:spLocks/>
              </p:cNvSpPr>
              <p:nvPr/>
            </p:nvSpPr>
            <p:spPr bwMode="auto">
              <a:xfrm rot="2340000">
                <a:off x="7263735" y="4517655"/>
                <a:ext cx="240852" cy="803628"/>
              </a:xfrm>
              <a:custGeom>
                <a:avLst/>
                <a:gdLst>
                  <a:gd name="T0" fmla="*/ 426541808 w 136"/>
                  <a:gd name="T1" fmla="*/ 1416267461 h 456"/>
                  <a:gd name="T2" fmla="*/ 426541808 w 136"/>
                  <a:gd name="T3" fmla="*/ 1416267461 h 456"/>
                  <a:gd name="T4" fmla="*/ 388905141 w 136"/>
                  <a:gd name="T5" fmla="*/ 1198857890 h 456"/>
                  <a:gd name="T6" fmla="*/ 307360800 w 136"/>
                  <a:gd name="T7" fmla="*/ 732980992 h 456"/>
                  <a:gd name="T8" fmla="*/ 257180349 w 136"/>
                  <a:gd name="T9" fmla="*/ 478301410 h 456"/>
                  <a:gd name="T10" fmla="*/ 206998126 w 136"/>
                  <a:gd name="T11" fmla="*/ 248467326 h 456"/>
                  <a:gd name="T12" fmla="*/ 163088681 w 136"/>
                  <a:gd name="T13" fmla="*/ 80752278 h 456"/>
                  <a:gd name="T14" fmla="*/ 144272119 w 136"/>
                  <a:gd name="T15" fmla="*/ 31057755 h 456"/>
                  <a:gd name="T16" fmla="*/ 131726563 w 136"/>
                  <a:gd name="T17" fmla="*/ 6212256 h 456"/>
                  <a:gd name="T18" fmla="*/ 131726563 w 136"/>
                  <a:gd name="T19" fmla="*/ 6212256 h 456"/>
                  <a:gd name="T20" fmla="*/ 119181008 w 136"/>
                  <a:gd name="T21" fmla="*/ 0 h 456"/>
                  <a:gd name="T22" fmla="*/ 100362674 w 136"/>
                  <a:gd name="T23" fmla="*/ 0 h 456"/>
                  <a:gd name="T24" fmla="*/ 56453229 w 136"/>
                  <a:gd name="T25" fmla="*/ 6212256 h 456"/>
                  <a:gd name="T26" fmla="*/ 31363889 w 136"/>
                  <a:gd name="T27" fmla="*/ 12422750 h 456"/>
                  <a:gd name="T28" fmla="*/ 12545556 w 136"/>
                  <a:gd name="T29" fmla="*/ 24847261 h 456"/>
                  <a:gd name="T30" fmla="*/ 0 w 136"/>
                  <a:gd name="T31" fmla="*/ 37270011 h 456"/>
                  <a:gd name="T32" fmla="*/ 0 w 136"/>
                  <a:gd name="T33" fmla="*/ 49692760 h 456"/>
                  <a:gd name="T34" fmla="*/ 0 w 136"/>
                  <a:gd name="T35" fmla="*/ 49692760 h 456"/>
                  <a:gd name="T36" fmla="*/ 62726007 w 136"/>
                  <a:gd name="T37" fmla="*/ 273314588 h 456"/>
                  <a:gd name="T38" fmla="*/ 213270904 w 136"/>
                  <a:gd name="T39" fmla="*/ 739191486 h 456"/>
                  <a:gd name="T40" fmla="*/ 426541808 w 136"/>
                  <a:gd name="T41" fmla="*/ 1416267461 h 456"/>
                  <a:gd name="T42" fmla="*/ 426541808 w 136"/>
                  <a:gd name="T43" fmla="*/ 1416267461 h 45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36"/>
                  <a:gd name="T67" fmla="*/ 0 h 456"/>
                  <a:gd name="T68" fmla="*/ 136 w 136"/>
                  <a:gd name="T69" fmla="*/ 456 h 45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36" h="456">
                    <a:moveTo>
                      <a:pt x="136" y="456"/>
                    </a:moveTo>
                    <a:lnTo>
                      <a:pt x="136" y="456"/>
                    </a:lnTo>
                    <a:lnTo>
                      <a:pt x="124" y="386"/>
                    </a:lnTo>
                    <a:lnTo>
                      <a:pt x="98" y="236"/>
                    </a:lnTo>
                    <a:lnTo>
                      <a:pt x="82" y="154"/>
                    </a:lnTo>
                    <a:lnTo>
                      <a:pt x="66" y="80"/>
                    </a:lnTo>
                    <a:lnTo>
                      <a:pt x="52" y="26"/>
                    </a:lnTo>
                    <a:lnTo>
                      <a:pt x="46" y="10"/>
                    </a:lnTo>
                    <a:lnTo>
                      <a:pt x="42" y="2"/>
                    </a:lnTo>
                    <a:lnTo>
                      <a:pt x="38" y="0"/>
                    </a:lnTo>
                    <a:lnTo>
                      <a:pt x="32" y="0"/>
                    </a:lnTo>
                    <a:lnTo>
                      <a:pt x="18" y="2"/>
                    </a:lnTo>
                    <a:lnTo>
                      <a:pt x="10" y="4"/>
                    </a:lnTo>
                    <a:lnTo>
                      <a:pt x="4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0" y="88"/>
                    </a:lnTo>
                    <a:lnTo>
                      <a:pt x="68" y="238"/>
                    </a:lnTo>
                    <a:lnTo>
                      <a:pt x="136" y="456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171717"/>
                  </a:gs>
                  <a:gs pos="100000">
                    <a:srgbClr val="F2F2F2"/>
                  </a:gs>
                  <a:gs pos="100000">
                    <a:srgbClr val="ADADAD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3452" name="Gruppe 215"/>
              <p:cNvGrpSpPr>
                <a:grpSpLocks/>
              </p:cNvGrpSpPr>
              <p:nvPr/>
            </p:nvGrpSpPr>
            <p:grpSpPr bwMode="auto">
              <a:xfrm>
                <a:off x="7225403" y="3984187"/>
                <a:ext cx="749164" cy="792599"/>
                <a:chOff x="7521525" y="1752131"/>
                <a:chExt cx="1073240" cy="1135464"/>
              </a:xfrm>
            </p:grpSpPr>
            <p:sp>
              <p:nvSpPr>
                <p:cNvPr id="13453" name="Ellipse 186"/>
                <p:cNvSpPr>
                  <a:spLocks noChangeArrowheads="1"/>
                </p:cNvSpPr>
                <p:nvPr/>
              </p:nvSpPr>
              <p:spPr bwMode="auto">
                <a:xfrm>
                  <a:off x="7521546" y="1742837"/>
                  <a:ext cx="1068300" cy="109802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7F060D"/>
                    </a:gs>
                    <a:gs pos="50000">
                      <a:srgbClr val="B80E18"/>
                    </a:gs>
                    <a:gs pos="100000">
                      <a:srgbClr val="DB131E"/>
                    </a:gs>
                  </a:gsLst>
                  <a:lin ang="16200000" scaled="1"/>
                </a:gradFill>
                <a:ln w="6350">
                  <a:solidFill>
                    <a:srgbClr val="CE202A"/>
                  </a:solidFill>
                  <a:round/>
                  <a:headEnd/>
                  <a:tailEnd/>
                </a:ln>
              </p:spPr>
              <p:txBody>
                <a:bodyPr anchor="ctr"/>
                <a:lstStyle/>
                <a:p>
                  <a:pPr algn="ctr"/>
                  <a:endParaRPr lang="en-US" sz="1400">
                    <a:solidFill>
                      <a:srgbClr val="FFFFFF"/>
                    </a:solidFill>
                    <a:latin typeface="Calibri" pitchFamily="34" charset="0"/>
                  </a:endParaRPr>
                </a:p>
              </p:txBody>
            </p:sp>
            <p:grpSp>
              <p:nvGrpSpPr>
                <p:cNvPr id="13454" name="Gruppe 91"/>
                <p:cNvGrpSpPr>
                  <a:grpSpLocks/>
                </p:cNvGrpSpPr>
                <p:nvPr/>
              </p:nvGrpSpPr>
              <p:grpSpPr bwMode="auto">
                <a:xfrm>
                  <a:off x="7539039" y="1774149"/>
                  <a:ext cx="1035783" cy="1113446"/>
                  <a:chOff x="1088055" y="2856117"/>
                  <a:chExt cx="1372317" cy="1475926"/>
                </a:xfrm>
              </p:grpSpPr>
              <p:sp>
                <p:nvSpPr>
                  <p:cNvPr id="13455" name="Ellipse 45"/>
                  <p:cNvSpPr>
                    <a:spLocks noChangeArrowheads="1"/>
                  </p:cNvSpPr>
                  <p:nvPr/>
                </p:nvSpPr>
                <p:spPr bwMode="auto">
                  <a:xfrm>
                    <a:off x="1260770" y="2826734"/>
                    <a:ext cx="993410" cy="776259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FFFCF9">
                          <a:alpha val="76999"/>
                        </a:srgbClr>
                      </a:gs>
                      <a:gs pos="100000">
                        <a:srgbClr val="FFFFFF">
                          <a:alpha val="0"/>
                        </a:srgbClr>
                      </a:gs>
                    </a:gsLst>
                    <a:lin ang="5400000"/>
                  </a:gra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anchor="ctr"/>
                  <a:lstStyle/>
                  <a:p>
                    <a:pPr algn="ctr"/>
                    <a:endParaRPr lang="en-US" sz="1400">
                      <a:solidFill>
                        <a:srgbClr val="FFFFFF"/>
                      </a:solidFill>
                      <a:latin typeface="Calibri" pitchFamily="34" charset="0"/>
                    </a:endParaRPr>
                  </a:p>
                </p:txBody>
              </p:sp>
              <p:sp>
                <p:nvSpPr>
                  <p:cNvPr id="119" name="Måne 189"/>
                  <p:cNvSpPr/>
                  <p:nvPr/>
                </p:nvSpPr>
                <p:spPr bwMode="auto">
                  <a:xfrm rot="16552097">
                    <a:off x="1463017" y="3334688"/>
                    <a:ext cx="622393" cy="1372317"/>
                  </a:xfrm>
                  <a:prstGeom prst="moon">
                    <a:avLst>
                      <a:gd name="adj" fmla="val 8311"/>
                    </a:avLst>
                  </a:prstGeom>
                  <a:gradFill flip="none" rotWithShape="1">
                    <a:gsLst>
                      <a:gs pos="24000">
                        <a:sysClr val="windowText" lastClr="000000">
                          <a:alpha val="24000"/>
                        </a:sysClr>
                      </a:gs>
                      <a:gs pos="100000">
                        <a:sysClr val="window" lastClr="FFFFFF">
                          <a:alpha val="0"/>
                        </a:sys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anchor="ctr"/>
                  <a:lstStyle>
                    <a:lvl1pPr>
                      <a:defRPr>
                        <a:solidFill>
                          <a:schemeClr val="tx1"/>
                        </a:solidFill>
                        <a:latin typeface="Calibri" pitchFamily="34" charset="0"/>
                        <a:ea typeface="ＭＳ Ｐゴシック" pitchFamily="34" charset="-128"/>
                      </a:defRPr>
                    </a:lvl1pPr>
                    <a:lvl2pPr marL="37931725" indent="-37474525">
                      <a:defRPr>
                        <a:solidFill>
                          <a:schemeClr val="tx1"/>
                        </a:solidFill>
                        <a:latin typeface="Calibri" pitchFamily="34" charset="0"/>
                        <a:ea typeface="ＭＳ Ｐゴシック" pitchFamily="34" charset="-128"/>
                      </a:defRPr>
                    </a:lvl2pPr>
                    <a:lvl3pPr>
                      <a:defRPr>
                        <a:solidFill>
                          <a:schemeClr val="tx1"/>
                        </a:solidFill>
                        <a:latin typeface="Calibri" pitchFamily="34" charset="0"/>
                        <a:ea typeface="ＭＳ Ｐゴシック" pitchFamily="34" charset="-128"/>
                      </a:defRPr>
                    </a:lvl3pPr>
                    <a:lvl4pPr>
                      <a:defRPr>
                        <a:solidFill>
                          <a:schemeClr val="tx1"/>
                        </a:solidFill>
                        <a:latin typeface="Calibri" pitchFamily="34" charset="0"/>
                        <a:ea typeface="ＭＳ Ｐゴシック" pitchFamily="34" charset="-128"/>
                      </a:defRPr>
                    </a:lvl4pPr>
                    <a:lvl5pPr>
                      <a:defRPr>
                        <a:solidFill>
                          <a:schemeClr val="tx1"/>
                        </a:solidFill>
                        <a:latin typeface="Calibri" pitchFamily="34" charset="0"/>
                        <a:ea typeface="ＭＳ Ｐゴシック" pitchFamily="34" charset="-128"/>
                      </a:defRPr>
                    </a:lvl5pPr>
                    <a:lvl6pPr marL="457200" fontAlgn="base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itchFamily="34" charset="0"/>
                        <a:ea typeface="ＭＳ Ｐゴシック" pitchFamily="34" charset="-128"/>
                      </a:defRPr>
                    </a:lvl6pPr>
                    <a:lvl7pPr marL="914400" fontAlgn="base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itchFamily="34" charset="0"/>
                        <a:ea typeface="ＭＳ Ｐゴシック" pitchFamily="34" charset="-128"/>
                      </a:defRPr>
                    </a:lvl7pPr>
                    <a:lvl8pPr marL="1371600" fontAlgn="base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itchFamily="34" charset="0"/>
                        <a:ea typeface="ＭＳ Ｐゴシック" pitchFamily="34" charset="-128"/>
                      </a:defRPr>
                    </a:lvl8pPr>
                    <a:lvl9pPr marL="1828800" fontAlgn="base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Calibri" pitchFamily="34" charset="0"/>
                        <a:ea typeface="ＭＳ Ｐゴシック" pitchFamily="34" charset="-128"/>
                      </a:defRPr>
                    </a:lvl9pPr>
                  </a:lstStyle>
                  <a:p>
                    <a:pPr algn="ctr">
                      <a:defRPr/>
                    </a:pPr>
                    <a:endParaRPr lang="en-US" sz="1400" smtClean="0">
                      <a:solidFill>
                        <a:srgbClr val="FFFFFF"/>
                      </a:solidFill>
                    </a:endParaRPr>
                  </a:p>
                </p:txBody>
              </p:sp>
            </p:grpSp>
          </p:grpSp>
        </p:grpSp>
      </p:grpSp>
      <p:sp>
        <p:nvSpPr>
          <p:cNvPr id="13349" name="TextBox 121"/>
          <p:cNvSpPr txBox="1">
            <a:spLocks noChangeArrowheads="1"/>
          </p:cNvSpPr>
          <p:nvPr/>
        </p:nvSpPr>
        <p:spPr bwMode="auto">
          <a:xfrm>
            <a:off x="6323013" y="1960563"/>
            <a:ext cx="1489075" cy="41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4400" eaLnBrk="1" hangingPunct="1"/>
            <a:r>
              <a:rPr lang="en-US" sz="1000" b="1">
                <a:solidFill>
                  <a:srgbClr val="262626"/>
                </a:solidFill>
                <a:latin typeface="Calibri" pitchFamily="34" charset="0"/>
              </a:rPr>
              <a:t>Status meeting</a:t>
            </a:r>
          </a:p>
          <a:p>
            <a:pPr defTabSz="914400" eaLnBrk="1" hangingPunct="1"/>
            <a:r>
              <a:rPr lang="en-US" sz="1000">
                <a:solidFill>
                  <a:srgbClr val="262626"/>
                </a:solidFill>
                <a:latin typeface="Calibri" pitchFamily="34" charset="0"/>
              </a:rPr>
              <a:t>Place your own text</a:t>
            </a:r>
          </a:p>
        </p:txBody>
      </p:sp>
      <p:grpSp>
        <p:nvGrpSpPr>
          <p:cNvPr id="13350" name="Group 122"/>
          <p:cNvGrpSpPr>
            <a:grpSpLocks/>
          </p:cNvGrpSpPr>
          <p:nvPr/>
        </p:nvGrpSpPr>
        <p:grpSpPr bwMode="auto">
          <a:xfrm>
            <a:off x="3354388" y="2986088"/>
            <a:ext cx="2284412" cy="260350"/>
            <a:chOff x="3240127" y="1240495"/>
            <a:chExt cx="2474873" cy="478899"/>
          </a:xfrm>
        </p:grpSpPr>
        <p:sp>
          <p:nvSpPr>
            <p:cNvPr id="124" name="Rounded Rectangle 123"/>
            <p:cNvSpPr/>
            <p:nvPr/>
          </p:nvSpPr>
          <p:spPr>
            <a:xfrm>
              <a:off x="3240127" y="1336858"/>
              <a:ext cx="2457674" cy="341654"/>
            </a:xfrm>
            <a:prstGeom prst="roundRect">
              <a:avLst>
                <a:gd name="adj" fmla="val 13277"/>
              </a:avLst>
            </a:prstGeom>
            <a:gradFill rotWithShape="1">
              <a:gsLst>
                <a:gs pos="0">
                  <a:schemeClr val="tx1"/>
                </a:gs>
                <a:gs pos="100000">
                  <a:schemeClr val="tx1">
                    <a:lumMod val="85000"/>
                    <a:lumOff val="15000"/>
                  </a:scheme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400">
                <a:defRPr/>
              </a:pPr>
              <a:endParaRPr lang="en-US" sz="140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3447" name="Rounded Rectangle 124"/>
            <p:cNvSpPr>
              <a:spLocks noChangeArrowheads="1"/>
            </p:cNvSpPr>
            <p:nvPr/>
          </p:nvSpPr>
          <p:spPr bwMode="auto">
            <a:xfrm>
              <a:off x="3286163" y="1374576"/>
              <a:ext cx="2365338" cy="155534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E6E6E6">
                    <a:alpha val="14998"/>
                  </a:srgbClr>
                </a:gs>
                <a:gs pos="100000">
                  <a:srgbClr val="7F7F7F"/>
                </a:gs>
              </a:gsLst>
              <a:lin ang="162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914400"/>
              <a:endParaRPr lang="en-US" sz="140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3448" name="Tekstboks 23"/>
            <p:cNvSpPr txBox="1">
              <a:spLocks noChangeArrowheads="1"/>
            </p:cNvSpPr>
            <p:nvPr/>
          </p:nvSpPr>
          <p:spPr bwMode="auto">
            <a:xfrm>
              <a:off x="3255605" y="1240495"/>
              <a:ext cx="2459395" cy="4788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algn="ctr">
                <a:defRPr/>
              </a:pPr>
              <a:r>
                <a:rPr lang="en-GB" sz="1050" smtClean="0">
                  <a:solidFill>
                    <a:srgbClr val="FFFFFF"/>
                  </a:solidFill>
                </a:rPr>
                <a:t>Text</a:t>
              </a:r>
            </a:p>
          </p:txBody>
        </p:sp>
      </p:grpSp>
      <p:sp>
        <p:nvSpPr>
          <p:cNvPr id="13351" name="TextBox 205"/>
          <p:cNvSpPr txBox="1">
            <a:spLocks noChangeArrowheads="1"/>
          </p:cNvSpPr>
          <p:nvPr/>
        </p:nvSpPr>
        <p:spPr bwMode="auto">
          <a:xfrm>
            <a:off x="1811338" y="1579563"/>
            <a:ext cx="2127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1</a:t>
            </a:r>
          </a:p>
        </p:txBody>
      </p:sp>
      <p:sp>
        <p:nvSpPr>
          <p:cNvPr id="13352" name="TextBox 206"/>
          <p:cNvSpPr txBox="1">
            <a:spLocks noChangeArrowheads="1"/>
          </p:cNvSpPr>
          <p:nvPr/>
        </p:nvSpPr>
        <p:spPr bwMode="auto">
          <a:xfrm>
            <a:off x="2022475" y="1579563"/>
            <a:ext cx="21431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2</a:t>
            </a:r>
          </a:p>
        </p:txBody>
      </p:sp>
      <p:sp>
        <p:nvSpPr>
          <p:cNvPr id="13353" name="TextBox 207"/>
          <p:cNvSpPr txBox="1">
            <a:spLocks noChangeArrowheads="1"/>
          </p:cNvSpPr>
          <p:nvPr/>
        </p:nvSpPr>
        <p:spPr bwMode="auto">
          <a:xfrm>
            <a:off x="2239963" y="1579563"/>
            <a:ext cx="21431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3</a:t>
            </a:r>
          </a:p>
        </p:txBody>
      </p:sp>
      <p:sp>
        <p:nvSpPr>
          <p:cNvPr id="13354" name="TextBox 208"/>
          <p:cNvSpPr txBox="1">
            <a:spLocks noChangeArrowheads="1"/>
          </p:cNvSpPr>
          <p:nvPr/>
        </p:nvSpPr>
        <p:spPr bwMode="auto">
          <a:xfrm>
            <a:off x="2454275" y="1579563"/>
            <a:ext cx="21431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4</a:t>
            </a:r>
          </a:p>
        </p:txBody>
      </p:sp>
      <p:sp>
        <p:nvSpPr>
          <p:cNvPr id="13355" name="TextBox 209"/>
          <p:cNvSpPr txBox="1">
            <a:spLocks noChangeArrowheads="1"/>
          </p:cNvSpPr>
          <p:nvPr/>
        </p:nvSpPr>
        <p:spPr bwMode="auto">
          <a:xfrm>
            <a:off x="2670175" y="1579563"/>
            <a:ext cx="21431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5</a:t>
            </a:r>
          </a:p>
        </p:txBody>
      </p:sp>
      <p:sp>
        <p:nvSpPr>
          <p:cNvPr id="13356" name="TextBox 210"/>
          <p:cNvSpPr txBox="1">
            <a:spLocks noChangeArrowheads="1"/>
          </p:cNvSpPr>
          <p:nvPr/>
        </p:nvSpPr>
        <p:spPr bwMode="auto">
          <a:xfrm>
            <a:off x="2884488" y="1579563"/>
            <a:ext cx="21431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6</a:t>
            </a:r>
          </a:p>
        </p:txBody>
      </p:sp>
      <p:sp>
        <p:nvSpPr>
          <p:cNvPr id="13357" name="TextBox 211"/>
          <p:cNvSpPr txBox="1">
            <a:spLocks noChangeArrowheads="1"/>
          </p:cNvSpPr>
          <p:nvPr/>
        </p:nvSpPr>
        <p:spPr bwMode="auto">
          <a:xfrm>
            <a:off x="3098800" y="1579563"/>
            <a:ext cx="2127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7</a:t>
            </a:r>
          </a:p>
        </p:txBody>
      </p:sp>
      <p:sp>
        <p:nvSpPr>
          <p:cNvPr id="13358" name="TextBox 212"/>
          <p:cNvSpPr txBox="1">
            <a:spLocks noChangeArrowheads="1"/>
          </p:cNvSpPr>
          <p:nvPr/>
        </p:nvSpPr>
        <p:spPr bwMode="auto">
          <a:xfrm>
            <a:off x="3309938" y="1579563"/>
            <a:ext cx="2127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8</a:t>
            </a:r>
          </a:p>
        </p:txBody>
      </p:sp>
      <p:sp>
        <p:nvSpPr>
          <p:cNvPr id="13359" name="TextBox 213"/>
          <p:cNvSpPr txBox="1">
            <a:spLocks noChangeArrowheads="1"/>
          </p:cNvSpPr>
          <p:nvPr/>
        </p:nvSpPr>
        <p:spPr bwMode="auto">
          <a:xfrm>
            <a:off x="3525838" y="1579563"/>
            <a:ext cx="21431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9</a:t>
            </a:r>
          </a:p>
        </p:txBody>
      </p:sp>
      <p:sp>
        <p:nvSpPr>
          <p:cNvPr id="13360" name="TextBox 214"/>
          <p:cNvSpPr txBox="1">
            <a:spLocks noChangeArrowheads="1"/>
          </p:cNvSpPr>
          <p:nvPr/>
        </p:nvSpPr>
        <p:spPr bwMode="auto">
          <a:xfrm>
            <a:off x="3698875" y="1579563"/>
            <a:ext cx="3111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10</a:t>
            </a:r>
          </a:p>
        </p:txBody>
      </p:sp>
      <p:sp>
        <p:nvSpPr>
          <p:cNvPr id="13361" name="TextBox 215"/>
          <p:cNvSpPr txBox="1">
            <a:spLocks noChangeArrowheads="1"/>
          </p:cNvSpPr>
          <p:nvPr/>
        </p:nvSpPr>
        <p:spPr bwMode="auto">
          <a:xfrm>
            <a:off x="3906838" y="1579563"/>
            <a:ext cx="29051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11</a:t>
            </a:r>
          </a:p>
        </p:txBody>
      </p:sp>
      <p:sp>
        <p:nvSpPr>
          <p:cNvPr id="13362" name="TextBox 216"/>
          <p:cNvSpPr txBox="1">
            <a:spLocks noChangeArrowheads="1"/>
          </p:cNvSpPr>
          <p:nvPr/>
        </p:nvSpPr>
        <p:spPr bwMode="auto">
          <a:xfrm>
            <a:off x="4357688" y="1579563"/>
            <a:ext cx="3016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13</a:t>
            </a:r>
          </a:p>
        </p:txBody>
      </p:sp>
      <p:sp>
        <p:nvSpPr>
          <p:cNvPr id="13363" name="TextBox 217"/>
          <p:cNvSpPr txBox="1">
            <a:spLocks noChangeArrowheads="1"/>
          </p:cNvSpPr>
          <p:nvPr/>
        </p:nvSpPr>
        <p:spPr bwMode="auto">
          <a:xfrm>
            <a:off x="4572000" y="1579563"/>
            <a:ext cx="31273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14</a:t>
            </a:r>
          </a:p>
        </p:txBody>
      </p:sp>
      <p:sp>
        <p:nvSpPr>
          <p:cNvPr id="13364" name="TextBox 218"/>
          <p:cNvSpPr txBox="1">
            <a:spLocks noChangeArrowheads="1"/>
          </p:cNvSpPr>
          <p:nvPr/>
        </p:nvSpPr>
        <p:spPr bwMode="auto">
          <a:xfrm>
            <a:off x="4783138" y="1579563"/>
            <a:ext cx="3127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15</a:t>
            </a:r>
          </a:p>
        </p:txBody>
      </p:sp>
      <p:sp>
        <p:nvSpPr>
          <p:cNvPr id="13365" name="TextBox 219"/>
          <p:cNvSpPr txBox="1">
            <a:spLocks noChangeArrowheads="1"/>
          </p:cNvSpPr>
          <p:nvPr/>
        </p:nvSpPr>
        <p:spPr bwMode="auto">
          <a:xfrm>
            <a:off x="4994275" y="1579563"/>
            <a:ext cx="31273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16</a:t>
            </a:r>
          </a:p>
        </p:txBody>
      </p:sp>
      <p:sp>
        <p:nvSpPr>
          <p:cNvPr id="13366" name="TextBox 220"/>
          <p:cNvSpPr txBox="1">
            <a:spLocks noChangeArrowheads="1"/>
          </p:cNvSpPr>
          <p:nvPr/>
        </p:nvSpPr>
        <p:spPr bwMode="auto">
          <a:xfrm>
            <a:off x="5205413" y="1579563"/>
            <a:ext cx="3127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17</a:t>
            </a:r>
          </a:p>
        </p:txBody>
      </p:sp>
      <p:sp>
        <p:nvSpPr>
          <p:cNvPr id="13367" name="TextBox 221"/>
          <p:cNvSpPr txBox="1">
            <a:spLocks noChangeArrowheads="1"/>
          </p:cNvSpPr>
          <p:nvPr/>
        </p:nvSpPr>
        <p:spPr bwMode="auto">
          <a:xfrm>
            <a:off x="5416550" y="1579563"/>
            <a:ext cx="31273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18</a:t>
            </a:r>
          </a:p>
        </p:txBody>
      </p:sp>
      <p:sp>
        <p:nvSpPr>
          <p:cNvPr id="13368" name="TextBox 222"/>
          <p:cNvSpPr txBox="1">
            <a:spLocks noChangeArrowheads="1"/>
          </p:cNvSpPr>
          <p:nvPr/>
        </p:nvSpPr>
        <p:spPr bwMode="auto">
          <a:xfrm>
            <a:off x="5626100" y="1579563"/>
            <a:ext cx="3143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19</a:t>
            </a:r>
          </a:p>
        </p:txBody>
      </p:sp>
      <p:sp>
        <p:nvSpPr>
          <p:cNvPr id="13369" name="TextBox 223"/>
          <p:cNvSpPr txBox="1">
            <a:spLocks noChangeArrowheads="1"/>
          </p:cNvSpPr>
          <p:nvPr/>
        </p:nvSpPr>
        <p:spPr bwMode="auto">
          <a:xfrm>
            <a:off x="5837238" y="1579563"/>
            <a:ext cx="3143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20</a:t>
            </a:r>
          </a:p>
        </p:txBody>
      </p:sp>
      <p:sp>
        <p:nvSpPr>
          <p:cNvPr id="13370" name="TextBox 224"/>
          <p:cNvSpPr txBox="1">
            <a:spLocks noChangeArrowheads="1"/>
          </p:cNvSpPr>
          <p:nvPr/>
        </p:nvSpPr>
        <p:spPr bwMode="auto">
          <a:xfrm>
            <a:off x="6048375" y="1579563"/>
            <a:ext cx="3143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21</a:t>
            </a:r>
          </a:p>
        </p:txBody>
      </p:sp>
      <p:sp>
        <p:nvSpPr>
          <p:cNvPr id="13371" name="TextBox 225"/>
          <p:cNvSpPr txBox="1">
            <a:spLocks noChangeArrowheads="1"/>
          </p:cNvSpPr>
          <p:nvPr/>
        </p:nvSpPr>
        <p:spPr bwMode="auto">
          <a:xfrm>
            <a:off x="6259513" y="1579563"/>
            <a:ext cx="3143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22</a:t>
            </a:r>
          </a:p>
        </p:txBody>
      </p:sp>
      <p:sp>
        <p:nvSpPr>
          <p:cNvPr id="13372" name="TextBox 226"/>
          <p:cNvSpPr txBox="1">
            <a:spLocks noChangeArrowheads="1"/>
          </p:cNvSpPr>
          <p:nvPr/>
        </p:nvSpPr>
        <p:spPr bwMode="auto">
          <a:xfrm>
            <a:off x="6470650" y="1579563"/>
            <a:ext cx="31273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23</a:t>
            </a:r>
          </a:p>
        </p:txBody>
      </p:sp>
      <p:sp>
        <p:nvSpPr>
          <p:cNvPr id="13373" name="TextBox 227"/>
          <p:cNvSpPr txBox="1">
            <a:spLocks noChangeArrowheads="1"/>
          </p:cNvSpPr>
          <p:nvPr/>
        </p:nvSpPr>
        <p:spPr bwMode="auto">
          <a:xfrm>
            <a:off x="6694488" y="1579563"/>
            <a:ext cx="3143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24</a:t>
            </a:r>
          </a:p>
        </p:txBody>
      </p:sp>
      <p:sp>
        <p:nvSpPr>
          <p:cNvPr id="13374" name="TextBox 228"/>
          <p:cNvSpPr txBox="1">
            <a:spLocks noChangeArrowheads="1"/>
          </p:cNvSpPr>
          <p:nvPr/>
        </p:nvSpPr>
        <p:spPr bwMode="auto">
          <a:xfrm>
            <a:off x="6931025" y="1579563"/>
            <a:ext cx="31273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25</a:t>
            </a:r>
          </a:p>
        </p:txBody>
      </p:sp>
      <p:sp>
        <p:nvSpPr>
          <p:cNvPr id="13375" name="TextBox 229"/>
          <p:cNvSpPr txBox="1">
            <a:spLocks noChangeArrowheads="1"/>
          </p:cNvSpPr>
          <p:nvPr/>
        </p:nvSpPr>
        <p:spPr bwMode="auto">
          <a:xfrm>
            <a:off x="7351713" y="1579563"/>
            <a:ext cx="3143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27</a:t>
            </a:r>
          </a:p>
        </p:txBody>
      </p:sp>
      <p:sp>
        <p:nvSpPr>
          <p:cNvPr id="13376" name="TextBox 230"/>
          <p:cNvSpPr txBox="1">
            <a:spLocks noChangeArrowheads="1"/>
          </p:cNvSpPr>
          <p:nvPr/>
        </p:nvSpPr>
        <p:spPr bwMode="auto">
          <a:xfrm>
            <a:off x="7142163" y="1579563"/>
            <a:ext cx="3127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26</a:t>
            </a:r>
          </a:p>
        </p:txBody>
      </p:sp>
      <p:sp>
        <p:nvSpPr>
          <p:cNvPr id="13377" name="TextBox 231"/>
          <p:cNvSpPr txBox="1">
            <a:spLocks noChangeArrowheads="1"/>
          </p:cNvSpPr>
          <p:nvPr/>
        </p:nvSpPr>
        <p:spPr bwMode="auto">
          <a:xfrm>
            <a:off x="7562850" y="1579563"/>
            <a:ext cx="3143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28</a:t>
            </a:r>
          </a:p>
        </p:txBody>
      </p:sp>
      <p:sp>
        <p:nvSpPr>
          <p:cNvPr id="13378" name="TextBox 232"/>
          <p:cNvSpPr txBox="1">
            <a:spLocks noChangeArrowheads="1"/>
          </p:cNvSpPr>
          <p:nvPr/>
        </p:nvSpPr>
        <p:spPr bwMode="auto">
          <a:xfrm>
            <a:off x="7767638" y="1579563"/>
            <a:ext cx="3143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29</a:t>
            </a:r>
          </a:p>
        </p:txBody>
      </p:sp>
      <p:sp>
        <p:nvSpPr>
          <p:cNvPr id="13379" name="TextBox 233"/>
          <p:cNvSpPr txBox="1">
            <a:spLocks noChangeArrowheads="1"/>
          </p:cNvSpPr>
          <p:nvPr/>
        </p:nvSpPr>
        <p:spPr bwMode="auto">
          <a:xfrm>
            <a:off x="7985125" y="1579563"/>
            <a:ext cx="3143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30</a:t>
            </a:r>
          </a:p>
        </p:txBody>
      </p:sp>
      <p:sp>
        <p:nvSpPr>
          <p:cNvPr id="13380" name="TextBox 235"/>
          <p:cNvSpPr txBox="1">
            <a:spLocks noChangeArrowheads="1"/>
          </p:cNvSpPr>
          <p:nvPr/>
        </p:nvSpPr>
        <p:spPr bwMode="auto">
          <a:xfrm>
            <a:off x="8196263" y="1579563"/>
            <a:ext cx="3127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31</a:t>
            </a:r>
          </a:p>
        </p:txBody>
      </p:sp>
      <p:sp>
        <p:nvSpPr>
          <p:cNvPr id="13381" name="TextBox 236"/>
          <p:cNvSpPr txBox="1">
            <a:spLocks noChangeArrowheads="1"/>
          </p:cNvSpPr>
          <p:nvPr/>
        </p:nvSpPr>
        <p:spPr bwMode="auto">
          <a:xfrm>
            <a:off x="4141788" y="1579563"/>
            <a:ext cx="2889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nb-NO" sz="800">
                <a:solidFill>
                  <a:srgbClr val="FFFFFF"/>
                </a:solidFill>
                <a:latin typeface="Calibri" pitchFamily="34" charset="0"/>
              </a:rPr>
              <a:t>12</a:t>
            </a:r>
          </a:p>
        </p:txBody>
      </p:sp>
      <p:grpSp>
        <p:nvGrpSpPr>
          <p:cNvPr id="13382" name="Group 397"/>
          <p:cNvGrpSpPr>
            <a:grpSpLocks/>
          </p:cNvGrpSpPr>
          <p:nvPr/>
        </p:nvGrpSpPr>
        <p:grpSpPr bwMode="auto">
          <a:xfrm>
            <a:off x="639763" y="3000375"/>
            <a:ext cx="1133475" cy="268288"/>
            <a:chOff x="387349" y="2651822"/>
            <a:chExt cx="1226648" cy="289776"/>
          </a:xfrm>
        </p:grpSpPr>
        <p:sp>
          <p:nvSpPr>
            <p:cNvPr id="128" name="Pentagon 127"/>
            <p:cNvSpPr/>
            <p:nvPr/>
          </p:nvSpPr>
          <p:spPr>
            <a:xfrm>
              <a:off x="387349" y="2663825"/>
              <a:ext cx="1226648" cy="277773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158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97" name="Freeform 396"/>
            <p:cNvSpPr/>
            <p:nvPr/>
          </p:nvSpPr>
          <p:spPr>
            <a:xfrm>
              <a:off x="411401" y="2686115"/>
              <a:ext cx="1178544" cy="120025"/>
            </a:xfrm>
            <a:custGeom>
              <a:avLst/>
              <a:gdLst>
                <a:gd name="connsiteX0" fmla="*/ 1212850 w 1212850"/>
                <a:gd name="connsiteY0" fmla="*/ 133350 h 133350"/>
                <a:gd name="connsiteX1" fmla="*/ 1085850 w 1212850"/>
                <a:gd name="connsiteY1" fmla="*/ 0 h 133350"/>
                <a:gd name="connsiteX2" fmla="*/ 0 w 1212850"/>
                <a:gd name="connsiteY2" fmla="*/ 0 h 133350"/>
                <a:gd name="connsiteX3" fmla="*/ 0 w 1212850"/>
                <a:gd name="connsiteY3" fmla="*/ 133350 h 133350"/>
                <a:gd name="connsiteX4" fmla="*/ 1212850 w 1212850"/>
                <a:gd name="connsiteY4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2850" h="133350">
                  <a:moveTo>
                    <a:pt x="1212850" y="133350"/>
                  </a:moveTo>
                  <a:lnTo>
                    <a:pt x="1085850" y="0"/>
                  </a:lnTo>
                  <a:lnTo>
                    <a:pt x="0" y="0"/>
                  </a:lnTo>
                  <a:lnTo>
                    <a:pt x="0" y="133350"/>
                  </a:lnTo>
                  <a:lnTo>
                    <a:pt x="1212850" y="13335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13445" name="TextBox 129"/>
            <p:cNvSpPr txBox="1">
              <a:spLocks noChangeArrowheads="1"/>
            </p:cNvSpPr>
            <p:nvPr/>
          </p:nvSpPr>
          <p:spPr bwMode="auto">
            <a:xfrm>
              <a:off x="444042" y="2651822"/>
              <a:ext cx="926000" cy="2829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>
                <a:defRPr/>
              </a:pPr>
              <a:r>
                <a:rPr lang="en-US" sz="1050" smtClean="0">
                  <a:solidFill>
                    <a:srgbClr val="000000"/>
                  </a:solidFill>
                </a:rPr>
                <a:t>1. Project</a:t>
              </a:r>
            </a:p>
          </p:txBody>
        </p:sp>
      </p:grpSp>
      <p:grpSp>
        <p:nvGrpSpPr>
          <p:cNvPr id="13383" name="Group 398"/>
          <p:cNvGrpSpPr>
            <a:grpSpLocks/>
          </p:cNvGrpSpPr>
          <p:nvPr/>
        </p:nvGrpSpPr>
        <p:grpSpPr bwMode="auto">
          <a:xfrm>
            <a:off x="639763" y="3255963"/>
            <a:ext cx="1133475" cy="266700"/>
            <a:chOff x="387349" y="2651822"/>
            <a:chExt cx="1226648" cy="289776"/>
          </a:xfrm>
        </p:grpSpPr>
        <p:sp>
          <p:nvSpPr>
            <p:cNvPr id="400" name="Pentagon 399"/>
            <p:cNvSpPr/>
            <p:nvPr/>
          </p:nvSpPr>
          <p:spPr>
            <a:xfrm>
              <a:off x="387349" y="2663895"/>
              <a:ext cx="1226648" cy="277703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158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401" name="Freeform 400"/>
            <p:cNvSpPr/>
            <p:nvPr/>
          </p:nvSpPr>
          <p:spPr>
            <a:xfrm>
              <a:off x="411401" y="2684594"/>
              <a:ext cx="1178544" cy="122465"/>
            </a:xfrm>
            <a:custGeom>
              <a:avLst/>
              <a:gdLst>
                <a:gd name="connsiteX0" fmla="*/ 1212850 w 1212850"/>
                <a:gd name="connsiteY0" fmla="*/ 133350 h 133350"/>
                <a:gd name="connsiteX1" fmla="*/ 1085850 w 1212850"/>
                <a:gd name="connsiteY1" fmla="*/ 0 h 133350"/>
                <a:gd name="connsiteX2" fmla="*/ 0 w 1212850"/>
                <a:gd name="connsiteY2" fmla="*/ 0 h 133350"/>
                <a:gd name="connsiteX3" fmla="*/ 0 w 1212850"/>
                <a:gd name="connsiteY3" fmla="*/ 133350 h 133350"/>
                <a:gd name="connsiteX4" fmla="*/ 1212850 w 1212850"/>
                <a:gd name="connsiteY4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2850" h="133350">
                  <a:moveTo>
                    <a:pt x="1212850" y="133350"/>
                  </a:moveTo>
                  <a:lnTo>
                    <a:pt x="1085850" y="0"/>
                  </a:lnTo>
                  <a:lnTo>
                    <a:pt x="0" y="0"/>
                  </a:lnTo>
                  <a:lnTo>
                    <a:pt x="0" y="133350"/>
                  </a:lnTo>
                  <a:lnTo>
                    <a:pt x="1212850" y="13335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13442" name="TextBox 401"/>
            <p:cNvSpPr txBox="1">
              <a:spLocks noChangeArrowheads="1"/>
            </p:cNvSpPr>
            <p:nvPr/>
          </p:nvSpPr>
          <p:spPr bwMode="auto">
            <a:xfrm>
              <a:off x="444042" y="2651822"/>
              <a:ext cx="926000" cy="284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>
                <a:defRPr/>
              </a:pPr>
              <a:r>
                <a:rPr lang="en-US" sz="1050" smtClean="0">
                  <a:solidFill>
                    <a:srgbClr val="000000"/>
                  </a:solidFill>
                </a:rPr>
                <a:t>1. Project</a:t>
              </a:r>
            </a:p>
          </p:txBody>
        </p:sp>
      </p:grpSp>
      <p:grpSp>
        <p:nvGrpSpPr>
          <p:cNvPr id="13384" name="Group 402"/>
          <p:cNvGrpSpPr>
            <a:grpSpLocks/>
          </p:cNvGrpSpPr>
          <p:nvPr/>
        </p:nvGrpSpPr>
        <p:grpSpPr bwMode="auto">
          <a:xfrm>
            <a:off x="639763" y="3506788"/>
            <a:ext cx="1133475" cy="268287"/>
            <a:chOff x="387349" y="2651822"/>
            <a:chExt cx="1226648" cy="289776"/>
          </a:xfrm>
        </p:grpSpPr>
        <p:sp>
          <p:nvSpPr>
            <p:cNvPr id="404" name="Pentagon 403"/>
            <p:cNvSpPr/>
            <p:nvPr/>
          </p:nvSpPr>
          <p:spPr>
            <a:xfrm>
              <a:off x="387349" y="2663824"/>
              <a:ext cx="1226648" cy="277774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158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405" name="Freeform 404"/>
            <p:cNvSpPr/>
            <p:nvPr/>
          </p:nvSpPr>
          <p:spPr>
            <a:xfrm>
              <a:off x="411401" y="2686115"/>
              <a:ext cx="1178544" cy="120026"/>
            </a:xfrm>
            <a:custGeom>
              <a:avLst/>
              <a:gdLst>
                <a:gd name="connsiteX0" fmla="*/ 1212850 w 1212850"/>
                <a:gd name="connsiteY0" fmla="*/ 133350 h 133350"/>
                <a:gd name="connsiteX1" fmla="*/ 1085850 w 1212850"/>
                <a:gd name="connsiteY1" fmla="*/ 0 h 133350"/>
                <a:gd name="connsiteX2" fmla="*/ 0 w 1212850"/>
                <a:gd name="connsiteY2" fmla="*/ 0 h 133350"/>
                <a:gd name="connsiteX3" fmla="*/ 0 w 1212850"/>
                <a:gd name="connsiteY3" fmla="*/ 133350 h 133350"/>
                <a:gd name="connsiteX4" fmla="*/ 1212850 w 1212850"/>
                <a:gd name="connsiteY4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2850" h="133350">
                  <a:moveTo>
                    <a:pt x="1212850" y="133350"/>
                  </a:moveTo>
                  <a:lnTo>
                    <a:pt x="1085850" y="0"/>
                  </a:lnTo>
                  <a:lnTo>
                    <a:pt x="0" y="0"/>
                  </a:lnTo>
                  <a:lnTo>
                    <a:pt x="0" y="133350"/>
                  </a:lnTo>
                  <a:lnTo>
                    <a:pt x="1212850" y="13335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13439" name="TextBox 405"/>
            <p:cNvSpPr txBox="1">
              <a:spLocks noChangeArrowheads="1"/>
            </p:cNvSpPr>
            <p:nvPr/>
          </p:nvSpPr>
          <p:spPr bwMode="auto">
            <a:xfrm>
              <a:off x="444042" y="2651822"/>
              <a:ext cx="926000" cy="2829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>
                <a:defRPr/>
              </a:pPr>
              <a:r>
                <a:rPr lang="en-US" sz="1050" smtClean="0">
                  <a:solidFill>
                    <a:srgbClr val="000000"/>
                  </a:solidFill>
                </a:rPr>
                <a:t>1. Project</a:t>
              </a:r>
            </a:p>
          </p:txBody>
        </p:sp>
      </p:grpSp>
      <p:grpSp>
        <p:nvGrpSpPr>
          <p:cNvPr id="13385" name="Group 406"/>
          <p:cNvGrpSpPr>
            <a:grpSpLocks/>
          </p:cNvGrpSpPr>
          <p:nvPr/>
        </p:nvGrpSpPr>
        <p:grpSpPr bwMode="auto">
          <a:xfrm>
            <a:off x="639763" y="3759200"/>
            <a:ext cx="1133475" cy="268288"/>
            <a:chOff x="387349" y="2651822"/>
            <a:chExt cx="1226648" cy="289776"/>
          </a:xfrm>
        </p:grpSpPr>
        <p:sp>
          <p:nvSpPr>
            <p:cNvPr id="408" name="Pentagon 407"/>
            <p:cNvSpPr/>
            <p:nvPr/>
          </p:nvSpPr>
          <p:spPr>
            <a:xfrm>
              <a:off x="387349" y="2663825"/>
              <a:ext cx="1226648" cy="277773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158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409" name="Freeform 408"/>
            <p:cNvSpPr/>
            <p:nvPr/>
          </p:nvSpPr>
          <p:spPr>
            <a:xfrm>
              <a:off x="411401" y="2686115"/>
              <a:ext cx="1178544" cy="120025"/>
            </a:xfrm>
            <a:custGeom>
              <a:avLst/>
              <a:gdLst>
                <a:gd name="connsiteX0" fmla="*/ 1212850 w 1212850"/>
                <a:gd name="connsiteY0" fmla="*/ 133350 h 133350"/>
                <a:gd name="connsiteX1" fmla="*/ 1085850 w 1212850"/>
                <a:gd name="connsiteY1" fmla="*/ 0 h 133350"/>
                <a:gd name="connsiteX2" fmla="*/ 0 w 1212850"/>
                <a:gd name="connsiteY2" fmla="*/ 0 h 133350"/>
                <a:gd name="connsiteX3" fmla="*/ 0 w 1212850"/>
                <a:gd name="connsiteY3" fmla="*/ 133350 h 133350"/>
                <a:gd name="connsiteX4" fmla="*/ 1212850 w 1212850"/>
                <a:gd name="connsiteY4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2850" h="133350">
                  <a:moveTo>
                    <a:pt x="1212850" y="133350"/>
                  </a:moveTo>
                  <a:lnTo>
                    <a:pt x="1085850" y="0"/>
                  </a:lnTo>
                  <a:lnTo>
                    <a:pt x="0" y="0"/>
                  </a:lnTo>
                  <a:lnTo>
                    <a:pt x="0" y="133350"/>
                  </a:lnTo>
                  <a:lnTo>
                    <a:pt x="1212850" y="13335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13436" name="TextBox 409"/>
            <p:cNvSpPr txBox="1">
              <a:spLocks noChangeArrowheads="1"/>
            </p:cNvSpPr>
            <p:nvPr/>
          </p:nvSpPr>
          <p:spPr bwMode="auto">
            <a:xfrm>
              <a:off x="444042" y="2651822"/>
              <a:ext cx="926000" cy="2829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>
                <a:defRPr/>
              </a:pPr>
              <a:r>
                <a:rPr lang="en-US" sz="1050" smtClean="0">
                  <a:solidFill>
                    <a:srgbClr val="000000"/>
                  </a:solidFill>
                </a:rPr>
                <a:t>1. Project</a:t>
              </a:r>
            </a:p>
          </p:txBody>
        </p:sp>
      </p:grpSp>
      <p:grpSp>
        <p:nvGrpSpPr>
          <p:cNvPr id="13386" name="Group 410"/>
          <p:cNvGrpSpPr>
            <a:grpSpLocks/>
          </p:cNvGrpSpPr>
          <p:nvPr/>
        </p:nvGrpSpPr>
        <p:grpSpPr bwMode="auto">
          <a:xfrm>
            <a:off x="639763" y="4013200"/>
            <a:ext cx="1133475" cy="268288"/>
            <a:chOff x="387349" y="2651822"/>
            <a:chExt cx="1226648" cy="289776"/>
          </a:xfrm>
        </p:grpSpPr>
        <p:sp>
          <p:nvSpPr>
            <p:cNvPr id="412" name="Pentagon 411"/>
            <p:cNvSpPr/>
            <p:nvPr/>
          </p:nvSpPr>
          <p:spPr>
            <a:xfrm>
              <a:off x="387349" y="2663825"/>
              <a:ext cx="1226648" cy="277773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158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413" name="Freeform 412"/>
            <p:cNvSpPr/>
            <p:nvPr/>
          </p:nvSpPr>
          <p:spPr>
            <a:xfrm>
              <a:off x="411401" y="2686115"/>
              <a:ext cx="1178544" cy="120025"/>
            </a:xfrm>
            <a:custGeom>
              <a:avLst/>
              <a:gdLst>
                <a:gd name="connsiteX0" fmla="*/ 1212850 w 1212850"/>
                <a:gd name="connsiteY0" fmla="*/ 133350 h 133350"/>
                <a:gd name="connsiteX1" fmla="*/ 1085850 w 1212850"/>
                <a:gd name="connsiteY1" fmla="*/ 0 h 133350"/>
                <a:gd name="connsiteX2" fmla="*/ 0 w 1212850"/>
                <a:gd name="connsiteY2" fmla="*/ 0 h 133350"/>
                <a:gd name="connsiteX3" fmla="*/ 0 w 1212850"/>
                <a:gd name="connsiteY3" fmla="*/ 133350 h 133350"/>
                <a:gd name="connsiteX4" fmla="*/ 1212850 w 1212850"/>
                <a:gd name="connsiteY4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2850" h="133350">
                  <a:moveTo>
                    <a:pt x="1212850" y="133350"/>
                  </a:moveTo>
                  <a:lnTo>
                    <a:pt x="1085850" y="0"/>
                  </a:lnTo>
                  <a:lnTo>
                    <a:pt x="0" y="0"/>
                  </a:lnTo>
                  <a:lnTo>
                    <a:pt x="0" y="133350"/>
                  </a:lnTo>
                  <a:lnTo>
                    <a:pt x="1212850" y="13335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13433" name="TextBox 413"/>
            <p:cNvSpPr txBox="1">
              <a:spLocks noChangeArrowheads="1"/>
            </p:cNvSpPr>
            <p:nvPr/>
          </p:nvSpPr>
          <p:spPr bwMode="auto">
            <a:xfrm>
              <a:off x="444042" y="2651822"/>
              <a:ext cx="926000" cy="2829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>
                <a:defRPr/>
              </a:pPr>
              <a:r>
                <a:rPr lang="en-US" sz="1050" smtClean="0">
                  <a:solidFill>
                    <a:srgbClr val="000000"/>
                  </a:solidFill>
                </a:rPr>
                <a:t>1. Project</a:t>
              </a:r>
            </a:p>
          </p:txBody>
        </p:sp>
      </p:grpSp>
      <p:grpSp>
        <p:nvGrpSpPr>
          <p:cNvPr id="13387" name="Group 414"/>
          <p:cNvGrpSpPr>
            <a:grpSpLocks/>
          </p:cNvGrpSpPr>
          <p:nvPr/>
        </p:nvGrpSpPr>
        <p:grpSpPr bwMode="auto">
          <a:xfrm>
            <a:off x="639763" y="4265613"/>
            <a:ext cx="1133475" cy="266700"/>
            <a:chOff x="387349" y="2651822"/>
            <a:chExt cx="1226648" cy="289776"/>
          </a:xfrm>
        </p:grpSpPr>
        <p:sp>
          <p:nvSpPr>
            <p:cNvPr id="416" name="Pentagon 415"/>
            <p:cNvSpPr/>
            <p:nvPr/>
          </p:nvSpPr>
          <p:spPr>
            <a:xfrm>
              <a:off x="387349" y="2663895"/>
              <a:ext cx="1226648" cy="277703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158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417" name="Freeform 416"/>
            <p:cNvSpPr/>
            <p:nvPr/>
          </p:nvSpPr>
          <p:spPr>
            <a:xfrm>
              <a:off x="411401" y="2684594"/>
              <a:ext cx="1178544" cy="122465"/>
            </a:xfrm>
            <a:custGeom>
              <a:avLst/>
              <a:gdLst>
                <a:gd name="connsiteX0" fmla="*/ 1212850 w 1212850"/>
                <a:gd name="connsiteY0" fmla="*/ 133350 h 133350"/>
                <a:gd name="connsiteX1" fmla="*/ 1085850 w 1212850"/>
                <a:gd name="connsiteY1" fmla="*/ 0 h 133350"/>
                <a:gd name="connsiteX2" fmla="*/ 0 w 1212850"/>
                <a:gd name="connsiteY2" fmla="*/ 0 h 133350"/>
                <a:gd name="connsiteX3" fmla="*/ 0 w 1212850"/>
                <a:gd name="connsiteY3" fmla="*/ 133350 h 133350"/>
                <a:gd name="connsiteX4" fmla="*/ 1212850 w 1212850"/>
                <a:gd name="connsiteY4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2850" h="133350">
                  <a:moveTo>
                    <a:pt x="1212850" y="133350"/>
                  </a:moveTo>
                  <a:lnTo>
                    <a:pt x="1085850" y="0"/>
                  </a:lnTo>
                  <a:lnTo>
                    <a:pt x="0" y="0"/>
                  </a:lnTo>
                  <a:lnTo>
                    <a:pt x="0" y="133350"/>
                  </a:lnTo>
                  <a:lnTo>
                    <a:pt x="1212850" y="13335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13430" name="TextBox 417"/>
            <p:cNvSpPr txBox="1">
              <a:spLocks noChangeArrowheads="1"/>
            </p:cNvSpPr>
            <p:nvPr/>
          </p:nvSpPr>
          <p:spPr bwMode="auto">
            <a:xfrm>
              <a:off x="444042" y="2651822"/>
              <a:ext cx="926000" cy="284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>
                <a:defRPr/>
              </a:pPr>
              <a:r>
                <a:rPr lang="en-US" sz="1050" smtClean="0">
                  <a:solidFill>
                    <a:srgbClr val="000000"/>
                  </a:solidFill>
                </a:rPr>
                <a:t>1. Project</a:t>
              </a:r>
            </a:p>
          </p:txBody>
        </p:sp>
      </p:grpSp>
      <p:grpSp>
        <p:nvGrpSpPr>
          <p:cNvPr id="13388" name="Group 418"/>
          <p:cNvGrpSpPr>
            <a:grpSpLocks/>
          </p:cNvGrpSpPr>
          <p:nvPr/>
        </p:nvGrpSpPr>
        <p:grpSpPr bwMode="auto">
          <a:xfrm>
            <a:off x="639763" y="4521200"/>
            <a:ext cx="1133475" cy="266700"/>
            <a:chOff x="387349" y="2651822"/>
            <a:chExt cx="1226648" cy="289776"/>
          </a:xfrm>
        </p:grpSpPr>
        <p:sp>
          <p:nvSpPr>
            <p:cNvPr id="420" name="Pentagon 419"/>
            <p:cNvSpPr/>
            <p:nvPr/>
          </p:nvSpPr>
          <p:spPr>
            <a:xfrm>
              <a:off x="387349" y="2663897"/>
              <a:ext cx="1226648" cy="277701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158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421" name="Freeform 420"/>
            <p:cNvSpPr/>
            <p:nvPr/>
          </p:nvSpPr>
          <p:spPr>
            <a:xfrm>
              <a:off x="411401" y="2686319"/>
              <a:ext cx="1178544" cy="119016"/>
            </a:xfrm>
            <a:custGeom>
              <a:avLst/>
              <a:gdLst>
                <a:gd name="connsiteX0" fmla="*/ 1212850 w 1212850"/>
                <a:gd name="connsiteY0" fmla="*/ 133350 h 133350"/>
                <a:gd name="connsiteX1" fmla="*/ 1085850 w 1212850"/>
                <a:gd name="connsiteY1" fmla="*/ 0 h 133350"/>
                <a:gd name="connsiteX2" fmla="*/ 0 w 1212850"/>
                <a:gd name="connsiteY2" fmla="*/ 0 h 133350"/>
                <a:gd name="connsiteX3" fmla="*/ 0 w 1212850"/>
                <a:gd name="connsiteY3" fmla="*/ 133350 h 133350"/>
                <a:gd name="connsiteX4" fmla="*/ 1212850 w 1212850"/>
                <a:gd name="connsiteY4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2850" h="133350">
                  <a:moveTo>
                    <a:pt x="1212850" y="133350"/>
                  </a:moveTo>
                  <a:lnTo>
                    <a:pt x="1085850" y="0"/>
                  </a:lnTo>
                  <a:lnTo>
                    <a:pt x="0" y="0"/>
                  </a:lnTo>
                  <a:lnTo>
                    <a:pt x="0" y="133350"/>
                  </a:lnTo>
                  <a:lnTo>
                    <a:pt x="1212850" y="13335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13427" name="TextBox 421"/>
            <p:cNvSpPr txBox="1">
              <a:spLocks noChangeArrowheads="1"/>
            </p:cNvSpPr>
            <p:nvPr/>
          </p:nvSpPr>
          <p:spPr bwMode="auto">
            <a:xfrm>
              <a:off x="444042" y="2651822"/>
              <a:ext cx="926000" cy="2828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>
                <a:defRPr/>
              </a:pPr>
              <a:r>
                <a:rPr lang="en-US" sz="1050" smtClean="0">
                  <a:solidFill>
                    <a:srgbClr val="000000"/>
                  </a:solidFill>
                </a:rPr>
                <a:t>1. Project</a:t>
              </a:r>
            </a:p>
          </p:txBody>
        </p:sp>
      </p:grpSp>
      <p:grpSp>
        <p:nvGrpSpPr>
          <p:cNvPr id="13389" name="Group 422"/>
          <p:cNvGrpSpPr>
            <a:grpSpLocks/>
          </p:cNvGrpSpPr>
          <p:nvPr/>
        </p:nvGrpSpPr>
        <p:grpSpPr bwMode="auto">
          <a:xfrm>
            <a:off x="639763" y="4776788"/>
            <a:ext cx="1133475" cy="266700"/>
            <a:chOff x="387349" y="2651822"/>
            <a:chExt cx="1226648" cy="289776"/>
          </a:xfrm>
        </p:grpSpPr>
        <p:sp>
          <p:nvSpPr>
            <p:cNvPr id="424" name="Pentagon 423"/>
            <p:cNvSpPr/>
            <p:nvPr/>
          </p:nvSpPr>
          <p:spPr>
            <a:xfrm>
              <a:off x="387349" y="2663895"/>
              <a:ext cx="1226648" cy="277703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158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425" name="Freeform 424"/>
            <p:cNvSpPr/>
            <p:nvPr/>
          </p:nvSpPr>
          <p:spPr>
            <a:xfrm>
              <a:off x="411401" y="2684594"/>
              <a:ext cx="1178544" cy="122465"/>
            </a:xfrm>
            <a:custGeom>
              <a:avLst/>
              <a:gdLst>
                <a:gd name="connsiteX0" fmla="*/ 1212850 w 1212850"/>
                <a:gd name="connsiteY0" fmla="*/ 133350 h 133350"/>
                <a:gd name="connsiteX1" fmla="*/ 1085850 w 1212850"/>
                <a:gd name="connsiteY1" fmla="*/ 0 h 133350"/>
                <a:gd name="connsiteX2" fmla="*/ 0 w 1212850"/>
                <a:gd name="connsiteY2" fmla="*/ 0 h 133350"/>
                <a:gd name="connsiteX3" fmla="*/ 0 w 1212850"/>
                <a:gd name="connsiteY3" fmla="*/ 133350 h 133350"/>
                <a:gd name="connsiteX4" fmla="*/ 1212850 w 1212850"/>
                <a:gd name="connsiteY4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2850" h="133350">
                  <a:moveTo>
                    <a:pt x="1212850" y="133350"/>
                  </a:moveTo>
                  <a:lnTo>
                    <a:pt x="1085850" y="0"/>
                  </a:lnTo>
                  <a:lnTo>
                    <a:pt x="0" y="0"/>
                  </a:lnTo>
                  <a:lnTo>
                    <a:pt x="0" y="133350"/>
                  </a:lnTo>
                  <a:lnTo>
                    <a:pt x="1212850" y="13335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13424" name="TextBox 425"/>
            <p:cNvSpPr txBox="1">
              <a:spLocks noChangeArrowheads="1"/>
            </p:cNvSpPr>
            <p:nvPr/>
          </p:nvSpPr>
          <p:spPr bwMode="auto">
            <a:xfrm>
              <a:off x="444042" y="2651822"/>
              <a:ext cx="926000" cy="284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>
                <a:defRPr/>
              </a:pPr>
              <a:r>
                <a:rPr lang="en-US" sz="1050" smtClean="0">
                  <a:solidFill>
                    <a:srgbClr val="000000"/>
                  </a:solidFill>
                </a:rPr>
                <a:t>1. Project</a:t>
              </a:r>
            </a:p>
          </p:txBody>
        </p:sp>
      </p:grpSp>
      <p:grpSp>
        <p:nvGrpSpPr>
          <p:cNvPr id="13390" name="Group 426"/>
          <p:cNvGrpSpPr>
            <a:grpSpLocks/>
          </p:cNvGrpSpPr>
          <p:nvPr/>
        </p:nvGrpSpPr>
        <p:grpSpPr bwMode="auto">
          <a:xfrm>
            <a:off x="639763" y="5027613"/>
            <a:ext cx="1133475" cy="266700"/>
            <a:chOff x="387349" y="2651822"/>
            <a:chExt cx="1226648" cy="289776"/>
          </a:xfrm>
        </p:grpSpPr>
        <p:sp>
          <p:nvSpPr>
            <p:cNvPr id="428" name="Pentagon 427"/>
            <p:cNvSpPr/>
            <p:nvPr/>
          </p:nvSpPr>
          <p:spPr>
            <a:xfrm>
              <a:off x="387349" y="2663895"/>
              <a:ext cx="1226648" cy="277703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158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429" name="Freeform 428"/>
            <p:cNvSpPr/>
            <p:nvPr/>
          </p:nvSpPr>
          <p:spPr>
            <a:xfrm>
              <a:off x="411401" y="2684594"/>
              <a:ext cx="1178544" cy="122465"/>
            </a:xfrm>
            <a:custGeom>
              <a:avLst/>
              <a:gdLst>
                <a:gd name="connsiteX0" fmla="*/ 1212850 w 1212850"/>
                <a:gd name="connsiteY0" fmla="*/ 133350 h 133350"/>
                <a:gd name="connsiteX1" fmla="*/ 1085850 w 1212850"/>
                <a:gd name="connsiteY1" fmla="*/ 0 h 133350"/>
                <a:gd name="connsiteX2" fmla="*/ 0 w 1212850"/>
                <a:gd name="connsiteY2" fmla="*/ 0 h 133350"/>
                <a:gd name="connsiteX3" fmla="*/ 0 w 1212850"/>
                <a:gd name="connsiteY3" fmla="*/ 133350 h 133350"/>
                <a:gd name="connsiteX4" fmla="*/ 1212850 w 1212850"/>
                <a:gd name="connsiteY4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2850" h="133350">
                  <a:moveTo>
                    <a:pt x="1212850" y="133350"/>
                  </a:moveTo>
                  <a:lnTo>
                    <a:pt x="1085850" y="0"/>
                  </a:lnTo>
                  <a:lnTo>
                    <a:pt x="0" y="0"/>
                  </a:lnTo>
                  <a:lnTo>
                    <a:pt x="0" y="133350"/>
                  </a:lnTo>
                  <a:lnTo>
                    <a:pt x="1212850" y="13335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13421" name="TextBox 429"/>
            <p:cNvSpPr txBox="1">
              <a:spLocks noChangeArrowheads="1"/>
            </p:cNvSpPr>
            <p:nvPr/>
          </p:nvSpPr>
          <p:spPr bwMode="auto">
            <a:xfrm>
              <a:off x="444042" y="2651822"/>
              <a:ext cx="926000" cy="284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>
                <a:defRPr/>
              </a:pPr>
              <a:r>
                <a:rPr lang="en-US" sz="1050" smtClean="0">
                  <a:solidFill>
                    <a:srgbClr val="000000"/>
                  </a:solidFill>
                </a:rPr>
                <a:t>1. Project</a:t>
              </a:r>
            </a:p>
          </p:txBody>
        </p:sp>
      </p:grpSp>
      <p:grpSp>
        <p:nvGrpSpPr>
          <p:cNvPr id="13391" name="Group 430"/>
          <p:cNvGrpSpPr>
            <a:grpSpLocks/>
          </p:cNvGrpSpPr>
          <p:nvPr/>
        </p:nvGrpSpPr>
        <p:grpSpPr bwMode="auto">
          <a:xfrm>
            <a:off x="639763" y="5280025"/>
            <a:ext cx="1133475" cy="266700"/>
            <a:chOff x="387349" y="2651822"/>
            <a:chExt cx="1226648" cy="289776"/>
          </a:xfrm>
        </p:grpSpPr>
        <p:sp>
          <p:nvSpPr>
            <p:cNvPr id="432" name="Pentagon 431"/>
            <p:cNvSpPr/>
            <p:nvPr/>
          </p:nvSpPr>
          <p:spPr>
            <a:xfrm>
              <a:off x="387349" y="2663897"/>
              <a:ext cx="1226648" cy="277701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158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433" name="Freeform 432"/>
            <p:cNvSpPr/>
            <p:nvPr/>
          </p:nvSpPr>
          <p:spPr>
            <a:xfrm>
              <a:off x="411401" y="2684595"/>
              <a:ext cx="1178544" cy="122464"/>
            </a:xfrm>
            <a:custGeom>
              <a:avLst/>
              <a:gdLst>
                <a:gd name="connsiteX0" fmla="*/ 1212850 w 1212850"/>
                <a:gd name="connsiteY0" fmla="*/ 133350 h 133350"/>
                <a:gd name="connsiteX1" fmla="*/ 1085850 w 1212850"/>
                <a:gd name="connsiteY1" fmla="*/ 0 h 133350"/>
                <a:gd name="connsiteX2" fmla="*/ 0 w 1212850"/>
                <a:gd name="connsiteY2" fmla="*/ 0 h 133350"/>
                <a:gd name="connsiteX3" fmla="*/ 0 w 1212850"/>
                <a:gd name="connsiteY3" fmla="*/ 133350 h 133350"/>
                <a:gd name="connsiteX4" fmla="*/ 1212850 w 1212850"/>
                <a:gd name="connsiteY4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2850" h="133350">
                  <a:moveTo>
                    <a:pt x="1212850" y="133350"/>
                  </a:moveTo>
                  <a:lnTo>
                    <a:pt x="1085850" y="0"/>
                  </a:lnTo>
                  <a:lnTo>
                    <a:pt x="0" y="0"/>
                  </a:lnTo>
                  <a:lnTo>
                    <a:pt x="0" y="133350"/>
                  </a:lnTo>
                  <a:lnTo>
                    <a:pt x="1212850" y="13335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13418" name="TextBox 433"/>
            <p:cNvSpPr txBox="1">
              <a:spLocks noChangeArrowheads="1"/>
            </p:cNvSpPr>
            <p:nvPr/>
          </p:nvSpPr>
          <p:spPr bwMode="auto">
            <a:xfrm>
              <a:off x="444042" y="2651822"/>
              <a:ext cx="926000" cy="2846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>
                <a:defRPr/>
              </a:pPr>
              <a:r>
                <a:rPr lang="en-US" sz="1050" smtClean="0">
                  <a:solidFill>
                    <a:srgbClr val="000000"/>
                  </a:solidFill>
                </a:rPr>
                <a:t>1. Project</a:t>
              </a:r>
            </a:p>
          </p:txBody>
        </p:sp>
      </p:grpSp>
      <p:grpSp>
        <p:nvGrpSpPr>
          <p:cNvPr id="13392" name="Group 436"/>
          <p:cNvGrpSpPr>
            <a:grpSpLocks/>
          </p:cNvGrpSpPr>
          <p:nvPr/>
        </p:nvGrpSpPr>
        <p:grpSpPr bwMode="auto">
          <a:xfrm>
            <a:off x="635000" y="5537200"/>
            <a:ext cx="1179513" cy="265113"/>
            <a:chOff x="381000" y="5503282"/>
            <a:chExt cx="1278133" cy="288294"/>
          </a:xfrm>
        </p:grpSpPr>
        <p:sp>
          <p:nvSpPr>
            <p:cNvPr id="70" name="Pentagon 69"/>
            <p:cNvSpPr/>
            <p:nvPr/>
          </p:nvSpPr>
          <p:spPr>
            <a:xfrm>
              <a:off x="387881" y="5513640"/>
              <a:ext cx="1226526" cy="277936"/>
            </a:xfrm>
            <a:prstGeom prst="homePlate">
              <a:avLst/>
            </a:prstGeom>
            <a:gradFill>
              <a:gsLst>
                <a:gs pos="0">
                  <a:schemeClr val="tx1">
                    <a:lumMod val="95000"/>
                    <a:lumOff val="5000"/>
                  </a:schemeClr>
                </a:gs>
                <a:gs pos="100000">
                  <a:schemeClr val="tx1">
                    <a:lumMod val="85000"/>
                    <a:lumOff val="15000"/>
                  </a:schemeClr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436" name="Freeform 435"/>
            <p:cNvSpPr/>
            <p:nvPr/>
          </p:nvSpPr>
          <p:spPr>
            <a:xfrm>
              <a:off x="381000" y="5511914"/>
              <a:ext cx="1231686" cy="151915"/>
            </a:xfrm>
            <a:custGeom>
              <a:avLst/>
              <a:gdLst>
                <a:gd name="connsiteX0" fmla="*/ 1231900 w 1231900"/>
                <a:gd name="connsiteY0" fmla="*/ 146050 h 152400"/>
                <a:gd name="connsiteX1" fmla="*/ 1092200 w 1231900"/>
                <a:gd name="connsiteY1" fmla="*/ 0 h 152400"/>
                <a:gd name="connsiteX2" fmla="*/ 0 w 1231900"/>
                <a:gd name="connsiteY2" fmla="*/ 6350 h 152400"/>
                <a:gd name="connsiteX3" fmla="*/ 6350 w 1231900"/>
                <a:gd name="connsiteY3" fmla="*/ 152400 h 152400"/>
                <a:gd name="connsiteX4" fmla="*/ 1231900 w 1231900"/>
                <a:gd name="connsiteY4" fmla="*/ 14605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1900" h="152400">
                  <a:moveTo>
                    <a:pt x="1231900" y="146050"/>
                  </a:moveTo>
                  <a:lnTo>
                    <a:pt x="1092200" y="0"/>
                  </a:lnTo>
                  <a:lnTo>
                    <a:pt x="0" y="6350"/>
                  </a:lnTo>
                  <a:lnTo>
                    <a:pt x="6350" y="152400"/>
                  </a:lnTo>
                  <a:lnTo>
                    <a:pt x="1231900" y="14605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13415" name="TextBox 71"/>
            <p:cNvSpPr txBox="1">
              <a:spLocks noChangeArrowheads="1"/>
            </p:cNvSpPr>
            <p:nvPr/>
          </p:nvSpPr>
          <p:spPr bwMode="auto">
            <a:xfrm>
              <a:off x="472701" y="5503282"/>
              <a:ext cx="1186432" cy="234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sz="800">
                  <a:solidFill>
                    <a:schemeClr val="bg1"/>
                  </a:solidFill>
                  <a:latin typeface="Calibri" pitchFamily="34" charset="0"/>
                </a:rPr>
                <a:t>Key milestones</a:t>
              </a:r>
            </a:p>
          </p:txBody>
        </p:sp>
      </p:grpSp>
      <p:grpSp>
        <p:nvGrpSpPr>
          <p:cNvPr id="13393" name="Group 437"/>
          <p:cNvGrpSpPr>
            <a:grpSpLocks/>
          </p:cNvGrpSpPr>
          <p:nvPr/>
        </p:nvGrpSpPr>
        <p:grpSpPr bwMode="auto">
          <a:xfrm>
            <a:off x="5832475" y="3014663"/>
            <a:ext cx="88900" cy="2635250"/>
            <a:chOff x="3622552" y="2261804"/>
            <a:chExt cx="97790" cy="2855164"/>
          </a:xfrm>
        </p:grpSpPr>
        <p:cxnSp>
          <p:nvCxnSpPr>
            <p:cNvPr id="439" name="Straight Connector 438"/>
            <p:cNvCxnSpPr>
              <a:endCxn id="440" idx="0"/>
            </p:cNvCxnSpPr>
            <p:nvPr/>
          </p:nvCxnSpPr>
          <p:spPr>
            <a:xfrm rot="16200000" flipH="1">
              <a:off x="2292885" y="3640366"/>
              <a:ext cx="2757125" cy="0"/>
            </a:xfrm>
            <a:prstGeom prst="line">
              <a:avLst/>
            </a:prstGeom>
            <a:ln w="12700" cap="flat" cmpd="sng" algn="ctr">
              <a:solidFill>
                <a:srgbClr val="80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40" name="Oval 439"/>
            <p:cNvSpPr>
              <a:spLocks noChangeArrowheads="1"/>
            </p:cNvSpPr>
            <p:nvPr/>
          </p:nvSpPr>
          <p:spPr bwMode="auto">
            <a:xfrm>
              <a:off x="3622552" y="5018929"/>
              <a:ext cx="97790" cy="98039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800000"/>
              </a:solidFill>
              <a:round/>
              <a:headEnd/>
              <a:tailEnd/>
            </a:ln>
            <a:effectLst>
              <a:outerShdw blurRad="40000" dist="127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US" sz="140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grpSp>
        <p:nvGrpSpPr>
          <p:cNvPr id="13394" name="Group 127"/>
          <p:cNvGrpSpPr>
            <a:grpSpLocks/>
          </p:cNvGrpSpPr>
          <p:nvPr/>
        </p:nvGrpSpPr>
        <p:grpSpPr bwMode="auto">
          <a:xfrm>
            <a:off x="5046663" y="3748088"/>
            <a:ext cx="1211262" cy="261937"/>
            <a:chOff x="3240127" y="1240498"/>
            <a:chExt cx="1312673" cy="476161"/>
          </a:xfrm>
        </p:grpSpPr>
        <p:sp>
          <p:nvSpPr>
            <p:cNvPr id="13408" name="Rounded Rectangle 128"/>
            <p:cNvSpPr>
              <a:spLocks noChangeArrowheads="1"/>
            </p:cNvSpPr>
            <p:nvPr/>
          </p:nvSpPr>
          <p:spPr bwMode="auto">
            <a:xfrm>
              <a:off x="3240127" y="1336485"/>
              <a:ext cx="1312673" cy="338620"/>
            </a:xfrm>
            <a:prstGeom prst="roundRect">
              <a:avLst>
                <a:gd name="adj" fmla="val 13278"/>
              </a:avLst>
            </a:prstGeom>
            <a:gradFill rotWithShape="1">
              <a:gsLst>
                <a:gs pos="0">
                  <a:srgbClr val="800000"/>
                </a:gs>
                <a:gs pos="100000">
                  <a:srgbClr val="FF0000"/>
                </a:gs>
              </a:gsLst>
              <a:lin ang="162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914400"/>
              <a:endParaRPr lang="en-US" sz="140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73" name="Rounded Rectangle 129"/>
            <p:cNvSpPr/>
            <p:nvPr/>
          </p:nvSpPr>
          <p:spPr>
            <a:xfrm>
              <a:off x="3286578" y="1376131"/>
              <a:ext cx="1202568" cy="176037"/>
            </a:xfrm>
            <a:prstGeom prst="roundRect">
              <a:avLst/>
            </a:prstGeom>
            <a:gradFill rotWithShape="1">
              <a:gsLst>
                <a:gs pos="0">
                  <a:srgbClr val="E6E6E6">
                    <a:tint val="100000"/>
                    <a:shade val="100000"/>
                    <a:satMod val="130000"/>
                    <a:alpha val="15000"/>
                  </a:srgb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400">
                <a:defRPr/>
              </a:pPr>
              <a:endParaRPr lang="en-US" sz="140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3410" name="Tekstboks 23"/>
            <p:cNvSpPr txBox="1">
              <a:spLocks noChangeArrowheads="1"/>
            </p:cNvSpPr>
            <p:nvPr/>
          </p:nvSpPr>
          <p:spPr bwMode="auto">
            <a:xfrm>
              <a:off x="3255610" y="1240498"/>
              <a:ext cx="1297190" cy="4761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algn="ctr">
                <a:defRPr/>
              </a:pPr>
              <a:r>
                <a:rPr lang="en-GB" sz="1050" smtClean="0">
                  <a:solidFill>
                    <a:srgbClr val="FFFFFF"/>
                  </a:solidFill>
                </a:rPr>
                <a:t>Text</a:t>
              </a:r>
            </a:p>
          </p:txBody>
        </p:sp>
      </p:grpSp>
      <p:grpSp>
        <p:nvGrpSpPr>
          <p:cNvPr id="13395" name="Group 86"/>
          <p:cNvGrpSpPr>
            <a:grpSpLocks/>
          </p:cNvGrpSpPr>
          <p:nvPr/>
        </p:nvGrpSpPr>
        <p:grpSpPr bwMode="auto">
          <a:xfrm>
            <a:off x="5578475" y="4011613"/>
            <a:ext cx="1282700" cy="261937"/>
            <a:chOff x="3240127" y="1240495"/>
            <a:chExt cx="1390625" cy="476162"/>
          </a:xfrm>
        </p:grpSpPr>
        <p:sp>
          <p:nvSpPr>
            <p:cNvPr id="168" name="Rounded Rectangle 87"/>
            <p:cNvSpPr/>
            <p:nvPr/>
          </p:nvSpPr>
          <p:spPr>
            <a:xfrm>
              <a:off x="3240127" y="1335727"/>
              <a:ext cx="1390625" cy="346300"/>
            </a:xfrm>
            <a:prstGeom prst="roundRect">
              <a:avLst>
                <a:gd name="adj" fmla="val 13277"/>
              </a:avLst>
            </a:prstGeom>
            <a:gradFill rotWithShape="1">
              <a:gsLst>
                <a:gs pos="0">
                  <a:schemeClr val="tx1"/>
                </a:gs>
                <a:gs pos="100000">
                  <a:schemeClr val="tx1">
                    <a:lumMod val="85000"/>
                    <a:lumOff val="15000"/>
                  </a:scheme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400">
                <a:defRPr/>
              </a:pPr>
              <a:endParaRPr lang="en-US" sz="140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3406" name="Rounded Rectangle 88"/>
            <p:cNvSpPr>
              <a:spLocks noChangeArrowheads="1"/>
            </p:cNvSpPr>
            <p:nvPr/>
          </p:nvSpPr>
          <p:spPr bwMode="auto">
            <a:xfrm>
              <a:off x="3286163" y="1376476"/>
              <a:ext cx="1311251" cy="135983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E6E6E6">
                    <a:alpha val="14998"/>
                  </a:srgbClr>
                </a:gs>
                <a:gs pos="100000">
                  <a:srgbClr val="7F7F7F"/>
                </a:gs>
              </a:gsLst>
              <a:lin ang="162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914400"/>
              <a:endParaRPr lang="en-US" sz="140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3407" name="Tekstboks 23"/>
            <p:cNvSpPr txBox="1">
              <a:spLocks noChangeArrowheads="1"/>
            </p:cNvSpPr>
            <p:nvPr/>
          </p:nvSpPr>
          <p:spPr bwMode="auto">
            <a:xfrm>
              <a:off x="3255617" y="1240495"/>
              <a:ext cx="1375135" cy="476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algn="ctr">
                <a:defRPr/>
              </a:pPr>
              <a:r>
                <a:rPr lang="en-GB" sz="1050" smtClean="0">
                  <a:solidFill>
                    <a:srgbClr val="FFFFFF"/>
                  </a:solidFill>
                </a:rPr>
                <a:t>Text</a:t>
              </a:r>
            </a:p>
          </p:txBody>
        </p:sp>
      </p:grpSp>
      <p:grpSp>
        <p:nvGrpSpPr>
          <p:cNvPr id="13396" name="Group 58"/>
          <p:cNvGrpSpPr>
            <a:grpSpLocks/>
          </p:cNvGrpSpPr>
          <p:nvPr/>
        </p:nvGrpSpPr>
        <p:grpSpPr bwMode="auto">
          <a:xfrm>
            <a:off x="4254500" y="5010150"/>
            <a:ext cx="4044950" cy="261938"/>
            <a:chOff x="3240127" y="1240495"/>
            <a:chExt cx="2474873" cy="478899"/>
          </a:xfrm>
        </p:grpSpPr>
        <p:sp>
          <p:nvSpPr>
            <p:cNvPr id="60" name="Rounded Rectangle 59"/>
            <p:cNvSpPr/>
            <p:nvPr/>
          </p:nvSpPr>
          <p:spPr>
            <a:xfrm>
              <a:off x="3240127" y="1336276"/>
              <a:ext cx="2457390" cy="342485"/>
            </a:xfrm>
            <a:prstGeom prst="roundRect">
              <a:avLst>
                <a:gd name="adj" fmla="val 13277"/>
              </a:avLst>
            </a:prstGeom>
            <a:gradFill rotWithShape="1">
              <a:gsLst>
                <a:gs pos="0">
                  <a:schemeClr val="tx1"/>
                </a:gs>
                <a:gs pos="100000">
                  <a:schemeClr val="tx1">
                    <a:lumMod val="85000"/>
                    <a:lumOff val="15000"/>
                  </a:scheme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400">
                <a:defRPr/>
              </a:pPr>
              <a:endParaRPr lang="en-US" sz="140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3403" name="Rounded Rectangle 60"/>
            <p:cNvSpPr>
              <a:spLocks noChangeArrowheads="1"/>
            </p:cNvSpPr>
            <p:nvPr/>
          </p:nvSpPr>
          <p:spPr bwMode="auto">
            <a:xfrm>
              <a:off x="3262536" y="1374576"/>
              <a:ext cx="2404957" cy="155534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E6E6E6">
                    <a:alpha val="14998"/>
                  </a:srgbClr>
                </a:gs>
                <a:gs pos="100000">
                  <a:srgbClr val="7F7F7F"/>
                </a:gs>
              </a:gsLst>
              <a:lin ang="162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914400"/>
              <a:endParaRPr lang="en-US" sz="140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sp>
          <p:nvSpPr>
            <p:cNvPr id="13404" name="Tekstboks 23"/>
            <p:cNvSpPr txBox="1">
              <a:spLocks noChangeArrowheads="1"/>
            </p:cNvSpPr>
            <p:nvPr/>
          </p:nvSpPr>
          <p:spPr bwMode="auto">
            <a:xfrm>
              <a:off x="3254697" y="1240495"/>
              <a:ext cx="2460303" cy="4788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algn="ctr">
                <a:defRPr/>
              </a:pPr>
              <a:r>
                <a:rPr lang="en-GB" sz="1050" smtClean="0">
                  <a:solidFill>
                    <a:srgbClr val="FFFFFF"/>
                  </a:solidFill>
                </a:rPr>
                <a:t>Text</a:t>
              </a:r>
            </a:p>
          </p:txBody>
        </p:sp>
      </p:grpSp>
      <p:grpSp>
        <p:nvGrpSpPr>
          <p:cNvPr id="117" name="Gruppe 98"/>
          <p:cNvGrpSpPr/>
          <p:nvPr/>
        </p:nvGrpSpPr>
        <p:grpSpPr bwMode="auto">
          <a:xfrm rot="20213996" flipH="1">
            <a:off x="2229358" y="1932659"/>
            <a:ext cx="62323" cy="1023715"/>
            <a:chOff x="1500166" y="1857364"/>
            <a:chExt cx="500066" cy="8215346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grpSpPr>
        <p:sp>
          <p:nvSpPr>
            <p:cNvPr id="453" name="Ligebenet trekant 77"/>
            <p:cNvSpPr/>
            <p:nvPr/>
          </p:nvSpPr>
          <p:spPr>
            <a:xfrm>
              <a:off x="1500166" y="1928802"/>
              <a:ext cx="500066" cy="1071570"/>
            </a:xfrm>
            <a:prstGeom prst="triangle">
              <a:avLst/>
            </a:prstGeom>
            <a:gradFill>
              <a:gsLst>
                <a:gs pos="30000">
                  <a:srgbClr val="C7AC4C"/>
                </a:gs>
                <a:gs pos="60000">
                  <a:srgbClr val="E6D78A"/>
                </a:gs>
                <a:gs pos="100000">
                  <a:srgbClr val="E6DCAC"/>
                </a:gs>
              </a:gsLst>
              <a:lin ang="21594000" scaled="0"/>
            </a:gradFill>
            <a:ln w="3175" cap="flat" cmpd="sng" algn="ctr">
              <a:solidFill>
                <a:srgbClr val="EEECE1">
                  <a:lumMod val="75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400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454" name="Ligebenet trekant 74"/>
            <p:cNvSpPr/>
            <p:nvPr/>
          </p:nvSpPr>
          <p:spPr>
            <a:xfrm>
              <a:off x="1678761" y="1857364"/>
              <a:ext cx="142876" cy="357190"/>
            </a:xfrm>
            <a:prstGeom prst="triangle">
              <a:avLst/>
            </a:prstGeom>
            <a:gradFill>
              <a:gsLst>
                <a:gs pos="0">
                  <a:sysClr val="windowText" lastClr="000000">
                    <a:alpha val="0"/>
                  </a:sysClr>
                </a:gs>
                <a:gs pos="7001">
                  <a:sysClr val="windowText" lastClr="000000"/>
                </a:gs>
                <a:gs pos="32001">
                  <a:sysClr val="windowText" lastClr="000000">
                    <a:alpha val="89000"/>
                  </a:sysClr>
                </a:gs>
                <a:gs pos="85000">
                  <a:sysClr val="windowText" lastClr="000000">
                    <a:lumMod val="50000"/>
                    <a:lumOff val="50000"/>
                    <a:alpha val="69000"/>
                  </a:sysClr>
                </a:gs>
                <a:gs pos="85001">
                  <a:sysClr val="windowText" lastClr="000000"/>
                </a:gs>
                <a:gs pos="100000">
                  <a:sysClr val="windowText" lastClr="000000"/>
                </a:gs>
              </a:gsLst>
              <a:lin ang="16200000" scaled="0"/>
            </a:gradFill>
            <a:ln w="3175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400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grpSp>
          <p:nvGrpSpPr>
            <p:cNvPr id="123" name="Gruppe 96"/>
            <p:cNvGrpSpPr/>
            <p:nvPr/>
          </p:nvGrpSpPr>
          <p:grpSpPr>
            <a:xfrm>
              <a:off x="1500166" y="3000372"/>
              <a:ext cx="500066" cy="7072338"/>
              <a:chOff x="1500166" y="3000372"/>
              <a:chExt cx="500066" cy="3857628"/>
            </a:xfrm>
          </p:grpSpPr>
          <p:sp>
            <p:nvSpPr>
              <p:cNvPr id="456" name="Rektangel 84"/>
              <p:cNvSpPr/>
              <p:nvPr/>
            </p:nvSpPr>
            <p:spPr>
              <a:xfrm>
                <a:off x="1857356" y="3000372"/>
                <a:ext cx="142876" cy="3857628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400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57" name="Rektangel 87"/>
              <p:cNvSpPr/>
              <p:nvPr/>
            </p:nvSpPr>
            <p:spPr>
              <a:xfrm>
                <a:off x="1643042" y="3000372"/>
                <a:ext cx="214314" cy="3857628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400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58" name="Rektangel 95"/>
              <p:cNvSpPr/>
              <p:nvPr/>
            </p:nvSpPr>
            <p:spPr>
              <a:xfrm>
                <a:off x="1500166" y="3000372"/>
                <a:ext cx="142876" cy="3857628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400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59" name="Rektangel 92"/>
              <p:cNvSpPr/>
              <p:nvPr/>
            </p:nvSpPr>
            <p:spPr>
              <a:xfrm>
                <a:off x="1571604" y="3000372"/>
                <a:ext cx="142876" cy="3857628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400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</p:grpSp>
      </p:grpSp>
      <p:sp>
        <p:nvSpPr>
          <p:cNvPr id="269" name="TextBox 110"/>
          <p:cNvSpPr txBox="1">
            <a:spLocks noChangeArrowheads="1"/>
          </p:cNvSpPr>
          <p:nvPr/>
        </p:nvSpPr>
        <p:spPr bwMode="auto">
          <a:xfrm>
            <a:off x="4297363" y="2382838"/>
            <a:ext cx="369887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>
              <a:defRPr/>
            </a:pPr>
            <a:r>
              <a:rPr lang="nb-NO" sz="1050" dirty="0" smtClean="0">
                <a:solidFill>
                  <a:srgbClr val="FFFFFF"/>
                </a:solidFill>
              </a:rPr>
              <a:t>17</a:t>
            </a:r>
          </a:p>
        </p:txBody>
      </p:sp>
      <p:sp>
        <p:nvSpPr>
          <p:cNvPr id="19" name="Subtitle 1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Replace This Text</a:t>
            </a:r>
            <a:endParaRPr lang="en-US" dirty="0"/>
          </a:p>
        </p:txBody>
      </p:sp>
      <p:sp>
        <p:nvSpPr>
          <p:cNvPr id="270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03B7BCE-E6D4-451E-978D-BF54984392A0}" type="slidenum">
              <a:rPr lang="en-US" smtClean="0"/>
              <a:pPr>
                <a:defRPr/>
              </a:pPr>
              <a:t>6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ANTT CHART MONTHS</a:t>
            </a:r>
            <a:endParaRPr lang="en-US" dirty="0"/>
          </a:p>
        </p:txBody>
      </p:sp>
      <p:sp>
        <p:nvSpPr>
          <p:cNvPr id="27" name="Date Placeholder 2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29" name="Footer Placeholder 2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8449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49868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Replace this </a:t>
            </a:r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11E9-EA40-D54F-953A-82A4C72DAAAD}" type="slidenum">
              <a:rPr lang="en-US" smtClean="0"/>
              <a:t>7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CRUM </a:t>
            </a:r>
            <a:r>
              <a:rPr lang="en-US" dirty="0" smtClean="0"/>
              <a:t>PROCESS</a:t>
            </a:r>
            <a:endParaRPr lang="en-US" dirty="0"/>
          </a:p>
        </p:txBody>
      </p:sp>
      <p:sp>
        <p:nvSpPr>
          <p:cNvPr id="51" name="Ellipse 17"/>
          <p:cNvSpPr/>
          <p:nvPr/>
        </p:nvSpPr>
        <p:spPr bwMode="auto">
          <a:xfrm>
            <a:off x="2806789" y="5508011"/>
            <a:ext cx="2267543" cy="406951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22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 err="1">
              <a:solidFill>
                <a:sysClr val="window" lastClr="FFFFFF"/>
              </a:solidFill>
              <a:latin typeface="Calibri"/>
              <a:ea typeface="+mn-ea"/>
            </a:endParaRPr>
          </a:p>
        </p:txBody>
      </p:sp>
      <p:grpSp>
        <p:nvGrpSpPr>
          <p:cNvPr id="44" name="Gruppe 48"/>
          <p:cNvGrpSpPr>
            <a:grpSpLocks/>
          </p:cNvGrpSpPr>
          <p:nvPr/>
        </p:nvGrpSpPr>
        <p:grpSpPr bwMode="auto">
          <a:xfrm>
            <a:off x="6223099" y="2861933"/>
            <a:ext cx="2373312" cy="2302554"/>
            <a:chOff x="5491572" y="4011850"/>
            <a:chExt cx="2334448" cy="2263743"/>
          </a:xfrm>
        </p:grpSpPr>
        <p:sp>
          <p:nvSpPr>
            <p:cNvPr id="45" name="Freeform 9"/>
            <p:cNvSpPr>
              <a:spLocks/>
            </p:cNvSpPr>
            <p:nvPr/>
          </p:nvSpPr>
          <p:spPr bwMode="gray">
            <a:xfrm rot="15156672" flipH="1">
              <a:off x="5741698" y="5363296"/>
              <a:ext cx="956016" cy="847517"/>
            </a:xfrm>
            <a:custGeom>
              <a:avLst/>
              <a:gdLst>
                <a:gd name="T0" fmla="*/ 0 w 213"/>
                <a:gd name="T1" fmla="*/ 0 h 189"/>
                <a:gd name="T2" fmla="*/ 0 w 213"/>
                <a:gd name="T3" fmla="*/ 502745 h 189"/>
                <a:gd name="T4" fmla="*/ 480221 w 213"/>
                <a:gd name="T5" fmla="*/ 848382 h 189"/>
                <a:gd name="T6" fmla="*/ 955953 w 213"/>
                <a:gd name="T7" fmla="*/ 695763 h 189"/>
                <a:gd name="T8" fmla="*/ 0 w 213"/>
                <a:gd name="T9" fmla="*/ 0 h 18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3"/>
                <a:gd name="T16" fmla="*/ 0 h 189"/>
                <a:gd name="T17" fmla="*/ 213 w 213"/>
                <a:gd name="T18" fmla="*/ 189 h 18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3" h="189">
                  <a:moveTo>
                    <a:pt x="0" y="0"/>
                  </a:moveTo>
                  <a:cubicBezTo>
                    <a:pt x="0" y="112"/>
                    <a:pt x="0" y="112"/>
                    <a:pt x="0" y="112"/>
                  </a:cubicBezTo>
                  <a:cubicBezTo>
                    <a:pt x="49" y="114"/>
                    <a:pt x="90" y="146"/>
                    <a:pt x="107" y="189"/>
                  </a:cubicBezTo>
                  <a:cubicBezTo>
                    <a:pt x="213" y="155"/>
                    <a:pt x="213" y="155"/>
                    <a:pt x="213" y="155"/>
                  </a:cubicBezTo>
                  <a:cubicBezTo>
                    <a:pt x="181" y="67"/>
                    <a:pt x="98" y="3"/>
                    <a:pt x="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D9D9D9"/>
                </a:gs>
                <a:gs pos="100000">
                  <a:srgbClr val="BFBFBF"/>
                </a:gs>
              </a:gsLst>
              <a:lin ang="5400000" scaled="1"/>
            </a:gradFill>
            <a:ln w="3175">
              <a:solidFill>
                <a:srgbClr val="CFCFCF"/>
              </a:solidFill>
              <a:round/>
              <a:headEnd/>
              <a:tailEnd/>
            </a:ln>
            <a:effectLst>
              <a:outerShdw blurRad="63500" dist="38100" dir="5400000" algn="t" rotWithShape="0">
                <a:srgbClr val="000000">
                  <a:alpha val="39998"/>
                </a:srgb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6" name="Freeform 11"/>
            <p:cNvSpPr>
              <a:spLocks/>
            </p:cNvSpPr>
            <p:nvPr/>
          </p:nvSpPr>
          <p:spPr bwMode="gray">
            <a:xfrm rot="15156672" flipH="1">
              <a:off x="5437928" y="4389002"/>
              <a:ext cx="956016" cy="848728"/>
            </a:xfrm>
            <a:custGeom>
              <a:avLst/>
              <a:gdLst>
                <a:gd name="T0" fmla="*/ 955954 w 213"/>
                <a:gd name="T1" fmla="*/ 502745 h 189"/>
                <a:gd name="T2" fmla="*/ 955954 w 213"/>
                <a:gd name="T3" fmla="*/ 0 h 189"/>
                <a:gd name="T4" fmla="*/ 0 w 213"/>
                <a:gd name="T5" fmla="*/ 695763 h 189"/>
                <a:gd name="T6" fmla="*/ 471245 w 213"/>
                <a:gd name="T7" fmla="*/ 848382 h 189"/>
                <a:gd name="T8" fmla="*/ 955954 w 213"/>
                <a:gd name="T9" fmla="*/ 502745 h 18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3"/>
                <a:gd name="T16" fmla="*/ 0 h 189"/>
                <a:gd name="T17" fmla="*/ 213 w 213"/>
                <a:gd name="T18" fmla="*/ 189 h 18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3" h="189">
                  <a:moveTo>
                    <a:pt x="213" y="112"/>
                  </a:moveTo>
                  <a:cubicBezTo>
                    <a:pt x="213" y="0"/>
                    <a:pt x="213" y="0"/>
                    <a:pt x="213" y="0"/>
                  </a:cubicBezTo>
                  <a:cubicBezTo>
                    <a:pt x="114" y="3"/>
                    <a:pt x="31" y="67"/>
                    <a:pt x="0" y="155"/>
                  </a:cubicBezTo>
                  <a:cubicBezTo>
                    <a:pt x="105" y="189"/>
                    <a:pt x="105" y="189"/>
                    <a:pt x="105" y="189"/>
                  </a:cubicBezTo>
                  <a:cubicBezTo>
                    <a:pt x="123" y="146"/>
                    <a:pt x="164" y="114"/>
                    <a:pt x="213" y="112"/>
                  </a:cubicBezTo>
                  <a:close/>
                </a:path>
              </a:pathLst>
            </a:custGeom>
            <a:gradFill rotWithShape="1">
              <a:gsLst>
                <a:gs pos="0">
                  <a:srgbClr val="D9D9D9"/>
                </a:gs>
                <a:gs pos="100000">
                  <a:srgbClr val="BFBFBF"/>
                </a:gs>
              </a:gsLst>
              <a:lin ang="5400000" scaled="1"/>
            </a:gradFill>
            <a:ln w="3175">
              <a:solidFill>
                <a:srgbClr val="CFCFCF"/>
              </a:solidFill>
              <a:round/>
              <a:headEnd/>
              <a:tailEnd/>
            </a:ln>
            <a:effectLst>
              <a:outerShdw blurRad="63500" dist="38100" dir="5400000" algn="t" rotWithShape="0">
                <a:srgbClr val="000000">
                  <a:alpha val="39998"/>
                </a:srgb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7" name="Freeform 12"/>
            <p:cNvSpPr>
              <a:spLocks/>
            </p:cNvSpPr>
            <p:nvPr/>
          </p:nvSpPr>
          <p:spPr bwMode="gray">
            <a:xfrm rot="15156672" flipH="1">
              <a:off x="6363502" y="3800405"/>
              <a:ext cx="699465" cy="1122355"/>
            </a:xfrm>
            <a:custGeom>
              <a:avLst/>
              <a:gdLst>
                <a:gd name="T0" fmla="*/ 498077 w 156"/>
                <a:gd name="T1" fmla="*/ 291943 h 250"/>
                <a:gd name="T2" fmla="*/ 516026 w 156"/>
                <a:gd name="T3" fmla="*/ 152709 h 250"/>
                <a:gd name="T4" fmla="*/ 40385 w 156"/>
                <a:gd name="T5" fmla="*/ 0 h 250"/>
                <a:gd name="T6" fmla="*/ 0 w 156"/>
                <a:gd name="T7" fmla="*/ 291943 h 250"/>
                <a:gd name="T8" fmla="*/ 403846 w 156"/>
                <a:gd name="T9" fmla="*/ 1122857 h 250"/>
                <a:gd name="T10" fmla="*/ 700000 w 156"/>
                <a:gd name="T11" fmla="*/ 718628 h 250"/>
                <a:gd name="T12" fmla="*/ 498077 w 156"/>
                <a:gd name="T13" fmla="*/ 291943 h 25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6"/>
                <a:gd name="T22" fmla="*/ 0 h 250"/>
                <a:gd name="T23" fmla="*/ 156 w 156"/>
                <a:gd name="T24" fmla="*/ 250 h 25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6" h="250">
                  <a:moveTo>
                    <a:pt x="111" y="65"/>
                  </a:moveTo>
                  <a:cubicBezTo>
                    <a:pt x="111" y="55"/>
                    <a:pt x="112" y="44"/>
                    <a:pt x="115" y="34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3" y="20"/>
                    <a:pt x="0" y="43"/>
                    <a:pt x="0" y="65"/>
                  </a:cubicBezTo>
                  <a:cubicBezTo>
                    <a:pt x="0" y="141"/>
                    <a:pt x="35" y="208"/>
                    <a:pt x="90" y="250"/>
                  </a:cubicBezTo>
                  <a:cubicBezTo>
                    <a:pt x="156" y="160"/>
                    <a:pt x="156" y="160"/>
                    <a:pt x="156" y="160"/>
                  </a:cubicBezTo>
                  <a:cubicBezTo>
                    <a:pt x="128" y="138"/>
                    <a:pt x="111" y="104"/>
                    <a:pt x="111" y="65"/>
                  </a:cubicBezTo>
                  <a:close/>
                </a:path>
              </a:pathLst>
            </a:custGeom>
            <a:gradFill rotWithShape="1">
              <a:gsLst>
                <a:gs pos="0">
                  <a:srgbClr val="D9D9D9"/>
                </a:gs>
                <a:gs pos="100000">
                  <a:srgbClr val="BFBFBF"/>
                </a:gs>
              </a:gsLst>
              <a:lin ang="5400000" scaled="1"/>
            </a:gradFill>
            <a:ln w="3175">
              <a:solidFill>
                <a:srgbClr val="CFCFCF"/>
              </a:solidFill>
              <a:round/>
              <a:headEnd/>
              <a:tailEnd/>
            </a:ln>
            <a:effectLst>
              <a:outerShdw blurRad="63500" dist="38100" dir="5400000" algn="t" rotWithShape="0">
                <a:srgbClr val="000000">
                  <a:alpha val="39998"/>
                </a:srgb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grpSp>
          <p:nvGrpSpPr>
            <p:cNvPr id="48" name="Gruppe 47"/>
            <p:cNvGrpSpPr>
              <a:grpSpLocks/>
            </p:cNvGrpSpPr>
            <p:nvPr/>
          </p:nvGrpSpPr>
          <p:grpSpPr bwMode="auto">
            <a:xfrm rot="12970746">
              <a:off x="6672817" y="4345802"/>
              <a:ext cx="1153203" cy="1929791"/>
              <a:chOff x="5644117" y="4488678"/>
              <a:chExt cx="1153203" cy="1929791"/>
            </a:xfrm>
          </p:grpSpPr>
          <p:sp>
            <p:nvSpPr>
              <p:cNvPr id="49" name="Freeform 9"/>
              <p:cNvSpPr>
                <a:spLocks/>
              </p:cNvSpPr>
              <p:nvPr/>
            </p:nvSpPr>
            <p:spPr bwMode="gray">
              <a:xfrm rot="15156672" flipH="1">
                <a:off x="5896647" y="5516134"/>
                <a:ext cx="956016" cy="847517"/>
              </a:xfrm>
              <a:custGeom>
                <a:avLst/>
                <a:gdLst>
                  <a:gd name="T0" fmla="*/ 0 w 213"/>
                  <a:gd name="T1" fmla="*/ 0 h 189"/>
                  <a:gd name="T2" fmla="*/ 0 w 213"/>
                  <a:gd name="T3" fmla="*/ 502745 h 189"/>
                  <a:gd name="T4" fmla="*/ 480221 w 213"/>
                  <a:gd name="T5" fmla="*/ 848382 h 189"/>
                  <a:gd name="T6" fmla="*/ 955953 w 213"/>
                  <a:gd name="T7" fmla="*/ 695763 h 189"/>
                  <a:gd name="T8" fmla="*/ 0 w 213"/>
                  <a:gd name="T9" fmla="*/ 0 h 18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3"/>
                  <a:gd name="T16" fmla="*/ 0 h 189"/>
                  <a:gd name="T17" fmla="*/ 213 w 213"/>
                  <a:gd name="T18" fmla="*/ 189 h 18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3" h="189">
                    <a:moveTo>
                      <a:pt x="0" y="0"/>
                    </a:moveTo>
                    <a:cubicBezTo>
                      <a:pt x="0" y="112"/>
                      <a:pt x="0" y="112"/>
                      <a:pt x="0" y="112"/>
                    </a:cubicBezTo>
                    <a:cubicBezTo>
                      <a:pt x="49" y="114"/>
                      <a:pt x="90" y="146"/>
                      <a:pt x="107" y="189"/>
                    </a:cubicBezTo>
                    <a:cubicBezTo>
                      <a:pt x="213" y="155"/>
                      <a:pt x="213" y="155"/>
                      <a:pt x="213" y="155"/>
                    </a:cubicBezTo>
                    <a:cubicBezTo>
                      <a:pt x="181" y="67"/>
                      <a:pt x="98" y="3"/>
                      <a:pt x="0" y="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D9D9D9"/>
                  </a:gs>
                  <a:gs pos="100000">
                    <a:srgbClr val="BFBFBF"/>
                  </a:gs>
                </a:gsLst>
                <a:lin ang="5400000" scaled="1"/>
              </a:gradFill>
              <a:ln w="3175">
                <a:solidFill>
                  <a:srgbClr val="CFCFCF"/>
                </a:solidFill>
                <a:round/>
                <a:headEnd/>
                <a:tailEnd/>
              </a:ln>
              <a:effectLst>
                <a:outerShdw blurRad="63500" dist="38100" dir="5400000" algn="t" rotWithShape="0">
                  <a:srgbClr val="000000">
                    <a:alpha val="39998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50" name="Freeform 49"/>
              <p:cNvSpPr>
                <a:spLocks/>
              </p:cNvSpPr>
              <p:nvPr/>
            </p:nvSpPr>
            <p:spPr bwMode="gray">
              <a:xfrm rot="15156672" flipH="1">
                <a:off x="5591524" y="4542797"/>
                <a:ext cx="956016" cy="847517"/>
              </a:xfrm>
              <a:custGeom>
                <a:avLst/>
                <a:gdLst>
                  <a:gd name="T0" fmla="*/ 955954 w 213"/>
                  <a:gd name="T1" fmla="*/ 502745 h 189"/>
                  <a:gd name="T2" fmla="*/ 955954 w 213"/>
                  <a:gd name="T3" fmla="*/ 0 h 189"/>
                  <a:gd name="T4" fmla="*/ 0 w 213"/>
                  <a:gd name="T5" fmla="*/ 695763 h 189"/>
                  <a:gd name="T6" fmla="*/ 471245 w 213"/>
                  <a:gd name="T7" fmla="*/ 848382 h 189"/>
                  <a:gd name="T8" fmla="*/ 955954 w 213"/>
                  <a:gd name="T9" fmla="*/ 502745 h 18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3"/>
                  <a:gd name="T16" fmla="*/ 0 h 189"/>
                  <a:gd name="T17" fmla="*/ 213 w 213"/>
                  <a:gd name="T18" fmla="*/ 189 h 18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3" h="189">
                    <a:moveTo>
                      <a:pt x="213" y="112"/>
                    </a:moveTo>
                    <a:cubicBezTo>
                      <a:pt x="213" y="0"/>
                      <a:pt x="213" y="0"/>
                      <a:pt x="213" y="0"/>
                    </a:cubicBezTo>
                    <a:cubicBezTo>
                      <a:pt x="114" y="3"/>
                      <a:pt x="31" y="67"/>
                      <a:pt x="0" y="155"/>
                    </a:cubicBezTo>
                    <a:cubicBezTo>
                      <a:pt x="105" y="189"/>
                      <a:pt x="105" y="189"/>
                      <a:pt x="105" y="189"/>
                    </a:cubicBezTo>
                    <a:cubicBezTo>
                      <a:pt x="123" y="146"/>
                      <a:pt x="164" y="114"/>
                      <a:pt x="213" y="112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D9D9D9"/>
                  </a:gs>
                  <a:gs pos="100000">
                    <a:srgbClr val="BFBFBF"/>
                  </a:gs>
                </a:gsLst>
                <a:lin ang="5400000" scaled="1"/>
              </a:gradFill>
              <a:ln w="3175">
                <a:solidFill>
                  <a:srgbClr val="CFCFCF"/>
                </a:solidFill>
                <a:round/>
                <a:headEnd/>
                <a:tailEnd/>
              </a:ln>
              <a:effectLst>
                <a:outerShdw blurRad="63500" dist="38100" dir="5400000" algn="t" rotWithShape="0">
                  <a:srgbClr val="000000">
                    <a:alpha val="39998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</p:grpSp>
      </p:grpSp>
      <p:grpSp>
        <p:nvGrpSpPr>
          <p:cNvPr id="9" name="Group 8"/>
          <p:cNvGrpSpPr/>
          <p:nvPr/>
        </p:nvGrpSpPr>
        <p:grpSpPr>
          <a:xfrm>
            <a:off x="6961104" y="3582059"/>
            <a:ext cx="900236" cy="836620"/>
            <a:chOff x="6849344" y="3005479"/>
            <a:chExt cx="900236" cy="836620"/>
          </a:xfrm>
        </p:grpSpPr>
        <p:sp>
          <p:nvSpPr>
            <p:cNvPr id="43" name="Ellipse 247"/>
            <p:cNvSpPr>
              <a:spLocks noChangeArrowheads="1"/>
            </p:cNvSpPr>
            <p:nvPr/>
          </p:nvSpPr>
          <p:spPr bwMode="auto">
            <a:xfrm>
              <a:off x="6881152" y="3005479"/>
              <a:ext cx="836620" cy="836620"/>
            </a:xfrm>
            <a:prstGeom prst="ellipse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rgbClr val="95B3D7"/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63500" dist="38100" dir="2700000" algn="tl" rotWithShape="0">
                <a:srgbClr val="000000">
                  <a:alpha val="39999"/>
                </a:srgbClr>
              </a:outerShdw>
            </a:effectLst>
            <a:ex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54" name="Tekstboks 49"/>
            <p:cNvSpPr txBox="1">
              <a:spLocks noChangeArrowheads="1"/>
            </p:cNvSpPr>
            <p:nvPr/>
          </p:nvSpPr>
          <p:spPr bwMode="auto">
            <a:xfrm>
              <a:off x="6849344" y="3186271"/>
              <a:ext cx="900236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r>
                <a:rPr lang="da-DK" sz="1000" b="1" dirty="0">
                  <a:solidFill>
                    <a:schemeClr val="bg1"/>
                  </a:solidFill>
                </a:rPr>
                <a:t>SCRUM ROLES</a:t>
              </a:r>
            </a:p>
          </p:txBody>
        </p:sp>
      </p:grpSp>
      <p:sp>
        <p:nvSpPr>
          <p:cNvPr id="64" name="Tekstboks 59"/>
          <p:cNvSpPr txBox="1">
            <a:spLocks noChangeArrowheads="1"/>
          </p:cNvSpPr>
          <p:nvPr/>
        </p:nvSpPr>
        <p:spPr bwMode="auto">
          <a:xfrm>
            <a:off x="6367151" y="3643564"/>
            <a:ext cx="775450" cy="391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da-DK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duct owner</a:t>
            </a:r>
          </a:p>
        </p:txBody>
      </p:sp>
      <p:sp>
        <p:nvSpPr>
          <p:cNvPr id="65" name="Tekstboks 60"/>
          <p:cNvSpPr txBox="1">
            <a:spLocks noChangeArrowheads="1"/>
          </p:cNvSpPr>
          <p:nvPr/>
        </p:nvSpPr>
        <p:spPr bwMode="auto">
          <a:xfrm>
            <a:off x="7022859" y="3033808"/>
            <a:ext cx="800971" cy="387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da-DK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crum master</a:t>
            </a:r>
          </a:p>
        </p:txBody>
      </p:sp>
      <p:sp>
        <p:nvSpPr>
          <p:cNvPr id="66" name="Tekstboks 61"/>
          <p:cNvSpPr txBox="1">
            <a:spLocks noChangeArrowheads="1"/>
          </p:cNvSpPr>
          <p:nvPr/>
        </p:nvSpPr>
        <p:spPr bwMode="auto">
          <a:xfrm>
            <a:off x="7796052" y="3662607"/>
            <a:ext cx="838205" cy="388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da-DK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am members</a:t>
            </a:r>
          </a:p>
        </p:txBody>
      </p:sp>
      <p:sp>
        <p:nvSpPr>
          <p:cNvPr id="67" name="Tekstboks 62"/>
          <p:cNvSpPr txBox="1">
            <a:spLocks noChangeArrowheads="1"/>
          </p:cNvSpPr>
          <p:nvPr/>
        </p:nvSpPr>
        <p:spPr bwMode="auto">
          <a:xfrm>
            <a:off x="7366597" y="4502727"/>
            <a:ext cx="93238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da-DK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take</a:t>
            </a:r>
          </a:p>
          <a:p>
            <a:pPr algn="ctr" eaLnBrk="1" hangingPunct="1"/>
            <a:r>
              <a:rPr lang="da-DK" sz="1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holders</a:t>
            </a:r>
            <a:endParaRPr lang="da-DK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8" name="Tekstboks 63"/>
          <p:cNvSpPr txBox="1">
            <a:spLocks noChangeArrowheads="1"/>
          </p:cNvSpPr>
          <p:nvPr/>
        </p:nvSpPr>
        <p:spPr bwMode="auto">
          <a:xfrm>
            <a:off x="6741469" y="4596641"/>
            <a:ext cx="51658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a-DK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sers</a:t>
            </a:r>
          </a:p>
        </p:txBody>
      </p:sp>
      <p:grpSp>
        <p:nvGrpSpPr>
          <p:cNvPr id="69" name="Gruppe 96"/>
          <p:cNvGrpSpPr>
            <a:grpSpLocks/>
          </p:cNvGrpSpPr>
          <p:nvPr/>
        </p:nvGrpSpPr>
        <p:grpSpPr bwMode="auto">
          <a:xfrm>
            <a:off x="7548994" y="3994693"/>
            <a:ext cx="575337" cy="537486"/>
            <a:chOff x="244475" y="4560889"/>
            <a:chExt cx="2197101" cy="2051050"/>
          </a:xfrm>
        </p:grpSpPr>
        <p:grpSp>
          <p:nvGrpSpPr>
            <p:cNvPr id="70" name="Gruppe 92"/>
            <p:cNvGrpSpPr>
              <a:grpSpLocks/>
            </p:cNvGrpSpPr>
            <p:nvPr/>
          </p:nvGrpSpPr>
          <p:grpSpPr bwMode="auto">
            <a:xfrm>
              <a:off x="244475" y="4633914"/>
              <a:ext cx="733425" cy="1978025"/>
              <a:chOff x="3176792" y="3907029"/>
              <a:chExt cx="825442" cy="2225773"/>
            </a:xfrm>
          </p:grpSpPr>
          <p:grpSp>
            <p:nvGrpSpPr>
              <p:cNvPr id="77" name="Gruppe 52"/>
              <p:cNvGrpSpPr>
                <a:grpSpLocks/>
              </p:cNvGrpSpPr>
              <p:nvPr/>
            </p:nvGrpSpPr>
            <p:grpSpPr bwMode="auto">
              <a:xfrm>
                <a:off x="3176792" y="3907029"/>
                <a:ext cx="825442" cy="2225773"/>
                <a:chOff x="3612221" y="3841715"/>
                <a:chExt cx="825442" cy="2225773"/>
              </a:xfrm>
            </p:grpSpPr>
            <p:sp>
              <p:nvSpPr>
                <p:cNvPr id="80" name="Freeform 137"/>
                <p:cNvSpPr>
                  <a:spLocks noEditPoints="1"/>
                </p:cNvSpPr>
                <p:nvPr/>
              </p:nvSpPr>
              <p:spPr bwMode="auto">
                <a:xfrm>
                  <a:off x="3803370" y="4157745"/>
                  <a:ext cx="589721" cy="1304315"/>
                </a:xfrm>
                <a:custGeom>
                  <a:avLst/>
                  <a:gdLst>
                    <a:gd name="T0" fmla="*/ 811490228 w 350"/>
                    <a:gd name="T1" fmla="*/ 413305594 h 774"/>
                    <a:gd name="T2" fmla="*/ 756046810 w 350"/>
                    <a:gd name="T3" fmla="*/ 257055956 h 774"/>
                    <a:gd name="T4" fmla="*/ 756046810 w 350"/>
                    <a:gd name="T5" fmla="*/ 221773779 h 774"/>
                    <a:gd name="T6" fmla="*/ 740925878 w 350"/>
                    <a:gd name="T7" fmla="*/ 181451242 h 774"/>
                    <a:gd name="T8" fmla="*/ 725804945 w 350"/>
                    <a:gd name="T9" fmla="*/ 115927201 h 774"/>
                    <a:gd name="T10" fmla="*/ 705643702 w 350"/>
                    <a:gd name="T11" fmla="*/ 90725621 h 774"/>
                    <a:gd name="T12" fmla="*/ 650200284 w 350"/>
                    <a:gd name="T13" fmla="*/ 65524067 h 774"/>
                    <a:gd name="T14" fmla="*/ 569555312 w 350"/>
                    <a:gd name="T15" fmla="*/ 45362811 h 774"/>
                    <a:gd name="T16" fmla="*/ 302418744 w 350"/>
                    <a:gd name="T17" fmla="*/ 0 h 774"/>
                    <a:gd name="T18" fmla="*/ 246975326 w 350"/>
                    <a:gd name="T19" fmla="*/ 10080625 h 774"/>
                    <a:gd name="T20" fmla="*/ 191531858 w 350"/>
                    <a:gd name="T21" fmla="*/ 35282189 h 774"/>
                    <a:gd name="T22" fmla="*/ 105846575 w 350"/>
                    <a:gd name="T23" fmla="*/ 70564378 h 774"/>
                    <a:gd name="T24" fmla="*/ 30241877 w 350"/>
                    <a:gd name="T25" fmla="*/ 90725621 h 774"/>
                    <a:gd name="T26" fmla="*/ 15120938 w 350"/>
                    <a:gd name="T27" fmla="*/ 105846579 h 774"/>
                    <a:gd name="T28" fmla="*/ 0 w 350"/>
                    <a:gd name="T29" fmla="*/ 151209377 h 774"/>
                    <a:gd name="T30" fmla="*/ 15120938 w 350"/>
                    <a:gd name="T31" fmla="*/ 216733468 h 774"/>
                    <a:gd name="T32" fmla="*/ 45362809 w 350"/>
                    <a:gd name="T33" fmla="*/ 267136577 h 774"/>
                    <a:gd name="T34" fmla="*/ 105846575 w 350"/>
                    <a:gd name="T35" fmla="*/ 524192533 h 774"/>
                    <a:gd name="T36" fmla="*/ 151209372 w 350"/>
                    <a:gd name="T37" fmla="*/ 635079373 h 774"/>
                    <a:gd name="T38" fmla="*/ 181451236 w 350"/>
                    <a:gd name="T39" fmla="*/ 715724348 h 774"/>
                    <a:gd name="T40" fmla="*/ 211693150 w 350"/>
                    <a:gd name="T41" fmla="*/ 801409633 h 774"/>
                    <a:gd name="T42" fmla="*/ 196572169 w 350"/>
                    <a:gd name="T43" fmla="*/ 871974184 h 774"/>
                    <a:gd name="T44" fmla="*/ 161289993 w 350"/>
                    <a:gd name="T45" fmla="*/ 1003022268 h 774"/>
                    <a:gd name="T46" fmla="*/ 120967507 w 350"/>
                    <a:gd name="T47" fmla="*/ 1169352528 h 774"/>
                    <a:gd name="T48" fmla="*/ 115927197 w 350"/>
                    <a:gd name="T49" fmla="*/ 1229836259 h 774"/>
                    <a:gd name="T50" fmla="*/ 146169061 w 350"/>
                    <a:gd name="T51" fmla="*/ 1244957192 h 774"/>
                    <a:gd name="T52" fmla="*/ 146169061 w 350"/>
                    <a:gd name="T53" fmla="*/ 1401206830 h 774"/>
                    <a:gd name="T54" fmla="*/ 156249683 w 350"/>
                    <a:gd name="T55" fmla="*/ 1653222375 h 774"/>
                    <a:gd name="T56" fmla="*/ 156249683 w 350"/>
                    <a:gd name="T57" fmla="*/ 1718746814 h 774"/>
                    <a:gd name="T58" fmla="*/ 156249683 w 350"/>
                    <a:gd name="T59" fmla="*/ 1789311167 h 774"/>
                    <a:gd name="T60" fmla="*/ 156249683 w 350"/>
                    <a:gd name="T61" fmla="*/ 1895157696 h 774"/>
                    <a:gd name="T62" fmla="*/ 272176879 w 350"/>
                    <a:gd name="T63" fmla="*/ 1940520494 h 774"/>
                    <a:gd name="T64" fmla="*/ 342741230 w 350"/>
                    <a:gd name="T65" fmla="*/ 1950601116 h 774"/>
                    <a:gd name="T66" fmla="*/ 493950651 w 350"/>
                    <a:gd name="T67" fmla="*/ 1925399561 h 774"/>
                    <a:gd name="T68" fmla="*/ 665321216 w 350"/>
                    <a:gd name="T69" fmla="*/ 1880036763 h 774"/>
                    <a:gd name="T70" fmla="*/ 781248363 w 350"/>
                    <a:gd name="T71" fmla="*/ 1834673965 h 774"/>
                    <a:gd name="T72" fmla="*/ 826611160 w 350"/>
                    <a:gd name="T73" fmla="*/ 1703625881 h 774"/>
                    <a:gd name="T74" fmla="*/ 821570849 w 350"/>
                    <a:gd name="T75" fmla="*/ 1340723099 h 774"/>
                    <a:gd name="T76" fmla="*/ 821570849 w 350"/>
                    <a:gd name="T77" fmla="*/ 1159271906 h 774"/>
                    <a:gd name="T78" fmla="*/ 796369296 w 350"/>
                    <a:gd name="T79" fmla="*/ 1028223823 h 774"/>
                    <a:gd name="T80" fmla="*/ 776208053 w 350"/>
                    <a:gd name="T81" fmla="*/ 967740092 h 774"/>
                    <a:gd name="T82" fmla="*/ 861893534 w 350"/>
                    <a:gd name="T83" fmla="*/ 751006524 h 774"/>
                    <a:gd name="T84" fmla="*/ 877014466 w 350"/>
                    <a:gd name="T85" fmla="*/ 705643726 h 774"/>
                    <a:gd name="T86" fmla="*/ 877014466 w 350"/>
                    <a:gd name="T87" fmla="*/ 685482482 h 774"/>
                    <a:gd name="T88" fmla="*/ 705643702 w 350"/>
                    <a:gd name="T89" fmla="*/ 619958440 h 774"/>
                    <a:gd name="T90" fmla="*/ 685482459 w 350"/>
                    <a:gd name="T91" fmla="*/ 650200306 h 774"/>
                    <a:gd name="T92" fmla="*/ 700603392 w 350"/>
                    <a:gd name="T93" fmla="*/ 594756886 h 774"/>
                    <a:gd name="T94" fmla="*/ 710684013 w 350"/>
                    <a:gd name="T95" fmla="*/ 604837508 h 774"/>
                    <a:gd name="T96" fmla="*/ 705643702 w 350"/>
                    <a:gd name="T97" fmla="*/ 619958440 h 774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350"/>
                    <a:gd name="T148" fmla="*/ 0 h 774"/>
                    <a:gd name="T149" fmla="*/ 350 w 350"/>
                    <a:gd name="T150" fmla="*/ 774 h 774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350" h="774">
                      <a:moveTo>
                        <a:pt x="344" y="262"/>
                      </a:moveTo>
                      <a:lnTo>
                        <a:pt x="344" y="262"/>
                      </a:lnTo>
                      <a:lnTo>
                        <a:pt x="322" y="164"/>
                      </a:lnTo>
                      <a:lnTo>
                        <a:pt x="300" y="102"/>
                      </a:lnTo>
                      <a:lnTo>
                        <a:pt x="300" y="96"/>
                      </a:lnTo>
                      <a:lnTo>
                        <a:pt x="300" y="88"/>
                      </a:lnTo>
                      <a:lnTo>
                        <a:pt x="296" y="80"/>
                      </a:lnTo>
                      <a:lnTo>
                        <a:pt x="294" y="76"/>
                      </a:lnTo>
                      <a:lnTo>
                        <a:pt x="294" y="72"/>
                      </a:lnTo>
                      <a:lnTo>
                        <a:pt x="292" y="56"/>
                      </a:lnTo>
                      <a:lnTo>
                        <a:pt x="288" y="46"/>
                      </a:lnTo>
                      <a:lnTo>
                        <a:pt x="284" y="40"/>
                      </a:lnTo>
                      <a:lnTo>
                        <a:pt x="280" y="36"/>
                      </a:lnTo>
                      <a:lnTo>
                        <a:pt x="270" y="30"/>
                      </a:lnTo>
                      <a:lnTo>
                        <a:pt x="260" y="26"/>
                      </a:lnTo>
                      <a:lnTo>
                        <a:pt x="258" y="26"/>
                      </a:lnTo>
                      <a:lnTo>
                        <a:pt x="234" y="20"/>
                      </a:lnTo>
                      <a:lnTo>
                        <a:pt x="226" y="18"/>
                      </a:lnTo>
                      <a:lnTo>
                        <a:pt x="212" y="14"/>
                      </a:lnTo>
                      <a:lnTo>
                        <a:pt x="176" y="8"/>
                      </a:lnTo>
                      <a:lnTo>
                        <a:pt x="120" y="0"/>
                      </a:lnTo>
                      <a:lnTo>
                        <a:pt x="112" y="0"/>
                      </a:lnTo>
                      <a:lnTo>
                        <a:pt x="98" y="4"/>
                      </a:lnTo>
                      <a:lnTo>
                        <a:pt x="84" y="8"/>
                      </a:lnTo>
                      <a:lnTo>
                        <a:pt x="76" y="14"/>
                      </a:lnTo>
                      <a:lnTo>
                        <a:pt x="68" y="18"/>
                      </a:lnTo>
                      <a:lnTo>
                        <a:pt x="58" y="22"/>
                      </a:lnTo>
                      <a:lnTo>
                        <a:pt x="42" y="28"/>
                      </a:lnTo>
                      <a:lnTo>
                        <a:pt x="28" y="32"/>
                      </a:lnTo>
                      <a:lnTo>
                        <a:pt x="12" y="36"/>
                      </a:lnTo>
                      <a:lnTo>
                        <a:pt x="8" y="38"/>
                      </a:lnTo>
                      <a:lnTo>
                        <a:pt x="6" y="42"/>
                      </a:lnTo>
                      <a:lnTo>
                        <a:pt x="4" y="48"/>
                      </a:lnTo>
                      <a:lnTo>
                        <a:pt x="0" y="60"/>
                      </a:lnTo>
                      <a:lnTo>
                        <a:pt x="0" y="70"/>
                      </a:lnTo>
                      <a:lnTo>
                        <a:pt x="2" y="80"/>
                      </a:lnTo>
                      <a:lnTo>
                        <a:pt x="6" y="86"/>
                      </a:lnTo>
                      <a:lnTo>
                        <a:pt x="18" y="106"/>
                      </a:lnTo>
                      <a:lnTo>
                        <a:pt x="30" y="158"/>
                      </a:lnTo>
                      <a:lnTo>
                        <a:pt x="42" y="208"/>
                      </a:lnTo>
                      <a:lnTo>
                        <a:pt x="50" y="224"/>
                      </a:lnTo>
                      <a:lnTo>
                        <a:pt x="56" y="240"/>
                      </a:lnTo>
                      <a:lnTo>
                        <a:pt x="60" y="252"/>
                      </a:lnTo>
                      <a:lnTo>
                        <a:pt x="64" y="266"/>
                      </a:lnTo>
                      <a:lnTo>
                        <a:pt x="72" y="284"/>
                      </a:lnTo>
                      <a:lnTo>
                        <a:pt x="80" y="304"/>
                      </a:lnTo>
                      <a:lnTo>
                        <a:pt x="82" y="312"/>
                      </a:lnTo>
                      <a:lnTo>
                        <a:pt x="84" y="318"/>
                      </a:lnTo>
                      <a:lnTo>
                        <a:pt x="82" y="332"/>
                      </a:lnTo>
                      <a:lnTo>
                        <a:pt x="78" y="346"/>
                      </a:lnTo>
                      <a:lnTo>
                        <a:pt x="72" y="364"/>
                      </a:lnTo>
                      <a:lnTo>
                        <a:pt x="64" y="398"/>
                      </a:lnTo>
                      <a:lnTo>
                        <a:pt x="54" y="438"/>
                      </a:lnTo>
                      <a:lnTo>
                        <a:pt x="48" y="464"/>
                      </a:lnTo>
                      <a:lnTo>
                        <a:pt x="42" y="484"/>
                      </a:lnTo>
                      <a:lnTo>
                        <a:pt x="46" y="488"/>
                      </a:lnTo>
                      <a:lnTo>
                        <a:pt x="52" y="492"/>
                      </a:lnTo>
                      <a:lnTo>
                        <a:pt x="58" y="494"/>
                      </a:lnTo>
                      <a:lnTo>
                        <a:pt x="58" y="506"/>
                      </a:lnTo>
                      <a:lnTo>
                        <a:pt x="58" y="524"/>
                      </a:lnTo>
                      <a:lnTo>
                        <a:pt x="58" y="556"/>
                      </a:lnTo>
                      <a:lnTo>
                        <a:pt x="60" y="606"/>
                      </a:lnTo>
                      <a:lnTo>
                        <a:pt x="62" y="656"/>
                      </a:lnTo>
                      <a:lnTo>
                        <a:pt x="62" y="672"/>
                      </a:lnTo>
                      <a:lnTo>
                        <a:pt x="62" y="682"/>
                      </a:lnTo>
                      <a:lnTo>
                        <a:pt x="62" y="710"/>
                      </a:lnTo>
                      <a:lnTo>
                        <a:pt x="62" y="732"/>
                      </a:lnTo>
                      <a:lnTo>
                        <a:pt x="62" y="752"/>
                      </a:lnTo>
                      <a:lnTo>
                        <a:pt x="72" y="756"/>
                      </a:lnTo>
                      <a:lnTo>
                        <a:pt x="108" y="770"/>
                      </a:lnTo>
                      <a:lnTo>
                        <a:pt x="122" y="774"/>
                      </a:lnTo>
                      <a:lnTo>
                        <a:pt x="136" y="774"/>
                      </a:lnTo>
                      <a:lnTo>
                        <a:pt x="152" y="774"/>
                      </a:lnTo>
                      <a:lnTo>
                        <a:pt x="168" y="770"/>
                      </a:lnTo>
                      <a:lnTo>
                        <a:pt x="196" y="764"/>
                      </a:lnTo>
                      <a:lnTo>
                        <a:pt x="214" y="760"/>
                      </a:lnTo>
                      <a:lnTo>
                        <a:pt x="264" y="746"/>
                      </a:lnTo>
                      <a:lnTo>
                        <a:pt x="288" y="738"/>
                      </a:lnTo>
                      <a:lnTo>
                        <a:pt x="310" y="728"/>
                      </a:lnTo>
                      <a:lnTo>
                        <a:pt x="330" y="716"/>
                      </a:lnTo>
                      <a:lnTo>
                        <a:pt x="328" y="676"/>
                      </a:lnTo>
                      <a:lnTo>
                        <a:pt x="326" y="616"/>
                      </a:lnTo>
                      <a:lnTo>
                        <a:pt x="326" y="532"/>
                      </a:lnTo>
                      <a:lnTo>
                        <a:pt x="324" y="468"/>
                      </a:lnTo>
                      <a:lnTo>
                        <a:pt x="326" y="460"/>
                      </a:lnTo>
                      <a:lnTo>
                        <a:pt x="326" y="446"/>
                      </a:lnTo>
                      <a:lnTo>
                        <a:pt x="324" y="434"/>
                      </a:lnTo>
                      <a:lnTo>
                        <a:pt x="316" y="408"/>
                      </a:lnTo>
                      <a:lnTo>
                        <a:pt x="310" y="392"/>
                      </a:lnTo>
                      <a:lnTo>
                        <a:pt x="308" y="384"/>
                      </a:lnTo>
                      <a:lnTo>
                        <a:pt x="324" y="344"/>
                      </a:lnTo>
                      <a:lnTo>
                        <a:pt x="338" y="314"/>
                      </a:lnTo>
                      <a:lnTo>
                        <a:pt x="342" y="298"/>
                      </a:lnTo>
                      <a:lnTo>
                        <a:pt x="344" y="290"/>
                      </a:lnTo>
                      <a:lnTo>
                        <a:pt x="348" y="280"/>
                      </a:lnTo>
                      <a:lnTo>
                        <a:pt x="350" y="276"/>
                      </a:lnTo>
                      <a:lnTo>
                        <a:pt x="348" y="272"/>
                      </a:lnTo>
                      <a:lnTo>
                        <a:pt x="344" y="262"/>
                      </a:lnTo>
                      <a:close/>
                      <a:moveTo>
                        <a:pt x="280" y="246"/>
                      </a:moveTo>
                      <a:lnTo>
                        <a:pt x="276" y="250"/>
                      </a:lnTo>
                      <a:lnTo>
                        <a:pt x="276" y="256"/>
                      </a:lnTo>
                      <a:lnTo>
                        <a:pt x="272" y="258"/>
                      </a:lnTo>
                      <a:lnTo>
                        <a:pt x="274" y="236"/>
                      </a:lnTo>
                      <a:lnTo>
                        <a:pt x="278" y="236"/>
                      </a:lnTo>
                      <a:lnTo>
                        <a:pt x="280" y="238"/>
                      </a:lnTo>
                      <a:lnTo>
                        <a:pt x="282" y="240"/>
                      </a:lnTo>
                      <a:lnTo>
                        <a:pt x="282" y="246"/>
                      </a:lnTo>
                      <a:lnTo>
                        <a:pt x="280" y="246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81" name="Freeform 139"/>
                <p:cNvSpPr>
                  <a:spLocks/>
                </p:cNvSpPr>
                <p:nvPr/>
              </p:nvSpPr>
              <p:spPr bwMode="auto">
                <a:xfrm>
                  <a:off x="3884711" y="3840809"/>
                  <a:ext cx="341631" cy="365695"/>
                </a:xfrm>
                <a:custGeom>
                  <a:avLst/>
                  <a:gdLst>
                    <a:gd name="T0" fmla="*/ 282257514 w 202"/>
                    <a:gd name="T1" fmla="*/ 10080625 h 216"/>
                    <a:gd name="T2" fmla="*/ 317539691 w 202"/>
                    <a:gd name="T3" fmla="*/ 5040313 h 216"/>
                    <a:gd name="T4" fmla="*/ 327620313 w 202"/>
                    <a:gd name="T5" fmla="*/ 10080625 h 216"/>
                    <a:gd name="T6" fmla="*/ 403224977 w 202"/>
                    <a:gd name="T7" fmla="*/ 15120939 h 216"/>
                    <a:gd name="T8" fmla="*/ 433466942 w 202"/>
                    <a:gd name="T9" fmla="*/ 30241879 h 216"/>
                    <a:gd name="T10" fmla="*/ 443547564 w 202"/>
                    <a:gd name="T11" fmla="*/ 45362812 h 216"/>
                    <a:gd name="T12" fmla="*/ 463708808 w 202"/>
                    <a:gd name="T13" fmla="*/ 100806246 h 216"/>
                    <a:gd name="T14" fmla="*/ 463708808 w 202"/>
                    <a:gd name="T15" fmla="*/ 156249693 h 216"/>
                    <a:gd name="T16" fmla="*/ 473789430 w 202"/>
                    <a:gd name="T17" fmla="*/ 226814098 h 216"/>
                    <a:gd name="T18" fmla="*/ 473789430 w 202"/>
                    <a:gd name="T19" fmla="*/ 307459075 h 216"/>
                    <a:gd name="T20" fmla="*/ 453628186 w 202"/>
                    <a:gd name="T21" fmla="*/ 372983119 h 216"/>
                    <a:gd name="T22" fmla="*/ 453628186 w 202"/>
                    <a:gd name="T23" fmla="*/ 393144363 h 216"/>
                    <a:gd name="T24" fmla="*/ 473789430 w 202"/>
                    <a:gd name="T25" fmla="*/ 443547573 h 216"/>
                    <a:gd name="T26" fmla="*/ 493950674 w 202"/>
                    <a:gd name="T27" fmla="*/ 453628195 h 216"/>
                    <a:gd name="T28" fmla="*/ 483870052 w 202"/>
                    <a:gd name="T29" fmla="*/ 453628195 h 216"/>
                    <a:gd name="T30" fmla="*/ 463708808 w 202"/>
                    <a:gd name="T31" fmla="*/ 453628195 h 216"/>
                    <a:gd name="T32" fmla="*/ 473789430 w 202"/>
                    <a:gd name="T33" fmla="*/ 478829751 h 216"/>
                    <a:gd name="T34" fmla="*/ 498990985 w 202"/>
                    <a:gd name="T35" fmla="*/ 493950684 h 216"/>
                    <a:gd name="T36" fmla="*/ 509071607 w 202"/>
                    <a:gd name="T37" fmla="*/ 488910373 h 216"/>
                    <a:gd name="T38" fmla="*/ 493950674 w 202"/>
                    <a:gd name="T39" fmla="*/ 534273172 h 216"/>
                    <a:gd name="T40" fmla="*/ 473789430 w 202"/>
                    <a:gd name="T41" fmla="*/ 544353795 h 216"/>
                    <a:gd name="T42" fmla="*/ 453628186 w 202"/>
                    <a:gd name="T43" fmla="*/ 544353795 h 216"/>
                    <a:gd name="T44" fmla="*/ 418346010 w 202"/>
                    <a:gd name="T45" fmla="*/ 534273172 h 216"/>
                    <a:gd name="T46" fmla="*/ 398184666 w 202"/>
                    <a:gd name="T47" fmla="*/ 509071617 h 216"/>
                    <a:gd name="T48" fmla="*/ 398184666 w 202"/>
                    <a:gd name="T49" fmla="*/ 493950684 h 216"/>
                    <a:gd name="T50" fmla="*/ 388104044 w 202"/>
                    <a:gd name="T51" fmla="*/ 478829751 h 216"/>
                    <a:gd name="T52" fmla="*/ 352821868 w 202"/>
                    <a:gd name="T53" fmla="*/ 468749128 h 216"/>
                    <a:gd name="T54" fmla="*/ 337700935 w 202"/>
                    <a:gd name="T55" fmla="*/ 453628195 h 216"/>
                    <a:gd name="T56" fmla="*/ 196572178 w 202"/>
                    <a:gd name="T57" fmla="*/ 453628195 h 216"/>
                    <a:gd name="T58" fmla="*/ 176410934 w 202"/>
                    <a:gd name="T59" fmla="*/ 478829751 h 216"/>
                    <a:gd name="T60" fmla="*/ 176410934 w 202"/>
                    <a:gd name="T61" fmla="*/ 504031306 h 216"/>
                    <a:gd name="T62" fmla="*/ 171370623 w 202"/>
                    <a:gd name="T63" fmla="*/ 524192550 h 216"/>
                    <a:gd name="T64" fmla="*/ 151209379 w 202"/>
                    <a:gd name="T65" fmla="*/ 534273172 h 216"/>
                    <a:gd name="T66" fmla="*/ 141128757 w 202"/>
                    <a:gd name="T67" fmla="*/ 539313484 h 216"/>
                    <a:gd name="T68" fmla="*/ 120967513 w 202"/>
                    <a:gd name="T69" fmla="*/ 534273172 h 216"/>
                    <a:gd name="T70" fmla="*/ 70564378 w 202"/>
                    <a:gd name="T71" fmla="*/ 544353795 h 216"/>
                    <a:gd name="T72" fmla="*/ 35282189 w 202"/>
                    <a:gd name="T73" fmla="*/ 529232861 h 216"/>
                    <a:gd name="T74" fmla="*/ 15120939 w 202"/>
                    <a:gd name="T75" fmla="*/ 493950684 h 216"/>
                    <a:gd name="T76" fmla="*/ 0 w 202"/>
                    <a:gd name="T77" fmla="*/ 473789440 h 216"/>
                    <a:gd name="T78" fmla="*/ 30241878 w 202"/>
                    <a:gd name="T79" fmla="*/ 478829751 h 216"/>
                    <a:gd name="T80" fmla="*/ 35282189 w 202"/>
                    <a:gd name="T81" fmla="*/ 473789440 h 216"/>
                    <a:gd name="T82" fmla="*/ 45362811 w 202"/>
                    <a:gd name="T83" fmla="*/ 458668506 h 216"/>
                    <a:gd name="T84" fmla="*/ 65524068 w 202"/>
                    <a:gd name="T85" fmla="*/ 433466951 h 216"/>
                    <a:gd name="T86" fmla="*/ 60483757 w 202"/>
                    <a:gd name="T87" fmla="*/ 398184674 h 216"/>
                    <a:gd name="T88" fmla="*/ 55443446 w 202"/>
                    <a:gd name="T89" fmla="*/ 367942808 h 216"/>
                    <a:gd name="T90" fmla="*/ 45362811 w 202"/>
                    <a:gd name="T91" fmla="*/ 312499386 h 216"/>
                    <a:gd name="T92" fmla="*/ 55443446 w 202"/>
                    <a:gd name="T93" fmla="*/ 267136586 h 216"/>
                    <a:gd name="T94" fmla="*/ 80645000 w 202"/>
                    <a:gd name="T95" fmla="*/ 196572182 h 216"/>
                    <a:gd name="T96" fmla="*/ 90725622 w 202"/>
                    <a:gd name="T97" fmla="*/ 171370626 h 216"/>
                    <a:gd name="T98" fmla="*/ 120967513 w 202"/>
                    <a:gd name="T99" fmla="*/ 105846582 h 216"/>
                    <a:gd name="T100" fmla="*/ 181451245 w 202"/>
                    <a:gd name="T101" fmla="*/ 45362812 h 216"/>
                    <a:gd name="T102" fmla="*/ 236894715 w 202"/>
                    <a:gd name="T103" fmla="*/ 5040313 h 216"/>
                    <a:gd name="T104" fmla="*/ 272176892 w 202"/>
                    <a:gd name="T105" fmla="*/ 5040313 h 216"/>
                    <a:gd name="T106" fmla="*/ 282257514 w 202"/>
                    <a:gd name="T107" fmla="*/ 10080625 h 21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202"/>
                    <a:gd name="T163" fmla="*/ 0 h 216"/>
                    <a:gd name="T164" fmla="*/ 202 w 202"/>
                    <a:gd name="T165" fmla="*/ 216 h 21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202" h="216">
                      <a:moveTo>
                        <a:pt x="112" y="4"/>
                      </a:moveTo>
                      <a:lnTo>
                        <a:pt x="112" y="4"/>
                      </a:lnTo>
                      <a:lnTo>
                        <a:pt x="120" y="2"/>
                      </a:lnTo>
                      <a:lnTo>
                        <a:pt x="126" y="2"/>
                      </a:lnTo>
                      <a:lnTo>
                        <a:pt x="130" y="4"/>
                      </a:lnTo>
                      <a:lnTo>
                        <a:pt x="146" y="4"/>
                      </a:lnTo>
                      <a:lnTo>
                        <a:pt x="160" y="6"/>
                      </a:lnTo>
                      <a:lnTo>
                        <a:pt x="166" y="8"/>
                      </a:lnTo>
                      <a:lnTo>
                        <a:pt x="172" y="12"/>
                      </a:lnTo>
                      <a:lnTo>
                        <a:pt x="176" y="18"/>
                      </a:lnTo>
                      <a:lnTo>
                        <a:pt x="180" y="24"/>
                      </a:lnTo>
                      <a:lnTo>
                        <a:pt x="184" y="40"/>
                      </a:lnTo>
                      <a:lnTo>
                        <a:pt x="184" y="54"/>
                      </a:lnTo>
                      <a:lnTo>
                        <a:pt x="184" y="62"/>
                      </a:lnTo>
                      <a:lnTo>
                        <a:pt x="188" y="90"/>
                      </a:lnTo>
                      <a:lnTo>
                        <a:pt x="190" y="108"/>
                      </a:lnTo>
                      <a:lnTo>
                        <a:pt x="188" y="122"/>
                      </a:lnTo>
                      <a:lnTo>
                        <a:pt x="180" y="148"/>
                      </a:lnTo>
                      <a:lnTo>
                        <a:pt x="180" y="156"/>
                      </a:lnTo>
                      <a:lnTo>
                        <a:pt x="182" y="166"/>
                      </a:lnTo>
                      <a:lnTo>
                        <a:pt x="188" y="176"/>
                      </a:lnTo>
                      <a:lnTo>
                        <a:pt x="192" y="178"/>
                      </a:lnTo>
                      <a:lnTo>
                        <a:pt x="196" y="180"/>
                      </a:lnTo>
                      <a:lnTo>
                        <a:pt x="192" y="180"/>
                      </a:lnTo>
                      <a:lnTo>
                        <a:pt x="188" y="180"/>
                      </a:lnTo>
                      <a:lnTo>
                        <a:pt x="184" y="180"/>
                      </a:lnTo>
                      <a:lnTo>
                        <a:pt x="188" y="190"/>
                      </a:lnTo>
                      <a:lnTo>
                        <a:pt x="194" y="194"/>
                      </a:lnTo>
                      <a:lnTo>
                        <a:pt x="198" y="196"/>
                      </a:lnTo>
                      <a:lnTo>
                        <a:pt x="202" y="194"/>
                      </a:lnTo>
                      <a:lnTo>
                        <a:pt x="200" y="204"/>
                      </a:lnTo>
                      <a:lnTo>
                        <a:pt x="196" y="212"/>
                      </a:lnTo>
                      <a:lnTo>
                        <a:pt x="192" y="214"/>
                      </a:lnTo>
                      <a:lnTo>
                        <a:pt x="188" y="216"/>
                      </a:lnTo>
                      <a:lnTo>
                        <a:pt x="180" y="216"/>
                      </a:lnTo>
                      <a:lnTo>
                        <a:pt x="170" y="214"/>
                      </a:lnTo>
                      <a:lnTo>
                        <a:pt x="166" y="212"/>
                      </a:lnTo>
                      <a:lnTo>
                        <a:pt x="162" y="208"/>
                      </a:lnTo>
                      <a:lnTo>
                        <a:pt x="158" y="202"/>
                      </a:lnTo>
                      <a:lnTo>
                        <a:pt x="158" y="196"/>
                      </a:lnTo>
                      <a:lnTo>
                        <a:pt x="156" y="192"/>
                      </a:lnTo>
                      <a:lnTo>
                        <a:pt x="154" y="190"/>
                      </a:lnTo>
                      <a:lnTo>
                        <a:pt x="144" y="188"/>
                      </a:lnTo>
                      <a:lnTo>
                        <a:pt x="140" y="186"/>
                      </a:lnTo>
                      <a:lnTo>
                        <a:pt x="136" y="184"/>
                      </a:lnTo>
                      <a:lnTo>
                        <a:pt x="134" y="180"/>
                      </a:lnTo>
                      <a:lnTo>
                        <a:pt x="134" y="176"/>
                      </a:lnTo>
                      <a:lnTo>
                        <a:pt x="78" y="180"/>
                      </a:lnTo>
                      <a:lnTo>
                        <a:pt x="70" y="190"/>
                      </a:lnTo>
                      <a:lnTo>
                        <a:pt x="70" y="194"/>
                      </a:lnTo>
                      <a:lnTo>
                        <a:pt x="70" y="200"/>
                      </a:lnTo>
                      <a:lnTo>
                        <a:pt x="70" y="206"/>
                      </a:lnTo>
                      <a:lnTo>
                        <a:pt x="68" y="208"/>
                      </a:lnTo>
                      <a:lnTo>
                        <a:pt x="64" y="212"/>
                      </a:lnTo>
                      <a:lnTo>
                        <a:pt x="60" y="212"/>
                      </a:lnTo>
                      <a:lnTo>
                        <a:pt x="56" y="214"/>
                      </a:lnTo>
                      <a:lnTo>
                        <a:pt x="48" y="212"/>
                      </a:lnTo>
                      <a:lnTo>
                        <a:pt x="42" y="214"/>
                      </a:lnTo>
                      <a:lnTo>
                        <a:pt x="28" y="216"/>
                      </a:lnTo>
                      <a:lnTo>
                        <a:pt x="22" y="214"/>
                      </a:lnTo>
                      <a:lnTo>
                        <a:pt x="14" y="210"/>
                      </a:lnTo>
                      <a:lnTo>
                        <a:pt x="8" y="204"/>
                      </a:lnTo>
                      <a:lnTo>
                        <a:pt x="6" y="196"/>
                      </a:lnTo>
                      <a:lnTo>
                        <a:pt x="0" y="188"/>
                      </a:lnTo>
                      <a:lnTo>
                        <a:pt x="6" y="190"/>
                      </a:lnTo>
                      <a:lnTo>
                        <a:pt x="12" y="190"/>
                      </a:lnTo>
                      <a:lnTo>
                        <a:pt x="14" y="190"/>
                      </a:lnTo>
                      <a:lnTo>
                        <a:pt x="14" y="188"/>
                      </a:lnTo>
                      <a:lnTo>
                        <a:pt x="18" y="182"/>
                      </a:lnTo>
                      <a:lnTo>
                        <a:pt x="24" y="178"/>
                      </a:lnTo>
                      <a:lnTo>
                        <a:pt x="26" y="172"/>
                      </a:lnTo>
                      <a:lnTo>
                        <a:pt x="26" y="166"/>
                      </a:lnTo>
                      <a:lnTo>
                        <a:pt x="24" y="158"/>
                      </a:lnTo>
                      <a:lnTo>
                        <a:pt x="22" y="146"/>
                      </a:lnTo>
                      <a:lnTo>
                        <a:pt x="18" y="134"/>
                      </a:lnTo>
                      <a:lnTo>
                        <a:pt x="18" y="124"/>
                      </a:lnTo>
                      <a:lnTo>
                        <a:pt x="18" y="114"/>
                      </a:lnTo>
                      <a:lnTo>
                        <a:pt x="22" y="106"/>
                      </a:lnTo>
                      <a:lnTo>
                        <a:pt x="30" y="88"/>
                      </a:lnTo>
                      <a:lnTo>
                        <a:pt x="32" y="78"/>
                      </a:lnTo>
                      <a:lnTo>
                        <a:pt x="36" y="68"/>
                      </a:lnTo>
                      <a:lnTo>
                        <a:pt x="40" y="56"/>
                      </a:lnTo>
                      <a:lnTo>
                        <a:pt x="48" y="42"/>
                      </a:lnTo>
                      <a:lnTo>
                        <a:pt x="60" y="30"/>
                      </a:lnTo>
                      <a:lnTo>
                        <a:pt x="72" y="18"/>
                      </a:lnTo>
                      <a:lnTo>
                        <a:pt x="84" y="10"/>
                      </a:lnTo>
                      <a:lnTo>
                        <a:pt x="94" y="2"/>
                      </a:lnTo>
                      <a:lnTo>
                        <a:pt x="104" y="0"/>
                      </a:lnTo>
                      <a:lnTo>
                        <a:pt x="108" y="2"/>
                      </a:lnTo>
                      <a:lnTo>
                        <a:pt x="112" y="4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82" name="Freeform 141"/>
                <p:cNvSpPr>
                  <a:spLocks/>
                </p:cNvSpPr>
                <p:nvPr/>
              </p:nvSpPr>
              <p:spPr bwMode="auto">
                <a:xfrm>
                  <a:off x="3998588" y="3881442"/>
                  <a:ext cx="178949" cy="251924"/>
                </a:xfrm>
                <a:custGeom>
                  <a:avLst/>
                  <a:gdLst>
                    <a:gd name="T0" fmla="*/ 231854407 w 106"/>
                    <a:gd name="T1" fmla="*/ 50403117 h 150"/>
                    <a:gd name="T2" fmla="*/ 231854407 w 106"/>
                    <a:gd name="T3" fmla="*/ 50403117 h 150"/>
                    <a:gd name="T4" fmla="*/ 246975341 w 106"/>
                    <a:gd name="T5" fmla="*/ 85685302 h 150"/>
                    <a:gd name="T6" fmla="*/ 262096274 w 106"/>
                    <a:gd name="T7" fmla="*/ 115927190 h 150"/>
                    <a:gd name="T8" fmla="*/ 267136585 w 106"/>
                    <a:gd name="T9" fmla="*/ 141128742 h 150"/>
                    <a:gd name="T10" fmla="*/ 267136585 w 106"/>
                    <a:gd name="T11" fmla="*/ 141128742 h 150"/>
                    <a:gd name="T12" fmla="*/ 267136585 w 106"/>
                    <a:gd name="T13" fmla="*/ 186491536 h 150"/>
                    <a:gd name="T14" fmla="*/ 267136585 w 106"/>
                    <a:gd name="T15" fmla="*/ 186491536 h 150"/>
                    <a:gd name="T16" fmla="*/ 257055963 w 106"/>
                    <a:gd name="T17" fmla="*/ 241935001 h 150"/>
                    <a:gd name="T18" fmla="*/ 252015652 w 106"/>
                    <a:gd name="T19" fmla="*/ 277217174 h 150"/>
                    <a:gd name="T20" fmla="*/ 241935030 w 106"/>
                    <a:gd name="T21" fmla="*/ 302418726 h 150"/>
                    <a:gd name="T22" fmla="*/ 241935030 w 106"/>
                    <a:gd name="T23" fmla="*/ 302418726 h 150"/>
                    <a:gd name="T24" fmla="*/ 201612492 w 106"/>
                    <a:gd name="T25" fmla="*/ 367942762 h 150"/>
                    <a:gd name="T26" fmla="*/ 201612492 w 106"/>
                    <a:gd name="T27" fmla="*/ 367942762 h 150"/>
                    <a:gd name="T28" fmla="*/ 191531869 w 106"/>
                    <a:gd name="T29" fmla="*/ 372983072 h 150"/>
                    <a:gd name="T30" fmla="*/ 176410936 w 106"/>
                    <a:gd name="T31" fmla="*/ 378023383 h 150"/>
                    <a:gd name="T32" fmla="*/ 161290003 w 106"/>
                    <a:gd name="T33" fmla="*/ 378023383 h 150"/>
                    <a:gd name="T34" fmla="*/ 161290003 w 106"/>
                    <a:gd name="T35" fmla="*/ 378023383 h 150"/>
                    <a:gd name="T36" fmla="*/ 136088448 w 106"/>
                    <a:gd name="T37" fmla="*/ 372983072 h 150"/>
                    <a:gd name="T38" fmla="*/ 105846582 w 106"/>
                    <a:gd name="T39" fmla="*/ 362902452 h 150"/>
                    <a:gd name="T40" fmla="*/ 65524068 w 106"/>
                    <a:gd name="T41" fmla="*/ 342741210 h 150"/>
                    <a:gd name="T42" fmla="*/ 65524068 w 106"/>
                    <a:gd name="T43" fmla="*/ 342741210 h 150"/>
                    <a:gd name="T44" fmla="*/ 40322501 w 106"/>
                    <a:gd name="T45" fmla="*/ 332660589 h 150"/>
                    <a:gd name="T46" fmla="*/ 20161250 w 106"/>
                    <a:gd name="T47" fmla="*/ 317539658 h 150"/>
                    <a:gd name="T48" fmla="*/ 10080625 w 106"/>
                    <a:gd name="T49" fmla="*/ 307459037 h 150"/>
                    <a:gd name="T50" fmla="*/ 5040313 w 106"/>
                    <a:gd name="T51" fmla="*/ 297378416 h 150"/>
                    <a:gd name="T52" fmla="*/ 5040313 w 106"/>
                    <a:gd name="T53" fmla="*/ 297378416 h 150"/>
                    <a:gd name="T54" fmla="*/ 0 w 106"/>
                    <a:gd name="T55" fmla="*/ 262096243 h 150"/>
                    <a:gd name="T56" fmla="*/ 0 w 106"/>
                    <a:gd name="T57" fmla="*/ 246975311 h 150"/>
                    <a:gd name="T58" fmla="*/ 0 w 106"/>
                    <a:gd name="T59" fmla="*/ 246975311 h 150"/>
                    <a:gd name="T60" fmla="*/ 10080625 w 106"/>
                    <a:gd name="T61" fmla="*/ 206652778 h 150"/>
                    <a:gd name="T62" fmla="*/ 15120939 w 106"/>
                    <a:gd name="T63" fmla="*/ 166330294 h 150"/>
                    <a:gd name="T64" fmla="*/ 20161250 w 106"/>
                    <a:gd name="T65" fmla="*/ 126007811 h 150"/>
                    <a:gd name="T66" fmla="*/ 20161250 w 106"/>
                    <a:gd name="T67" fmla="*/ 126007811 h 150"/>
                    <a:gd name="T68" fmla="*/ 20161250 w 106"/>
                    <a:gd name="T69" fmla="*/ 105846569 h 150"/>
                    <a:gd name="T70" fmla="*/ 25201561 w 106"/>
                    <a:gd name="T71" fmla="*/ 85685302 h 150"/>
                    <a:gd name="T72" fmla="*/ 40322501 w 106"/>
                    <a:gd name="T73" fmla="*/ 65524061 h 150"/>
                    <a:gd name="T74" fmla="*/ 50403123 w 106"/>
                    <a:gd name="T75" fmla="*/ 45362806 h 150"/>
                    <a:gd name="T76" fmla="*/ 65524068 w 106"/>
                    <a:gd name="T77" fmla="*/ 30241875 h 150"/>
                    <a:gd name="T78" fmla="*/ 85685313 w 106"/>
                    <a:gd name="T79" fmla="*/ 15120938 h 150"/>
                    <a:gd name="T80" fmla="*/ 100806246 w 106"/>
                    <a:gd name="T81" fmla="*/ 5040312 h 150"/>
                    <a:gd name="T82" fmla="*/ 120967515 w 106"/>
                    <a:gd name="T83" fmla="*/ 0 h 150"/>
                    <a:gd name="T84" fmla="*/ 120967515 w 106"/>
                    <a:gd name="T85" fmla="*/ 0 h 150"/>
                    <a:gd name="T86" fmla="*/ 156249692 w 106"/>
                    <a:gd name="T87" fmla="*/ 5040312 h 150"/>
                    <a:gd name="T88" fmla="*/ 186491558 w 106"/>
                    <a:gd name="T89" fmla="*/ 15120938 h 150"/>
                    <a:gd name="T90" fmla="*/ 211693163 w 106"/>
                    <a:gd name="T91" fmla="*/ 30241875 h 150"/>
                    <a:gd name="T92" fmla="*/ 231854407 w 106"/>
                    <a:gd name="T93" fmla="*/ 50403117 h 150"/>
                    <a:gd name="T94" fmla="*/ 231854407 w 106"/>
                    <a:gd name="T95" fmla="*/ 50403117 h 150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06"/>
                    <a:gd name="T145" fmla="*/ 0 h 150"/>
                    <a:gd name="T146" fmla="*/ 106 w 106"/>
                    <a:gd name="T147" fmla="*/ 150 h 150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06" h="150">
                      <a:moveTo>
                        <a:pt x="92" y="20"/>
                      </a:moveTo>
                      <a:lnTo>
                        <a:pt x="92" y="20"/>
                      </a:lnTo>
                      <a:lnTo>
                        <a:pt x="98" y="34"/>
                      </a:lnTo>
                      <a:lnTo>
                        <a:pt x="104" y="46"/>
                      </a:lnTo>
                      <a:lnTo>
                        <a:pt x="106" y="56"/>
                      </a:lnTo>
                      <a:lnTo>
                        <a:pt x="106" y="74"/>
                      </a:lnTo>
                      <a:lnTo>
                        <a:pt x="102" y="96"/>
                      </a:lnTo>
                      <a:lnTo>
                        <a:pt x="100" y="110"/>
                      </a:lnTo>
                      <a:lnTo>
                        <a:pt x="96" y="120"/>
                      </a:lnTo>
                      <a:lnTo>
                        <a:pt x="80" y="146"/>
                      </a:lnTo>
                      <a:lnTo>
                        <a:pt x="76" y="148"/>
                      </a:lnTo>
                      <a:lnTo>
                        <a:pt x="70" y="150"/>
                      </a:lnTo>
                      <a:lnTo>
                        <a:pt x="64" y="150"/>
                      </a:lnTo>
                      <a:lnTo>
                        <a:pt x="54" y="148"/>
                      </a:lnTo>
                      <a:lnTo>
                        <a:pt x="42" y="144"/>
                      </a:lnTo>
                      <a:lnTo>
                        <a:pt x="26" y="136"/>
                      </a:lnTo>
                      <a:lnTo>
                        <a:pt x="16" y="132"/>
                      </a:lnTo>
                      <a:lnTo>
                        <a:pt x="8" y="126"/>
                      </a:lnTo>
                      <a:lnTo>
                        <a:pt x="4" y="122"/>
                      </a:lnTo>
                      <a:lnTo>
                        <a:pt x="2" y="118"/>
                      </a:lnTo>
                      <a:lnTo>
                        <a:pt x="0" y="104"/>
                      </a:lnTo>
                      <a:lnTo>
                        <a:pt x="0" y="98"/>
                      </a:lnTo>
                      <a:lnTo>
                        <a:pt x="4" y="82"/>
                      </a:lnTo>
                      <a:lnTo>
                        <a:pt x="6" y="66"/>
                      </a:lnTo>
                      <a:lnTo>
                        <a:pt x="8" y="50"/>
                      </a:lnTo>
                      <a:lnTo>
                        <a:pt x="8" y="42"/>
                      </a:lnTo>
                      <a:lnTo>
                        <a:pt x="10" y="34"/>
                      </a:lnTo>
                      <a:lnTo>
                        <a:pt x="16" y="26"/>
                      </a:lnTo>
                      <a:lnTo>
                        <a:pt x="20" y="18"/>
                      </a:lnTo>
                      <a:lnTo>
                        <a:pt x="26" y="12"/>
                      </a:lnTo>
                      <a:lnTo>
                        <a:pt x="34" y="6"/>
                      </a:lnTo>
                      <a:lnTo>
                        <a:pt x="40" y="2"/>
                      </a:lnTo>
                      <a:lnTo>
                        <a:pt x="48" y="0"/>
                      </a:lnTo>
                      <a:lnTo>
                        <a:pt x="62" y="2"/>
                      </a:lnTo>
                      <a:lnTo>
                        <a:pt x="74" y="6"/>
                      </a:lnTo>
                      <a:lnTo>
                        <a:pt x="84" y="12"/>
                      </a:lnTo>
                      <a:lnTo>
                        <a:pt x="92" y="20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83" name="Freeform 142"/>
                <p:cNvSpPr>
                  <a:spLocks/>
                </p:cNvSpPr>
                <p:nvPr/>
              </p:nvSpPr>
              <p:spPr bwMode="auto">
                <a:xfrm>
                  <a:off x="3905047" y="4738796"/>
                  <a:ext cx="207417" cy="150340"/>
                </a:xfrm>
                <a:custGeom>
                  <a:avLst/>
                  <a:gdLst>
                    <a:gd name="T0" fmla="*/ 126007831 w 124"/>
                    <a:gd name="T1" fmla="*/ 40322498 h 88"/>
                    <a:gd name="T2" fmla="*/ 211693172 w 124"/>
                    <a:gd name="T3" fmla="*/ 5040312 h 88"/>
                    <a:gd name="T4" fmla="*/ 246975351 w 124"/>
                    <a:gd name="T5" fmla="*/ 0 h 88"/>
                    <a:gd name="T6" fmla="*/ 267136596 w 124"/>
                    <a:gd name="T7" fmla="*/ 10080625 h 88"/>
                    <a:gd name="T8" fmla="*/ 267136596 w 124"/>
                    <a:gd name="T9" fmla="*/ 15120938 h 88"/>
                    <a:gd name="T10" fmla="*/ 191531877 w 124"/>
                    <a:gd name="T11" fmla="*/ 50403120 h 88"/>
                    <a:gd name="T12" fmla="*/ 166330321 w 124"/>
                    <a:gd name="T13" fmla="*/ 65524065 h 88"/>
                    <a:gd name="T14" fmla="*/ 216733483 w 124"/>
                    <a:gd name="T15" fmla="*/ 65524065 h 88"/>
                    <a:gd name="T16" fmla="*/ 302418775 w 124"/>
                    <a:gd name="T17" fmla="*/ 75604686 h 88"/>
                    <a:gd name="T18" fmla="*/ 307459086 w 124"/>
                    <a:gd name="T19" fmla="*/ 80644997 h 88"/>
                    <a:gd name="T20" fmla="*/ 312499397 w 124"/>
                    <a:gd name="T21" fmla="*/ 90725618 h 88"/>
                    <a:gd name="T22" fmla="*/ 302418775 w 124"/>
                    <a:gd name="T23" fmla="*/ 95765929 h 88"/>
                    <a:gd name="T24" fmla="*/ 262096285 w 124"/>
                    <a:gd name="T25" fmla="*/ 100806240 h 88"/>
                    <a:gd name="T26" fmla="*/ 176410944 w 124"/>
                    <a:gd name="T27" fmla="*/ 110886886 h 88"/>
                    <a:gd name="T28" fmla="*/ 241935040 w 124"/>
                    <a:gd name="T29" fmla="*/ 110886886 h 88"/>
                    <a:gd name="T30" fmla="*/ 277217218 w 124"/>
                    <a:gd name="T31" fmla="*/ 110886886 h 88"/>
                    <a:gd name="T32" fmla="*/ 297378464 w 124"/>
                    <a:gd name="T33" fmla="*/ 120967508 h 88"/>
                    <a:gd name="T34" fmla="*/ 297378464 w 124"/>
                    <a:gd name="T35" fmla="*/ 126007818 h 88"/>
                    <a:gd name="T36" fmla="*/ 287297841 w 124"/>
                    <a:gd name="T37" fmla="*/ 141128751 h 88"/>
                    <a:gd name="T38" fmla="*/ 277217218 w 124"/>
                    <a:gd name="T39" fmla="*/ 141128751 h 88"/>
                    <a:gd name="T40" fmla="*/ 146169076 w 124"/>
                    <a:gd name="T41" fmla="*/ 156249683 h 88"/>
                    <a:gd name="T42" fmla="*/ 191531877 w 124"/>
                    <a:gd name="T43" fmla="*/ 166330304 h 88"/>
                    <a:gd name="T44" fmla="*/ 221773795 w 124"/>
                    <a:gd name="T45" fmla="*/ 161289994 h 88"/>
                    <a:gd name="T46" fmla="*/ 236894728 w 124"/>
                    <a:gd name="T47" fmla="*/ 161289994 h 88"/>
                    <a:gd name="T48" fmla="*/ 246975351 w 124"/>
                    <a:gd name="T49" fmla="*/ 171370615 h 88"/>
                    <a:gd name="T50" fmla="*/ 241935040 w 124"/>
                    <a:gd name="T51" fmla="*/ 181451237 h 88"/>
                    <a:gd name="T52" fmla="*/ 216733483 w 124"/>
                    <a:gd name="T53" fmla="*/ 186491547 h 88"/>
                    <a:gd name="T54" fmla="*/ 136088454 w 124"/>
                    <a:gd name="T55" fmla="*/ 191531858 h 88"/>
                    <a:gd name="T56" fmla="*/ 100806250 w 124"/>
                    <a:gd name="T57" fmla="*/ 201612480 h 88"/>
                    <a:gd name="T58" fmla="*/ 65524071 w 124"/>
                    <a:gd name="T59" fmla="*/ 216733462 h 88"/>
                    <a:gd name="T60" fmla="*/ 0 w 124"/>
                    <a:gd name="T61" fmla="*/ 221773772 h 88"/>
                    <a:gd name="T62" fmla="*/ 30241880 w 124"/>
                    <a:gd name="T63" fmla="*/ 171370615 h 88"/>
                    <a:gd name="T64" fmla="*/ 60483760 w 124"/>
                    <a:gd name="T65" fmla="*/ 105846575 h 88"/>
                    <a:gd name="T66" fmla="*/ 65524071 w 124"/>
                    <a:gd name="T67" fmla="*/ 80644997 h 88"/>
                    <a:gd name="T68" fmla="*/ 100806250 w 124"/>
                    <a:gd name="T69" fmla="*/ 50403120 h 88"/>
                    <a:gd name="T70" fmla="*/ 126007831 w 124"/>
                    <a:gd name="T71" fmla="*/ 40322498 h 88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124"/>
                    <a:gd name="T109" fmla="*/ 0 h 88"/>
                    <a:gd name="T110" fmla="*/ 124 w 124"/>
                    <a:gd name="T111" fmla="*/ 88 h 88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124" h="88">
                      <a:moveTo>
                        <a:pt x="50" y="16"/>
                      </a:moveTo>
                      <a:lnTo>
                        <a:pt x="50" y="16"/>
                      </a:lnTo>
                      <a:lnTo>
                        <a:pt x="72" y="6"/>
                      </a:lnTo>
                      <a:lnTo>
                        <a:pt x="84" y="2"/>
                      </a:lnTo>
                      <a:lnTo>
                        <a:pt x="98" y="0"/>
                      </a:lnTo>
                      <a:lnTo>
                        <a:pt x="104" y="2"/>
                      </a:lnTo>
                      <a:lnTo>
                        <a:pt x="106" y="4"/>
                      </a:lnTo>
                      <a:lnTo>
                        <a:pt x="106" y="6"/>
                      </a:lnTo>
                      <a:lnTo>
                        <a:pt x="98" y="10"/>
                      </a:lnTo>
                      <a:lnTo>
                        <a:pt x="76" y="20"/>
                      </a:lnTo>
                      <a:lnTo>
                        <a:pt x="66" y="26"/>
                      </a:lnTo>
                      <a:lnTo>
                        <a:pt x="86" y="26"/>
                      </a:lnTo>
                      <a:lnTo>
                        <a:pt x="104" y="28"/>
                      </a:lnTo>
                      <a:lnTo>
                        <a:pt x="120" y="30"/>
                      </a:lnTo>
                      <a:lnTo>
                        <a:pt x="122" y="32"/>
                      </a:lnTo>
                      <a:lnTo>
                        <a:pt x="124" y="34"/>
                      </a:lnTo>
                      <a:lnTo>
                        <a:pt x="124" y="36"/>
                      </a:lnTo>
                      <a:lnTo>
                        <a:pt x="120" y="38"/>
                      </a:lnTo>
                      <a:lnTo>
                        <a:pt x="112" y="40"/>
                      </a:lnTo>
                      <a:lnTo>
                        <a:pt x="104" y="40"/>
                      </a:lnTo>
                      <a:lnTo>
                        <a:pt x="92" y="40"/>
                      </a:lnTo>
                      <a:lnTo>
                        <a:pt x="70" y="44"/>
                      </a:lnTo>
                      <a:lnTo>
                        <a:pt x="96" y="44"/>
                      </a:lnTo>
                      <a:lnTo>
                        <a:pt x="110" y="44"/>
                      </a:lnTo>
                      <a:lnTo>
                        <a:pt x="114" y="46"/>
                      </a:lnTo>
                      <a:lnTo>
                        <a:pt x="118" y="48"/>
                      </a:lnTo>
                      <a:lnTo>
                        <a:pt x="118" y="50"/>
                      </a:lnTo>
                      <a:lnTo>
                        <a:pt x="116" y="54"/>
                      </a:lnTo>
                      <a:lnTo>
                        <a:pt x="114" y="56"/>
                      </a:lnTo>
                      <a:lnTo>
                        <a:pt x="110" y="56"/>
                      </a:lnTo>
                      <a:lnTo>
                        <a:pt x="62" y="60"/>
                      </a:lnTo>
                      <a:lnTo>
                        <a:pt x="58" y="62"/>
                      </a:lnTo>
                      <a:lnTo>
                        <a:pt x="76" y="66"/>
                      </a:lnTo>
                      <a:lnTo>
                        <a:pt x="88" y="64"/>
                      </a:lnTo>
                      <a:lnTo>
                        <a:pt x="94" y="64"/>
                      </a:lnTo>
                      <a:lnTo>
                        <a:pt x="96" y="66"/>
                      </a:lnTo>
                      <a:lnTo>
                        <a:pt x="98" y="68"/>
                      </a:lnTo>
                      <a:lnTo>
                        <a:pt x="96" y="72"/>
                      </a:lnTo>
                      <a:lnTo>
                        <a:pt x="92" y="74"/>
                      </a:lnTo>
                      <a:lnTo>
                        <a:pt x="86" y="74"/>
                      </a:lnTo>
                      <a:lnTo>
                        <a:pt x="54" y="76"/>
                      </a:lnTo>
                      <a:lnTo>
                        <a:pt x="40" y="80"/>
                      </a:lnTo>
                      <a:lnTo>
                        <a:pt x="26" y="86"/>
                      </a:lnTo>
                      <a:lnTo>
                        <a:pt x="14" y="88"/>
                      </a:lnTo>
                      <a:lnTo>
                        <a:pt x="0" y="88"/>
                      </a:lnTo>
                      <a:lnTo>
                        <a:pt x="12" y="68"/>
                      </a:lnTo>
                      <a:lnTo>
                        <a:pt x="22" y="50"/>
                      </a:lnTo>
                      <a:lnTo>
                        <a:pt x="24" y="42"/>
                      </a:lnTo>
                      <a:lnTo>
                        <a:pt x="26" y="32"/>
                      </a:lnTo>
                      <a:lnTo>
                        <a:pt x="32" y="26"/>
                      </a:lnTo>
                      <a:lnTo>
                        <a:pt x="40" y="20"/>
                      </a:lnTo>
                      <a:lnTo>
                        <a:pt x="50" y="16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84" name="Freeform 143"/>
                <p:cNvSpPr>
                  <a:spLocks noEditPoints="1"/>
                </p:cNvSpPr>
                <p:nvPr/>
              </p:nvSpPr>
              <p:spPr bwMode="auto">
                <a:xfrm>
                  <a:off x="3880645" y="5380794"/>
                  <a:ext cx="557182" cy="686694"/>
                </a:xfrm>
                <a:custGeom>
                  <a:avLst/>
                  <a:gdLst>
                    <a:gd name="T0" fmla="*/ 186491543 w 330"/>
                    <a:gd name="T1" fmla="*/ 866933887 h 408"/>
                    <a:gd name="T2" fmla="*/ 151209369 w 330"/>
                    <a:gd name="T3" fmla="*/ 730845292 h 408"/>
                    <a:gd name="T4" fmla="*/ 146169058 w 330"/>
                    <a:gd name="T5" fmla="*/ 720764670 h 408"/>
                    <a:gd name="T6" fmla="*/ 141128747 w 330"/>
                    <a:gd name="T7" fmla="*/ 690522804 h 408"/>
                    <a:gd name="T8" fmla="*/ 141128747 w 330"/>
                    <a:gd name="T9" fmla="*/ 589716584 h 408"/>
                    <a:gd name="T10" fmla="*/ 141128747 w 330"/>
                    <a:gd name="T11" fmla="*/ 554434408 h 408"/>
                    <a:gd name="T12" fmla="*/ 50403119 w 330"/>
                    <a:gd name="T13" fmla="*/ 55443446 h 408"/>
                    <a:gd name="T14" fmla="*/ 35282187 w 330"/>
                    <a:gd name="T15" fmla="*/ 80645001 h 408"/>
                    <a:gd name="T16" fmla="*/ 10080624 w 330"/>
                    <a:gd name="T17" fmla="*/ 156249690 h 408"/>
                    <a:gd name="T18" fmla="*/ 0 w 330"/>
                    <a:gd name="T19" fmla="*/ 282257515 h 408"/>
                    <a:gd name="T20" fmla="*/ 10080624 w 330"/>
                    <a:gd name="T21" fmla="*/ 403224979 h 408"/>
                    <a:gd name="T22" fmla="*/ 25201559 w 330"/>
                    <a:gd name="T23" fmla="*/ 493950676 h 408"/>
                    <a:gd name="T24" fmla="*/ 35282187 w 330"/>
                    <a:gd name="T25" fmla="*/ 599797206 h 408"/>
                    <a:gd name="T26" fmla="*/ 30241876 w 330"/>
                    <a:gd name="T27" fmla="*/ 670361560 h 408"/>
                    <a:gd name="T28" fmla="*/ 30241876 w 330"/>
                    <a:gd name="T29" fmla="*/ 665321249 h 408"/>
                    <a:gd name="T30" fmla="*/ 10080624 w 330"/>
                    <a:gd name="T31" fmla="*/ 801409646 h 408"/>
                    <a:gd name="T32" fmla="*/ 30241876 w 330"/>
                    <a:gd name="T33" fmla="*/ 806449957 h 408"/>
                    <a:gd name="T34" fmla="*/ 30241876 w 330"/>
                    <a:gd name="T35" fmla="*/ 801409646 h 408"/>
                    <a:gd name="T36" fmla="*/ 40322497 w 330"/>
                    <a:gd name="T37" fmla="*/ 846772644 h 408"/>
                    <a:gd name="T38" fmla="*/ 40322497 w 330"/>
                    <a:gd name="T39" fmla="*/ 907256375 h 408"/>
                    <a:gd name="T40" fmla="*/ 60483752 w 330"/>
                    <a:gd name="T41" fmla="*/ 972780418 h 408"/>
                    <a:gd name="T42" fmla="*/ 70564374 w 330"/>
                    <a:gd name="T43" fmla="*/ 992941662 h 408"/>
                    <a:gd name="T44" fmla="*/ 105846573 w 330"/>
                    <a:gd name="T45" fmla="*/ 1018143217 h 408"/>
                    <a:gd name="T46" fmla="*/ 146169058 w 330"/>
                    <a:gd name="T47" fmla="*/ 1028223839 h 408"/>
                    <a:gd name="T48" fmla="*/ 216733457 w 330"/>
                    <a:gd name="T49" fmla="*/ 1018143217 h 408"/>
                    <a:gd name="T50" fmla="*/ 236894699 w 330"/>
                    <a:gd name="T51" fmla="*/ 982861040 h 408"/>
                    <a:gd name="T52" fmla="*/ 236894699 w 330"/>
                    <a:gd name="T53" fmla="*/ 967740107 h 408"/>
                    <a:gd name="T54" fmla="*/ 216733457 w 330"/>
                    <a:gd name="T55" fmla="*/ 922377308 h 408"/>
                    <a:gd name="T56" fmla="*/ 821570832 w 330"/>
                    <a:gd name="T57" fmla="*/ 675401871 h 408"/>
                    <a:gd name="T58" fmla="*/ 816530521 w 330"/>
                    <a:gd name="T59" fmla="*/ 670361560 h 408"/>
                    <a:gd name="T60" fmla="*/ 801409589 w 330"/>
                    <a:gd name="T61" fmla="*/ 660280938 h 408"/>
                    <a:gd name="T62" fmla="*/ 751006483 w 330"/>
                    <a:gd name="T63" fmla="*/ 619958450 h 408"/>
                    <a:gd name="T64" fmla="*/ 735885551 w 330"/>
                    <a:gd name="T65" fmla="*/ 599797206 h 408"/>
                    <a:gd name="T66" fmla="*/ 715724309 w 330"/>
                    <a:gd name="T67" fmla="*/ 579635963 h 408"/>
                    <a:gd name="T68" fmla="*/ 690522756 w 330"/>
                    <a:gd name="T69" fmla="*/ 544353786 h 408"/>
                    <a:gd name="T70" fmla="*/ 675401824 w 330"/>
                    <a:gd name="T71" fmla="*/ 509071609 h 408"/>
                    <a:gd name="T72" fmla="*/ 660280892 w 330"/>
                    <a:gd name="T73" fmla="*/ 463708810 h 408"/>
                    <a:gd name="T74" fmla="*/ 478829709 w 330"/>
                    <a:gd name="T75" fmla="*/ 65524068 h 408"/>
                    <a:gd name="T76" fmla="*/ 483870019 w 330"/>
                    <a:gd name="T77" fmla="*/ 105846580 h 408"/>
                    <a:gd name="T78" fmla="*/ 483870019 w 330"/>
                    <a:gd name="T79" fmla="*/ 166330312 h 408"/>
                    <a:gd name="T80" fmla="*/ 504031262 w 330"/>
                    <a:gd name="T81" fmla="*/ 282257515 h 408"/>
                    <a:gd name="T82" fmla="*/ 534273126 w 330"/>
                    <a:gd name="T83" fmla="*/ 398184668 h 408"/>
                    <a:gd name="T84" fmla="*/ 534273126 w 330"/>
                    <a:gd name="T85" fmla="*/ 448587877 h 408"/>
                    <a:gd name="T86" fmla="*/ 529232815 w 330"/>
                    <a:gd name="T87" fmla="*/ 468749121 h 408"/>
                    <a:gd name="T88" fmla="*/ 509071573 w 330"/>
                    <a:gd name="T89" fmla="*/ 524192542 h 408"/>
                    <a:gd name="T90" fmla="*/ 509071573 w 330"/>
                    <a:gd name="T91" fmla="*/ 574595652 h 408"/>
                    <a:gd name="T92" fmla="*/ 514111883 w 330"/>
                    <a:gd name="T93" fmla="*/ 584676274 h 408"/>
                    <a:gd name="T94" fmla="*/ 524192505 w 330"/>
                    <a:gd name="T95" fmla="*/ 614918139 h 408"/>
                    <a:gd name="T96" fmla="*/ 534273126 w 330"/>
                    <a:gd name="T97" fmla="*/ 695563115 h 408"/>
                    <a:gd name="T98" fmla="*/ 559474679 w 330"/>
                    <a:gd name="T99" fmla="*/ 690522804 h 408"/>
                    <a:gd name="T100" fmla="*/ 564514990 w 330"/>
                    <a:gd name="T101" fmla="*/ 599797206 h 408"/>
                    <a:gd name="T102" fmla="*/ 594756853 w 330"/>
                    <a:gd name="T103" fmla="*/ 614918139 h 408"/>
                    <a:gd name="T104" fmla="*/ 614918096 w 330"/>
                    <a:gd name="T105" fmla="*/ 645160005 h 408"/>
                    <a:gd name="T106" fmla="*/ 619958407 w 330"/>
                    <a:gd name="T107" fmla="*/ 655240627 h 408"/>
                    <a:gd name="T108" fmla="*/ 650200270 w 330"/>
                    <a:gd name="T109" fmla="*/ 720764670 h 408"/>
                    <a:gd name="T110" fmla="*/ 660280892 w 330"/>
                    <a:gd name="T111" fmla="*/ 740925914 h 408"/>
                    <a:gd name="T112" fmla="*/ 690522756 w 330"/>
                    <a:gd name="T113" fmla="*/ 756046847 h 408"/>
                    <a:gd name="T114" fmla="*/ 811490211 w 330"/>
                    <a:gd name="T115" fmla="*/ 766127469 h 408"/>
                    <a:gd name="T116" fmla="*/ 816530521 w 330"/>
                    <a:gd name="T117" fmla="*/ 756046847 h 408"/>
                    <a:gd name="T118" fmla="*/ 826611143 w 330"/>
                    <a:gd name="T119" fmla="*/ 725804981 h 408"/>
                    <a:gd name="T120" fmla="*/ 831651453 w 330"/>
                    <a:gd name="T121" fmla="*/ 715724359 h 408"/>
                    <a:gd name="T122" fmla="*/ 821570832 w 330"/>
                    <a:gd name="T123" fmla="*/ 675401871 h 408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30"/>
                    <a:gd name="T187" fmla="*/ 0 h 408"/>
                    <a:gd name="T188" fmla="*/ 330 w 330"/>
                    <a:gd name="T189" fmla="*/ 408 h 408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30" h="408">
                      <a:moveTo>
                        <a:pt x="74" y="344"/>
                      </a:moveTo>
                      <a:lnTo>
                        <a:pt x="74" y="344"/>
                      </a:lnTo>
                      <a:lnTo>
                        <a:pt x="60" y="290"/>
                      </a:lnTo>
                      <a:lnTo>
                        <a:pt x="58" y="286"/>
                      </a:lnTo>
                      <a:lnTo>
                        <a:pt x="56" y="274"/>
                      </a:lnTo>
                      <a:lnTo>
                        <a:pt x="56" y="254"/>
                      </a:lnTo>
                      <a:lnTo>
                        <a:pt x="56" y="234"/>
                      </a:lnTo>
                      <a:lnTo>
                        <a:pt x="56" y="220"/>
                      </a:lnTo>
                      <a:lnTo>
                        <a:pt x="92" y="44"/>
                      </a:lnTo>
                      <a:lnTo>
                        <a:pt x="20" y="22"/>
                      </a:lnTo>
                      <a:lnTo>
                        <a:pt x="14" y="32"/>
                      </a:lnTo>
                      <a:lnTo>
                        <a:pt x="10" y="40"/>
                      </a:lnTo>
                      <a:lnTo>
                        <a:pt x="4" y="62"/>
                      </a:lnTo>
                      <a:lnTo>
                        <a:pt x="2" y="88"/>
                      </a:lnTo>
                      <a:lnTo>
                        <a:pt x="0" y="112"/>
                      </a:lnTo>
                      <a:lnTo>
                        <a:pt x="2" y="138"/>
                      </a:lnTo>
                      <a:lnTo>
                        <a:pt x="4" y="160"/>
                      </a:lnTo>
                      <a:lnTo>
                        <a:pt x="10" y="196"/>
                      </a:lnTo>
                      <a:lnTo>
                        <a:pt x="14" y="218"/>
                      </a:lnTo>
                      <a:lnTo>
                        <a:pt x="14" y="238"/>
                      </a:lnTo>
                      <a:lnTo>
                        <a:pt x="14" y="254"/>
                      </a:lnTo>
                      <a:lnTo>
                        <a:pt x="12" y="266"/>
                      </a:lnTo>
                      <a:lnTo>
                        <a:pt x="12" y="264"/>
                      </a:lnTo>
                      <a:lnTo>
                        <a:pt x="6" y="292"/>
                      </a:lnTo>
                      <a:lnTo>
                        <a:pt x="4" y="318"/>
                      </a:lnTo>
                      <a:lnTo>
                        <a:pt x="8" y="322"/>
                      </a:lnTo>
                      <a:lnTo>
                        <a:pt x="12" y="320"/>
                      </a:lnTo>
                      <a:lnTo>
                        <a:pt x="12" y="318"/>
                      </a:lnTo>
                      <a:lnTo>
                        <a:pt x="16" y="336"/>
                      </a:lnTo>
                      <a:lnTo>
                        <a:pt x="16" y="360"/>
                      </a:lnTo>
                      <a:lnTo>
                        <a:pt x="18" y="370"/>
                      </a:lnTo>
                      <a:lnTo>
                        <a:pt x="24" y="386"/>
                      </a:lnTo>
                      <a:lnTo>
                        <a:pt x="28" y="394"/>
                      </a:lnTo>
                      <a:lnTo>
                        <a:pt x="42" y="404"/>
                      </a:lnTo>
                      <a:lnTo>
                        <a:pt x="50" y="406"/>
                      </a:lnTo>
                      <a:lnTo>
                        <a:pt x="58" y="408"/>
                      </a:lnTo>
                      <a:lnTo>
                        <a:pt x="74" y="406"/>
                      </a:lnTo>
                      <a:lnTo>
                        <a:pt x="86" y="404"/>
                      </a:lnTo>
                      <a:lnTo>
                        <a:pt x="92" y="402"/>
                      </a:lnTo>
                      <a:lnTo>
                        <a:pt x="94" y="390"/>
                      </a:lnTo>
                      <a:lnTo>
                        <a:pt x="94" y="384"/>
                      </a:lnTo>
                      <a:lnTo>
                        <a:pt x="92" y="376"/>
                      </a:lnTo>
                      <a:lnTo>
                        <a:pt x="86" y="366"/>
                      </a:lnTo>
                      <a:lnTo>
                        <a:pt x="74" y="344"/>
                      </a:lnTo>
                      <a:close/>
                      <a:moveTo>
                        <a:pt x="326" y="268"/>
                      </a:moveTo>
                      <a:lnTo>
                        <a:pt x="326" y="268"/>
                      </a:lnTo>
                      <a:lnTo>
                        <a:pt x="324" y="266"/>
                      </a:lnTo>
                      <a:lnTo>
                        <a:pt x="318" y="262"/>
                      </a:lnTo>
                      <a:lnTo>
                        <a:pt x="310" y="254"/>
                      </a:lnTo>
                      <a:lnTo>
                        <a:pt x="298" y="246"/>
                      </a:lnTo>
                      <a:lnTo>
                        <a:pt x="292" y="238"/>
                      </a:lnTo>
                      <a:lnTo>
                        <a:pt x="284" y="230"/>
                      </a:lnTo>
                      <a:lnTo>
                        <a:pt x="280" y="224"/>
                      </a:lnTo>
                      <a:lnTo>
                        <a:pt x="274" y="216"/>
                      </a:lnTo>
                      <a:lnTo>
                        <a:pt x="268" y="202"/>
                      </a:lnTo>
                      <a:lnTo>
                        <a:pt x="262" y="184"/>
                      </a:lnTo>
                      <a:lnTo>
                        <a:pt x="260" y="0"/>
                      </a:lnTo>
                      <a:lnTo>
                        <a:pt x="190" y="26"/>
                      </a:lnTo>
                      <a:lnTo>
                        <a:pt x="192" y="42"/>
                      </a:lnTo>
                      <a:lnTo>
                        <a:pt x="192" y="66"/>
                      </a:lnTo>
                      <a:lnTo>
                        <a:pt x="194" y="82"/>
                      </a:lnTo>
                      <a:lnTo>
                        <a:pt x="200" y="112"/>
                      </a:lnTo>
                      <a:lnTo>
                        <a:pt x="212" y="158"/>
                      </a:lnTo>
                      <a:lnTo>
                        <a:pt x="212" y="178"/>
                      </a:lnTo>
                      <a:lnTo>
                        <a:pt x="210" y="186"/>
                      </a:lnTo>
                      <a:lnTo>
                        <a:pt x="206" y="194"/>
                      </a:lnTo>
                      <a:lnTo>
                        <a:pt x="202" y="208"/>
                      </a:lnTo>
                      <a:lnTo>
                        <a:pt x="200" y="222"/>
                      </a:lnTo>
                      <a:lnTo>
                        <a:pt x="202" y="228"/>
                      </a:lnTo>
                      <a:lnTo>
                        <a:pt x="204" y="232"/>
                      </a:lnTo>
                      <a:lnTo>
                        <a:pt x="206" y="238"/>
                      </a:lnTo>
                      <a:lnTo>
                        <a:pt x="208" y="244"/>
                      </a:lnTo>
                      <a:lnTo>
                        <a:pt x="210" y="258"/>
                      </a:lnTo>
                      <a:lnTo>
                        <a:pt x="212" y="276"/>
                      </a:lnTo>
                      <a:lnTo>
                        <a:pt x="218" y="278"/>
                      </a:lnTo>
                      <a:lnTo>
                        <a:pt x="222" y="274"/>
                      </a:lnTo>
                      <a:lnTo>
                        <a:pt x="218" y="232"/>
                      </a:lnTo>
                      <a:lnTo>
                        <a:pt x="224" y="238"/>
                      </a:lnTo>
                      <a:lnTo>
                        <a:pt x="236" y="244"/>
                      </a:lnTo>
                      <a:lnTo>
                        <a:pt x="242" y="250"/>
                      </a:lnTo>
                      <a:lnTo>
                        <a:pt x="244" y="256"/>
                      </a:lnTo>
                      <a:lnTo>
                        <a:pt x="246" y="260"/>
                      </a:lnTo>
                      <a:lnTo>
                        <a:pt x="252" y="276"/>
                      </a:lnTo>
                      <a:lnTo>
                        <a:pt x="258" y="286"/>
                      </a:lnTo>
                      <a:lnTo>
                        <a:pt x="262" y="294"/>
                      </a:lnTo>
                      <a:lnTo>
                        <a:pt x="266" y="298"/>
                      </a:lnTo>
                      <a:lnTo>
                        <a:pt x="274" y="300"/>
                      </a:lnTo>
                      <a:lnTo>
                        <a:pt x="294" y="302"/>
                      </a:lnTo>
                      <a:lnTo>
                        <a:pt x="322" y="304"/>
                      </a:lnTo>
                      <a:lnTo>
                        <a:pt x="324" y="300"/>
                      </a:lnTo>
                      <a:lnTo>
                        <a:pt x="326" y="296"/>
                      </a:lnTo>
                      <a:lnTo>
                        <a:pt x="328" y="288"/>
                      </a:lnTo>
                      <a:lnTo>
                        <a:pt x="330" y="284"/>
                      </a:lnTo>
                      <a:lnTo>
                        <a:pt x="328" y="276"/>
                      </a:lnTo>
                      <a:lnTo>
                        <a:pt x="326" y="268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85" name="Freeform 144"/>
                <p:cNvSpPr>
                  <a:spLocks/>
                </p:cNvSpPr>
                <p:nvPr/>
              </p:nvSpPr>
              <p:spPr bwMode="auto">
                <a:xfrm>
                  <a:off x="3612221" y="4178063"/>
                  <a:ext cx="337562" cy="719200"/>
                </a:xfrm>
                <a:custGeom>
                  <a:avLst/>
                  <a:gdLst>
                    <a:gd name="T0" fmla="*/ 418346010 w 202"/>
                    <a:gd name="T1" fmla="*/ 463708816 h 426"/>
                    <a:gd name="T2" fmla="*/ 352821868 w 202"/>
                    <a:gd name="T3" fmla="*/ 529232859 h 426"/>
                    <a:gd name="T4" fmla="*/ 327620313 w 202"/>
                    <a:gd name="T5" fmla="*/ 569555348 h 426"/>
                    <a:gd name="T6" fmla="*/ 297378447 w 202"/>
                    <a:gd name="T7" fmla="*/ 609877836 h 426"/>
                    <a:gd name="T8" fmla="*/ 231854404 w 202"/>
                    <a:gd name="T9" fmla="*/ 650200325 h 426"/>
                    <a:gd name="T10" fmla="*/ 221773782 w 202"/>
                    <a:gd name="T11" fmla="*/ 650200325 h 426"/>
                    <a:gd name="T12" fmla="*/ 216733471 w 202"/>
                    <a:gd name="T13" fmla="*/ 670361569 h 426"/>
                    <a:gd name="T14" fmla="*/ 226814093 w 202"/>
                    <a:gd name="T15" fmla="*/ 675401880 h 426"/>
                    <a:gd name="T16" fmla="*/ 236894715 w 202"/>
                    <a:gd name="T17" fmla="*/ 685482502 h 426"/>
                    <a:gd name="T18" fmla="*/ 246975337 w 202"/>
                    <a:gd name="T19" fmla="*/ 710684057 h 426"/>
                    <a:gd name="T20" fmla="*/ 292338136 w 202"/>
                    <a:gd name="T21" fmla="*/ 771167790 h 426"/>
                    <a:gd name="T22" fmla="*/ 357862179 w 202"/>
                    <a:gd name="T23" fmla="*/ 846772654 h 426"/>
                    <a:gd name="T24" fmla="*/ 418346010 w 202"/>
                    <a:gd name="T25" fmla="*/ 877014521 h 426"/>
                    <a:gd name="T26" fmla="*/ 493950674 w 202"/>
                    <a:gd name="T27" fmla="*/ 907256387 h 426"/>
                    <a:gd name="T28" fmla="*/ 498990985 w 202"/>
                    <a:gd name="T29" fmla="*/ 912296698 h 426"/>
                    <a:gd name="T30" fmla="*/ 483870052 w 202"/>
                    <a:gd name="T31" fmla="*/ 982861053 h 426"/>
                    <a:gd name="T32" fmla="*/ 453628186 w 202"/>
                    <a:gd name="T33" fmla="*/ 1038304474 h 426"/>
                    <a:gd name="T34" fmla="*/ 413305599 w 202"/>
                    <a:gd name="T35" fmla="*/ 1073586652 h 426"/>
                    <a:gd name="T36" fmla="*/ 120967513 w 202"/>
                    <a:gd name="T37" fmla="*/ 841732343 h 426"/>
                    <a:gd name="T38" fmla="*/ 85685311 w 202"/>
                    <a:gd name="T39" fmla="*/ 811490278 h 426"/>
                    <a:gd name="T40" fmla="*/ 50403122 w 202"/>
                    <a:gd name="T41" fmla="*/ 771167790 h 426"/>
                    <a:gd name="T42" fmla="*/ 15120939 w 202"/>
                    <a:gd name="T43" fmla="*/ 710684057 h 426"/>
                    <a:gd name="T44" fmla="*/ 10080625 w 202"/>
                    <a:gd name="T45" fmla="*/ 700603435 h 426"/>
                    <a:gd name="T46" fmla="*/ 0 w 202"/>
                    <a:gd name="T47" fmla="*/ 660280947 h 426"/>
                    <a:gd name="T48" fmla="*/ 10080625 w 202"/>
                    <a:gd name="T49" fmla="*/ 635079391 h 426"/>
                    <a:gd name="T50" fmla="*/ 206652800 w 202"/>
                    <a:gd name="T51" fmla="*/ 312499385 h 426"/>
                    <a:gd name="T52" fmla="*/ 262096270 w 202"/>
                    <a:gd name="T53" fmla="*/ 156249692 h 426"/>
                    <a:gd name="T54" fmla="*/ 297378447 w 202"/>
                    <a:gd name="T55" fmla="*/ 90725624 h 426"/>
                    <a:gd name="T56" fmla="*/ 312499380 w 202"/>
                    <a:gd name="T57" fmla="*/ 70564380 h 426"/>
                    <a:gd name="T58" fmla="*/ 337700935 w 202"/>
                    <a:gd name="T59" fmla="*/ 55443446 h 426"/>
                    <a:gd name="T60" fmla="*/ 362902490 w 202"/>
                    <a:gd name="T61" fmla="*/ 50403123 h 426"/>
                    <a:gd name="T62" fmla="*/ 509071607 w 202"/>
                    <a:gd name="T63" fmla="*/ 0 h 426"/>
                    <a:gd name="T64" fmla="*/ 483870052 w 202"/>
                    <a:gd name="T65" fmla="*/ 196572181 h 426"/>
                    <a:gd name="T66" fmla="*/ 458668497 w 202"/>
                    <a:gd name="T67" fmla="*/ 347781562 h 426"/>
                    <a:gd name="T68" fmla="*/ 418346010 w 202"/>
                    <a:gd name="T69" fmla="*/ 463708816 h 42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02"/>
                    <a:gd name="T106" fmla="*/ 0 h 426"/>
                    <a:gd name="T107" fmla="*/ 202 w 202"/>
                    <a:gd name="T108" fmla="*/ 426 h 42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02" h="426">
                      <a:moveTo>
                        <a:pt x="166" y="184"/>
                      </a:moveTo>
                      <a:lnTo>
                        <a:pt x="166" y="184"/>
                      </a:lnTo>
                      <a:lnTo>
                        <a:pt x="152" y="196"/>
                      </a:lnTo>
                      <a:lnTo>
                        <a:pt x="140" y="210"/>
                      </a:lnTo>
                      <a:lnTo>
                        <a:pt x="130" y="226"/>
                      </a:lnTo>
                      <a:lnTo>
                        <a:pt x="124" y="236"/>
                      </a:lnTo>
                      <a:lnTo>
                        <a:pt x="118" y="242"/>
                      </a:lnTo>
                      <a:lnTo>
                        <a:pt x="104" y="252"/>
                      </a:lnTo>
                      <a:lnTo>
                        <a:pt x="92" y="258"/>
                      </a:lnTo>
                      <a:lnTo>
                        <a:pt x="88" y="258"/>
                      </a:lnTo>
                      <a:lnTo>
                        <a:pt x="86" y="262"/>
                      </a:lnTo>
                      <a:lnTo>
                        <a:pt x="86" y="266"/>
                      </a:lnTo>
                      <a:lnTo>
                        <a:pt x="90" y="268"/>
                      </a:lnTo>
                      <a:lnTo>
                        <a:pt x="92" y="270"/>
                      </a:lnTo>
                      <a:lnTo>
                        <a:pt x="94" y="272"/>
                      </a:lnTo>
                      <a:lnTo>
                        <a:pt x="98" y="282"/>
                      </a:lnTo>
                      <a:lnTo>
                        <a:pt x="104" y="292"/>
                      </a:lnTo>
                      <a:lnTo>
                        <a:pt x="116" y="306"/>
                      </a:lnTo>
                      <a:lnTo>
                        <a:pt x="134" y="324"/>
                      </a:lnTo>
                      <a:lnTo>
                        <a:pt x="142" y="336"/>
                      </a:lnTo>
                      <a:lnTo>
                        <a:pt x="166" y="348"/>
                      </a:lnTo>
                      <a:lnTo>
                        <a:pt x="184" y="356"/>
                      </a:lnTo>
                      <a:lnTo>
                        <a:pt x="196" y="360"/>
                      </a:lnTo>
                      <a:lnTo>
                        <a:pt x="198" y="362"/>
                      </a:lnTo>
                      <a:lnTo>
                        <a:pt x="198" y="370"/>
                      </a:lnTo>
                      <a:lnTo>
                        <a:pt x="192" y="390"/>
                      </a:lnTo>
                      <a:lnTo>
                        <a:pt x="186" y="400"/>
                      </a:lnTo>
                      <a:lnTo>
                        <a:pt x="180" y="412"/>
                      </a:lnTo>
                      <a:lnTo>
                        <a:pt x="172" y="420"/>
                      </a:lnTo>
                      <a:lnTo>
                        <a:pt x="164" y="426"/>
                      </a:lnTo>
                      <a:lnTo>
                        <a:pt x="48" y="334"/>
                      </a:lnTo>
                      <a:lnTo>
                        <a:pt x="34" y="322"/>
                      </a:lnTo>
                      <a:lnTo>
                        <a:pt x="26" y="314"/>
                      </a:lnTo>
                      <a:lnTo>
                        <a:pt x="20" y="306"/>
                      </a:lnTo>
                      <a:lnTo>
                        <a:pt x="6" y="282"/>
                      </a:lnTo>
                      <a:lnTo>
                        <a:pt x="4" y="278"/>
                      </a:lnTo>
                      <a:lnTo>
                        <a:pt x="0" y="270"/>
                      </a:lnTo>
                      <a:lnTo>
                        <a:pt x="0" y="262"/>
                      </a:lnTo>
                      <a:lnTo>
                        <a:pt x="0" y="258"/>
                      </a:lnTo>
                      <a:lnTo>
                        <a:pt x="4" y="252"/>
                      </a:lnTo>
                      <a:lnTo>
                        <a:pt x="82" y="124"/>
                      </a:lnTo>
                      <a:lnTo>
                        <a:pt x="104" y="62"/>
                      </a:lnTo>
                      <a:lnTo>
                        <a:pt x="112" y="48"/>
                      </a:lnTo>
                      <a:lnTo>
                        <a:pt x="118" y="36"/>
                      </a:lnTo>
                      <a:lnTo>
                        <a:pt x="124" y="28"/>
                      </a:lnTo>
                      <a:lnTo>
                        <a:pt x="130" y="24"/>
                      </a:lnTo>
                      <a:lnTo>
                        <a:pt x="134" y="22"/>
                      </a:lnTo>
                      <a:lnTo>
                        <a:pt x="144" y="20"/>
                      </a:lnTo>
                      <a:lnTo>
                        <a:pt x="202" y="0"/>
                      </a:lnTo>
                      <a:lnTo>
                        <a:pt x="200" y="24"/>
                      </a:lnTo>
                      <a:lnTo>
                        <a:pt x="192" y="78"/>
                      </a:lnTo>
                      <a:lnTo>
                        <a:pt x="188" y="108"/>
                      </a:lnTo>
                      <a:lnTo>
                        <a:pt x="182" y="138"/>
                      </a:lnTo>
                      <a:lnTo>
                        <a:pt x="174" y="164"/>
                      </a:lnTo>
                      <a:lnTo>
                        <a:pt x="166" y="184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</p:grpSp>
          <p:sp>
            <p:nvSpPr>
              <p:cNvPr id="78" name="Freeform 138"/>
              <p:cNvSpPr>
                <a:spLocks/>
              </p:cNvSpPr>
              <p:nvPr/>
            </p:nvSpPr>
            <p:spPr bwMode="auto">
              <a:xfrm>
                <a:off x="3544225" y="4214357"/>
                <a:ext cx="202273" cy="330410"/>
              </a:xfrm>
              <a:custGeom>
                <a:avLst/>
                <a:gdLst>
                  <a:gd name="T0" fmla="*/ 2147483647 w 120"/>
                  <a:gd name="T1" fmla="*/ 2147483647 h 196"/>
                  <a:gd name="T2" fmla="*/ 2147483647 w 120"/>
                  <a:gd name="T3" fmla="*/ 2147483647 h 196"/>
                  <a:gd name="T4" fmla="*/ 2147483647 w 120"/>
                  <a:gd name="T5" fmla="*/ 2147483647 h 196"/>
                  <a:gd name="T6" fmla="*/ 2147483647 w 120"/>
                  <a:gd name="T7" fmla="*/ 2147483647 h 196"/>
                  <a:gd name="T8" fmla="*/ 2147483647 w 120"/>
                  <a:gd name="T9" fmla="*/ 2147483647 h 196"/>
                  <a:gd name="T10" fmla="*/ 2147483647 w 120"/>
                  <a:gd name="T11" fmla="*/ 2147483647 h 196"/>
                  <a:gd name="T12" fmla="*/ 2147483647 w 120"/>
                  <a:gd name="T13" fmla="*/ 2147483647 h 196"/>
                  <a:gd name="T14" fmla="*/ 2147483647 w 120"/>
                  <a:gd name="T15" fmla="*/ 2147483647 h 196"/>
                  <a:gd name="T16" fmla="*/ 2147483647 w 120"/>
                  <a:gd name="T17" fmla="*/ 2147483647 h 196"/>
                  <a:gd name="T18" fmla="*/ 2147483647 w 120"/>
                  <a:gd name="T19" fmla="*/ 2147483647 h 196"/>
                  <a:gd name="T20" fmla="*/ 2147483647 w 120"/>
                  <a:gd name="T21" fmla="*/ 2147483647 h 196"/>
                  <a:gd name="T22" fmla="*/ 2147483647 w 120"/>
                  <a:gd name="T23" fmla="*/ 2147483647 h 196"/>
                  <a:gd name="T24" fmla="*/ 2147483647 w 120"/>
                  <a:gd name="T25" fmla="*/ 2147483647 h 196"/>
                  <a:gd name="T26" fmla="*/ 2147483647 w 120"/>
                  <a:gd name="T27" fmla="*/ 2147483647 h 196"/>
                  <a:gd name="T28" fmla="*/ 2147483647 w 120"/>
                  <a:gd name="T29" fmla="*/ 2147483647 h 196"/>
                  <a:gd name="T30" fmla="*/ 2147483647 w 120"/>
                  <a:gd name="T31" fmla="*/ 2147483647 h 196"/>
                  <a:gd name="T32" fmla="*/ 2147483647 w 120"/>
                  <a:gd name="T33" fmla="*/ 2147483647 h 196"/>
                  <a:gd name="T34" fmla="*/ 2147483647 w 120"/>
                  <a:gd name="T35" fmla="*/ 2147483647 h 196"/>
                  <a:gd name="T36" fmla="*/ 2147483647 w 120"/>
                  <a:gd name="T37" fmla="*/ 2147483647 h 196"/>
                  <a:gd name="T38" fmla="*/ 2147483647 w 120"/>
                  <a:gd name="T39" fmla="*/ 2147483647 h 196"/>
                  <a:gd name="T40" fmla="*/ 0 w 120"/>
                  <a:gd name="T41" fmla="*/ 2147483647 h 196"/>
                  <a:gd name="T42" fmla="*/ 2147483647 w 120"/>
                  <a:gd name="T43" fmla="*/ 2147483647 h 196"/>
                  <a:gd name="T44" fmla="*/ 2147483647 w 120"/>
                  <a:gd name="T45" fmla="*/ 2147483647 h 196"/>
                  <a:gd name="T46" fmla="*/ 2147483647 w 120"/>
                  <a:gd name="T47" fmla="*/ 2147483647 h 196"/>
                  <a:gd name="T48" fmla="*/ 2147483647 w 120"/>
                  <a:gd name="T49" fmla="*/ 0 h 196"/>
                  <a:gd name="T50" fmla="*/ 2147483647 w 120"/>
                  <a:gd name="T51" fmla="*/ 0 h 196"/>
                  <a:gd name="T52" fmla="*/ 2147483647 w 120"/>
                  <a:gd name="T53" fmla="*/ 2147483647 h 196"/>
                  <a:gd name="T54" fmla="*/ 2147483647 w 120"/>
                  <a:gd name="T55" fmla="*/ 2147483647 h 19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120"/>
                  <a:gd name="T85" fmla="*/ 0 h 196"/>
                  <a:gd name="T86" fmla="*/ 120 w 120"/>
                  <a:gd name="T87" fmla="*/ 196 h 19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120" h="196">
                    <a:moveTo>
                      <a:pt x="82" y="2"/>
                    </a:moveTo>
                    <a:lnTo>
                      <a:pt x="82" y="2"/>
                    </a:lnTo>
                    <a:lnTo>
                      <a:pt x="96" y="24"/>
                    </a:lnTo>
                    <a:lnTo>
                      <a:pt x="98" y="34"/>
                    </a:lnTo>
                    <a:lnTo>
                      <a:pt x="102" y="46"/>
                    </a:lnTo>
                    <a:lnTo>
                      <a:pt x="106" y="70"/>
                    </a:lnTo>
                    <a:lnTo>
                      <a:pt x="114" y="120"/>
                    </a:lnTo>
                    <a:lnTo>
                      <a:pt x="118" y="170"/>
                    </a:lnTo>
                    <a:lnTo>
                      <a:pt x="120" y="188"/>
                    </a:lnTo>
                    <a:lnTo>
                      <a:pt x="118" y="196"/>
                    </a:lnTo>
                    <a:lnTo>
                      <a:pt x="106" y="174"/>
                    </a:lnTo>
                    <a:lnTo>
                      <a:pt x="76" y="120"/>
                    </a:lnTo>
                    <a:lnTo>
                      <a:pt x="58" y="90"/>
                    </a:lnTo>
                    <a:lnTo>
                      <a:pt x="38" y="62"/>
                    </a:lnTo>
                    <a:lnTo>
                      <a:pt x="22" y="40"/>
                    </a:lnTo>
                    <a:lnTo>
                      <a:pt x="14" y="32"/>
                    </a:lnTo>
                    <a:lnTo>
                      <a:pt x="8" y="26"/>
                    </a:lnTo>
                    <a:lnTo>
                      <a:pt x="0" y="22"/>
                    </a:lnTo>
                    <a:lnTo>
                      <a:pt x="2" y="12"/>
                    </a:lnTo>
                    <a:lnTo>
                      <a:pt x="36" y="4"/>
                    </a:lnTo>
                    <a:lnTo>
                      <a:pt x="64" y="0"/>
                    </a:lnTo>
                    <a:lnTo>
                      <a:pt x="74" y="0"/>
                    </a:lnTo>
                    <a:lnTo>
                      <a:pt x="82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9" name="Freeform 140"/>
              <p:cNvSpPr>
                <a:spLocks/>
              </p:cNvSpPr>
              <p:nvPr/>
            </p:nvSpPr>
            <p:spPr bwMode="auto">
              <a:xfrm>
                <a:off x="3575361" y="4137731"/>
                <a:ext cx="150479" cy="235670"/>
              </a:xfrm>
              <a:custGeom>
                <a:avLst/>
                <a:gdLst>
                  <a:gd name="T0" fmla="*/ 196572170 w 90"/>
                  <a:gd name="T1" fmla="*/ 120967497 h 140"/>
                  <a:gd name="T2" fmla="*/ 196572170 w 90"/>
                  <a:gd name="T3" fmla="*/ 120967497 h 140"/>
                  <a:gd name="T4" fmla="*/ 191531860 w 90"/>
                  <a:gd name="T5" fmla="*/ 136088428 h 140"/>
                  <a:gd name="T6" fmla="*/ 181451238 w 90"/>
                  <a:gd name="T7" fmla="*/ 171370600 h 140"/>
                  <a:gd name="T8" fmla="*/ 181451238 w 90"/>
                  <a:gd name="T9" fmla="*/ 196572151 h 140"/>
                  <a:gd name="T10" fmla="*/ 186491549 w 90"/>
                  <a:gd name="T11" fmla="*/ 211693132 h 140"/>
                  <a:gd name="T12" fmla="*/ 191531860 w 90"/>
                  <a:gd name="T13" fmla="*/ 226814063 h 140"/>
                  <a:gd name="T14" fmla="*/ 206652792 w 90"/>
                  <a:gd name="T15" fmla="*/ 236894683 h 140"/>
                  <a:gd name="T16" fmla="*/ 206652792 w 90"/>
                  <a:gd name="T17" fmla="*/ 236894683 h 140"/>
                  <a:gd name="T18" fmla="*/ 226814085 w 90"/>
                  <a:gd name="T19" fmla="*/ 241934994 h 140"/>
                  <a:gd name="T20" fmla="*/ 226814085 w 90"/>
                  <a:gd name="T21" fmla="*/ 241934994 h 140"/>
                  <a:gd name="T22" fmla="*/ 226814085 w 90"/>
                  <a:gd name="T23" fmla="*/ 257055925 h 140"/>
                  <a:gd name="T24" fmla="*/ 226814085 w 90"/>
                  <a:gd name="T25" fmla="*/ 272176856 h 140"/>
                  <a:gd name="T26" fmla="*/ 221773774 w 90"/>
                  <a:gd name="T27" fmla="*/ 282257476 h 140"/>
                  <a:gd name="T28" fmla="*/ 221773774 w 90"/>
                  <a:gd name="T29" fmla="*/ 282257476 h 140"/>
                  <a:gd name="T30" fmla="*/ 211693152 w 90"/>
                  <a:gd name="T31" fmla="*/ 297378407 h 140"/>
                  <a:gd name="T32" fmla="*/ 206652792 w 90"/>
                  <a:gd name="T33" fmla="*/ 322579959 h 140"/>
                  <a:gd name="T34" fmla="*/ 196572170 w 90"/>
                  <a:gd name="T35" fmla="*/ 352821820 h 140"/>
                  <a:gd name="T36" fmla="*/ 186491549 w 90"/>
                  <a:gd name="T37" fmla="*/ 347781510 h 140"/>
                  <a:gd name="T38" fmla="*/ 186491549 w 90"/>
                  <a:gd name="T39" fmla="*/ 347781510 h 140"/>
                  <a:gd name="T40" fmla="*/ 196572170 w 90"/>
                  <a:gd name="T41" fmla="*/ 337700889 h 140"/>
                  <a:gd name="T42" fmla="*/ 196572170 w 90"/>
                  <a:gd name="T43" fmla="*/ 322579959 h 140"/>
                  <a:gd name="T44" fmla="*/ 186491549 w 90"/>
                  <a:gd name="T45" fmla="*/ 307459028 h 140"/>
                  <a:gd name="T46" fmla="*/ 186491549 w 90"/>
                  <a:gd name="T47" fmla="*/ 307459028 h 140"/>
                  <a:gd name="T48" fmla="*/ 171370617 w 90"/>
                  <a:gd name="T49" fmla="*/ 297378407 h 140"/>
                  <a:gd name="T50" fmla="*/ 146169063 w 90"/>
                  <a:gd name="T51" fmla="*/ 282257476 h 140"/>
                  <a:gd name="T52" fmla="*/ 95765930 w 90"/>
                  <a:gd name="T53" fmla="*/ 257055925 h 140"/>
                  <a:gd name="T54" fmla="*/ 95765930 w 90"/>
                  <a:gd name="T55" fmla="*/ 257055925 h 140"/>
                  <a:gd name="T56" fmla="*/ 70564376 w 90"/>
                  <a:gd name="T57" fmla="*/ 241934994 h 140"/>
                  <a:gd name="T58" fmla="*/ 55443444 w 90"/>
                  <a:gd name="T59" fmla="*/ 226814063 h 140"/>
                  <a:gd name="T60" fmla="*/ 35282188 w 90"/>
                  <a:gd name="T61" fmla="*/ 206652772 h 140"/>
                  <a:gd name="T62" fmla="*/ 20161249 w 90"/>
                  <a:gd name="T63" fmla="*/ 191531841 h 140"/>
                  <a:gd name="T64" fmla="*/ 20161249 w 90"/>
                  <a:gd name="T65" fmla="*/ 191531841 h 140"/>
                  <a:gd name="T66" fmla="*/ 15120939 w 90"/>
                  <a:gd name="T67" fmla="*/ 120967497 h 140"/>
                  <a:gd name="T68" fmla="*/ 15120939 w 90"/>
                  <a:gd name="T69" fmla="*/ 120967497 h 140"/>
                  <a:gd name="T70" fmla="*/ 10080625 w 90"/>
                  <a:gd name="T71" fmla="*/ 70564369 h 140"/>
                  <a:gd name="T72" fmla="*/ 0 w 90"/>
                  <a:gd name="T73" fmla="*/ 35282185 h 140"/>
                  <a:gd name="T74" fmla="*/ 0 w 90"/>
                  <a:gd name="T75" fmla="*/ 35282185 h 140"/>
                  <a:gd name="T76" fmla="*/ 10080625 w 90"/>
                  <a:gd name="T77" fmla="*/ 25201558 h 140"/>
                  <a:gd name="T78" fmla="*/ 20161249 w 90"/>
                  <a:gd name="T79" fmla="*/ 5040312 h 140"/>
                  <a:gd name="T80" fmla="*/ 20161249 w 90"/>
                  <a:gd name="T81" fmla="*/ 5040312 h 140"/>
                  <a:gd name="T82" fmla="*/ 25201560 w 90"/>
                  <a:gd name="T83" fmla="*/ 0 h 140"/>
                  <a:gd name="T84" fmla="*/ 30241877 w 90"/>
                  <a:gd name="T85" fmla="*/ 5040312 h 140"/>
                  <a:gd name="T86" fmla="*/ 50403120 w 90"/>
                  <a:gd name="T87" fmla="*/ 15120937 h 140"/>
                  <a:gd name="T88" fmla="*/ 110886887 w 90"/>
                  <a:gd name="T89" fmla="*/ 55443438 h 140"/>
                  <a:gd name="T90" fmla="*/ 196572170 w 90"/>
                  <a:gd name="T91" fmla="*/ 120967497 h 140"/>
                  <a:gd name="T92" fmla="*/ 196572170 w 90"/>
                  <a:gd name="T93" fmla="*/ 120967497 h 140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90"/>
                  <a:gd name="T142" fmla="*/ 0 h 140"/>
                  <a:gd name="T143" fmla="*/ 90 w 90"/>
                  <a:gd name="T144" fmla="*/ 140 h 140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90" h="140">
                    <a:moveTo>
                      <a:pt x="78" y="48"/>
                    </a:moveTo>
                    <a:lnTo>
                      <a:pt x="78" y="48"/>
                    </a:lnTo>
                    <a:lnTo>
                      <a:pt x="76" y="54"/>
                    </a:lnTo>
                    <a:lnTo>
                      <a:pt x="72" y="68"/>
                    </a:lnTo>
                    <a:lnTo>
                      <a:pt x="72" y="78"/>
                    </a:lnTo>
                    <a:lnTo>
                      <a:pt x="74" y="84"/>
                    </a:lnTo>
                    <a:lnTo>
                      <a:pt x="76" y="90"/>
                    </a:lnTo>
                    <a:lnTo>
                      <a:pt x="82" y="94"/>
                    </a:lnTo>
                    <a:lnTo>
                      <a:pt x="90" y="96"/>
                    </a:lnTo>
                    <a:lnTo>
                      <a:pt x="90" y="102"/>
                    </a:lnTo>
                    <a:lnTo>
                      <a:pt x="90" y="108"/>
                    </a:lnTo>
                    <a:lnTo>
                      <a:pt x="88" y="112"/>
                    </a:lnTo>
                    <a:lnTo>
                      <a:pt x="84" y="118"/>
                    </a:lnTo>
                    <a:lnTo>
                      <a:pt x="82" y="128"/>
                    </a:lnTo>
                    <a:lnTo>
                      <a:pt x="78" y="140"/>
                    </a:lnTo>
                    <a:lnTo>
                      <a:pt x="74" y="138"/>
                    </a:lnTo>
                    <a:lnTo>
                      <a:pt x="78" y="134"/>
                    </a:lnTo>
                    <a:lnTo>
                      <a:pt x="78" y="128"/>
                    </a:lnTo>
                    <a:lnTo>
                      <a:pt x="74" y="122"/>
                    </a:lnTo>
                    <a:lnTo>
                      <a:pt x="68" y="118"/>
                    </a:lnTo>
                    <a:lnTo>
                      <a:pt x="58" y="112"/>
                    </a:lnTo>
                    <a:lnTo>
                      <a:pt x="38" y="102"/>
                    </a:lnTo>
                    <a:lnTo>
                      <a:pt x="28" y="96"/>
                    </a:lnTo>
                    <a:lnTo>
                      <a:pt x="22" y="90"/>
                    </a:lnTo>
                    <a:lnTo>
                      <a:pt x="14" y="82"/>
                    </a:lnTo>
                    <a:lnTo>
                      <a:pt x="8" y="76"/>
                    </a:lnTo>
                    <a:lnTo>
                      <a:pt x="6" y="48"/>
                    </a:lnTo>
                    <a:lnTo>
                      <a:pt x="4" y="28"/>
                    </a:lnTo>
                    <a:lnTo>
                      <a:pt x="0" y="14"/>
                    </a:lnTo>
                    <a:lnTo>
                      <a:pt x="4" y="10"/>
                    </a:lnTo>
                    <a:lnTo>
                      <a:pt x="8" y="2"/>
                    </a:lnTo>
                    <a:lnTo>
                      <a:pt x="10" y="0"/>
                    </a:lnTo>
                    <a:lnTo>
                      <a:pt x="12" y="2"/>
                    </a:lnTo>
                    <a:lnTo>
                      <a:pt x="20" y="6"/>
                    </a:lnTo>
                    <a:lnTo>
                      <a:pt x="44" y="22"/>
                    </a:lnTo>
                    <a:lnTo>
                      <a:pt x="78" y="48"/>
                    </a:lnTo>
                    <a:close/>
                  </a:path>
                </a:pathLst>
              </a:custGeom>
              <a:solidFill>
                <a:schemeClr val="tx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>
                  <a:latin typeface="+mn-lt"/>
                  <a:ea typeface="+mn-ea"/>
                </a:endParaRPr>
              </a:p>
            </p:txBody>
          </p:sp>
        </p:grpSp>
        <p:sp>
          <p:nvSpPr>
            <p:cNvPr id="71" name="Freeform 5"/>
            <p:cNvSpPr>
              <a:spLocks noEditPoints="1"/>
            </p:cNvSpPr>
            <p:nvPr/>
          </p:nvSpPr>
          <p:spPr bwMode="auto">
            <a:xfrm>
              <a:off x="1220161" y="4640331"/>
              <a:ext cx="704661" cy="1838002"/>
            </a:xfrm>
            <a:custGeom>
              <a:avLst/>
              <a:gdLst>
                <a:gd name="T0" fmla="*/ 2147483647 w 600"/>
                <a:gd name="T1" fmla="*/ 1302100615 h 1727"/>
                <a:gd name="T2" fmla="*/ 2132965708 w 600"/>
                <a:gd name="T3" fmla="*/ 1014817518 h 1727"/>
                <a:gd name="T4" fmla="*/ 2114775135 w 600"/>
                <a:gd name="T5" fmla="*/ 861847602 h 1727"/>
                <a:gd name="T6" fmla="*/ 1982886016 w 600"/>
                <a:gd name="T7" fmla="*/ 936466814 h 1727"/>
                <a:gd name="T8" fmla="*/ 1791874337 w 600"/>
                <a:gd name="T9" fmla="*/ 179084624 h 1727"/>
                <a:gd name="T10" fmla="*/ 1664531796 w 600"/>
                <a:gd name="T11" fmla="*/ 41039906 h 1727"/>
                <a:gd name="T12" fmla="*/ 1459878253 w 600"/>
                <a:gd name="T13" fmla="*/ 22385578 h 1727"/>
                <a:gd name="T14" fmla="*/ 1064208499 w 600"/>
                <a:gd name="T15" fmla="*/ 813345211 h 1727"/>
                <a:gd name="T16" fmla="*/ 1059661922 w 600"/>
                <a:gd name="T17" fmla="*/ 820807712 h 1727"/>
                <a:gd name="T18" fmla="*/ 786788399 w 600"/>
                <a:gd name="T19" fmla="*/ 1085705480 h 1727"/>
                <a:gd name="T20" fmla="*/ 650350571 w 600"/>
                <a:gd name="T21" fmla="*/ 1078242979 h 1727"/>
                <a:gd name="T22" fmla="*/ 659445858 w 600"/>
                <a:gd name="T23" fmla="*/ 1227481403 h 1727"/>
                <a:gd name="T24" fmla="*/ 418406771 w 600"/>
                <a:gd name="T25" fmla="*/ 1652809174 h 1727"/>
                <a:gd name="T26" fmla="*/ 18190581 w 600"/>
                <a:gd name="T27" fmla="*/ 2147483647 h 1727"/>
                <a:gd name="T28" fmla="*/ 841362251 w 600"/>
                <a:gd name="T29" fmla="*/ 2147483647 h 1727"/>
                <a:gd name="T30" fmla="*/ 768595694 w 600"/>
                <a:gd name="T31" fmla="*/ 2147483647 h 1727"/>
                <a:gd name="T32" fmla="*/ 463885336 w 600"/>
                <a:gd name="T33" fmla="*/ 2147483647 h 1727"/>
                <a:gd name="T34" fmla="*/ 836813541 w 600"/>
                <a:gd name="T35" fmla="*/ 1757274526 h 1727"/>
                <a:gd name="T36" fmla="*/ 941416800 w 600"/>
                <a:gd name="T37" fmla="*/ 2089329247 h 1727"/>
                <a:gd name="T38" fmla="*/ 809527682 w 600"/>
                <a:gd name="T39" fmla="*/ 2147483647 h 1727"/>
                <a:gd name="T40" fmla="*/ 845910960 w 600"/>
                <a:gd name="T41" fmla="*/ 2147483647 h 1727"/>
                <a:gd name="T42" fmla="*/ 668541144 w 600"/>
                <a:gd name="T43" fmla="*/ 2147483647 h 1727"/>
                <a:gd name="T44" fmla="*/ 886840816 w 600"/>
                <a:gd name="T45" fmla="*/ 2147483647 h 1727"/>
                <a:gd name="T46" fmla="*/ 968702659 w 600"/>
                <a:gd name="T47" fmla="*/ 2147483647 h 1727"/>
                <a:gd name="T48" fmla="*/ 1296152433 w 600"/>
                <a:gd name="T49" fmla="*/ 2147483647 h 1727"/>
                <a:gd name="T50" fmla="*/ 1368918990 w 600"/>
                <a:gd name="T51" fmla="*/ 2147483647 h 1727"/>
                <a:gd name="T52" fmla="*/ 1878284890 w 600"/>
                <a:gd name="T53" fmla="*/ 2147483647 h 1727"/>
                <a:gd name="T54" fmla="*/ 1987434726 w 600"/>
                <a:gd name="T55" fmla="*/ 2147483647 h 1727"/>
                <a:gd name="T56" fmla="*/ 2147483647 w 600"/>
                <a:gd name="T57" fmla="*/ 2147483647 h 1727"/>
                <a:gd name="T58" fmla="*/ 2147483647 w 600"/>
                <a:gd name="T59" fmla="*/ 2147483647 h 1727"/>
                <a:gd name="T60" fmla="*/ 2147483647 w 600"/>
                <a:gd name="T61" fmla="*/ 2147483647 h 1727"/>
                <a:gd name="T62" fmla="*/ 1700915074 w 600"/>
                <a:gd name="T63" fmla="*/ 2147483647 h 1727"/>
                <a:gd name="T64" fmla="*/ 1891928886 w 600"/>
                <a:gd name="T65" fmla="*/ 2147483647 h 1727"/>
                <a:gd name="T66" fmla="*/ 1650889932 w 600"/>
                <a:gd name="T67" fmla="*/ 2147483647 h 1727"/>
                <a:gd name="T68" fmla="*/ 1578123375 w 600"/>
                <a:gd name="T69" fmla="*/ 2147483647 h 1727"/>
                <a:gd name="T70" fmla="*/ 1455329543 w 600"/>
                <a:gd name="T71" fmla="*/ 2147483647 h 1727"/>
                <a:gd name="T72" fmla="*/ 1432590261 w 600"/>
                <a:gd name="T73" fmla="*/ 2147483647 h 1727"/>
                <a:gd name="T74" fmla="*/ 1964693311 w 600"/>
                <a:gd name="T75" fmla="*/ 2147483647 h 1727"/>
                <a:gd name="T76" fmla="*/ 1782779051 w 600"/>
                <a:gd name="T77" fmla="*/ 1962477842 h 1727"/>
                <a:gd name="T78" fmla="*/ 1105140487 w 600"/>
                <a:gd name="T79" fmla="*/ 1414028468 h 1727"/>
                <a:gd name="T80" fmla="*/ 1332535712 w 600"/>
                <a:gd name="T81" fmla="*/ 1201364583 h 1727"/>
                <a:gd name="T82" fmla="*/ 1896475463 w 600"/>
                <a:gd name="T83" fmla="*/ 1354332326 h 1727"/>
                <a:gd name="T84" fmla="*/ 1937407451 w 600"/>
                <a:gd name="T85" fmla="*/ 1078242979 h 1727"/>
                <a:gd name="T86" fmla="*/ 2147483647 w 600"/>
                <a:gd name="T87" fmla="*/ 2147483647 h 1727"/>
                <a:gd name="T88" fmla="*/ 2147483647 w 600"/>
                <a:gd name="T89" fmla="*/ 2147483647 h 1727"/>
                <a:gd name="T90" fmla="*/ 2147483647 w 600"/>
                <a:gd name="T91" fmla="*/ 1839356238 h 1727"/>
                <a:gd name="T92" fmla="*/ 2147483647 w 600"/>
                <a:gd name="T93" fmla="*/ 2147483647 h 172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00"/>
                <a:gd name="T142" fmla="*/ 0 h 1727"/>
                <a:gd name="T143" fmla="*/ 600 w 600"/>
                <a:gd name="T144" fmla="*/ 1727 h 172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00" h="1727">
                  <a:moveTo>
                    <a:pt x="588" y="660"/>
                  </a:moveTo>
                  <a:cubicBezTo>
                    <a:pt x="584" y="609"/>
                    <a:pt x="581" y="557"/>
                    <a:pt x="581" y="506"/>
                  </a:cubicBezTo>
                  <a:cubicBezTo>
                    <a:pt x="580" y="455"/>
                    <a:pt x="582" y="399"/>
                    <a:pt x="567" y="349"/>
                  </a:cubicBezTo>
                  <a:cubicBezTo>
                    <a:pt x="562" y="333"/>
                    <a:pt x="560" y="307"/>
                    <a:pt x="545" y="296"/>
                  </a:cubicBezTo>
                  <a:cubicBezTo>
                    <a:pt x="535" y="288"/>
                    <a:pt x="517" y="285"/>
                    <a:pt x="504" y="281"/>
                  </a:cubicBezTo>
                  <a:cubicBezTo>
                    <a:pt x="493" y="277"/>
                    <a:pt x="481" y="274"/>
                    <a:pt x="469" y="272"/>
                  </a:cubicBezTo>
                  <a:cubicBezTo>
                    <a:pt x="477" y="267"/>
                    <a:pt x="490" y="260"/>
                    <a:pt x="486" y="250"/>
                  </a:cubicBezTo>
                  <a:cubicBezTo>
                    <a:pt x="478" y="255"/>
                    <a:pt x="472" y="262"/>
                    <a:pt x="461" y="259"/>
                  </a:cubicBezTo>
                  <a:cubicBezTo>
                    <a:pt x="464" y="250"/>
                    <a:pt x="469" y="241"/>
                    <a:pt x="465" y="231"/>
                  </a:cubicBezTo>
                  <a:cubicBezTo>
                    <a:pt x="463" y="239"/>
                    <a:pt x="461" y="251"/>
                    <a:pt x="452" y="254"/>
                  </a:cubicBezTo>
                  <a:cubicBezTo>
                    <a:pt x="450" y="248"/>
                    <a:pt x="449" y="240"/>
                    <a:pt x="448" y="233"/>
                  </a:cubicBezTo>
                  <a:cubicBezTo>
                    <a:pt x="448" y="244"/>
                    <a:pt x="443" y="255"/>
                    <a:pt x="436" y="251"/>
                  </a:cubicBezTo>
                  <a:cubicBezTo>
                    <a:pt x="433" y="237"/>
                    <a:pt x="431" y="222"/>
                    <a:pt x="427" y="208"/>
                  </a:cubicBezTo>
                  <a:cubicBezTo>
                    <a:pt x="420" y="176"/>
                    <a:pt x="418" y="143"/>
                    <a:pt x="413" y="110"/>
                  </a:cubicBezTo>
                  <a:cubicBezTo>
                    <a:pt x="409" y="91"/>
                    <a:pt x="404" y="67"/>
                    <a:pt x="394" y="48"/>
                  </a:cubicBezTo>
                  <a:cubicBezTo>
                    <a:pt x="392" y="41"/>
                    <a:pt x="389" y="35"/>
                    <a:pt x="386" y="29"/>
                  </a:cubicBezTo>
                  <a:cubicBezTo>
                    <a:pt x="384" y="26"/>
                    <a:pt x="381" y="22"/>
                    <a:pt x="378" y="19"/>
                  </a:cubicBezTo>
                  <a:cubicBezTo>
                    <a:pt x="374" y="14"/>
                    <a:pt x="370" y="11"/>
                    <a:pt x="366" y="11"/>
                  </a:cubicBezTo>
                  <a:cubicBezTo>
                    <a:pt x="356" y="4"/>
                    <a:pt x="344" y="0"/>
                    <a:pt x="334" y="2"/>
                  </a:cubicBezTo>
                  <a:cubicBezTo>
                    <a:pt x="328" y="4"/>
                    <a:pt x="326" y="7"/>
                    <a:pt x="319" y="5"/>
                  </a:cubicBezTo>
                  <a:cubicBezTo>
                    <a:pt x="321" y="6"/>
                    <a:pt x="321" y="6"/>
                    <a:pt x="321" y="6"/>
                  </a:cubicBezTo>
                  <a:cubicBezTo>
                    <a:pt x="211" y="11"/>
                    <a:pt x="239" y="136"/>
                    <a:pt x="235" y="208"/>
                  </a:cubicBezTo>
                  <a:cubicBezTo>
                    <a:pt x="233" y="220"/>
                    <a:pt x="233" y="220"/>
                    <a:pt x="233" y="220"/>
                  </a:cubicBezTo>
                  <a:cubicBezTo>
                    <a:pt x="233" y="219"/>
                    <a:pt x="234" y="219"/>
                    <a:pt x="234" y="218"/>
                  </a:cubicBezTo>
                  <a:cubicBezTo>
                    <a:pt x="234" y="219"/>
                    <a:pt x="234" y="219"/>
                    <a:pt x="234" y="219"/>
                  </a:cubicBezTo>
                  <a:cubicBezTo>
                    <a:pt x="233" y="226"/>
                    <a:pt x="232" y="234"/>
                    <a:pt x="230" y="242"/>
                  </a:cubicBezTo>
                  <a:cubicBezTo>
                    <a:pt x="233" y="220"/>
                    <a:pt x="233" y="220"/>
                    <a:pt x="233" y="220"/>
                  </a:cubicBezTo>
                  <a:cubicBezTo>
                    <a:pt x="233" y="221"/>
                    <a:pt x="232" y="223"/>
                    <a:pt x="232" y="224"/>
                  </a:cubicBezTo>
                  <a:cubicBezTo>
                    <a:pt x="226" y="238"/>
                    <a:pt x="221" y="253"/>
                    <a:pt x="212" y="265"/>
                  </a:cubicBezTo>
                  <a:cubicBezTo>
                    <a:pt x="203" y="278"/>
                    <a:pt x="191" y="292"/>
                    <a:pt x="173" y="291"/>
                  </a:cubicBezTo>
                  <a:cubicBezTo>
                    <a:pt x="165" y="291"/>
                    <a:pt x="156" y="287"/>
                    <a:pt x="153" y="280"/>
                  </a:cubicBezTo>
                  <a:cubicBezTo>
                    <a:pt x="155" y="292"/>
                    <a:pt x="155" y="300"/>
                    <a:pt x="171" y="306"/>
                  </a:cubicBezTo>
                  <a:cubicBezTo>
                    <a:pt x="157" y="307"/>
                    <a:pt x="151" y="297"/>
                    <a:pt x="143" y="289"/>
                  </a:cubicBezTo>
                  <a:cubicBezTo>
                    <a:pt x="144" y="297"/>
                    <a:pt x="151" y="307"/>
                    <a:pt x="158" y="312"/>
                  </a:cubicBezTo>
                  <a:cubicBezTo>
                    <a:pt x="162" y="314"/>
                    <a:pt x="166" y="317"/>
                    <a:pt x="170" y="318"/>
                  </a:cubicBezTo>
                  <a:cubicBezTo>
                    <a:pt x="161" y="321"/>
                    <a:pt x="152" y="324"/>
                    <a:pt x="145" y="329"/>
                  </a:cubicBezTo>
                  <a:cubicBezTo>
                    <a:pt x="135" y="335"/>
                    <a:pt x="138" y="340"/>
                    <a:pt x="135" y="349"/>
                  </a:cubicBezTo>
                  <a:cubicBezTo>
                    <a:pt x="133" y="354"/>
                    <a:pt x="124" y="368"/>
                    <a:pt x="126" y="375"/>
                  </a:cubicBezTo>
                  <a:cubicBezTo>
                    <a:pt x="118" y="398"/>
                    <a:pt x="102" y="421"/>
                    <a:pt x="92" y="443"/>
                  </a:cubicBezTo>
                  <a:cubicBezTo>
                    <a:pt x="85" y="460"/>
                    <a:pt x="77" y="476"/>
                    <a:pt x="68" y="492"/>
                  </a:cubicBezTo>
                  <a:cubicBezTo>
                    <a:pt x="57" y="512"/>
                    <a:pt x="44" y="534"/>
                    <a:pt x="30" y="551"/>
                  </a:cubicBezTo>
                  <a:cubicBezTo>
                    <a:pt x="16" y="568"/>
                    <a:pt x="0" y="578"/>
                    <a:pt x="4" y="599"/>
                  </a:cubicBezTo>
                  <a:cubicBezTo>
                    <a:pt x="16" y="669"/>
                    <a:pt x="113" y="687"/>
                    <a:pt x="157" y="739"/>
                  </a:cubicBezTo>
                  <a:cubicBezTo>
                    <a:pt x="161" y="728"/>
                    <a:pt x="171" y="731"/>
                    <a:pt x="178" y="724"/>
                  </a:cubicBezTo>
                  <a:cubicBezTo>
                    <a:pt x="182" y="720"/>
                    <a:pt x="184" y="712"/>
                    <a:pt x="185" y="706"/>
                  </a:cubicBezTo>
                  <a:cubicBezTo>
                    <a:pt x="183" y="709"/>
                    <a:pt x="179" y="713"/>
                    <a:pt x="171" y="716"/>
                  </a:cubicBezTo>
                  <a:cubicBezTo>
                    <a:pt x="142" y="725"/>
                    <a:pt x="137" y="650"/>
                    <a:pt x="160" y="655"/>
                  </a:cubicBezTo>
                  <a:cubicBezTo>
                    <a:pt x="163" y="655"/>
                    <a:pt x="166" y="655"/>
                    <a:pt x="169" y="655"/>
                  </a:cubicBezTo>
                  <a:cubicBezTo>
                    <a:pt x="143" y="640"/>
                    <a:pt x="121" y="619"/>
                    <a:pt x="100" y="599"/>
                  </a:cubicBezTo>
                  <a:cubicBezTo>
                    <a:pt x="103" y="598"/>
                    <a:pt x="106" y="597"/>
                    <a:pt x="109" y="596"/>
                  </a:cubicBezTo>
                  <a:cubicBezTo>
                    <a:pt x="105" y="592"/>
                    <a:pt x="102" y="586"/>
                    <a:pt x="102" y="580"/>
                  </a:cubicBezTo>
                  <a:cubicBezTo>
                    <a:pt x="121" y="557"/>
                    <a:pt x="132" y="526"/>
                    <a:pt x="152" y="501"/>
                  </a:cubicBezTo>
                  <a:cubicBezTo>
                    <a:pt x="158" y="493"/>
                    <a:pt x="167" y="482"/>
                    <a:pt x="176" y="476"/>
                  </a:cubicBezTo>
                  <a:cubicBezTo>
                    <a:pt x="179" y="474"/>
                    <a:pt x="181" y="473"/>
                    <a:pt x="184" y="471"/>
                  </a:cubicBezTo>
                  <a:cubicBezTo>
                    <a:pt x="185" y="474"/>
                    <a:pt x="186" y="477"/>
                    <a:pt x="187" y="479"/>
                  </a:cubicBezTo>
                  <a:cubicBezTo>
                    <a:pt x="193" y="492"/>
                    <a:pt x="200" y="506"/>
                    <a:pt x="204" y="519"/>
                  </a:cubicBezTo>
                  <a:cubicBezTo>
                    <a:pt x="209" y="535"/>
                    <a:pt x="206" y="546"/>
                    <a:pt x="207" y="560"/>
                  </a:cubicBezTo>
                  <a:cubicBezTo>
                    <a:pt x="209" y="574"/>
                    <a:pt x="219" y="589"/>
                    <a:pt x="221" y="603"/>
                  </a:cubicBezTo>
                  <a:cubicBezTo>
                    <a:pt x="222" y="608"/>
                    <a:pt x="222" y="613"/>
                    <a:pt x="222" y="617"/>
                  </a:cubicBezTo>
                  <a:cubicBezTo>
                    <a:pt x="199" y="623"/>
                    <a:pt x="198" y="646"/>
                    <a:pt x="178" y="659"/>
                  </a:cubicBezTo>
                  <a:cubicBezTo>
                    <a:pt x="178" y="659"/>
                    <a:pt x="177" y="659"/>
                    <a:pt x="177" y="658"/>
                  </a:cubicBezTo>
                  <a:cubicBezTo>
                    <a:pt x="163" y="687"/>
                    <a:pt x="181" y="700"/>
                    <a:pt x="186" y="702"/>
                  </a:cubicBezTo>
                  <a:cubicBezTo>
                    <a:pt x="186" y="702"/>
                    <a:pt x="186" y="702"/>
                    <a:pt x="186" y="701"/>
                  </a:cubicBezTo>
                  <a:cubicBezTo>
                    <a:pt x="190" y="702"/>
                    <a:pt x="194" y="702"/>
                    <a:pt x="198" y="703"/>
                  </a:cubicBezTo>
                  <a:cubicBezTo>
                    <a:pt x="197" y="705"/>
                    <a:pt x="196" y="708"/>
                    <a:pt x="195" y="710"/>
                  </a:cubicBezTo>
                  <a:cubicBezTo>
                    <a:pt x="176" y="749"/>
                    <a:pt x="158" y="791"/>
                    <a:pt x="147" y="832"/>
                  </a:cubicBezTo>
                  <a:cubicBezTo>
                    <a:pt x="154" y="833"/>
                    <a:pt x="195" y="837"/>
                    <a:pt x="202" y="842"/>
                  </a:cubicBezTo>
                  <a:cubicBezTo>
                    <a:pt x="201" y="863"/>
                    <a:pt x="197" y="891"/>
                    <a:pt x="196" y="915"/>
                  </a:cubicBezTo>
                  <a:cubicBezTo>
                    <a:pt x="194" y="963"/>
                    <a:pt x="190" y="990"/>
                    <a:pt x="195" y="1029"/>
                  </a:cubicBezTo>
                  <a:cubicBezTo>
                    <a:pt x="201" y="1081"/>
                    <a:pt x="197" y="1136"/>
                    <a:pt x="190" y="1187"/>
                  </a:cubicBezTo>
                  <a:cubicBezTo>
                    <a:pt x="200" y="1191"/>
                    <a:pt x="209" y="1191"/>
                    <a:pt x="218" y="1191"/>
                  </a:cubicBezTo>
                  <a:cubicBezTo>
                    <a:pt x="216" y="1206"/>
                    <a:pt x="213" y="1221"/>
                    <a:pt x="213" y="1237"/>
                  </a:cubicBezTo>
                  <a:cubicBezTo>
                    <a:pt x="212" y="1255"/>
                    <a:pt x="214" y="1273"/>
                    <a:pt x="217" y="1291"/>
                  </a:cubicBezTo>
                  <a:cubicBezTo>
                    <a:pt x="225" y="1341"/>
                    <a:pt x="240" y="1389"/>
                    <a:pt x="259" y="1436"/>
                  </a:cubicBezTo>
                  <a:cubicBezTo>
                    <a:pt x="274" y="1473"/>
                    <a:pt x="294" y="1521"/>
                    <a:pt x="285" y="1560"/>
                  </a:cubicBezTo>
                  <a:cubicBezTo>
                    <a:pt x="280" y="1583"/>
                    <a:pt x="279" y="1609"/>
                    <a:pt x="281" y="1632"/>
                  </a:cubicBezTo>
                  <a:cubicBezTo>
                    <a:pt x="283" y="1648"/>
                    <a:pt x="290" y="1663"/>
                    <a:pt x="292" y="1679"/>
                  </a:cubicBezTo>
                  <a:cubicBezTo>
                    <a:pt x="294" y="1691"/>
                    <a:pt x="287" y="1699"/>
                    <a:pt x="301" y="1706"/>
                  </a:cubicBezTo>
                  <a:cubicBezTo>
                    <a:pt x="317" y="1713"/>
                    <a:pt x="366" y="1727"/>
                    <a:pt x="383" y="1719"/>
                  </a:cubicBezTo>
                  <a:cubicBezTo>
                    <a:pt x="392" y="1714"/>
                    <a:pt x="396" y="1709"/>
                    <a:pt x="398" y="1703"/>
                  </a:cubicBezTo>
                  <a:cubicBezTo>
                    <a:pt x="401" y="1708"/>
                    <a:pt x="405" y="1711"/>
                    <a:pt x="413" y="1712"/>
                  </a:cubicBezTo>
                  <a:cubicBezTo>
                    <a:pt x="428" y="1715"/>
                    <a:pt x="442" y="1713"/>
                    <a:pt x="456" y="1709"/>
                  </a:cubicBezTo>
                  <a:cubicBezTo>
                    <a:pt x="500" y="1697"/>
                    <a:pt x="454" y="1666"/>
                    <a:pt x="443" y="1643"/>
                  </a:cubicBezTo>
                  <a:cubicBezTo>
                    <a:pt x="439" y="1634"/>
                    <a:pt x="438" y="1622"/>
                    <a:pt x="437" y="1610"/>
                  </a:cubicBezTo>
                  <a:cubicBezTo>
                    <a:pt x="437" y="1588"/>
                    <a:pt x="432" y="1578"/>
                    <a:pt x="433" y="1563"/>
                  </a:cubicBezTo>
                  <a:cubicBezTo>
                    <a:pt x="434" y="1546"/>
                    <a:pt x="475" y="1428"/>
                    <a:pt x="479" y="1417"/>
                  </a:cubicBezTo>
                  <a:cubicBezTo>
                    <a:pt x="482" y="1406"/>
                    <a:pt x="519" y="1310"/>
                    <a:pt x="522" y="1297"/>
                  </a:cubicBezTo>
                  <a:cubicBezTo>
                    <a:pt x="524" y="1287"/>
                    <a:pt x="538" y="1222"/>
                    <a:pt x="542" y="1204"/>
                  </a:cubicBezTo>
                  <a:cubicBezTo>
                    <a:pt x="550" y="1201"/>
                    <a:pt x="549" y="1016"/>
                    <a:pt x="561" y="923"/>
                  </a:cubicBezTo>
                  <a:cubicBezTo>
                    <a:pt x="569" y="860"/>
                    <a:pt x="568" y="859"/>
                    <a:pt x="582" y="855"/>
                  </a:cubicBezTo>
                  <a:cubicBezTo>
                    <a:pt x="587" y="849"/>
                    <a:pt x="591" y="840"/>
                    <a:pt x="594" y="830"/>
                  </a:cubicBezTo>
                  <a:cubicBezTo>
                    <a:pt x="596" y="821"/>
                    <a:pt x="598" y="808"/>
                    <a:pt x="598" y="795"/>
                  </a:cubicBezTo>
                  <a:cubicBezTo>
                    <a:pt x="600" y="750"/>
                    <a:pt x="591" y="706"/>
                    <a:pt x="588" y="660"/>
                  </a:cubicBezTo>
                  <a:close/>
                  <a:moveTo>
                    <a:pt x="376" y="1659"/>
                  </a:moveTo>
                  <a:cubicBezTo>
                    <a:pt x="366" y="1644"/>
                    <a:pt x="365" y="1625"/>
                    <a:pt x="362" y="1608"/>
                  </a:cubicBezTo>
                  <a:cubicBezTo>
                    <a:pt x="367" y="1612"/>
                    <a:pt x="372" y="1616"/>
                    <a:pt x="374" y="1623"/>
                  </a:cubicBezTo>
                  <a:cubicBezTo>
                    <a:pt x="378" y="1635"/>
                    <a:pt x="376" y="1647"/>
                    <a:pt x="376" y="1659"/>
                  </a:cubicBezTo>
                  <a:close/>
                  <a:moveTo>
                    <a:pt x="432" y="1268"/>
                  </a:moveTo>
                  <a:cubicBezTo>
                    <a:pt x="429" y="1284"/>
                    <a:pt x="421" y="1302"/>
                    <a:pt x="416" y="1317"/>
                  </a:cubicBezTo>
                  <a:cubicBezTo>
                    <a:pt x="409" y="1339"/>
                    <a:pt x="408" y="1361"/>
                    <a:pt x="406" y="1383"/>
                  </a:cubicBezTo>
                  <a:cubicBezTo>
                    <a:pt x="404" y="1425"/>
                    <a:pt x="404" y="1467"/>
                    <a:pt x="388" y="1507"/>
                  </a:cubicBezTo>
                  <a:cubicBezTo>
                    <a:pt x="382" y="1522"/>
                    <a:pt x="374" y="1535"/>
                    <a:pt x="363" y="1547"/>
                  </a:cubicBezTo>
                  <a:cubicBezTo>
                    <a:pt x="361" y="1550"/>
                    <a:pt x="357" y="1553"/>
                    <a:pt x="353" y="1557"/>
                  </a:cubicBezTo>
                  <a:cubicBezTo>
                    <a:pt x="353" y="1553"/>
                    <a:pt x="352" y="1549"/>
                    <a:pt x="350" y="1546"/>
                  </a:cubicBezTo>
                  <a:cubicBezTo>
                    <a:pt x="349" y="1543"/>
                    <a:pt x="348" y="1541"/>
                    <a:pt x="347" y="1538"/>
                  </a:cubicBezTo>
                  <a:cubicBezTo>
                    <a:pt x="340" y="1511"/>
                    <a:pt x="330" y="1467"/>
                    <a:pt x="329" y="1444"/>
                  </a:cubicBezTo>
                  <a:cubicBezTo>
                    <a:pt x="327" y="1417"/>
                    <a:pt x="320" y="1330"/>
                    <a:pt x="320" y="1330"/>
                  </a:cubicBezTo>
                  <a:cubicBezTo>
                    <a:pt x="320" y="1330"/>
                    <a:pt x="320" y="1330"/>
                    <a:pt x="320" y="1330"/>
                  </a:cubicBezTo>
                  <a:cubicBezTo>
                    <a:pt x="319" y="1315"/>
                    <a:pt x="317" y="1300"/>
                    <a:pt x="315" y="1285"/>
                  </a:cubicBezTo>
                  <a:cubicBezTo>
                    <a:pt x="312" y="1268"/>
                    <a:pt x="307" y="1252"/>
                    <a:pt x="308" y="1235"/>
                  </a:cubicBezTo>
                  <a:cubicBezTo>
                    <a:pt x="310" y="1221"/>
                    <a:pt x="313" y="1208"/>
                    <a:pt x="315" y="1195"/>
                  </a:cubicBezTo>
                  <a:cubicBezTo>
                    <a:pt x="317" y="1194"/>
                    <a:pt x="319" y="1194"/>
                    <a:pt x="322" y="1194"/>
                  </a:cubicBezTo>
                  <a:cubicBezTo>
                    <a:pt x="335" y="1193"/>
                    <a:pt x="347" y="1193"/>
                    <a:pt x="360" y="1194"/>
                  </a:cubicBezTo>
                  <a:cubicBezTo>
                    <a:pt x="372" y="1195"/>
                    <a:pt x="420" y="1196"/>
                    <a:pt x="432" y="1197"/>
                  </a:cubicBezTo>
                  <a:cubicBezTo>
                    <a:pt x="432" y="1210"/>
                    <a:pt x="440" y="1213"/>
                    <a:pt x="432" y="1268"/>
                  </a:cubicBezTo>
                  <a:close/>
                  <a:moveTo>
                    <a:pt x="426" y="371"/>
                  </a:moveTo>
                  <a:cubicBezTo>
                    <a:pt x="417" y="395"/>
                    <a:pt x="392" y="526"/>
                    <a:pt x="392" y="526"/>
                  </a:cubicBezTo>
                  <a:cubicBezTo>
                    <a:pt x="392" y="526"/>
                    <a:pt x="392" y="526"/>
                    <a:pt x="384" y="526"/>
                  </a:cubicBezTo>
                  <a:cubicBezTo>
                    <a:pt x="384" y="526"/>
                    <a:pt x="384" y="526"/>
                    <a:pt x="301" y="363"/>
                  </a:cubicBezTo>
                  <a:cubicBezTo>
                    <a:pt x="301" y="354"/>
                    <a:pt x="243" y="379"/>
                    <a:pt x="243" y="379"/>
                  </a:cubicBezTo>
                  <a:cubicBezTo>
                    <a:pt x="243" y="379"/>
                    <a:pt x="243" y="346"/>
                    <a:pt x="243" y="273"/>
                  </a:cubicBezTo>
                  <a:cubicBezTo>
                    <a:pt x="243" y="273"/>
                    <a:pt x="243" y="273"/>
                    <a:pt x="276" y="264"/>
                  </a:cubicBezTo>
                  <a:cubicBezTo>
                    <a:pt x="285" y="289"/>
                    <a:pt x="293" y="322"/>
                    <a:pt x="293" y="322"/>
                  </a:cubicBezTo>
                  <a:cubicBezTo>
                    <a:pt x="293" y="322"/>
                    <a:pt x="293" y="322"/>
                    <a:pt x="310" y="354"/>
                  </a:cubicBezTo>
                  <a:cubicBezTo>
                    <a:pt x="384" y="485"/>
                    <a:pt x="384" y="485"/>
                    <a:pt x="384" y="485"/>
                  </a:cubicBezTo>
                  <a:cubicBezTo>
                    <a:pt x="384" y="485"/>
                    <a:pt x="384" y="485"/>
                    <a:pt x="417" y="363"/>
                  </a:cubicBezTo>
                  <a:cubicBezTo>
                    <a:pt x="426" y="354"/>
                    <a:pt x="417" y="297"/>
                    <a:pt x="417" y="297"/>
                  </a:cubicBezTo>
                  <a:cubicBezTo>
                    <a:pt x="417" y="297"/>
                    <a:pt x="417" y="297"/>
                    <a:pt x="417" y="281"/>
                  </a:cubicBezTo>
                  <a:cubicBezTo>
                    <a:pt x="417" y="281"/>
                    <a:pt x="417" y="281"/>
                    <a:pt x="426" y="289"/>
                  </a:cubicBezTo>
                  <a:cubicBezTo>
                    <a:pt x="426" y="289"/>
                    <a:pt x="426" y="289"/>
                    <a:pt x="467" y="371"/>
                  </a:cubicBezTo>
                  <a:cubicBezTo>
                    <a:pt x="467" y="371"/>
                    <a:pt x="467" y="371"/>
                    <a:pt x="426" y="371"/>
                  </a:cubicBezTo>
                  <a:close/>
                  <a:moveTo>
                    <a:pt x="487" y="649"/>
                  </a:moveTo>
                  <a:cubicBezTo>
                    <a:pt x="483" y="649"/>
                    <a:pt x="483" y="649"/>
                    <a:pt x="483" y="649"/>
                  </a:cubicBezTo>
                  <a:cubicBezTo>
                    <a:pt x="483" y="644"/>
                    <a:pt x="475" y="632"/>
                    <a:pt x="474" y="622"/>
                  </a:cubicBezTo>
                  <a:cubicBezTo>
                    <a:pt x="472" y="613"/>
                    <a:pt x="474" y="599"/>
                    <a:pt x="474" y="588"/>
                  </a:cubicBezTo>
                  <a:cubicBezTo>
                    <a:pt x="476" y="556"/>
                    <a:pt x="487" y="525"/>
                    <a:pt x="487" y="493"/>
                  </a:cubicBezTo>
                  <a:cubicBezTo>
                    <a:pt x="487" y="490"/>
                    <a:pt x="487" y="488"/>
                    <a:pt x="487" y="486"/>
                  </a:cubicBezTo>
                  <a:cubicBezTo>
                    <a:pt x="487" y="488"/>
                    <a:pt x="487" y="490"/>
                    <a:pt x="487" y="493"/>
                  </a:cubicBezTo>
                  <a:cubicBezTo>
                    <a:pt x="488" y="525"/>
                    <a:pt x="493" y="556"/>
                    <a:pt x="481" y="587"/>
                  </a:cubicBezTo>
                  <a:cubicBezTo>
                    <a:pt x="484" y="586"/>
                    <a:pt x="487" y="587"/>
                    <a:pt x="489" y="587"/>
                  </a:cubicBezTo>
                  <a:cubicBezTo>
                    <a:pt x="484" y="599"/>
                    <a:pt x="492" y="605"/>
                    <a:pt x="492" y="616"/>
                  </a:cubicBezTo>
                  <a:cubicBezTo>
                    <a:pt x="492" y="627"/>
                    <a:pt x="488" y="638"/>
                    <a:pt x="487" y="649"/>
                  </a:cubicBez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ea typeface="+mn-ea"/>
              </a:endParaRPr>
            </a:p>
          </p:txBody>
        </p:sp>
        <p:grpSp>
          <p:nvGrpSpPr>
            <p:cNvPr id="72" name="Gruppe 51"/>
            <p:cNvGrpSpPr>
              <a:grpSpLocks/>
            </p:cNvGrpSpPr>
            <p:nvPr/>
          </p:nvGrpSpPr>
          <p:grpSpPr bwMode="auto">
            <a:xfrm>
              <a:off x="863602" y="4560889"/>
              <a:ext cx="606426" cy="1978025"/>
              <a:chOff x="2762967" y="1597101"/>
              <a:chExt cx="748643" cy="2441454"/>
            </a:xfrm>
          </p:grpSpPr>
          <p:sp>
            <p:nvSpPr>
              <p:cNvPr id="74" name="Freeform 125"/>
              <p:cNvSpPr>
                <a:spLocks/>
              </p:cNvSpPr>
              <p:nvPr/>
            </p:nvSpPr>
            <p:spPr bwMode="auto">
              <a:xfrm>
                <a:off x="2761494" y="1597101"/>
                <a:ext cx="749466" cy="2442448"/>
              </a:xfrm>
              <a:custGeom>
                <a:avLst/>
                <a:gdLst>
                  <a:gd name="T0" fmla="*/ 2147483647 w 364"/>
                  <a:gd name="T1" fmla="*/ 2147483647 h 1186"/>
                  <a:gd name="T2" fmla="*/ 2147483647 w 364"/>
                  <a:gd name="T3" fmla="*/ 2147483647 h 1186"/>
                  <a:gd name="T4" fmla="*/ 2147483647 w 364"/>
                  <a:gd name="T5" fmla="*/ 2147483647 h 1186"/>
                  <a:gd name="T6" fmla="*/ 2147483647 w 364"/>
                  <a:gd name="T7" fmla="*/ 2147483647 h 1186"/>
                  <a:gd name="T8" fmla="*/ 2147483647 w 364"/>
                  <a:gd name="T9" fmla="*/ 2147483647 h 1186"/>
                  <a:gd name="T10" fmla="*/ 2147483647 w 364"/>
                  <a:gd name="T11" fmla="*/ 2147483647 h 1186"/>
                  <a:gd name="T12" fmla="*/ 2147483647 w 364"/>
                  <a:gd name="T13" fmla="*/ 2147483647 h 1186"/>
                  <a:gd name="T14" fmla="*/ 2147483647 w 364"/>
                  <a:gd name="T15" fmla="*/ 2147483647 h 1186"/>
                  <a:gd name="T16" fmla="*/ 2147483647 w 364"/>
                  <a:gd name="T17" fmla="*/ 0 h 1186"/>
                  <a:gd name="T18" fmla="*/ 2147483647 w 364"/>
                  <a:gd name="T19" fmla="*/ 2147483647 h 1186"/>
                  <a:gd name="T20" fmla="*/ 2147483647 w 364"/>
                  <a:gd name="T21" fmla="*/ 2147483647 h 1186"/>
                  <a:gd name="T22" fmla="*/ 2147483647 w 364"/>
                  <a:gd name="T23" fmla="*/ 2147483647 h 1186"/>
                  <a:gd name="T24" fmla="*/ 2147483647 w 364"/>
                  <a:gd name="T25" fmla="*/ 2147483647 h 1186"/>
                  <a:gd name="T26" fmla="*/ 2147483647 w 364"/>
                  <a:gd name="T27" fmla="*/ 2147483647 h 1186"/>
                  <a:gd name="T28" fmla="*/ 2147483647 w 364"/>
                  <a:gd name="T29" fmla="*/ 2147483647 h 1186"/>
                  <a:gd name="T30" fmla="*/ 2147483647 w 364"/>
                  <a:gd name="T31" fmla="*/ 2147483647 h 1186"/>
                  <a:gd name="T32" fmla="*/ 2147483647 w 364"/>
                  <a:gd name="T33" fmla="*/ 2147483647 h 1186"/>
                  <a:gd name="T34" fmla="*/ 2147483647 w 364"/>
                  <a:gd name="T35" fmla="*/ 2147483647 h 1186"/>
                  <a:gd name="T36" fmla="*/ 2147483647 w 364"/>
                  <a:gd name="T37" fmla="*/ 2147483647 h 1186"/>
                  <a:gd name="T38" fmla="*/ 2147483647 w 364"/>
                  <a:gd name="T39" fmla="*/ 2147483647 h 1186"/>
                  <a:gd name="T40" fmla="*/ 2147483647 w 364"/>
                  <a:gd name="T41" fmla="*/ 2147483647 h 1186"/>
                  <a:gd name="T42" fmla="*/ 0 w 364"/>
                  <a:gd name="T43" fmla="*/ 2147483647 h 1186"/>
                  <a:gd name="T44" fmla="*/ 2147483647 w 364"/>
                  <a:gd name="T45" fmla="*/ 2147483647 h 1186"/>
                  <a:gd name="T46" fmla="*/ 2147483647 w 364"/>
                  <a:gd name="T47" fmla="*/ 2147483647 h 1186"/>
                  <a:gd name="T48" fmla="*/ 2147483647 w 364"/>
                  <a:gd name="T49" fmla="*/ 2147483647 h 1186"/>
                  <a:gd name="T50" fmla="*/ 2147483647 w 364"/>
                  <a:gd name="T51" fmla="*/ 2147483647 h 1186"/>
                  <a:gd name="T52" fmla="*/ 2147483647 w 364"/>
                  <a:gd name="T53" fmla="*/ 2147483647 h 1186"/>
                  <a:gd name="T54" fmla="*/ 2147483647 w 364"/>
                  <a:gd name="T55" fmla="*/ 2147483647 h 1186"/>
                  <a:gd name="T56" fmla="*/ 2147483647 w 364"/>
                  <a:gd name="T57" fmla="*/ 2147483647 h 1186"/>
                  <a:gd name="T58" fmla="*/ 2147483647 w 364"/>
                  <a:gd name="T59" fmla="*/ 2147483647 h 1186"/>
                  <a:gd name="T60" fmla="*/ 2147483647 w 364"/>
                  <a:gd name="T61" fmla="*/ 2147483647 h 1186"/>
                  <a:gd name="T62" fmla="*/ 2147483647 w 364"/>
                  <a:gd name="T63" fmla="*/ 2147483647 h 1186"/>
                  <a:gd name="T64" fmla="*/ 2147483647 w 364"/>
                  <a:gd name="T65" fmla="*/ 2147483647 h 1186"/>
                  <a:gd name="T66" fmla="*/ 2147483647 w 364"/>
                  <a:gd name="T67" fmla="*/ 2147483647 h 1186"/>
                  <a:gd name="T68" fmla="*/ 2147483647 w 364"/>
                  <a:gd name="T69" fmla="*/ 2147483647 h 1186"/>
                  <a:gd name="T70" fmla="*/ 2147483647 w 364"/>
                  <a:gd name="T71" fmla="*/ 2147483647 h 1186"/>
                  <a:gd name="T72" fmla="*/ 2147483647 w 364"/>
                  <a:gd name="T73" fmla="*/ 2147483647 h 1186"/>
                  <a:gd name="T74" fmla="*/ 2147483647 w 364"/>
                  <a:gd name="T75" fmla="*/ 2147483647 h 1186"/>
                  <a:gd name="T76" fmla="*/ 2147483647 w 364"/>
                  <a:gd name="T77" fmla="*/ 2147483647 h 1186"/>
                  <a:gd name="T78" fmla="*/ 2147483647 w 364"/>
                  <a:gd name="T79" fmla="*/ 2147483647 h 1186"/>
                  <a:gd name="T80" fmla="*/ 2147483647 w 364"/>
                  <a:gd name="T81" fmla="*/ 2147483647 h 1186"/>
                  <a:gd name="T82" fmla="*/ 2147483647 w 364"/>
                  <a:gd name="T83" fmla="*/ 2147483647 h 1186"/>
                  <a:gd name="T84" fmla="*/ 2147483647 w 364"/>
                  <a:gd name="T85" fmla="*/ 2147483647 h 1186"/>
                  <a:gd name="T86" fmla="*/ 2147483647 w 364"/>
                  <a:gd name="T87" fmla="*/ 2147483647 h 1186"/>
                  <a:gd name="T88" fmla="*/ 2147483647 w 364"/>
                  <a:gd name="T89" fmla="*/ 2147483647 h 1186"/>
                  <a:gd name="T90" fmla="*/ 2147483647 w 364"/>
                  <a:gd name="T91" fmla="*/ 2147483647 h 1186"/>
                  <a:gd name="T92" fmla="*/ 2147483647 w 364"/>
                  <a:gd name="T93" fmla="*/ 2147483647 h 1186"/>
                  <a:gd name="T94" fmla="*/ 2147483647 w 364"/>
                  <a:gd name="T95" fmla="*/ 2147483647 h 1186"/>
                  <a:gd name="T96" fmla="*/ 2147483647 w 364"/>
                  <a:gd name="T97" fmla="*/ 2147483647 h 1186"/>
                  <a:gd name="T98" fmla="*/ 2147483647 w 364"/>
                  <a:gd name="T99" fmla="*/ 2147483647 h 1186"/>
                  <a:gd name="T100" fmla="*/ 2147483647 w 364"/>
                  <a:gd name="T101" fmla="*/ 2147483647 h 1186"/>
                  <a:gd name="T102" fmla="*/ 2147483647 w 364"/>
                  <a:gd name="T103" fmla="*/ 2147483647 h 1186"/>
                  <a:gd name="T104" fmla="*/ 2147483647 w 364"/>
                  <a:gd name="T105" fmla="*/ 2147483647 h 1186"/>
                  <a:gd name="T106" fmla="*/ 2147483647 w 364"/>
                  <a:gd name="T107" fmla="*/ 2147483647 h 1186"/>
                  <a:gd name="T108" fmla="*/ 2147483647 w 364"/>
                  <a:gd name="T109" fmla="*/ 2147483647 h 1186"/>
                  <a:gd name="T110" fmla="*/ 2147483647 w 364"/>
                  <a:gd name="T111" fmla="*/ 2147483647 h 1186"/>
                  <a:gd name="T112" fmla="*/ 2147483647 w 364"/>
                  <a:gd name="T113" fmla="*/ 2147483647 h 1186"/>
                  <a:gd name="T114" fmla="*/ 2147483647 w 364"/>
                  <a:gd name="T115" fmla="*/ 2147483647 h 1186"/>
                  <a:gd name="T116" fmla="*/ 2147483647 w 364"/>
                  <a:gd name="T117" fmla="*/ 2147483647 h 118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364"/>
                  <a:gd name="T178" fmla="*/ 0 h 1186"/>
                  <a:gd name="T179" fmla="*/ 364 w 364"/>
                  <a:gd name="T180" fmla="*/ 1186 h 118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364" h="1186">
                    <a:moveTo>
                      <a:pt x="350" y="338"/>
                    </a:moveTo>
                    <a:lnTo>
                      <a:pt x="350" y="338"/>
                    </a:lnTo>
                    <a:lnTo>
                      <a:pt x="342" y="314"/>
                    </a:lnTo>
                    <a:lnTo>
                      <a:pt x="336" y="286"/>
                    </a:lnTo>
                    <a:lnTo>
                      <a:pt x="326" y="232"/>
                    </a:lnTo>
                    <a:lnTo>
                      <a:pt x="322" y="224"/>
                    </a:lnTo>
                    <a:lnTo>
                      <a:pt x="318" y="216"/>
                    </a:lnTo>
                    <a:lnTo>
                      <a:pt x="312" y="212"/>
                    </a:lnTo>
                    <a:lnTo>
                      <a:pt x="306" y="210"/>
                    </a:lnTo>
                    <a:lnTo>
                      <a:pt x="278" y="200"/>
                    </a:lnTo>
                    <a:lnTo>
                      <a:pt x="258" y="192"/>
                    </a:lnTo>
                    <a:lnTo>
                      <a:pt x="246" y="186"/>
                    </a:lnTo>
                    <a:lnTo>
                      <a:pt x="240" y="180"/>
                    </a:lnTo>
                    <a:lnTo>
                      <a:pt x="234" y="174"/>
                    </a:lnTo>
                    <a:lnTo>
                      <a:pt x="230" y="168"/>
                    </a:lnTo>
                    <a:lnTo>
                      <a:pt x="224" y="162"/>
                    </a:lnTo>
                    <a:lnTo>
                      <a:pt x="220" y="158"/>
                    </a:lnTo>
                    <a:lnTo>
                      <a:pt x="216" y="156"/>
                    </a:lnTo>
                    <a:lnTo>
                      <a:pt x="216" y="146"/>
                    </a:lnTo>
                    <a:lnTo>
                      <a:pt x="218" y="140"/>
                    </a:lnTo>
                    <a:lnTo>
                      <a:pt x="222" y="136"/>
                    </a:lnTo>
                    <a:lnTo>
                      <a:pt x="228" y="126"/>
                    </a:lnTo>
                    <a:lnTo>
                      <a:pt x="236" y="110"/>
                    </a:lnTo>
                    <a:lnTo>
                      <a:pt x="238" y="102"/>
                    </a:lnTo>
                    <a:lnTo>
                      <a:pt x="238" y="96"/>
                    </a:lnTo>
                    <a:lnTo>
                      <a:pt x="238" y="90"/>
                    </a:lnTo>
                    <a:lnTo>
                      <a:pt x="234" y="88"/>
                    </a:lnTo>
                    <a:lnTo>
                      <a:pt x="236" y="76"/>
                    </a:lnTo>
                    <a:lnTo>
                      <a:pt x="236" y="68"/>
                    </a:lnTo>
                    <a:lnTo>
                      <a:pt x="236" y="56"/>
                    </a:lnTo>
                    <a:lnTo>
                      <a:pt x="232" y="42"/>
                    </a:lnTo>
                    <a:lnTo>
                      <a:pt x="230" y="32"/>
                    </a:lnTo>
                    <a:lnTo>
                      <a:pt x="226" y="24"/>
                    </a:lnTo>
                    <a:lnTo>
                      <a:pt x="222" y="16"/>
                    </a:lnTo>
                    <a:lnTo>
                      <a:pt x="214" y="10"/>
                    </a:lnTo>
                    <a:lnTo>
                      <a:pt x="204" y="4"/>
                    </a:lnTo>
                    <a:lnTo>
                      <a:pt x="192" y="0"/>
                    </a:lnTo>
                    <a:lnTo>
                      <a:pt x="174" y="0"/>
                    </a:lnTo>
                    <a:lnTo>
                      <a:pt x="158" y="2"/>
                    </a:lnTo>
                    <a:lnTo>
                      <a:pt x="146" y="6"/>
                    </a:lnTo>
                    <a:lnTo>
                      <a:pt x="136" y="14"/>
                    </a:lnTo>
                    <a:lnTo>
                      <a:pt x="128" y="20"/>
                    </a:lnTo>
                    <a:lnTo>
                      <a:pt x="124" y="28"/>
                    </a:lnTo>
                    <a:lnTo>
                      <a:pt x="120" y="36"/>
                    </a:lnTo>
                    <a:lnTo>
                      <a:pt x="118" y="44"/>
                    </a:lnTo>
                    <a:lnTo>
                      <a:pt x="116" y="60"/>
                    </a:lnTo>
                    <a:lnTo>
                      <a:pt x="118" y="72"/>
                    </a:lnTo>
                    <a:lnTo>
                      <a:pt x="120" y="82"/>
                    </a:lnTo>
                    <a:lnTo>
                      <a:pt x="118" y="84"/>
                    </a:lnTo>
                    <a:lnTo>
                      <a:pt x="116" y="92"/>
                    </a:lnTo>
                    <a:lnTo>
                      <a:pt x="116" y="98"/>
                    </a:lnTo>
                    <a:lnTo>
                      <a:pt x="118" y="106"/>
                    </a:lnTo>
                    <a:lnTo>
                      <a:pt x="122" y="116"/>
                    </a:lnTo>
                    <a:lnTo>
                      <a:pt x="130" y="126"/>
                    </a:lnTo>
                    <a:lnTo>
                      <a:pt x="132" y="128"/>
                    </a:lnTo>
                    <a:lnTo>
                      <a:pt x="134" y="130"/>
                    </a:lnTo>
                    <a:lnTo>
                      <a:pt x="136" y="136"/>
                    </a:lnTo>
                    <a:lnTo>
                      <a:pt x="138" y="152"/>
                    </a:lnTo>
                    <a:lnTo>
                      <a:pt x="140" y="158"/>
                    </a:lnTo>
                    <a:lnTo>
                      <a:pt x="138" y="164"/>
                    </a:lnTo>
                    <a:lnTo>
                      <a:pt x="134" y="168"/>
                    </a:lnTo>
                    <a:lnTo>
                      <a:pt x="126" y="174"/>
                    </a:lnTo>
                    <a:lnTo>
                      <a:pt x="112" y="186"/>
                    </a:lnTo>
                    <a:lnTo>
                      <a:pt x="102" y="192"/>
                    </a:lnTo>
                    <a:lnTo>
                      <a:pt x="90" y="198"/>
                    </a:lnTo>
                    <a:lnTo>
                      <a:pt x="70" y="204"/>
                    </a:lnTo>
                    <a:lnTo>
                      <a:pt x="62" y="208"/>
                    </a:lnTo>
                    <a:lnTo>
                      <a:pt x="52" y="212"/>
                    </a:lnTo>
                    <a:lnTo>
                      <a:pt x="46" y="216"/>
                    </a:lnTo>
                    <a:lnTo>
                      <a:pt x="42" y="222"/>
                    </a:lnTo>
                    <a:lnTo>
                      <a:pt x="38" y="228"/>
                    </a:lnTo>
                    <a:lnTo>
                      <a:pt x="36" y="236"/>
                    </a:lnTo>
                    <a:lnTo>
                      <a:pt x="32" y="274"/>
                    </a:lnTo>
                    <a:lnTo>
                      <a:pt x="30" y="302"/>
                    </a:lnTo>
                    <a:lnTo>
                      <a:pt x="24" y="392"/>
                    </a:lnTo>
                    <a:lnTo>
                      <a:pt x="18" y="448"/>
                    </a:lnTo>
                    <a:lnTo>
                      <a:pt x="14" y="482"/>
                    </a:lnTo>
                    <a:lnTo>
                      <a:pt x="10" y="514"/>
                    </a:lnTo>
                    <a:lnTo>
                      <a:pt x="8" y="540"/>
                    </a:lnTo>
                    <a:lnTo>
                      <a:pt x="6" y="566"/>
                    </a:lnTo>
                    <a:lnTo>
                      <a:pt x="4" y="588"/>
                    </a:lnTo>
                    <a:lnTo>
                      <a:pt x="6" y="594"/>
                    </a:lnTo>
                    <a:lnTo>
                      <a:pt x="8" y="598"/>
                    </a:lnTo>
                    <a:lnTo>
                      <a:pt x="12" y="598"/>
                    </a:lnTo>
                    <a:lnTo>
                      <a:pt x="4" y="616"/>
                    </a:lnTo>
                    <a:lnTo>
                      <a:pt x="2" y="626"/>
                    </a:lnTo>
                    <a:lnTo>
                      <a:pt x="0" y="638"/>
                    </a:lnTo>
                    <a:lnTo>
                      <a:pt x="2" y="650"/>
                    </a:lnTo>
                    <a:lnTo>
                      <a:pt x="6" y="660"/>
                    </a:lnTo>
                    <a:lnTo>
                      <a:pt x="14" y="670"/>
                    </a:lnTo>
                    <a:lnTo>
                      <a:pt x="26" y="676"/>
                    </a:lnTo>
                    <a:lnTo>
                      <a:pt x="36" y="680"/>
                    </a:lnTo>
                    <a:lnTo>
                      <a:pt x="40" y="680"/>
                    </a:lnTo>
                    <a:lnTo>
                      <a:pt x="42" y="678"/>
                    </a:lnTo>
                    <a:lnTo>
                      <a:pt x="42" y="674"/>
                    </a:lnTo>
                    <a:lnTo>
                      <a:pt x="38" y="670"/>
                    </a:lnTo>
                    <a:lnTo>
                      <a:pt x="36" y="664"/>
                    </a:lnTo>
                    <a:lnTo>
                      <a:pt x="34" y="660"/>
                    </a:lnTo>
                    <a:lnTo>
                      <a:pt x="34" y="654"/>
                    </a:lnTo>
                    <a:lnTo>
                      <a:pt x="36" y="650"/>
                    </a:lnTo>
                    <a:lnTo>
                      <a:pt x="34" y="644"/>
                    </a:lnTo>
                    <a:lnTo>
                      <a:pt x="34" y="636"/>
                    </a:lnTo>
                    <a:lnTo>
                      <a:pt x="38" y="628"/>
                    </a:lnTo>
                    <a:lnTo>
                      <a:pt x="40" y="622"/>
                    </a:lnTo>
                    <a:lnTo>
                      <a:pt x="38" y="616"/>
                    </a:lnTo>
                    <a:lnTo>
                      <a:pt x="38" y="612"/>
                    </a:lnTo>
                    <a:lnTo>
                      <a:pt x="38" y="608"/>
                    </a:lnTo>
                    <a:lnTo>
                      <a:pt x="40" y="606"/>
                    </a:lnTo>
                    <a:lnTo>
                      <a:pt x="42" y="604"/>
                    </a:lnTo>
                    <a:lnTo>
                      <a:pt x="44" y="604"/>
                    </a:lnTo>
                    <a:lnTo>
                      <a:pt x="48" y="602"/>
                    </a:lnTo>
                    <a:lnTo>
                      <a:pt x="50" y="596"/>
                    </a:lnTo>
                    <a:lnTo>
                      <a:pt x="50" y="594"/>
                    </a:lnTo>
                    <a:lnTo>
                      <a:pt x="58" y="534"/>
                    </a:lnTo>
                    <a:lnTo>
                      <a:pt x="56" y="568"/>
                    </a:lnTo>
                    <a:lnTo>
                      <a:pt x="56" y="578"/>
                    </a:lnTo>
                    <a:lnTo>
                      <a:pt x="56" y="586"/>
                    </a:lnTo>
                    <a:lnTo>
                      <a:pt x="60" y="598"/>
                    </a:lnTo>
                    <a:lnTo>
                      <a:pt x="62" y="612"/>
                    </a:lnTo>
                    <a:lnTo>
                      <a:pt x="62" y="644"/>
                    </a:lnTo>
                    <a:lnTo>
                      <a:pt x="64" y="686"/>
                    </a:lnTo>
                    <a:lnTo>
                      <a:pt x="70" y="758"/>
                    </a:lnTo>
                    <a:lnTo>
                      <a:pt x="76" y="832"/>
                    </a:lnTo>
                    <a:lnTo>
                      <a:pt x="78" y="876"/>
                    </a:lnTo>
                    <a:lnTo>
                      <a:pt x="80" y="948"/>
                    </a:lnTo>
                    <a:lnTo>
                      <a:pt x="80" y="990"/>
                    </a:lnTo>
                    <a:lnTo>
                      <a:pt x="76" y="1022"/>
                    </a:lnTo>
                    <a:lnTo>
                      <a:pt x="74" y="1044"/>
                    </a:lnTo>
                    <a:lnTo>
                      <a:pt x="72" y="1068"/>
                    </a:lnTo>
                    <a:lnTo>
                      <a:pt x="74" y="1088"/>
                    </a:lnTo>
                    <a:lnTo>
                      <a:pt x="76" y="1104"/>
                    </a:lnTo>
                    <a:lnTo>
                      <a:pt x="84" y="1124"/>
                    </a:lnTo>
                    <a:lnTo>
                      <a:pt x="86" y="1130"/>
                    </a:lnTo>
                    <a:lnTo>
                      <a:pt x="84" y="1134"/>
                    </a:lnTo>
                    <a:lnTo>
                      <a:pt x="66" y="1150"/>
                    </a:lnTo>
                    <a:lnTo>
                      <a:pt x="56" y="1162"/>
                    </a:lnTo>
                    <a:lnTo>
                      <a:pt x="54" y="1166"/>
                    </a:lnTo>
                    <a:lnTo>
                      <a:pt x="54" y="1170"/>
                    </a:lnTo>
                    <a:lnTo>
                      <a:pt x="56" y="1174"/>
                    </a:lnTo>
                    <a:lnTo>
                      <a:pt x="60" y="1176"/>
                    </a:lnTo>
                    <a:lnTo>
                      <a:pt x="72" y="1180"/>
                    </a:lnTo>
                    <a:lnTo>
                      <a:pt x="86" y="1180"/>
                    </a:lnTo>
                    <a:lnTo>
                      <a:pt x="102" y="1174"/>
                    </a:lnTo>
                    <a:lnTo>
                      <a:pt x="118" y="1168"/>
                    </a:lnTo>
                    <a:lnTo>
                      <a:pt x="134" y="1164"/>
                    </a:lnTo>
                    <a:lnTo>
                      <a:pt x="146" y="1160"/>
                    </a:lnTo>
                    <a:lnTo>
                      <a:pt x="150" y="1158"/>
                    </a:lnTo>
                    <a:lnTo>
                      <a:pt x="152" y="1156"/>
                    </a:lnTo>
                    <a:lnTo>
                      <a:pt x="152" y="1152"/>
                    </a:lnTo>
                    <a:lnTo>
                      <a:pt x="150" y="1146"/>
                    </a:lnTo>
                    <a:lnTo>
                      <a:pt x="148" y="1138"/>
                    </a:lnTo>
                    <a:lnTo>
                      <a:pt x="150" y="1130"/>
                    </a:lnTo>
                    <a:lnTo>
                      <a:pt x="154" y="1116"/>
                    </a:lnTo>
                    <a:lnTo>
                      <a:pt x="156" y="1106"/>
                    </a:lnTo>
                    <a:lnTo>
                      <a:pt x="156" y="1090"/>
                    </a:lnTo>
                    <a:lnTo>
                      <a:pt x="156" y="1052"/>
                    </a:lnTo>
                    <a:lnTo>
                      <a:pt x="156" y="984"/>
                    </a:lnTo>
                    <a:lnTo>
                      <a:pt x="158" y="920"/>
                    </a:lnTo>
                    <a:lnTo>
                      <a:pt x="162" y="886"/>
                    </a:lnTo>
                    <a:lnTo>
                      <a:pt x="164" y="868"/>
                    </a:lnTo>
                    <a:lnTo>
                      <a:pt x="168" y="840"/>
                    </a:lnTo>
                    <a:lnTo>
                      <a:pt x="174" y="772"/>
                    </a:lnTo>
                    <a:lnTo>
                      <a:pt x="178" y="706"/>
                    </a:lnTo>
                    <a:lnTo>
                      <a:pt x="178" y="666"/>
                    </a:lnTo>
                    <a:lnTo>
                      <a:pt x="178" y="624"/>
                    </a:lnTo>
                    <a:lnTo>
                      <a:pt x="182" y="650"/>
                    </a:lnTo>
                    <a:lnTo>
                      <a:pt x="190" y="714"/>
                    </a:lnTo>
                    <a:lnTo>
                      <a:pt x="194" y="756"/>
                    </a:lnTo>
                    <a:lnTo>
                      <a:pt x="196" y="800"/>
                    </a:lnTo>
                    <a:lnTo>
                      <a:pt x="200" y="840"/>
                    </a:lnTo>
                    <a:lnTo>
                      <a:pt x="204" y="878"/>
                    </a:lnTo>
                    <a:lnTo>
                      <a:pt x="206" y="914"/>
                    </a:lnTo>
                    <a:lnTo>
                      <a:pt x="208" y="954"/>
                    </a:lnTo>
                    <a:lnTo>
                      <a:pt x="206" y="1012"/>
                    </a:lnTo>
                    <a:lnTo>
                      <a:pt x="206" y="1040"/>
                    </a:lnTo>
                    <a:lnTo>
                      <a:pt x="206" y="1078"/>
                    </a:lnTo>
                    <a:lnTo>
                      <a:pt x="208" y="1096"/>
                    </a:lnTo>
                    <a:lnTo>
                      <a:pt x="208" y="1112"/>
                    </a:lnTo>
                    <a:lnTo>
                      <a:pt x="212" y="1124"/>
                    </a:lnTo>
                    <a:lnTo>
                      <a:pt x="214" y="1126"/>
                    </a:lnTo>
                    <a:lnTo>
                      <a:pt x="216" y="1128"/>
                    </a:lnTo>
                    <a:lnTo>
                      <a:pt x="218" y="1142"/>
                    </a:lnTo>
                    <a:lnTo>
                      <a:pt x="220" y="1154"/>
                    </a:lnTo>
                    <a:lnTo>
                      <a:pt x="222" y="1162"/>
                    </a:lnTo>
                    <a:lnTo>
                      <a:pt x="226" y="1172"/>
                    </a:lnTo>
                    <a:lnTo>
                      <a:pt x="234" y="1178"/>
                    </a:lnTo>
                    <a:lnTo>
                      <a:pt x="246" y="1184"/>
                    </a:lnTo>
                    <a:lnTo>
                      <a:pt x="252" y="1186"/>
                    </a:lnTo>
                    <a:lnTo>
                      <a:pt x="262" y="1186"/>
                    </a:lnTo>
                    <a:lnTo>
                      <a:pt x="282" y="1182"/>
                    </a:lnTo>
                    <a:lnTo>
                      <a:pt x="290" y="1178"/>
                    </a:lnTo>
                    <a:lnTo>
                      <a:pt x="292" y="1176"/>
                    </a:lnTo>
                    <a:lnTo>
                      <a:pt x="294" y="1174"/>
                    </a:lnTo>
                    <a:lnTo>
                      <a:pt x="292" y="1168"/>
                    </a:lnTo>
                    <a:lnTo>
                      <a:pt x="288" y="1162"/>
                    </a:lnTo>
                    <a:lnTo>
                      <a:pt x="276" y="1148"/>
                    </a:lnTo>
                    <a:lnTo>
                      <a:pt x="274" y="1142"/>
                    </a:lnTo>
                    <a:lnTo>
                      <a:pt x="274" y="1140"/>
                    </a:lnTo>
                    <a:lnTo>
                      <a:pt x="274" y="1138"/>
                    </a:lnTo>
                    <a:lnTo>
                      <a:pt x="280" y="1132"/>
                    </a:lnTo>
                    <a:lnTo>
                      <a:pt x="284" y="1130"/>
                    </a:lnTo>
                    <a:lnTo>
                      <a:pt x="288" y="1128"/>
                    </a:lnTo>
                    <a:lnTo>
                      <a:pt x="288" y="1122"/>
                    </a:lnTo>
                    <a:lnTo>
                      <a:pt x="286" y="936"/>
                    </a:lnTo>
                    <a:lnTo>
                      <a:pt x="288" y="864"/>
                    </a:lnTo>
                    <a:lnTo>
                      <a:pt x="288" y="834"/>
                    </a:lnTo>
                    <a:lnTo>
                      <a:pt x="286" y="810"/>
                    </a:lnTo>
                    <a:lnTo>
                      <a:pt x="286" y="780"/>
                    </a:lnTo>
                    <a:lnTo>
                      <a:pt x="288" y="738"/>
                    </a:lnTo>
                    <a:lnTo>
                      <a:pt x="290" y="660"/>
                    </a:lnTo>
                    <a:lnTo>
                      <a:pt x="290" y="602"/>
                    </a:lnTo>
                    <a:lnTo>
                      <a:pt x="304" y="598"/>
                    </a:lnTo>
                    <a:lnTo>
                      <a:pt x="314" y="590"/>
                    </a:lnTo>
                    <a:lnTo>
                      <a:pt x="322" y="582"/>
                    </a:lnTo>
                    <a:lnTo>
                      <a:pt x="326" y="572"/>
                    </a:lnTo>
                    <a:lnTo>
                      <a:pt x="330" y="564"/>
                    </a:lnTo>
                    <a:lnTo>
                      <a:pt x="330" y="556"/>
                    </a:lnTo>
                    <a:lnTo>
                      <a:pt x="330" y="544"/>
                    </a:lnTo>
                    <a:lnTo>
                      <a:pt x="332" y="536"/>
                    </a:lnTo>
                    <a:lnTo>
                      <a:pt x="334" y="530"/>
                    </a:lnTo>
                    <a:lnTo>
                      <a:pt x="338" y="526"/>
                    </a:lnTo>
                    <a:lnTo>
                      <a:pt x="340" y="526"/>
                    </a:lnTo>
                    <a:lnTo>
                      <a:pt x="344" y="526"/>
                    </a:lnTo>
                    <a:lnTo>
                      <a:pt x="346" y="526"/>
                    </a:lnTo>
                    <a:lnTo>
                      <a:pt x="348" y="524"/>
                    </a:lnTo>
                    <a:lnTo>
                      <a:pt x="352" y="514"/>
                    </a:lnTo>
                    <a:lnTo>
                      <a:pt x="354" y="502"/>
                    </a:lnTo>
                    <a:lnTo>
                      <a:pt x="356" y="492"/>
                    </a:lnTo>
                    <a:lnTo>
                      <a:pt x="358" y="454"/>
                    </a:lnTo>
                    <a:lnTo>
                      <a:pt x="362" y="416"/>
                    </a:lnTo>
                    <a:lnTo>
                      <a:pt x="364" y="396"/>
                    </a:lnTo>
                    <a:lnTo>
                      <a:pt x="362" y="382"/>
                    </a:lnTo>
                    <a:lnTo>
                      <a:pt x="356" y="362"/>
                    </a:lnTo>
                    <a:lnTo>
                      <a:pt x="350" y="338"/>
                    </a:lnTo>
                    <a:close/>
                  </a:path>
                </a:pathLst>
              </a:custGeom>
              <a:solidFill>
                <a:schemeClr val="tx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>
                  <a:latin typeface="+mn-lt"/>
                  <a:ea typeface="+mn-ea"/>
                </a:endParaRPr>
              </a:p>
            </p:txBody>
          </p:sp>
          <p:sp>
            <p:nvSpPr>
              <p:cNvPr id="75" name="Freeform 127"/>
              <p:cNvSpPr>
                <a:spLocks/>
              </p:cNvSpPr>
              <p:nvPr/>
            </p:nvSpPr>
            <p:spPr bwMode="auto">
              <a:xfrm>
                <a:off x="3016156" y="1924561"/>
                <a:ext cx="209678" cy="353852"/>
              </a:xfrm>
              <a:custGeom>
                <a:avLst/>
                <a:gdLst>
                  <a:gd name="T0" fmla="*/ 0 w 102"/>
                  <a:gd name="T1" fmla="*/ 2147483647 h 172"/>
                  <a:gd name="T2" fmla="*/ 0 w 102"/>
                  <a:gd name="T3" fmla="*/ 2147483647 h 172"/>
                  <a:gd name="T4" fmla="*/ 2147483647 w 102"/>
                  <a:gd name="T5" fmla="*/ 2147483647 h 172"/>
                  <a:gd name="T6" fmla="*/ 2147483647 w 102"/>
                  <a:gd name="T7" fmla="*/ 2147483647 h 172"/>
                  <a:gd name="T8" fmla="*/ 2147483647 w 102"/>
                  <a:gd name="T9" fmla="*/ 2147483647 h 172"/>
                  <a:gd name="T10" fmla="*/ 2147483647 w 102"/>
                  <a:gd name="T11" fmla="*/ 2147483647 h 172"/>
                  <a:gd name="T12" fmla="*/ 2147483647 w 102"/>
                  <a:gd name="T13" fmla="*/ 2147483647 h 172"/>
                  <a:gd name="T14" fmla="*/ 2147483647 w 102"/>
                  <a:gd name="T15" fmla="*/ 2147483647 h 172"/>
                  <a:gd name="T16" fmla="*/ 2147483647 w 102"/>
                  <a:gd name="T17" fmla="*/ 2147483647 h 172"/>
                  <a:gd name="T18" fmla="*/ 2147483647 w 102"/>
                  <a:gd name="T19" fmla="*/ 2147483647 h 172"/>
                  <a:gd name="T20" fmla="*/ 2147483647 w 102"/>
                  <a:gd name="T21" fmla="*/ 2147483647 h 172"/>
                  <a:gd name="T22" fmla="*/ 2147483647 w 102"/>
                  <a:gd name="T23" fmla="*/ 2147483647 h 172"/>
                  <a:gd name="T24" fmla="*/ 2147483647 w 102"/>
                  <a:gd name="T25" fmla="*/ 2147483647 h 172"/>
                  <a:gd name="T26" fmla="*/ 2147483647 w 102"/>
                  <a:gd name="T27" fmla="*/ 2147483647 h 172"/>
                  <a:gd name="T28" fmla="*/ 2147483647 w 102"/>
                  <a:gd name="T29" fmla="*/ 2147483647 h 172"/>
                  <a:gd name="T30" fmla="*/ 2147483647 w 102"/>
                  <a:gd name="T31" fmla="*/ 2147483647 h 172"/>
                  <a:gd name="T32" fmla="*/ 2147483647 w 102"/>
                  <a:gd name="T33" fmla="*/ 2147483647 h 172"/>
                  <a:gd name="T34" fmla="*/ 2147483647 w 102"/>
                  <a:gd name="T35" fmla="*/ 2147483647 h 172"/>
                  <a:gd name="T36" fmla="*/ 2147483647 w 102"/>
                  <a:gd name="T37" fmla="*/ 2147483647 h 172"/>
                  <a:gd name="T38" fmla="*/ 2147483647 w 102"/>
                  <a:gd name="T39" fmla="*/ 2147483647 h 172"/>
                  <a:gd name="T40" fmla="*/ 2147483647 w 102"/>
                  <a:gd name="T41" fmla="*/ 2147483647 h 172"/>
                  <a:gd name="T42" fmla="*/ 2147483647 w 102"/>
                  <a:gd name="T43" fmla="*/ 2147483647 h 172"/>
                  <a:gd name="T44" fmla="*/ 2147483647 w 102"/>
                  <a:gd name="T45" fmla="*/ 2147483647 h 172"/>
                  <a:gd name="T46" fmla="*/ 2147483647 w 102"/>
                  <a:gd name="T47" fmla="*/ 2147483647 h 172"/>
                  <a:gd name="T48" fmla="*/ 2147483647 w 102"/>
                  <a:gd name="T49" fmla="*/ 2147483647 h 172"/>
                  <a:gd name="T50" fmla="*/ 2147483647 w 102"/>
                  <a:gd name="T51" fmla="*/ 0 h 172"/>
                  <a:gd name="T52" fmla="*/ 2147483647 w 102"/>
                  <a:gd name="T53" fmla="*/ 0 h 172"/>
                  <a:gd name="T54" fmla="*/ 2147483647 w 102"/>
                  <a:gd name="T55" fmla="*/ 0 h 172"/>
                  <a:gd name="T56" fmla="*/ 2147483647 w 102"/>
                  <a:gd name="T57" fmla="*/ 2147483647 h 172"/>
                  <a:gd name="T58" fmla="*/ 2147483647 w 102"/>
                  <a:gd name="T59" fmla="*/ 2147483647 h 172"/>
                  <a:gd name="T60" fmla="*/ 2147483647 w 102"/>
                  <a:gd name="T61" fmla="*/ 2147483647 h 172"/>
                  <a:gd name="T62" fmla="*/ 2147483647 w 102"/>
                  <a:gd name="T63" fmla="*/ 2147483647 h 172"/>
                  <a:gd name="T64" fmla="*/ 2147483647 w 102"/>
                  <a:gd name="T65" fmla="*/ 2147483647 h 172"/>
                  <a:gd name="T66" fmla="*/ 2147483647 w 102"/>
                  <a:gd name="T67" fmla="*/ 2147483647 h 172"/>
                  <a:gd name="T68" fmla="*/ 2147483647 w 102"/>
                  <a:gd name="T69" fmla="*/ 2147483647 h 172"/>
                  <a:gd name="T70" fmla="*/ 2147483647 w 102"/>
                  <a:gd name="T71" fmla="*/ 2147483647 h 172"/>
                  <a:gd name="T72" fmla="*/ 2147483647 w 102"/>
                  <a:gd name="T73" fmla="*/ 2147483647 h 172"/>
                  <a:gd name="T74" fmla="*/ 2147483647 w 102"/>
                  <a:gd name="T75" fmla="*/ 2147483647 h 172"/>
                  <a:gd name="T76" fmla="*/ 2147483647 w 102"/>
                  <a:gd name="T77" fmla="*/ 2147483647 h 172"/>
                  <a:gd name="T78" fmla="*/ 2147483647 w 102"/>
                  <a:gd name="T79" fmla="*/ 2147483647 h 172"/>
                  <a:gd name="T80" fmla="*/ 2147483647 w 102"/>
                  <a:gd name="T81" fmla="*/ 2147483647 h 172"/>
                  <a:gd name="T82" fmla="*/ 2147483647 w 102"/>
                  <a:gd name="T83" fmla="*/ 2147483647 h 172"/>
                  <a:gd name="T84" fmla="*/ 0 w 102"/>
                  <a:gd name="T85" fmla="*/ 2147483647 h 17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02"/>
                  <a:gd name="T130" fmla="*/ 0 h 172"/>
                  <a:gd name="T131" fmla="*/ 102 w 102"/>
                  <a:gd name="T132" fmla="*/ 172 h 17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02" h="172">
                    <a:moveTo>
                      <a:pt x="0" y="14"/>
                    </a:moveTo>
                    <a:lnTo>
                      <a:pt x="0" y="14"/>
                    </a:lnTo>
                    <a:lnTo>
                      <a:pt x="2" y="22"/>
                    </a:lnTo>
                    <a:lnTo>
                      <a:pt x="4" y="32"/>
                    </a:lnTo>
                    <a:lnTo>
                      <a:pt x="8" y="42"/>
                    </a:lnTo>
                    <a:lnTo>
                      <a:pt x="12" y="66"/>
                    </a:lnTo>
                    <a:lnTo>
                      <a:pt x="18" y="106"/>
                    </a:lnTo>
                    <a:lnTo>
                      <a:pt x="24" y="126"/>
                    </a:lnTo>
                    <a:lnTo>
                      <a:pt x="30" y="146"/>
                    </a:lnTo>
                    <a:lnTo>
                      <a:pt x="38" y="162"/>
                    </a:lnTo>
                    <a:lnTo>
                      <a:pt x="42" y="168"/>
                    </a:lnTo>
                    <a:lnTo>
                      <a:pt x="46" y="172"/>
                    </a:lnTo>
                    <a:lnTo>
                      <a:pt x="64" y="144"/>
                    </a:lnTo>
                    <a:lnTo>
                      <a:pt x="78" y="118"/>
                    </a:lnTo>
                    <a:lnTo>
                      <a:pt x="90" y="94"/>
                    </a:lnTo>
                    <a:lnTo>
                      <a:pt x="98" y="72"/>
                    </a:lnTo>
                    <a:lnTo>
                      <a:pt x="102" y="52"/>
                    </a:lnTo>
                    <a:lnTo>
                      <a:pt x="102" y="34"/>
                    </a:lnTo>
                    <a:lnTo>
                      <a:pt x="100" y="16"/>
                    </a:lnTo>
                    <a:lnTo>
                      <a:pt x="100" y="10"/>
                    </a:lnTo>
                    <a:lnTo>
                      <a:pt x="96" y="6"/>
                    </a:lnTo>
                    <a:lnTo>
                      <a:pt x="90" y="0"/>
                    </a:lnTo>
                    <a:lnTo>
                      <a:pt x="88" y="0"/>
                    </a:lnTo>
                    <a:lnTo>
                      <a:pt x="88" y="2"/>
                    </a:lnTo>
                    <a:lnTo>
                      <a:pt x="86" y="6"/>
                    </a:lnTo>
                    <a:lnTo>
                      <a:pt x="86" y="14"/>
                    </a:lnTo>
                    <a:lnTo>
                      <a:pt x="82" y="20"/>
                    </a:lnTo>
                    <a:lnTo>
                      <a:pt x="74" y="30"/>
                    </a:lnTo>
                    <a:lnTo>
                      <a:pt x="66" y="34"/>
                    </a:lnTo>
                    <a:lnTo>
                      <a:pt x="56" y="38"/>
                    </a:lnTo>
                    <a:lnTo>
                      <a:pt x="44" y="38"/>
                    </a:lnTo>
                    <a:lnTo>
                      <a:pt x="32" y="34"/>
                    </a:lnTo>
                    <a:lnTo>
                      <a:pt x="20" y="26"/>
                    </a:lnTo>
                    <a:lnTo>
                      <a:pt x="12" y="16"/>
                    </a:lnTo>
                    <a:lnTo>
                      <a:pt x="6" y="6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6" name="Freeform 128"/>
              <p:cNvSpPr>
                <a:spLocks/>
              </p:cNvSpPr>
              <p:nvPr/>
            </p:nvSpPr>
            <p:spPr bwMode="auto">
              <a:xfrm>
                <a:off x="3091617" y="2007147"/>
                <a:ext cx="62456" cy="280794"/>
              </a:xfrm>
              <a:custGeom>
                <a:avLst/>
                <a:gdLst>
                  <a:gd name="T0" fmla="*/ 2147483647 w 30"/>
                  <a:gd name="T1" fmla="*/ 2147483647 h 136"/>
                  <a:gd name="T2" fmla="*/ 2147483647 w 30"/>
                  <a:gd name="T3" fmla="*/ 2147483647 h 136"/>
                  <a:gd name="T4" fmla="*/ 2147483647 w 30"/>
                  <a:gd name="T5" fmla="*/ 2147483647 h 136"/>
                  <a:gd name="T6" fmla="*/ 0 w 30"/>
                  <a:gd name="T7" fmla="*/ 2147483647 h 136"/>
                  <a:gd name="T8" fmla="*/ 2147483647 w 30"/>
                  <a:gd name="T9" fmla="*/ 2147483647 h 136"/>
                  <a:gd name="T10" fmla="*/ 2147483647 w 30"/>
                  <a:gd name="T11" fmla="*/ 2147483647 h 136"/>
                  <a:gd name="T12" fmla="*/ 2147483647 w 30"/>
                  <a:gd name="T13" fmla="*/ 2147483647 h 136"/>
                  <a:gd name="T14" fmla="*/ 2147483647 w 30"/>
                  <a:gd name="T15" fmla="*/ 2147483647 h 136"/>
                  <a:gd name="T16" fmla="*/ 2147483647 w 30"/>
                  <a:gd name="T17" fmla="*/ 2147483647 h 136"/>
                  <a:gd name="T18" fmla="*/ 2147483647 w 30"/>
                  <a:gd name="T19" fmla="*/ 2147483647 h 136"/>
                  <a:gd name="T20" fmla="*/ 2147483647 w 30"/>
                  <a:gd name="T21" fmla="*/ 2147483647 h 136"/>
                  <a:gd name="T22" fmla="*/ 2147483647 w 30"/>
                  <a:gd name="T23" fmla="*/ 2147483647 h 136"/>
                  <a:gd name="T24" fmla="*/ 0 w 30"/>
                  <a:gd name="T25" fmla="*/ 2147483647 h 136"/>
                  <a:gd name="T26" fmla="*/ 0 w 30"/>
                  <a:gd name="T27" fmla="*/ 2147483647 h 136"/>
                  <a:gd name="T28" fmla="*/ 0 w 30"/>
                  <a:gd name="T29" fmla="*/ 2147483647 h 136"/>
                  <a:gd name="T30" fmla="*/ 2147483647 w 30"/>
                  <a:gd name="T31" fmla="*/ 2147483647 h 136"/>
                  <a:gd name="T32" fmla="*/ 2147483647 w 30"/>
                  <a:gd name="T33" fmla="*/ 0 h 136"/>
                  <a:gd name="T34" fmla="*/ 2147483647 w 30"/>
                  <a:gd name="T35" fmla="*/ 0 h 136"/>
                  <a:gd name="T36" fmla="*/ 2147483647 w 30"/>
                  <a:gd name="T37" fmla="*/ 2147483647 h 136"/>
                  <a:gd name="T38" fmla="*/ 2147483647 w 30"/>
                  <a:gd name="T39" fmla="*/ 2147483647 h 136"/>
                  <a:gd name="T40" fmla="*/ 2147483647 w 30"/>
                  <a:gd name="T41" fmla="*/ 2147483647 h 136"/>
                  <a:gd name="T42" fmla="*/ 2147483647 w 30"/>
                  <a:gd name="T43" fmla="*/ 2147483647 h 136"/>
                  <a:gd name="T44" fmla="*/ 2147483647 w 30"/>
                  <a:gd name="T45" fmla="*/ 2147483647 h 136"/>
                  <a:gd name="T46" fmla="*/ 2147483647 w 30"/>
                  <a:gd name="T47" fmla="*/ 2147483647 h 136"/>
                  <a:gd name="T48" fmla="*/ 2147483647 w 30"/>
                  <a:gd name="T49" fmla="*/ 2147483647 h 136"/>
                  <a:gd name="T50" fmla="*/ 2147483647 w 30"/>
                  <a:gd name="T51" fmla="*/ 2147483647 h 136"/>
                  <a:gd name="T52" fmla="*/ 2147483647 w 30"/>
                  <a:gd name="T53" fmla="*/ 2147483647 h 136"/>
                  <a:gd name="T54" fmla="*/ 2147483647 w 30"/>
                  <a:gd name="T55" fmla="*/ 2147483647 h 136"/>
                  <a:gd name="T56" fmla="*/ 2147483647 w 30"/>
                  <a:gd name="T57" fmla="*/ 2147483647 h 136"/>
                  <a:gd name="T58" fmla="*/ 2147483647 w 30"/>
                  <a:gd name="T59" fmla="*/ 2147483647 h 136"/>
                  <a:gd name="T60" fmla="*/ 2147483647 w 30"/>
                  <a:gd name="T61" fmla="*/ 2147483647 h 136"/>
                  <a:gd name="T62" fmla="*/ 2147483647 w 30"/>
                  <a:gd name="T63" fmla="*/ 2147483647 h 136"/>
                  <a:gd name="T64" fmla="*/ 2147483647 w 30"/>
                  <a:gd name="T65" fmla="*/ 2147483647 h 136"/>
                  <a:gd name="T66" fmla="*/ 2147483647 w 30"/>
                  <a:gd name="T67" fmla="*/ 2147483647 h 136"/>
                  <a:gd name="T68" fmla="*/ 2147483647 w 30"/>
                  <a:gd name="T69" fmla="*/ 2147483647 h 136"/>
                  <a:gd name="T70" fmla="*/ 2147483647 w 30"/>
                  <a:gd name="T71" fmla="*/ 2147483647 h 136"/>
                  <a:gd name="T72" fmla="*/ 2147483647 w 30"/>
                  <a:gd name="T73" fmla="*/ 2147483647 h 1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30"/>
                  <a:gd name="T112" fmla="*/ 0 h 136"/>
                  <a:gd name="T113" fmla="*/ 30 w 30"/>
                  <a:gd name="T114" fmla="*/ 136 h 1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30" h="136">
                    <a:moveTo>
                      <a:pt x="4" y="134"/>
                    </a:moveTo>
                    <a:lnTo>
                      <a:pt x="4" y="134"/>
                    </a:lnTo>
                    <a:lnTo>
                      <a:pt x="2" y="124"/>
                    </a:lnTo>
                    <a:lnTo>
                      <a:pt x="0" y="104"/>
                    </a:lnTo>
                    <a:lnTo>
                      <a:pt x="2" y="62"/>
                    </a:lnTo>
                    <a:lnTo>
                      <a:pt x="2" y="50"/>
                    </a:lnTo>
                    <a:lnTo>
                      <a:pt x="6" y="40"/>
                    </a:lnTo>
                    <a:lnTo>
                      <a:pt x="10" y="28"/>
                    </a:lnTo>
                    <a:lnTo>
                      <a:pt x="8" y="24"/>
                    </a:lnTo>
                    <a:lnTo>
                      <a:pt x="6" y="1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14" y="0"/>
                    </a:lnTo>
                    <a:lnTo>
                      <a:pt x="18" y="2"/>
                    </a:lnTo>
                    <a:lnTo>
                      <a:pt x="22" y="4"/>
                    </a:lnTo>
                    <a:lnTo>
                      <a:pt x="26" y="8"/>
                    </a:lnTo>
                    <a:lnTo>
                      <a:pt x="24" y="14"/>
                    </a:lnTo>
                    <a:lnTo>
                      <a:pt x="20" y="20"/>
                    </a:lnTo>
                    <a:lnTo>
                      <a:pt x="20" y="24"/>
                    </a:lnTo>
                    <a:lnTo>
                      <a:pt x="20" y="28"/>
                    </a:lnTo>
                    <a:lnTo>
                      <a:pt x="26" y="66"/>
                    </a:lnTo>
                    <a:lnTo>
                      <a:pt x="30" y="104"/>
                    </a:lnTo>
                    <a:lnTo>
                      <a:pt x="28" y="114"/>
                    </a:lnTo>
                    <a:lnTo>
                      <a:pt x="22" y="126"/>
                    </a:lnTo>
                    <a:lnTo>
                      <a:pt x="18" y="132"/>
                    </a:lnTo>
                    <a:lnTo>
                      <a:pt x="14" y="134"/>
                    </a:lnTo>
                    <a:lnTo>
                      <a:pt x="8" y="136"/>
                    </a:lnTo>
                    <a:lnTo>
                      <a:pt x="4" y="134"/>
                    </a:lnTo>
                    <a:close/>
                  </a:path>
                </a:pathLst>
              </a:custGeom>
              <a:solidFill>
                <a:schemeClr val="tx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>
                  <a:latin typeface="+mn-lt"/>
                  <a:ea typeface="+mn-ea"/>
                </a:endParaRPr>
              </a:p>
            </p:txBody>
          </p:sp>
        </p:grpSp>
        <p:sp>
          <p:nvSpPr>
            <p:cNvPr id="73" name="Freeform 5"/>
            <p:cNvSpPr>
              <a:spLocks noEditPoints="1"/>
            </p:cNvSpPr>
            <p:nvPr/>
          </p:nvSpPr>
          <p:spPr bwMode="auto">
            <a:xfrm>
              <a:off x="1827255" y="4596999"/>
              <a:ext cx="614321" cy="1910222"/>
            </a:xfrm>
            <a:custGeom>
              <a:avLst/>
              <a:gdLst/>
              <a:ahLst/>
              <a:cxnLst>
                <a:cxn ang="0">
                  <a:pos x="463" y="788"/>
                </a:cxn>
                <a:cxn ang="0">
                  <a:pos x="470" y="944"/>
                </a:cxn>
                <a:cxn ang="0">
                  <a:pos x="497" y="1404"/>
                </a:cxn>
                <a:cxn ang="0">
                  <a:pos x="485" y="1473"/>
                </a:cxn>
                <a:cxn ang="0">
                  <a:pos x="509" y="1592"/>
                </a:cxn>
                <a:cxn ang="0">
                  <a:pos x="386" y="1521"/>
                </a:cxn>
                <a:cxn ang="0">
                  <a:pos x="349" y="1293"/>
                </a:cxn>
                <a:cxn ang="0">
                  <a:pos x="354" y="1113"/>
                </a:cxn>
                <a:cxn ang="0">
                  <a:pos x="301" y="973"/>
                </a:cxn>
                <a:cxn ang="0">
                  <a:pos x="279" y="1144"/>
                </a:cxn>
                <a:cxn ang="0">
                  <a:pos x="283" y="1349"/>
                </a:cxn>
                <a:cxn ang="0">
                  <a:pos x="308" y="1501"/>
                </a:cxn>
                <a:cxn ang="0">
                  <a:pos x="290" y="1540"/>
                </a:cxn>
                <a:cxn ang="0">
                  <a:pos x="270" y="1579"/>
                </a:cxn>
                <a:cxn ang="0">
                  <a:pos x="196" y="1603"/>
                </a:cxn>
                <a:cxn ang="0">
                  <a:pos x="192" y="1541"/>
                </a:cxn>
                <a:cxn ang="0">
                  <a:pos x="176" y="1433"/>
                </a:cxn>
                <a:cxn ang="0">
                  <a:pos x="171" y="1303"/>
                </a:cxn>
                <a:cxn ang="0">
                  <a:pos x="138" y="1082"/>
                </a:cxn>
                <a:cxn ang="0">
                  <a:pos x="115" y="941"/>
                </a:cxn>
                <a:cxn ang="0">
                  <a:pos x="24" y="874"/>
                </a:cxn>
                <a:cxn ang="0">
                  <a:pos x="14" y="848"/>
                </a:cxn>
                <a:cxn ang="0">
                  <a:pos x="11" y="479"/>
                </a:cxn>
                <a:cxn ang="0">
                  <a:pos x="108" y="264"/>
                </a:cxn>
                <a:cxn ang="0">
                  <a:pos x="176" y="217"/>
                </a:cxn>
                <a:cxn ang="0">
                  <a:pos x="159" y="156"/>
                </a:cxn>
                <a:cxn ang="0">
                  <a:pos x="146" y="92"/>
                </a:cxn>
                <a:cxn ang="0">
                  <a:pos x="295" y="92"/>
                </a:cxn>
                <a:cxn ang="0">
                  <a:pos x="293" y="144"/>
                </a:cxn>
                <a:cxn ang="0">
                  <a:pos x="283" y="172"/>
                </a:cxn>
                <a:cxn ang="0">
                  <a:pos x="304" y="231"/>
                </a:cxn>
                <a:cxn ang="0">
                  <a:pos x="409" y="260"/>
                </a:cxn>
                <a:cxn ang="0">
                  <a:pos x="457" y="306"/>
                </a:cxn>
                <a:cxn ang="0">
                  <a:pos x="472" y="389"/>
                </a:cxn>
                <a:cxn ang="0">
                  <a:pos x="494" y="532"/>
                </a:cxn>
                <a:cxn ang="0">
                  <a:pos x="500" y="582"/>
                </a:cxn>
                <a:cxn ang="0">
                  <a:pos x="498" y="634"/>
                </a:cxn>
                <a:cxn ang="0">
                  <a:pos x="475" y="785"/>
                </a:cxn>
                <a:cxn ang="0">
                  <a:pos x="193" y="359"/>
                </a:cxn>
                <a:cxn ang="0">
                  <a:pos x="383" y="694"/>
                </a:cxn>
                <a:cxn ang="0">
                  <a:pos x="324" y="529"/>
                </a:cxn>
                <a:cxn ang="0">
                  <a:pos x="299" y="423"/>
                </a:cxn>
                <a:cxn ang="0">
                  <a:pos x="281" y="220"/>
                </a:cxn>
                <a:cxn ang="0">
                  <a:pos x="244" y="305"/>
                </a:cxn>
                <a:cxn ang="0">
                  <a:pos x="201" y="258"/>
                </a:cxn>
                <a:cxn ang="0">
                  <a:pos x="179" y="220"/>
                </a:cxn>
              </a:cxnLst>
              <a:rect l="0" t="0" r="r" b="b"/>
              <a:pathLst>
                <a:path w="516" h="1608">
                  <a:moveTo>
                    <a:pt x="475" y="785"/>
                  </a:moveTo>
                  <a:cubicBezTo>
                    <a:pt x="474" y="788"/>
                    <a:pt x="466" y="786"/>
                    <a:pt x="463" y="788"/>
                  </a:cubicBezTo>
                  <a:cubicBezTo>
                    <a:pt x="468" y="818"/>
                    <a:pt x="460" y="848"/>
                    <a:pt x="460" y="873"/>
                  </a:cubicBezTo>
                  <a:cubicBezTo>
                    <a:pt x="459" y="895"/>
                    <a:pt x="466" y="920"/>
                    <a:pt x="470" y="944"/>
                  </a:cubicBezTo>
                  <a:cubicBezTo>
                    <a:pt x="481" y="1012"/>
                    <a:pt x="494" y="1085"/>
                    <a:pt x="496" y="1161"/>
                  </a:cubicBezTo>
                  <a:cubicBezTo>
                    <a:pt x="497" y="1241"/>
                    <a:pt x="497" y="1324"/>
                    <a:pt x="497" y="1404"/>
                  </a:cubicBezTo>
                  <a:cubicBezTo>
                    <a:pt x="497" y="1418"/>
                    <a:pt x="496" y="1430"/>
                    <a:pt x="494" y="1442"/>
                  </a:cubicBezTo>
                  <a:cubicBezTo>
                    <a:pt x="492" y="1453"/>
                    <a:pt x="486" y="1462"/>
                    <a:pt x="485" y="1473"/>
                  </a:cubicBezTo>
                  <a:cubicBezTo>
                    <a:pt x="482" y="1490"/>
                    <a:pt x="485" y="1509"/>
                    <a:pt x="473" y="1516"/>
                  </a:cubicBezTo>
                  <a:cubicBezTo>
                    <a:pt x="477" y="1549"/>
                    <a:pt x="516" y="1552"/>
                    <a:pt x="509" y="1592"/>
                  </a:cubicBezTo>
                  <a:cubicBezTo>
                    <a:pt x="483" y="1606"/>
                    <a:pt x="422" y="1608"/>
                    <a:pt x="417" y="1575"/>
                  </a:cubicBezTo>
                  <a:cubicBezTo>
                    <a:pt x="383" y="1580"/>
                    <a:pt x="386" y="1549"/>
                    <a:pt x="386" y="1521"/>
                  </a:cubicBezTo>
                  <a:cubicBezTo>
                    <a:pt x="387" y="1516"/>
                    <a:pt x="377" y="1520"/>
                    <a:pt x="376" y="1516"/>
                  </a:cubicBezTo>
                  <a:cubicBezTo>
                    <a:pt x="352" y="1460"/>
                    <a:pt x="350" y="1375"/>
                    <a:pt x="349" y="1293"/>
                  </a:cubicBezTo>
                  <a:cubicBezTo>
                    <a:pt x="349" y="1248"/>
                    <a:pt x="349" y="1201"/>
                    <a:pt x="351" y="1156"/>
                  </a:cubicBezTo>
                  <a:cubicBezTo>
                    <a:pt x="352" y="1142"/>
                    <a:pt x="355" y="1126"/>
                    <a:pt x="354" y="1113"/>
                  </a:cubicBezTo>
                  <a:cubicBezTo>
                    <a:pt x="353" y="1107"/>
                    <a:pt x="349" y="1097"/>
                    <a:pt x="346" y="1089"/>
                  </a:cubicBezTo>
                  <a:cubicBezTo>
                    <a:pt x="331" y="1049"/>
                    <a:pt x="316" y="1011"/>
                    <a:pt x="301" y="973"/>
                  </a:cubicBezTo>
                  <a:cubicBezTo>
                    <a:pt x="295" y="958"/>
                    <a:pt x="292" y="940"/>
                    <a:pt x="278" y="932"/>
                  </a:cubicBezTo>
                  <a:cubicBezTo>
                    <a:pt x="281" y="1000"/>
                    <a:pt x="279" y="1072"/>
                    <a:pt x="279" y="1144"/>
                  </a:cubicBezTo>
                  <a:cubicBezTo>
                    <a:pt x="279" y="1179"/>
                    <a:pt x="275" y="1213"/>
                    <a:pt x="277" y="1247"/>
                  </a:cubicBezTo>
                  <a:cubicBezTo>
                    <a:pt x="279" y="1282"/>
                    <a:pt x="278" y="1317"/>
                    <a:pt x="283" y="1349"/>
                  </a:cubicBezTo>
                  <a:cubicBezTo>
                    <a:pt x="287" y="1370"/>
                    <a:pt x="293" y="1391"/>
                    <a:pt x="298" y="1412"/>
                  </a:cubicBezTo>
                  <a:cubicBezTo>
                    <a:pt x="305" y="1442"/>
                    <a:pt x="312" y="1467"/>
                    <a:pt x="308" y="1501"/>
                  </a:cubicBezTo>
                  <a:cubicBezTo>
                    <a:pt x="307" y="1508"/>
                    <a:pt x="306" y="1518"/>
                    <a:pt x="304" y="1523"/>
                  </a:cubicBezTo>
                  <a:cubicBezTo>
                    <a:pt x="301" y="1530"/>
                    <a:pt x="292" y="1533"/>
                    <a:pt x="290" y="1540"/>
                  </a:cubicBezTo>
                  <a:cubicBezTo>
                    <a:pt x="287" y="1550"/>
                    <a:pt x="292" y="1563"/>
                    <a:pt x="287" y="1572"/>
                  </a:cubicBezTo>
                  <a:cubicBezTo>
                    <a:pt x="283" y="1577"/>
                    <a:pt x="277" y="1577"/>
                    <a:pt x="270" y="1579"/>
                  </a:cubicBezTo>
                  <a:cubicBezTo>
                    <a:pt x="256" y="1586"/>
                    <a:pt x="238" y="1602"/>
                    <a:pt x="224" y="1605"/>
                  </a:cubicBezTo>
                  <a:cubicBezTo>
                    <a:pt x="216" y="1606"/>
                    <a:pt x="206" y="1603"/>
                    <a:pt x="196" y="1603"/>
                  </a:cubicBezTo>
                  <a:cubicBezTo>
                    <a:pt x="178" y="1601"/>
                    <a:pt x="164" y="1602"/>
                    <a:pt x="166" y="1580"/>
                  </a:cubicBezTo>
                  <a:cubicBezTo>
                    <a:pt x="167" y="1564"/>
                    <a:pt x="186" y="1552"/>
                    <a:pt x="192" y="1541"/>
                  </a:cubicBezTo>
                  <a:cubicBezTo>
                    <a:pt x="201" y="1522"/>
                    <a:pt x="199" y="1480"/>
                    <a:pt x="191" y="1458"/>
                  </a:cubicBezTo>
                  <a:cubicBezTo>
                    <a:pt x="187" y="1449"/>
                    <a:pt x="178" y="1442"/>
                    <a:pt x="176" y="1433"/>
                  </a:cubicBezTo>
                  <a:cubicBezTo>
                    <a:pt x="171" y="1415"/>
                    <a:pt x="172" y="1388"/>
                    <a:pt x="173" y="1366"/>
                  </a:cubicBezTo>
                  <a:cubicBezTo>
                    <a:pt x="174" y="1344"/>
                    <a:pt x="173" y="1323"/>
                    <a:pt x="171" y="1303"/>
                  </a:cubicBezTo>
                  <a:cubicBezTo>
                    <a:pt x="167" y="1261"/>
                    <a:pt x="165" y="1218"/>
                    <a:pt x="161" y="1176"/>
                  </a:cubicBezTo>
                  <a:cubicBezTo>
                    <a:pt x="158" y="1143"/>
                    <a:pt x="145" y="1112"/>
                    <a:pt x="138" y="1082"/>
                  </a:cubicBezTo>
                  <a:cubicBezTo>
                    <a:pt x="134" y="1067"/>
                    <a:pt x="130" y="1050"/>
                    <a:pt x="127" y="1035"/>
                  </a:cubicBezTo>
                  <a:cubicBezTo>
                    <a:pt x="120" y="1006"/>
                    <a:pt x="112" y="977"/>
                    <a:pt x="115" y="941"/>
                  </a:cubicBezTo>
                  <a:cubicBezTo>
                    <a:pt x="89" y="937"/>
                    <a:pt x="66" y="941"/>
                    <a:pt x="51" y="927"/>
                  </a:cubicBezTo>
                  <a:cubicBezTo>
                    <a:pt x="39" y="918"/>
                    <a:pt x="26" y="891"/>
                    <a:pt x="24" y="874"/>
                  </a:cubicBezTo>
                  <a:cubicBezTo>
                    <a:pt x="23" y="866"/>
                    <a:pt x="23" y="859"/>
                    <a:pt x="25" y="852"/>
                  </a:cubicBezTo>
                  <a:cubicBezTo>
                    <a:pt x="25" y="847"/>
                    <a:pt x="15" y="852"/>
                    <a:pt x="14" y="848"/>
                  </a:cubicBezTo>
                  <a:cubicBezTo>
                    <a:pt x="10" y="782"/>
                    <a:pt x="0" y="717"/>
                    <a:pt x="0" y="647"/>
                  </a:cubicBezTo>
                  <a:cubicBezTo>
                    <a:pt x="1" y="592"/>
                    <a:pt x="9" y="536"/>
                    <a:pt x="11" y="479"/>
                  </a:cubicBezTo>
                  <a:cubicBezTo>
                    <a:pt x="12" y="422"/>
                    <a:pt x="15" y="364"/>
                    <a:pt x="24" y="310"/>
                  </a:cubicBezTo>
                  <a:cubicBezTo>
                    <a:pt x="50" y="295"/>
                    <a:pt x="77" y="277"/>
                    <a:pt x="108" y="264"/>
                  </a:cubicBezTo>
                  <a:cubicBezTo>
                    <a:pt x="120" y="259"/>
                    <a:pt x="135" y="256"/>
                    <a:pt x="144" y="249"/>
                  </a:cubicBezTo>
                  <a:cubicBezTo>
                    <a:pt x="154" y="242"/>
                    <a:pt x="174" y="227"/>
                    <a:pt x="176" y="217"/>
                  </a:cubicBezTo>
                  <a:cubicBezTo>
                    <a:pt x="179" y="199"/>
                    <a:pt x="171" y="184"/>
                    <a:pt x="167" y="172"/>
                  </a:cubicBezTo>
                  <a:cubicBezTo>
                    <a:pt x="164" y="166"/>
                    <a:pt x="162" y="159"/>
                    <a:pt x="159" y="156"/>
                  </a:cubicBezTo>
                  <a:cubicBezTo>
                    <a:pt x="154" y="149"/>
                    <a:pt x="146" y="148"/>
                    <a:pt x="142" y="142"/>
                  </a:cubicBezTo>
                  <a:cubicBezTo>
                    <a:pt x="135" y="129"/>
                    <a:pt x="132" y="97"/>
                    <a:pt x="146" y="92"/>
                  </a:cubicBezTo>
                  <a:cubicBezTo>
                    <a:pt x="148" y="42"/>
                    <a:pt x="164" y="7"/>
                    <a:pt x="213" y="3"/>
                  </a:cubicBezTo>
                  <a:cubicBezTo>
                    <a:pt x="269" y="0"/>
                    <a:pt x="302" y="30"/>
                    <a:pt x="295" y="92"/>
                  </a:cubicBezTo>
                  <a:cubicBezTo>
                    <a:pt x="297" y="99"/>
                    <a:pt x="302" y="98"/>
                    <a:pt x="304" y="105"/>
                  </a:cubicBezTo>
                  <a:cubicBezTo>
                    <a:pt x="307" y="119"/>
                    <a:pt x="300" y="137"/>
                    <a:pt x="293" y="144"/>
                  </a:cubicBezTo>
                  <a:cubicBezTo>
                    <a:pt x="290" y="147"/>
                    <a:pt x="287" y="148"/>
                    <a:pt x="285" y="152"/>
                  </a:cubicBezTo>
                  <a:cubicBezTo>
                    <a:pt x="284" y="156"/>
                    <a:pt x="285" y="165"/>
                    <a:pt x="283" y="172"/>
                  </a:cubicBezTo>
                  <a:cubicBezTo>
                    <a:pt x="282" y="181"/>
                    <a:pt x="277" y="197"/>
                    <a:pt x="281" y="210"/>
                  </a:cubicBezTo>
                  <a:cubicBezTo>
                    <a:pt x="282" y="216"/>
                    <a:pt x="296" y="227"/>
                    <a:pt x="304" y="231"/>
                  </a:cubicBezTo>
                  <a:cubicBezTo>
                    <a:pt x="314" y="235"/>
                    <a:pt x="328" y="236"/>
                    <a:pt x="340" y="240"/>
                  </a:cubicBezTo>
                  <a:cubicBezTo>
                    <a:pt x="363" y="247"/>
                    <a:pt x="384" y="253"/>
                    <a:pt x="409" y="260"/>
                  </a:cubicBezTo>
                  <a:cubicBezTo>
                    <a:pt x="423" y="265"/>
                    <a:pt x="437" y="267"/>
                    <a:pt x="444" y="275"/>
                  </a:cubicBezTo>
                  <a:cubicBezTo>
                    <a:pt x="449" y="281"/>
                    <a:pt x="453" y="295"/>
                    <a:pt x="457" y="306"/>
                  </a:cubicBezTo>
                  <a:cubicBezTo>
                    <a:pt x="461" y="317"/>
                    <a:pt x="465" y="329"/>
                    <a:pt x="467" y="338"/>
                  </a:cubicBezTo>
                  <a:cubicBezTo>
                    <a:pt x="470" y="355"/>
                    <a:pt x="469" y="372"/>
                    <a:pt x="472" y="389"/>
                  </a:cubicBezTo>
                  <a:cubicBezTo>
                    <a:pt x="477" y="421"/>
                    <a:pt x="482" y="452"/>
                    <a:pt x="487" y="485"/>
                  </a:cubicBezTo>
                  <a:cubicBezTo>
                    <a:pt x="489" y="501"/>
                    <a:pt x="490" y="518"/>
                    <a:pt x="494" y="532"/>
                  </a:cubicBezTo>
                  <a:cubicBezTo>
                    <a:pt x="497" y="542"/>
                    <a:pt x="507" y="551"/>
                    <a:pt x="507" y="563"/>
                  </a:cubicBezTo>
                  <a:cubicBezTo>
                    <a:pt x="507" y="570"/>
                    <a:pt x="501" y="576"/>
                    <a:pt x="500" y="582"/>
                  </a:cubicBezTo>
                  <a:cubicBezTo>
                    <a:pt x="500" y="588"/>
                    <a:pt x="505" y="593"/>
                    <a:pt x="505" y="599"/>
                  </a:cubicBezTo>
                  <a:cubicBezTo>
                    <a:pt x="506" y="613"/>
                    <a:pt x="500" y="624"/>
                    <a:pt x="498" y="634"/>
                  </a:cubicBezTo>
                  <a:cubicBezTo>
                    <a:pt x="495" y="646"/>
                    <a:pt x="495" y="660"/>
                    <a:pt x="493" y="673"/>
                  </a:cubicBezTo>
                  <a:cubicBezTo>
                    <a:pt x="488" y="708"/>
                    <a:pt x="480" y="750"/>
                    <a:pt x="475" y="785"/>
                  </a:cubicBezTo>
                  <a:close/>
                  <a:moveTo>
                    <a:pt x="177" y="222"/>
                  </a:moveTo>
                  <a:cubicBezTo>
                    <a:pt x="171" y="267"/>
                    <a:pt x="183" y="313"/>
                    <a:pt x="193" y="359"/>
                  </a:cubicBezTo>
                  <a:cubicBezTo>
                    <a:pt x="213" y="461"/>
                    <a:pt x="204" y="581"/>
                    <a:pt x="208" y="694"/>
                  </a:cubicBezTo>
                  <a:cubicBezTo>
                    <a:pt x="266" y="693"/>
                    <a:pt x="327" y="693"/>
                    <a:pt x="383" y="694"/>
                  </a:cubicBezTo>
                  <a:cubicBezTo>
                    <a:pt x="378" y="677"/>
                    <a:pt x="370" y="659"/>
                    <a:pt x="362" y="642"/>
                  </a:cubicBezTo>
                  <a:cubicBezTo>
                    <a:pt x="347" y="606"/>
                    <a:pt x="336" y="567"/>
                    <a:pt x="324" y="529"/>
                  </a:cubicBezTo>
                  <a:cubicBezTo>
                    <a:pt x="318" y="511"/>
                    <a:pt x="310" y="492"/>
                    <a:pt x="306" y="473"/>
                  </a:cubicBezTo>
                  <a:cubicBezTo>
                    <a:pt x="302" y="458"/>
                    <a:pt x="301" y="440"/>
                    <a:pt x="299" y="423"/>
                  </a:cubicBezTo>
                  <a:cubicBezTo>
                    <a:pt x="293" y="371"/>
                    <a:pt x="288" y="317"/>
                    <a:pt x="285" y="267"/>
                  </a:cubicBezTo>
                  <a:cubicBezTo>
                    <a:pt x="284" y="252"/>
                    <a:pt x="288" y="234"/>
                    <a:pt x="281" y="220"/>
                  </a:cubicBezTo>
                  <a:cubicBezTo>
                    <a:pt x="270" y="239"/>
                    <a:pt x="263" y="261"/>
                    <a:pt x="251" y="279"/>
                  </a:cubicBezTo>
                  <a:cubicBezTo>
                    <a:pt x="251" y="290"/>
                    <a:pt x="252" y="301"/>
                    <a:pt x="244" y="305"/>
                  </a:cubicBezTo>
                  <a:cubicBezTo>
                    <a:pt x="242" y="304"/>
                    <a:pt x="245" y="297"/>
                    <a:pt x="243" y="296"/>
                  </a:cubicBezTo>
                  <a:cubicBezTo>
                    <a:pt x="225" y="286"/>
                    <a:pt x="215" y="272"/>
                    <a:pt x="201" y="258"/>
                  </a:cubicBezTo>
                  <a:cubicBezTo>
                    <a:pt x="194" y="250"/>
                    <a:pt x="185" y="241"/>
                    <a:pt x="182" y="232"/>
                  </a:cubicBezTo>
                  <a:cubicBezTo>
                    <a:pt x="181" y="228"/>
                    <a:pt x="183" y="223"/>
                    <a:pt x="179" y="220"/>
                  </a:cubicBezTo>
                  <a:cubicBezTo>
                    <a:pt x="177" y="220"/>
                    <a:pt x="177" y="221"/>
                    <a:pt x="177" y="222"/>
                  </a:cubicBez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  <a:ea typeface="+mn-ea"/>
              </a:endParaRPr>
            </a:p>
          </p:txBody>
        </p:sp>
      </p:grpSp>
      <p:grpSp>
        <p:nvGrpSpPr>
          <p:cNvPr id="86" name="Gruppe 34"/>
          <p:cNvGrpSpPr>
            <a:grpSpLocks/>
          </p:cNvGrpSpPr>
          <p:nvPr/>
        </p:nvGrpSpPr>
        <p:grpSpPr bwMode="auto">
          <a:xfrm flipH="1">
            <a:off x="7138148" y="2312506"/>
            <a:ext cx="447975" cy="745280"/>
            <a:chOff x="676251" y="1066800"/>
            <a:chExt cx="3518235" cy="5503863"/>
          </a:xfrm>
        </p:grpSpPr>
        <p:sp>
          <p:nvSpPr>
            <p:cNvPr id="87" name="Ellipse 110"/>
            <p:cNvSpPr/>
            <p:nvPr/>
          </p:nvSpPr>
          <p:spPr bwMode="auto">
            <a:xfrm>
              <a:off x="1520801" y="5823297"/>
              <a:ext cx="2467000" cy="442566"/>
            </a:xfrm>
            <a:prstGeom prst="ellipse">
              <a:avLst/>
            </a:prstGeom>
            <a:gradFill flip="none" rotWithShape="1">
              <a:gsLst>
                <a:gs pos="24000">
                  <a:sysClr val="windowText" lastClr="000000">
                    <a:alpha val="22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 err="1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88" name="Ellipse 111"/>
            <p:cNvSpPr/>
            <p:nvPr/>
          </p:nvSpPr>
          <p:spPr bwMode="auto">
            <a:xfrm>
              <a:off x="676251" y="6128097"/>
              <a:ext cx="2467000" cy="442566"/>
            </a:xfrm>
            <a:prstGeom prst="ellipse">
              <a:avLst/>
            </a:prstGeom>
            <a:gradFill flip="none" rotWithShape="1">
              <a:gsLst>
                <a:gs pos="24000">
                  <a:sysClr val="windowText" lastClr="000000">
                    <a:alpha val="22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 err="1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grpSp>
          <p:nvGrpSpPr>
            <p:cNvPr id="89" name="Gruppe 33"/>
            <p:cNvGrpSpPr>
              <a:grpSpLocks/>
            </p:cNvGrpSpPr>
            <p:nvPr/>
          </p:nvGrpSpPr>
          <p:grpSpPr bwMode="auto">
            <a:xfrm>
              <a:off x="1238261" y="1066803"/>
              <a:ext cx="2956233" cy="5465750"/>
              <a:chOff x="1238261" y="1066803"/>
              <a:chExt cx="2956233" cy="5465750"/>
            </a:xfrm>
          </p:grpSpPr>
          <p:sp>
            <p:nvSpPr>
              <p:cNvPr id="92" name="Kombinationstegning 113"/>
              <p:cNvSpPr/>
              <p:nvPr/>
            </p:nvSpPr>
            <p:spPr bwMode="auto">
              <a:xfrm flipH="1">
                <a:off x="1806736" y="1712560"/>
                <a:ext cx="845222" cy="794782"/>
              </a:xfrm>
              <a:custGeom>
                <a:avLst/>
                <a:gdLst>
                  <a:gd name="connsiteX0" fmla="*/ 276225 w 352425"/>
                  <a:gd name="connsiteY0" fmla="*/ 0 h 495300"/>
                  <a:gd name="connsiteX1" fmla="*/ 352425 w 352425"/>
                  <a:gd name="connsiteY1" fmla="*/ 114300 h 495300"/>
                  <a:gd name="connsiteX2" fmla="*/ 266700 w 352425"/>
                  <a:gd name="connsiteY2" fmla="*/ 314325 h 495300"/>
                  <a:gd name="connsiteX3" fmla="*/ 114300 w 352425"/>
                  <a:gd name="connsiteY3" fmla="*/ 495300 h 495300"/>
                  <a:gd name="connsiteX4" fmla="*/ 0 w 352425"/>
                  <a:gd name="connsiteY4" fmla="*/ 438150 h 495300"/>
                  <a:gd name="connsiteX5" fmla="*/ 76200 w 352425"/>
                  <a:gd name="connsiteY5" fmla="*/ 219075 h 495300"/>
                  <a:gd name="connsiteX6" fmla="*/ 104775 w 352425"/>
                  <a:gd name="connsiteY6" fmla="*/ 104775 h 495300"/>
                  <a:gd name="connsiteX7" fmla="*/ 209550 w 352425"/>
                  <a:gd name="connsiteY7" fmla="*/ 38100 h 495300"/>
                  <a:gd name="connsiteX8" fmla="*/ 276225 w 352425"/>
                  <a:gd name="connsiteY8" fmla="*/ 0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2425" h="495300">
                    <a:moveTo>
                      <a:pt x="276225" y="0"/>
                    </a:moveTo>
                    <a:lnTo>
                      <a:pt x="352425" y="114300"/>
                    </a:lnTo>
                    <a:lnTo>
                      <a:pt x="266700" y="314325"/>
                    </a:lnTo>
                    <a:lnTo>
                      <a:pt x="114300" y="495300"/>
                    </a:lnTo>
                    <a:lnTo>
                      <a:pt x="0" y="438150"/>
                    </a:lnTo>
                    <a:lnTo>
                      <a:pt x="76200" y="219075"/>
                    </a:lnTo>
                    <a:lnTo>
                      <a:pt x="104775" y="104775"/>
                    </a:lnTo>
                    <a:lnTo>
                      <a:pt x="209550" y="38100"/>
                    </a:lnTo>
                    <a:lnTo>
                      <a:pt x="276225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6E6E6">
                      <a:tint val="100000"/>
                      <a:shade val="100000"/>
                      <a:satMod val="130000"/>
                    </a:srgbClr>
                  </a:gs>
                  <a:gs pos="100000">
                    <a:srgbClr val="E6E6E6">
                      <a:tint val="50000"/>
                      <a:shade val="100000"/>
                      <a:satMod val="350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E6E6E6">
                    <a:shade val="95000"/>
                    <a:satMod val="105000"/>
                  </a:srgbClr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93" name="Gruppe 20"/>
              <p:cNvGrpSpPr>
                <a:grpSpLocks/>
              </p:cNvGrpSpPr>
              <p:nvPr/>
            </p:nvGrpSpPr>
            <p:grpSpPr bwMode="auto">
              <a:xfrm flipH="1">
                <a:off x="1238261" y="1066803"/>
                <a:ext cx="2956233" cy="5465750"/>
                <a:chOff x="9717088" y="-1250950"/>
                <a:chExt cx="3905250" cy="7099300"/>
              </a:xfrm>
            </p:grpSpPr>
            <p:sp>
              <p:nvSpPr>
                <p:cNvPr id="95" name="Freeform 69"/>
                <p:cNvSpPr>
                  <a:spLocks/>
                </p:cNvSpPr>
                <p:nvPr/>
              </p:nvSpPr>
              <p:spPr bwMode="auto">
                <a:xfrm>
                  <a:off x="9717097" y="65256"/>
                  <a:ext cx="739723" cy="309695"/>
                </a:xfrm>
                <a:custGeom>
                  <a:avLst/>
                  <a:gdLst>
                    <a:gd name="T0" fmla="*/ 1174392902 w 466"/>
                    <a:gd name="T1" fmla="*/ 277217200 h 194"/>
                    <a:gd name="T2" fmla="*/ 1149191346 w 466"/>
                    <a:gd name="T3" fmla="*/ 357862174 h 194"/>
                    <a:gd name="T4" fmla="*/ 1083667301 w 466"/>
                    <a:gd name="T5" fmla="*/ 403224972 h 194"/>
                    <a:gd name="T6" fmla="*/ 1048385122 w 466"/>
                    <a:gd name="T7" fmla="*/ 433466937 h 194"/>
                    <a:gd name="T8" fmla="*/ 987901388 w 466"/>
                    <a:gd name="T9" fmla="*/ 463708803 h 194"/>
                    <a:gd name="T10" fmla="*/ 932457965 w 466"/>
                    <a:gd name="T11" fmla="*/ 488910357 h 194"/>
                    <a:gd name="T12" fmla="*/ 866933920 w 466"/>
                    <a:gd name="T13" fmla="*/ 463708803 h 194"/>
                    <a:gd name="T14" fmla="*/ 705643764 w 466"/>
                    <a:gd name="T15" fmla="*/ 418346004 h 194"/>
                    <a:gd name="T16" fmla="*/ 599797229 w 466"/>
                    <a:gd name="T17" fmla="*/ 393144351 h 194"/>
                    <a:gd name="T18" fmla="*/ 438507271 w 466"/>
                    <a:gd name="T19" fmla="*/ 372983107 h 194"/>
                    <a:gd name="T20" fmla="*/ 347781571 w 466"/>
                    <a:gd name="T21" fmla="*/ 352821863 h 194"/>
                    <a:gd name="T22" fmla="*/ 267136592 w 466"/>
                    <a:gd name="T23" fmla="*/ 327620309 h 194"/>
                    <a:gd name="T24" fmla="*/ 206652808 w 466"/>
                    <a:gd name="T25" fmla="*/ 312499376 h 194"/>
                    <a:gd name="T26" fmla="*/ 141128763 w 466"/>
                    <a:gd name="T27" fmla="*/ 297378443 h 194"/>
                    <a:gd name="T28" fmla="*/ 80645004 w 466"/>
                    <a:gd name="T29" fmla="*/ 287297821 h 194"/>
                    <a:gd name="T30" fmla="*/ 30241879 w 466"/>
                    <a:gd name="T31" fmla="*/ 267136578 h 194"/>
                    <a:gd name="T32" fmla="*/ 0 w 466"/>
                    <a:gd name="T33" fmla="*/ 241935023 h 194"/>
                    <a:gd name="T34" fmla="*/ 5040313 w 466"/>
                    <a:gd name="T35" fmla="*/ 206652797 h 194"/>
                    <a:gd name="T36" fmla="*/ 30241879 w 466"/>
                    <a:gd name="T37" fmla="*/ 181451243 h 194"/>
                    <a:gd name="T38" fmla="*/ 100806248 w 466"/>
                    <a:gd name="T39" fmla="*/ 176410932 h 194"/>
                    <a:gd name="T40" fmla="*/ 181451252 w 466"/>
                    <a:gd name="T41" fmla="*/ 196572175 h 194"/>
                    <a:gd name="T42" fmla="*/ 241935036 w 466"/>
                    <a:gd name="T43" fmla="*/ 211693158 h 194"/>
                    <a:gd name="T44" fmla="*/ 272176903 w 466"/>
                    <a:gd name="T45" fmla="*/ 211693158 h 194"/>
                    <a:gd name="T46" fmla="*/ 297378459 w 466"/>
                    <a:gd name="T47" fmla="*/ 211693158 h 194"/>
                    <a:gd name="T48" fmla="*/ 347781571 w 466"/>
                    <a:gd name="T49" fmla="*/ 211693158 h 194"/>
                    <a:gd name="T50" fmla="*/ 383063749 w 466"/>
                    <a:gd name="T51" fmla="*/ 211693158 h 194"/>
                    <a:gd name="T52" fmla="*/ 413305616 w 466"/>
                    <a:gd name="T53" fmla="*/ 211693158 h 194"/>
                    <a:gd name="T54" fmla="*/ 463708827 w 466"/>
                    <a:gd name="T55" fmla="*/ 211693158 h 194"/>
                    <a:gd name="T56" fmla="*/ 544353806 w 466"/>
                    <a:gd name="T57" fmla="*/ 211693158 h 194"/>
                    <a:gd name="T58" fmla="*/ 564515051 w 466"/>
                    <a:gd name="T59" fmla="*/ 211693158 h 194"/>
                    <a:gd name="T60" fmla="*/ 619958474 w 466"/>
                    <a:gd name="T61" fmla="*/ 201612486 h 194"/>
                    <a:gd name="T62" fmla="*/ 640119718 w 466"/>
                    <a:gd name="T63" fmla="*/ 196572175 h 194"/>
                    <a:gd name="T64" fmla="*/ 670361585 w 466"/>
                    <a:gd name="T65" fmla="*/ 186491553 h 194"/>
                    <a:gd name="T66" fmla="*/ 710684075 w 466"/>
                    <a:gd name="T67" fmla="*/ 171370621 h 194"/>
                    <a:gd name="T68" fmla="*/ 645160029 w 466"/>
                    <a:gd name="T69" fmla="*/ 141128755 h 194"/>
                    <a:gd name="T70" fmla="*/ 619958474 w 466"/>
                    <a:gd name="T71" fmla="*/ 120967512 h 194"/>
                    <a:gd name="T72" fmla="*/ 574595673 w 466"/>
                    <a:gd name="T73" fmla="*/ 80644999 h 194"/>
                    <a:gd name="T74" fmla="*/ 564515051 w 466"/>
                    <a:gd name="T75" fmla="*/ 15120939 h 194"/>
                    <a:gd name="T76" fmla="*/ 614918162 w 466"/>
                    <a:gd name="T77" fmla="*/ 0 h 194"/>
                    <a:gd name="T78" fmla="*/ 670361585 w 466"/>
                    <a:gd name="T79" fmla="*/ 25201561 h 194"/>
                    <a:gd name="T80" fmla="*/ 695563141 w 466"/>
                    <a:gd name="T81" fmla="*/ 35282189 h 194"/>
                    <a:gd name="T82" fmla="*/ 740925942 w 466"/>
                    <a:gd name="T83" fmla="*/ 65524067 h 194"/>
                    <a:gd name="T84" fmla="*/ 766127498 w 466"/>
                    <a:gd name="T85" fmla="*/ 80644999 h 194"/>
                    <a:gd name="T86" fmla="*/ 796369365 w 466"/>
                    <a:gd name="T87" fmla="*/ 85685310 h 194"/>
                    <a:gd name="T88" fmla="*/ 902216098 w 466"/>
                    <a:gd name="T89" fmla="*/ 95765932 h 194"/>
                    <a:gd name="T90" fmla="*/ 952619210 w 466"/>
                    <a:gd name="T91" fmla="*/ 105846579 h 194"/>
                    <a:gd name="T92" fmla="*/ 997982010 w 466"/>
                    <a:gd name="T93" fmla="*/ 120967512 h 194"/>
                    <a:gd name="T94" fmla="*/ 1048385122 w 466"/>
                    <a:gd name="T95" fmla="*/ 146169066 h 194"/>
                    <a:gd name="T96" fmla="*/ 1073586678 w 466"/>
                    <a:gd name="T97" fmla="*/ 166330310 h 194"/>
                    <a:gd name="T98" fmla="*/ 1088707612 w 466"/>
                    <a:gd name="T99" fmla="*/ 191531864 h 194"/>
                    <a:gd name="T100" fmla="*/ 1123989790 w 466"/>
                    <a:gd name="T101" fmla="*/ 211693158 h 194"/>
                    <a:gd name="T102" fmla="*/ 1144151035 w 466"/>
                    <a:gd name="T103" fmla="*/ 231854401 h 194"/>
                    <a:gd name="T104" fmla="*/ 1174392902 w 466"/>
                    <a:gd name="T105" fmla="*/ 277217200 h 194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466"/>
                    <a:gd name="T160" fmla="*/ 0 h 194"/>
                    <a:gd name="T161" fmla="*/ 466 w 466"/>
                    <a:gd name="T162" fmla="*/ 194 h 194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466" h="194">
                      <a:moveTo>
                        <a:pt x="466" y="110"/>
                      </a:moveTo>
                      <a:lnTo>
                        <a:pt x="456" y="142"/>
                      </a:lnTo>
                      <a:lnTo>
                        <a:pt x="430" y="160"/>
                      </a:lnTo>
                      <a:lnTo>
                        <a:pt x="416" y="172"/>
                      </a:lnTo>
                      <a:lnTo>
                        <a:pt x="392" y="184"/>
                      </a:lnTo>
                      <a:lnTo>
                        <a:pt x="370" y="194"/>
                      </a:lnTo>
                      <a:lnTo>
                        <a:pt x="344" y="184"/>
                      </a:lnTo>
                      <a:lnTo>
                        <a:pt x="280" y="166"/>
                      </a:lnTo>
                      <a:lnTo>
                        <a:pt x="238" y="156"/>
                      </a:lnTo>
                      <a:lnTo>
                        <a:pt x="174" y="148"/>
                      </a:lnTo>
                      <a:lnTo>
                        <a:pt x="138" y="140"/>
                      </a:lnTo>
                      <a:lnTo>
                        <a:pt x="106" y="130"/>
                      </a:lnTo>
                      <a:lnTo>
                        <a:pt x="82" y="124"/>
                      </a:lnTo>
                      <a:lnTo>
                        <a:pt x="56" y="118"/>
                      </a:lnTo>
                      <a:lnTo>
                        <a:pt x="32" y="114"/>
                      </a:lnTo>
                      <a:lnTo>
                        <a:pt x="12" y="106"/>
                      </a:lnTo>
                      <a:lnTo>
                        <a:pt x="0" y="96"/>
                      </a:lnTo>
                      <a:lnTo>
                        <a:pt x="2" y="82"/>
                      </a:lnTo>
                      <a:lnTo>
                        <a:pt x="12" y="72"/>
                      </a:lnTo>
                      <a:lnTo>
                        <a:pt x="40" y="70"/>
                      </a:lnTo>
                      <a:lnTo>
                        <a:pt x="72" y="78"/>
                      </a:lnTo>
                      <a:lnTo>
                        <a:pt x="96" y="84"/>
                      </a:lnTo>
                      <a:lnTo>
                        <a:pt x="108" y="84"/>
                      </a:lnTo>
                      <a:lnTo>
                        <a:pt x="118" y="84"/>
                      </a:lnTo>
                      <a:lnTo>
                        <a:pt x="138" y="84"/>
                      </a:lnTo>
                      <a:lnTo>
                        <a:pt x="152" y="84"/>
                      </a:lnTo>
                      <a:lnTo>
                        <a:pt x="164" y="84"/>
                      </a:lnTo>
                      <a:lnTo>
                        <a:pt x="184" y="84"/>
                      </a:lnTo>
                      <a:lnTo>
                        <a:pt x="216" y="84"/>
                      </a:lnTo>
                      <a:lnTo>
                        <a:pt x="224" y="84"/>
                      </a:lnTo>
                      <a:lnTo>
                        <a:pt x="246" y="80"/>
                      </a:lnTo>
                      <a:lnTo>
                        <a:pt x="254" y="78"/>
                      </a:lnTo>
                      <a:lnTo>
                        <a:pt x="266" y="74"/>
                      </a:lnTo>
                      <a:lnTo>
                        <a:pt x="282" y="68"/>
                      </a:lnTo>
                      <a:lnTo>
                        <a:pt x="256" y="56"/>
                      </a:lnTo>
                      <a:lnTo>
                        <a:pt x="246" y="48"/>
                      </a:lnTo>
                      <a:lnTo>
                        <a:pt x="228" y="32"/>
                      </a:lnTo>
                      <a:lnTo>
                        <a:pt x="224" y="6"/>
                      </a:lnTo>
                      <a:lnTo>
                        <a:pt x="244" y="0"/>
                      </a:lnTo>
                      <a:lnTo>
                        <a:pt x="266" y="10"/>
                      </a:lnTo>
                      <a:lnTo>
                        <a:pt x="276" y="14"/>
                      </a:lnTo>
                      <a:lnTo>
                        <a:pt x="294" y="26"/>
                      </a:lnTo>
                      <a:lnTo>
                        <a:pt x="304" y="32"/>
                      </a:lnTo>
                      <a:lnTo>
                        <a:pt x="316" y="34"/>
                      </a:lnTo>
                      <a:lnTo>
                        <a:pt x="358" y="38"/>
                      </a:lnTo>
                      <a:lnTo>
                        <a:pt x="378" y="42"/>
                      </a:lnTo>
                      <a:lnTo>
                        <a:pt x="396" y="48"/>
                      </a:lnTo>
                      <a:lnTo>
                        <a:pt x="416" y="58"/>
                      </a:lnTo>
                      <a:lnTo>
                        <a:pt x="426" y="66"/>
                      </a:lnTo>
                      <a:lnTo>
                        <a:pt x="432" y="76"/>
                      </a:lnTo>
                      <a:lnTo>
                        <a:pt x="446" y="84"/>
                      </a:lnTo>
                      <a:lnTo>
                        <a:pt x="454" y="92"/>
                      </a:lnTo>
                      <a:lnTo>
                        <a:pt x="466" y="11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96" name="Freeform 70"/>
                <p:cNvSpPr>
                  <a:spLocks/>
                </p:cNvSpPr>
                <p:nvPr/>
              </p:nvSpPr>
              <p:spPr bwMode="auto">
                <a:xfrm>
                  <a:off x="10303289" y="207195"/>
                  <a:ext cx="390795" cy="490351"/>
                </a:xfrm>
                <a:custGeom>
                  <a:avLst/>
                  <a:gdLst>
                    <a:gd name="T0" fmla="*/ 619958482 w 246"/>
                    <a:gd name="T1" fmla="*/ 357862144 h 306"/>
                    <a:gd name="T2" fmla="*/ 619958482 w 246"/>
                    <a:gd name="T3" fmla="*/ 357862144 h 306"/>
                    <a:gd name="T4" fmla="*/ 604837548 w 246"/>
                    <a:gd name="T5" fmla="*/ 418345969 h 306"/>
                    <a:gd name="T6" fmla="*/ 584676303 w 246"/>
                    <a:gd name="T7" fmla="*/ 478829695 h 306"/>
                    <a:gd name="T8" fmla="*/ 559474747 w 246"/>
                    <a:gd name="T9" fmla="*/ 549394042 h 306"/>
                    <a:gd name="T10" fmla="*/ 529232880 w 246"/>
                    <a:gd name="T11" fmla="*/ 619958389 h 306"/>
                    <a:gd name="T12" fmla="*/ 488910390 w 246"/>
                    <a:gd name="T13" fmla="*/ 685482425 h 306"/>
                    <a:gd name="T14" fmla="*/ 468749145 w 246"/>
                    <a:gd name="T15" fmla="*/ 715724288 h 306"/>
                    <a:gd name="T16" fmla="*/ 448587900 w 246"/>
                    <a:gd name="T17" fmla="*/ 740925840 h 306"/>
                    <a:gd name="T18" fmla="*/ 423386343 w 246"/>
                    <a:gd name="T19" fmla="*/ 761087082 h 306"/>
                    <a:gd name="T20" fmla="*/ 398184688 w 246"/>
                    <a:gd name="T21" fmla="*/ 771167703 h 306"/>
                    <a:gd name="T22" fmla="*/ 0 w 246"/>
                    <a:gd name="T23" fmla="*/ 257055934 h 306"/>
                    <a:gd name="T24" fmla="*/ 0 w 246"/>
                    <a:gd name="T25" fmla="*/ 257055934 h 306"/>
                    <a:gd name="T26" fmla="*/ 40322502 w 246"/>
                    <a:gd name="T27" fmla="*/ 241935003 h 306"/>
                    <a:gd name="T28" fmla="*/ 80645005 w 246"/>
                    <a:gd name="T29" fmla="*/ 226814071 h 306"/>
                    <a:gd name="T30" fmla="*/ 126007831 w 246"/>
                    <a:gd name="T31" fmla="*/ 201612469 h 306"/>
                    <a:gd name="T32" fmla="*/ 146169076 w 246"/>
                    <a:gd name="T33" fmla="*/ 186491538 h 306"/>
                    <a:gd name="T34" fmla="*/ 171370632 w 246"/>
                    <a:gd name="T35" fmla="*/ 171370606 h 306"/>
                    <a:gd name="T36" fmla="*/ 186491566 w 246"/>
                    <a:gd name="T37" fmla="*/ 146169054 h 306"/>
                    <a:gd name="T38" fmla="*/ 201612500 w 246"/>
                    <a:gd name="T39" fmla="*/ 126007812 h 306"/>
                    <a:gd name="T40" fmla="*/ 211693172 w 246"/>
                    <a:gd name="T41" fmla="*/ 95765924 h 306"/>
                    <a:gd name="T42" fmla="*/ 216733483 w 246"/>
                    <a:gd name="T43" fmla="*/ 65524061 h 306"/>
                    <a:gd name="T44" fmla="*/ 216733483 w 246"/>
                    <a:gd name="T45" fmla="*/ 35282186 h 306"/>
                    <a:gd name="T46" fmla="*/ 211693172 w 246"/>
                    <a:gd name="T47" fmla="*/ 0 h 306"/>
                    <a:gd name="T48" fmla="*/ 277217218 w 246"/>
                    <a:gd name="T49" fmla="*/ 15120938 h 306"/>
                    <a:gd name="T50" fmla="*/ 619958482 w 246"/>
                    <a:gd name="T51" fmla="*/ 357862144 h 30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46"/>
                    <a:gd name="T79" fmla="*/ 0 h 306"/>
                    <a:gd name="T80" fmla="*/ 246 w 246"/>
                    <a:gd name="T81" fmla="*/ 306 h 30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46" h="306">
                      <a:moveTo>
                        <a:pt x="246" y="142"/>
                      </a:moveTo>
                      <a:lnTo>
                        <a:pt x="246" y="142"/>
                      </a:lnTo>
                      <a:lnTo>
                        <a:pt x="240" y="166"/>
                      </a:lnTo>
                      <a:lnTo>
                        <a:pt x="232" y="190"/>
                      </a:lnTo>
                      <a:lnTo>
                        <a:pt x="222" y="218"/>
                      </a:lnTo>
                      <a:lnTo>
                        <a:pt x="210" y="246"/>
                      </a:lnTo>
                      <a:lnTo>
                        <a:pt x="194" y="272"/>
                      </a:lnTo>
                      <a:lnTo>
                        <a:pt x="186" y="284"/>
                      </a:lnTo>
                      <a:lnTo>
                        <a:pt x="178" y="294"/>
                      </a:lnTo>
                      <a:lnTo>
                        <a:pt x="168" y="302"/>
                      </a:lnTo>
                      <a:lnTo>
                        <a:pt x="158" y="306"/>
                      </a:lnTo>
                      <a:lnTo>
                        <a:pt x="0" y="102"/>
                      </a:lnTo>
                      <a:lnTo>
                        <a:pt x="16" y="96"/>
                      </a:lnTo>
                      <a:lnTo>
                        <a:pt x="32" y="90"/>
                      </a:lnTo>
                      <a:lnTo>
                        <a:pt x="50" y="80"/>
                      </a:lnTo>
                      <a:lnTo>
                        <a:pt x="58" y="74"/>
                      </a:lnTo>
                      <a:lnTo>
                        <a:pt x="68" y="68"/>
                      </a:lnTo>
                      <a:lnTo>
                        <a:pt x="74" y="58"/>
                      </a:lnTo>
                      <a:lnTo>
                        <a:pt x="80" y="50"/>
                      </a:lnTo>
                      <a:lnTo>
                        <a:pt x="84" y="38"/>
                      </a:lnTo>
                      <a:lnTo>
                        <a:pt x="86" y="26"/>
                      </a:lnTo>
                      <a:lnTo>
                        <a:pt x="86" y="14"/>
                      </a:lnTo>
                      <a:lnTo>
                        <a:pt x="84" y="0"/>
                      </a:lnTo>
                      <a:lnTo>
                        <a:pt x="110" y="6"/>
                      </a:lnTo>
                      <a:lnTo>
                        <a:pt x="246" y="14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97" name="Freeform 73"/>
                <p:cNvSpPr>
                  <a:spLocks noEditPoints="1"/>
                </p:cNvSpPr>
                <p:nvPr/>
              </p:nvSpPr>
              <p:spPr bwMode="auto">
                <a:xfrm>
                  <a:off x="10442859" y="-1250950"/>
                  <a:ext cx="3182187" cy="7097187"/>
                </a:xfrm>
                <a:custGeom>
                  <a:avLst/>
                  <a:gdLst>
                    <a:gd name="T0" fmla="*/ 2147483647 w 2006"/>
                    <a:gd name="T1" fmla="*/ 2147483647 h 4472"/>
                    <a:gd name="T2" fmla="*/ 2147483647 w 2006"/>
                    <a:gd name="T3" fmla="*/ 1728827226 h 4472"/>
                    <a:gd name="T4" fmla="*/ 2147483647 w 2006"/>
                    <a:gd name="T5" fmla="*/ 1426408211 h 4472"/>
                    <a:gd name="T6" fmla="*/ 2147483647 w 2006"/>
                    <a:gd name="T7" fmla="*/ 2147483647 h 4472"/>
                    <a:gd name="T8" fmla="*/ 2147483647 w 2006"/>
                    <a:gd name="T9" fmla="*/ 1340722936 h 4472"/>
                    <a:gd name="T10" fmla="*/ 2147483647 w 2006"/>
                    <a:gd name="T11" fmla="*/ 1189513627 h 4472"/>
                    <a:gd name="T12" fmla="*/ 2147483647 w 2006"/>
                    <a:gd name="T13" fmla="*/ 675401778 h 4472"/>
                    <a:gd name="T14" fmla="*/ 2147483647 w 2006"/>
                    <a:gd name="T15" fmla="*/ 151209359 h 4472"/>
                    <a:gd name="T16" fmla="*/ 2147483647 w 2006"/>
                    <a:gd name="T17" fmla="*/ 10080624 h 4472"/>
                    <a:gd name="T18" fmla="*/ 2147483647 w 2006"/>
                    <a:gd name="T19" fmla="*/ 161289979 h 4472"/>
                    <a:gd name="T20" fmla="*/ 2147483647 w 2006"/>
                    <a:gd name="T21" fmla="*/ 821570777 h 4472"/>
                    <a:gd name="T22" fmla="*/ 2147483647 w 2006"/>
                    <a:gd name="T23" fmla="*/ 1491932245 h 4472"/>
                    <a:gd name="T24" fmla="*/ 2147483647 w 2006"/>
                    <a:gd name="T25" fmla="*/ 1900197776 h 4472"/>
                    <a:gd name="T26" fmla="*/ 1885077210 w 2006"/>
                    <a:gd name="T27" fmla="*/ 2111890809 h 4472"/>
                    <a:gd name="T28" fmla="*/ 1653222494 w 2006"/>
                    <a:gd name="T29" fmla="*/ 2147483647 h 4472"/>
                    <a:gd name="T30" fmla="*/ 1456650355 w 2006"/>
                    <a:gd name="T31" fmla="*/ 2147483647 h 4472"/>
                    <a:gd name="T32" fmla="*/ 907256426 w 2006"/>
                    <a:gd name="T33" fmla="*/ 2147483647 h 4472"/>
                    <a:gd name="T34" fmla="*/ 307459087 w 2006"/>
                    <a:gd name="T35" fmla="*/ 2147483647 h 4472"/>
                    <a:gd name="T36" fmla="*/ 302418776 w 2006"/>
                    <a:gd name="T37" fmla="*/ 2147483647 h 4472"/>
                    <a:gd name="T38" fmla="*/ 1411287553 w 2006"/>
                    <a:gd name="T39" fmla="*/ 2147483647 h 4472"/>
                    <a:gd name="T40" fmla="*/ 1794351607 w 2006"/>
                    <a:gd name="T41" fmla="*/ 2147483647 h 4472"/>
                    <a:gd name="T42" fmla="*/ 1834674097 w 2006"/>
                    <a:gd name="T43" fmla="*/ 2147483647 h 4472"/>
                    <a:gd name="T44" fmla="*/ 2121971840 w 2006"/>
                    <a:gd name="T45" fmla="*/ 2147483647 h 4472"/>
                    <a:gd name="T46" fmla="*/ 2147483647 w 2006"/>
                    <a:gd name="T47" fmla="*/ 2147483647 h 4472"/>
                    <a:gd name="T48" fmla="*/ 2147483647 w 2006"/>
                    <a:gd name="T49" fmla="*/ 2147483647 h 4472"/>
                    <a:gd name="T50" fmla="*/ 2147483647 w 2006"/>
                    <a:gd name="T51" fmla="*/ 2147483647 h 4472"/>
                    <a:gd name="T52" fmla="*/ 2026205926 w 2006"/>
                    <a:gd name="T53" fmla="*/ 2147483647 h 4472"/>
                    <a:gd name="T54" fmla="*/ 1542335646 w 2006"/>
                    <a:gd name="T55" fmla="*/ 2147483647 h 4472"/>
                    <a:gd name="T56" fmla="*/ 2111891217 w 2006"/>
                    <a:gd name="T57" fmla="*/ 2147483647 h 4472"/>
                    <a:gd name="T58" fmla="*/ 2147483647 w 2006"/>
                    <a:gd name="T59" fmla="*/ 2147483647 h 4472"/>
                    <a:gd name="T60" fmla="*/ 2147483647 w 2006"/>
                    <a:gd name="T61" fmla="*/ 2147483647 h 4472"/>
                    <a:gd name="T62" fmla="*/ 2147483647 w 2006"/>
                    <a:gd name="T63" fmla="*/ 2147483647 h 4472"/>
                    <a:gd name="T64" fmla="*/ 2147483647 w 2006"/>
                    <a:gd name="T65" fmla="*/ 2147483647 h 4472"/>
                    <a:gd name="T66" fmla="*/ 2147483647 w 2006"/>
                    <a:gd name="T67" fmla="*/ 2147483647 h 4472"/>
                    <a:gd name="T68" fmla="*/ 2147483647 w 2006"/>
                    <a:gd name="T69" fmla="*/ 2147483647 h 4472"/>
                    <a:gd name="T70" fmla="*/ 2147483647 w 2006"/>
                    <a:gd name="T71" fmla="*/ 2147483647 h 4472"/>
                    <a:gd name="T72" fmla="*/ 2147483647 w 2006"/>
                    <a:gd name="T73" fmla="*/ 2147483647 h 4472"/>
                    <a:gd name="T74" fmla="*/ 2147483647 w 2006"/>
                    <a:gd name="T75" fmla="*/ 2147483647 h 4472"/>
                    <a:gd name="T76" fmla="*/ 2147483647 w 2006"/>
                    <a:gd name="T77" fmla="*/ 2147483647 h 4472"/>
                    <a:gd name="T78" fmla="*/ 2147483647 w 2006"/>
                    <a:gd name="T79" fmla="*/ 2147483647 h 4472"/>
                    <a:gd name="T80" fmla="*/ 2147483647 w 2006"/>
                    <a:gd name="T81" fmla="*/ 2147483647 h 4472"/>
                    <a:gd name="T82" fmla="*/ 2147483647 w 2006"/>
                    <a:gd name="T83" fmla="*/ 2147483647 h 4472"/>
                    <a:gd name="T84" fmla="*/ 2147483647 w 2006"/>
                    <a:gd name="T85" fmla="*/ 2147483647 h 4472"/>
                    <a:gd name="T86" fmla="*/ 2147483647 w 2006"/>
                    <a:gd name="T87" fmla="*/ 2147483647 h 4472"/>
                    <a:gd name="T88" fmla="*/ 2147483647 w 2006"/>
                    <a:gd name="T89" fmla="*/ 2147483647 h 4472"/>
                    <a:gd name="T90" fmla="*/ 2147483647 w 2006"/>
                    <a:gd name="T91" fmla="*/ 2147483647 h 4472"/>
                    <a:gd name="T92" fmla="*/ 2147483647 w 2006"/>
                    <a:gd name="T93" fmla="*/ 2147483647 h 4472"/>
                    <a:gd name="T94" fmla="*/ 2147483647 w 2006"/>
                    <a:gd name="T95" fmla="*/ 2147483647 h 4472"/>
                    <a:gd name="T96" fmla="*/ 2147483647 w 2006"/>
                    <a:gd name="T97" fmla="*/ 2147483647 h 4472"/>
                    <a:gd name="T98" fmla="*/ 2147483647 w 2006"/>
                    <a:gd name="T99" fmla="*/ 2147483647 h 4472"/>
                    <a:gd name="T100" fmla="*/ 2147483647 w 2006"/>
                    <a:gd name="T101" fmla="*/ 2147483647 h 4472"/>
                    <a:gd name="T102" fmla="*/ 2147483647 w 2006"/>
                    <a:gd name="T103" fmla="*/ 2147483647 h 4472"/>
                    <a:gd name="T104" fmla="*/ 2147483647 w 2006"/>
                    <a:gd name="T105" fmla="*/ 2147483647 h 4472"/>
                    <a:gd name="T106" fmla="*/ 2147483647 w 2006"/>
                    <a:gd name="T107" fmla="*/ 2142132671 h 4472"/>
                    <a:gd name="T108" fmla="*/ 2147483647 w 2006"/>
                    <a:gd name="T109" fmla="*/ 2147483647 h 4472"/>
                    <a:gd name="T110" fmla="*/ 2147483647 w 2006"/>
                    <a:gd name="T111" fmla="*/ 1703625675 h 4472"/>
                    <a:gd name="T112" fmla="*/ 2147483647 w 2006"/>
                    <a:gd name="T113" fmla="*/ 2147483647 h 4472"/>
                    <a:gd name="T114" fmla="*/ 2147483647 w 2006"/>
                    <a:gd name="T115" fmla="*/ 2147483647 h 4472"/>
                    <a:gd name="T116" fmla="*/ 2147483647 w 2006"/>
                    <a:gd name="T117" fmla="*/ 2147483647 h 447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006"/>
                    <a:gd name="T178" fmla="*/ 0 h 4472"/>
                    <a:gd name="T179" fmla="*/ 2006 w 2006"/>
                    <a:gd name="T180" fmla="*/ 4472 h 447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006" h="4472">
                      <a:moveTo>
                        <a:pt x="2000" y="1288"/>
                      </a:moveTo>
                      <a:lnTo>
                        <a:pt x="1992" y="1234"/>
                      </a:lnTo>
                      <a:lnTo>
                        <a:pt x="1966" y="1198"/>
                      </a:lnTo>
                      <a:lnTo>
                        <a:pt x="1940" y="1136"/>
                      </a:lnTo>
                      <a:lnTo>
                        <a:pt x="1926" y="1074"/>
                      </a:lnTo>
                      <a:lnTo>
                        <a:pt x="1926" y="1052"/>
                      </a:lnTo>
                      <a:lnTo>
                        <a:pt x="1924" y="1026"/>
                      </a:lnTo>
                      <a:lnTo>
                        <a:pt x="1920" y="984"/>
                      </a:lnTo>
                      <a:lnTo>
                        <a:pt x="1918" y="948"/>
                      </a:lnTo>
                      <a:lnTo>
                        <a:pt x="1902" y="910"/>
                      </a:lnTo>
                      <a:lnTo>
                        <a:pt x="1870" y="860"/>
                      </a:lnTo>
                      <a:lnTo>
                        <a:pt x="1784" y="760"/>
                      </a:lnTo>
                      <a:lnTo>
                        <a:pt x="1770" y="746"/>
                      </a:lnTo>
                      <a:lnTo>
                        <a:pt x="1754" y="734"/>
                      </a:lnTo>
                      <a:lnTo>
                        <a:pt x="1736" y="724"/>
                      </a:lnTo>
                      <a:lnTo>
                        <a:pt x="1716" y="714"/>
                      </a:lnTo>
                      <a:lnTo>
                        <a:pt x="1694" y="706"/>
                      </a:lnTo>
                      <a:lnTo>
                        <a:pt x="1672" y="698"/>
                      </a:lnTo>
                      <a:lnTo>
                        <a:pt x="1632" y="686"/>
                      </a:lnTo>
                      <a:lnTo>
                        <a:pt x="1592" y="674"/>
                      </a:lnTo>
                      <a:lnTo>
                        <a:pt x="1548" y="662"/>
                      </a:lnTo>
                      <a:lnTo>
                        <a:pt x="1508" y="648"/>
                      </a:lnTo>
                      <a:lnTo>
                        <a:pt x="1488" y="642"/>
                      </a:lnTo>
                      <a:lnTo>
                        <a:pt x="1468" y="632"/>
                      </a:lnTo>
                      <a:lnTo>
                        <a:pt x="1454" y="620"/>
                      </a:lnTo>
                      <a:lnTo>
                        <a:pt x="1440" y="604"/>
                      </a:lnTo>
                      <a:lnTo>
                        <a:pt x="1426" y="586"/>
                      </a:lnTo>
                      <a:lnTo>
                        <a:pt x="1412" y="566"/>
                      </a:lnTo>
                      <a:lnTo>
                        <a:pt x="1408" y="564"/>
                      </a:lnTo>
                      <a:lnTo>
                        <a:pt x="1384" y="604"/>
                      </a:lnTo>
                      <a:lnTo>
                        <a:pt x="1358" y="646"/>
                      </a:lnTo>
                      <a:lnTo>
                        <a:pt x="1304" y="730"/>
                      </a:lnTo>
                      <a:lnTo>
                        <a:pt x="1258" y="812"/>
                      </a:lnTo>
                      <a:lnTo>
                        <a:pt x="1234" y="850"/>
                      </a:lnTo>
                      <a:lnTo>
                        <a:pt x="1220" y="870"/>
                      </a:lnTo>
                      <a:lnTo>
                        <a:pt x="1204" y="888"/>
                      </a:lnTo>
                      <a:lnTo>
                        <a:pt x="1188" y="862"/>
                      </a:lnTo>
                      <a:lnTo>
                        <a:pt x="1170" y="838"/>
                      </a:lnTo>
                      <a:lnTo>
                        <a:pt x="1152" y="816"/>
                      </a:lnTo>
                      <a:lnTo>
                        <a:pt x="1136" y="790"/>
                      </a:lnTo>
                      <a:lnTo>
                        <a:pt x="1192" y="724"/>
                      </a:lnTo>
                      <a:lnTo>
                        <a:pt x="1252" y="660"/>
                      </a:lnTo>
                      <a:lnTo>
                        <a:pt x="1312" y="596"/>
                      </a:lnTo>
                      <a:lnTo>
                        <a:pt x="1370" y="532"/>
                      </a:lnTo>
                      <a:lnTo>
                        <a:pt x="1370" y="528"/>
                      </a:lnTo>
                      <a:lnTo>
                        <a:pt x="1370" y="526"/>
                      </a:lnTo>
                      <a:lnTo>
                        <a:pt x="1362" y="514"/>
                      </a:lnTo>
                      <a:lnTo>
                        <a:pt x="1358" y="506"/>
                      </a:lnTo>
                      <a:lnTo>
                        <a:pt x="1354" y="498"/>
                      </a:lnTo>
                      <a:lnTo>
                        <a:pt x="1352" y="484"/>
                      </a:lnTo>
                      <a:lnTo>
                        <a:pt x="1352" y="472"/>
                      </a:lnTo>
                      <a:lnTo>
                        <a:pt x="1356" y="448"/>
                      </a:lnTo>
                      <a:lnTo>
                        <a:pt x="1364" y="424"/>
                      </a:lnTo>
                      <a:lnTo>
                        <a:pt x="1372" y="400"/>
                      </a:lnTo>
                      <a:lnTo>
                        <a:pt x="1382" y="378"/>
                      </a:lnTo>
                      <a:lnTo>
                        <a:pt x="1392" y="354"/>
                      </a:lnTo>
                      <a:lnTo>
                        <a:pt x="1398" y="330"/>
                      </a:lnTo>
                      <a:lnTo>
                        <a:pt x="1402" y="304"/>
                      </a:lnTo>
                      <a:lnTo>
                        <a:pt x="1402" y="296"/>
                      </a:lnTo>
                      <a:lnTo>
                        <a:pt x="1402" y="286"/>
                      </a:lnTo>
                      <a:lnTo>
                        <a:pt x="1398" y="268"/>
                      </a:lnTo>
                      <a:lnTo>
                        <a:pt x="1394" y="248"/>
                      </a:lnTo>
                      <a:lnTo>
                        <a:pt x="1390" y="226"/>
                      </a:lnTo>
                      <a:lnTo>
                        <a:pt x="1386" y="166"/>
                      </a:lnTo>
                      <a:lnTo>
                        <a:pt x="1384" y="142"/>
                      </a:lnTo>
                      <a:lnTo>
                        <a:pt x="1380" y="132"/>
                      </a:lnTo>
                      <a:lnTo>
                        <a:pt x="1376" y="122"/>
                      </a:lnTo>
                      <a:lnTo>
                        <a:pt x="1364" y="100"/>
                      </a:lnTo>
                      <a:lnTo>
                        <a:pt x="1350" y="78"/>
                      </a:lnTo>
                      <a:lnTo>
                        <a:pt x="1332" y="60"/>
                      </a:lnTo>
                      <a:lnTo>
                        <a:pt x="1310" y="44"/>
                      </a:lnTo>
                      <a:lnTo>
                        <a:pt x="1288" y="30"/>
                      </a:lnTo>
                      <a:lnTo>
                        <a:pt x="1262" y="18"/>
                      </a:lnTo>
                      <a:lnTo>
                        <a:pt x="1232" y="8"/>
                      </a:lnTo>
                      <a:lnTo>
                        <a:pt x="1202" y="2"/>
                      </a:lnTo>
                      <a:lnTo>
                        <a:pt x="1202" y="0"/>
                      </a:lnTo>
                      <a:lnTo>
                        <a:pt x="1182" y="0"/>
                      </a:lnTo>
                      <a:lnTo>
                        <a:pt x="1166" y="4"/>
                      </a:lnTo>
                      <a:lnTo>
                        <a:pt x="1150" y="6"/>
                      </a:lnTo>
                      <a:lnTo>
                        <a:pt x="1120" y="8"/>
                      </a:lnTo>
                      <a:lnTo>
                        <a:pt x="1092" y="10"/>
                      </a:lnTo>
                      <a:lnTo>
                        <a:pt x="1078" y="14"/>
                      </a:lnTo>
                      <a:lnTo>
                        <a:pt x="1064" y="18"/>
                      </a:lnTo>
                      <a:lnTo>
                        <a:pt x="1050" y="26"/>
                      </a:lnTo>
                      <a:lnTo>
                        <a:pt x="1036" y="34"/>
                      </a:lnTo>
                      <a:lnTo>
                        <a:pt x="1024" y="42"/>
                      </a:lnTo>
                      <a:lnTo>
                        <a:pt x="1014" y="54"/>
                      </a:lnTo>
                      <a:lnTo>
                        <a:pt x="1004" y="64"/>
                      </a:lnTo>
                      <a:lnTo>
                        <a:pt x="994" y="78"/>
                      </a:lnTo>
                      <a:lnTo>
                        <a:pt x="988" y="90"/>
                      </a:lnTo>
                      <a:lnTo>
                        <a:pt x="980" y="106"/>
                      </a:lnTo>
                      <a:lnTo>
                        <a:pt x="976" y="120"/>
                      </a:lnTo>
                      <a:lnTo>
                        <a:pt x="970" y="138"/>
                      </a:lnTo>
                      <a:lnTo>
                        <a:pt x="964" y="172"/>
                      </a:lnTo>
                      <a:lnTo>
                        <a:pt x="962" y="210"/>
                      </a:lnTo>
                      <a:lnTo>
                        <a:pt x="962" y="252"/>
                      </a:lnTo>
                      <a:lnTo>
                        <a:pt x="964" y="290"/>
                      </a:lnTo>
                      <a:lnTo>
                        <a:pt x="968" y="326"/>
                      </a:lnTo>
                      <a:lnTo>
                        <a:pt x="972" y="364"/>
                      </a:lnTo>
                      <a:lnTo>
                        <a:pt x="978" y="400"/>
                      </a:lnTo>
                      <a:lnTo>
                        <a:pt x="986" y="434"/>
                      </a:lnTo>
                      <a:lnTo>
                        <a:pt x="994" y="468"/>
                      </a:lnTo>
                      <a:lnTo>
                        <a:pt x="1004" y="498"/>
                      </a:lnTo>
                      <a:lnTo>
                        <a:pt x="1018" y="526"/>
                      </a:lnTo>
                      <a:lnTo>
                        <a:pt x="1030" y="548"/>
                      </a:lnTo>
                      <a:lnTo>
                        <a:pt x="1042" y="566"/>
                      </a:lnTo>
                      <a:lnTo>
                        <a:pt x="1050" y="584"/>
                      </a:lnTo>
                      <a:lnTo>
                        <a:pt x="1054" y="592"/>
                      </a:lnTo>
                      <a:lnTo>
                        <a:pt x="1056" y="600"/>
                      </a:lnTo>
                      <a:lnTo>
                        <a:pt x="1056" y="612"/>
                      </a:lnTo>
                      <a:lnTo>
                        <a:pt x="1056" y="624"/>
                      </a:lnTo>
                      <a:lnTo>
                        <a:pt x="1050" y="648"/>
                      </a:lnTo>
                      <a:lnTo>
                        <a:pt x="1042" y="670"/>
                      </a:lnTo>
                      <a:lnTo>
                        <a:pt x="1030" y="690"/>
                      </a:lnTo>
                      <a:lnTo>
                        <a:pt x="1008" y="728"/>
                      </a:lnTo>
                      <a:lnTo>
                        <a:pt x="996" y="746"/>
                      </a:lnTo>
                      <a:lnTo>
                        <a:pt x="992" y="754"/>
                      </a:lnTo>
                      <a:lnTo>
                        <a:pt x="986" y="758"/>
                      </a:lnTo>
                      <a:lnTo>
                        <a:pt x="968" y="770"/>
                      </a:lnTo>
                      <a:lnTo>
                        <a:pt x="946" y="780"/>
                      </a:lnTo>
                      <a:lnTo>
                        <a:pt x="904" y="796"/>
                      </a:lnTo>
                      <a:lnTo>
                        <a:pt x="898" y="788"/>
                      </a:lnTo>
                      <a:lnTo>
                        <a:pt x="868" y="796"/>
                      </a:lnTo>
                      <a:lnTo>
                        <a:pt x="828" y="812"/>
                      </a:lnTo>
                      <a:lnTo>
                        <a:pt x="802" y="814"/>
                      </a:lnTo>
                      <a:lnTo>
                        <a:pt x="770" y="832"/>
                      </a:lnTo>
                      <a:lnTo>
                        <a:pt x="748" y="838"/>
                      </a:lnTo>
                      <a:lnTo>
                        <a:pt x="732" y="844"/>
                      </a:lnTo>
                      <a:lnTo>
                        <a:pt x="726" y="848"/>
                      </a:lnTo>
                      <a:lnTo>
                        <a:pt x="720" y="854"/>
                      </a:lnTo>
                      <a:lnTo>
                        <a:pt x="716" y="856"/>
                      </a:lnTo>
                      <a:lnTo>
                        <a:pt x="700" y="864"/>
                      </a:lnTo>
                      <a:lnTo>
                        <a:pt x="690" y="872"/>
                      </a:lnTo>
                      <a:lnTo>
                        <a:pt x="670" y="894"/>
                      </a:lnTo>
                      <a:lnTo>
                        <a:pt x="668" y="908"/>
                      </a:lnTo>
                      <a:lnTo>
                        <a:pt x="656" y="946"/>
                      </a:lnTo>
                      <a:lnTo>
                        <a:pt x="656" y="976"/>
                      </a:lnTo>
                      <a:lnTo>
                        <a:pt x="654" y="1006"/>
                      </a:lnTo>
                      <a:lnTo>
                        <a:pt x="654" y="1026"/>
                      </a:lnTo>
                      <a:lnTo>
                        <a:pt x="644" y="1030"/>
                      </a:lnTo>
                      <a:lnTo>
                        <a:pt x="616" y="1030"/>
                      </a:lnTo>
                      <a:lnTo>
                        <a:pt x="608" y="1048"/>
                      </a:lnTo>
                      <a:lnTo>
                        <a:pt x="600" y="1072"/>
                      </a:lnTo>
                      <a:lnTo>
                        <a:pt x="586" y="1086"/>
                      </a:lnTo>
                      <a:lnTo>
                        <a:pt x="578" y="1098"/>
                      </a:lnTo>
                      <a:lnTo>
                        <a:pt x="558" y="1102"/>
                      </a:lnTo>
                      <a:lnTo>
                        <a:pt x="530" y="1106"/>
                      </a:lnTo>
                      <a:lnTo>
                        <a:pt x="498" y="1116"/>
                      </a:lnTo>
                      <a:lnTo>
                        <a:pt x="482" y="1132"/>
                      </a:lnTo>
                      <a:lnTo>
                        <a:pt x="456" y="1158"/>
                      </a:lnTo>
                      <a:lnTo>
                        <a:pt x="448" y="1172"/>
                      </a:lnTo>
                      <a:lnTo>
                        <a:pt x="434" y="1184"/>
                      </a:lnTo>
                      <a:lnTo>
                        <a:pt x="424" y="1190"/>
                      </a:lnTo>
                      <a:lnTo>
                        <a:pt x="410" y="1196"/>
                      </a:lnTo>
                      <a:lnTo>
                        <a:pt x="392" y="1188"/>
                      </a:lnTo>
                      <a:lnTo>
                        <a:pt x="360" y="1172"/>
                      </a:lnTo>
                      <a:lnTo>
                        <a:pt x="332" y="1156"/>
                      </a:lnTo>
                      <a:lnTo>
                        <a:pt x="302" y="1146"/>
                      </a:lnTo>
                      <a:lnTo>
                        <a:pt x="266" y="1122"/>
                      </a:lnTo>
                      <a:lnTo>
                        <a:pt x="250" y="1110"/>
                      </a:lnTo>
                      <a:lnTo>
                        <a:pt x="222" y="1090"/>
                      </a:lnTo>
                      <a:lnTo>
                        <a:pt x="196" y="1074"/>
                      </a:lnTo>
                      <a:lnTo>
                        <a:pt x="182" y="1062"/>
                      </a:lnTo>
                      <a:lnTo>
                        <a:pt x="168" y="1048"/>
                      </a:lnTo>
                      <a:lnTo>
                        <a:pt x="146" y="1034"/>
                      </a:lnTo>
                      <a:lnTo>
                        <a:pt x="122" y="1060"/>
                      </a:lnTo>
                      <a:lnTo>
                        <a:pt x="96" y="1088"/>
                      </a:lnTo>
                      <a:lnTo>
                        <a:pt x="70" y="1124"/>
                      </a:lnTo>
                      <a:lnTo>
                        <a:pt x="42" y="1164"/>
                      </a:lnTo>
                      <a:lnTo>
                        <a:pt x="30" y="1184"/>
                      </a:lnTo>
                      <a:lnTo>
                        <a:pt x="18" y="1204"/>
                      </a:lnTo>
                      <a:lnTo>
                        <a:pt x="10" y="1226"/>
                      </a:lnTo>
                      <a:lnTo>
                        <a:pt x="4" y="1246"/>
                      </a:lnTo>
                      <a:lnTo>
                        <a:pt x="0" y="1264"/>
                      </a:lnTo>
                      <a:lnTo>
                        <a:pt x="0" y="1282"/>
                      </a:lnTo>
                      <a:lnTo>
                        <a:pt x="80" y="1324"/>
                      </a:lnTo>
                      <a:lnTo>
                        <a:pt x="120" y="1338"/>
                      </a:lnTo>
                      <a:lnTo>
                        <a:pt x="166" y="1356"/>
                      </a:lnTo>
                      <a:lnTo>
                        <a:pt x="216" y="1378"/>
                      </a:lnTo>
                      <a:lnTo>
                        <a:pt x="248" y="1396"/>
                      </a:lnTo>
                      <a:lnTo>
                        <a:pt x="304" y="1408"/>
                      </a:lnTo>
                      <a:lnTo>
                        <a:pt x="342" y="1438"/>
                      </a:lnTo>
                      <a:lnTo>
                        <a:pt x="372" y="1450"/>
                      </a:lnTo>
                      <a:lnTo>
                        <a:pt x="464" y="1450"/>
                      </a:lnTo>
                      <a:lnTo>
                        <a:pt x="482" y="1448"/>
                      </a:lnTo>
                      <a:lnTo>
                        <a:pt x="504" y="1438"/>
                      </a:lnTo>
                      <a:lnTo>
                        <a:pt x="526" y="1432"/>
                      </a:lnTo>
                      <a:lnTo>
                        <a:pt x="560" y="1422"/>
                      </a:lnTo>
                      <a:lnTo>
                        <a:pt x="596" y="1414"/>
                      </a:lnTo>
                      <a:lnTo>
                        <a:pt x="620" y="1410"/>
                      </a:lnTo>
                      <a:lnTo>
                        <a:pt x="644" y="1404"/>
                      </a:lnTo>
                      <a:lnTo>
                        <a:pt x="654" y="1398"/>
                      </a:lnTo>
                      <a:lnTo>
                        <a:pt x="674" y="1388"/>
                      </a:lnTo>
                      <a:lnTo>
                        <a:pt x="694" y="1380"/>
                      </a:lnTo>
                      <a:lnTo>
                        <a:pt x="706" y="1368"/>
                      </a:lnTo>
                      <a:lnTo>
                        <a:pt x="714" y="1396"/>
                      </a:lnTo>
                      <a:lnTo>
                        <a:pt x="712" y="1608"/>
                      </a:lnTo>
                      <a:lnTo>
                        <a:pt x="712" y="1820"/>
                      </a:lnTo>
                      <a:lnTo>
                        <a:pt x="710" y="1940"/>
                      </a:lnTo>
                      <a:lnTo>
                        <a:pt x="704" y="2106"/>
                      </a:lnTo>
                      <a:lnTo>
                        <a:pt x="698" y="2262"/>
                      </a:lnTo>
                      <a:lnTo>
                        <a:pt x="696" y="2358"/>
                      </a:lnTo>
                      <a:lnTo>
                        <a:pt x="698" y="2366"/>
                      </a:lnTo>
                      <a:lnTo>
                        <a:pt x="702" y="2374"/>
                      </a:lnTo>
                      <a:lnTo>
                        <a:pt x="708" y="2378"/>
                      </a:lnTo>
                      <a:lnTo>
                        <a:pt x="718" y="2380"/>
                      </a:lnTo>
                      <a:lnTo>
                        <a:pt x="728" y="2380"/>
                      </a:lnTo>
                      <a:lnTo>
                        <a:pt x="738" y="2380"/>
                      </a:lnTo>
                      <a:lnTo>
                        <a:pt x="764" y="2376"/>
                      </a:lnTo>
                      <a:lnTo>
                        <a:pt x="788" y="2372"/>
                      </a:lnTo>
                      <a:lnTo>
                        <a:pt x="800" y="2370"/>
                      </a:lnTo>
                      <a:lnTo>
                        <a:pt x="810" y="2372"/>
                      </a:lnTo>
                      <a:lnTo>
                        <a:pt x="820" y="2374"/>
                      </a:lnTo>
                      <a:lnTo>
                        <a:pt x="828" y="2378"/>
                      </a:lnTo>
                      <a:lnTo>
                        <a:pt x="832" y="2384"/>
                      </a:lnTo>
                      <a:lnTo>
                        <a:pt x="836" y="2394"/>
                      </a:lnTo>
                      <a:lnTo>
                        <a:pt x="842" y="2434"/>
                      </a:lnTo>
                      <a:lnTo>
                        <a:pt x="848" y="2474"/>
                      </a:lnTo>
                      <a:lnTo>
                        <a:pt x="864" y="2554"/>
                      </a:lnTo>
                      <a:lnTo>
                        <a:pt x="882" y="2634"/>
                      </a:lnTo>
                      <a:lnTo>
                        <a:pt x="896" y="2714"/>
                      </a:lnTo>
                      <a:lnTo>
                        <a:pt x="944" y="3048"/>
                      </a:lnTo>
                      <a:lnTo>
                        <a:pt x="956" y="3134"/>
                      </a:lnTo>
                      <a:lnTo>
                        <a:pt x="968" y="3222"/>
                      </a:lnTo>
                      <a:lnTo>
                        <a:pt x="974" y="3266"/>
                      </a:lnTo>
                      <a:lnTo>
                        <a:pt x="978" y="3310"/>
                      </a:lnTo>
                      <a:lnTo>
                        <a:pt x="980" y="3352"/>
                      </a:lnTo>
                      <a:lnTo>
                        <a:pt x="980" y="3396"/>
                      </a:lnTo>
                      <a:lnTo>
                        <a:pt x="978" y="3428"/>
                      </a:lnTo>
                      <a:lnTo>
                        <a:pt x="976" y="3460"/>
                      </a:lnTo>
                      <a:lnTo>
                        <a:pt x="968" y="3524"/>
                      </a:lnTo>
                      <a:lnTo>
                        <a:pt x="958" y="3588"/>
                      </a:lnTo>
                      <a:lnTo>
                        <a:pt x="950" y="3650"/>
                      </a:lnTo>
                      <a:lnTo>
                        <a:pt x="942" y="3696"/>
                      </a:lnTo>
                      <a:lnTo>
                        <a:pt x="932" y="3742"/>
                      </a:lnTo>
                      <a:lnTo>
                        <a:pt x="920" y="3786"/>
                      </a:lnTo>
                      <a:lnTo>
                        <a:pt x="912" y="3826"/>
                      </a:lnTo>
                      <a:lnTo>
                        <a:pt x="908" y="3842"/>
                      </a:lnTo>
                      <a:lnTo>
                        <a:pt x="906" y="3858"/>
                      </a:lnTo>
                      <a:lnTo>
                        <a:pt x="904" y="3874"/>
                      </a:lnTo>
                      <a:lnTo>
                        <a:pt x="900" y="3890"/>
                      </a:lnTo>
                      <a:lnTo>
                        <a:pt x="898" y="3896"/>
                      </a:lnTo>
                      <a:lnTo>
                        <a:pt x="894" y="3902"/>
                      </a:lnTo>
                      <a:lnTo>
                        <a:pt x="886" y="3914"/>
                      </a:lnTo>
                      <a:lnTo>
                        <a:pt x="874" y="3926"/>
                      </a:lnTo>
                      <a:lnTo>
                        <a:pt x="864" y="3940"/>
                      </a:lnTo>
                      <a:lnTo>
                        <a:pt x="856" y="3954"/>
                      </a:lnTo>
                      <a:lnTo>
                        <a:pt x="848" y="3966"/>
                      </a:lnTo>
                      <a:lnTo>
                        <a:pt x="840" y="3978"/>
                      </a:lnTo>
                      <a:lnTo>
                        <a:pt x="836" y="3984"/>
                      </a:lnTo>
                      <a:lnTo>
                        <a:pt x="830" y="3988"/>
                      </a:lnTo>
                      <a:lnTo>
                        <a:pt x="818" y="3996"/>
                      </a:lnTo>
                      <a:lnTo>
                        <a:pt x="804" y="4004"/>
                      </a:lnTo>
                      <a:lnTo>
                        <a:pt x="776" y="4018"/>
                      </a:lnTo>
                      <a:lnTo>
                        <a:pt x="746" y="4030"/>
                      </a:lnTo>
                      <a:lnTo>
                        <a:pt x="718" y="4044"/>
                      </a:lnTo>
                      <a:lnTo>
                        <a:pt x="662" y="4072"/>
                      </a:lnTo>
                      <a:lnTo>
                        <a:pt x="636" y="4088"/>
                      </a:lnTo>
                      <a:lnTo>
                        <a:pt x="624" y="4098"/>
                      </a:lnTo>
                      <a:lnTo>
                        <a:pt x="612" y="4108"/>
                      </a:lnTo>
                      <a:lnTo>
                        <a:pt x="612" y="4116"/>
                      </a:lnTo>
                      <a:lnTo>
                        <a:pt x="618" y="4140"/>
                      </a:lnTo>
                      <a:lnTo>
                        <a:pt x="622" y="4150"/>
                      </a:lnTo>
                      <a:lnTo>
                        <a:pt x="626" y="4160"/>
                      </a:lnTo>
                      <a:lnTo>
                        <a:pt x="652" y="4170"/>
                      </a:lnTo>
                      <a:lnTo>
                        <a:pt x="680" y="4176"/>
                      </a:lnTo>
                      <a:lnTo>
                        <a:pt x="712" y="4180"/>
                      </a:lnTo>
                      <a:lnTo>
                        <a:pt x="744" y="4180"/>
                      </a:lnTo>
                      <a:lnTo>
                        <a:pt x="776" y="4180"/>
                      </a:lnTo>
                      <a:lnTo>
                        <a:pt x="808" y="4176"/>
                      </a:lnTo>
                      <a:lnTo>
                        <a:pt x="838" y="4170"/>
                      </a:lnTo>
                      <a:lnTo>
                        <a:pt x="864" y="4160"/>
                      </a:lnTo>
                      <a:lnTo>
                        <a:pt x="882" y="4152"/>
                      </a:lnTo>
                      <a:lnTo>
                        <a:pt x="898" y="4144"/>
                      </a:lnTo>
                      <a:lnTo>
                        <a:pt x="926" y="4122"/>
                      </a:lnTo>
                      <a:lnTo>
                        <a:pt x="954" y="4102"/>
                      </a:lnTo>
                      <a:lnTo>
                        <a:pt x="970" y="4094"/>
                      </a:lnTo>
                      <a:lnTo>
                        <a:pt x="986" y="4088"/>
                      </a:lnTo>
                      <a:lnTo>
                        <a:pt x="1012" y="4096"/>
                      </a:lnTo>
                      <a:lnTo>
                        <a:pt x="1042" y="4098"/>
                      </a:lnTo>
                      <a:lnTo>
                        <a:pt x="1070" y="4098"/>
                      </a:lnTo>
                      <a:lnTo>
                        <a:pt x="1100" y="4096"/>
                      </a:lnTo>
                      <a:lnTo>
                        <a:pt x="1128" y="4090"/>
                      </a:lnTo>
                      <a:lnTo>
                        <a:pt x="1152" y="4080"/>
                      </a:lnTo>
                      <a:lnTo>
                        <a:pt x="1174" y="4070"/>
                      </a:lnTo>
                      <a:lnTo>
                        <a:pt x="1192" y="4056"/>
                      </a:lnTo>
                      <a:lnTo>
                        <a:pt x="1198" y="4030"/>
                      </a:lnTo>
                      <a:lnTo>
                        <a:pt x="1200" y="4002"/>
                      </a:lnTo>
                      <a:lnTo>
                        <a:pt x="1206" y="3974"/>
                      </a:lnTo>
                      <a:lnTo>
                        <a:pt x="1210" y="3962"/>
                      </a:lnTo>
                      <a:lnTo>
                        <a:pt x="1214" y="3950"/>
                      </a:lnTo>
                      <a:lnTo>
                        <a:pt x="1218" y="3942"/>
                      </a:lnTo>
                      <a:lnTo>
                        <a:pt x="1226" y="3932"/>
                      </a:lnTo>
                      <a:lnTo>
                        <a:pt x="1234" y="3924"/>
                      </a:lnTo>
                      <a:lnTo>
                        <a:pt x="1240" y="3916"/>
                      </a:lnTo>
                      <a:lnTo>
                        <a:pt x="1242" y="3904"/>
                      </a:lnTo>
                      <a:lnTo>
                        <a:pt x="1244" y="3894"/>
                      </a:lnTo>
                      <a:lnTo>
                        <a:pt x="1246" y="3870"/>
                      </a:lnTo>
                      <a:lnTo>
                        <a:pt x="1244" y="3844"/>
                      </a:lnTo>
                      <a:lnTo>
                        <a:pt x="1240" y="3820"/>
                      </a:lnTo>
                      <a:lnTo>
                        <a:pt x="1234" y="3766"/>
                      </a:lnTo>
                      <a:lnTo>
                        <a:pt x="1232" y="3740"/>
                      </a:lnTo>
                      <a:lnTo>
                        <a:pt x="1234" y="3714"/>
                      </a:lnTo>
                      <a:lnTo>
                        <a:pt x="1236" y="3702"/>
                      </a:lnTo>
                      <a:lnTo>
                        <a:pt x="1240" y="3692"/>
                      </a:lnTo>
                      <a:lnTo>
                        <a:pt x="1244" y="3682"/>
                      </a:lnTo>
                      <a:lnTo>
                        <a:pt x="1246" y="3672"/>
                      </a:lnTo>
                      <a:lnTo>
                        <a:pt x="1244" y="3664"/>
                      </a:lnTo>
                      <a:lnTo>
                        <a:pt x="1242" y="3656"/>
                      </a:lnTo>
                      <a:lnTo>
                        <a:pt x="1240" y="3648"/>
                      </a:lnTo>
                      <a:lnTo>
                        <a:pt x="1240" y="3642"/>
                      </a:lnTo>
                      <a:lnTo>
                        <a:pt x="1240" y="3628"/>
                      </a:lnTo>
                      <a:lnTo>
                        <a:pt x="1244" y="3614"/>
                      </a:lnTo>
                      <a:lnTo>
                        <a:pt x="1250" y="3590"/>
                      </a:lnTo>
                      <a:lnTo>
                        <a:pt x="1250" y="3562"/>
                      </a:lnTo>
                      <a:lnTo>
                        <a:pt x="1252" y="3534"/>
                      </a:lnTo>
                      <a:lnTo>
                        <a:pt x="1254" y="3444"/>
                      </a:lnTo>
                      <a:lnTo>
                        <a:pt x="1258" y="3354"/>
                      </a:lnTo>
                      <a:lnTo>
                        <a:pt x="1270" y="3180"/>
                      </a:lnTo>
                      <a:lnTo>
                        <a:pt x="1282" y="3010"/>
                      </a:lnTo>
                      <a:lnTo>
                        <a:pt x="1290" y="2844"/>
                      </a:lnTo>
                      <a:lnTo>
                        <a:pt x="1296" y="2850"/>
                      </a:lnTo>
                      <a:lnTo>
                        <a:pt x="1300" y="2856"/>
                      </a:lnTo>
                      <a:lnTo>
                        <a:pt x="1306" y="2868"/>
                      </a:lnTo>
                      <a:lnTo>
                        <a:pt x="1310" y="2882"/>
                      </a:lnTo>
                      <a:lnTo>
                        <a:pt x="1312" y="2894"/>
                      </a:lnTo>
                      <a:lnTo>
                        <a:pt x="1328" y="2936"/>
                      </a:lnTo>
                      <a:lnTo>
                        <a:pt x="1342" y="2978"/>
                      </a:lnTo>
                      <a:lnTo>
                        <a:pt x="1370" y="3064"/>
                      </a:lnTo>
                      <a:lnTo>
                        <a:pt x="1388" y="3120"/>
                      </a:lnTo>
                      <a:lnTo>
                        <a:pt x="1410" y="3176"/>
                      </a:lnTo>
                      <a:lnTo>
                        <a:pt x="1428" y="3232"/>
                      </a:lnTo>
                      <a:lnTo>
                        <a:pt x="1436" y="3260"/>
                      </a:lnTo>
                      <a:lnTo>
                        <a:pt x="1444" y="3288"/>
                      </a:lnTo>
                      <a:lnTo>
                        <a:pt x="1450" y="3312"/>
                      </a:lnTo>
                      <a:lnTo>
                        <a:pt x="1452" y="3338"/>
                      </a:lnTo>
                      <a:lnTo>
                        <a:pt x="1456" y="3390"/>
                      </a:lnTo>
                      <a:lnTo>
                        <a:pt x="1464" y="3438"/>
                      </a:lnTo>
                      <a:lnTo>
                        <a:pt x="1472" y="3486"/>
                      </a:lnTo>
                      <a:lnTo>
                        <a:pt x="1482" y="3554"/>
                      </a:lnTo>
                      <a:lnTo>
                        <a:pt x="1490" y="3620"/>
                      </a:lnTo>
                      <a:lnTo>
                        <a:pt x="1500" y="3754"/>
                      </a:lnTo>
                      <a:lnTo>
                        <a:pt x="1502" y="3810"/>
                      </a:lnTo>
                      <a:lnTo>
                        <a:pt x="1508" y="3864"/>
                      </a:lnTo>
                      <a:lnTo>
                        <a:pt x="1508" y="3906"/>
                      </a:lnTo>
                      <a:lnTo>
                        <a:pt x="1510" y="3946"/>
                      </a:lnTo>
                      <a:lnTo>
                        <a:pt x="1514" y="3946"/>
                      </a:lnTo>
                      <a:lnTo>
                        <a:pt x="1518" y="4020"/>
                      </a:lnTo>
                      <a:lnTo>
                        <a:pt x="1526" y="4092"/>
                      </a:lnTo>
                      <a:lnTo>
                        <a:pt x="1532" y="4094"/>
                      </a:lnTo>
                      <a:lnTo>
                        <a:pt x="1540" y="4096"/>
                      </a:lnTo>
                      <a:lnTo>
                        <a:pt x="1556" y="4098"/>
                      </a:lnTo>
                      <a:lnTo>
                        <a:pt x="1572" y="4100"/>
                      </a:lnTo>
                      <a:lnTo>
                        <a:pt x="1578" y="4102"/>
                      </a:lnTo>
                      <a:lnTo>
                        <a:pt x="1584" y="4104"/>
                      </a:lnTo>
                      <a:lnTo>
                        <a:pt x="1586" y="4120"/>
                      </a:lnTo>
                      <a:lnTo>
                        <a:pt x="1586" y="4138"/>
                      </a:lnTo>
                      <a:lnTo>
                        <a:pt x="1586" y="4158"/>
                      </a:lnTo>
                      <a:lnTo>
                        <a:pt x="1586" y="4176"/>
                      </a:lnTo>
                      <a:lnTo>
                        <a:pt x="1576" y="4198"/>
                      </a:lnTo>
                      <a:lnTo>
                        <a:pt x="1562" y="4220"/>
                      </a:lnTo>
                      <a:lnTo>
                        <a:pt x="1550" y="4240"/>
                      </a:lnTo>
                      <a:lnTo>
                        <a:pt x="1534" y="4258"/>
                      </a:lnTo>
                      <a:lnTo>
                        <a:pt x="1504" y="4296"/>
                      </a:lnTo>
                      <a:lnTo>
                        <a:pt x="1468" y="4330"/>
                      </a:lnTo>
                      <a:lnTo>
                        <a:pt x="1448" y="4350"/>
                      </a:lnTo>
                      <a:lnTo>
                        <a:pt x="1428" y="4372"/>
                      </a:lnTo>
                      <a:lnTo>
                        <a:pt x="1420" y="4384"/>
                      </a:lnTo>
                      <a:lnTo>
                        <a:pt x="1414" y="4396"/>
                      </a:lnTo>
                      <a:lnTo>
                        <a:pt x="1410" y="4410"/>
                      </a:lnTo>
                      <a:lnTo>
                        <a:pt x="1408" y="4422"/>
                      </a:lnTo>
                      <a:lnTo>
                        <a:pt x="1410" y="4430"/>
                      </a:lnTo>
                      <a:lnTo>
                        <a:pt x="1414" y="4436"/>
                      </a:lnTo>
                      <a:lnTo>
                        <a:pt x="1418" y="4442"/>
                      </a:lnTo>
                      <a:lnTo>
                        <a:pt x="1424" y="4446"/>
                      </a:lnTo>
                      <a:lnTo>
                        <a:pt x="1438" y="4454"/>
                      </a:lnTo>
                      <a:lnTo>
                        <a:pt x="1454" y="4460"/>
                      </a:lnTo>
                      <a:lnTo>
                        <a:pt x="1474" y="4462"/>
                      </a:lnTo>
                      <a:lnTo>
                        <a:pt x="1492" y="4466"/>
                      </a:lnTo>
                      <a:lnTo>
                        <a:pt x="1530" y="4470"/>
                      </a:lnTo>
                      <a:lnTo>
                        <a:pt x="1530" y="4472"/>
                      </a:lnTo>
                      <a:lnTo>
                        <a:pt x="1560" y="4472"/>
                      </a:lnTo>
                      <a:lnTo>
                        <a:pt x="1602" y="4466"/>
                      </a:lnTo>
                      <a:lnTo>
                        <a:pt x="1640" y="4456"/>
                      </a:lnTo>
                      <a:lnTo>
                        <a:pt x="1676" y="4444"/>
                      </a:lnTo>
                      <a:lnTo>
                        <a:pt x="1708" y="4428"/>
                      </a:lnTo>
                      <a:lnTo>
                        <a:pt x="1736" y="4410"/>
                      </a:lnTo>
                      <a:lnTo>
                        <a:pt x="1762" y="4388"/>
                      </a:lnTo>
                      <a:lnTo>
                        <a:pt x="1784" y="4364"/>
                      </a:lnTo>
                      <a:lnTo>
                        <a:pt x="1804" y="4338"/>
                      </a:lnTo>
                      <a:lnTo>
                        <a:pt x="1818" y="4336"/>
                      </a:lnTo>
                      <a:lnTo>
                        <a:pt x="1830" y="4330"/>
                      </a:lnTo>
                      <a:lnTo>
                        <a:pt x="1842" y="4324"/>
                      </a:lnTo>
                      <a:lnTo>
                        <a:pt x="1854" y="4318"/>
                      </a:lnTo>
                      <a:lnTo>
                        <a:pt x="1874" y="4300"/>
                      </a:lnTo>
                      <a:lnTo>
                        <a:pt x="1892" y="4280"/>
                      </a:lnTo>
                      <a:lnTo>
                        <a:pt x="1892" y="4264"/>
                      </a:lnTo>
                      <a:lnTo>
                        <a:pt x="1896" y="4250"/>
                      </a:lnTo>
                      <a:lnTo>
                        <a:pt x="1896" y="4230"/>
                      </a:lnTo>
                      <a:lnTo>
                        <a:pt x="1896" y="4210"/>
                      </a:lnTo>
                      <a:lnTo>
                        <a:pt x="1894" y="4192"/>
                      </a:lnTo>
                      <a:lnTo>
                        <a:pt x="1890" y="4172"/>
                      </a:lnTo>
                      <a:lnTo>
                        <a:pt x="1884" y="4154"/>
                      </a:lnTo>
                      <a:lnTo>
                        <a:pt x="1874" y="4120"/>
                      </a:lnTo>
                      <a:lnTo>
                        <a:pt x="1872" y="4104"/>
                      </a:lnTo>
                      <a:lnTo>
                        <a:pt x="1870" y="4088"/>
                      </a:lnTo>
                      <a:lnTo>
                        <a:pt x="1874" y="4076"/>
                      </a:lnTo>
                      <a:lnTo>
                        <a:pt x="1878" y="4066"/>
                      </a:lnTo>
                      <a:lnTo>
                        <a:pt x="1880" y="4058"/>
                      </a:lnTo>
                      <a:lnTo>
                        <a:pt x="1882" y="4048"/>
                      </a:lnTo>
                      <a:lnTo>
                        <a:pt x="1886" y="4028"/>
                      </a:lnTo>
                      <a:lnTo>
                        <a:pt x="1886" y="4008"/>
                      </a:lnTo>
                      <a:lnTo>
                        <a:pt x="1886" y="3964"/>
                      </a:lnTo>
                      <a:lnTo>
                        <a:pt x="1884" y="3920"/>
                      </a:lnTo>
                      <a:lnTo>
                        <a:pt x="1882" y="3878"/>
                      </a:lnTo>
                      <a:lnTo>
                        <a:pt x="1882" y="3698"/>
                      </a:lnTo>
                      <a:lnTo>
                        <a:pt x="1884" y="3588"/>
                      </a:lnTo>
                      <a:lnTo>
                        <a:pt x="1888" y="3480"/>
                      </a:lnTo>
                      <a:lnTo>
                        <a:pt x="1888" y="3426"/>
                      </a:lnTo>
                      <a:lnTo>
                        <a:pt x="1886" y="3376"/>
                      </a:lnTo>
                      <a:lnTo>
                        <a:pt x="1884" y="3346"/>
                      </a:lnTo>
                      <a:lnTo>
                        <a:pt x="1880" y="3318"/>
                      </a:lnTo>
                      <a:lnTo>
                        <a:pt x="1870" y="3258"/>
                      </a:lnTo>
                      <a:lnTo>
                        <a:pt x="1844" y="3136"/>
                      </a:lnTo>
                      <a:lnTo>
                        <a:pt x="1842" y="3116"/>
                      </a:lnTo>
                      <a:lnTo>
                        <a:pt x="1838" y="3094"/>
                      </a:lnTo>
                      <a:lnTo>
                        <a:pt x="1834" y="3094"/>
                      </a:lnTo>
                      <a:lnTo>
                        <a:pt x="1802" y="2890"/>
                      </a:lnTo>
                      <a:lnTo>
                        <a:pt x="1764" y="2684"/>
                      </a:lnTo>
                      <a:lnTo>
                        <a:pt x="1752" y="2624"/>
                      </a:lnTo>
                      <a:lnTo>
                        <a:pt x="1742" y="2558"/>
                      </a:lnTo>
                      <a:lnTo>
                        <a:pt x="1738" y="2524"/>
                      </a:lnTo>
                      <a:lnTo>
                        <a:pt x="1736" y="2494"/>
                      </a:lnTo>
                      <a:lnTo>
                        <a:pt x="1736" y="2466"/>
                      </a:lnTo>
                      <a:lnTo>
                        <a:pt x="1740" y="2440"/>
                      </a:lnTo>
                      <a:lnTo>
                        <a:pt x="1740" y="2434"/>
                      </a:lnTo>
                      <a:lnTo>
                        <a:pt x="1742" y="2428"/>
                      </a:lnTo>
                      <a:lnTo>
                        <a:pt x="1744" y="2420"/>
                      </a:lnTo>
                      <a:lnTo>
                        <a:pt x="1748" y="2416"/>
                      </a:lnTo>
                      <a:lnTo>
                        <a:pt x="1754" y="2412"/>
                      </a:lnTo>
                      <a:lnTo>
                        <a:pt x="1756" y="2412"/>
                      </a:lnTo>
                      <a:lnTo>
                        <a:pt x="1760" y="2410"/>
                      </a:lnTo>
                      <a:lnTo>
                        <a:pt x="1762" y="2410"/>
                      </a:lnTo>
                      <a:lnTo>
                        <a:pt x="1762" y="2406"/>
                      </a:lnTo>
                      <a:lnTo>
                        <a:pt x="1762" y="2404"/>
                      </a:lnTo>
                      <a:lnTo>
                        <a:pt x="1760" y="2400"/>
                      </a:lnTo>
                      <a:lnTo>
                        <a:pt x="1762" y="2396"/>
                      </a:lnTo>
                      <a:lnTo>
                        <a:pt x="1764" y="2382"/>
                      </a:lnTo>
                      <a:lnTo>
                        <a:pt x="1764" y="2364"/>
                      </a:lnTo>
                      <a:lnTo>
                        <a:pt x="1762" y="2330"/>
                      </a:lnTo>
                      <a:lnTo>
                        <a:pt x="1756" y="2294"/>
                      </a:lnTo>
                      <a:lnTo>
                        <a:pt x="1752" y="2258"/>
                      </a:lnTo>
                      <a:lnTo>
                        <a:pt x="1748" y="2182"/>
                      </a:lnTo>
                      <a:lnTo>
                        <a:pt x="1746" y="2148"/>
                      </a:lnTo>
                      <a:lnTo>
                        <a:pt x="1742" y="2114"/>
                      </a:lnTo>
                      <a:lnTo>
                        <a:pt x="1736" y="2048"/>
                      </a:lnTo>
                      <a:lnTo>
                        <a:pt x="1726" y="1978"/>
                      </a:lnTo>
                      <a:lnTo>
                        <a:pt x="1720" y="1942"/>
                      </a:lnTo>
                      <a:lnTo>
                        <a:pt x="1714" y="1906"/>
                      </a:lnTo>
                      <a:lnTo>
                        <a:pt x="1710" y="1872"/>
                      </a:lnTo>
                      <a:lnTo>
                        <a:pt x="1710" y="1856"/>
                      </a:lnTo>
                      <a:lnTo>
                        <a:pt x="1710" y="1842"/>
                      </a:lnTo>
                      <a:lnTo>
                        <a:pt x="1716" y="1828"/>
                      </a:lnTo>
                      <a:lnTo>
                        <a:pt x="1722" y="1812"/>
                      </a:lnTo>
                      <a:lnTo>
                        <a:pt x="1734" y="1796"/>
                      </a:lnTo>
                      <a:lnTo>
                        <a:pt x="1744" y="1780"/>
                      </a:lnTo>
                      <a:lnTo>
                        <a:pt x="1788" y="1764"/>
                      </a:lnTo>
                      <a:lnTo>
                        <a:pt x="1830" y="1746"/>
                      </a:lnTo>
                      <a:lnTo>
                        <a:pt x="1838" y="1740"/>
                      </a:lnTo>
                      <a:lnTo>
                        <a:pt x="1846" y="1734"/>
                      </a:lnTo>
                      <a:lnTo>
                        <a:pt x="1852" y="1732"/>
                      </a:lnTo>
                      <a:lnTo>
                        <a:pt x="1860" y="1726"/>
                      </a:lnTo>
                      <a:lnTo>
                        <a:pt x="1872" y="1716"/>
                      </a:lnTo>
                      <a:lnTo>
                        <a:pt x="1882" y="1706"/>
                      </a:lnTo>
                      <a:lnTo>
                        <a:pt x="1892" y="1702"/>
                      </a:lnTo>
                      <a:lnTo>
                        <a:pt x="1918" y="1690"/>
                      </a:lnTo>
                      <a:lnTo>
                        <a:pt x="1938" y="1680"/>
                      </a:lnTo>
                      <a:lnTo>
                        <a:pt x="1970" y="1612"/>
                      </a:lnTo>
                      <a:lnTo>
                        <a:pt x="1982" y="1576"/>
                      </a:lnTo>
                      <a:lnTo>
                        <a:pt x="2000" y="1546"/>
                      </a:lnTo>
                      <a:lnTo>
                        <a:pt x="2006" y="1430"/>
                      </a:lnTo>
                      <a:lnTo>
                        <a:pt x="2006" y="1362"/>
                      </a:lnTo>
                      <a:lnTo>
                        <a:pt x="2000" y="1288"/>
                      </a:lnTo>
                      <a:close/>
                      <a:moveTo>
                        <a:pt x="1010" y="1006"/>
                      </a:moveTo>
                      <a:lnTo>
                        <a:pt x="1008" y="980"/>
                      </a:lnTo>
                      <a:lnTo>
                        <a:pt x="1008" y="934"/>
                      </a:lnTo>
                      <a:lnTo>
                        <a:pt x="1002" y="912"/>
                      </a:lnTo>
                      <a:lnTo>
                        <a:pt x="1034" y="882"/>
                      </a:lnTo>
                      <a:lnTo>
                        <a:pt x="1064" y="850"/>
                      </a:lnTo>
                      <a:lnTo>
                        <a:pt x="1070" y="860"/>
                      </a:lnTo>
                      <a:lnTo>
                        <a:pt x="1074" y="874"/>
                      </a:lnTo>
                      <a:lnTo>
                        <a:pt x="1080" y="886"/>
                      </a:lnTo>
                      <a:lnTo>
                        <a:pt x="1082" y="892"/>
                      </a:lnTo>
                      <a:lnTo>
                        <a:pt x="1086" y="898"/>
                      </a:lnTo>
                      <a:lnTo>
                        <a:pt x="1066" y="922"/>
                      </a:lnTo>
                      <a:lnTo>
                        <a:pt x="1046" y="950"/>
                      </a:lnTo>
                      <a:lnTo>
                        <a:pt x="1010" y="1006"/>
                      </a:lnTo>
                      <a:close/>
                      <a:moveTo>
                        <a:pt x="1000" y="902"/>
                      </a:moveTo>
                      <a:lnTo>
                        <a:pt x="998" y="896"/>
                      </a:lnTo>
                      <a:lnTo>
                        <a:pt x="1000" y="858"/>
                      </a:lnTo>
                      <a:lnTo>
                        <a:pt x="1006" y="824"/>
                      </a:lnTo>
                      <a:lnTo>
                        <a:pt x="1000" y="822"/>
                      </a:lnTo>
                      <a:lnTo>
                        <a:pt x="1008" y="784"/>
                      </a:lnTo>
                      <a:lnTo>
                        <a:pt x="1018" y="746"/>
                      </a:lnTo>
                      <a:lnTo>
                        <a:pt x="1030" y="710"/>
                      </a:lnTo>
                      <a:lnTo>
                        <a:pt x="1042" y="676"/>
                      </a:lnTo>
                      <a:lnTo>
                        <a:pt x="1048" y="676"/>
                      </a:lnTo>
                      <a:lnTo>
                        <a:pt x="1068" y="702"/>
                      </a:lnTo>
                      <a:lnTo>
                        <a:pt x="1086" y="726"/>
                      </a:lnTo>
                      <a:lnTo>
                        <a:pt x="1104" y="754"/>
                      </a:lnTo>
                      <a:lnTo>
                        <a:pt x="1118" y="784"/>
                      </a:lnTo>
                      <a:lnTo>
                        <a:pt x="1090" y="816"/>
                      </a:lnTo>
                      <a:lnTo>
                        <a:pt x="1060" y="846"/>
                      </a:lnTo>
                      <a:lnTo>
                        <a:pt x="1030" y="874"/>
                      </a:lnTo>
                      <a:lnTo>
                        <a:pt x="1000" y="902"/>
                      </a:lnTo>
                      <a:close/>
                      <a:moveTo>
                        <a:pt x="1132" y="1048"/>
                      </a:moveTo>
                      <a:lnTo>
                        <a:pt x="1132" y="1048"/>
                      </a:lnTo>
                      <a:lnTo>
                        <a:pt x="1128" y="1032"/>
                      </a:lnTo>
                      <a:lnTo>
                        <a:pt x="1126" y="1014"/>
                      </a:lnTo>
                      <a:lnTo>
                        <a:pt x="1128" y="978"/>
                      </a:lnTo>
                      <a:lnTo>
                        <a:pt x="1128" y="942"/>
                      </a:lnTo>
                      <a:lnTo>
                        <a:pt x="1128" y="924"/>
                      </a:lnTo>
                      <a:lnTo>
                        <a:pt x="1126" y="910"/>
                      </a:lnTo>
                      <a:lnTo>
                        <a:pt x="1138" y="898"/>
                      </a:lnTo>
                      <a:lnTo>
                        <a:pt x="1150" y="886"/>
                      </a:lnTo>
                      <a:lnTo>
                        <a:pt x="1162" y="874"/>
                      </a:lnTo>
                      <a:lnTo>
                        <a:pt x="1166" y="868"/>
                      </a:lnTo>
                      <a:lnTo>
                        <a:pt x="1170" y="860"/>
                      </a:lnTo>
                      <a:lnTo>
                        <a:pt x="1176" y="862"/>
                      </a:lnTo>
                      <a:lnTo>
                        <a:pt x="1180" y="866"/>
                      </a:lnTo>
                      <a:lnTo>
                        <a:pt x="1186" y="876"/>
                      </a:lnTo>
                      <a:lnTo>
                        <a:pt x="1194" y="886"/>
                      </a:lnTo>
                      <a:lnTo>
                        <a:pt x="1202" y="898"/>
                      </a:lnTo>
                      <a:lnTo>
                        <a:pt x="1168" y="974"/>
                      </a:lnTo>
                      <a:lnTo>
                        <a:pt x="1150" y="1012"/>
                      </a:lnTo>
                      <a:lnTo>
                        <a:pt x="1132" y="10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98" name="Freeform 74"/>
                <p:cNvSpPr>
                  <a:spLocks noEditPoints="1"/>
                </p:cNvSpPr>
                <p:nvPr/>
              </p:nvSpPr>
              <p:spPr bwMode="auto">
                <a:xfrm>
                  <a:off x="12075828" y="1355653"/>
                  <a:ext cx="530365" cy="425827"/>
                </a:xfrm>
                <a:custGeom>
                  <a:avLst/>
                  <a:gdLst>
                    <a:gd name="T0" fmla="*/ 851812904 w 340"/>
                    <a:gd name="T1" fmla="*/ 131048115 h 270"/>
                    <a:gd name="T2" fmla="*/ 811490220 w 340"/>
                    <a:gd name="T3" fmla="*/ 5040312 h 270"/>
                    <a:gd name="T4" fmla="*/ 715724316 w 340"/>
                    <a:gd name="T5" fmla="*/ 0 h 270"/>
                    <a:gd name="T6" fmla="*/ 599797171 w 340"/>
                    <a:gd name="T7" fmla="*/ 0 h 270"/>
                    <a:gd name="T8" fmla="*/ 413305576 w 340"/>
                    <a:gd name="T9" fmla="*/ 35282184 h 270"/>
                    <a:gd name="T10" fmla="*/ 337700915 w 340"/>
                    <a:gd name="T11" fmla="*/ 65524058 h 270"/>
                    <a:gd name="T12" fmla="*/ 282257498 w 340"/>
                    <a:gd name="T13" fmla="*/ 110886874 h 270"/>
                    <a:gd name="T14" fmla="*/ 201612477 w 340"/>
                    <a:gd name="T15" fmla="*/ 151209356 h 270"/>
                    <a:gd name="T16" fmla="*/ 120967506 w 340"/>
                    <a:gd name="T17" fmla="*/ 211693129 h 270"/>
                    <a:gd name="T18" fmla="*/ 40322498 w 340"/>
                    <a:gd name="T19" fmla="*/ 257055921 h 270"/>
                    <a:gd name="T20" fmla="*/ 35282187 w 340"/>
                    <a:gd name="T21" fmla="*/ 337700884 h 270"/>
                    <a:gd name="T22" fmla="*/ 20161249 w 340"/>
                    <a:gd name="T23" fmla="*/ 418345947 h 270"/>
                    <a:gd name="T24" fmla="*/ 100806239 w 340"/>
                    <a:gd name="T25" fmla="*/ 554434323 h 270"/>
                    <a:gd name="T26" fmla="*/ 151209370 w 340"/>
                    <a:gd name="T27" fmla="*/ 594756805 h 270"/>
                    <a:gd name="T28" fmla="*/ 216733459 w 340"/>
                    <a:gd name="T29" fmla="*/ 665321148 h 270"/>
                    <a:gd name="T30" fmla="*/ 226814080 w 340"/>
                    <a:gd name="T31" fmla="*/ 675401768 h 270"/>
                    <a:gd name="T32" fmla="*/ 226814080 w 340"/>
                    <a:gd name="T33" fmla="*/ 675401768 h 270"/>
                    <a:gd name="T34" fmla="*/ 236894702 w 340"/>
                    <a:gd name="T35" fmla="*/ 670361458 h 270"/>
                    <a:gd name="T36" fmla="*/ 241935012 w 340"/>
                    <a:gd name="T37" fmla="*/ 670361458 h 270"/>
                    <a:gd name="T38" fmla="*/ 282257498 w 340"/>
                    <a:gd name="T39" fmla="*/ 665321148 h 270"/>
                    <a:gd name="T40" fmla="*/ 317539673 w 340"/>
                    <a:gd name="T41" fmla="*/ 655240527 h 270"/>
                    <a:gd name="T42" fmla="*/ 383063712 w 340"/>
                    <a:gd name="T43" fmla="*/ 635079286 h 270"/>
                    <a:gd name="T44" fmla="*/ 408265265 w 340"/>
                    <a:gd name="T45" fmla="*/ 624998666 h 270"/>
                    <a:gd name="T46" fmla="*/ 463708782 w 340"/>
                    <a:gd name="T47" fmla="*/ 609877735 h 270"/>
                    <a:gd name="T48" fmla="*/ 519152200 w 340"/>
                    <a:gd name="T49" fmla="*/ 599797115 h 270"/>
                    <a:gd name="T50" fmla="*/ 544353753 w 340"/>
                    <a:gd name="T51" fmla="*/ 574595564 h 270"/>
                    <a:gd name="T52" fmla="*/ 635079345 w 340"/>
                    <a:gd name="T53" fmla="*/ 509071531 h 270"/>
                    <a:gd name="T54" fmla="*/ 735885559 w 340"/>
                    <a:gd name="T55" fmla="*/ 372983056 h 270"/>
                    <a:gd name="T56" fmla="*/ 826611152 w 340"/>
                    <a:gd name="T57" fmla="*/ 287297782 h 270"/>
                    <a:gd name="T58" fmla="*/ 856853214 w 340"/>
                    <a:gd name="T59" fmla="*/ 221773749 h 270"/>
                    <a:gd name="T60" fmla="*/ 302418741 w 340"/>
                    <a:gd name="T61" fmla="*/ 372983056 h 270"/>
                    <a:gd name="T62" fmla="*/ 226814080 w 340"/>
                    <a:gd name="T63" fmla="*/ 423386257 h 270"/>
                    <a:gd name="T64" fmla="*/ 151209370 w 340"/>
                    <a:gd name="T65" fmla="*/ 463708739 h 270"/>
                    <a:gd name="T66" fmla="*/ 110886885 w 340"/>
                    <a:gd name="T67" fmla="*/ 418345947 h 270"/>
                    <a:gd name="T68" fmla="*/ 146169060 w 340"/>
                    <a:gd name="T69" fmla="*/ 337700884 h 270"/>
                    <a:gd name="T70" fmla="*/ 282257498 w 340"/>
                    <a:gd name="T71" fmla="*/ 287297782 h 270"/>
                    <a:gd name="T72" fmla="*/ 327620294 w 340"/>
                    <a:gd name="T73" fmla="*/ 292338092 h 270"/>
                    <a:gd name="T74" fmla="*/ 302418741 w 340"/>
                    <a:gd name="T75" fmla="*/ 372983056 h 270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340"/>
                    <a:gd name="T115" fmla="*/ 0 h 270"/>
                    <a:gd name="T116" fmla="*/ 340 w 340"/>
                    <a:gd name="T117" fmla="*/ 270 h 270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340" h="270">
                      <a:moveTo>
                        <a:pt x="338" y="70"/>
                      </a:moveTo>
                      <a:lnTo>
                        <a:pt x="338" y="52"/>
                      </a:lnTo>
                      <a:lnTo>
                        <a:pt x="338" y="34"/>
                      </a:lnTo>
                      <a:lnTo>
                        <a:pt x="322" y="2"/>
                      </a:lnTo>
                      <a:lnTo>
                        <a:pt x="302" y="2"/>
                      </a:lnTo>
                      <a:lnTo>
                        <a:pt x="284" y="0"/>
                      </a:lnTo>
                      <a:lnTo>
                        <a:pt x="258" y="0"/>
                      </a:lnTo>
                      <a:lnTo>
                        <a:pt x="238" y="0"/>
                      </a:lnTo>
                      <a:lnTo>
                        <a:pt x="200" y="0"/>
                      </a:lnTo>
                      <a:lnTo>
                        <a:pt x="164" y="14"/>
                      </a:lnTo>
                      <a:lnTo>
                        <a:pt x="146" y="20"/>
                      </a:lnTo>
                      <a:lnTo>
                        <a:pt x="134" y="26"/>
                      </a:lnTo>
                      <a:lnTo>
                        <a:pt x="126" y="30"/>
                      </a:lnTo>
                      <a:lnTo>
                        <a:pt x="112" y="44"/>
                      </a:lnTo>
                      <a:lnTo>
                        <a:pt x="106" y="48"/>
                      </a:lnTo>
                      <a:lnTo>
                        <a:pt x="80" y="60"/>
                      </a:lnTo>
                      <a:lnTo>
                        <a:pt x="68" y="70"/>
                      </a:lnTo>
                      <a:lnTo>
                        <a:pt x="48" y="84"/>
                      </a:lnTo>
                      <a:lnTo>
                        <a:pt x="36" y="88"/>
                      </a:lnTo>
                      <a:lnTo>
                        <a:pt x="16" y="102"/>
                      </a:lnTo>
                      <a:lnTo>
                        <a:pt x="0" y="116"/>
                      </a:lnTo>
                      <a:lnTo>
                        <a:pt x="14" y="134"/>
                      </a:lnTo>
                      <a:lnTo>
                        <a:pt x="8" y="142"/>
                      </a:lnTo>
                      <a:lnTo>
                        <a:pt x="8" y="166"/>
                      </a:lnTo>
                      <a:lnTo>
                        <a:pt x="26" y="196"/>
                      </a:lnTo>
                      <a:lnTo>
                        <a:pt x="40" y="220"/>
                      </a:lnTo>
                      <a:lnTo>
                        <a:pt x="60" y="236"/>
                      </a:lnTo>
                      <a:lnTo>
                        <a:pt x="74" y="252"/>
                      </a:lnTo>
                      <a:lnTo>
                        <a:pt x="86" y="264"/>
                      </a:lnTo>
                      <a:lnTo>
                        <a:pt x="90" y="268"/>
                      </a:lnTo>
                      <a:lnTo>
                        <a:pt x="90" y="270"/>
                      </a:lnTo>
                      <a:lnTo>
                        <a:pt x="90" y="268"/>
                      </a:lnTo>
                      <a:lnTo>
                        <a:pt x="92" y="266"/>
                      </a:lnTo>
                      <a:lnTo>
                        <a:pt x="94" y="266"/>
                      </a:lnTo>
                      <a:lnTo>
                        <a:pt x="96" y="266"/>
                      </a:lnTo>
                      <a:lnTo>
                        <a:pt x="104" y="266"/>
                      </a:lnTo>
                      <a:lnTo>
                        <a:pt x="112" y="264"/>
                      </a:lnTo>
                      <a:lnTo>
                        <a:pt x="126" y="260"/>
                      </a:lnTo>
                      <a:lnTo>
                        <a:pt x="144" y="254"/>
                      </a:lnTo>
                      <a:lnTo>
                        <a:pt x="152" y="252"/>
                      </a:lnTo>
                      <a:lnTo>
                        <a:pt x="162" y="248"/>
                      </a:lnTo>
                      <a:lnTo>
                        <a:pt x="172" y="244"/>
                      </a:lnTo>
                      <a:lnTo>
                        <a:pt x="184" y="242"/>
                      </a:lnTo>
                      <a:lnTo>
                        <a:pt x="206" y="238"/>
                      </a:lnTo>
                      <a:lnTo>
                        <a:pt x="212" y="234"/>
                      </a:lnTo>
                      <a:lnTo>
                        <a:pt x="216" y="228"/>
                      </a:lnTo>
                      <a:lnTo>
                        <a:pt x="220" y="222"/>
                      </a:lnTo>
                      <a:lnTo>
                        <a:pt x="252" y="202"/>
                      </a:lnTo>
                      <a:lnTo>
                        <a:pt x="276" y="176"/>
                      </a:lnTo>
                      <a:lnTo>
                        <a:pt x="292" y="148"/>
                      </a:lnTo>
                      <a:lnTo>
                        <a:pt x="318" y="126"/>
                      </a:lnTo>
                      <a:lnTo>
                        <a:pt x="328" y="114"/>
                      </a:lnTo>
                      <a:lnTo>
                        <a:pt x="338" y="96"/>
                      </a:lnTo>
                      <a:lnTo>
                        <a:pt x="340" y="88"/>
                      </a:lnTo>
                      <a:lnTo>
                        <a:pt x="338" y="70"/>
                      </a:lnTo>
                      <a:close/>
                      <a:moveTo>
                        <a:pt x="120" y="148"/>
                      </a:moveTo>
                      <a:lnTo>
                        <a:pt x="102" y="162"/>
                      </a:lnTo>
                      <a:lnTo>
                        <a:pt x="90" y="168"/>
                      </a:lnTo>
                      <a:lnTo>
                        <a:pt x="80" y="174"/>
                      </a:lnTo>
                      <a:lnTo>
                        <a:pt x="60" y="184"/>
                      </a:lnTo>
                      <a:lnTo>
                        <a:pt x="46" y="176"/>
                      </a:lnTo>
                      <a:lnTo>
                        <a:pt x="44" y="166"/>
                      </a:lnTo>
                      <a:lnTo>
                        <a:pt x="50" y="146"/>
                      </a:lnTo>
                      <a:lnTo>
                        <a:pt x="58" y="134"/>
                      </a:lnTo>
                      <a:lnTo>
                        <a:pt x="88" y="124"/>
                      </a:lnTo>
                      <a:lnTo>
                        <a:pt x="112" y="114"/>
                      </a:lnTo>
                      <a:lnTo>
                        <a:pt x="126" y="102"/>
                      </a:lnTo>
                      <a:lnTo>
                        <a:pt x="130" y="116"/>
                      </a:lnTo>
                      <a:lnTo>
                        <a:pt x="132" y="130"/>
                      </a:lnTo>
                      <a:lnTo>
                        <a:pt x="120" y="148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99" name="Freeform 75"/>
                <p:cNvSpPr>
                  <a:spLocks/>
                </p:cNvSpPr>
                <p:nvPr/>
              </p:nvSpPr>
              <p:spPr bwMode="auto">
                <a:xfrm>
                  <a:off x="12564317" y="1316937"/>
                  <a:ext cx="223311" cy="296796"/>
                </a:xfrm>
                <a:custGeom>
                  <a:avLst/>
                  <a:gdLst>
                    <a:gd name="T0" fmla="*/ 15120937 w 142"/>
                    <a:gd name="T1" fmla="*/ 423386306 h 182"/>
                    <a:gd name="T2" fmla="*/ 15120937 w 142"/>
                    <a:gd name="T3" fmla="*/ 423386306 h 182"/>
                    <a:gd name="T4" fmla="*/ 35282185 w 142"/>
                    <a:gd name="T5" fmla="*/ 372983099 h 182"/>
                    <a:gd name="T6" fmla="*/ 50403116 w 142"/>
                    <a:gd name="T7" fmla="*/ 322579991 h 182"/>
                    <a:gd name="T8" fmla="*/ 65524059 w 142"/>
                    <a:gd name="T9" fmla="*/ 262096261 h 182"/>
                    <a:gd name="T10" fmla="*/ 75604680 w 142"/>
                    <a:gd name="T11" fmla="*/ 191531860 h 182"/>
                    <a:gd name="T12" fmla="*/ 75604680 w 142"/>
                    <a:gd name="T13" fmla="*/ 161289996 h 182"/>
                    <a:gd name="T14" fmla="*/ 70564369 w 142"/>
                    <a:gd name="T15" fmla="*/ 131048131 h 182"/>
                    <a:gd name="T16" fmla="*/ 60483749 w 142"/>
                    <a:gd name="T17" fmla="*/ 100806241 h 182"/>
                    <a:gd name="T18" fmla="*/ 45362805 w 142"/>
                    <a:gd name="T19" fmla="*/ 75604687 h 182"/>
                    <a:gd name="T20" fmla="*/ 25201558 w 142"/>
                    <a:gd name="T21" fmla="*/ 50403120 h 182"/>
                    <a:gd name="T22" fmla="*/ 0 w 142"/>
                    <a:gd name="T23" fmla="*/ 35282188 h 182"/>
                    <a:gd name="T24" fmla="*/ 186491532 w 142"/>
                    <a:gd name="T25" fmla="*/ 0 h 182"/>
                    <a:gd name="T26" fmla="*/ 186491532 w 142"/>
                    <a:gd name="T27" fmla="*/ 0 h 182"/>
                    <a:gd name="T28" fmla="*/ 206652773 w 142"/>
                    <a:gd name="T29" fmla="*/ 20161249 h 182"/>
                    <a:gd name="T30" fmla="*/ 231854375 w 142"/>
                    <a:gd name="T31" fmla="*/ 40322499 h 182"/>
                    <a:gd name="T32" fmla="*/ 262096237 w 142"/>
                    <a:gd name="T33" fmla="*/ 75604687 h 182"/>
                    <a:gd name="T34" fmla="*/ 292338099 w 142"/>
                    <a:gd name="T35" fmla="*/ 126007820 h 182"/>
                    <a:gd name="T36" fmla="*/ 322579961 w 142"/>
                    <a:gd name="T37" fmla="*/ 191531860 h 182"/>
                    <a:gd name="T38" fmla="*/ 332660581 w 142"/>
                    <a:gd name="T39" fmla="*/ 231854396 h 182"/>
                    <a:gd name="T40" fmla="*/ 347781512 w 142"/>
                    <a:gd name="T41" fmla="*/ 277217194 h 182"/>
                    <a:gd name="T42" fmla="*/ 352821823 w 142"/>
                    <a:gd name="T43" fmla="*/ 327620302 h 182"/>
                    <a:gd name="T44" fmla="*/ 357862133 w 142"/>
                    <a:gd name="T45" fmla="*/ 378023410 h 182"/>
                    <a:gd name="T46" fmla="*/ 297378409 w 142"/>
                    <a:gd name="T47" fmla="*/ 458668482 h 182"/>
                    <a:gd name="T48" fmla="*/ 15120937 w 142"/>
                    <a:gd name="T49" fmla="*/ 423386306 h 182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42"/>
                    <a:gd name="T76" fmla="*/ 0 h 182"/>
                    <a:gd name="T77" fmla="*/ 142 w 142"/>
                    <a:gd name="T78" fmla="*/ 182 h 182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42" h="182">
                      <a:moveTo>
                        <a:pt x="6" y="168"/>
                      </a:moveTo>
                      <a:lnTo>
                        <a:pt x="6" y="168"/>
                      </a:lnTo>
                      <a:lnTo>
                        <a:pt x="14" y="148"/>
                      </a:lnTo>
                      <a:lnTo>
                        <a:pt x="20" y="128"/>
                      </a:lnTo>
                      <a:lnTo>
                        <a:pt x="26" y="104"/>
                      </a:lnTo>
                      <a:lnTo>
                        <a:pt x="30" y="76"/>
                      </a:lnTo>
                      <a:lnTo>
                        <a:pt x="30" y="64"/>
                      </a:lnTo>
                      <a:lnTo>
                        <a:pt x="28" y="52"/>
                      </a:lnTo>
                      <a:lnTo>
                        <a:pt x="24" y="40"/>
                      </a:lnTo>
                      <a:lnTo>
                        <a:pt x="18" y="30"/>
                      </a:lnTo>
                      <a:lnTo>
                        <a:pt x="10" y="20"/>
                      </a:lnTo>
                      <a:lnTo>
                        <a:pt x="0" y="14"/>
                      </a:lnTo>
                      <a:lnTo>
                        <a:pt x="74" y="0"/>
                      </a:lnTo>
                      <a:lnTo>
                        <a:pt x="82" y="8"/>
                      </a:lnTo>
                      <a:lnTo>
                        <a:pt x="92" y="16"/>
                      </a:lnTo>
                      <a:lnTo>
                        <a:pt x="104" y="30"/>
                      </a:lnTo>
                      <a:lnTo>
                        <a:pt x="116" y="50"/>
                      </a:lnTo>
                      <a:lnTo>
                        <a:pt x="128" y="76"/>
                      </a:lnTo>
                      <a:lnTo>
                        <a:pt x="132" y="92"/>
                      </a:lnTo>
                      <a:lnTo>
                        <a:pt x="138" y="110"/>
                      </a:lnTo>
                      <a:lnTo>
                        <a:pt x="140" y="130"/>
                      </a:lnTo>
                      <a:lnTo>
                        <a:pt x="142" y="150"/>
                      </a:lnTo>
                      <a:lnTo>
                        <a:pt x="118" y="182"/>
                      </a:lnTo>
                      <a:lnTo>
                        <a:pt x="6" y="16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ea typeface="+mn-ea"/>
                  </a:endParaRPr>
                </a:p>
              </p:txBody>
            </p:sp>
          </p:grpSp>
          <p:sp>
            <p:nvSpPr>
              <p:cNvPr id="94" name="Kombinationstegning 115"/>
              <p:cNvSpPr/>
              <p:nvPr/>
            </p:nvSpPr>
            <p:spPr bwMode="auto">
              <a:xfrm flipH="1">
                <a:off x="2229347" y="2060280"/>
                <a:ext cx="264128" cy="496738"/>
              </a:xfrm>
              <a:custGeom>
                <a:avLst/>
                <a:gdLst>
                  <a:gd name="connsiteX0" fmla="*/ 186267 w 241300"/>
                  <a:gd name="connsiteY0" fmla="*/ 279400 h 537633"/>
                  <a:gd name="connsiteX1" fmla="*/ 186267 w 241300"/>
                  <a:gd name="connsiteY1" fmla="*/ 165100 h 537633"/>
                  <a:gd name="connsiteX2" fmla="*/ 182034 w 241300"/>
                  <a:gd name="connsiteY2" fmla="*/ 131233 h 537633"/>
                  <a:gd name="connsiteX3" fmla="*/ 241300 w 241300"/>
                  <a:gd name="connsiteY3" fmla="*/ 71966 h 537633"/>
                  <a:gd name="connsiteX4" fmla="*/ 203200 w 241300"/>
                  <a:gd name="connsiteY4" fmla="*/ 8466 h 537633"/>
                  <a:gd name="connsiteX5" fmla="*/ 186267 w 241300"/>
                  <a:gd name="connsiteY5" fmla="*/ 0 h 537633"/>
                  <a:gd name="connsiteX6" fmla="*/ 127000 w 241300"/>
                  <a:gd name="connsiteY6" fmla="*/ 46566 h 537633"/>
                  <a:gd name="connsiteX7" fmla="*/ 148167 w 241300"/>
                  <a:gd name="connsiteY7" fmla="*/ 118533 h 537633"/>
                  <a:gd name="connsiteX8" fmla="*/ 93134 w 241300"/>
                  <a:gd name="connsiteY8" fmla="*/ 203200 h 537633"/>
                  <a:gd name="connsiteX9" fmla="*/ 42334 w 241300"/>
                  <a:gd name="connsiteY9" fmla="*/ 262466 h 537633"/>
                  <a:gd name="connsiteX10" fmla="*/ 4234 w 241300"/>
                  <a:gd name="connsiteY10" fmla="*/ 355600 h 537633"/>
                  <a:gd name="connsiteX11" fmla="*/ 0 w 241300"/>
                  <a:gd name="connsiteY11" fmla="*/ 385233 h 537633"/>
                  <a:gd name="connsiteX12" fmla="*/ 46567 w 241300"/>
                  <a:gd name="connsiteY12" fmla="*/ 537633 h 537633"/>
                  <a:gd name="connsiteX13" fmla="*/ 186267 w 241300"/>
                  <a:gd name="connsiteY13" fmla="*/ 279400 h 537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41300" h="537633">
                    <a:moveTo>
                      <a:pt x="186267" y="279400"/>
                    </a:moveTo>
                    <a:lnTo>
                      <a:pt x="186267" y="165100"/>
                    </a:lnTo>
                    <a:lnTo>
                      <a:pt x="182034" y="131233"/>
                    </a:lnTo>
                    <a:lnTo>
                      <a:pt x="241300" y="71966"/>
                    </a:lnTo>
                    <a:lnTo>
                      <a:pt x="203200" y="8466"/>
                    </a:lnTo>
                    <a:lnTo>
                      <a:pt x="186267" y="0"/>
                    </a:lnTo>
                    <a:lnTo>
                      <a:pt x="127000" y="46566"/>
                    </a:lnTo>
                    <a:lnTo>
                      <a:pt x="148167" y="118533"/>
                    </a:lnTo>
                    <a:lnTo>
                      <a:pt x="93134" y="203200"/>
                    </a:lnTo>
                    <a:lnTo>
                      <a:pt x="42334" y="262466"/>
                    </a:lnTo>
                    <a:lnTo>
                      <a:pt x="4234" y="355600"/>
                    </a:lnTo>
                    <a:lnTo>
                      <a:pt x="0" y="385233"/>
                    </a:lnTo>
                    <a:lnTo>
                      <a:pt x="46567" y="537633"/>
                    </a:lnTo>
                    <a:lnTo>
                      <a:pt x="186267" y="279400"/>
                    </a:lnTo>
                    <a:close/>
                  </a:path>
                </a:pathLst>
              </a:custGeom>
              <a:solidFill>
                <a:srgbClr val="C2F30D"/>
              </a:solidFill>
              <a:ln w="9525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indent="-342900" algn="ctr" fontAlgn="auto"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/>
                </a:pPr>
                <a:endParaRPr lang="da-DK" kern="0" noProof="1">
                  <a:solidFill>
                    <a:schemeClr val="tx2">
                      <a:lumMod val="60000"/>
                      <a:lumOff val="40000"/>
                    </a:schemeClr>
                  </a:solidFill>
                  <a:latin typeface="Calibri"/>
                  <a:ea typeface="+mn-ea"/>
                </a:endParaRPr>
              </a:p>
            </p:txBody>
          </p:sp>
        </p:grpSp>
      </p:grpSp>
      <p:grpSp>
        <p:nvGrpSpPr>
          <p:cNvPr id="100" name="Gruppe 246"/>
          <p:cNvGrpSpPr>
            <a:grpSpLocks/>
          </p:cNvGrpSpPr>
          <p:nvPr/>
        </p:nvGrpSpPr>
        <p:grpSpPr bwMode="auto">
          <a:xfrm>
            <a:off x="7799563" y="3242674"/>
            <a:ext cx="877931" cy="384095"/>
            <a:chOff x="76200" y="4062893"/>
            <a:chExt cx="6391275" cy="2795106"/>
          </a:xfrm>
        </p:grpSpPr>
        <p:grpSp>
          <p:nvGrpSpPr>
            <p:cNvPr id="101" name="Gruppe 73"/>
            <p:cNvGrpSpPr>
              <a:grpSpLocks/>
            </p:cNvGrpSpPr>
            <p:nvPr/>
          </p:nvGrpSpPr>
          <p:grpSpPr bwMode="auto">
            <a:xfrm>
              <a:off x="76200" y="4062893"/>
              <a:ext cx="6391275" cy="2795106"/>
              <a:chOff x="-1282700" y="1624013"/>
              <a:chExt cx="11996797" cy="5246687"/>
            </a:xfrm>
          </p:grpSpPr>
          <p:sp>
            <p:nvSpPr>
              <p:cNvPr id="103" name="Kombinationstegning 184"/>
              <p:cNvSpPr>
                <a:spLocks noChangeArrowheads="1"/>
              </p:cNvSpPr>
              <p:nvPr/>
            </p:nvSpPr>
            <p:spPr bwMode="auto">
              <a:xfrm>
                <a:off x="-735976" y="4934423"/>
                <a:ext cx="11450073" cy="1936277"/>
              </a:xfrm>
              <a:custGeom>
                <a:avLst/>
                <a:gdLst>
                  <a:gd name="T0" fmla="*/ 11420361 w 11379200"/>
                  <a:gd name="T1" fmla="*/ 1511976 h 1930400"/>
                  <a:gd name="T2" fmla="*/ 5350079 w 11379200"/>
                  <a:gd name="T3" fmla="*/ 0 h 1930400"/>
                  <a:gd name="T4" fmla="*/ 0 w 11379200"/>
                  <a:gd name="T5" fmla="*/ 1486566 h 1930400"/>
                  <a:gd name="T6" fmla="*/ 758786 w 11379200"/>
                  <a:gd name="T7" fmla="*/ 1931264 h 1930400"/>
                  <a:gd name="T8" fmla="*/ 11523247 w 11379200"/>
                  <a:gd name="T9" fmla="*/ 1931264 h 1930400"/>
                  <a:gd name="T10" fmla="*/ 11420361 w 11379200"/>
                  <a:gd name="T11" fmla="*/ 1511976 h 19304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379200"/>
                  <a:gd name="T19" fmla="*/ 0 h 1930400"/>
                  <a:gd name="T20" fmla="*/ 11379200 w 11379200"/>
                  <a:gd name="T21" fmla="*/ 1930400 h 193040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379200" h="1930400">
                    <a:moveTo>
                      <a:pt x="11277600" y="1511300"/>
                    </a:moveTo>
                    <a:lnTo>
                      <a:pt x="5283200" y="0"/>
                    </a:lnTo>
                    <a:lnTo>
                      <a:pt x="0" y="1485900"/>
                    </a:lnTo>
                    <a:lnTo>
                      <a:pt x="749300" y="1930400"/>
                    </a:lnTo>
                    <a:lnTo>
                      <a:pt x="11379200" y="1930400"/>
                    </a:lnTo>
                    <a:lnTo>
                      <a:pt x="11277600" y="151130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3E3E3"/>
                  </a:gs>
                  <a:gs pos="50000">
                    <a:srgbClr val="595959"/>
                  </a:gs>
                  <a:gs pos="100000">
                    <a:srgbClr val="737373"/>
                  </a:gs>
                </a:gsLst>
                <a:lin ang="2700000" scaled="1"/>
              </a:gradFill>
              <a:ln>
                <a:noFill/>
              </a:ln>
              <a:effectLst>
                <a:outerShdw blurRad="63500" dist="23000" dir="5400000" rotWithShape="0">
                  <a:srgbClr val="000000">
                    <a:alpha val="34998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>
                  <a:defRPr/>
                </a:pPr>
                <a:endParaRPr lang="en-US">
                  <a:ea typeface="ＭＳ Ｐゴシック" charset="-128"/>
                </a:endParaRPr>
              </a:p>
            </p:txBody>
          </p:sp>
          <p:sp>
            <p:nvSpPr>
              <p:cNvPr id="104" name="Freeform 65"/>
              <p:cNvSpPr>
                <a:spLocks/>
              </p:cNvSpPr>
              <p:nvPr/>
            </p:nvSpPr>
            <p:spPr bwMode="auto">
              <a:xfrm>
                <a:off x="6309023" y="2920065"/>
                <a:ext cx="4264482" cy="3716403"/>
              </a:xfrm>
              <a:custGeom>
                <a:avLst/>
                <a:gdLst>
                  <a:gd name="T0" fmla="*/ 3284538 w 2686"/>
                  <a:gd name="T1" fmla="*/ 3298825 h 2346"/>
                  <a:gd name="T2" fmla="*/ 2932112 w 2686"/>
                  <a:gd name="T3" fmla="*/ 3308350 h 2346"/>
                  <a:gd name="T4" fmla="*/ 2719387 w 2686"/>
                  <a:gd name="T5" fmla="*/ 3303588 h 2346"/>
                  <a:gd name="T6" fmla="*/ 2611437 w 2686"/>
                  <a:gd name="T7" fmla="*/ 3289300 h 2346"/>
                  <a:gd name="T8" fmla="*/ 1635125 w 2686"/>
                  <a:gd name="T9" fmla="*/ 3181349 h 2346"/>
                  <a:gd name="T10" fmla="*/ 1331912 w 2686"/>
                  <a:gd name="T11" fmla="*/ 3141662 h 2346"/>
                  <a:gd name="T12" fmla="*/ 1089025 w 2686"/>
                  <a:gd name="T13" fmla="*/ 3121024 h 2346"/>
                  <a:gd name="T14" fmla="*/ 927100 w 2686"/>
                  <a:gd name="T15" fmla="*/ 3117849 h 2346"/>
                  <a:gd name="T16" fmla="*/ 869950 w 2686"/>
                  <a:gd name="T17" fmla="*/ 3105149 h 2346"/>
                  <a:gd name="T18" fmla="*/ 862013 w 2686"/>
                  <a:gd name="T19" fmla="*/ 3095624 h 2346"/>
                  <a:gd name="T20" fmla="*/ 847725 w 2686"/>
                  <a:gd name="T21" fmla="*/ 3024187 h 2346"/>
                  <a:gd name="T22" fmla="*/ 846138 w 2686"/>
                  <a:gd name="T23" fmla="*/ 2913062 h 2346"/>
                  <a:gd name="T24" fmla="*/ 857250 w 2686"/>
                  <a:gd name="T25" fmla="*/ 2794000 h 2346"/>
                  <a:gd name="T26" fmla="*/ 881063 w 2686"/>
                  <a:gd name="T27" fmla="*/ 2700337 h 2346"/>
                  <a:gd name="T28" fmla="*/ 903288 w 2686"/>
                  <a:gd name="T29" fmla="*/ 2665412 h 2346"/>
                  <a:gd name="T30" fmla="*/ 915988 w 2686"/>
                  <a:gd name="T31" fmla="*/ 2660650 h 2346"/>
                  <a:gd name="T32" fmla="*/ 1554162 w 2686"/>
                  <a:gd name="T33" fmla="*/ 2670175 h 2346"/>
                  <a:gd name="T34" fmla="*/ 1193800 w 2686"/>
                  <a:gd name="T35" fmla="*/ 2576512 h 2346"/>
                  <a:gd name="T36" fmla="*/ 65088 w 2686"/>
                  <a:gd name="T37" fmla="*/ 2974975 h 2346"/>
                  <a:gd name="T38" fmla="*/ 131763 w 2686"/>
                  <a:gd name="T39" fmla="*/ 2849562 h 2346"/>
                  <a:gd name="T40" fmla="*/ 166687 w 2686"/>
                  <a:gd name="T41" fmla="*/ 2746375 h 2346"/>
                  <a:gd name="T42" fmla="*/ 166687 w 2686"/>
                  <a:gd name="T43" fmla="*/ 2679700 h 2346"/>
                  <a:gd name="T44" fmla="*/ 157162 w 2686"/>
                  <a:gd name="T45" fmla="*/ 2660650 h 2346"/>
                  <a:gd name="T46" fmla="*/ 111125 w 2686"/>
                  <a:gd name="T47" fmla="*/ 2609850 h 2346"/>
                  <a:gd name="T48" fmla="*/ 36512 w 2686"/>
                  <a:gd name="T49" fmla="*/ 2570162 h 2346"/>
                  <a:gd name="T50" fmla="*/ 0 w 2686"/>
                  <a:gd name="T51" fmla="*/ 2559050 h 2346"/>
                  <a:gd name="T52" fmla="*/ 258763 w 2686"/>
                  <a:gd name="T53" fmla="*/ 2373312 h 2346"/>
                  <a:gd name="T54" fmla="*/ 303212 w 2686"/>
                  <a:gd name="T55" fmla="*/ 2338387 h 2346"/>
                  <a:gd name="T56" fmla="*/ 392112 w 2686"/>
                  <a:gd name="T57" fmla="*/ 2249487 h 2346"/>
                  <a:gd name="T58" fmla="*/ 434975 w 2686"/>
                  <a:gd name="T59" fmla="*/ 2216150 h 2346"/>
                  <a:gd name="T60" fmla="*/ 573087 w 2686"/>
                  <a:gd name="T61" fmla="*/ 2160587 h 2346"/>
                  <a:gd name="T62" fmla="*/ 684212 w 2686"/>
                  <a:gd name="T63" fmla="*/ 2068512 h 2346"/>
                  <a:gd name="T64" fmla="*/ 835025 w 2686"/>
                  <a:gd name="T65" fmla="*/ 1793875 h 2346"/>
                  <a:gd name="T66" fmla="*/ 877888 w 2686"/>
                  <a:gd name="T67" fmla="*/ 1708150 h 2346"/>
                  <a:gd name="T68" fmla="*/ 952500 w 2686"/>
                  <a:gd name="T69" fmla="*/ 1457325 h 2346"/>
                  <a:gd name="T70" fmla="*/ 1009650 w 2686"/>
                  <a:gd name="T71" fmla="*/ 1400175 h 2346"/>
                  <a:gd name="T72" fmla="*/ 1065213 w 2686"/>
                  <a:gd name="T73" fmla="*/ 1319212 h 2346"/>
                  <a:gd name="T74" fmla="*/ 1073150 w 2686"/>
                  <a:gd name="T75" fmla="*/ 1290637 h 2346"/>
                  <a:gd name="T76" fmla="*/ 1090612 w 2686"/>
                  <a:gd name="T77" fmla="*/ 1041400 h 2346"/>
                  <a:gd name="T78" fmla="*/ 2006600 w 2686"/>
                  <a:gd name="T79" fmla="*/ 0 h 2346"/>
                  <a:gd name="T80" fmla="*/ 2197100 w 2686"/>
                  <a:gd name="T81" fmla="*/ 50800 h 2346"/>
                  <a:gd name="T82" fmla="*/ 2354262 w 2686"/>
                  <a:gd name="T83" fmla="*/ 60325 h 2346"/>
                  <a:gd name="T84" fmla="*/ 2386012 w 2686"/>
                  <a:gd name="T85" fmla="*/ 69850 h 2346"/>
                  <a:gd name="T86" fmla="*/ 2465387 w 2686"/>
                  <a:gd name="T87" fmla="*/ 88900 h 2346"/>
                  <a:gd name="T88" fmla="*/ 2728912 w 2686"/>
                  <a:gd name="T89" fmla="*/ 115888 h 2346"/>
                  <a:gd name="T90" fmla="*/ 2941637 w 2686"/>
                  <a:gd name="T91" fmla="*/ 195262 h 2346"/>
                  <a:gd name="T92" fmla="*/ 2973387 w 2686"/>
                  <a:gd name="T93" fmla="*/ 212725 h 2346"/>
                  <a:gd name="T94" fmla="*/ 3057525 w 2686"/>
                  <a:gd name="T95" fmla="*/ 273050 h 2346"/>
                  <a:gd name="T96" fmla="*/ 3103562 w 2686"/>
                  <a:gd name="T97" fmla="*/ 298450 h 2346"/>
                  <a:gd name="T98" fmla="*/ 3127375 w 2686"/>
                  <a:gd name="T99" fmla="*/ 315912 h 2346"/>
                  <a:gd name="T100" fmla="*/ 3168650 w 2686"/>
                  <a:gd name="T101" fmla="*/ 357187 h 2346"/>
                  <a:gd name="T102" fmla="*/ 3275013 w 2686"/>
                  <a:gd name="T103" fmla="*/ 444500 h 2346"/>
                  <a:gd name="T104" fmla="*/ 3436938 w 2686"/>
                  <a:gd name="T105" fmla="*/ 611187 h 2346"/>
                  <a:gd name="T106" fmla="*/ 3497263 w 2686"/>
                  <a:gd name="T107" fmla="*/ 685800 h 2346"/>
                  <a:gd name="T108" fmla="*/ 3579813 w 2686"/>
                  <a:gd name="T109" fmla="*/ 839788 h 2346"/>
                  <a:gd name="T110" fmla="*/ 4043363 w 2686"/>
                  <a:gd name="T111" fmla="*/ 2466975 h 234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686"/>
                  <a:gd name="T169" fmla="*/ 0 h 2346"/>
                  <a:gd name="T170" fmla="*/ 2686 w 2686"/>
                  <a:gd name="T171" fmla="*/ 2346 h 234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686" h="2346">
                    <a:moveTo>
                      <a:pt x="2686" y="2346"/>
                    </a:moveTo>
                    <a:lnTo>
                      <a:pt x="2069" y="2078"/>
                    </a:lnTo>
                    <a:lnTo>
                      <a:pt x="2022" y="2081"/>
                    </a:lnTo>
                    <a:lnTo>
                      <a:pt x="1911" y="2082"/>
                    </a:lnTo>
                    <a:lnTo>
                      <a:pt x="1847" y="2084"/>
                    </a:lnTo>
                    <a:lnTo>
                      <a:pt x="1786" y="2084"/>
                    </a:lnTo>
                    <a:lnTo>
                      <a:pt x="1734" y="2082"/>
                    </a:lnTo>
                    <a:lnTo>
                      <a:pt x="1713" y="2081"/>
                    </a:lnTo>
                    <a:lnTo>
                      <a:pt x="1696" y="2078"/>
                    </a:lnTo>
                    <a:lnTo>
                      <a:pt x="1645" y="2072"/>
                    </a:lnTo>
                    <a:lnTo>
                      <a:pt x="1553" y="2062"/>
                    </a:lnTo>
                    <a:lnTo>
                      <a:pt x="1298" y="2033"/>
                    </a:lnTo>
                    <a:lnTo>
                      <a:pt x="1030" y="2004"/>
                    </a:lnTo>
                    <a:lnTo>
                      <a:pt x="919" y="1991"/>
                    </a:lnTo>
                    <a:lnTo>
                      <a:pt x="839" y="1979"/>
                    </a:lnTo>
                    <a:lnTo>
                      <a:pt x="784" y="1973"/>
                    </a:lnTo>
                    <a:lnTo>
                      <a:pt x="731" y="1969"/>
                    </a:lnTo>
                    <a:lnTo>
                      <a:pt x="686" y="1966"/>
                    </a:lnTo>
                    <a:lnTo>
                      <a:pt x="645" y="1966"/>
                    </a:lnTo>
                    <a:lnTo>
                      <a:pt x="612" y="1966"/>
                    </a:lnTo>
                    <a:lnTo>
                      <a:pt x="584" y="1964"/>
                    </a:lnTo>
                    <a:lnTo>
                      <a:pt x="562" y="1961"/>
                    </a:lnTo>
                    <a:lnTo>
                      <a:pt x="555" y="1959"/>
                    </a:lnTo>
                    <a:lnTo>
                      <a:pt x="548" y="1956"/>
                    </a:lnTo>
                    <a:lnTo>
                      <a:pt x="546" y="1954"/>
                    </a:lnTo>
                    <a:lnTo>
                      <a:pt x="543" y="1950"/>
                    </a:lnTo>
                    <a:lnTo>
                      <a:pt x="539" y="1940"/>
                    </a:lnTo>
                    <a:lnTo>
                      <a:pt x="536" y="1924"/>
                    </a:lnTo>
                    <a:lnTo>
                      <a:pt x="534" y="1905"/>
                    </a:lnTo>
                    <a:lnTo>
                      <a:pt x="533" y="1884"/>
                    </a:lnTo>
                    <a:lnTo>
                      <a:pt x="533" y="1859"/>
                    </a:lnTo>
                    <a:lnTo>
                      <a:pt x="533" y="1835"/>
                    </a:lnTo>
                    <a:lnTo>
                      <a:pt x="534" y="1810"/>
                    </a:lnTo>
                    <a:lnTo>
                      <a:pt x="537" y="1785"/>
                    </a:lnTo>
                    <a:lnTo>
                      <a:pt x="540" y="1760"/>
                    </a:lnTo>
                    <a:lnTo>
                      <a:pt x="545" y="1739"/>
                    </a:lnTo>
                    <a:lnTo>
                      <a:pt x="549" y="1718"/>
                    </a:lnTo>
                    <a:lnTo>
                      <a:pt x="555" y="1701"/>
                    </a:lnTo>
                    <a:lnTo>
                      <a:pt x="562" y="1688"/>
                    </a:lnTo>
                    <a:lnTo>
                      <a:pt x="565" y="1683"/>
                    </a:lnTo>
                    <a:lnTo>
                      <a:pt x="569" y="1679"/>
                    </a:lnTo>
                    <a:lnTo>
                      <a:pt x="574" y="1677"/>
                    </a:lnTo>
                    <a:lnTo>
                      <a:pt x="577" y="1676"/>
                    </a:lnTo>
                    <a:lnTo>
                      <a:pt x="746" y="1679"/>
                    </a:lnTo>
                    <a:lnTo>
                      <a:pt x="979" y="1682"/>
                    </a:lnTo>
                    <a:lnTo>
                      <a:pt x="1043" y="1425"/>
                    </a:lnTo>
                    <a:lnTo>
                      <a:pt x="868" y="1524"/>
                    </a:lnTo>
                    <a:lnTo>
                      <a:pt x="752" y="1623"/>
                    </a:lnTo>
                    <a:lnTo>
                      <a:pt x="262" y="1822"/>
                    </a:lnTo>
                    <a:lnTo>
                      <a:pt x="41" y="1874"/>
                    </a:lnTo>
                    <a:lnTo>
                      <a:pt x="55" y="1851"/>
                    </a:lnTo>
                    <a:lnTo>
                      <a:pt x="68" y="1826"/>
                    </a:lnTo>
                    <a:lnTo>
                      <a:pt x="83" y="1795"/>
                    </a:lnTo>
                    <a:lnTo>
                      <a:pt x="96" y="1762"/>
                    </a:lnTo>
                    <a:lnTo>
                      <a:pt x="102" y="1746"/>
                    </a:lnTo>
                    <a:lnTo>
                      <a:pt x="105" y="1730"/>
                    </a:lnTo>
                    <a:lnTo>
                      <a:pt x="108" y="1714"/>
                    </a:lnTo>
                    <a:lnTo>
                      <a:pt x="108" y="1701"/>
                    </a:lnTo>
                    <a:lnTo>
                      <a:pt x="105" y="1688"/>
                    </a:lnTo>
                    <a:lnTo>
                      <a:pt x="102" y="1682"/>
                    </a:lnTo>
                    <a:lnTo>
                      <a:pt x="99" y="1676"/>
                    </a:lnTo>
                    <a:lnTo>
                      <a:pt x="93" y="1667"/>
                    </a:lnTo>
                    <a:lnTo>
                      <a:pt x="86" y="1658"/>
                    </a:lnTo>
                    <a:lnTo>
                      <a:pt x="70" y="1644"/>
                    </a:lnTo>
                    <a:lnTo>
                      <a:pt x="52" y="1634"/>
                    </a:lnTo>
                    <a:lnTo>
                      <a:pt x="36" y="1625"/>
                    </a:lnTo>
                    <a:lnTo>
                      <a:pt x="23" y="1619"/>
                    </a:lnTo>
                    <a:lnTo>
                      <a:pt x="11" y="1615"/>
                    </a:lnTo>
                    <a:lnTo>
                      <a:pt x="0" y="1612"/>
                    </a:lnTo>
                    <a:lnTo>
                      <a:pt x="68" y="1562"/>
                    </a:lnTo>
                    <a:lnTo>
                      <a:pt x="124" y="1524"/>
                    </a:lnTo>
                    <a:lnTo>
                      <a:pt x="163" y="1495"/>
                    </a:lnTo>
                    <a:lnTo>
                      <a:pt x="178" y="1485"/>
                    </a:lnTo>
                    <a:lnTo>
                      <a:pt x="191" y="1473"/>
                    </a:lnTo>
                    <a:lnTo>
                      <a:pt x="218" y="1444"/>
                    </a:lnTo>
                    <a:lnTo>
                      <a:pt x="233" y="1430"/>
                    </a:lnTo>
                    <a:lnTo>
                      <a:pt x="247" y="1417"/>
                    </a:lnTo>
                    <a:lnTo>
                      <a:pt x="261" y="1405"/>
                    </a:lnTo>
                    <a:lnTo>
                      <a:pt x="274" y="1396"/>
                    </a:lnTo>
                    <a:lnTo>
                      <a:pt x="303" y="1385"/>
                    </a:lnTo>
                    <a:lnTo>
                      <a:pt x="330" y="1373"/>
                    </a:lnTo>
                    <a:lnTo>
                      <a:pt x="361" y="1361"/>
                    </a:lnTo>
                    <a:lnTo>
                      <a:pt x="408" y="1344"/>
                    </a:lnTo>
                    <a:lnTo>
                      <a:pt x="431" y="1332"/>
                    </a:lnTo>
                    <a:lnTo>
                      <a:pt x="431" y="1303"/>
                    </a:lnTo>
                    <a:lnTo>
                      <a:pt x="485" y="1202"/>
                    </a:lnTo>
                    <a:lnTo>
                      <a:pt x="526" y="1130"/>
                    </a:lnTo>
                    <a:lnTo>
                      <a:pt x="548" y="1087"/>
                    </a:lnTo>
                    <a:lnTo>
                      <a:pt x="553" y="1076"/>
                    </a:lnTo>
                    <a:lnTo>
                      <a:pt x="561" y="1054"/>
                    </a:lnTo>
                    <a:lnTo>
                      <a:pt x="578" y="997"/>
                    </a:lnTo>
                    <a:lnTo>
                      <a:pt x="600" y="918"/>
                    </a:lnTo>
                    <a:lnTo>
                      <a:pt x="612" y="908"/>
                    </a:lnTo>
                    <a:lnTo>
                      <a:pt x="636" y="882"/>
                    </a:lnTo>
                    <a:lnTo>
                      <a:pt x="650" y="864"/>
                    </a:lnTo>
                    <a:lnTo>
                      <a:pt x="663" y="847"/>
                    </a:lnTo>
                    <a:lnTo>
                      <a:pt x="671" y="831"/>
                    </a:lnTo>
                    <a:lnTo>
                      <a:pt x="674" y="822"/>
                    </a:lnTo>
                    <a:lnTo>
                      <a:pt x="676" y="813"/>
                    </a:lnTo>
                    <a:lnTo>
                      <a:pt x="680" y="773"/>
                    </a:lnTo>
                    <a:lnTo>
                      <a:pt x="685" y="720"/>
                    </a:lnTo>
                    <a:lnTo>
                      <a:pt x="687" y="656"/>
                    </a:lnTo>
                    <a:lnTo>
                      <a:pt x="769" y="426"/>
                    </a:lnTo>
                    <a:lnTo>
                      <a:pt x="903" y="184"/>
                    </a:lnTo>
                    <a:lnTo>
                      <a:pt x="1264" y="0"/>
                    </a:lnTo>
                    <a:lnTo>
                      <a:pt x="1326" y="0"/>
                    </a:lnTo>
                    <a:lnTo>
                      <a:pt x="1361" y="24"/>
                    </a:lnTo>
                    <a:lnTo>
                      <a:pt x="1384" y="32"/>
                    </a:lnTo>
                    <a:lnTo>
                      <a:pt x="1471" y="35"/>
                    </a:lnTo>
                    <a:lnTo>
                      <a:pt x="1483" y="38"/>
                    </a:lnTo>
                    <a:lnTo>
                      <a:pt x="1493" y="41"/>
                    </a:lnTo>
                    <a:lnTo>
                      <a:pt x="1503" y="44"/>
                    </a:lnTo>
                    <a:lnTo>
                      <a:pt x="1518" y="48"/>
                    </a:lnTo>
                    <a:lnTo>
                      <a:pt x="1534" y="53"/>
                    </a:lnTo>
                    <a:lnTo>
                      <a:pt x="1553" y="56"/>
                    </a:lnTo>
                    <a:lnTo>
                      <a:pt x="1602" y="62"/>
                    </a:lnTo>
                    <a:lnTo>
                      <a:pt x="1675" y="67"/>
                    </a:lnTo>
                    <a:lnTo>
                      <a:pt x="1719" y="73"/>
                    </a:lnTo>
                    <a:lnTo>
                      <a:pt x="1748" y="85"/>
                    </a:lnTo>
                    <a:lnTo>
                      <a:pt x="1827" y="108"/>
                    </a:lnTo>
                    <a:lnTo>
                      <a:pt x="1853" y="123"/>
                    </a:lnTo>
                    <a:lnTo>
                      <a:pt x="1860" y="127"/>
                    </a:lnTo>
                    <a:lnTo>
                      <a:pt x="1873" y="134"/>
                    </a:lnTo>
                    <a:lnTo>
                      <a:pt x="1897" y="149"/>
                    </a:lnTo>
                    <a:lnTo>
                      <a:pt x="1926" y="172"/>
                    </a:lnTo>
                    <a:lnTo>
                      <a:pt x="1949" y="181"/>
                    </a:lnTo>
                    <a:lnTo>
                      <a:pt x="1955" y="188"/>
                    </a:lnTo>
                    <a:lnTo>
                      <a:pt x="1962" y="194"/>
                    </a:lnTo>
                    <a:lnTo>
                      <a:pt x="1970" y="199"/>
                    </a:lnTo>
                    <a:lnTo>
                      <a:pt x="1981" y="204"/>
                    </a:lnTo>
                    <a:lnTo>
                      <a:pt x="1996" y="225"/>
                    </a:lnTo>
                    <a:lnTo>
                      <a:pt x="2022" y="239"/>
                    </a:lnTo>
                    <a:lnTo>
                      <a:pt x="2042" y="268"/>
                    </a:lnTo>
                    <a:lnTo>
                      <a:pt x="2063" y="280"/>
                    </a:lnTo>
                    <a:lnTo>
                      <a:pt x="2109" y="341"/>
                    </a:lnTo>
                    <a:lnTo>
                      <a:pt x="2150" y="373"/>
                    </a:lnTo>
                    <a:lnTo>
                      <a:pt x="2165" y="385"/>
                    </a:lnTo>
                    <a:lnTo>
                      <a:pt x="2185" y="400"/>
                    </a:lnTo>
                    <a:lnTo>
                      <a:pt x="2194" y="420"/>
                    </a:lnTo>
                    <a:lnTo>
                      <a:pt x="2203" y="432"/>
                    </a:lnTo>
                    <a:lnTo>
                      <a:pt x="2217" y="446"/>
                    </a:lnTo>
                    <a:lnTo>
                      <a:pt x="2255" y="529"/>
                    </a:lnTo>
                    <a:lnTo>
                      <a:pt x="2280" y="589"/>
                    </a:lnTo>
                    <a:lnTo>
                      <a:pt x="2293" y="621"/>
                    </a:lnTo>
                    <a:lnTo>
                      <a:pt x="2547" y="1554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05" name="Line 66"/>
              <p:cNvSpPr>
                <a:spLocks noChangeShapeType="1"/>
              </p:cNvSpPr>
              <p:nvPr/>
            </p:nvSpPr>
            <p:spPr bwMode="auto">
              <a:xfrm>
                <a:off x="-1157733" y="4184896"/>
                <a:ext cx="0" cy="0"/>
              </a:xfrm>
              <a:prstGeom prst="line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06" name="Line 67"/>
              <p:cNvSpPr>
                <a:spLocks noChangeShapeType="1"/>
              </p:cNvSpPr>
              <p:nvPr/>
            </p:nvSpPr>
            <p:spPr bwMode="auto">
              <a:xfrm>
                <a:off x="-1157733" y="4184896"/>
                <a:ext cx="0" cy="0"/>
              </a:xfrm>
              <a:prstGeom prst="line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07" name="Freeform 106"/>
              <p:cNvSpPr>
                <a:spLocks/>
              </p:cNvSpPr>
              <p:nvPr/>
            </p:nvSpPr>
            <p:spPr bwMode="auto">
              <a:xfrm>
                <a:off x="529316" y="3950664"/>
                <a:ext cx="218692" cy="296693"/>
              </a:xfrm>
              <a:custGeom>
                <a:avLst/>
                <a:gdLst>
                  <a:gd name="T0" fmla="*/ 98425 w 135"/>
                  <a:gd name="T1" fmla="*/ 0 h 188"/>
                  <a:gd name="T2" fmla="*/ 31750 w 135"/>
                  <a:gd name="T3" fmla="*/ 79375 h 188"/>
                  <a:gd name="T4" fmla="*/ 0 w 135"/>
                  <a:gd name="T5" fmla="*/ 95250 h 188"/>
                  <a:gd name="T6" fmla="*/ 15875 w 135"/>
                  <a:gd name="T7" fmla="*/ 195262 h 188"/>
                  <a:gd name="T8" fmla="*/ 95250 w 135"/>
                  <a:gd name="T9" fmla="*/ 261938 h 188"/>
                  <a:gd name="T10" fmla="*/ 128588 w 135"/>
                  <a:gd name="T11" fmla="*/ 298450 h 188"/>
                  <a:gd name="T12" fmla="*/ 214313 w 135"/>
                  <a:gd name="T13" fmla="*/ 273050 h 188"/>
                  <a:gd name="T14" fmla="*/ 214313 w 135"/>
                  <a:gd name="T15" fmla="*/ 273050 h 188"/>
                  <a:gd name="T16" fmla="*/ 207963 w 135"/>
                  <a:gd name="T17" fmla="*/ 236538 h 188"/>
                  <a:gd name="T18" fmla="*/ 201613 w 135"/>
                  <a:gd name="T19" fmla="*/ 196850 h 188"/>
                  <a:gd name="T20" fmla="*/ 188913 w 135"/>
                  <a:gd name="T21" fmla="*/ 150812 h 188"/>
                  <a:gd name="T22" fmla="*/ 176213 w 135"/>
                  <a:gd name="T23" fmla="*/ 101600 h 188"/>
                  <a:gd name="T24" fmla="*/ 163513 w 135"/>
                  <a:gd name="T25" fmla="*/ 79375 h 188"/>
                  <a:gd name="T26" fmla="*/ 153988 w 135"/>
                  <a:gd name="T27" fmla="*/ 58738 h 188"/>
                  <a:gd name="T28" fmla="*/ 142875 w 135"/>
                  <a:gd name="T29" fmla="*/ 39687 h 188"/>
                  <a:gd name="T30" fmla="*/ 128588 w 135"/>
                  <a:gd name="T31" fmla="*/ 23812 h 188"/>
                  <a:gd name="T32" fmla="*/ 115888 w 135"/>
                  <a:gd name="T33" fmla="*/ 9525 h 188"/>
                  <a:gd name="T34" fmla="*/ 98425 w 135"/>
                  <a:gd name="T35" fmla="*/ 0 h 188"/>
                  <a:gd name="T36" fmla="*/ 98425 w 135"/>
                  <a:gd name="T37" fmla="*/ 0 h 18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35"/>
                  <a:gd name="T58" fmla="*/ 0 h 188"/>
                  <a:gd name="T59" fmla="*/ 135 w 135"/>
                  <a:gd name="T60" fmla="*/ 188 h 18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35" h="188">
                    <a:moveTo>
                      <a:pt x="62" y="0"/>
                    </a:moveTo>
                    <a:lnTo>
                      <a:pt x="20" y="50"/>
                    </a:lnTo>
                    <a:lnTo>
                      <a:pt x="0" y="60"/>
                    </a:lnTo>
                    <a:lnTo>
                      <a:pt x="10" y="123"/>
                    </a:lnTo>
                    <a:lnTo>
                      <a:pt x="60" y="165"/>
                    </a:lnTo>
                    <a:lnTo>
                      <a:pt x="81" y="188"/>
                    </a:lnTo>
                    <a:lnTo>
                      <a:pt x="135" y="172"/>
                    </a:lnTo>
                    <a:lnTo>
                      <a:pt x="131" y="149"/>
                    </a:lnTo>
                    <a:lnTo>
                      <a:pt x="127" y="124"/>
                    </a:lnTo>
                    <a:lnTo>
                      <a:pt x="119" y="95"/>
                    </a:lnTo>
                    <a:lnTo>
                      <a:pt x="111" y="64"/>
                    </a:lnTo>
                    <a:lnTo>
                      <a:pt x="103" y="50"/>
                    </a:lnTo>
                    <a:lnTo>
                      <a:pt x="97" y="37"/>
                    </a:lnTo>
                    <a:lnTo>
                      <a:pt x="90" y="25"/>
                    </a:lnTo>
                    <a:lnTo>
                      <a:pt x="81" y="15"/>
                    </a:lnTo>
                    <a:lnTo>
                      <a:pt x="73" y="6"/>
                    </a:lnTo>
                    <a:lnTo>
                      <a:pt x="62" y="0"/>
                    </a:lnTo>
                    <a:close/>
                  </a:path>
                </a:pathLst>
              </a:custGeom>
              <a:solidFill>
                <a:srgbClr val="9E9E9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08" name="Freeform 107"/>
              <p:cNvSpPr>
                <a:spLocks/>
              </p:cNvSpPr>
              <p:nvPr/>
            </p:nvSpPr>
            <p:spPr bwMode="auto">
              <a:xfrm>
                <a:off x="654283" y="4231736"/>
                <a:ext cx="296791" cy="1577134"/>
              </a:xfrm>
              <a:custGeom>
                <a:avLst/>
                <a:gdLst>
                  <a:gd name="T0" fmla="*/ 90487 w 188"/>
                  <a:gd name="T1" fmla="*/ 0 h 988"/>
                  <a:gd name="T2" fmla="*/ 90487 w 188"/>
                  <a:gd name="T3" fmla="*/ 0 h 988"/>
                  <a:gd name="T4" fmla="*/ 195262 w 188"/>
                  <a:gd name="T5" fmla="*/ 755650 h 988"/>
                  <a:gd name="T6" fmla="*/ 266700 w 188"/>
                  <a:gd name="T7" fmla="*/ 1281113 h 988"/>
                  <a:gd name="T8" fmla="*/ 298450 w 188"/>
                  <a:gd name="T9" fmla="*/ 1533525 h 988"/>
                  <a:gd name="T10" fmla="*/ 298450 w 188"/>
                  <a:gd name="T11" fmla="*/ 1533525 h 988"/>
                  <a:gd name="T12" fmla="*/ 296863 w 188"/>
                  <a:gd name="T13" fmla="*/ 1539875 h 988"/>
                  <a:gd name="T14" fmla="*/ 290513 w 188"/>
                  <a:gd name="T15" fmla="*/ 1547813 h 988"/>
                  <a:gd name="T16" fmla="*/ 280988 w 188"/>
                  <a:gd name="T17" fmla="*/ 1554163 h 988"/>
                  <a:gd name="T18" fmla="*/ 271463 w 188"/>
                  <a:gd name="T19" fmla="*/ 1558925 h 988"/>
                  <a:gd name="T20" fmla="*/ 250825 w 188"/>
                  <a:gd name="T21" fmla="*/ 1563688 h 988"/>
                  <a:gd name="T22" fmla="*/ 241300 w 188"/>
                  <a:gd name="T23" fmla="*/ 1563688 h 988"/>
                  <a:gd name="T24" fmla="*/ 174625 w 188"/>
                  <a:gd name="T25" fmla="*/ 1568450 h 988"/>
                  <a:gd name="T26" fmla="*/ 131763 w 188"/>
                  <a:gd name="T27" fmla="*/ 1533525 h 988"/>
                  <a:gd name="T28" fmla="*/ 131763 w 188"/>
                  <a:gd name="T29" fmla="*/ 1533525 h 988"/>
                  <a:gd name="T30" fmla="*/ 128588 w 188"/>
                  <a:gd name="T31" fmla="*/ 1331913 h 988"/>
                  <a:gd name="T32" fmla="*/ 119063 w 188"/>
                  <a:gd name="T33" fmla="*/ 1119188 h 988"/>
                  <a:gd name="T34" fmla="*/ 106363 w 188"/>
                  <a:gd name="T35" fmla="*/ 869950 h 988"/>
                  <a:gd name="T36" fmla="*/ 98425 w 188"/>
                  <a:gd name="T37" fmla="*/ 738188 h 988"/>
                  <a:gd name="T38" fmla="*/ 88900 w 188"/>
                  <a:gd name="T39" fmla="*/ 608013 h 988"/>
                  <a:gd name="T40" fmla="*/ 79375 w 188"/>
                  <a:gd name="T41" fmla="*/ 481013 h 988"/>
                  <a:gd name="T42" fmla="*/ 65088 w 188"/>
                  <a:gd name="T43" fmla="*/ 358775 h 988"/>
                  <a:gd name="T44" fmla="*/ 50800 w 188"/>
                  <a:gd name="T45" fmla="*/ 249238 h 988"/>
                  <a:gd name="T46" fmla="*/ 38100 w 188"/>
                  <a:gd name="T47" fmla="*/ 152400 h 988"/>
                  <a:gd name="T48" fmla="*/ 28575 w 188"/>
                  <a:gd name="T49" fmla="*/ 107950 h 988"/>
                  <a:gd name="T50" fmla="*/ 22225 w 188"/>
                  <a:gd name="T51" fmla="*/ 71438 h 988"/>
                  <a:gd name="T52" fmla="*/ 12700 w 188"/>
                  <a:gd name="T53" fmla="*/ 39688 h 988"/>
                  <a:gd name="T54" fmla="*/ 0 w 188"/>
                  <a:gd name="T55" fmla="*/ 11113 h 988"/>
                  <a:gd name="T56" fmla="*/ 90487 w 188"/>
                  <a:gd name="T57" fmla="*/ 0 h 988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88"/>
                  <a:gd name="T88" fmla="*/ 0 h 988"/>
                  <a:gd name="T89" fmla="*/ 188 w 188"/>
                  <a:gd name="T90" fmla="*/ 988 h 988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88" h="988">
                    <a:moveTo>
                      <a:pt x="57" y="0"/>
                    </a:moveTo>
                    <a:lnTo>
                      <a:pt x="57" y="0"/>
                    </a:lnTo>
                    <a:lnTo>
                      <a:pt x="123" y="476"/>
                    </a:lnTo>
                    <a:lnTo>
                      <a:pt x="168" y="807"/>
                    </a:lnTo>
                    <a:lnTo>
                      <a:pt x="188" y="966"/>
                    </a:lnTo>
                    <a:lnTo>
                      <a:pt x="187" y="970"/>
                    </a:lnTo>
                    <a:lnTo>
                      <a:pt x="183" y="975"/>
                    </a:lnTo>
                    <a:lnTo>
                      <a:pt x="177" y="979"/>
                    </a:lnTo>
                    <a:lnTo>
                      <a:pt x="171" y="982"/>
                    </a:lnTo>
                    <a:lnTo>
                      <a:pt x="158" y="985"/>
                    </a:lnTo>
                    <a:lnTo>
                      <a:pt x="152" y="985"/>
                    </a:lnTo>
                    <a:lnTo>
                      <a:pt x="110" y="988"/>
                    </a:lnTo>
                    <a:lnTo>
                      <a:pt x="83" y="966"/>
                    </a:lnTo>
                    <a:lnTo>
                      <a:pt x="81" y="839"/>
                    </a:lnTo>
                    <a:lnTo>
                      <a:pt x="75" y="705"/>
                    </a:lnTo>
                    <a:lnTo>
                      <a:pt x="67" y="548"/>
                    </a:lnTo>
                    <a:lnTo>
                      <a:pt x="62" y="465"/>
                    </a:lnTo>
                    <a:lnTo>
                      <a:pt x="56" y="383"/>
                    </a:lnTo>
                    <a:lnTo>
                      <a:pt x="50" y="303"/>
                    </a:lnTo>
                    <a:lnTo>
                      <a:pt x="41" y="226"/>
                    </a:lnTo>
                    <a:lnTo>
                      <a:pt x="32" y="157"/>
                    </a:lnTo>
                    <a:lnTo>
                      <a:pt x="24" y="96"/>
                    </a:lnTo>
                    <a:lnTo>
                      <a:pt x="18" y="68"/>
                    </a:lnTo>
                    <a:lnTo>
                      <a:pt x="14" y="45"/>
                    </a:lnTo>
                    <a:lnTo>
                      <a:pt x="8" y="25"/>
                    </a:lnTo>
                    <a:lnTo>
                      <a:pt x="0" y="7"/>
                    </a:lnTo>
                    <a:lnTo>
                      <a:pt x="57" y="0"/>
                    </a:lnTo>
                    <a:close/>
                  </a:path>
                </a:pathLst>
              </a:custGeom>
              <a:solidFill>
                <a:srgbClr val="9E9E9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grpSp>
            <p:nvGrpSpPr>
              <p:cNvPr id="109" name="Gruppe 66"/>
              <p:cNvGrpSpPr>
                <a:grpSpLocks/>
              </p:cNvGrpSpPr>
              <p:nvPr/>
            </p:nvGrpSpPr>
            <p:grpSpPr bwMode="auto">
              <a:xfrm>
                <a:off x="4575176" y="2398713"/>
                <a:ext cx="2789238" cy="3048000"/>
                <a:chOff x="4575176" y="2398713"/>
                <a:chExt cx="2789238" cy="3048000"/>
              </a:xfrm>
            </p:grpSpPr>
            <p:grpSp>
              <p:nvGrpSpPr>
                <p:cNvPr id="151" name="Gruppe 65"/>
                <p:cNvGrpSpPr>
                  <a:grpSpLocks/>
                </p:cNvGrpSpPr>
                <p:nvPr/>
              </p:nvGrpSpPr>
              <p:grpSpPr bwMode="auto">
                <a:xfrm>
                  <a:off x="4575176" y="2398713"/>
                  <a:ext cx="2789238" cy="3048000"/>
                  <a:chOff x="4575176" y="2398713"/>
                  <a:chExt cx="2789238" cy="3048000"/>
                </a:xfrm>
              </p:grpSpPr>
              <p:sp>
                <p:nvSpPr>
                  <p:cNvPr id="153" name="Freeform 73"/>
                  <p:cNvSpPr>
                    <a:spLocks/>
                  </p:cNvSpPr>
                  <p:nvPr/>
                </p:nvSpPr>
                <p:spPr bwMode="auto">
                  <a:xfrm>
                    <a:off x="4965633" y="3357292"/>
                    <a:ext cx="2405610" cy="2061201"/>
                  </a:xfrm>
                  <a:custGeom>
                    <a:avLst/>
                    <a:gdLst>
                      <a:gd name="T0" fmla="*/ 76200 w 1513"/>
                      <a:gd name="T1" fmla="*/ 1604962 h 1302"/>
                      <a:gd name="T2" fmla="*/ 204788 w 1513"/>
                      <a:gd name="T3" fmla="*/ 1524000 h 1302"/>
                      <a:gd name="T4" fmla="*/ 292100 w 1513"/>
                      <a:gd name="T5" fmla="*/ 1427162 h 1302"/>
                      <a:gd name="T6" fmla="*/ 312738 w 1513"/>
                      <a:gd name="T7" fmla="*/ 1312862 h 1302"/>
                      <a:gd name="T8" fmla="*/ 328613 w 1513"/>
                      <a:gd name="T9" fmla="*/ 1082675 h 1302"/>
                      <a:gd name="T10" fmla="*/ 442913 w 1513"/>
                      <a:gd name="T11" fmla="*/ 758825 h 1302"/>
                      <a:gd name="T12" fmla="*/ 439738 w 1513"/>
                      <a:gd name="T13" fmla="*/ 754062 h 1302"/>
                      <a:gd name="T14" fmla="*/ 442913 w 1513"/>
                      <a:gd name="T15" fmla="*/ 720725 h 1302"/>
                      <a:gd name="T16" fmla="*/ 455613 w 1513"/>
                      <a:gd name="T17" fmla="*/ 628650 h 1302"/>
                      <a:gd name="T18" fmla="*/ 474663 w 1513"/>
                      <a:gd name="T19" fmla="*/ 598487 h 1302"/>
                      <a:gd name="T20" fmla="*/ 511175 w 1513"/>
                      <a:gd name="T21" fmla="*/ 538162 h 1302"/>
                      <a:gd name="T22" fmla="*/ 560388 w 1513"/>
                      <a:gd name="T23" fmla="*/ 409575 h 1302"/>
                      <a:gd name="T24" fmla="*/ 612775 w 1513"/>
                      <a:gd name="T25" fmla="*/ 371475 h 1302"/>
                      <a:gd name="T26" fmla="*/ 646113 w 1513"/>
                      <a:gd name="T27" fmla="*/ 360362 h 1302"/>
                      <a:gd name="T28" fmla="*/ 690563 w 1513"/>
                      <a:gd name="T29" fmla="*/ 355600 h 1302"/>
                      <a:gd name="T30" fmla="*/ 787400 w 1513"/>
                      <a:gd name="T31" fmla="*/ 303212 h 1302"/>
                      <a:gd name="T32" fmla="*/ 965200 w 1513"/>
                      <a:gd name="T33" fmla="*/ 396875 h 1302"/>
                      <a:gd name="T34" fmla="*/ 1098550 w 1513"/>
                      <a:gd name="T35" fmla="*/ 441325 h 1302"/>
                      <a:gd name="T36" fmla="*/ 1270000 w 1513"/>
                      <a:gd name="T37" fmla="*/ 254000 h 1302"/>
                      <a:gd name="T38" fmla="*/ 1374775 w 1513"/>
                      <a:gd name="T39" fmla="*/ 150812 h 1302"/>
                      <a:gd name="T40" fmla="*/ 1406525 w 1513"/>
                      <a:gd name="T41" fmla="*/ 22225 h 1302"/>
                      <a:gd name="T42" fmla="*/ 1508125 w 1513"/>
                      <a:gd name="T43" fmla="*/ 11112 h 1302"/>
                      <a:gd name="T44" fmla="*/ 1739901 w 1513"/>
                      <a:gd name="T45" fmla="*/ 47625 h 1302"/>
                      <a:gd name="T46" fmla="*/ 1870076 w 1513"/>
                      <a:gd name="T47" fmla="*/ 141287 h 1302"/>
                      <a:gd name="T48" fmla="*/ 2035176 w 1513"/>
                      <a:gd name="T49" fmla="*/ 222250 h 1302"/>
                      <a:gd name="T50" fmla="*/ 2143126 w 1513"/>
                      <a:gd name="T51" fmla="*/ 295275 h 1302"/>
                      <a:gd name="T52" fmla="*/ 2190751 w 1513"/>
                      <a:gd name="T53" fmla="*/ 354012 h 1302"/>
                      <a:gd name="T54" fmla="*/ 2201863 w 1513"/>
                      <a:gd name="T55" fmla="*/ 396875 h 1302"/>
                      <a:gd name="T56" fmla="*/ 2225676 w 1513"/>
                      <a:gd name="T57" fmla="*/ 450850 h 1302"/>
                      <a:gd name="T58" fmla="*/ 2251076 w 1513"/>
                      <a:gd name="T59" fmla="*/ 508000 h 1302"/>
                      <a:gd name="T60" fmla="*/ 2300288 w 1513"/>
                      <a:gd name="T61" fmla="*/ 619125 h 1302"/>
                      <a:gd name="T62" fmla="*/ 2327276 w 1513"/>
                      <a:gd name="T63" fmla="*/ 720725 h 1302"/>
                      <a:gd name="T64" fmla="*/ 2332038 w 1513"/>
                      <a:gd name="T65" fmla="*/ 750887 h 1302"/>
                      <a:gd name="T66" fmla="*/ 2355851 w 1513"/>
                      <a:gd name="T67" fmla="*/ 806450 h 1302"/>
                      <a:gd name="T68" fmla="*/ 2376488 w 1513"/>
                      <a:gd name="T69" fmla="*/ 895350 h 1302"/>
                      <a:gd name="T70" fmla="*/ 2384426 w 1513"/>
                      <a:gd name="T71" fmla="*/ 1044575 h 1302"/>
                      <a:gd name="T72" fmla="*/ 2401888 w 1513"/>
                      <a:gd name="T73" fmla="*/ 1216025 h 1302"/>
                      <a:gd name="T74" fmla="*/ 2397126 w 1513"/>
                      <a:gd name="T75" fmla="*/ 1366837 h 1302"/>
                      <a:gd name="T76" fmla="*/ 2384426 w 1513"/>
                      <a:gd name="T77" fmla="*/ 1492250 h 1302"/>
                      <a:gd name="T78" fmla="*/ 2300288 w 1513"/>
                      <a:gd name="T79" fmla="*/ 1662113 h 1302"/>
                      <a:gd name="T80" fmla="*/ 2165351 w 1513"/>
                      <a:gd name="T81" fmla="*/ 1792288 h 1302"/>
                      <a:gd name="T82" fmla="*/ 1862138 w 1513"/>
                      <a:gd name="T83" fmla="*/ 1917700 h 1302"/>
                      <a:gd name="T84" fmla="*/ 1631951 w 1513"/>
                      <a:gd name="T85" fmla="*/ 2024063 h 1302"/>
                      <a:gd name="T86" fmla="*/ 1384300 w 1513"/>
                      <a:gd name="T87" fmla="*/ 2051050 h 1302"/>
                      <a:gd name="T88" fmla="*/ 1127125 w 1513"/>
                      <a:gd name="T89" fmla="*/ 2066925 h 1302"/>
                      <a:gd name="T90" fmla="*/ 909638 w 1513"/>
                      <a:gd name="T91" fmla="*/ 2055813 h 1302"/>
                      <a:gd name="T92" fmla="*/ 787400 w 1513"/>
                      <a:gd name="T93" fmla="*/ 2019300 h 1302"/>
                      <a:gd name="T94" fmla="*/ 596900 w 1513"/>
                      <a:gd name="T95" fmla="*/ 2030413 h 1302"/>
                      <a:gd name="T96" fmla="*/ 447675 w 1513"/>
                      <a:gd name="T97" fmla="*/ 2051050 h 1302"/>
                      <a:gd name="T98" fmla="*/ 404813 w 1513"/>
                      <a:gd name="T99" fmla="*/ 1879600 h 1302"/>
                      <a:gd name="T100" fmla="*/ 393700 w 1513"/>
                      <a:gd name="T101" fmla="*/ 1743075 h 1302"/>
                      <a:gd name="T102" fmla="*/ 166688 w 1513"/>
                      <a:gd name="T103" fmla="*/ 1771650 h 1302"/>
                      <a:gd name="T104" fmla="*/ 0 w 1513"/>
                      <a:gd name="T105" fmla="*/ 1674813 h 1302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1513"/>
                      <a:gd name="T160" fmla="*/ 0 h 1302"/>
                      <a:gd name="T161" fmla="*/ 1513 w 1513"/>
                      <a:gd name="T162" fmla="*/ 1302 h 1302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1513" h="1302">
                        <a:moveTo>
                          <a:pt x="0" y="1055"/>
                        </a:moveTo>
                        <a:lnTo>
                          <a:pt x="13" y="1018"/>
                        </a:lnTo>
                        <a:lnTo>
                          <a:pt x="48" y="1011"/>
                        </a:lnTo>
                        <a:lnTo>
                          <a:pt x="82" y="998"/>
                        </a:lnTo>
                        <a:lnTo>
                          <a:pt x="118" y="988"/>
                        </a:lnTo>
                        <a:lnTo>
                          <a:pt x="129" y="960"/>
                        </a:lnTo>
                        <a:lnTo>
                          <a:pt x="146" y="943"/>
                        </a:lnTo>
                        <a:lnTo>
                          <a:pt x="166" y="922"/>
                        </a:lnTo>
                        <a:lnTo>
                          <a:pt x="184" y="899"/>
                        </a:lnTo>
                        <a:lnTo>
                          <a:pt x="194" y="881"/>
                        </a:lnTo>
                        <a:lnTo>
                          <a:pt x="194" y="855"/>
                        </a:lnTo>
                        <a:lnTo>
                          <a:pt x="197" y="827"/>
                        </a:lnTo>
                        <a:lnTo>
                          <a:pt x="200" y="801"/>
                        </a:lnTo>
                        <a:lnTo>
                          <a:pt x="207" y="733"/>
                        </a:lnTo>
                        <a:lnTo>
                          <a:pt x="207" y="682"/>
                        </a:lnTo>
                        <a:lnTo>
                          <a:pt x="220" y="594"/>
                        </a:lnTo>
                        <a:lnTo>
                          <a:pt x="251" y="516"/>
                        </a:lnTo>
                        <a:lnTo>
                          <a:pt x="279" y="478"/>
                        </a:lnTo>
                        <a:lnTo>
                          <a:pt x="277" y="475"/>
                        </a:lnTo>
                        <a:lnTo>
                          <a:pt x="277" y="469"/>
                        </a:lnTo>
                        <a:lnTo>
                          <a:pt x="279" y="454"/>
                        </a:lnTo>
                        <a:lnTo>
                          <a:pt x="286" y="403"/>
                        </a:lnTo>
                        <a:lnTo>
                          <a:pt x="287" y="396"/>
                        </a:lnTo>
                        <a:lnTo>
                          <a:pt x="290" y="387"/>
                        </a:lnTo>
                        <a:lnTo>
                          <a:pt x="299" y="377"/>
                        </a:lnTo>
                        <a:lnTo>
                          <a:pt x="308" y="364"/>
                        </a:lnTo>
                        <a:lnTo>
                          <a:pt x="316" y="351"/>
                        </a:lnTo>
                        <a:lnTo>
                          <a:pt x="322" y="339"/>
                        </a:lnTo>
                        <a:lnTo>
                          <a:pt x="325" y="322"/>
                        </a:lnTo>
                        <a:lnTo>
                          <a:pt x="333" y="285"/>
                        </a:lnTo>
                        <a:lnTo>
                          <a:pt x="353" y="258"/>
                        </a:lnTo>
                        <a:lnTo>
                          <a:pt x="370" y="245"/>
                        </a:lnTo>
                        <a:lnTo>
                          <a:pt x="386" y="234"/>
                        </a:lnTo>
                        <a:lnTo>
                          <a:pt x="394" y="230"/>
                        </a:lnTo>
                        <a:lnTo>
                          <a:pt x="400" y="229"/>
                        </a:lnTo>
                        <a:lnTo>
                          <a:pt x="407" y="227"/>
                        </a:lnTo>
                        <a:lnTo>
                          <a:pt x="424" y="226"/>
                        </a:lnTo>
                        <a:lnTo>
                          <a:pt x="435" y="224"/>
                        </a:lnTo>
                        <a:lnTo>
                          <a:pt x="458" y="207"/>
                        </a:lnTo>
                        <a:lnTo>
                          <a:pt x="475" y="197"/>
                        </a:lnTo>
                        <a:lnTo>
                          <a:pt x="496" y="191"/>
                        </a:lnTo>
                        <a:lnTo>
                          <a:pt x="516" y="186"/>
                        </a:lnTo>
                        <a:lnTo>
                          <a:pt x="583" y="237"/>
                        </a:lnTo>
                        <a:lnTo>
                          <a:pt x="608" y="250"/>
                        </a:lnTo>
                        <a:lnTo>
                          <a:pt x="655" y="296"/>
                        </a:lnTo>
                        <a:lnTo>
                          <a:pt x="675" y="288"/>
                        </a:lnTo>
                        <a:lnTo>
                          <a:pt x="692" y="278"/>
                        </a:lnTo>
                        <a:lnTo>
                          <a:pt x="720" y="250"/>
                        </a:lnTo>
                        <a:lnTo>
                          <a:pt x="780" y="183"/>
                        </a:lnTo>
                        <a:lnTo>
                          <a:pt x="800" y="160"/>
                        </a:lnTo>
                        <a:lnTo>
                          <a:pt x="828" y="135"/>
                        </a:lnTo>
                        <a:lnTo>
                          <a:pt x="841" y="112"/>
                        </a:lnTo>
                        <a:lnTo>
                          <a:pt x="866" y="95"/>
                        </a:lnTo>
                        <a:lnTo>
                          <a:pt x="876" y="61"/>
                        </a:lnTo>
                        <a:lnTo>
                          <a:pt x="882" y="44"/>
                        </a:lnTo>
                        <a:lnTo>
                          <a:pt x="886" y="14"/>
                        </a:lnTo>
                        <a:lnTo>
                          <a:pt x="886" y="0"/>
                        </a:lnTo>
                        <a:lnTo>
                          <a:pt x="923" y="4"/>
                        </a:lnTo>
                        <a:lnTo>
                          <a:pt x="950" y="7"/>
                        </a:lnTo>
                        <a:lnTo>
                          <a:pt x="1007" y="20"/>
                        </a:lnTo>
                        <a:lnTo>
                          <a:pt x="1045" y="20"/>
                        </a:lnTo>
                        <a:lnTo>
                          <a:pt x="1096" y="30"/>
                        </a:lnTo>
                        <a:lnTo>
                          <a:pt x="1113" y="48"/>
                        </a:lnTo>
                        <a:lnTo>
                          <a:pt x="1147" y="64"/>
                        </a:lnTo>
                        <a:lnTo>
                          <a:pt x="1178" y="89"/>
                        </a:lnTo>
                        <a:lnTo>
                          <a:pt x="1201" y="102"/>
                        </a:lnTo>
                        <a:lnTo>
                          <a:pt x="1239" y="115"/>
                        </a:lnTo>
                        <a:lnTo>
                          <a:pt x="1282" y="140"/>
                        </a:lnTo>
                        <a:lnTo>
                          <a:pt x="1313" y="156"/>
                        </a:lnTo>
                        <a:lnTo>
                          <a:pt x="1336" y="173"/>
                        </a:lnTo>
                        <a:lnTo>
                          <a:pt x="1350" y="186"/>
                        </a:lnTo>
                        <a:lnTo>
                          <a:pt x="1377" y="217"/>
                        </a:lnTo>
                        <a:lnTo>
                          <a:pt x="1380" y="223"/>
                        </a:lnTo>
                        <a:lnTo>
                          <a:pt x="1384" y="237"/>
                        </a:lnTo>
                        <a:lnTo>
                          <a:pt x="1387" y="250"/>
                        </a:lnTo>
                        <a:lnTo>
                          <a:pt x="1398" y="278"/>
                        </a:lnTo>
                        <a:lnTo>
                          <a:pt x="1402" y="284"/>
                        </a:lnTo>
                        <a:lnTo>
                          <a:pt x="1408" y="299"/>
                        </a:lnTo>
                        <a:lnTo>
                          <a:pt x="1418" y="320"/>
                        </a:lnTo>
                        <a:lnTo>
                          <a:pt x="1425" y="336"/>
                        </a:lnTo>
                        <a:lnTo>
                          <a:pt x="1431" y="352"/>
                        </a:lnTo>
                        <a:lnTo>
                          <a:pt x="1449" y="390"/>
                        </a:lnTo>
                        <a:lnTo>
                          <a:pt x="1459" y="411"/>
                        </a:lnTo>
                        <a:lnTo>
                          <a:pt x="1462" y="437"/>
                        </a:lnTo>
                        <a:lnTo>
                          <a:pt x="1466" y="454"/>
                        </a:lnTo>
                        <a:lnTo>
                          <a:pt x="1466" y="463"/>
                        </a:lnTo>
                        <a:lnTo>
                          <a:pt x="1469" y="473"/>
                        </a:lnTo>
                        <a:lnTo>
                          <a:pt x="1472" y="485"/>
                        </a:lnTo>
                        <a:lnTo>
                          <a:pt x="1484" y="508"/>
                        </a:lnTo>
                        <a:lnTo>
                          <a:pt x="1489" y="519"/>
                        </a:lnTo>
                        <a:lnTo>
                          <a:pt x="1492" y="546"/>
                        </a:lnTo>
                        <a:lnTo>
                          <a:pt x="1497" y="564"/>
                        </a:lnTo>
                        <a:lnTo>
                          <a:pt x="1502" y="584"/>
                        </a:lnTo>
                        <a:lnTo>
                          <a:pt x="1502" y="621"/>
                        </a:lnTo>
                        <a:lnTo>
                          <a:pt x="1502" y="658"/>
                        </a:lnTo>
                        <a:lnTo>
                          <a:pt x="1507" y="685"/>
                        </a:lnTo>
                        <a:lnTo>
                          <a:pt x="1513" y="740"/>
                        </a:lnTo>
                        <a:lnTo>
                          <a:pt x="1513" y="766"/>
                        </a:lnTo>
                        <a:lnTo>
                          <a:pt x="1513" y="807"/>
                        </a:lnTo>
                        <a:lnTo>
                          <a:pt x="1510" y="848"/>
                        </a:lnTo>
                        <a:lnTo>
                          <a:pt x="1510" y="861"/>
                        </a:lnTo>
                        <a:lnTo>
                          <a:pt x="1507" y="892"/>
                        </a:lnTo>
                        <a:lnTo>
                          <a:pt x="1507" y="916"/>
                        </a:lnTo>
                        <a:lnTo>
                          <a:pt x="1502" y="940"/>
                        </a:lnTo>
                        <a:lnTo>
                          <a:pt x="1489" y="970"/>
                        </a:lnTo>
                        <a:lnTo>
                          <a:pt x="1489" y="1004"/>
                        </a:lnTo>
                        <a:lnTo>
                          <a:pt x="1449" y="1047"/>
                        </a:lnTo>
                        <a:lnTo>
                          <a:pt x="1425" y="1078"/>
                        </a:lnTo>
                        <a:lnTo>
                          <a:pt x="1384" y="1106"/>
                        </a:lnTo>
                        <a:lnTo>
                          <a:pt x="1364" y="1129"/>
                        </a:lnTo>
                        <a:lnTo>
                          <a:pt x="1275" y="1184"/>
                        </a:lnTo>
                        <a:lnTo>
                          <a:pt x="1231" y="1190"/>
                        </a:lnTo>
                        <a:lnTo>
                          <a:pt x="1173" y="1208"/>
                        </a:lnTo>
                        <a:lnTo>
                          <a:pt x="1132" y="1241"/>
                        </a:lnTo>
                        <a:lnTo>
                          <a:pt x="1058" y="1259"/>
                        </a:lnTo>
                        <a:lnTo>
                          <a:pt x="1028" y="1275"/>
                        </a:lnTo>
                        <a:lnTo>
                          <a:pt x="963" y="1292"/>
                        </a:lnTo>
                        <a:lnTo>
                          <a:pt x="923" y="1292"/>
                        </a:lnTo>
                        <a:lnTo>
                          <a:pt x="872" y="1292"/>
                        </a:lnTo>
                        <a:lnTo>
                          <a:pt x="815" y="1292"/>
                        </a:lnTo>
                        <a:lnTo>
                          <a:pt x="767" y="1302"/>
                        </a:lnTo>
                        <a:lnTo>
                          <a:pt x="710" y="1302"/>
                        </a:lnTo>
                        <a:lnTo>
                          <a:pt x="649" y="1302"/>
                        </a:lnTo>
                        <a:lnTo>
                          <a:pt x="601" y="1299"/>
                        </a:lnTo>
                        <a:lnTo>
                          <a:pt x="573" y="1295"/>
                        </a:lnTo>
                        <a:lnTo>
                          <a:pt x="537" y="1295"/>
                        </a:lnTo>
                        <a:lnTo>
                          <a:pt x="522" y="1295"/>
                        </a:lnTo>
                        <a:lnTo>
                          <a:pt x="496" y="1272"/>
                        </a:lnTo>
                        <a:lnTo>
                          <a:pt x="475" y="1272"/>
                        </a:lnTo>
                        <a:lnTo>
                          <a:pt x="424" y="1272"/>
                        </a:lnTo>
                        <a:lnTo>
                          <a:pt x="376" y="1279"/>
                        </a:lnTo>
                        <a:lnTo>
                          <a:pt x="346" y="1285"/>
                        </a:lnTo>
                        <a:lnTo>
                          <a:pt x="312" y="1285"/>
                        </a:lnTo>
                        <a:lnTo>
                          <a:pt x="282" y="1292"/>
                        </a:lnTo>
                        <a:lnTo>
                          <a:pt x="268" y="1289"/>
                        </a:lnTo>
                        <a:lnTo>
                          <a:pt x="258" y="1234"/>
                        </a:lnTo>
                        <a:lnTo>
                          <a:pt x="255" y="1184"/>
                        </a:lnTo>
                        <a:lnTo>
                          <a:pt x="255" y="1154"/>
                        </a:lnTo>
                        <a:lnTo>
                          <a:pt x="251" y="1123"/>
                        </a:lnTo>
                        <a:lnTo>
                          <a:pt x="248" y="1098"/>
                        </a:lnTo>
                        <a:lnTo>
                          <a:pt x="248" y="1078"/>
                        </a:lnTo>
                        <a:lnTo>
                          <a:pt x="220" y="1113"/>
                        </a:lnTo>
                        <a:lnTo>
                          <a:pt x="105" y="1116"/>
                        </a:lnTo>
                        <a:lnTo>
                          <a:pt x="59" y="1116"/>
                        </a:lnTo>
                        <a:lnTo>
                          <a:pt x="34" y="1139"/>
                        </a:lnTo>
                        <a:lnTo>
                          <a:pt x="0" y="1055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54" name="Freeform 74"/>
                  <p:cNvSpPr>
                    <a:spLocks/>
                  </p:cNvSpPr>
                  <p:nvPr/>
                </p:nvSpPr>
                <p:spPr bwMode="auto">
                  <a:xfrm>
                    <a:off x="6043466" y="3357292"/>
                    <a:ext cx="437384" cy="608996"/>
                  </a:xfrm>
                  <a:custGeom>
                    <a:avLst/>
                    <a:gdLst>
                      <a:gd name="T0" fmla="*/ 0 w 281"/>
                      <a:gd name="T1" fmla="*/ 457200 h 387"/>
                      <a:gd name="T2" fmla="*/ 0 w 281"/>
                      <a:gd name="T3" fmla="*/ 457200 h 387"/>
                      <a:gd name="T4" fmla="*/ 39688 w 281"/>
                      <a:gd name="T5" fmla="*/ 469900 h 387"/>
                      <a:gd name="T6" fmla="*/ 80963 w 281"/>
                      <a:gd name="T7" fmla="*/ 482600 h 387"/>
                      <a:gd name="T8" fmla="*/ 130175 w 281"/>
                      <a:gd name="T9" fmla="*/ 500063 h 387"/>
                      <a:gd name="T10" fmla="*/ 177800 w 281"/>
                      <a:gd name="T11" fmla="*/ 520700 h 387"/>
                      <a:gd name="T12" fmla="*/ 222250 w 281"/>
                      <a:gd name="T13" fmla="*/ 541338 h 387"/>
                      <a:gd name="T14" fmla="*/ 242888 w 281"/>
                      <a:gd name="T15" fmla="*/ 552450 h 387"/>
                      <a:gd name="T16" fmla="*/ 258763 w 281"/>
                      <a:gd name="T17" fmla="*/ 563563 h 387"/>
                      <a:gd name="T18" fmla="*/ 273050 w 281"/>
                      <a:gd name="T19" fmla="*/ 576263 h 387"/>
                      <a:gd name="T20" fmla="*/ 279400 w 281"/>
                      <a:gd name="T21" fmla="*/ 587375 h 387"/>
                      <a:gd name="T22" fmla="*/ 290513 w 281"/>
                      <a:gd name="T23" fmla="*/ 614363 h 387"/>
                      <a:gd name="T24" fmla="*/ 290513 w 281"/>
                      <a:gd name="T25" fmla="*/ 614363 h 387"/>
                      <a:gd name="T26" fmla="*/ 317500 w 281"/>
                      <a:gd name="T27" fmla="*/ 557213 h 387"/>
                      <a:gd name="T28" fmla="*/ 344488 w 281"/>
                      <a:gd name="T29" fmla="*/ 495300 h 387"/>
                      <a:gd name="T30" fmla="*/ 371475 w 281"/>
                      <a:gd name="T31" fmla="*/ 419100 h 387"/>
                      <a:gd name="T32" fmla="*/ 401638 w 281"/>
                      <a:gd name="T33" fmla="*/ 338138 h 387"/>
                      <a:gd name="T34" fmla="*/ 415925 w 281"/>
                      <a:gd name="T35" fmla="*/ 295275 h 387"/>
                      <a:gd name="T36" fmla="*/ 427038 w 281"/>
                      <a:gd name="T37" fmla="*/ 254000 h 387"/>
                      <a:gd name="T38" fmla="*/ 436563 w 281"/>
                      <a:gd name="T39" fmla="*/ 217488 h 387"/>
                      <a:gd name="T40" fmla="*/ 444500 w 281"/>
                      <a:gd name="T41" fmla="*/ 179388 h 387"/>
                      <a:gd name="T42" fmla="*/ 446088 w 281"/>
                      <a:gd name="T43" fmla="*/ 147638 h 387"/>
                      <a:gd name="T44" fmla="*/ 446088 w 281"/>
                      <a:gd name="T45" fmla="*/ 117475 h 387"/>
                      <a:gd name="T46" fmla="*/ 334963 w 281"/>
                      <a:gd name="T47" fmla="*/ 0 h 387"/>
                      <a:gd name="T48" fmla="*/ 334963 w 281"/>
                      <a:gd name="T49" fmla="*/ 0 h 387"/>
                      <a:gd name="T50" fmla="*/ 304800 w 281"/>
                      <a:gd name="T51" fmla="*/ 60325 h 387"/>
                      <a:gd name="T52" fmla="*/ 269875 w 281"/>
                      <a:gd name="T53" fmla="*/ 122238 h 387"/>
                      <a:gd name="T54" fmla="*/ 228600 w 281"/>
                      <a:gd name="T55" fmla="*/ 196850 h 387"/>
                      <a:gd name="T56" fmla="*/ 203200 w 281"/>
                      <a:gd name="T57" fmla="*/ 234950 h 387"/>
                      <a:gd name="T58" fmla="*/ 177800 w 281"/>
                      <a:gd name="T59" fmla="*/ 274638 h 387"/>
                      <a:gd name="T60" fmla="*/ 150813 w 281"/>
                      <a:gd name="T61" fmla="*/ 314325 h 387"/>
                      <a:gd name="T62" fmla="*/ 120650 w 281"/>
                      <a:gd name="T63" fmla="*/ 349250 h 387"/>
                      <a:gd name="T64" fmla="*/ 90488 w 281"/>
                      <a:gd name="T65" fmla="*/ 384175 h 387"/>
                      <a:gd name="T66" fmla="*/ 60325 w 281"/>
                      <a:gd name="T67" fmla="*/ 414338 h 387"/>
                      <a:gd name="T68" fmla="*/ 30163 w 281"/>
                      <a:gd name="T69" fmla="*/ 439738 h 387"/>
                      <a:gd name="T70" fmla="*/ 0 w 281"/>
                      <a:gd name="T71" fmla="*/ 457200 h 387"/>
                      <a:gd name="T72" fmla="*/ 0 w 281"/>
                      <a:gd name="T73" fmla="*/ 457200 h 387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281"/>
                      <a:gd name="T112" fmla="*/ 0 h 387"/>
                      <a:gd name="T113" fmla="*/ 281 w 281"/>
                      <a:gd name="T114" fmla="*/ 387 h 387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281" h="387">
                        <a:moveTo>
                          <a:pt x="0" y="288"/>
                        </a:moveTo>
                        <a:lnTo>
                          <a:pt x="0" y="288"/>
                        </a:lnTo>
                        <a:lnTo>
                          <a:pt x="25" y="296"/>
                        </a:lnTo>
                        <a:lnTo>
                          <a:pt x="51" y="304"/>
                        </a:lnTo>
                        <a:lnTo>
                          <a:pt x="82" y="315"/>
                        </a:lnTo>
                        <a:lnTo>
                          <a:pt x="112" y="328"/>
                        </a:lnTo>
                        <a:lnTo>
                          <a:pt x="140" y="341"/>
                        </a:lnTo>
                        <a:lnTo>
                          <a:pt x="153" y="348"/>
                        </a:lnTo>
                        <a:lnTo>
                          <a:pt x="163" y="355"/>
                        </a:lnTo>
                        <a:lnTo>
                          <a:pt x="172" y="363"/>
                        </a:lnTo>
                        <a:lnTo>
                          <a:pt x="176" y="370"/>
                        </a:lnTo>
                        <a:lnTo>
                          <a:pt x="183" y="387"/>
                        </a:lnTo>
                        <a:lnTo>
                          <a:pt x="200" y="351"/>
                        </a:lnTo>
                        <a:lnTo>
                          <a:pt x="217" y="312"/>
                        </a:lnTo>
                        <a:lnTo>
                          <a:pt x="234" y="264"/>
                        </a:lnTo>
                        <a:lnTo>
                          <a:pt x="253" y="213"/>
                        </a:lnTo>
                        <a:lnTo>
                          <a:pt x="262" y="186"/>
                        </a:lnTo>
                        <a:lnTo>
                          <a:pt x="269" y="160"/>
                        </a:lnTo>
                        <a:lnTo>
                          <a:pt x="275" y="137"/>
                        </a:lnTo>
                        <a:lnTo>
                          <a:pt x="280" y="113"/>
                        </a:lnTo>
                        <a:lnTo>
                          <a:pt x="281" y="93"/>
                        </a:lnTo>
                        <a:lnTo>
                          <a:pt x="281" y="74"/>
                        </a:lnTo>
                        <a:lnTo>
                          <a:pt x="211" y="0"/>
                        </a:lnTo>
                        <a:lnTo>
                          <a:pt x="192" y="38"/>
                        </a:lnTo>
                        <a:lnTo>
                          <a:pt x="170" y="77"/>
                        </a:lnTo>
                        <a:lnTo>
                          <a:pt x="144" y="124"/>
                        </a:lnTo>
                        <a:lnTo>
                          <a:pt x="128" y="148"/>
                        </a:lnTo>
                        <a:lnTo>
                          <a:pt x="112" y="173"/>
                        </a:lnTo>
                        <a:lnTo>
                          <a:pt x="95" y="198"/>
                        </a:lnTo>
                        <a:lnTo>
                          <a:pt x="76" y="220"/>
                        </a:lnTo>
                        <a:lnTo>
                          <a:pt x="57" y="242"/>
                        </a:lnTo>
                        <a:lnTo>
                          <a:pt x="38" y="261"/>
                        </a:lnTo>
                        <a:lnTo>
                          <a:pt x="19" y="277"/>
                        </a:lnTo>
                        <a:lnTo>
                          <a:pt x="0" y="28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55" name="Freeform 75"/>
                  <p:cNvSpPr>
                    <a:spLocks/>
                  </p:cNvSpPr>
                  <p:nvPr/>
                </p:nvSpPr>
                <p:spPr bwMode="auto">
                  <a:xfrm>
                    <a:off x="5856016" y="3700825"/>
                    <a:ext cx="156208" cy="265463"/>
                  </a:xfrm>
                  <a:custGeom>
                    <a:avLst/>
                    <a:gdLst>
                      <a:gd name="T0" fmla="*/ 146050 w 92"/>
                      <a:gd name="T1" fmla="*/ 119063 h 166"/>
                      <a:gd name="T2" fmla="*/ 146050 w 92"/>
                      <a:gd name="T3" fmla="*/ 119063 h 166"/>
                      <a:gd name="T4" fmla="*/ 128588 w 92"/>
                      <a:gd name="T5" fmla="*/ 123825 h 166"/>
                      <a:gd name="T6" fmla="*/ 112713 w 92"/>
                      <a:gd name="T7" fmla="*/ 130175 h 166"/>
                      <a:gd name="T8" fmla="*/ 96837 w 92"/>
                      <a:gd name="T9" fmla="*/ 141287 h 166"/>
                      <a:gd name="T10" fmla="*/ 87312 w 92"/>
                      <a:gd name="T11" fmla="*/ 150812 h 166"/>
                      <a:gd name="T12" fmla="*/ 80962 w 92"/>
                      <a:gd name="T13" fmla="*/ 160337 h 166"/>
                      <a:gd name="T14" fmla="*/ 73025 w 92"/>
                      <a:gd name="T15" fmla="*/ 171450 h 166"/>
                      <a:gd name="T16" fmla="*/ 68263 w 92"/>
                      <a:gd name="T17" fmla="*/ 185737 h 166"/>
                      <a:gd name="T18" fmla="*/ 66675 w 92"/>
                      <a:gd name="T19" fmla="*/ 201612 h 166"/>
                      <a:gd name="T20" fmla="*/ 65088 w 92"/>
                      <a:gd name="T21" fmla="*/ 220663 h 166"/>
                      <a:gd name="T22" fmla="*/ 66675 w 92"/>
                      <a:gd name="T23" fmla="*/ 241300 h 166"/>
                      <a:gd name="T24" fmla="*/ 71438 w 92"/>
                      <a:gd name="T25" fmla="*/ 263525 h 166"/>
                      <a:gd name="T26" fmla="*/ 0 w 92"/>
                      <a:gd name="T27" fmla="*/ 0 h 166"/>
                      <a:gd name="T28" fmla="*/ 146050 w 92"/>
                      <a:gd name="T29" fmla="*/ 119063 h 16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92"/>
                      <a:gd name="T46" fmla="*/ 0 h 166"/>
                      <a:gd name="T47" fmla="*/ 92 w 92"/>
                      <a:gd name="T48" fmla="*/ 166 h 166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92" h="166">
                        <a:moveTo>
                          <a:pt x="92" y="75"/>
                        </a:moveTo>
                        <a:lnTo>
                          <a:pt x="92" y="75"/>
                        </a:lnTo>
                        <a:lnTo>
                          <a:pt x="81" y="78"/>
                        </a:lnTo>
                        <a:lnTo>
                          <a:pt x="71" y="82"/>
                        </a:lnTo>
                        <a:lnTo>
                          <a:pt x="61" y="89"/>
                        </a:lnTo>
                        <a:lnTo>
                          <a:pt x="55" y="95"/>
                        </a:lnTo>
                        <a:lnTo>
                          <a:pt x="51" y="101"/>
                        </a:lnTo>
                        <a:lnTo>
                          <a:pt x="46" y="108"/>
                        </a:lnTo>
                        <a:lnTo>
                          <a:pt x="43" y="117"/>
                        </a:lnTo>
                        <a:lnTo>
                          <a:pt x="42" y="127"/>
                        </a:lnTo>
                        <a:lnTo>
                          <a:pt x="41" y="139"/>
                        </a:lnTo>
                        <a:lnTo>
                          <a:pt x="42" y="152"/>
                        </a:lnTo>
                        <a:lnTo>
                          <a:pt x="45" y="166"/>
                        </a:lnTo>
                        <a:lnTo>
                          <a:pt x="0" y="0"/>
                        </a:lnTo>
                        <a:lnTo>
                          <a:pt x="92" y="7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56" name="Freeform 77"/>
                  <p:cNvSpPr>
                    <a:spLocks/>
                  </p:cNvSpPr>
                  <p:nvPr/>
                </p:nvSpPr>
                <p:spPr bwMode="auto">
                  <a:xfrm>
                    <a:off x="5777917" y="3997518"/>
                    <a:ext cx="359274" cy="999370"/>
                  </a:xfrm>
                  <a:custGeom>
                    <a:avLst/>
                    <a:gdLst/>
                    <a:ahLst/>
                    <a:cxnLst>
                      <a:cxn ang="0">
                        <a:pos x="182" y="3"/>
                      </a:cxn>
                      <a:cxn ang="0">
                        <a:pos x="223" y="148"/>
                      </a:cxn>
                      <a:cxn ang="0">
                        <a:pos x="223" y="186"/>
                      </a:cxn>
                      <a:cxn ang="0">
                        <a:pos x="223" y="186"/>
                      </a:cxn>
                      <a:cxn ang="0">
                        <a:pos x="225" y="256"/>
                      </a:cxn>
                      <a:cxn ang="0">
                        <a:pos x="225" y="307"/>
                      </a:cxn>
                      <a:cxn ang="0">
                        <a:pos x="225" y="326"/>
                      </a:cxn>
                      <a:cxn ang="0">
                        <a:pos x="223" y="335"/>
                      </a:cxn>
                      <a:cxn ang="0">
                        <a:pos x="223" y="335"/>
                      </a:cxn>
                      <a:cxn ang="0">
                        <a:pos x="139" y="626"/>
                      </a:cxn>
                      <a:cxn ang="0">
                        <a:pos x="98" y="623"/>
                      </a:cxn>
                      <a:cxn ang="0">
                        <a:pos x="67" y="623"/>
                      </a:cxn>
                      <a:cxn ang="0">
                        <a:pos x="54" y="629"/>
                      </a:cxn>
                      <a:cxn ang="0">
                        <a:pos x="26" y="620"/>
                      </a:cxn>
                      <a:cxn ang="0">
                        <a:pos x="0" y="620"/>
                      </a:cxn>
                      <a:cxn ang="0">
                        <a:pos x="34" y="192"/>
                      </a:cxn>
                      <a:cxn ang="0">
                        <a:pos x="40" y="121"/>
                      </a:cxn>
                      <a:cxn ang="0">
                        <a:pos x="60" y="84"/>
                      </a:cxn>
                      <a:cxn ang="0">
                        <a:pos x="108" y="33"/>
                      </a:cxn>
                      <a:cxn ang="0">
                        <a:pos x="136" y="0"/>
                      </a:cxn>
                      <a:cxn ang="0">
                        <a:pos x="182" y="3"/>
                      </a:cxn>
                    </a:cxnLst>
                    <a:rect l="0" t="0" r="r" b="b"/>
                    <a:pathLst>
                      <a:path w="225" h="629">
                        <a:moveTo>
                          <a:pt x="182" y="3"/>
                        </a:moveTo>
                        <a:lnTo>
                          <a:pt x="223" y="148"/>
                        </a:lnTo>
                        <a:lnTo>
                          <a:pt x="223" y="186"/>
                        </a:lnTo>
                        <a:lnTo>
                          <a:pt x="223" y="186"/>
                        </a:lnTo>
                        <a:lnTo>
                          <a:pt x="225" y="256"/>
                        </a:lnTo>
                        <a:lnTo>
                          <a:pt x="225" y="307"/>
                        </a:lnTo>
                        <a:lnTo>
                          <a:pt x="225" y="326"/>
                        </a:lnTo>
                        <a:lnTo>
                          <a:pt x="223" y="335"/>
                        </a:lnTo>
                        <a:lnTo>
                          <a:pt x="223" y="335"/>
                        </a:lnTo>
                        <a:lnTo>
                          <a:pt x="139" y="626"/>
                        </a:lnTo>
                        <a:lnTo>
                          <a:pt x="98" y="623"/>
                        </a:lnTo>
                        <a:lnTo>
                          <a:pt x="67" y="623"/>
                        </a:lnTo>
                        <a:lnTo>
                          <a:pt x="54" y="629"/>
                        </a:lnTo>
                        <a:lnTo>
                          <a:pt x="26" y="620"/>
                        </a:lnTo>
                        <a:lnTo>
                          <a:pt x="0" y="620"/>
                        </a:lnTo>
                        <a:lnTo>
                          <a:pt x="34" y="192"/>
                        </a:lnTo>
                        <a:lnTo>
                          <a:pt x="40" y="121"/>
                        </a:lnTo>
                        <a:lnTo>
                          <a:pt x="60" y="84"/>
                        </a:lnTo>
                        <a:lnTo>
                          <a:pt x="108" y="33"/>
                        </a:lnTo>
                        <a:lnTo>
                          <a:pt x="136" y="0"/>
                        </a:lnTo>
                        <a:lnTo>
                          <a:pt x="182" y="3"/>
                        </a:ln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78F8FF"/>
                      </a:gs>
                      <a:gs pos="100000">
                        <a:srgbClr val="1F88C8"/>
                      </a:gs>
                    </a:gsLst>
                    <a:lin ang="16200000"/>
                  </a:gradFill>
                  <a:ln w="9525">
                    <a:solidFill>
                      <a:srgbClr val="1F88C8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 noProof="1">
                      <a:solidFill>
                        <a:srgbClr val="FFFFFF"/>
                      </a:solidFill>
                      <a:latin typeface="Arial Narrow" pitchFamily="-97" charset="0"/>
                      <a:ea typeface="+mn-ea"/>
                    </a:endParaRPr>
                  </a:p>
                </p:txBody>
              </p:sp>
              <p:sp>
                <p:nvSpPr>
                  <p:cNvPr id="157" name="Freeform 78"/>
                  <p:cNvSpPr>
                    <a:spLocks/>
                  </p:cNvSpPr>
                  <p:nvPr/>
                </p:nvSpPr>
                <p:spPr bwMode="auto">
                  <a:xfrm>
                    <a:off x="5387391" y="2404772"/>
                    <a:ext cx="1015360" cy="1420974"/>
                  </a:xfrm>
                  <a:custGeom>
                    <a:avLst/>
                    <a:gdLst>
                      <a:gd name="T0" fmla="*/ 373063 w 645"/>
                      <a:gd name="T1" fmla="*/ 1223963 h 893"/>
                      <a:gd name="T2" fmla="*/ 241300 w 645"/>
                      <a:gd name="T3" fmla="*/ 996950 h 893"/>
                      <a:gd name="T4" fmla="*/ 211138 w 645"/>
                      <a:gd name="T5" fmla="*/ 946150 h 893"/>
                      <a:gd name="T6" fmla="*/ 187325 w 645"/>
                      <a:gd name="T7" fmla="*/ 892175 h 893"/>
                      <a:gd name="T8" fmla="*/ 176213 w 645"/>
                      <a:gd name="T9" fmla="*/ 871538 h 893"/>
                      <a:gd name="T10" fmla="*/ 150813 w 645"/>
                      <a:gd name="T11" fmla="*/ 846138 h 893"/>
                      <a:gd name="T12" fmla="*/ 125413 w 645"/>
                      <a:gd name="T13" fmla="*/ 809625 h 893"/>
                      <a:gd name="T14" fmla="*/ 109538 w 645"/>
                      <a:gd name="T15" fmla="*/ 788988 h 893"/>
                      <a:gd name="T16" fmla="*/ 60325 w 645"/>
                      <a:gd name="T17" fmla="*/ 714375 h 893"/>
                      <a:gd name="T18" fmla="*/ 34925 w 645"/>
                      <a:gd name="T19" fmla="*/ 663575 h 893"/>
                      <a:gd name="T20" fmla="*/ 11113 w 645"/>
                      <a:gd name="T21" fmla="*/ 601663 h 893"/>
                      <a:gd name="T22" fmla="*/ 3175 w 645"/>
                      <a:gd name="T23" fmla="*/ 531813 h 893"/>
                      <a:gd name="T24" fmla="*/ 4763 w 645"/>
                      <a:gd name="T25" fmla="*/ 455613 h 893"/>
                      <a:gd name="T26" fmla="*/ 25400 w 645"/>
                      <a:gd name="T27" fmla="*/ 368300 h 893"/>
                      <a:gd name="T28" fmla="*/ 39688 w 645"/>
                      <a:gd name="T29" fmla="*/ 330200 h 893"/>
                      <a:gd name="T30" fmla="*/ 79375 w 645"/>
                      <a:gd name="T31" fmla="*/ 242888 h 893"/>
                      <a:gd name="T32" fmla="*/ 109538 w 645"/>
                      <a:gd name="T33" fmla="*/ 193675 h 893"/>
                      <a:gd name="T34" fmla="*/ 147638 w 645"/>
                      <a:gd name="T35" fmla="*/ 146050 h 893"/>
                      <a:gd name="T36" fmla="*/ 193675 w 645"/>
                      <a:gd name="T37" fmla="*/ 106363 h 893"/>
                      <a:gd name="T38" fmla="*/ 247650 w 645"/>
                      <a:gd name="T39" fmla="*/ 76200 h 893"/>
                      <a:gd name="T40" fmla="*/ 309563 w 645"/>
                      <a:gd name="T41" fmla="*/ 55563 h 893"/>
                      <a:gd name="T42" fmla="*/ 425450 w 645"/>
                      <a:gd name="T43" fmla="*/ 20638 h 893"/>
                      <a:gd name="T44" fmla="*/ 511175 w 645"/>
                      <a:gd name="T45" fmla="*/ 4763 h 893"/>
                      <a:gd name="T46" fmla="*/ 596900 w 645"/>
                      <a:gd name="T47" fmla="*/ 0 h 893"/>
                      <a:gd name="T48" fmla="*/ 682625 w 645"/>
                      <a:gd name="T49" fmla="*/ 14288 h 893"/>
                      <a:gd name="T50" fmla="*/ 722313 w 645"/>
                      <a:gd name="T51" fmla="*/ 26988 h 893"/>
                      <a:gd name="T52" fmla="*/ 763588 w 645"/>
                      <a:gd name="T53" fmla="*/ 49213 h 893"/>
                      <a:gd name="T54" fmla="*/ 800100 w 645"/>
                      <a:gd name="T55" fmla="*/ 76200 h 893"/>
                      <a:gd name="T56" fmla="*/ 835025 w 645"/>
                      <a:gd name="T57" fmla="*/ 107950 h 893"/>
                      <a:gd name="T58" fmla="*/ 866775 w 645"/>
                      <a:gd name="T59" fmla="*/ 152400 h 893"/>
                      <a:gd name="T60" fmla="*/ 892175 w 645"/>
                      <a:gd name="T61" fmla="*/ 201613 h 893"/>
                      <a:gd name="T62" fmla="*/ 950913 w 645"/>
                      <a:gd name="T63" fmla="*/ 330200 h 893"/>
                      <a:gd name="T64" fmla="*/ 981075 w 645"/>
                      <a:gd name="T65" fmla="*/ 411163 h 893"/>
                      <a:gd name="T66" fmla="*/ 1003300 w 645"/>
                      <a:gd name="T67" fmla="*/ 501650 h 893"/>
                      <a:gd name="T68" fmla="*/ 1020763 w 645"/>
                      <a:gd name="T69" fmla="*/ 592138 h 893"/>
                      <a:gd name="T70" fmla="*/ 1022350 w 645"/>
                      <a:gd name="T71" fmla="*/ 679450 h 893"/>
                      <a:gd name="T72" fmla="*/ 1008063 w 645"/>
                      <a:gd name="T73" fmla="*/ 806450 h 893"/>
                      <a:gd name="T74" fmla="*/ 987425 w 645"/>
                      <a:gd name="T75" fmla="*/ 973138 h 893"/>
                      <a:gd name="T76" fmla="*/ 969963 w 645"/>
                      <a:gd name="T77" fmla="*/ 1031875 h 893"/>
                      <a:gd name="T78" fmla="*/ 941388 w 645"/>
                      <a:gd name="T79" fmla="*/ 1104900 h 893"/>
                      <a:gd name="T80" fmla="*/ 925513 w 645"/>
                      <a:gd name="T81" fmla="*/ 1127125 h 893"/>
                      <a:gd name="T82" fmla="*/ 793750 w 645"/>
                      <a:gd name="T83" fmla="*/ 1270000 h 893"/>
                      <a:gd name="T84" fmla="*/ 658813 w 645"/>
                      <a:gd name="T85" fmla="*/ 1406525 h 893"/>
                      <a:gd name="T86" fmla="*/ 642938 w 645"/>
                      <a:gd name="T87" fmla="*/ 1417638 h 893"/>
                      <a:gd name="T88" fmla="*/ 598488 w 645"/>
                      <a:gd name="T89" fmla="*/ 1397000 h 893"/>
                      <a:gd name="T90" fmla="*/ 512763 w 645"/>
                      <a:gd name="T91" fmla="*/ 1344613 h 893"/>
                      <a:gd name="T92" fmla="*/ 423863 w 645"/>
                      <a:gd name="T93" fmla="*/ 1279525 h 893"/>
                      <a:gd name="T94" fmla="*/ 390525 w 645"/>
                      <a:gd name="T95" fmla="*/ 1249363 h 893"/>
                      <a:gd name="T96" fmla="*/ 373063 w 645"/>
                      <a:gd name="T97" fmla="*/ 1223963 h 893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w 645"/>
                      <a:gd name="T148" fmla="*/ 0 h 893"/>
                      <a:gd name="T149" fmla="*/ 645 w 645"/>
                      <a:gd name="T150" fmla="*/ 893 h 893"/>
                    </a:gdLst>
                    <a:ahLst/>
                    <a:cxnLst>
                      <a:cxn ang="T98">
                        <a:pos x="T0" y="T1"/>
                      </a:cxn>
                      <a:cxn ang="T99">
                        <a:pos x="T2" y="T3"/>
                      </a:cxn>
                      <a:cxn ang="T100">
                        <a:pos x="T4" y="T5"/>
                      </a:cxn>
                      <a:cxn ang="T101">
                        <a:pos x="T6" y="T7"/>
                      </a:cxn>
                      <a:cxn ang="T102">
                        <a:pos x="T8" y="T9"/>
                      </a:cxn>
                      <a:cxn ang="T103">
                        <a:pos x="T10" y="T11"/>
                      </a:cxn>
                      <a:cxn ang="T104">
                        <a:pos x="T12" y="T13"/>
                      </a:cxn>
                      <a:cxn ang="T105">
                        <a:pos x="T14" y="T15"/>
                      </a:cxn>
                      <a:cxn ang="T106">
                        <a:pos x="T16" y="T17"/>
                      </a:cxn>
                      <a:cxn ang="T107">
                        <a:pos x="T18" y="T19"/>
                      </a:cxn>
                      <a:cxn ang="T108">
                        <a:pos x="T20" y="T21"/>
                      </a:cxn>
                      <a:cxn ang="T109">
                        <a:pos x="T22" y="T23"/>
                      </a:cxn>
                      <a:cxn ang="T110">
                        <a:pos x="T24" y="T25"/>
                      </a:cxn>
                      <a:cxn ang="T111">
                        <a:pos x="T26" y="T27"/>
                      </a:cxn>
                      <a:cxn ang="T112">
                        <a:pos x="T28" y="T29"/>
                      </a:cxn>
                      <a:cxn ang="T113">
                        <a:pos x="T30" y="T31"/>
                      </a:cxn>
                      <a:cxn ang="T114">
                        <a:pos x="T32" y="T33"/>
                      </a:cxn>
                      <a:cxn ang="T115">
                        <a:pos x="T34" y="T35"/>
                      </a:cxn>
                      <a:cxn ang="T116">
                        <a:pos x="T36" y="T37"/>
                      </a:cxn>
                      <a:cxn ang="T117">
                        <a:pos x="T38" y="T39"/>
                      </a:cxn>
                      <a:cxn ang="T118">
                        <a:pos x="T40" y="T41"/>
                      </a:cxn>
                      <a:cxn ang="T119">
                        <a:pos x="T42" y="T43"/>
                      </a:cxn>
                      <a:cxn ang="T120">
                        <a:pos x="T44" y="T45"/>
                      </a:cxn>
                      <a:cxn ang="T121">
                        <a:pos x="T46" y="T47"/>
                      </a:cxn>
                      <a:cxn ang="T122">
                        <a:pos x="T48" y="T49"/>
                      </a:cxn>
                      <a:cxn ang="T123">
                        <a:pos x="T50" y="T51"/>
                      </a:cxn>
                      <a:cxn ang="T124">
                        <a:pos x="T52" y="T53"/>
                      </a:cxn>
                      <a:cxn ang="T125">
                        <a:pos x="T54" y="T55"/>
                      </a:cxn>
                      <a:cxn ang="T126">
                        <a:pos x="T56" y="T57"/>
                      </a:cxn>
                      <a:cxn ang="T127">
                        <a:pos x="T58" y="T59"/>
                      </a:cxn>
                      <a:cxn ang="T128">
                        <a:pos x="T60" y="T61"/>
                      </a:cxn>
                      <a:cxn ang="T129">
                        <a:pos x="T62" y="T63"/>
                      </a:cxn>
                      <a:cxn ang="T130">
                        <a:pos x="T64" y="T65"/>
                      </a:cxn>
                      <a:cxn ang="T131">
                        <a:pos x="T66" y="T67"/>
                      </a:cxn>
                      <a:cxn ang="T132">
                        <a:pos x="T68" y="T69"/>
                      </a:cxn>
                      <a:cxn ang="T133">
                        <a:pos x="T70" y="T71"/>
                      </a:cxn>
                      <a:cxn ang="T134">
                        <a:pos x="T72" y="T73"/>
                      </a:cxn>
                      <a:cxn ang="T135">
                        <a:pos x="T74" y="T75"/>
                      </a:cxn>
                      <a:cxn ang="T136">
                        <a:pos x="T76" y="T77"/>
                      </a:cxn>
                      <a:cxn ang="T137">
                        <a:pos x="T78" y="T79"/>
                      </a:cxn>
                      <a:cxn ang="T138">
                        <a:pos x="T80" y="T81"/>
                      </a:cxn>
                      <a:cxn ang="T139">
                        <a:pos x="T82" y="T83"/>
                      </a:cxn>
                      <a:cxn ang="T140">
                        <a:pos x="T84" y="T85"/>
                      </a:cxn>
                      <a:cxn ang="T141">
                        <a:pos x="T86" y="T87"/>
                      </a:cxn>
                      <a:cxn ang="T142">
                        <a:pos x="T88" y="T89"/>
                      </a:cxn>
                      <a:cxn ang="T143">
                        <a:pos x="T90" y="T91"/>
                      </a:cxn>
                      <a:cxn ang="T144">
                        <a:pos x="T92" y="T93"/>
                      </a:cxn>
                      <a:cxn ang="T145">
                        <a:pos x="T94" y="T95"/>
                      </a:cxn>
                      <a:cxn ang="T146">
                        <a:pos x="T96" y="T97"/>
                      </a:cxn>
                    </a:cxnLst>
                    <a:rect l="T147" t="T148" r="T149" b="T150"/>
                    <a:pathLst>
                      <a:path w="645" h="893">
                        <a:moveTo>
                          <a:pt x="235" y="771"/>
                        </a:moveTo>
                        <a:lnTo>
                          <a:pt x="235" y="771"/>
                        </a:lnTo>
                        <a:lnTo>
                          <a:pt x="187" y="688"/>
                        </a:lnTo>
                        <a:lnTo>
                          <a:pt x="152" y="628"/>
                        </a:lnTo>
                        <a:lnTo>
                          <a:pt x="133" y="596"/>
                        </a:lnTo>
                        <a:lnTo>
                          <a:pt x="124" y="574"/>
                        </a:lnTo>
                        <a:lnTo>
                          <a:pt x="118" y="562"/>
                        </a:lnTo>
                        <a:lnTo>
                          <a:pt x="111" y="549"/>
                        </a:lnTo>
                        <a:lnTo>
                          <a:pt x="102" y="541"/>
                        </a:lnTo>
                        <a:lnTo>
                          <a:pt x="95" y="533"/>
                        </a:lnTo>
                        <a:lnTo>
                          <a:pt x="87" y="526"/>
                        </a:lnTo>
                        <a:lnTo>
                          <a:pt x="79" y="510"/>
                        </a:lnTo>
                        <a:lnTo>
                          <a:pt x="69" y="497"/>
                        </a:lnTo>
                        <a:lnTo>
                          <a:pt x="54" y="476"/>
                        </a:lnTo>
                        <a:lnTo>
                          <a:pt x="38" y="450"/>
                        </a:lnTo>
                        <a:lnTo>
                          <a:pt x="29" y="434"/>
                        </a:lnTo>
                        <a:lnTo>
                          <a:pt x="22" y="418"/>
                        </a:lnTo>
                        <a:lnTo>
                          <a:pt x="15" y="399"/>
                        </a:lnTo>
                        <a:lnTo>
                          <a:pt x="7" y="379"/>
                        </a:lnTo>
                        <a:lnTo>
                          <a:pt x="3" y="358"/>
                        </a:lnTo>
                        <a:lnTo>
                          <a:pt x="2" y="335"/>
                        </a:lnTo>
                        <a:lnTo>
                          <a:pt x="0" y="312"/>
                        </a:lnTo>
                        <a:lnTo>
                          <a:pt x="3" y="287"/>
                        </a:lnTo>
                        <a:lnTo>
                          <a:pt x="7" y="259"/>
                        </a:lnTo>
                        <a:lnTo>
                          <a:pt x="16" y="232"/>
                        </a:lnTo>
                        <a:lnTo>
                          <a:pt x="25" y="208"/>
                        </a:lnTo>
                        <a:lnTo>
                          <a:pt x="35" y="184"/>
                        </a:lnTo>
                        <a:lnTo>
                          <a:pt x="50" y="153"/>
                        </a:lnTo>
                        <a:lnTo>
                          <a:pt x="58" y="138"/>
                        </a:lnTo>
                        <a:lnTo>
                          <a:pt x="69" y="122"/>
                        </a:lnTo>
                        <a:lnTo>
                          <a:pt x="80" y="106"/>
                        </a:lnTo>
                        <a:lnTo>
                          <a:pt x="93" y="92"/>
                        </a:lnTo>
                        <a:lnTo>
                          <a:pt x="106" y="79"/>
                        </a:lnTo>
                        <a:lnTo>
                          <a:pt x="122" y="67"/>
                        </a:lnTo>
                        <a:lnTo>
                          <a:pt x="138" y="57"/>
                        </a:lnTo>
                        <a:lnTo>
                          <a:pt x="156" y="48"/>
                        </a:lnTo>
                        <a:lnTo>
                          <a:pt x="195" y="35"/>
                        </a:lnTo>
                        <a:lnTo>
                          <a:pt x="243" y="19"/>
                        </a:lnTo>
                        <a:lnTo>
                          <a:pt x="268" y="13"/>
                        </a:lnTo>
                        <a:lnTo>
                          <a:pt x="294" y="7"/>
                        </a:lnTo>
                        <a:lnTo>
                          <a:pt x="322" y="3"/>
                        </a:lnTo>
                        <a:lnTo>
                          <a:pt x="348" y="0"/>
                        </a:lnTo>
                        <a:lnTo>
                          <a:pt x="376" y="0"/>
                        </a:lnTo>
                        <a:lnTo>
                          <a:pt x="402" y="3"/>
                        </a:lnTo>
                        <a:lnTo>
                          <a:pt x="430" y="9"/>
                        </a:lnTo>
                        <a:lnTo>
                          <a:pt x="443" y="13"/>
                        </a:lnTo>
                        <a:lnTo>
                          <a:pt x="455" y="17"/>
                        </a:lnTo>
                        <a:lnTo>
                          <a:pt x="468" y="23"/>
                        </a:lnTo>
                        <a:lnTo>
                          <a:pt x="481" y="31"/>
                        </a:lnTo>
                        <a:lnTo>
                          <a:pt x="493" y="38"/>
                        </a:lnTo>
                        <a:lnTo>
                          <a:pt x="504" y="48"/>
                        </a:lnTo>
                        <a:lnTo>
                          <a:pt x="514" y="58"/>
                        </a:lnTo>
                        <a:lnTo>
                          <a:pt x="526" y="68"/>
                        </a:lnTo>
                        <a:lnTo>
                          <a:pt x="536" y="82"/>
                        </a:lnTo>
                        <a:lnTo>
                          <a:pt x="546" y="96"/>
                        </a:lnTo>
                        <a:lnTo>
                          <a:pt x="562" y="127"/>
                        </a:lnTo>
                        <a:lnTo>
                          <a:pt x="580" y="163"/>
                        </a:lnTo>
                        <a:lnTo>
                          <a:pt x="599" y="208"/>
                        </a:lnTo>
                        <a:lnTo>
                          <a:pt x="609" y="233"/>
                        </a:lnTo>
                        <a:lnTo>
                          <a:pt x="618" y="259"/>
                        </a:lnTo>
                        <a:lnTo>
                          <a:pt x="625" y="287"/>
                        </a:lnTo>
                        <a:lnTo>
                          <a:pt x="632" y="316"/>
                        </a:lnTo>
                        <a:lnTo>
                          <a:pt x="638" y="344"/>
                        </a:lnTo>
                        <a:lnTo>
                          <a:pt x="643" y="373"/>
                        </a:lnTo>
                        <a:lnTo>
                          <a:pt x="645" y="401"/>
                        </a:lnTo>
                        <a:lnTo>
                          <a:pt x="644" y="428"/>
                        </a:lnTo>
                        <a:lnTo>
                          <a:pt x="635" y="508"/>
                        </a:lnTo>
                        <a:lnTo>
                          <a:pt x="625" y="593"/>
                        </a:lnTo>
                        <a:lnTo>
                          <a:pt x="622" y="613"/>
                        </a:lnTo>
                        <a:lnTo>
                          <a:pt x="611" y="650"/>
                        </a:lnTo>
                        <a:lnTo>
                          <a:pt x="600" y="678"/>
                        </a:lnTo>
                        <a:lnTo>
                          <a:pt x="593" y="696"/>
                        </a:lnTo>
                        <a:lnTo>
                          <a:pt x="583" y="710"/>
                        </a:lnTo>
                        <a:lnTo>
                          <a:pt x="561" y="733"/>
                        </a:lnTo>
                        <a:lnTo>
                          <a:pt x="500" y="800"/>
                        </a:lnTo>
                        <a:lnTo>
                          <a:pt x="437" y="864"/>
                        </a:lnTo>
                        <a:lnTo>
                          <a:pt x="415" y="886"/>
                        </a:lnTo>
                        <a:lnTo>
                          <a:pt x="405" y="893"/>
                        </a:lnTo>
                        <a:lnTo>
                          <a:pt x="396" y="890"/>
                        </a:lnTo>
                        <a:lnTo>
                          <a:pt x="377" y="880"/>
                        </a:lnTo>
                        <a:lnTo>
                          <a:pt x="353" y="865"/>
                        </a:lnTo>
                        <a:lnTo>
                          <a:pt x="323" y="847"/>
                        </a:lnTo>
                        <a:lnTo>
                          <a:pt x="294" y="826"/>
                        </a:lnTo>
                        <a:lnTo>
                          <a:pt x="267" y="806"/>
                        </a:lnTo>
                        <a:lnTo>
                          <a:pt x="255" y="797"/>
                        </a:lnTo>
                        <a:lnTo>
                          <a:pt x="246" y="787"/>
                        </a:lnTo>
                        <a:lnTo>
                          <a:pt x="239" y="778"/>
                        </a:lnTo>
                        <a:lnTo>
                          <a:pt x="235" y="771"/>
                        </a:lnTo>
                        <a:close/>
                      </a:path>
                    </a:pathLst>
                  </a:custGeom>
                  <a:solidFill>
                    <a:srgbClr val="4D4D4D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58" name="Freeform 79"/>
                  <p:cNvSpPr>
                    <a:spLocks/>
                  </p:cNvSpPr>
                  <p:nvPr/>
                </p:nvSpPr>
                <p:spPr bwMode="auto">
                  <a:xfrm>
                    <a:off x="4575107" y="4996888"/>
                    <a:ext cx="437384" cy="452835"/>
                  </a:xfrm>
                  <a:custGeom>
                    <a:avLst/>
                    <a:gdLst>
                      <a:gd name="T0" fmla="*/ 415925 w 272"/>
                      <a:gd name="T1" fmla="*/ 180975 h 290"/>
                      <a:gd name="T2" fmla="*/ 427038 w 272"/>
                      <a:gd name="T3" fmla="*/ 144462 h 290"/>
                      <a:gd name="T4" fmla="*/ 420688 w 272"/>
                      <a:gd name="T5" fmla="*/ 104775 h 290"/>
                      <a:gd name="T6" fmla="*/ 379412 w 272"/>
                      <a:gd name="T7" fmla="*/ 49212 h 290"/>
                      <a:gd name="T8" fmla="*/ 360362 w 272"/>
                      <a:gd name="T9" fmla="*/ 38100 h 290"/>
                      <a:gd name="T10" fmla="*/ 311150 w 272"/>
                      <a:gd name="T11" fmla="*/ 38100 h 290"/>
                      <a:gd name="T12" fmla="*/ 304800 w 272"/>
                      <a:gd name="T13" fmla="*/ 38100 h 290"/>
                      <a:gd name="T14" fmla="*/ 295275 w 272"/>
                      <a:gd name="T15" fmla="*/ 34925 h 290"/>
                      <a:gd name="T16" fmla="*/ 263525 w 272"/>
                      <a:gd name="T17" fmla="*/ 33337 h 290"/>
                      <a:gd name="T18" fmla="*/ 230187 w 272"/>
                      <a:gd name="T19" fmla="*/ 30162 h 290"/>
                      <a:gd name="T20" fmla="*/ 147637 w 272"/>
                      <a:gd name="T21" fmla="*/ 12700 h 290"/>
                      <a:gd name="T22" fmla="*/ 106363 w 272"/>
                      <a:gd name="T23" fmla="*/ 0 h 290"/>
                      <a:gd name="T24" fmla="*/ 68262 w 272"/>
                      <a:gd name="T25" fmla="*/ 14288 h 290"/>
                      <a:gd name="T26" fmla="*/ 38100 w 272"/>
                      <a:gd name="T27" fmla="*/ 30162 h 290"/>
                      <a:gd name="T28" fmla="*/ 17462 w 272"/>
                      <a:gd name="T29" fmla="*/ 60325 h 290"/>
                      <a:gd name="T30" fmla="*/ 25400 w 272"/>
                      <a:gd name="T31" fmla="*/ 88900 h 290"/>
                      <a:gd name="T32" fmla="*/ 33337 w 272"/>
                      <a:gd name="T33" fmla="*/ 109538 h 290"/>
                      <a:gd name="T34" fmla="*/ 20637 w 272"/>
                      <a:gd name="T35" fmla="*/ 136525 h 290"/>
                      <a:gd name="T36" fmla="*/ 6350 w 272"/>
                      <a:gd name="T37" fmla="*/ 157162 h 290"/>
                      <a:gd name="T38" fmla="*/ 0 w 272"/>
                      <a:gd name="T39" fmla="*/ 180975 h 290"/>
                      <a:gd name="T40" fmla="*/ 11112 w 272"/>
                      <a:gd name="T41" fmla="*/ 209550 h 290"/>
                      <a:gd name="T42" fmla="*/ 11112 w 272"/>
                      <a:gd name="T43" fmla="*/ 230188 h 290"/>
                      <a:gd name="T44" fmla="*/ 11112 w 272"/>
                      <a:gd name="T45" fmla="*/ 236537 h 290"/>
                      <a:gd name="T46" fmla="*/ 6350 w 272"/>
                      <a:gd name="T47" fmla="*/ 246062 h 290"/>
                      <a:gd name="T48" fmla="*/ 3175 w 272"/>
                      <a:gd name="T49" fmla="*/ 252412 h 290"/>
                      <a:gd name="T50" fmla="*/ 0 w 272"/>
                      <a:gd name="T51" fmla="*/ 276225 h 290"/>
                      <a:gd name="T52" fmla="*/ 0 w 272"/>
                      <a:gd name="T53" fmla="*/ 293687 h 290"/>
                      <a:gd name="T54" fmla="*/ 0 w 272"/>
                      <a:gd name="T55" fmla="*/ 303212 h 290"/>
                      <a:gd name="T56" fmla="*/ 12700 w 272"/>
                      <a:gd name="T57" fmla="*/ 327025 h 290"/>
                      <a:gd name="T58" fmla="*/ 17462 w 272"/>
                      <a:gd name="T59" fmla="*/ 354012 h 290"/>
                      <a:gd name="T60" fmla="*/ 20637 w 272"/>
                      <a:gd name="T61" fmla="*/ 387350 h 290"/>
                      <a:gd name="T62" fmla="*/ 33337 w 272"/>
                      <a:gd name="T63" fmla="*/ 407988 h 290"/>
                      <a:gd name="T64" fmla="*/ 58737 w 272"/>
                      <a:gd name="T65" fmla="*/ 433388 h 290"/>
                      <a:gd name="T66" fmla="*/ 84137 w 272"/>
                      <a:gd name="T67" fmla="*/ 450850 h 290"/>
                      <a:gd name="T68" fmla="*/ 88900 w 272"/>
                      <a:gd name="T69" fmla="*/ 454025 h 290"/>
                      <a:gd name="T70" fmla="*/ 96837 w 272"/>
                      <a:gd name="T71" fmla="*/ 454025 h 290"/>
                      <a:gd name="T72" fmla="*/ 106363 w 272"/>
                      <a:gd name="T73" fmla="*/ 454025 h 290"/>
                      <a:gd name="T74" fmla="*/ 142875 w 272"/>
                      <a:gd name="T75" fmla="*/ 460375 h 290"/>
                      <a:gd name="T76" fmla="*/ 195262 w 272"/>
                      <a:gd name="T77" fmla="*/ 454025 h 290"/>
                      <a:gd name="T78" fmla="*/ 195262 w 272"/>
                      <a:gd name="T79" fmla="*/ 450850 h 290"/>
                      <a:gd name="T80" fmla="*/ 204788 w 272"/>
                      <a:gd name="T81" fmla="*/ 449263 h 290"/>
                      <a:gd name="T82" fmla="*/ 220662 w 272"/>
                      <a:gd name="T83" fmla="*/ 449263 h 290"/>
                      <a:gd name="T84" fmla="*/ 295275 w 272"/>
                      <a:gd name="T85" fmla="*/ 433388 h 290"/>
                      <a:gd name="T86" fmla="*/ 350837 w 272"/>
                      <a:gd name="T87" fmla="*/ 422275 h 290"/>
                      <a:gd name="T88" fmla="*/ 374650 w 272"/>
                      <a:gd name="T89" fmla="*/ 400050 h 290"/>
                      <a:gd name="T90" fmla="*/ 381000 w 272"/>
                      <a:gd name="T91" fmla="*/ 387350 h 290"/>
                      <a:gd name="T92" fmla="*/ 406400 w 272"/>
                      <a:gd name="T93" fmla="*/ 368300 h 290"/>
                      <a:gd name="T94" fmla="*/ 411163 w 272"/>
                      <a:gd name="T95" fmla="*/ 366712 h 290"/>
                      <a:gd name="T96" fmla="*/ 420688 w 272"/>
                      <a:gd name="T97" fmla="*/ 358775 h 290"/>
                      <a:gd name="T98" fmla="*/ 431800 w 272"/>
                      <a:gd name="T99" fmla="*/ 338137 h 290"/>
                      <a:gd name="T100" fmla="*/ 401637 w 272"/>
                      <a:gd name="T101" fmla="*/ 282575 h 290"/>
                      <a:gd name="T102" fmla="*/ 361950 w 272"/>
                      <a:gd name="T103" fmla="*/ 280987 h 290"/>
                      <a:gd name="T104" fmla="*/ 369887 w 272"/>
                      <a:gd name="T105" fmla="*/ 268287 h 290"/>
                      <a:gd name="T106" fmla="*/ 401637 w 272"/>
                      <a:gd name="T107" fmla="*/ 246062 h 290"/>
                      <a:gd name="T108" fmla="*/ 406400 w 272"/>
                      <a:gd name="T109" fmla="*/ 215900 h 290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w 272"/>
                      <a:gd name="T166" fmla="*/ 0 h 290"/>
                      <a:gd name="T167" fmla="*/ 272 w 272"/>
                      <a:gd name="T168" fmla="*/ 290 h 290"/>
                    </a:gdLst>
                    <a:ahLst/>
                    <a:cxnLst>
                      <a:cxn ang="T110">
                        <a:pos x="T0" y="T1"/>
                      </a:cxn>
                      <a:cxn ang="T111">
                        <a:pos x="T2" y="T3"/>
                      </a:cxn>
                      <a:cxn ang="T112">
                        <a:pos x="T4" y="T5"/>
                      </a:cxn>
                      <a:cxn ang="T113">
                        <a:pos x="T6" y="T7"/>
                      </a:cxn>
                      <a:cxn ang="T114">
                        <a:pos x="T8" y="T9"/>
                      </a:cxn>
                      <a:cxn ang="T115">
                        <a:pos x="T10" y="T11"/>
                      </a:cxn>
                      <a:cxn ang="T116">
                        <a:pos x="T12" y="T13"/>
                      </a:cxn>
                      <a:cxn ang="T117">
                        <a:pos x="T14" y="T15"/>
                      </a:cxn>
                      <a:cxn ang="T118">
                        <a:pos x="T16" y="T17"/>
                      </a:cxn>
                      <a:cxn ang="T119">
                        <a:pos x="T18" y="T19"/>
                      </a:cxn>
                      <a:cxn ang="T120">
                        <a:pos x="T20" y="T21"/>
                      </a:cxn>
                      <a:cxn ang="T121">
                        <a:pos x="T22" y="T23"/>
                      </a:cxn>
                      <a:cxn ang="T122">
                        <a:pos x="T24" y="T25"/>
                      </a:cxn>
                      <a:cxn ang="T123">
                        <a:pos x="T26" y="T27"/>
                      </a:cxn>
                      <a:cxn ang="T124">
                        <a:pos x="T28" y="T29"/>
                      </a:cxn>
                      <a:cxn ang="T125">
                        <a:pos x="T30" y="T31"/>
                      </a:cxn>
                      <a:cxn ang="T126">
                        <a:pos x="T32" y="T33"/>
                      </a:cxn>
                      <a:cxn ang="T127">
                        <a:pos x="T34" y="T35"/>
                      </a:cxn>
                      <a:cxn ang="T128">
                        <a:pos x="T36" y="T37"/>
                      </a:cxn>
                      <a:cxn ang="T129">
                        <a:pos x="T38" y="T39"/>
                      </a:cxn>
                      <a:cxn ang="T130">
                        <a:pos x="T40" y="T41"/>
                      </a:cxn>
                      <a:cxn ang="T131">
                        <a:pos x="T42" y="T43"/>
                      </a:cxn>
                      <a:cxn ang="T132">
                        <a:pos x="T44" y="T45"/>
                      </a:cxn>
                      <a:cxn ang="T133">
                        <a:pos x="T46" y="T47"/>
                      </a:cxn>
                      <a:cxn ang="T134">
                        <a:pos x="T48" y="T49"/>
                      </a:cxn>
                      <a:cxn ang="T135">
                        <a:pos x="T50" y="T51"/>
                      </a:cxn>
                      <a:cxn ang="T136">
                        <a:pos x="T52" y="T53"/>
                      </a:cxn>
                      <a:cxn ang="T137">
                        <a:pos x="T54" y="T55"/>
                      </a:cxn>
                      <a:cxn ang="T138">
                        <a:pos x="T56" y="T57"/>
                      </a:cxn>
                      <a:cxn ang="T139">
                        <a:pos x="T58" y="T59"/>
                      </a:cxn>
                      <a:cxn ang="T140">
                        <a:pos x="T60" y="T61"/>
                      </a:cxn>
                      <a:cxn ang="T141">
                        <a:pos x="T62" y="T63"/>
                      </a:cxn>
                      <a:cxn ang="T142">
                        <a:pos x="T64" y="T65"/>
                      </a:cxn>
                      <a:cxn ang="T143">
                        <a:pos x="T66" y="T67"/>
                      </a:cxn>
                      <a:cxn ang="T144">
                        <a:pos x="T68" y="T69"/>
                      </a:cxn>
                      <a:cxn ang="T145">
                        <a:pos x="T70" y="T71"/>
                      </a:cxn>
                      <a:cxn ang="T146">
                        <a:pos x="T72" y="T73"/>
                      </a:cxn>
                      <a:cxn ang="T147">
                        <a:pos x="T74" y="T75"/>
                      </a:cxn>
                      <a:cxn ang="T148">
                        <a:pos x="T76" y="T77"/>
                      </a:cxn>
                      <a:cxn ang="T149">
                        <a:pos x="T78" y="T79"/>
                      </a:cxn>
                      <a:cxn ang="T150">
                        <a:pos x="T80" y="T81"/>
                      </a:cxn>
                      <a:cxn ang="T151">
                        <a:pos x="T82" y="T83"/>
                      </a:cxn>
                      <a:cxn ang="T152">
                        <a:pos x="T84" y="T85"/>
                      </a:cxn>
                      <a:cxn ang="T153">
                        <a:pos x="T86" y="T87"/>
                      </a:cxn>
                      <a:cxn ang="T154">
                        <a:pos x="T88" y="T89"/>
                      </a:cxn>
                      <a:cxn ang="T155">
                        <a:pos x="T90" y="T91"/>
                      </a:cxn>
                      <a:cxn ang="T156">
                        <a:pos x="T92" y="T93"/>
                      </a:cxn>
                      <a:cxn ang="T157">
                        <a:pos x="T94" y="T95"/>
                      </a:cxn>
                      <a:cxn ang="T158">
                        <a:pos x="T96" y="T97"/>
                      </a:cxn>
                      <a:cxn ang="T159">
                        <a:pos x="T98" y="T99"/>
                      </a:cxn>
                      <a:cxn ang="T160">
                        <a:pos x="T100" y="T101"/>
                      </a:cxn>
                      <a:cxn ang="T161">
                        <a:pos x="T102" y="T103"/>
                      </a:cxn>
                      <a:cxn ang="T162">
                        <a:pos x="T104" y="T105"/>
                      </a:cxn>
                      <a:cxn ang="T163">
                        <a:pos x="T106" y="T107"/>
                      </a:cxn>
                      <a:cxn ang="T164">
                        <a:pos x="T108" y="T109"/>
                      </a:cxn>
                    </a:cxnLst>
                    <a:rect l="T165" t="T166" r="T167" b="T168"/>
                    <a:pathLst>
                      <a:path w="272" h="290">
                        <a:moveTo>
                          <a:pt x="256" y="136"/>
                        </a:moveTo>
                        <a:lnTo>
                          <a:pt x="262" y="114"/>
                        </a:lnTo>
                        <a:lnTo>
                          <a:pt x="263" y="104"/>
                        </a:lnTo>
                        <a:lnTo>
                          <a:pt x="269" y="91"/>
                        </a:lnTo>
                        <a:lnTo>
                          <a:pt x="269" y="76"/>
                        </a:lnTo>
                        <a:lnTo>
                          <a:pt x="265" y="66"/>
                        </a:lnTo>
                        <a:lnTo>
                          <a:pt x="256" y="46"/>
                        </a:lnTo>
                        <a:lnTo>
                          <a:pt x="239" y="31"/>
                        </a:lnTo>
                        <a:lnTo>
                          <a:pt x="234" y="25"/>
                        </a:lnTo>
                        <a:lnTo>
                          <a:pt x="227" y="24"/>
                        </a:lnTo>
                        <a:lnTo>
                          <a:pt x="212" y="24"/>
                        </a:lnTo>
                        <a:lnTo>
                          <a:pt x="196" y="24"/>
                        </a:lnTo>
                        <a:lnTo>
                          <a:pt x="192" y="24"/>
                        </a:lnTo>
                        <a:lnTo>
                          <a:pt x="186" y="22"/>
                        </a:lnTo>
                        <a:lnTo>
                          <a:pt x="182" y="21"/>
                        </a:lnTo>
                        <a:lnTo>
                          <a:pt x="166" y="21"/>
                        </a:lnTo>
                        <a:lnTo>
                          <a:pt x="153" y="21"/>
                        </a:lnTo>
                        <a:lnTo>
                          <a:pt x="145" y="19"/>
                        </a:lnTo>
                        <a:lnTo>
                          <a:pt x="110" y="12"/>
                        </a:lnTo>
                        <a:lnTo>
                          <a:pt x="93" y="8"/>
                        </a:lnTo>
                        <a:lnTo>
                          <a:pt x="78" y="0"/>
                        </a:lnTo>
                        <a:lnTo>
                          <a:pt x="67" y="0"/>
                        </a:lnTo>
                        <a:lnTo>
                          <a:pt x="55" y="6"/>
                        </a:lnTo>
                        <a:lnTo>
                          <a:pt x="43" y="9"/>
                        </a:lnTo>
                        <a:lnTo>
                          <a:pt x="29" y="15"/>
                        </a:lnTo>
                        <a:lnTo>
                          <a:pt x="24" y="19"/>
                        </a:lnTo>
                        <a:lnTo>
                          <a:pt x="16" y="31"/>
                        </a:lnTo>
                        <a:lnTo>
                          <a:pt x="11" y="38"/>
                        </a:lnTo>
                        <a:lnTo>
                          <a:pt x="11" y="47"/>
                        </a:lnTo>
                        <a:lnTo>
                          <a:pt x="16" y="56"/>
                        </a:lnTo>
                        <a:lnTo>
                          <a:pt x="19" y="64"/>
                        </a:lnTo>
                        <a:lnTo>
                          <a:pt x="21" y="69"/>
                        </a:lnTo>
                        <a:lnTo>
                          <a:pt x="17" y="79"/>
                        </a:lnTo>
                        <a:lnTo>
                          <a:pt x="13" y="86"/>
                        </a:lnTo>
                        <a:lnTo>
                          <a:pt x="7" y="94"/>
                        </a:lnTo>
                        <a:lnTo>
                          <a:pt x="4" y="99"/>
                        </a:lnTo>
                        <a:lnTo>
                          <a:pt x="0" y="102"/>
                        </a:lnTo>
                        <a:lnTo>
                          <a:pt x="0" y="114"/>
                        </a:lnTo>
                        <a:lnTo>
                          <a:pt x="1" y="121"/>
                        </a:lnTo>
                        <a:lnTo>
                          <a:pt x="7" y="132"/>
                        </a:lnTo>
                        <a:lnTo>
                          <a:pt x="7" y="136"/>
                        </a:lnTo>
                        <a:lnTo>
                          <a:pt x="7" y="145"/>
                        </a:lnTo>
                        <a:lnTo>
                          <a:pt x="7" y="149"/>
                        </a:lnTo>
                        <a:lnTo>
                          <a:pt x="5" y="152"/>
                        </a:lnTo>
                        <a:lnTo>
                          <a:pt x="4" y="155"/>
                        </a:lnTo>
                        <a:lnTo>
                          <a:pt x="2" y="159"/>
                        </a:lnTo>
                        <a:lnTo>
                          <a:pt x="2" y="164"/>
                        </a:lnTo>
                        <a:lnTo>
                          <a:pt x="0" y="174"/>
                        </a:lnTo>
                        <a:lnTo>
                          <a:pt x="0" y="185"/>
                        </a:lnTo>
                        <a:lnTo>
                          <a:pt x="0" y="191"/>
                        </a:lnTo>
                        <a:lnTo>
                          <a:pt x="1" y="194"/>
                        </a:lnTo>
                        <a:lnTo>
                          <a:pt x="8" y="206"/>
                        </a:lnTo>
                        <a:lnTo>
                          <a:pt x="11" y="217"/>
                        </a:lnTo>
                        <a:lnTo>
                          <a:pt x="11" y="223"/>
                        </a:lnTo>
                        <a:lnTo>
                          <a:pt x="11" y="229"/>
                        </a:lnTo>
                        <a:lnTo>
                          <a:pt x="13" y="244"/>
                        </a:lnTo>
                        <a:lnTo>
                          <a:pt x="16" y="251"/>
                        </a:lnTo>
                        <a:lnTo>
                          <a:pt x="21" y="257"/>
                        </a:lnTo>
                        <a:lnTo>
                          <a:pt x="27" y="264"/>
                        </a:lnTo>
                        <a:lnTo>
                          <a:pt x="37" y="273"/>
                        </a:lnTo>
                        <a:lnTo>
                          <a:pt x="53" y="284"/>
                        </a:lnTo>
                        <a:lnTo>
                          <a:pt x="56" y="286"/>
                        </a:lnTo>
                        <a:lnTo>
                          <a:pt x="61" y="286"/>
                        </a:lnTo>
                        <a:lnTo>
                          <a:pt x="67" y="286"/>
                        </a:lnTo>
                        <a:lnTo>
                          <a:pt x="80" y="289"/>
                        </a:lnTo>
                        <a:lnTo>
                          <a:pt x="90" y="290"/>
                        </a:lnTo>
                        <a:lnTo>
                          <a:pt x="115" y="287"/>
                        </a:lnTo>
                        <a:lnTo>
                          <a:pt x="123" y="286"/>
                        </a:lnTo>
                        <a:lnTo>
                          <a:pt x="123" y="284"/>
                        </a:lnTo>
                        <a:lnTo>
                          <a:pt x="125" y="284"/>
                        </a:lnTo>
                        <a:lnTo>
                          <a:pt x="129" y="283"/>
                        </a:lnTo>
                        <a:lnTo>
                          <a:pt x="139" y="283"/>
                        </a:lnTo>
                        <a:lnTo>
                          <a:pt x="158" y="283"/>
                        </a:lnTo>
                        <a:lnTo>
                          <a:pt x="186" y="273"/>
                        </a:lnTo>
                        <a:lnTo>
                          <a:pt x="221" y="266"/>
                        </a:lnTo>
                        <a:lnTo>
                          <a:pt x="228" y="260"/>
                        </a:lnTo>
                        <a:lnTo>
                          <a:pt x="236" y="252"/>
                        </a:lnTo>
                        <a:lnTo>
                          <a:pt x="240" y="244"/>
                        </a:lnTo>
                        <a:lnTo>
                          <a:pt x="243" y="238"/>
                        </a:lnTo>
                        <a:lnTo>
                          <a:pt x="256" y="232"/>
                        </a:lnTo>
                        <a:lnTo>
                          <a:pt x="259" y="231"/>
                        </a:lnTo>
                        <a:lnTo>
                          <a:pt x="265" y="226"/>
                        </a:lnTo>
                        <a:lnTo>
                          <a:pt x="271" y="219"/>
                        </a:lnTo>
                        <a:lnTo>
                          <a:pt x="272" y="213"/>
                        </a:lnTo>
                        <a:lnTo>
                          <a:pt x="269" y="190"/>
                        </a:lnTo>
                        <a:lnTo>
                          <a:pt x="253" y="178"/>
                        </a:lnTo>
                        <a:lnTo>
                          <a:pt x="241" y="178"/>
                        </a:lnTo>
                        <a:lnTo>
                          <a:pt x="228" y="177"/>
                        </a:lnTo>
                        <a:lnTo>
                          <a:pt x="220" y="175"/>
                        </a:lnTo>
                        <a:lnTo>
                          <a:pt x="233" y="169"/>
                        </a:lnTo>
                        <a:lnTo>
                          <a:pt x="241" y="164"/>
                        </a:lnTo>
                        <a:lnTo>
                          <a:pt x="253" y="155"/>
                        </a:lnTo>
                        <a:lnTo>
                          <a:pt x="255" y="148"/>
                        </a:lnTo>
                        <a:lnTo>
                          <a:pt x="256" y="136"/>
                        </a:lnTo>
                        <a:close/>
                      </a:path>
                    </a:pathLst>
                  </a:custGeom>
                  <a:solidFill>
                    <a:srgbClr val="818181"/>
                  </a:solidFill>
                  <a:ln w="6">
                    <a:solidFill>
                      <a:srgbClr val="81818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59" name="Freeform 103"/>
                  <p:cNvSpPr>
                    <a:spLocks/>
                  </p:cNvSpPr>
                  <p:nvPr/>
                </p:nvSpPr>
                <p:spPr bwMode="auto">
                  <a:xfrm>
                    <a:off x="4934391" y="4903197"/>
                    <a:ext cx="312417" cy="296683"/>
                  </a:xfrm>
                  <a:custGeom>
                    <a:avLst/>
                    <a:gdLst>
                      <a:gd name="T0" fmla="*/ 106363 w 197"/>
                      <a:gd name="T1" fmla="*/ 304800 h 192"/>
                      <a:gd name="T2" fmla="*/ 106363 w 197"/>
                      <a:gd name="T3" fmla="*/ 304800 h 192"/>
                      <a:gd name="T4" fmla="*/ 87313 w 197"/>
                      <a:gd name="T5" fmla="*/ 282575 h 192"/>
                      <a:gd name="T6" fmla="*/ 49213 w 197"/>
                      <a:gd name="T7" fmla="*/ 223838 h 192"/>
                      <a:gd name="T8" fmla="*/ 30163 w 197"/>
                      <a:gd name="T9" fmla="*/ 192087 h 192"/>
                      <a:gd name="T10" fmla="*/ 14288 w 197"/>
                      <a:gd name="T11" fmla="*/ 161925 h 192"/>
                      <a:gd name="T12" fmla="*/ 1588 w 197"/>
                      <a:gd name="T13" fmla="*/ 138113 h 192"/>
                      <a:gd name="T14" fmla="*/ 0 w 197"/>
                      <a:gd name="T15" fmla="*/ 130175 h 192"/>
                      <a:gd name="T16" fmla="*/ 0 w 197"/>
                      <a:gd name="T17" fmla="*/ 122238 h 192"/>
                      <a:gd name="T18" fmla="*/ 0 w 197"/>
                      <a:gd name="T19" fmla="*/ 122238 h 192"/>
                      <a:gd name="T20" fmla="*/ 4763 w 197"/>
                      <a:gd name="T21" fmla="*/ 111125 h 192"/>
                      <a:gd name="T22" fmla="*/ 15875 w 197"/>
                      <a:gd name="T23" fmla="*/ 96837 h 192"/>
                      <a:gd name="T24" fmla="*/ 30163 w 197"/>
                      <a:gd name="T25" fmla="*/ 82550 h 192"/>
                      <a:gd name="T26" fmla="*/ 44450 w 197"/>
                      <a:gd name="T27" fmla="*/ 71438 h 192"/>
                      <a:gd name="T28" fmla="*/ 71438 w 197"/>
                      <a:gd name="T29" fmla="*/ 50800 h 192"/>
                      <a:gd name="T30" fmla="*/ 82550 w 197"/>
                      <a:gd name="T31" fmla="*/ 41275 h 192"/>
                      <a:gd name="T32" fmla="*/ 196850 w 197"/>
                      <a:gd name="T33" fmla="*/ 4763 h 192"/>
                      <a:gd name="T34" fmla="*/ 215900 w 197"/>
                      <a:gd name="T35" fmla="*/ 0 h 192"/>
                      <a:gd name="T36" fmla="*/ 215900 w 197"/>
                      <a:gd name="T37" fmla="*/ 0 h 192"/>
                      <a:gd name="T38" fmla="*/ 231775 w 197"/>
                      <a:gd name="T39" fmla="*/ 23812 h 192"/>
                      <a:gd name="T40" fmla="*/ 266700 w 197"/>
                      <a:gd name="T41" fmla="*/ 79375 h 192"/>
                      <a:gd name="T42" fmla="*/ 284163 w 197"/>
                      <a:gd name="T43" fmla="*/ 111125 h 192"/>
                      <a:gd name="T44" fmla="*/ 298450 w 197"/>
                      <a:gd name="T45" fmla="*/ 141288 h 192"/>
                      <a:gd name="T46" fmla="*/ 309563 w 197"/>
                      <a:gd name="T47" fmla="*/ 166687 h 192"/>
                      <a:gd name="T48" fmla="*/ 312738 w 197"/>
                      <a:gd name="T49" fmla="*/ 177800 h 192"/>
                      <a:gd name="T50" fmla="*/ 312738 w 197"/>
                      <a:gd name="T51" fmla="*/ 185737 h 192"/>
                      <a:gd name="T52" fmla="*/ 312738 w 197"/>
                      <a:gd name="T53" fmla="*/ 185737 h 192"/>
                      <a:gd name="T54" fmla="*/ 309563 w 197"/>
                      <a:gd name="T55" fmla="*/ 193675 h 192"/>
                      <a:gd name="T56" fmla="*/ 303213 w 197"/>
                      <a:gd name="T57" fmla="*/ 201612 h 192"/>
                      <a:gd name="T58" fmla="*/ 292100 w 197"/>
                      <a:gd name="T59" fmla="*/ 211138 h 192"/>
                      <a:gd name="T60" fmla="*/ 277813 w 197"/>
                      <a:gd name="T61" fmla="*/ 219075 h 192"/>
                      <a:gd name="T62" fmla="*/ 244475 w 197"/>
                      <a:gd name="T63" fmla="*/ 241300 h 192"/>
                      <a:gd name="T64" fmla="*/ 206375 w 197"/>
                      <a:gd name="T65" fmla="*/ 258763 h 192"/>
                      <a:gd name="T66" fmla="*/ 136525 w 197"/>
                      <a:gd name="T67" fmla="*/ 292100 h 192"/>
                      <a:gd name="T68" fmla="*/ 106363 w 197"/>
                      <a:gd name="T69" fmla="*/ 304800 h 192"/>
                      <a:gd name="T70" fmla="*/ 106363 w 197"/>
                      <a:gd name="T71" fmla="*/ 304800 h 192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w 197"/>
                      <a:gd name="T109" fmla="*/ 0 h 192"/>
                      <a:gd name="T110" fmla="*/ 197 w 197"/>
                      <a:gd name="T111" fmla="*/ 192 h 192"/>
                    </a:gdLst>
                    <a:ahLst/>
                    <a:cxnLst>
                      <a:cxn ang="T72">
                        <a:pos x="T0" y="T1"/>
                      </a:cxn>
                      <a:cxn ang="T73">
                        <a:pos x="T2" y="T3"/>
                      </a:cxn>
                      <a:cxn ang="T74">
                        <a:pos x="T4" y="T5"/>
                      </a:cxn>
                      <a:cxn ang="T75">
                        <a:pos x="T6" y="T7"/>
                      </a:cxn>
                      <a:cxn ang="T76">
                        <a:pos x="T8" y="T9"/>
                      </a:cxn>
                      <a:cxn ang="T77">
                        <a:pos x="T10" y="T11"/>
                      </a:cxn>
                      <a:cxn ang="T78">
                        <a:pos x="T12" y="T13"/>
                      </a:cxn>
                      <a:cxn ang="T79">
                        <a:pos x="T14" y="T15"/>
                      </a:cxn>
                      <a:cxn ang="T80">
                        <a:pos x="T16" y="T17"/>
                      </a:cxn>
                      <a:cxn ang="T81">
                        <a:pos x="T18" y="T19"/>
                      </a:cxn>
                      <a:cxn ang="T82">
                        <a:pos x="T20" y="T21"/>
                      </a:cxn>
                      <a:cxn ang="T83">
                        <a:pos x="T22" y="T23"/>
                      </a:cxn>
                      <a:cxn ang="T84">
                        <a:pos x="T24" y="T25"/>
                      </a:cxn>
                      <a:cxn ang="T85">
                        <a:pos x="T26" y="T27"/>
                      </a:cxn>
                      <a:cxn ang="T86">
                        <a:pos x="T28" y="T29"/>
                      </a:cxn>
                      <a:cxn ang="T87">
                        <a:pos x="T30" y="T31"/>
                      </a:cxn>
                      <a:cxn ang="T88">
                        <a:pos x="T32" y="T33"/>
                      </a:cxn>
                      <a:cxn ang="T89">
                        <a:pos x="T34" y="T35"/>
                      </a:cxn>
                      <a:cxn ang="T90">
                        <a:pos x="T36" y="T37"/>
                      </a:cxn>
                      <a:cxn ang="T91">
                        <a:pos x="T38" y="T39"/>
                      </a:cxn>
                      <a:cxn ang="T92">
                        <a:pos x="T40" y="T41"/>
                      </a:cxn>
                      <a:cxn ang="T93">
                        <a:pos x="T42" y="T43"/>
                      </a:cxn>
                      <a:cxn ang="T94">
                        <a:pos x="T44" y="T45"/>
                      </a:cxn>
                      <a:cxn ang="T95">
                        <a:pos x="T46" y="T47"/>
                      </a:cxn>
                      <a:cxn ang="T96">
                        <a:pos x="T48" y="T49"/>
                      </a:cxn>
                      <a:cxn ang="T97">
                        <a:pos x="T50" y="T51"/>
                      </a:cxn>
                      <a:cxn ang="T98">
                        <a:pos x="T52" y="T53"/>
                      </a:cxn>
                      <a:cxn ang="T99">
                        <a:pos x="T54" y="T55"/>
                      </a:cxn>
                      <a:cxn ang="T100">
                        <a:pos x="T56" y="T57"/>
                      </a:cxn>
                      <a:cxn ang="T101">
                        <a:pos x="T58" y="T59"/>
                      </a:cxn>
                      <a:cxn ang="T102">
                        <a:pos x="T60" y="T61"/>
                      </a:cxn>
                      <a:cxn ang="T103">
                        <a:pos x="T62" y="T63"/>
                      </a:cxn>
                      <a:cxn ang="T104">
                        <a:pos x="T64" y="T65"/>
                      </a:cxn>
                      <a:cxn ang="T105">
                        <a:pos x="T66" y="T67"/>
                      </a:cxn>
                      <a:cxn ang="T106">
                        <a:pos x="T68" y="T69"/>
                      </a:cxn>
                      <a:cxn ang="T107">
                        <a:pos x="T70" y="T71"/>
                      </a:cxn>
                    </a:cxnLst>
                    <a:rect l="T108" t="T109" r="T110" b="T111"/>
                    <a:pathLst>
                      <a:path w="197" h="192">
                        <a:moveTo>
                          <a:pt x="67" y="192"/>
                        </a:moveTo>
                        <a:lnTo>
                          <a:pt x="67" y="192"/>
                        </a:lnTo>
                        <a:lnTo>
                          <a:pt x="55" y="178"/>
                        </a:lnTo>
                        <a:lnTo>
                          <a:pt x="31" y="141"/>
                        </a:lnTo>
                        <a:lnTo>
                          <a:pt x="19" y="121"/>
                        </a:lnTo>
                        <a:lnTo>
                          <a:pt x="9" y="102"/>
                        </a:lnTo>
                        <a:lnTo>
                          <a:pt x="1" y="87"/>
                        </a:lnTo>
                        <a:lnTo>
                          <a:pt x="0" y="82"/>
                        </a:lnTo>
                        <a:lnTo>
                          <a:pt x="0" y="77"/>
                        </a:lnTo>
                        <a:lnTo>
                          <a:pt x="3" y="70"/>
                        </a:lnTo>
                        <a:lnTo>
                          <a:pt x="10" y="61"/>
                        </a:lnTo>
                        <a:lnTo>
                          <a:pt x="19" y="52"/>
                        </a:lnTo>
                        <a:lnTo>
                          <a:pt x="28" y="45"/>
                        </a:lnTo>
                        <a:lnTo>
                          <a:pt x="45" y="32"/>
                        </a:lnTo>
                        <a:lnTo>
                          <a:pt x="52" y="26"/>
                        </a:lnTo>
                        <a:lnTo>
                          <a:pt x="124" y="3"/>
                        </a:lnTo>
                        <a:lnTo>
                          <a:pt x="136" y="0"/>
                        </a:lnTo>
                        <a:lnTo>
                          <a:pt x="146" y="15"/>
                        </a:lnTo>
                        <a:lnTo>
                          <a:pt x="168" y="50"/>
                        </a:lnTo>
                        <a:lnTo>
                          <a:pt x="179" y="70"/>
                        </a:lnTo>
                        <a:lnTo>
                          <a:pt x="188" y="89"/>
                        </a:lnTo>
                        <a:lnTo>
                          <a:pt x="195" y="105"/>
                        </a:lnTo>
                        <a:lnTo>
                          <a:pt x="197" y="112"/>
                        </a:lnTo>
                        <a:lnTo>
                          <a:pt x="197" y="117"/>
                        </a:lnTo>
                        <a:lnTo>
                          <a:pt x="195" y="122"/>
                        </a:lnTo>
                        <a:lnTo>
                          <a:pt x="191" y="127"/>
                        </a:lnTo>
                        <a:lnTo>
                          <a:pt x="184" y="133"/>
                        </a:lnTo>
                        <a:lnTo>
                          <a:pt x="175" y="138"/>
                        </a:lnTo>
                        <a:lnTo>
                          <a:pt x="154" y="152"/>
                        </a:lnTo>
                        <a:lnTo>
                          <a:pt x="130" y="163"/>
                        </a:lnTo>
                        <a:lnTo>
                          <a:pt x="86" y="184"/>
                        </a:lnTo>
                        <a:lnTo>
                          <a:pt x="67" y="19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60" name="Freeform 104"/>
                  <p:cNvSpPr>
                    <a:spLocks/>
                  </p:cNvSpPr>
                  <p:nvPr/>
                </p:nvSpPr>
                <p:spPr bwMode="auto">
                  <a:xfrm>
                    <a:off x="4981249" y="5028119"/>
                    <a:ext cx="390526" cy="405994"/>
                  </a:xfrm>
                  <a:custGeom>
                    <a:avLst/>
                    <a:gdLst>
                      <a:gd name="T0" fmla="*/ 388938 w 245"/>
                      <a:gd name="T1" fmla="*/ 31750 h 249"/>
                      <a:gd name="T2" fmla="*/ 388938 w 245"/>
                      <a:gd name="T3" fmla="*/ 31750 h 249"/>
                      <a:gd name="T4" fmla="*/ 268288 w 245"/>
                      <a:gd name="T5" fmla="*/ 15875 h 249"/>
                      <a:gd name="T6" fmla="*/ 142875 w 245"/>
                      <a:gd name="T7" fmla="*/ 3175 h 249"/>
                      <a:gd name="T8" fmla="*/ 142875 w 245"/>
                      <a:gd name="T9" fmla="*/ 3175 h 249"/>
                      <a:gd name="T10" fmla="*/ 100013 w 245"/>
                      <a:gd name="T11" fmla="*/ 0 h 249"/>
                      <a:gd name="T12" fmla="*/ 71438 w 245"/>
                      <a:gd name="T13" fmla="*/ 3175 h 249"/>
                      <a:gd name="T14" fmla="*/ 61913 w 245"/>
                      <a:gd name="T15" fmla="*/ 4763 h 249"/>
                      <a:gd name="T16" fmla="*/ 57150 w 245"/>
                      <a:gd name="T17" fmla="*/ 9525 h 249"/>
                      <a:gd name="T18" fmla="*/ 57150 w 245"/>
                      <a:gd name="T19" fmla="*/ 9525 h 249"/>
                      <a:gd name="T20" fmla="*/ 49213 w 245"/>
                      <a:gd name="T21" fmla="*/ 19050 h 249"/>
                      <a:gd name="T22" fmla="*/ 39688 w 245"/>
                      <a:gd name="T23" fmla="*/ 30163 h 249"/>
                      <a:gd name="T24" fmla="*/ 30163 w 245"/>
                      <a:gd name="T25" fmla="*/ 44450 h 249"/>
                      <a:gd name="T26" fmla="*/ 26988 w 245"/>
                      <a:gd name="T27" fmla="*/ 50800 h 249"/>
                      <a:gd name="T28" fmla="*/ 26988 w 245"/>
                      <a:gd name="T29" fmla="*/ 60325 h 249"/>
                      <a:gd name="T30" fmla="*/ 26988 w 245"/>
                      <a:gd name="T31" fmla="*/ 60325 h 249"/>
                      <a:gd name="T32" fmla="*/ 25400 w 245"/>
                      <a:gd name="T33" fmla="*/ 71438 h 249"/>
                      <a:gd name="T34" fmla="*/ 20638 w 245"/>
                      <a:gd name="T35" fmla="*/ 80963 h 249"/>
                      <a:gd name="T36" fmla="*/ 19050 w 245"/>
                      <a:gd name="T37" fmla="*/ 90488 h 249"/>
                      <a:gd name="T38" fmla="*/ 15875 w 245"/>
                      <a:gd name="T39" fmla="*/ 111125 h 249"/>
                      <a:gd name="T40" fmla="*/ 15875 w 245"/>
                      <a:gd name="T41" fmla="*/ 111125 h 249"/>
                      <a:gd name="T42" fmla="*/ 11113 w 245"/>
                      <a:gd name="T43" fmla="*/ 130175 h 249"/>
                      <a:gd name="T44" fmla="*/ 9525 w 245"/>
                      <a:gd name="T45" fmla="*/ 141288 h 249"/>
                      <a:gd name="T46" fmla="*/ 6350 w 245"/>
                      <a:gd name="T47" fmla="*/ 150813 h 249"/>
                      <a:gd name="T48" fmla="*/ 4763 w 245"/>
                      <a:gd name="T49" fmla="*/ 165100 h 249"/>
                      <a:gd name="T50" fmla="*/ 4763 w 245"/>
                      <a:gd name="T51" fmla="*/ 165100 h 249"/>
                      <a:gd name="T52" fmla="*/ 0 w 245"/>
                      <a:gd name="T53" fmla="*/ 192088 h 249"/>
                      <a:gd name="T54" fmla="*/ 0 w 245"/>
                      <a:gd name="T55" fmla="*/ 201613 h 249"/>
                      <a:gd name="T56" fmla="*/ 1588 w 245"/>
                      <a:gd name="T57" fmla="*/ 212725 h 249"/>
                      <a:gd name="T58" fmla="*/ 1588 w 245"/>
                      <a:gd name="T59" fmla="*/ 212725 h 249"/>
                      <a:gd name="T60" fmla="*/ 6350 w 245"/>
                      <a:gd name="T61" fmla="*/ 228600 h 249"/>
                      <a:gd name="T62" fmla="*/ 6350 w 245"/>
                      <a:gd name="T63" fmla="*/ 238125 h 249"/>
                      <a:gd name="T64" fmla="*/ 11113 w 245"/>
                      <a:gd name="T65" fmla="*/ 249238 h 249"/>
                      <a:gd name="T66" fmla="*/ 11113 w 245"/>
                      <a:gd name="T67" fmla="*/ 249238 h 249"/>
                      <a:gd name="T68" fmla="*/ 15875 w 245"/>
                      <a:gd name="T69" fmla="*/ 268288 h 249"/>
                      <a:gd name="T70" fmla="*/ 20638 w 245"/>
                      <a:gd name="T71" fmla="*/ 287338 h 249"/>
                      <a:gd name="T72" fmla="*/ 25400 w 245"/>
                      <a:gd name="T73" fmla="*/ 314325 h 249"/>
                      <a:gd name="T74" fmla="*/ 25400 w 245"/>
                      <a:gd name="T75" fmla="*/ 314325 h 249"/>
                      <a:gd name="T76" fmla="*/ 30163 w 245"/>
                      <a:gd name="T77" fmla="*/ 338138 h 249"/>
                      <a:gd name="T78" fmla="*/ 31750 w 245"/>
                      <a:gd name="T79" fmla="*/ 352425 h 249"/>
                      <a:gd name="T80" fmla="*/ 36513 w 245"/>
                      <a:gd name="T81" fmla="*/ 363538 h 249"/>
                      <a:gd name="T82" fmla="*/ 36513 w 245"/>
                      <a:gd name="T83" fmla="*/ 363538 h 249"/>
                      <a:gd name="T84" fmla="*/ 44450 w 245"/>
                      <a:gd name="T85" fmla="*/ 368300 h 249"/>
                      <a:gd name="T86" fmla="*/ 50800 w 245"/>
                      <a:gd name="T87" fmla="*/ 373063 h 249"/>
                      <a:gd name="T88" fmla="*/ 71438 w 245"/>
                      <a:gd name="T89" fmla="*/ 384175 h 249"/>
                      <a:gd name="T90" fmla="*/ 101600 w 245"/>
                      <a:gd name="T91" fmla="*/ 395288 h 249"/>
                      <a:gd name="T92" fmla="*/ 203200 w 245"/>
                      <a:gd name="T93" fmla="*/ 388938 h 249"/>
                      <a:gd name="T94" fmla="*/ 244475 w 245"/>
                      <a:gd name="T95" fmla="*/ 368300 h 249"/>
                      <a:gd name="T96" fmla="*/ 300038 w 245"/>
                      <a:gd name="T97" fmla="*/ 365125 h 249"/>
                      <a:gd name="T98" fmla="*/ 328613 w 245"/>
                      <a:gd name="T99" fmla="*/ 355600 h 249"/>
                      <a:gd name="T100" fmla="*/ 388938 w 245"/>
                      <a:gd name="T101" fmla="*/ 339725 h 249"/>
                      <a:gd name="T102" fmla="*/ 388938 w 245"/>
                      <a:gd name="T103" fmla="*/ 31750 h 249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w 245"/>
                      <a:gd name="T157" fmla="*/ 0 h 249"/>
                      <a:gd name="T158" fmla="*/ 245 w 245"/>
                      <a:gd name="T159" fmla="*/ 249 h 249"/>
                    </a:gdLst>
                    <a:ahLst/>
                    <a:cxnLst>
                      <a:cxn ang="T104">
                        <a:pos x="T0" y="T1"/>
                      </a:cxn>
                      <a:cxn ang="T105">
                        <a:pos x="T2" y="T3"/>
                      </a:cxn>
                      <a:cxn ang="T106">
                        <a:pos x="T4" y="T5"/>
                      </a:cxn>
                      <a:cxn ang="T107">
                        <a:pos x="T6" y="T7"/>
                      </a:cxn>
                      <a:cxn ang="T108">
                        <a:pos x="T8" y="T9"/>
                      </a:cxn>
                      <a:cxn ang="T109">
                        <a:pos x="T10" y="T11"/>
                      </a:cxn>
                      <a:cxn ang="T110">
                        <a:pos x="T12" y="T13"/>
                      </a:cxn>
                      <a:cxn ang="T111">
                        <a:pos x="T14" y="T15"/>
                      </a:cxn>
                      <a:cxn ang="T112">
                        <a:pos x="T16" y="T17"/>
                      </a:cxn>
                      <a:cxn ang="T113">
                        <a:pos x="T18" y="T19"/>
                      </a:cxn>
                      <a:cxn ang="T114">
                        <a:pos x="T20" y="T21"/>
                      </a:cxn>
                      <a:cxn ang="T115">
                        <a:pos x="T22" y="T23"/>
                      </a:cxn>
                      <a:cxn ang="T116">
                        <a:pos x="T24" y="T25"/>
                      </a:cxn>
                      <a:cxn ang="T117">
                        <a:pos x="T26" y="T27"/>
                      </a:cxn>
                      <a:cxn ang="T118">
                        <a:pos x="T28" y="T29"/>
                      </a:cxn>
                      <a:cxn ang="T119">
                        <a:pos x="T30" y="T31"/>
                      </a:cxn>
                      <a:cxn ang="T120">
                        <a:pos x="T32" y="T33"/>
                      </a:cxn>
                      <a:cxn ang="T121">
                        <a:pos x="T34" y="T35"/>
                      </a:cxn>
                      <a:cxn ang="T122">
                        <a:pos x="T36" y="T37"/>
                      </a:cxn>
                      <a:cxn ang="T123">
                        <a:pos x="T38" y="T39"/>
                      </a:cxn>
                      <a:cxn ang="T124">
                        <a:pos x="T40" y="T41"/>
                      </a:cxn>
                      <a:cxn ang="T125">
                        <a:pos x="T42" y="T43"/>
                      </a:cxn>
                      <a:cxn ang="T126">
                        <a:pos x="T44" y="T45"/>
                      </a:cxn>
                      <a:cxn ang="T127">
                        <a:pos x="T46" y="T47"/>
                      </a:cxn>
                      <a:cxn ang="T128">
                        <a:pos x="T48" y="T49"/>
                      </a:cxn>
                      <a:cxn ang="T129">
                        <a:pos x="T50" y="T51"/>
                      </a:cxn>
                      <a:cxn ang="T130">
                        <a:pos x="T52" y="T53"/>
                      </a:cxn>
                      <a:cxn ang="T131">
                        <a:pos x="T54" y="T55"/>
                      </a:cxn>
                      <a:cxn ang="T132">
                        <a:pos x="T56" y="T57"/>
                      </a:cxn>
                      <a:cxn ang="T133">
                        <a:pos x="T58" y="T59"/>
                      </a:cxn>
                      <a:cxn ang="T134">
                        <a:pos x="T60" y="T61"/>
                      </a:cxn>
                      <a:cxn ang="T135">
                        <a:pos x="T62" y="T63"/>
                      </a:cxn>
                      <a:cxn ang="T136">
                        <a:pos x="T64" y="T65"/>
                      </a:cxn>
                      <a:cxn ang="T137">
                        <a:pos x="T66" y="T67"/>
                      </a:cxn>
                      <a:cxn ang="T138">
                        <a:pos x="T68" y="T69"/>
                      </a:cxn>
                      <a:cxn ang="T139">
                        <a:pos x="T70" y="T71"/>
                      </a:cxn>
                      <a:cxn ang="T140">
                        <a:pos x="T72" y="T73"/>
                      </a:cxn>
                      <a:cxn ang="T141">
                        <a:pos x="T74" y="T75"/>
                      </a:cxn>
                      <a:cxn ang="T142">
                        <a:pos x="T76" y="T77"/>
                      </a:cxn>
                      <a:cxn ang="T143">
                        <a:pos x="T78" y="T79"/>
                      </a:cxn>
                      <a:cxn ang="T144">
                        <a:pos x="T80" y="T81"/>
                      </a:cxn>
                      <a:cxn ang="T145">
                        <a:pos x="T82" y="T83"/>
                      </a:cxn>
                      <a:cxn ang="T146">
                        <a:pos x="T84" y="T85"/>
                      </a:cxn>
                      <a:cxn ang="T147">
                        <a:pos x="T86" y="T87"/>
                      </a:cxn>
                      <a:cxn ang="T148">
                        <a:pos x="T88" y="T89"/>
                      </a:cxn>
                      <a:cxn ang="T149">
                        <a:pos x="T90" y="T91"/>
                      </a:cxn>
                      <a:cxn ang="T150">
                        <a:pos x="T92" y="T93"/>
                      </a:cxn>
                      <a:cxn ang="T151">
                        <a:pos x="T94" y="T95"/>
                      </a:cxn>
                      <a:cxn ang="T152">
                        <a:pos x="T96" y="T97"/>
                      </a:cxn>
                      <a:cxn ang="T153">
                        <a:pos x="T98" y="T99"/>
                      </a:cxn>
                      <a:cxn ang="T154">
                        <a:pos x="T100" y="T101"/>
                      </a:cxn>
                      <a:cxn ang="T155">
                        <a:pos x="T102" y="T103"/>
                      </a:cxn>
                    </a:cxnLst>
                    <a:rect l="T156" t="T157" r="T158" b="T159"/>
                    <a:pathLst>
                      <a:path w="245" h="249">
                        <a:moveTo>
                          <a:pt x="245" y="20"/>
                        </a:moveTo>
                        <a:lnTo>
                          <a:pt x="245" y="20"/>
                        </a:lnTo>
                        <a:lnTo>
                          <a:pt x="169" y="10"/>
                        </a:lnTo>
                        <a:lnTo>
                          <a:pt x="90" y="2"/>
                        </a:lnTo>
                        <a:lnTo>
                          <a:pt x="63" y="0"/>
                        </a:lnTo>
                        <a:lnTo>
                          <a:pt x="45" y="2"/>
                        </a:lnTo>
                        <a:lnTo>
                          <a:pt x="39" y="3"/>
                        </a:lnTo>
                        <a:lnTo>
                          <a:pt x="36" y="6"/>
                        </a:lnTo>
                        <a:lnTo>
                          <a:pt x="31" y="12"/>
                        </a:lnTo>
                        <a:lnTo>
                          <a:pt x="25" y="19"/>
                        </a:lnTo>
                        <a:lnTo>
                          <a:pt x="19" y="28"/>
                        </a:lnTo>
                        <a:lnTo>
                          <a:pt x="17" y="32"/>
                        </a:lnTo>
                        <a:lnTo>
                          <a:pt x="17" y="38"/>
                        </a:lnTo>
                        <a:lnTo>
                          <a:pt x="16" y="45"/>
                        </a:lnTo>
                        <a:lnTo>
                          <a:pt x="13" y="51"/>
                        </a:lnTo>
                        <a:lnTo>
                          <a:pt x="12" y="57"/>
                        </a:lnTo>
                        <a:lnTo>
                          <a:pt x="10" y="70"/>
                        </a:lnTo>
                        <a:lnTo>
                          <a:pt x="7" y="82"/>
                        </a:lnTo>
                        <a:lnTo>
                          <a:pt x="6" y="89"/>
                        </a:lnTo>
                        <a:lnTo>
                          <a:pt x="4" y="95"/>
                        </a:lnTo>
                        <a:lnTo>
                          <a:pt x="3" y="104"/>
                        </a:lnTo>
                        <a:lnTo>
                          <a:pt x="0" y="121"/>
                        </a:lnTo>
                        <a:lnTo>
                          <a:pt x="0" y="127"/>
                        </a:lnTo>
                        <a:lnTo>
                          <a:pt x="1" y="134"/>
                        </a:lnTo>
                        <a:lnTo>
                          <a:pt x="4" y="144"/>
                        </a:lnTo>
                        <a:lnTo>
                          <a:pt x="4" y="150"/>
                        </a:lnTo>
                        <a:lnTo>
                          <a:pt x="7" y="157"/>
                        </a:lnTo>
                        <a:lnTo>
                          <a:pt x="10" y="169"/>
                        </a:lnTo>
                        <a:lnTo>
                          <a:pt x="13" y="181"/>
                        </a:lnTo>
                        <a:lnTo>
                          <a:pt x="16" y="198"/>
                        </a:lnTo>
                        <a:lnTo>
                          <a:pt x="19" y="213"/>
                        </a:lnTo>
                        <a:lnTo>
                          <a:pt x="20" y="222"/>
                        </a:lnTo>
                        <a:lnTo>
                          <a:pt x="23" y="229"/>
                        </a:lnTo>
                        <a:lnTo>
                          <a:pt x="28" y="232"/>
                        </a:lnTo>
                        <a:lnTo>
                          <a:pt x="32" y="235"/>
                        </a:lnTo>
                        <a:lnTo>
                          <a:pt x="45" y="242"/>
                        </a:lnTo>
                        <a:lnTo>
                          <a:pt x="64" y="249"/>
                        </a:lnTo>
                        <a:lnTo>
                          <a:pt x="128" y="245"/>
                        </a:lnTo>
                        <a:lnTo>
                          <a:pt x="154" y="232"/>
                        </a:lnTo>
                        <a:lnTo>
                          <a:pt x="189" y="230"/>
                        </a:lnTo>
                        <a:lnTo>
                          <a:pt x="207" y="224"/>
                        </a:lnTo>
                        <a:lnTo>
                          <a:pt x="245" y="214"/>
                        </a:lnTo>
                        <a:lnTo>
                          <a:pt x="245" y="20"/>
                        </a:lnTo>
                        <a:close/>
                      </a:path>
                    </a:pathLst>
                  </a:custGeom>
                  <a:solidFill>
                    <a:srgbClr val="818181"/>
                  </a:solidFill>
                  <a:ln w="6">
                    <a:solidFill>
                      <a:srgbClr val="81818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61" name="Freeform 105"/>
                  <p:cNvSpPr>
                    <a:spLocks/>
                  </p:cNvSpPr>
                  <p:nvPr/>
                </p:nvSpPr>
                <p:spPr bwMode="auto">
                  <a:xfrm>
                    <a:off x="5340533" y="4981268"/>
                    <a:ext cx="453000" cy="437224"/>
                  </a:xfrm>
                  <a:custGeom>
                    <a:avLst/>
                    <a:gdLst>
                      <a:gd name="T0" fmla="*/ 439738 w 286"/>
                      <a:gd name="T1" fmla="*/ 0 h 277"/>
                      <a:gd name="T2" fmla="*/ 439738 w 286"/>
                      <a:gd name="T3" fmla="*/ 0 h 277"/>
                      <a:gd name="T4" fmla="*/ 428625 w 286"/>
                      <a:gd name="T5" fmla="*/ 42863 h 277"/>
                      <a:gd name="T6" fmla="*/ 422275 w 286"/>
                      <a:gd name="T7" fmla="*/ 90488 h 277"/>
                      <a:gd name="T8" fmla="*/ 414338 w 286"/>
                      <a:gd name="T9" fmla="*/ 150813 h 277"/>
                      <a:gd name="T10" fmla="*/ 412750 w 286"/>
                      <a:gd name="T11" fmla="*/ 185738 h 277"/>
                      <a:gd name="T12" fmla="*/ 412750 w 286"/>
                      <a:gd name="T13" fmla="*/ 220663 h 277"/>
                      <a:gd name="T14" fmla="*/ 412750 w 286"/>
                      <a:gd name="T15" fmla="*/ 255588 h 277"/>
                      <a:gd name="T16" fmla="*/ 417513 w 286"/>
                      <a:gd name="T17" fmla="*/ 290513 h 277"/>
                      <a:gd name="T18" fmla="*/ 422275 w 286"/>
                      <a:gd name="T19" fmla="*/ 323850 h 277"/>
                      <a:gd name="T20" fmla="*/ 430213 w 286"/>
                      <a:gd name="T21" fmla="*/ 358775 h 277"/>
                      <a:gd name="T22" fmla="*/ 439738 w 286"/>
                      <a:gd name="T23" fmla="*/ 393700 h 277"/>
                      <a:gd name="T24" fmla="*/ 454025 w 286"/>
                      <a:gd name="T25" fmla="*/ 423863 h 277"/>
                      <a:gd name="T26" fmla="*/ 50800 w 286"/>
                      <a:gd name="T27" fmla="*/ 439738 h 277"/>
                      <a:gd name="T28" fmla="*/ 50800 w 286"/>
                      <a:gd name="T29" fmla="*/ 439738 h 277"/>
                      <a:gd name="T30" fmla="*/ 34925 w 286"/>
                      <a:gd name="T31" fmla="*/ 384175 h 277"/>
                      <a:gd name="T32" fmla="*/ 20637 w 286"/>
                      <a:gd name="T33" fmla="*/ 323850 h 277"/>
                      <a:gd name="T34" fmla="*/ 7937 w 286"/>
                      <a:gd name="T35" fmla="*/ 252413 h 277"/>
                      <a:gd name="T36" fmla="*/ 3175 w 286"/>
                      <a:gd name="T37" fmla="*/ 215900 h 277"/>
                      <a:gd name="T38" fmla="*/ 0 w 286"/>
                      <a:gd name="T39" fmla="*/ 176213 h 277"/>
                      <a:gd name="T40" fmla="*/ 0 w 286"/>
                      <a:gd name="T41" fmla="*/ 139700 h 277"/>
                      <a:gd name="T42" fmla="*/ 3175 w 286"/>
                      <a:gd name="T43" fmla="*/ 104775 h 277"/>
                      <a:gd name="T44" fmla="*/ 9525 w 286"/>
                      <a:gd name="T45" fmla="*/ 73025 h 277"/>
                      <a:gd name="T46" fmla="*/ 14287 w 286"/>
                      <a:gd name="T47" fmla="*/ 55563 h 277"/>
                      <a:gd name="T48" fmla="*/ 20637 w 286"/>
                      <a:gd name="T49" fmla="*/ 42863 h 277"/>
                      <a:gd name="T50" fmla="*/ 28575 w 286"/>
                      <a:gd name="T51" fmla="*/ 30163 h 277"/>
                      <a:gd name="T52" fmla="*/ 34925 w 286"/>
                      <a:gd name="T53" fmla="*/ 19050 h 277"/>
                      <a:gd name="T54" fmla="*/ 47625 w 286"/>
                      <a:gd name="T55" fmla="*/ 7938 h 277"/>
                      <a:gd name="T56" fmla="*/ 55563 w 286"/>
                      <a:gd name="T57" fmla="*/ 0 h 277"/>
                      <a:gd name="T58" fmla="*/ 439738 w 286"/>
                      <a:gd name="T59" fmla="*/ 0 h 277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w 286"/>
                      <a:gd name="T91" fmla="*/ 0 h 277"/>
                      <a:gd name="T92" fmla="*/ 286 w 286"/>
                      <a:gd name="T93" fmla="*/ 277 h 277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T90" t="T91" r="T92" b="T93"/>
                    <a:pathLst>
                      <a:path w="286" h="277">
                        <a:moveTo>
                          <a:pt x="277" y="0"/>
                        </a:moveTo>
                        <a:lnTo>
                          <a:pt x="277" y="0"/>
                        </a:lnTo>
                        <a:lnTo>
                          <a:pt x="270" y="27"/>
                        </a:lnTo>
                        <a:lnTo>
                          <a:pt x="266" y="57"/>
                        </a:lnTo>
                        <a:lnTo>
                          <a:pt x="261" y="95"/>
                        </a:lnTo>
                        <a:lnTo>
                          <a:pt x="260" y="117"/>
                        </a:lnTo>
                        <a:lnTo>
                          <a:pt x="260" y="139"/>
                        </a:lnTo>
                        <a:lnTo>
                          <a:pt x="260" y="161"/>
                        </a:lnTo>
                        <a:lnTo>
                          <a:pt x="263" y="183"/>
                        </a:lnTo>
                        <a:lnTo>
                          <a:pt x="266" y="204"/>
                        </a:lnTo>
                        <a:lnTo>
                          <a:pt x="271" y="226"/>
                        </a:lnTo>
                        <a:lnTo>
                          <a:pt x="277" y="248"/>
                        </a:lnTo>
                        <a:lnTo>
                          <a:pt x="286" y="267"/>
                        </a:lnTo>
                        <a:lnTo>
                          <a:pt x="32" y="277"/>
                        </a:lnTo>
                        <a:lnTo>
                          <a:pt x="22" y="242"/>
                        </a:lnTo>
                        <a:lnTo>
                          <a:pt x="13" y="204"/>
                        </a:lnTo>
                        <a:lnTo>
                          <a:pt x="5" y="159"/>
                        </a:lnTo>
                        <a:lnTo>
                          <a:pt x="2" y="136"/>
                        </a:lnTo>
                        <a:lnTo>
                          <a:pt x="0" y="111"/>
                        </a:lnTo>
                        <a:lnTo>
                          <a:pt x="0" y="88"/>
                        </a:lnTo>
                        <a:lnTo>
                          <a:pt x="2" y="66"/>
                        </a:lnTo>
                        <a:lnTo>
                          <a:pt x="6" y="46"/>
                        </a:lnTo>
                        <a:lnTo>
                          <a:pt x="9" y="35"/>
                        </a:lnTo>
                        <a:lnTo>
                          <a:pt x="13" y="27"/>
                        </a:lnTo>
                        <a:lnTo>
                          <a:pt x="18" y="19"/>
                        </a:lnTo>
                        <a:lnTo>
                          <a:pt x="22" y="12"/>
                        </a:lnTo>
                        <a:lnTo>
                          <a:pt x="30" y="5"/>
                        </a:lnTo>
                        <a:lnTo>
                          <a:pt x="35" y="0"/>
                        </a:lnTo>
                        <a:lnTo>
                          <a:pt x="277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6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+mn-ea"/>
                    </a:endParaRPr>
                  </a:p>
                </p:txBody>
              </p:sp>
            </p:grpSp>
            <p:sp>
              <p:nvSpPr>
                <p:cNvPr id="152" name="Freeform 76"/>
                <p:cNvSpPr>
                  <a:spLocks/>
                </p:cNvSpPr>
                <p:nvPr/>
              </p:nvSpPr>
              <p:spPr bwMode="auto">
                <a:xfrm>
                  <a:off x="5949741" y="3825747"/>
                  <a:ext cx="218692" cy="218612"/>
                </a:xfrm>
                <a:custGeom>
                  <a:avLst/>
                  <a:gdLst/>
                  <a:ahLst/>
                  <a:cxnLst>
                    <a:cxn ang="0">
                      <a:pos x="84" y="135"/>
                    </a:cxn>
                    <a:cxn ang="0">
                      <a:pos x="84" y="135"/>
                    </a:cxn>
                    <a:cxn ang="0">
                      <a:pos x="75" y="134"/>
                    </a:cxn>
                    <a:cxn ang="0">
                      <a:pos x="54" y="132"/>
                    </a:cxn>
                    <a:cxn ang="0">
                      <a:pos x="43" y="132"/>
                    </a:cxn>
                    <a:cxn ang="0">
                      <a:pos x="33" y="134"/>
                    </a:cxn>
                    <a:cxn ang="0">
                      <a:pos x="24" y="137"/>
                    </a:cxn>
                    <a:cxn ang="0">
                      <a:pos x="21" y="139"/>
                    </a:cxn>
                    <a:cxn ang="0">
                      <a:pos x="19" y="141"/>
                    </a:cxn>
                    <a:cxn ang="0">
                      <a:pos x="19" y="141"/>
                    </a:cxn>
                    <a:cxn ang="0">
                      <a:pos x="15" y="122"/>
                    </a:cxn>
                    <a:cxn ang="0">
                      <a:pos x="6" y="80"/>
                    </a:cxn>
                    <a:cxn ang="0">
                      <a:pos x="2" y="58"/>
                    </a:cxn>
                    <a:cxn ang="0">
                      <a:pos x="0" y="37"/>
                    </a:cxn>
                    <a:cxn ang="0">
                      <a:pos x="0" y="29"/>
                    </a:cxn>
                    <a:cxn ang="0">
                      <a:pos x="2" y="23"/>
                    </a:cxn>
                    <a:cxn ang="0">
                      <a:pos x="3" y="19"/>
                    </a:cxn>
                    <a:cxn ang="0">
                      <a:pos x="6" y="16"/>
                    </a:cxn>
                    <a:cxn ang="0">
                      <a:pos x="6" y="16"/>
                    </a:cxn>
                    <a:cxn ang="0">
                      <a:pos x="30" y="8"/>
                    </a:cxn>
                    <a:cxn ang="0">
                      <a:pos x="47" y="4"/>
                    </a:cxn>
                    <a:cxn ang="0">
                      <a:pos x="67" y="0"/>
                    </a:cxn>
                    <a:cxn ang="0">
                      <a:pos x="78" y="0"/>
                    </a:cxn>
                    <a:cxn ang="0">
                      <a:pos x="86" y="0"/>
                    </a:cxn>
                    <a:cxn ang="0">
                      <a:pos x="97" y="0"/>
                    </a:cxn>
                    <a:cxn ang="0">
                      <a:pos x="105" y="3"/>
                    </a:cxn>
                    <a:cxn ang="0">
                      <a:pos x="114" y="7"/>
                    </a:cxn>
                    <a:cxn ang="0">
                      <a:pos x="121" y="13"/>
                    </a:cxn>
                    <a:cxn ang="0">
                      <a:pos x="127" y="20"/>
                    </a:cxn>
                    <a:cxn ang="0">
                      <a:pos x="132" y="30"/>
                    </a:cxn>
                    <a:cxn ang="0">
                      <a:pos x="84" y="135"/>
                    </a:cxn>
                  </a:cxnLst>
                  <a:rect l="0" t="0" r="r" b="b"/>
                  <a:pathLst>
                    <a:path w="132" h="141">
                      <a:moveTo>
                        <a:pt x="84" y="135"/>
                      </a:moveTo>
                      <a:lnTo>
                        <a:pt x="84" y="135"/>
                      </a:lnTo>
                      <a:lnTo>
                        <a:pt x="75" y="134"/>
                      </a:lnTo>
                      <a:lnTo>
                        <a:pt x="54" y="132"/>
                      </a:lnTo>
                      <a:lnTo>
                        <a:pt x="43" y="132"/>
                      </a:lnTo>
                      <a:lnTo>
                        <a:pt x="33" y="134"/>
                      </a:lnTo>
                      <a:lnTo>
                        <a:pt x="24" y="137"/>
                      </a:lnTo>
                      <a:lnTo>
                        <a:pt x="21" y="139"/>
                      </a:lnTo>
                      <a:lnTo>
                        <a:pt x="19" y="141"/>
                      </a:lnTo>
                      <a:lnTo>
                        <a:pt x="19" y="141"/>
                      </a:lnTo>
                      <a:lnTo>
                        <a:pt x="15" y="122"/>
                      </a:lnTo>
                      <a:lnTo>
                        <a:pt x="6" y="80"/>
                      </a:lnTo>
                      <a:lnTo>
                        <a:pt x="2" y="58"/>
                      </a:lnTo>
                      <a:lnTo>
                        <a:pt x="0" y="37"/>
                      </a:lnTo>
                      <a:lnTo>
                        <a:pt x="0" y="29"/>
                      </a:lnTo>
                      <a:lnTo>
                        <a:pt x="2" y="23"/>
                      </a:lnTo>
                      <a:lnTo>
                        <a:pt x="3" y="19"/>
                      </a:lnTo>
                      <a:lnTo>
                        <a:pt x="6" y="16"/>
                      </a:lnTo>
                      <a:lnTo>
                        <a:pt x="6" y="16"/>
                      </a:lnTo>
                      <a:lnTo>
                        <a:pt x="30" y="8"/>
                      </a:lnTo>
                      <a:lnTo>
                        <a:pt x="47" y="4"/>
                      </a:lnTo>
                      <a:lnTo>
                        <a:pt x="67" y="0"/>
                      </a:lnTo>
                      <a:lnTo>
                        <a:pt x="78" y="0"/>
                      </a:lnTo>
                      <a:lnTo>
                        <a:pt x="86" y="0"/>
                      </a:lnTo>
                      <a:lnTo>
                        <a:pt x="97" y="0"/>
                      </a:lnTo>
                      <a:lnTo>
                        <a:pt x="105" y="3"/>
                      </a:lnTo>
                      <a:lnTo>
                        <a:pt x="114" y="7"/>
                      </a:lnTo>
                      <a:lnTo>
                        <a:pt x="121" y="13"/>
                      </a:lnTo>
                      <a:lnTo>
                        <a:pt x="127" y="20"/>
                      </a:lnTo>
                      <a:lnTo>
                        <a:pt x="132" y="30"/>
                      </a:lnTo>
                      <a:lnTo>
                        <a:pt x="84" y="135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78F8FF"/>
                    </a:gs>
                    <a:gs pos="100000">
                      <a:srgbClr val="1F88C8"/>
                    </a:gs>
                  </a:gsLst>
                  <a:lin ang="16200000"/>
                </a:gradFill>
                <a:ln w="9525">
                  <a:solidFill>
                    <a:srgbClr val="1F88C8"/>
                  </a:solidFill>
                  <a:miter lim="800000"/>
                  <a:headEnd/>
                  <a:tailEnd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 noProof="1">
                    <a:solidFill>
                      <a:srgbClr val="FFFFFF"/>
                    </a:solidFill>
                    <a:latin typeface="Arial Narrow" pitchFamily="-97" charset="0"/>
                    <a:ea typeface="+mn-ea"/>
                  </a:endParaRPr>
                </a:p>
              </p:txBody>
            </p:sp>
          </p:grpSp>
          <p:sp>
            <p:nvSpPr>
              <p:cNvPr id="110" name="Freeform 80"/>
              <p:cNvSpPr>
                <a:spLocks/>
              </p:cNvSpPr>
              <p:nvPr/>
            </p:nvSpPr>
            <p:spPr bwMode="auto">
              <a:xfrm>
                <a:off x="4809423" y="4918803"/>
                <a:ext cx="78099" cy="374763"/>
              </a:xfrm>
              <a:custGeom>
                <a:avLst/>
                <a:gdLst>
                  <a:gd name="T0" fmla="*/ 22225 w 49"/>
                  <a:gd name="T1" fmla="*/ 376238 h 237"/>
                  <a:gd name="T2" fmla="*/ 50800 w 49"/>
                  <a:gd name="T3" fmla="*/ 336550 h 237"/>
                  <a:gd name="T4" fmla="*/ 77788 w 49"/>
                  <a:gd name="T5" fmla="*/ 20638 h 237"/>
                  <a:gd name="T6" fmla="*/ 77788 w 49"/>
                  <a:gd name="T7" fmla="*/ 20638 h 237"/>
                  <a:gd name="T8" fmla="*/ 71438 w 49"/>
                  <a:gd name="T9" fmla="*/ 7938 h 237"/>
                  <a:gd name="T10" fmla="*/ 65088 w 49"/>
                  <a:gd name="T11" fmla="*/ 1588 h 237"/>
                  <a:gd name="T12" fmla="*/ 61913 w 49"/>
                  <a:gd name="T13" fmla="*/ 0 h 237"/>
                  <a:gd name="T14" fmla="*/ 57150 w 49"/>
                  <a:gd name="T15" fmla="*/ 0 h 237"/>
                  <a:gd name="T16" fmla="*/ 57150 w 49"/>
                  <a:gd name="T17" fmla="*/ 0 h 237"/>
                  <a:gd name="T18" fmla="*/ 39688 w 49"/>
                  <a:gd name="T19" fmla="*/ 7938 h 237"/>
                  <a:gd name="T20" fmla="*/ 26988 w 49"/>
                  <a:gd name="T21" fmla="*/ 17463 h 237"/>
                  <a:gd name="T22" fmla="*/ 22225 w 49"/>
                  <a:gd name="T23" fmla="*/ 25400 h 237"/>
                  <a:gd name="T24" fmla="*/ 22225 w 49"/>
                  <a:gd name="T25" fmla="*/ 25400 h 237"/>
                  <a:gd name="T26" fmla="*/ 15875 w 49"/>
                  <a:gd name="T27" fmla="*/ 77788 h 237"/>
                  <a:gd name="T28" fmla="*/ 9525 w 49"/>
                  <a:gd name="T29" fmla="*/ 179388 h 237"/>
                  <a:gd name="T30" fmla="*/ 0 w 49"/>
                  <a:gd name="T31" fmla="*/ 323850 h 237"/>
                  <a:gd name="T32" fmla="*/ 22225 w 49"/>
                  <a:gd name="T33" fmla="*/ 376238 h 23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9"/>
                  <a:gd name="T52" fmla="*/ 0 h 237"/>
                  <a:gd name="T53" fmla="*/ 49 w 49"/>
                  <a:gd name="T54" fmla="*/ 237 h 237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9" h="237">
                    <a:moveTo>
                      <a:pt x="14" y="237"/>
                    </a:moveTo>
                    <a:lnTo>
                      <a:pt x="32" y="212"/>
                    </a:lnTo>
                    <a:lnTo>
                      <a:pt x="49" y="13"/>
                    </a:lnTo>
                    <a:lnTo>
                      <a:pt x="45" y="5"/>
                    </a:lnTo>
                    <a:lnTo>
                      <a:pt x="41" y="1"/>
                    </a:lnTo>
                    <a:lnTo>
                      <a:pt x="39" y="0"/>
                    </a:lnTo>
                    <a:lnTo>
                      <a:pt x="36" y="0"/>
                    </a:lnTo>
                    <a:lnTo>
                      <a:pt x="25" y="5"/>
                    </a:lnTo>
                    <a:lnTo>
                      <a:pt x="17" y="11"/>
                    </a:lnTo>
                    <a:lnTo>
                      <a:pt x="14" y="16"/>
                    </a:lnTo>
                    <a:lnTo>
                      <a:pt x="10" y="49"/>
                    </a:lnTo>
                    <a:lnTo>
                      <a:pt x="6" y="113"/>
                    </a:lnTo>
                    <a:lnTo>
                      <a:pt x="0" y="204"/>
                    </a:lnTo>
                    <a:lnTo>
                      <a:pt x="14" y="237"/>
                    </a:lnTo>
                    <a:close/>
                  </a:path>
                </a:pathLst>
              </a:custGeom>
              <a:solidFill>
                <a:srgbClr val="070707"/>
              </a:solidFill>
              <a:ln w="6">
                <a:solidFill>
                  <a:srgbClr val="07070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11" name="Freeform 81"/>
              <p:cNvSpPr>
                <a:spLocks/>
              </p:cNvSpPr>
              <p:nvPr/>
            </p:nvSpPr>
            <p:spPr bwMode="auto">
              <a:xfrm>
                <a:off x="4325173" y="5324796"/>
                <a:ext cx="1468358" cy="265462"/>
              </a:xfrm>
              <a:custGeom>
                <a:avLst/>
                <a:gdLst>
                  <a:gd name="T0" fmla="*/ 1458341 w 918"/>
                  <a:gd name="T1" fmla="*/ 88688 h 173"/>
                  <a:gd name="T2" fmla="*/ 749822 w 918"/>
                  <a:gd name="T3" fmla="*/ 273983 h 173"/>
                  <a:gd name="T4" fmla="*/ 0 w 918"/>
                  <a:gd name="T5" fmla="*/ 234390 h 173"/>
                  <a:gd name="T6" fmla="*/ 355848 w 918"/>
                  <a:gd name="T7" fmla="*/ 128281 h 173"/>
                  <a:gd name="T8" fmla="*/ 1166037 w 918"/>
                  <a:gd name="T9" fmla="*/ 0 h 173"/>
                  <a:gd name="T10" fmla="*/ 1458341 w 918"/>
                  <a:gd name="T11" fmla="*/ 88688 h 17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18"/>
                  <a:gd name="T19" fmla="*/ 0 h 173"/>
                  <a:gd name="T20" fmla="*/ 918 w 918"/>
                  <a:gd name="T21" fmla="*/ 173 h 17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18" h="173">
                    <a:moveTo>
                      <a:pt x="918" y="56"/>
                    </a:moveTo>
                    <a:lnTo>
                      <a:pt x="472" y="173"/>
                    </a:lnTo>
                    <a:lnTo>
                      <a:pt x="0" y="148"/>
                    </a:lnTo>
                    <a:lnTo>
                      <a:pt x="224" y="81"/>
                    </a:lnTo>
                    <a:lnTo>
                      <a:pt x="734" y="0"/>
                    </a:lnTo>
                    <a:lnTo>
                      <a:pt x="918" y="56"/>
                    </a:lnTo>
                    <a:close/>
                  </a:path>
                </a:pathLst>
              </a:custGeom>
              <a:solidFill>
                <a:srgbClr val="FFFFFF"/>
              </a:solidFill>
              <a:ln w="6">
                <a:solidFill>
                  <a:srgbClr val="CFCFCF"/>
                </a:solidFill>
                <a:round/>
                <a:headEnd/>
                <a:tailEnd/>
              </a:ln>
              <a:effectLst>
                <a:outerShdw blurRad="63500" dist="38100" dir="2700000" algn="tl" rotWithShape="0">
                  <a:srgbClr val="000000">
                    <a:alpha val="39998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en-US">
                  <a:ea typeface="ＭＳ Ｐゴシック" charset="-128"/>
                </a:endParaRPr>
              </a:p>
            </p:txBody>
          </p:sp>
          <p:sp>
            <p:nvSpPr>
              <p:cNvPr id="112" name="Freeform 85"/>
              <p:cNvSpPr>
                <a:spLocks/>
              </p:cNvSpPr>
              <p:nvPr/>
            </p:nvSpPr>
            <p:spPr bwMode="auto">
              <a:xfrm>
                <a:off x="7574305" y="3700822"/>
                <a:ext cx="249933" cy="327923"/>
              </a:xfrm>
              <a:custGeom>
                <a:avLst/>
                <a:gdLst/>
                <a:ahLst/>
                <a:cxnLst>
                  <a:cxn ang="0">
                    <a:pos x="73" y="1"/>
                  </a:cxn>
                  <a:cxn ang="0">
                    <a:pos x="73" y="1"/>
                  </a:cxn>
                  <a:cxn ang="0">
                    <a:pos x="114" y="59"/>
                  </a:cxn>
                  <a:cxn ang="0">
                    <a:pos x="143" y="102"/>
                  </a:cxn>
                  <a:cxn ang="0">
                    <a:pos x="153" y="119"/>
                  </a:cxn>
                  <a:cxn ang="0">
                    <a:pos x="158" y="128"/>
                  </a:cxn>
                  <a:cxn ang="0">
                    <a:pos x="158" y="128"/>
                  </a:cxn>
                  <a:cxn ang="0">
                    <a:pos x="159" y="135"/>
                  </a:cxn>
                  <a:cxn ang="0">
                    <a:pos x="158" y="144"/>
                  </a:cxn>
                  <a:cxn ang="0">
                    <a:pos x="155" y="153"/>
                  </a:cxn>
                  <a:cxn ang="0">
                    <a:pos x="150" y="161"/>
                  </a:cxn>
                  <a:cxn ang="0">
                    <a:pos x="142" y="177"/>
                  </a:cxn>
                  <a:cxn ang="0">
                    <a:pos x="137" y="183"/>
                  </a:cxn>
                  <a:cxn ang="0">
                    <a:pos x="137" y="183"/>
                  </a:cxn>
                  <a:cxn ang="0">
                    <a:pos x="75" y="193"/>
                  </a:cxn>
                  <a:cxn ang="0">
                    <a:pos x="28" y="199"/>
                  </a:cxn>
                  <a:cxn ang="0">
                    <a:pos x="12" y="199"/>
                  </a:cxn>
                  <a:cxn ang="0">
                    <a:pos x="6" y="199"/>
                  </a:cxn>
                  <a:cxn ang="0">
                    <a:pos x="3" y="198"/>
                  </a:cxn>
                  <a:cxn ang="0">
                    <a:pos x="3" y="198"/>
                  </a:cxn>
                  <a:cxn ang="0">
                    <a:pos x="2" y="195"/>
                  </a:cxn>
                  <a:cxn ang="0">
                    <a:pos x="2" y="188"/>
                  </a:cxn>
                  <a:cxn ang="0">
                    <a:pos x="0" y="163"/>
                  </a:cxn>
                  <a:cxn ang="0">
                    <a:pos x="2" y="129"/>
                  </a:cxn>
                  <a:cxn ang="0">
                    <a:pos x="3" y="110"/>
                  </a:cxn>
                  <a:cxn ang="0">
                    <a:pos x="6" y="91"/>
                  </a:cxn>
                  <a:cxn ang="0">
                    <a:pos x="10" y="73"/>
                  </a:cxn>
                  <a:cxn ang="0">
                    <a:pos x="15" y="54"/>
                  </a:cxn>
                  <a:cxn ang="0">
                    <a:pos x="21" y="38"/>
                  </a:cxn>
                  <a:cxn ang="0">
                    <a:pos x="28" y="23"/>
                  </a:cxn>
                  <a:cxn ang="0">
                    <a:pos x="37" y="11"/>
                  </a:cxn>
                  <a:cxn ang="0">
                    <a:pos x="43" y="7"/>
                  </a:cxn>
                  <a:cxn ang="0">
                    <a:pos x="47" y="4"/>
                  </a:cxn>
                  <a:cxn ang="0">
                    <a:pos x="53" y="1"/>
                  </a:cxn>
                  <a:cxn ang="0">
                    <a:pos x="59" y="0"/>
                  </a:cxn>
                  <a:cxn ang="0">
                    <a:pos x="66" y="0"/>
                  </a:cxn>
                  <a:cxn ang="0">
                    <a:pos x="73" y="1"/>
                  </a:cxn>
                  <a:cxn ang="0">
                    <a:pos x="73" y="1"/>
                  </a:cxn>
                </a:cxnLst>
                <a:rect l="0" t="0" r="r" b="b"/>
                <a:pathLst>
                  <a:path w="159" h="199">
                    <a:moveTo>
                      <a:pt x="73" y="1"/>
                    </a:moveTo>
                    <a:lnTo>
                      <a:pt x="73" y="1"/>
                    </a:lnTo>
                    <a:lnTo>
                      <a:pt x="114" y="59"/>
                    </a:lnTo>
                    <a:lnTo>
                      <a:pt x="143" y="102"/>
                    </a:lnTo>
                    <a:lnTo>
                      <a:pt x="153" y="119"/>
                    </a:lnTo>
                    <a:lnTo>
                      <a:pt x="158" y="128"/>
                    </a:lnTo>
                    <a:lnTo>
                      <a:pt x="158" y="128"/>
                    </a:lnTo>
                    <a:lnTo>
                      <a:pt x="159" y="135"/>
                    </a:lnTo>
                    <a:lnTo>
                      <a:pt x="158" y="144"/>
                    </a:lnTo>
                    <a:lnTo>
                      <a:pt x="155" y="153"/>
                    </a:lnTo>
                    <a:lnTo>
                      <a:pt x="150" y="161"/>
                    </a:lnTo>
                    <a:lnTo>
                      <a:pt x="142" y="177"/>
                    </a:lnTo>
                    <a:lnTo>
                      <a:pt x="137" y="183"/>
                    </a:lnTo>
                    <a:lnTo>
                      <a:pt x="137" y="183"/>
                    </a:lnTo>
                    <a:lnTo>
                      <a:pt x="75" y="193"/>
                    </a:lnTo>
                    <a:lnTo>
                      <a:pt x="28" y="199"/>
                    </a:lnTo>
                    <a:lnTo>
                      <a:pt x="12" y="199"/>
                    </a:lnTo>
                    <a:lnTo>
                      <a:pt x="6" y="199"/>
                    </a:lnTo>
                    <a:lnTo>
                      <a:pt x="3" y="198"/>
                    </a:lnTo>
                    <a:lnTo>
                      <a:pt x="3" y="198"/>
                    </a:lnTo>
                    <a:lnTo>
                      <a:pt x="2" y="195"/>
                    </a:lnTo>
                    <a:lnTo>
                      <a:pt x="2" y="188"/>
                    </a:lnTo>
                    <a:lnTo>
                      <a:pt x="0" y="163"/>
                    </a:lnTo>
                    <a:lnTo>
                      <a:pt x="2" y="129"/>
                    </a:lnTo>
                    <a:lnTo>
                      <a:pt x="3" y="110"/>
                    </a:lnTo>
                    <a:lnTo>
                      <a:pt x="6" y="91"/>
                    </a:lnTo>
                    <a:lnTo>
                      <a:pt x="10" y="73"/>
                    </a:lnTo>
                    <a:lnTo>
                      <a:pt x="15" y="54"/>
                    </a:lnTo>
                    <a:lnTo>
                      <a:pt x="21" y="38"/>
                    </a:lnTo>
                    <a:lnTo>
                      <a:pt x="28" y="23"/>
                    </a:lnTo>
                    <a:lnTo>
                      <a:pt x="37" y="11"/>
                    </a:lnTo>
                    <a:lnTo>
                      <a:pt x="43" y="7"/>
                    </a:lnTo>
                    <a:lnTo>
                      <a:pt x="47" y="4"/>
                    </a:lnTo>
                    <a:lnTo>
                      <a:pt x="53" y="1"/>
                    </a:lnTo>
                    <a:lnTo>
                      <a:pt x="59" y="0"/>
                    </a:lnTo>
                    <a:lnTo>
                      <a:pt x="66" y="0"/>
                    </a:lnTo>
                    <a:lnTo>
                      <a:pt x="73" y="1"/>
                    </a:lnTo>
                    <a:lnTo>
                      <a:pt x="73" y="1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B0036"/>
                  </a:gs>
                  <a:gs pos="100000">
                    <a:srgbClr val="D60015"/>
                  </a:gs>
                </a:gsLst>
                <a:lin ang="2700000" scaled="1"/>
                <a:tileRect/>
              </a:gradFill>
              <a:ln w="9525" cap="flat" cmpd="sng" algn="ctr">
                <a:solidFill>
                  <a:srgbClr val="C00000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indent="-342900" algn="ctr" fontAlgn="auto">
                  <a:spcBef>
                    <a:spcPts val="0"/>
                  </a:spcBef>
                  <a:spcAft>
                    <a:spcPts val="0"/>
                  </a:spcAft>
                  <a:buFont typeface="+mj-lt"/>
                  <a:buAutoNum type="arabicPeriod"/>
                  <a:defRPr/>
                </a:pPr>
                <a:endParaRPr lang="da-DK" kern="0" noProof="1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113" name="Line 89"/>
              <p:cNvSpPr>
                <a:spLocks noChangeShapeType="1"/>
              </p:cNvSpPr>
              <p:nvPr/>
            </p:nvSpPr>
            <p:spPr bwMode="auto">
              <a:xfrm>
                <a:off x="6433990" y="6043093"/>
                <a:ext cx="0" cy="0"/>
              </a:xfrm>
              <a:prstGeom prst="line">
                <a:avLst/>
              </a:prstGeom>
              <a:noFill/>
              <a:ln w="6">
                <a:solidFill>
                  <a:srgbClr val="2E2E2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14" name="Freeform 91"/>
              <p:cNvSpPr>
                <a:spLocks/>
              </p:cNvSpPr>
              <p:nvPr/>
            </p:nvSpPr>
            <p:spPr bwMode="auto">
              <a:xfrm>
                <a:off x="2044532" y="3513440"/>
                <a:ext cx="421767" cy="218612"/>
              </a:xfrm>
              <a:custGeom>
                <a:avLst/>
                <a:gdLst>
                  <a:gd name="T0" fmla="*/ 61913 w 261"/>
                  <a:gd name="T1" fmla="*/ 130175 h 142"/>
                  <a:gd name="T2" fmla="*/ 101600 w 261"/>
                  <a:gd name="T3" fmla="*/ 104775 h 142"/>
                  <a:gd name="T4" fmla="*/ 130175 w 261"/>
                  <a:gd name="T5" fmla="*/ 90487 h 142"/>
                  <a:gd name="T6" fmla="*/ 196850 w 261"/>
                  <a:gd name="T7" fmla="*/ 76200 h 142"/>
                  <a:gd name="T8" fmla="*/ 414338 w 261"/>
                  <a:gd name="T9" fmla="*/ 4762 h 142"/>
                  <a:gd name="T10" fmla="*/ 407988 w 261"/>
                  <a:gd name="T11" fmla="*/ 0 h 142"/>
                  <a:gd name="T12" fmla="*/ 381000 w 261"/>
                  <a:gd name="T13" fmla="*/ 12700 h 142"/>
                  <a:gd name="T14" fmla="*/ 273050 w 261"/>
                  <a:gd name="T15" fmla="*/ 50800 h 142"/>
                  <a:gd name="T16" fmla="*/ 177800 w 261"/>
                  <a:gd name="T17" fmla="*/ 76200 h 142"/>
                  <a:gd name="T18" fmla="*/ 69850 w 261"/>
                  <a:gd name="T19" fmla="*/ 104775 h 142"/>
                  <a:gd name="T20" fmla="*/ 41275 w 261"/>
                  <a:gd name="T21" fmla="*/ 115887 h 142"/>
                  <a:gd name="T22" fmla="*/ 30163 w 261"/>
                  <a:gd name="T23" fmla="*/ 144462 h 142"/>
                  <a:gd name="T24" fmla="*/ 15875 w 261"/>
                  <a:gd name="T25" fmla="*/ 182562 h 142"/>
                  <a:gd name="T26" fmla="*/ 0 w 261"/>
                  <a:gd name="T27" fmla="*/ 225425 h 142"/>
                  <a:gd name="T28" fmla="*/ 23813 w 261"/>
                  <a:gd name="T29" fmla="*/ 182562 h 142"/>
                  <a:gd name="T30" fmla="*/ 61913 w 261"/>
                  <a:gd name="T31" fmla="*/ 130175 h 14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61"/>
                  <a:gd name="T49" fmla="*/ 0 h 142"/>
                  <a:gd name="T50" fmla="*/ 261 w 261"/>
                  <a:gd name="T51" fmla="*/ 142 h 14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61" h="142">
                    <a:moveTo>
                      <a:pt x="39" y="82"/>
                    </a:moveTo>
                    <a:lnTo>
                      <a:pt x="64" y="66"/>
                    </a:lnTo>
                    <a:lnTo>
                      <a:pt x="82" y="57"/>
                    </a:lnTo>
                    <a:lnTo>
                      <a:pt x="124" y="48"/>
                    </a:lnTo>
                    <a:lnTo>
                      <a:pt x="261" y="3"/>
                    </a:lnTo>
                    <a:lnTo>
                      <a:pt x="257" y="0"/>
                    </a:lnTo>
                    <a:lnTo>
                      <a:pt x="240" y="8"/>
                    </a:lnTo>
                    <a:lnTo>
                      <a:pt x="172" y="32"/>
                    </a:lnTo>
                    <a:lnTo>
                      <a:pt x="112" y="48"/>
                    </a:lnTo>
                    <a:lnTo>
                      <a:pt x="44" y="66"/>
                    </a:lnTo>
                    <a:lnTo>
                      <a:pt x="26" y="73"/>
                    </a:lnTo>
                    <a:lnTo>
                      <a:pt x="19" y="91"/>
                    </a:lnTo>
                    <a:lnTo>
                      <a:pt x="10" y="115"/>
                    </a:lnTo>
                    <a:lnTo>
                      <a:pt x="0" y="142"/>
                    </a:lnTo>
                    <a:lnTo>
                      <a:pt x="15" y="115"/>
                    </a:lnTo>
                    <a:lnTo>
                      <a:pt x="39" y="82"/>
                    </a:lnTo>
                    <a:close/>
                  </a:path>
                </a:pathLst>
              </a:custGeom>
              <a:solidFill>
                <a:srgbClr val="01010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15" name="Freeform 93"/>
              <p:cNvSpPr>
                <a:spLocks/>
              </p:cNvSpPr>
              <p:nvPr/>
            </p:nvSpPr>
            <p:spPr bwMode="auto">
              <a:xfrm>
                <a:off x="2450673" y="3372909"/>
                <a:ext cx="374900" cy="171762"/>
              </a:xfrm>
              <a:custGeom>
                <a:avLst/>
                <a:gdLst>
                  <a:gd name="T0" fmla="*/ 179388 w 238"/>
                  <a:gd name="T1" fmla="*/ 77788 h 103"/>
                  <a:gd name="T2" fmla="*/ 173038 w 238"/>
                  <a:gd name="T3" fmla="*/ 163513 h 103"/>
                  <a:gd name="T4" fmla="*/ 187325 w 238"/>
                  <a:gd name="T5" fmla="*/ 161925 h 103"/>
                  <a:gd name="T6" fmla="*/ 228600 w 238"/>
                  <a:gd name="T7" fmla="*/ 147638 h 103"/>
                  <a:gd name="T8" fmla="*/ 280988 w 238"/>
                  <a:gd name="T9" fmla="*/ 161925 h 103"/>
                  <a:gd name="T10" fmla="*/ 309563 w 238"/>
                  <a:gd name="T11" fmla="*/ 147638 h 103"/>
                  <a:gd name="T12" fmla="*/ 334963 w 238"/>
                  <a:gd name="T13" fmla="*/ 147638 h 103"/>
                  <a:gd name="T14" fmla="*/ 361950 w 238"/>
                  <a:gd name="T15" fmla="*/ 122238 h 103"/>
                  <a:gd name="T16" fmla="*/ 376238 w 238"/>
                  <a:gd name="T17" fmla="*/ 107950 h 103"/>
                  <a:gd name="T18" fmla="*/ 376238 w 238"/>
                  <a:gd name="T19" fmla="*/ 69850 h 103"/>
                  <a:gd name="T20" fmla="*/ 376238 w 238"/>
                  <a:gd name="T21" fmla="*/ 30163 h 103"/>
                  <a:gd name="T22" fmla="*/ 376238 w 238"/>
                  <a:gd name="T23" fmla="*/ 1588 h 103"/>
                  <a:gd name="T24" fmla="*/ 377825 w 238"/>
                  <a:gd name="T25" fmla="*/ 0 h 103"/>
                  <a:gd name="T26" fmla="*/ 336550 w 238"/>
                  <a:gd name="T27" fmla="*/ 0 h 103"/>
                  <a:gd name="T28" fmla="*/ 241300 w 238"/>
                  <a:gd name="T29" fmla="*/ 26988 h 103"/>
                  <a:gd name="T30" fmla="*/ 147638 w 238"/>
                  <a:gd name="T31" fmla="*/ 52388 h 103"/>
                  <a:gd name="T32" fmla="*/ 93663 w 238"/>
                  <a:gd name="T33" fmla="*/ 92075 h 103"/>
                  <a:gd name="T34" fmla="*/ 38100 w 238"/>
                  <a:gd name="T35" fmla="*/ 117475 h 103"/>
                  <a:gd name="T36" fmla="*/ 0 w 238"/>
                  <a:gd name="T37" fmla="*/ 133350 h 103"/>
                  <a:gd name="T38" fmla="*/ 6350 w 238"/>
                  <a:gd name="T39" fmla="*/ 138113 h 103"/>
                  <a:gd name="T40" fmla="*/ 179388 w 238"/>
                  <a:gd name="T41" fmla="*/ 77788 h 10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38"/>
                  <a:gd name="T64" fmla="*/ 0 h 103"/>
                  <a:gd name="T65" fmla="*/ 238 w 238"/>
                  <a:gd name="T66" fmla="*/ 103 h 103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38" h="103">
                    <a:moveTo>
                      <a:pt x="113" y="49"/>
                    </a:moveTo>
                    <a:lnTo>
                      <a:pt x="109" y="103"/>
                    </a:lnTo>
                    <a:lnTo>
                      <a:pt x="118" y="102"/>
                    </a:lnTo>
                    <a:lnTo>
                      <a:pt x="144" y="93"/>
                    </a:lnTo>
                    <a:lnTo>
                      <a:pt x="177" y="102"/>
                    </a:lnTo>
                    <a:lnTo>
                      <a:pt x="195" y="93"/>
                    </a:lnTo>
                    <a:lnTo>
                      <a:pt x="211" y="93"/>
                    </a:lnTo>
                    <a:lnTo>
                      <a:pt x="228" y="77"/>
                    </a:lnTo>
                    <a:lnTo>
                      <a:pt x="237" y="68"/>
                    </a:lnTo>
                    <a:lnTo>
                      <a:pt x="237" y="44"/>
                    </a:lnTo>
                    <a:lnTo>
                      <a:pt x="237" y="19"/>
                    </a:lnTo>
                    <a:lnTo>
                      <a:pt x="237" y="1"/>
                    </a:lnTo>
                    <a:lnTo>
                      <a:pt x="238" y="0"/>
                    </a:lnTo>
                    <a:lnTo>
                      <a:pt x="212" y="0"/>
                    </a:lnTo>
                    <a:lnTo>
                      <a:pt x="152" y="17"/>
                    </a:lnTo>
                    <a:lnTo>
                      <a:pt x="93" y="33"/>
                    </a:lnTo>
                    <a:lnTo>
                      <a:pt x="59" y="58"/>
                    </a:lnTo>
                    <a:lnTo>
                      <a:pt x="24" y="74"/>
                    </a:lnTo>
                    <a:lnTo>
                      <a:pt x="0" y="84"/>
                    </a:lnTo>
                    <a:lnTo>
                      <a:pt x="4" y="87"/>
                    </a:lnTo>
                    <a:lnTo>
                      <a:pt x="113" y="49"/>
                    </a:lnTo>
                    <a:close/>
                  </a:path>
                </a:pathLst>
              </a:custGeom>
              <a:solidFill>
                <a:srgbClr val="01010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16" name="Freeform 94"/>
              <p:cNvSpPr>
                <a:spLocks/>
              </p:cNvSpPr>
              <p:nvPr/>
            </p:nvSpPr>
            <p:spPr bwMode="auto">
              <a:xfrm>
                <a:off x="3387923" y="3466600"/>
                <a:ext cx="281175" cy="78071"/>
              </a:xfrm>
              <a:custGeom>
                <a:avLst/>
                <a:gdLst>
                  <a:gd name="T0" fmla="*/ 23813 w 185"/>
                  <a:gd name="T1" fmla="*/ 66675 h 51"/>
                  <a:gd name="T2" fmla="*/ 92075 w 185"/>
                  <a:gd name="T3" fmla="*/ 55563 h 51"/>
                  <a:gd name="T4" fmla="*/ 120650 w 185"/>
                  <a:gd name="T5" fmla="*/ 69850 h 51"/>
                  <a:gd name="T6" fmla="*/ 187325 w 185"/>
                  <a:gd name="T7" fmla="*/ 80963 h 51"/>
                  <a:gd name="T8" fmla="*/ 241300 w 185"/>
                  <a:gd name="T9" fmla="*/ 80963 h 51"/>
                  <a:gd name="T10" fmla="*/ 268288 w 185"/>
                  <a:gd name="T11" fmla="*/ 69850 h 51"/>
                  <a:gd name="T12" fmla="*/ 293688 w 185"/>
                  <a:gd name="T13" fmla="*/ 55563 h 51"/>
                  <a:gd name="T14" fmla="*/ 293688 w 185"/>
                  <a:gd name="T15" fmla="*/ 55563 h 51"/>
                  <a:gd name="T16" fmla="*/ 231775 w 185"/>
                  <a:gd name="T17" fmla="*/ 39688 h 51"/>
                  <a:gd name="T18" fmla="*/ 177800 w 185"/>
                  <a:gd name="T19" fmla="*/ 25400 h 51"/>
                  <a:gd name="T20" fmla="*/ 84138 w 185"/>
                  <a:gd name="T21" fmla="*/ 0 h 51"/>
                  <a:gd name="T22" fmla="*/ 0 w 185"/>
                  <a:gd name="T23" fmla="*/ 33338 h 51"/>
                  <a:gd name="T24" fmla="*/ 23813 w 185"/>
                  <a:gd name="T25" fmla="*/ 66675 h 5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85"/>
                  <a:gd name="T40" fmla="*/ 0 h 51"/>
                  <a:gd name="T41" fmla="*/ 185 w 185"/>
                  <a:gd name="T42" fmla="*/ 51 h 5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85" h="51">
                    <a:moveTo>
                      <a:pt x="15" y="42"/>
                    </a:moveTo>
                    <a:lnTo>
                      <a:pt x="58" y="35"/>
                    </a:lnTo>
                    <a:lnTo>
                      <a:pt x="76" y="44"/>
                    </a:lnTo>
                    <a:lnTo>
                      <a:pt x="118" y="51"/>
                    </a:lnTo>
                    <a:lnTo>
                      <a:pt x="152" y="51"/>
                    </a:lnTo>
                    <a:lnTo>
                      <a:pt x="169" y="44"/>
                    </a:lnTo>
                    <a:lnTo>
                      <a:pt x="185" y="35"/>
                    </a:lnTo>
                    <a:lnTo>
                      <a:pt x="146" y="25"/>
                    </a:lnTo>
                    <a:lnTo>
                      <a:pt x="112" y="16"/>
                    </a:lnTo>
                    <a:lnTo>
                      <a:pt x="53" y="0"/>
                    </a:lnTo>
                    <a:lnTo>
                      <a:pt x="0" y="21"/>
                    </a:lnTo>
                    <a:lnTo>
                      <a:pt x="15" y="42"/>
                    </a:lnTo>
                    <a:close/>
                  </a:path>
                </a:pathLst>
              </a:custGeom>
              <a:solidFill>
                <a:srgbClr val="01010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17" name="Freeform 95"/>
              <p:cNvSpPr>
                <a:spLocks/>
              </p:cNvSpPr>
              <p:nvPr/>
            </p:nvSpPr>
            <p:spPr bwMode="auto">
              <a:xfrm>
                <a:off x="3387923" y="3466600"/>
                <a:ext cx="281175" cy="78071"/>
              </a:xfrm>
              <a:custGeom>
                <a:avLst/>
                <a:gdLst>
                  <a:gd name="T0" fmla="*/ 23813 w 185"/>
                  <a:gd name="T1" fmla="*/ 66675 h 51"/>
                  <a:gd name="T2" fmla="*/ 92075 w 185"/>
                  <a:gd name="T3" fmla="*/ 55563 h 51"/>
                  <a:gd name="T4" fmla="*/ 120650 w 185"/>
                  <a:gd name="T5" fmla="*/ 69850 h 51"/>
                  <a:gd name="T6" fmla="*/ 187325 w 185"/>
                  <a:gd name="T7" fmla="*/ 80963 h 51"/>
                  <a:gd name="T8" fmla="*/ 241300 w 185"/>
                  <a:gd name="T9" fmla="*/ 80963 h 51"/>
                  <a:gd name="T10" fmla="*/ 268288 w 185"/>
                  <a:gd name="T11" fmla="*/ 69850 h 51"/>
                  <a:gd name="T12" fmla="*/ 293688 w 185"/>
                  <a:gd name="T13" fmla="*/ 55563 h 51"/>
                  <a:gd name="T14" fmla="*/ 293688 w 185"/>
                  <a:gd name="T15" fmla="*/ 55563 h 51"/>
                  <a:gd name="T16" fmla="*/ 231775 w 185"/>
                  <a:gd name="T17" fmla="*/ 39688 h 51"/>
                  <a:gd name="T18" fmla="*/ 177800 w 185"/>
                  <a:gd name="T19" fmla="*/ 25400 h 51"/>
                  <a:gd name="T20" fmla="*/ 84138 w 185"/>
                  <a:gd name="T21" fmla="*/ 0 h 51"/>
                  <a:gd name="T22" fmla="*/ 0 w 185"/>
                  <a:gd name="T23" fmla="*/ 33338 h 5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85"/>
                  <a:gd name="T37" fmla="*/ 0 h 51"/>
                  <a:gd name="T38" fmla="*/ 185 w 185"/>
                  <a:gd name="T39" fmla="*/ 51 h 5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85" h="51">
                    <a:moveTo>
                      <a:pt x="15" y="42"/>
                    </a:moveTo>
                    <a:lnTo>
                      <a:pt x="58" y="35"/>
                    </a:lnTo>
                    <a:lnTo>
                      <a:pt x="76" y="44"/>
                    </a:lnTo>
                    <a:lnTo>
                      <a:pt x="118" y="51"/>
                    </a:lnTo>
                    <a:lnTo>
                      <a:pt x="152" y="51"/>
                    </a:lnTo>
                    <a:lnTo>
                      <a:pt x="169" y="44"/>
                    </a:lnTo>
                    <a:lnTo>
                      <a:pt x="185" y="35"/>
                    </a:lnTo>
                    <a:lnTo>
                      <a:pt x="146" y="25"/>
                    </a:lnTo>
                    <a:lnTo>
                      <a:pt x="112" y="16"/>
                    </a:lnTo>
                    <a:lnTo>
                      <a:pt x="53" y="0"/>
                    </a:lnTo>
                    <a:lnTo>
                      <a:pt x="0" y="21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18" name="Freeform 98"/>
              <p:cNvSpPr>
                <a:spLocks/>
              </p:cNvSpPr>
              <p:nvPr/>
            </p:nvSpPr>
            <p:spPr bwMode="auto">
              <a:xfrm>
                <a:off x="2466299" y="3450979"/>
                <a:ext cx="171824" cy="93691"/>
              </a:xfrm>
              <a:custGeom>
                <a:avLst/>
                <a:gdLst>
                  <a:gd name="T0" fmla="*/ 0 w 109"/>
                  <a:gd name="T1" fmla="*/ 60325 h 60"/>
                  <a:gd name="T2" fmla="*/ 46038 w 109"/>
                  <a:gd name="T3" fmla="*/ 84138 h 60"/>
                  <a:gd name="T4" fmla="*/ 87313 w 109"/>
                  <a:gd name="T5" fmla="*/ 95250 h 60"/>
                  <a:gd name="T6" fmla="*/ 166688 w 109"/>
                  <a:gd name="T7" fmla="*/ 85725 h 60"/>
                  <a:gd name="T8" fmla="*/ 173038 w 109"/>
                  <a:gd name="T9" fmla="*/ 0 h 60"/>
                  <a:gd name="T10" fmla="*/ 0 w 109"/>
                  <a:gd name="T11" fmla="*/ 60325 h 6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9"/>
                  <a:gd name="T19" fmla="*/ 0 h 60"/>
                  <a:gd name="T20" fmla="*/ 109 w 109"/>
                  <a:gd name="T21" fmla="*/ 60 h 6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9" h="60">
                    <a:moveTo>
                      <a:pt x="0" y="38"/>
                    </a:moveTo>
                    <a:lnTo>
                      <a:pt x="29" y="53"/>
                    </a:lnTo>
                    <a:lnTo>
                      <a:pt x="55" y="60"/>
                    </a:lnTo>
                    <a:lnTo>
                      <a:pt x="105" y="54"/>
                    </a:lnTo>
                    <a:lnTo>
                      <a:pt x="109" y="0"/>
                    </a:lnTo>
                    <a:lnTo>
                      <a:pt x="0" y="38"/>
                    </a:lnTo>
                    <a:close/>
                  </a:path>
                </a:pathLst>
              </a:custGeom>
              <a:solidFill>
                <a:srgbClr val="01010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19" name="Freeform 102"/>
              <p:cNvSpPr>
                <a:spLocks/>
              </p:cNvSpPr>
              <p:nvPr/>
            </p:nvSpPr>
            <p:spPr bwMode="auto">
              <a:xfrm>
                <a:off x="1919565" y="5465337"/>
                <a:ext cx="249933" cy="218612"/>
              </a:xfrm>
              <a:custGeom>
                <a:avLst/>
                <a:gdLst>
                  <a:gd name="T0" fmla="*/ 100013 w 165"/>
                  <a:gd name="T1" fmla="*/ 65087 h 138"/>
                  <a:gd name="T2" fmla="*/ 100013 w 165"/>
                  <a:gd name="T3" fmla="*/ 65087 h 138"/>
                  <a:gd name="T4" fmla="*/ 50800 w 165"/>
                  <a:gd name="T5" fmla="*/ 136525 h 138"/>
                  <a:gd name="T6" fmla="*/ 15875 w 165"/>
                  <a:gd name="T7" fmla="*/ 188912 h 138"/>
                  <a:gd name="T8" fmla="*/ 0 w 165"/>
                  <a:gd name="T9" fmla="*/ 217488 h 138"/>
                  <a:gd name="T10" fmla="*/ 0 w 165"/>
                  <a:gd name="T11" fmla="*/ 217488 h 138"/>
                  <a:gd name="T12" fmla="*/ 1588 w 165"/>
                  <a:gd name="T13" fmla="*/ 219075 h 138"/>
                  <a:gd name="T14" fmla="*/ 11113 w 165"/>
                  <a:gd name="T15" fmla="*/ 219075 h 138"/>
                  <a:gd name="T16" fmla="*/ 39688 w 165"/>
                  <a:gd name="T17" fmla="*/ 214313 h 138"/>
                  <a:gd name="T18" fmla="*/ 130175 w 165"/>
                  <a:gd name="T19" fmla="*/ 198437 h 138"/>
                  <a:gd name="T20" fmla="*/ 261938 w 165"/>
                  <a:gd name="T21" fmla="*/ 173037 h 138"/>
                  <a:gd name="T22" fmla="*/ 258763 w 165"/>
                  <a:gd name="T23" fmla="*/ 92075 h 138"/>
                  <a:gd name="T24" fmla="*/ 187325 w 165"/>
                  <a:gd name="T25" fmla="*/ 0 h 138"/>
                  <a:gd name="T26" fmla="*/ 100013 w 165"/>
                  <a:gd name="T27" fmla="*/ 65087 h 13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65"/>
                  <a:gd name="T43" fmla="*/ 0 h 138"/>
                  <a:gd name="T44" fmla="*/ 165 w 165"/>
                  <a:gd name="T45" fmla="*/ 138 h 13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65" h="138">
                    <a:moveTo>
                      <a:pt x="63" y="41"/>
                    </a:moveTo>
                    <a:lnTo>
                      <a:pt x="63" y="41"/>
                    </a:lnTo>
                    <a:lnTo>
                      <a:pt x="32" y="86"/>
                    </a:lnTo>
                    <a:lnTo>
                      <a:pt x="10" y="119"/>
                    </a:lnTo>
                    <a:lnTo>
                      <a:pt x="0" y="137"/>
                    </a:lnTo>
                    <a:lnTo>
                      <a:pt x="1" y="138"/>
                    </a:lnTo>
                    <a:lnTo>
                      <a:pt x="7" y="138"/>
                    </a:lnTo>
                    <a:lnTo>
                      <a:pt x="25" y="135"/>
                    </a:lnTo>
                    <a:lnTo>
                      <a:pt x="82" y="125"/>
                    </a:lnTo>
                    <a:lnTo>
                      <a:pt x="165" y="109"/>
                    </a:lnTo>
                    <a:lnTo>
                      <a:pt x="163" y="58"/>
                    </a:lnTo>
                    <a:lnTo>
                      <a:pt x="118" y="0"/>
                    </a:lnTo>
                    <a:lnTo>
                      <a:pt x="63" y="4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20" name="Freeform 106"/>
              <p:cNvSpPr>
                <a:spLocks/>
              </p:cNvSpPr>
              <p:nvPr/>
            </p:nvSpPr>
            <p:spPr bwMode="auto">
              <a:xfrm>
                <a:off x="6558956" y="5418487"/>
                <a:ext cx="656075" cy="608995"/>
              </a:xfrm>
              <a:custGeom>
                <a:avLst/>
                <a:gdLst>
                  <a:gd name="T0" fmla="*/ 646113 w 421"/>
                  <a:gd name="T1" fmla="*/ 149225 h 389"/>
                  <a:gd name="T2" fmla="*/ 592138 w 421"/>
                  <a:gd name="T3" fmla="*/ 125413 h 389"/>
                  <a:gd name="T4" fmla="*/ 536575 w 421"/>
                  <a:gd name="T5" fmla="*/ 95250 h 389"/>
                  <a:gd name="T6" fmla="*/ 490538 w 421"/>
                  <a:gd name="T7" fmla="*/ 74613 h 389"/>
                  <a:gd name="T8" fmla="*/ 473075 w 421"/>
                  <a:gd name="T9" fmla="*/ 69850 h 389"/>
                  <a:gd name="T10" fmla="*/ 425450 w 421"/>
                  <a:gd name="T11" fmla="*/ 60325 h 389"/>
                  <a:gd name="T12" fmla="*/ 361950 w 421"/>
                  <a:gd name="T13" fmla="*/ 25400 h 389"/>
                  <a:gd name="T14" fmla="*/ 342900 w 421"/>
                  <a:gd name="T15" fmla="*/ 22225 h 389"/>
                  <a:gd name="T16" fmla="*/ 296863 w 421"/>
                  <a:gd name="T17" fmla="*/ 4763 h 389"/>
                  <a:gd name="T18" fmla="*/ 257175 w 421"/>
                  <a:gd name="T19" fmla="*/ 3175 h 389"/>
                  <a:gd name="T20" fmla="*/ 212725 w 421"/>
                  <a:gd name="T21" fmla="*/ 25400 h 389"/>
                  <a:gd name="T22" fmla="*/ 190500 w 421"/>
                  <a:gd name="T23" fmla="*/ 60325 h 389"/>
                  <a:gd name="T24" fmla="*/ 174625 w 421"/>
                  <a:gd name="T25" fmla="*/ 85725 h 389"/>
                  <a:gd name="T26" fmla="*/ 130175 w 421"/>
                  <a:gd name="T27" fmla="*/ 100013 h 389"/>
                  <a:gd name="T28" fmla="*/ 115888 w 421"/>
                  <a:gd name="T29" fmla="*/ 115888 h 389"/>
                  <a:gd name="T30" fmla="*/ 100013 w 421"/>
                  <a:gd name="T31" fmla="*/ 134938 h 389"/>
                  <a:gd name="T32" fmla="*/ 84138 w 421"/>
                  <a:gd name="T33" fmla="*/ 174625 h 389"/>
                  <a:gd name="T34" fmla="*/ 79375 w 421"/>
                  <a:gd name="T35" fmla="*/ 209550 h 389"/>
                  <a:gd name="T36" fmla="*/ 68263 w 421"/>
                  <a:gd name="T37" fmla="*/ 265113 h 389"/>
                  <a:gd name="T38" fmla="*/ 63500 w 421"/>
                  <a:gd name="T39" fmla="*/ 273050 h 389"/>
                  <a:gd name="T40" fmla="*/ 58738 w 421"/>
                  <a:gd name="T41" fmla="*/ 282575 h 389"/>
                  <a:gd name="T42" fmla="*/ 58738 w 421"/>
                  <a:gd name="T43" fmla="*/ 346075 h 389"/>
                  <a:gd name="T44" fmla="*/ 58738 w 421"/>
                  <a:gd name="T45" fmla="*/ 357188 h 389"/>
                  <a:gd name="T46" fmla="*/ 50800 w 421"/>
                  <a:gd name="T47" fmla="*/ 366713 h 389"/>
                  <a:gd name="T48" fmla="*/ 25400 w 421"/>
                  <a:gd name="T49" fmla="*/ 401638 h 389"/>
                  <a:gd name="T50" fmla="*/ 19050 w 421"/>
                  <a:gd name="T51" fmla="*/ 412750 h 389"/>
                  <a:gd name="T52" fmla="*/ 15875 w 421"/>
                  <a:gd name="T53" fmla="*/ 427038 h 389"/>
                  <a:gd name="T54" fmla="*/ 4763 w 421"/>
                  <a:gd name="T55" fmla="*/ 452438 h 389"/>
                  <a:gd name="T56" fmla="*/ 3175 w 421"/>
                  <a:gd name="T57" fmla="*/ 503238 h 389"/>
                  <a:gd name="T58" fmla="*/ 42863 w 421"/>
                  <a:gd name="T59" fmla="*/ 550863 h 389"/>
                  <a:gd name="T60" fmla="*/ 84138 w 421"/>
                  <a:gd name="T61" fmla="*/ 554038 h 389"/>
                  <a:gd name="T62" fmla="*/ 111125 w 421"/>
                  <a:gd name="T63" fmla="*/ 558800 h 389"/>
                  <a:gd name="T64" fmla="*/ 200025 w 421"/>
                  <a:gd name="T65" fmla="*/ 579438 h 389"/>
                  <a:gd name="T66" fmla="*/ 271463 w 421"/>
                  <a:gd name="T67" fmla="*/ 592138 h 389"/>
                  <a:gd name="T68" fmla="*/ 303213 w 421"/>
                  <a:gd name="T69" fmla="*/ 600075 h 389"/>
                  <a:gd name="T70" fmla="*/ 333375 w 421"/>
                  <a:gd name="T71" fmla="*/ 604838 h 389"/>
                  <a:gd name="T72" fmla="*/ 438150 w 421"/>
                  <a:gd name="T73" fmla="*/ 611188 h 389"/>
                  <a:gd name="T74" fmla="*/ 500063 w 421"/>
                  <a:gd name="T75" fmla="*/ 614363 h 389"/>
                  <a:gd name="T76" fmla="*/ 515938 w 421"/>
                  <a:gd name="T77" fmla="*/ 614363 h 389"/>
                  <a:gd name="T78" fmla="*/ 566738 w 421"/>
                  <a:gd name="T79" fmla="*/ 615950 h 389"/>
                  <a:gd name="T80" fmla="*/ 600075 w 421"/>
                  <a:gd name="T81" fmla="*/ 617538 h 389"/>
                  <a:gd name="T82" fmla="*/ 641350 w 421"/>
                  <a:gd name="T83" fmla="*/ 617538 h 389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21"/>
                  <a:gd name="T127" fmla="*/ 0 h 389"/>
                  <a:gd name="T128" fmla="*/ 421 w 421"/>
                  <a:gd name="T129" fmla="*/ 389 h 389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21" h="389">
                    <a:moveTo>
                      <a:pt x="421" y="108"/>
                    </a:moveTo>
                    <a:lnTo>
                      <a:pt x="418" y="100"/>
                    </a:lnTo>
                    <a:lnTo>
                      <a:pt x="407" y="94"/>
                    </a:lnTo>
                    <a:lnTo>
                      <a:pt x="392" y="89"/>
                    </a:lnTo>
                    <a:lnTo>
                      <a:pt x="386" y="85"/>
                    </a:lnTo>
                    <a:lnTo>
                      <a:pt x="373" y="79"/>
                    </a:lnTo>
                    <a:lnTo>
                      <a:pt x="357" y="73"/>
                    </a:lnTo>
                    <a:lnTo>
                      <a:pt x="347" y="66"/>
                    </a:lnTo>
                    <a:lnTo>
                      <a:pt x="338" y="60"/>
                    </a:lnTo>
                    <a:lnTo>
                      <a:pt x="330" y="56"/>
                    </a:lnTo>
                    <a:lnTo>
                      <a:pt x="315" y="50"/>
                    </a:lnTo>
                    <a:lnTo>
                      <a:pt x="309" y="47"/>
                    </a:lnTo>
                    <a:lnTo>
                      <a:pt x="306" y="46"/>
                    </a:lnTo>
                    <a:lnTo>
                      <a:pt x="298" y="44"/>
                    </a:lnTo>
                    <a:lnTo>
                      <a:pt x="283" y="41"/>
                    </a:lnTo>
                    <a:lnTo>
                      <a:pt x="268" y="38"/>
                    </a:lnTo>
                    <a:lnTo>
                      <a:pt x="251" y="27"/>
                    </a:lnTo>
                    <a:lnTo>
                      <a:pt x="238" y="22"/>
                    </a:lnTo>
                    <a:lnTo>
                      <a:pt x="228" y="16"/>
                    </a:lnTo>
                    <a:lnTo>
                      <a:pt x="223" y="15"/>
                    </a:lnTo>
                    <a:lnTo>
                      <a:pt x="216" y="14"/>
                    </a:lnTo>
                    <a:lnTo>
                      <a:pt x="200" y="5"/>
                    </a:lnTo>
                    <a:lnTo>
                      <a:pt x="187" y="3"/>
                    </a:lnTo>
                    <a:lnTo>
                      <a:pt x="178" y="0"/>
                    </a:lnTo>
                    <a:lnTo>
                      <a:pt x="175" y="0"/>
                    </a:lnTo>
                    <a:lnTo>
                      <a:pt x="162" y="2"/>
                    </a:lnTo>
                    <a:lnTo>
                      <a:pt x="147" y="6"/>
                    </a:lnTo>
                    <a:lnTo>
                      <a:pt x="140" y="14"/>
                    </a:lnTo>
                    <a:lnTo>
                      <a:pt x="134" y="16"/>
                    </a:lnTo>
                    <a:lnTo>
                      <a:pt x="126" y="24"/>
                    </a:lnTo>
                    <a:lnTo>
                      <a:pt x="123" y="35"/>
                    </a:lnTo>
                    <a:lnTo>
                      <a:pt x="120" y="38"/>
                    </a:lnTo>
                    <a:lnTo>
                      <a:pt x="118" y="43"/>
                    </a:lnTo>
                    <a:lnTo>
                      <a:pt x="114" y="47"/>
                    </a:lnTo>
                    <a:lnTo>
                      <a:pt x="110" y="54"/>
                    </a:lnTo>
                    <a:lnTo>
                      <a:pt x="99" y="57"/>
                    </a:lnTo>
                    <a:lnTo>
                      <a:pt x="94" y="59"/>
                    </a:lnTo>
                    <a:lnTo>
                      <a:pt x="82" y="63"/>
                    </a:lnTo>
                    <a:lnTo>
                      <a:pt x="78" y="69"/>
                    </a:lnTo>
                    <a:lnTo>
                      <a:pt x="73" y="73"/>
                    </a:lnTo>
                    <a:lnTo>
                      <a:pt x="67" y="81"/>
                    </a:lnTo>
                    <a:lnTo>
                      <a:pt x="63" y="85"/>
                    </a:lnTo>
                    <a:lnTo>
                      <a:pt x="59" y="91"/>
                    </a:lnTo>
                    <a:lnTo>
                      <a:pt x="57" y="97"/>
                    </a:lnTo>
                    <a:lnTo>
                      <a:pt x="53" y="110"/>
                    </a:lnTo>
                    <a:lnTo>
                      <a:pt x="53" y="117"/>
                    </a:lnTo>
                    <a:lnTo>
                      <a:pt x="54" y="126"/>
                    </a:lnTo>
                    <a:lnTo>
                      <a:pt x="50" y="132"/>
                    </a:lnTo>
                    <a:lnTo>
                      <a:pt x="47" y="137"/>
                    </a:lnTo>
                    <a:lnTo>
                      <a:pt x="44" y="149"/>
                    </a:lnTo>
                    <a:lnTo>
                      <a:pt x="43" y="167"/>
                    </a:lnTo>
                    <a:lnTo>
                      <a:pt x="41" y="169"/>
                    </a:lnTo>
                    <a:lnTo>
                      <a:pt x="40" y="172"/>
                    </a:lnTo>
                    <a:lnTo>
                      <a:pt x="38" y="175"/>
                    </a:lnTo>
                    <a:lnTo>
                      <a:pt x="37" y="178"/>
                    </a:lnTo>
                    <a:lnTo>
                      <a:pt x="37" y="184"/>
                    </a:lnTo>
                    <a:lnTo>
                      <a:pt x="37" y="204"/>
                    </a:lnTo>
                    <a:lnTo>
                      <a:pt x="37" y="218"/>
                    </a:lnTo>
                    <a:lnTo>
                      <a:pt x="34" y="225"/>
                    </a:lnTo>
                    <a:lnTo>
                      <a:pt x="37" y="225"/>
                    </a:lnTo>
                    <a:lnTo>
                      <a:pt x="35" y="225"/>
                    </a:lnTo>
                    <a:lnTo>
                      <a:pt x="32" y="231"/>
                    </a:lnTo>
                    <a:lnTo>
                      <a:pt x="22" y="239"/>
                    </a:lnTo>
                    <a:lnTo>
                      <a:pt x="22" y="244"/>
                    </a:lnTo>
                    <a:lnTo>
                      <a:pt x="16" y="253"/>
                    </a:lnTo>
                    <a:lnTo>
                      <a:pt x="13" y="258"/>
                    </a:lnTo>
                    <a:lnTo>
                      <a:pt x="12" y="260"/>
                    </a:lnTo>
                    <a:lnTo>
                      <a:pt x="12" y="266"/>
                    </a:lnTo>
                    <a:lnTo>
                      <a:pt x="10" y="269"/>
                    </a:lnTo>
                    <a:lnTo>
                      <a:pt x="9" y="271"/>
                    </a:lnTo>
                    <a:lnTo>
                      <a:pt x="6" y="274"/>
                    </a:lnTo>
                    <a:lnTo>
                      <a:pt x="3" y="285"/>
                    </a:lnTo>
                    <a:lnTo>
                      <a:pt x="0" y="293"/>
                    </a:lnTo>
                    <a:lnTo>
                      <a:pt x="0" y="301"/>
                    </a:lnTo>
                    <a:lnTo>
                      <a:pt x="2" y="317"/>
                    </a:lnTo>
                    <a:lnTo>
                      <a:pt x="8" y="325"/>
                    </a:lnTo>
                    <a:lnTo>
                      <a:pt x="9" y="338"/>
                    </a:lnTo>
                    <a:lnTo>
                      <a:pt x="27" y="347"/>
                    </a:lnTo>
                    <a:lnTo>
                      <a:pt x="50" y="349"/>
                    </a:lnTo>
                    <a:lnTo>
                      <a:pt x="53" y="349"/>
                    </a:lnTo>
                    <a:lnTo>
                      <a:pt x="64" y="350"/>
                    </a:lnTo>
                    <a:lnTo>
                      <a:pt x="70" y="352"/>
                    </a:lnTo>
                    <a:lnTo>
                      <a:pt x="89" y="357"/>
                    </a:lnTo>
                    <a:lnTo>
                      <a:pt x="102" y="359"/>
                    </a:lnTo>
                    <a:lnTo>
                      <a:pt x="126" y="365"/>
                    </a:lnTo>
                    <a:lnTo>
                      <a:pt x="142" y="368"/>
                    </a:lnTo>
                    <a:lnTo>
                      <a:pt x="150" y="369"/>
                    </a:lnTo>
                    <a:lnTo>
                      <a:pt x="171" y="373"/>
                    </a:lnTo>
                    <a:lnTo>
                      <a:pt x="179" y="375"/>
                    </a:lnTo>
                    <a:lnTo>
                      <a:pt x="191" y="378"/>
                    </a:lnTo>
                    <a:lnTo>
                      <a:pt x="201" y="379"/>
                    </a:lnTo>
                    <a:lnTo>
                      <a:pt x="210" y="381"/>
                    </a:lnTo>
                    <a:lnTo>
                      <a:pt x="220" y="381"/>
                    </a:lnTo>
                    <a:lnTo>
                      <a:pt x="249" y="385"/>
                    </a:lnTo>
                    <a:lnTo>
                      <a:pt x="276" y="385"/>
                    </a:lnTo>
                    <a:lnTo>
                      <a:pt x="299" y="387"/>
                    </a:lnTo>
                    <a:lnTo>
                      <a:pt x="315" y="387"/>
                    </a:lnTo>
                    <a:lnTo>
                      <a:pt x="318" y="387"/>
                    </a:lnTo>
                    <a:lnTo>
                      <a:pt x="325" y="387"/>
                    </a:lnTo>
                    <a:lnTo>
                      <a:pt x="351" y="389"/>
                    </a:lnTo>
                    <a:lnTo>
                      <a:pt x="357" y="388"/>
                    </a:lnTo>
                    <a:lnTo>
                      <a:pt x="365" y="389"/>
                    </a:lnTo>
                    <a:lnTo>
                      <a:pt x="378" y="389"/>
                    </a:lnTo>
                    <a:lnTo>
                      <a:pt x="388" y="389"/>
                    </a:lnTo>
                    <a:lnTo>
                      <a:pt x="395" y="389"/>
                    </a:lnTo>
                    <a:lnTo>
                      <a:pt x="404" y="389"/>
                    </a:lnTo>
                    <a:lnTo>
                      <a:pt x="413" y="389"/>
                    </a:lnTo>
                    <a:lnTo>
                      <a:pt x="421" y="108"/>
                    </a:lnTo>
                    <a:close/>
                  </a:path>
                </a:pathLst>
              </a:custGeom>
              <a:solidFill>
                <a:srgbClr val="818181"/>
              </a:solidFill>
              <a:ln w="6">
                <a:solidFill>
                  <a:srgbClr val="81818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21" name="Freeform 108"/>
              <p:cNvSpPr>
                <a:spLocks/>
              </p:cNvSpPr>
              <p:nvPr/>
            </p:nvSpPr>
            <p:spPr bwMode="auto">
              <a:xfrm>
                <a:off x="7136922" y="5543408"/>
                <a:ext cx="702942" cy="530915"/>
              </a:xfrm>
              <a:custGeom>
                <a:avLst/>
                <a:gdLst>
                  <a:gd name="T0" fmla="*/ 704850 w 446"/>
                  <a:gd name="T1" fmla="*/ 4763 h 337"/>
                  <a:gd name="T2" fmla="*/ 704850 w 446"/>
                  <a:gd name="T3" fmla="*/ 4763 h 337"/>
                  <a:gd name="T4" fmla="*/ 698500 w 446"/>
                  <a:gd name="T5" fmla="*/ 14288 h 337"/>
                  <a:gd name="T6" fmla="*/ 677863 w 446"/>
                  <a:gd name="T7" fmla="*/ 41275 h 337"/>
                  <a:gd name="T8" fmla="*/ 647700 w 446"/>
                  <a:gd name="T9" fmla="*/ 87313 h 337"/>
                  <a:gd name="T10" fmla="*/ 633413 w 446"/>
                  <a:gd name="T11" fmla="*/ 115888 h 337"/>
                  <a:gd name="T12" fmla="*/ 617538 w 446"/>
                  <a:gd name="T13" fmla="*/ 147638 h 337"/>
                  <a:gd name="T14" fmla="*/ 603250 w 446"/>
                  <a:gd name="T15" fmla="*/ 182563 h 337"/>
                  <a:gd name="T16" fmla="*/ 588963 w 446"/>
                  <a:gd name="T17" fmla="*/ 222250 h 337"/>
                  <a:gd name="T18" fmla="*/ 577850 w 446"/>
                  <a:gd name="T19" fmla="*/ 263525 h 337"/>
                  <a:gd name="T20" fmla="*/ 568325 w 446"/>
                  <a:gd name="T21" fmla="*/ 307975 h 337"/>
                  <a:gd name="T22" fmla="*/ 563563 w 446"/>
                  <a:gd name="T23" fmla="*/ 355600 h 337"/>
                  <a:gd name="T24" fmla="*/ 561975 w 446"/>
                  <a:gd name="T25" fmla="*/ 406400 h 337"/>
                  <a:gd name="T26" fmla="*/ 563563 w 446"/>
                  <a:gd name="T27" fmla="*/ 460375 h 337"/>
                  <a:gd name="T28" fmla="*/ 573088 w 446"/>
                  <a:gd name="T29" fmla="*/ 515938 h 337"/>
                  <a:gd name="T30" fmla="*/ 576263 w 446"/>
                  <a:gd name="T31" fmla="*/ 534988 h 337"/>
                  <a:gd name="T32" fmla="*/ 50800 w 446"/>
                  <a:gd name="T33" fmla="*/ 492125 h 337"/>
                  <a:gd name="T34" fmla="*/ 50800 w 446"/>
                  <a:gd name="T35" fmla="*/ 492125 h 337"/>
                  <a:gd name="T36" fmla="*/ 44450 w 446"/>
                  <a:gd name="T37" fmla="*/ 482600 h 337"/>
                  <a:gd name="T38" fmla="*/ 30163 w 446"/>
                  <a:gd name="T39" fmla="*/ 457200 h 337"/>
                  <a:gd name="T40" fmla="*/ 22225 w 446"/>
                  <a:gd name="T41" fmla="*/ 436563 h 337"/>
                  <a:gd name="T42" fmla="*/ 15875 w 446"/>
                  <a:gd name="T43" fmla="*/ 414338 h 337"/>
                  <a:gd name="T44" fmla="*/ 9525 w 446"/>
                  <a:gd name="T45" fmla="*/ 385763 h 337"/>
                  <a:gd name="T46" fmla="*/ 1588 w 446"/>
                  <a:gd name="T47" fmla="*/ 355600 h 337"/>
                  <a:gd name="T48" fmla="*/ 0 w 446"/>
                  <a:gd name="T49" fmla="*/ 323850 h 337"/>
                  <a:gd name="T50" fmla="*/ 0 w 446"/>
                  <a:gd name="T51" fmla="*/ 287338 h 337"/>
                  <a:gd name="T52" fmla="*/ 1588 w 446"/>
                  <a:gd name="T53" fmla="*/ 247650 h 337"/>
                  <a:gd name="T54" fmla="*/ 11112 w 446"/>
                  <a:gd name="T55" fmla="*/ 206375 h 337"/>
                  <a:gd name="T56" fmla="*/ 22225 w 446"/>
                  <a:gd name="T57" fmla="*/ 161925 h 337"/>
                  <a:gd name="T58" fmla="*/ 41275 w 446"/>
                  <a:gd name="T59" fmla="*/ 112713 h 337"/>
                  <a:gd name="T60" fmla="*/ 66675 w 446"/>
                  <a:gd name="T61" fmla="*/ 66675 h 337"/>
                  <a:gd name="T62" fmla="*/ 100012 w 446"/>
                  <a:gd name="T63" fmla="*/ 15875 h 337"/>
                  <a:gd name="T64" fmla="*/ 708025 w 446"/>
                  <a:gd name="T65" fmla="*/ 0 h 33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446"/>
                  <a:gd name="T100" fmla="*/ 0 h 337"/>
                  <a:gd name="T101" fmla="*/ 446 w 446"/>
                  <a:gd name="T102" fmla="*/ 337 h 33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446" h="337">
                    <a:moveTo>
                      <a:pt x="444" y="3"/>
                    </a:moveTo>
                    <a:lnTo>
                      <a:pt x="444" y="3"/>
                    </a:lnTo>
                    <a:lnTo>
                      <a:pt x="440" y="9"/>
                    </a:lnTo>
                    <a:lnTo>
                      <a:pt x="427" y="26"/>
                    </a:lnTo>
                    <a:lnTo>
                      <a:pt x="408" y="55"/>
                    </a:lnTo>
                    <a:lnTo>
                      <a:pt x="399" y="73"/>
                    </a:lnTo>
                    <a:lnTo>
                      <a:pt x="389" y="93"/>
                    </a:lnTo>
                    <a:lnTo>
                      <a:pt x="380" y="115"/>
                    </a:lnTo>
                    <a:lnTo>
                      <a:pt x="371" y="140"/>
                    </a:lnTo>
                    <a:lnTo>
                      <a:pt x="364" y="166"/>
                    </a:lnTo>
                    <a:lnTo>
                      <a:pt x="358" y="194"/>
                    </a:lnTo>
                    <a:lnTo>
                      <a:pt x="355" y="224"/>
                    </a:lnTo>
                    <a:lnTo>
                      <a:pt x="354" y="256"/>
                    </a:lnTo>
                    <a:lnTo>
                      <a:pt x="355" y="290"/>
                    </a:lnTo>
                    <a:lnTo>
                      <a:pt x="361" y="325"/>
                    </a:lnTo>
                    <a:lnTo>
                      <a:pt x="363" y="337"/>
                    </a:lnTo>
                    <a:lnTo>
                      <a:pt x="32" y="310"/>
                    </a:lnTo>
                    <a:lnTo>
                      <a:pt x="28" y="304"/>
                    </a:lnTo>
                    <a:lnTo>
                      <a:pt x="19" y="288"/>
                    </a:lnTo>
                    <a:lnTo>
                      <a:pt x="14" y="275"/>
                    </a:lnTo>
                    <a:lnTo>
                      <a:pt x="10" y="261"/>
                    </a:lnTo>
                    <a:lnTo>
                      <a:pt x="6" y="243"/>
                    </a:lnTo>
                    <a:lnTo>
                      <a:pt x="1" y="224"/>
                    </a:lnTo>
                    <a:lnTo>
                      <a:pt x="0" y="204"/>
                    </a:lnTo>
                    <a:lnTo>
                      <a:pt x="0" y="181"/>
                    </a:lnTo>
                    <a:lnTo>
                      <a:pt x="1" y="156"/>
                    </a:lnTo>
                    <a:lnTo>
                      <a:pt x="7" y="130"/>
                    </a:lnTo>
                    <a:lnTo>
                      <a:pt x="14" y="102"/>
                    </a:lnTo>
                    <a:lnTo>
                      <a:pt x="26" y="71"/>
                    </a:lnTo>
                    <a:lnTo>
                      <a:pt x="42" y="42"/>
                    </a:lnTo>
                    <a:lnTo>
                      <a:pt x="63" y="10"/>
                    </a:lnTo>
                    <a:lnTo>
                      <a:pt x="446" y="0"/>
                    </a:lnTo>
                  </a:path>
                </a:pathLst>
              </a:custGeom>
              <a:no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22" name="Freeform 111"/>
              <p:cNvSpPr>
                <a:spLocks/>
              </p:cNvSpPr>
              <p:nvPr/>
            </p:nvSpPr>
            <p:spPr bwMode="auto">
              <a:xfrm>
                <a:off x="591800" y="3935054"/>
                <a:ext cx="15616" cy="31230"/>
              </a:xfrm>
              <a:custGeom>
                <a:avLst/>
                <a:gdLst>
                  <a:gd name="T0" fmla="*/ 15875 w 10"/>
                  <a:gd name="T1" fmla="*/ 4762 h 22"/>
                  <a:gd name="T2" fmla="*/ 15875 w 10"/>
                  <a:gd name="T3" fmla="*/ 4762 h 22"/>
                  <a:gd name="T4" fmla="*/ 0 w 10"/>
                  <a:gd name="T5" fmla="*/ 0 h 22"/>
                  <a:gd name="T6" fmla="*/ 0 w 10"/>
                  <a:gd name="T7" fmla="*/ 0 h 22"/>
                  <a:gd name="T8" fmla="*/ 7938 w 10"/>
                  <a:gd name="T9" fmla="*/ 34925 h 22"/>
                  <a:gd name="T10" fmla="*/ 7938 w 10"/>
                  <a:gd name="T11" fmla="*/ 34925 h 22"/>
                  <a:gd name="T12" fmla="*/ 15875 w 10"/>
                  <a:gd name="T13" fmla="*/ 4762 h 22"/>
                  <a:gd name="T14" fmla="*/ 15875 w 10"/>
                  <a:gd name="T15" fmla="*/ 4762 h 2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0"/>
                  <a:gd name="T25" fmla="*/ 0 h 22"/>
                  <a:gd name="T26" fmla="*/ 10 w 10"/>
                  <a:gd name="T27" fmla="*/ 22 h 2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0" h="22">
                    <a:moveTo>
                      <a:pt x="10" y="3"/>
                    </a:moveTo>
                    <a:lnTo>
                      <a:pt x="10" y="3"/>
                    </a:lnTo>
                    <a:lnTo>
                      <a:pt x="0" y="0"/>
                    </a:lnTo>
                    <a:lnTo>
                      <a:pt x="5" y="22"/>
                    </a:lnTo>
                    <a:lnTo>
                      <a:pt x="10" y="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23" name="Freeform 113"/>
              <p:cNvSpPr>
                <a:spLocks/>
              </p:cNvSpPr>
              <p:nvPr/>
            </p:nvSpPr>
            <p:spPr bwMode="auto">
              <a:xfrm>
                <a:off x="2388190" y="4950033"/>
                <a:ext cx="718558" cy="499684"/>
              </a:xfrm>
              <a:custGeom>
                <a:avLst/>
                <a:gdLst>
                  <a:gd name="T0" fmla="*/ 287338 w 447"/>
                  <a:gd name="T1" fmla="*/ 90487 h 310"/>
                  <a:gd name="T2" fmla="*/ 287338 w 447"/>
                  <a:gd name="T3" fmla="*/ 90487 h 310"/>
                  <a:gd name="T4" fmla="*/ 414338 w 447"/>
                  <a:gd name="T5" fmla="*/ 34925 h 310"/>
                  <a:gd name="T6" fmla="*/ 481013 w 447"/>
                  <a:gd name="T7" fmla="*/ 11112 h 310"/>
                  <a:gd name="T8" fmla="*/ 561975 w 447"/>
                  <a:gd name="T9" fmla="*/ 0 h 310"/>
                  <a:gd name="T10" fmla="*/ 595313 w 447"/>
                  <a:gd name="T11" fmla="*/ 11112 h 310"/>
                  <a:gd name="T12" fmla="*/ 608013 w 447"/>
                  <a:gd name="T13" fmla="*/ 23812 h 310"/>
                  <a:gd name="T14" fmla="*/ 608013 w 447"/>
                  <a:gd name="T15" fmla="*/ 34925 h 310"/>
                  <a:gd name="T16" fmla="*/ 561975 w 447"/>
                  <a:gd name="T17" fmla="*/ 57150 h 310"/>
                  <a:gd name="T18" fmla="*/ 434975 w 447"/>
                  <a:gd name="T19" fmla="*/ 112713 h 310"/>
                  <a:gd name="T20" fmla="*/ 379413 w 447"/>
                  <a:gd name="T21" fmla="*/ 146050 h 310"/>
                  <a:gd name="T22" fmla="*/ 492125 w 447"/>
                  <a:gd name="T23" fmla="*/ 146050 h 310"/>
                  <a:gd name="T24" fmla="*/ 595313 w 447"/>
                  <a:gd name="T25" fmla="*/ 157162 h 310"/>
                  <a:gd name="T26" fmla="*/ 687388 w 447"/>
                  <a:gd name="T27" fmla="*/ 168275 h 310"/>
                  <a:gd name="T28" fmla="*/ 698500 w 447"/>
                  <a:gd name="T29" fmla="*/ 180975 h 310"/>
                  <a:gd name="T30" fmla="*/ 709613 w 447"/>
                  <a:gd name="T31" fmla="*/ 188912 h 310"/>
                  <a:gd name="T32" fmla="*/ 709613 w 447"/>
                  <a:gd name="T33" fmla="*/ 201612 h 310"/>
                  <a:gd name="T34" fmla="*/ 687388 w 447"/>
                  <a:gd name="T35" fmla="*/ 212725 h 310"/>
                  <a:gd name="T36" fmla="*/ 641350 w 447"/>
                  <a:gd name="T37" fmla="*/ 223838 h 310"/>
                  <a:gd name="T38" fmla="*/ 595313 w 447"/>
                  <a:gd name="T39" fmla="*/ 223838 h 310"/>
                  <a:gd name="T40" fmla="*/ 527050 w 447"/>
                  <a:gd name="T41" fmla="*/ 223838 h 310"/>
                  <a:gd name="T42" fmla="*/ 400050 w 447"/>
                  <a:gd name="T43" fmla="*/ 247650 h 310"/>
                  <a:gd name="T44" fmla="*/ 550863 w 447"/>
                  <a:gd name="T45" fmla="*/ 247650 h 310"/>
                  <a:gd name="T46" fmla="*/ 628650 w 447"/>
                  <a:gd name="T47" fmla="*/ 247650 h 310"/>
                  <a:gd name="T48" fmla="*/ 652463 w 447"/>
                  <a:gd name="T49" fmla="*/ 258762 h 310"/>
                  <a:gd name="T50" fmla="*/ 676275 w 447"/>
                  <a:gd name="T51" fmla="*/ 268287 h 310"/>
                  <a:gd name="T52" fmla="*/ 676275 w 447"/>
                  <a:gd name="T53" fmla="*/ 279400 h 310"/>
                  <a:gd name="T54" fmla="*/ 663575 w 447"/>
                  <a:gd name="T55" fmla="*/ 303212 h 310"/>
                  <a:gd name="T56" fmla="*/ 652463 w 447"/>
                  <a:gd name="T57" fmla="*/ 314325 h 310"/>
                  <a:gd name="T58" fmla="*/ 628650 w 447"/>
                  <a:gd name="T59" fmla="*/ 314325 h 310"/>
                  <a:gd name="T60" fmla="*/ 355600 w 447"/>
                  <a:gd name="T61" fmla="*/ 334962 h 310"/>
                  <a:gd name="T62" fmla="*/ 333375 w 447"/>
                  <a:gd name="T63" fmla="*/ 347662 h 310"/>
                  <a:gd name="T64" fmla="*/ 434975 w 447"/>
                  <a:gd name="T65" fmla="*/ 369887 h 310"/>
                  <a:gd name="T66" fmla="*/ 504825 w 447"/>
                  <a:gd name="T67" fmla="*/ 358775 h 310"/>
                  <a:gd name="T68" fmla="*/ 539750 w 447"/>
                  <a:gd name="T69" fmla="*/ 358775 h 310"/>
                  <a:gd name="T70" fmla="*/ 550863 w 447"/>
                  <a:gd name="T71" fmla="*/ 369887 h 310"/>
                  <a:gd name="T72" fmla="*/ 561975 w 447"/>
                  <a:gd name="T73" fmla="*/ 381000 h 310"/>
                  <a:gd name="T74" fmla="*/ 550863 w 447"/>
                  <a:gd name="T75" fmla="*/ 404812 h 310"/>
                  <a:gd name="T76" fmla="*/ 527050 w 447"/>
                  <a:gd name="T77" fmla="*/ 414338 h 310"/>
                  <a:gd name="T78" fmla="*/ 492125 w 447"/>
                  <a:gd name="T79" fmla="*/ 414338 h 310"/>
                  <a:gd name="T80" fmla="*/ 309563 w 447"/>
                  <a:gd name="T81" fmla="*/ 425450 h 310"/>
                  <a:gd name="T82" fmla="*/ 228600 w 447"/>
                  <a:gd name="T83" fmla="*/ 449263 h 310"/>
                  <a:gd name="T84" fmla="*/ 150813 w 447"/>
                  <a:gd name="T85" fmla="*/ 481013 h 310"/>
                  <a:gd name="T86" fmla="*/ 80963 w 447"/>
                  <a:gd name="T87" fmla="*/ 492125 h 310"/>
                  <a:gd name="T88" fmla="*/ 0 w 447"/>
                  <a:gd name="T89" fmla="*/ 492125 h 310"/>
                  <a:gd name="T90" fmla="*/ 69850 w 447"/>
                  <a:gd name="T91" fmla="*/ 381000 h 310"/>
                  <a:gd name="T92" fmla="*/ 127000 w 447"/>
                  <a:gd name="T93" fmla="*/ 279400 h 310"/>
                  <a:gd name="T94" fmla="*/ 138113 w 447"/>
                  <a:gd name="T95" fmla="*/ 236538 h 310"/>
                  <a:gd name="T96" fmla="*/ 150813 w 447"/>
                  <a:gd name="T97" fmla="*/ 180975 h 310"/>
                  <a:gd name="T98" fmla="*/ 185738 w 447"/>
                  <a:gd name="T99" fmla="*/ 146050 h 310"/>
                  <a:gd name="T100" fmla="*/ 228600 w 447"/>
                  <a:gd name="T101" fmla="*/ 112713 h 310"/>
                  <a:gd name="T102" fmla="*/ 287338 w 447"/>
                  <a:gd name="T103" fmla="*/ 90487 h 310"/>
                  <a:gd name="T104" fmla="*/ 287338 w 447"/>
                  <a:gd name="T105" fmla="*/ 90487 h 31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447"/>
                  <a:gd name="T160" fmla="*/ 0 h 310"/>
                  <a:gd name="T161" fmla="*/ 447 w 447"/>
                  <a:gd name="T162" fmla="*/ 310 h 31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447" h="310">
                    <a:moveTo>
                      <a:pt x="181" y="57"/>
                    </a:moveTo>
                    <a:lnTo>
                      <a:pt x="181" y="57"/>
                    </a:lnTo>
                    <a:lnTo>
                      <a:pt x="261" y="22"/>
                    </a:lnTo>
                    <a:lnTo>
                      <a:pt x="303" y="7"/>
                    </a:lnTo>
                    <a:lnTo>
                      <a:pt x="354" y="0"/>
                    </a:lnTo>
                    <a:lnTo>
                      <a:pt x="375" y="7"/>
                    </a:lnTo>
                    <a:lnTo>
                      <a:pt x="383" y="15"/>
                    </a:lnTo>
                    <a:lnTo>
                      <a:pt x="383" y="22"/>
                    </a:lnTo>
                    <a:lnTo>
                      <a:pt x="354" y="36"/>
                    </a:lnTo>
                    <a:lnTo>
                      <a:pt x="274" y="71"/>
                    </a:lnTo>
                    <a:lnTo>
                      <a:pt x="239" y="92"/>
                    </a:lnTo>
                    <a:lnTo>
                      <a:pt x="310" y="92"/>
                    </a:lnTo>
                    <a:lnTo>
                      <a:pt x="375" y="99"/>
                    </a:lnTo>
                    <a:lnTo>
                      <a:pt x="433" y="106"/>
                    </a:lnTo>
                    <a:lnTo>
                      <a:pt x="440" y="114"/>
                    </a:lnTo>
                    <a:lnTo>
                      <a:pt x="447" y="119"/>
                    </a:lnTo>
                    <a:lnTo>
                      <a:pt x="447" y="127"/>
                    </a:lnTo>
                    <a:lnTo>
                      <a:pt x="433" y="134"/>
                    </a:lnTo>
                    <a:lnTo>
                      <a:pt x="404" y="141"/>
                    </a:lnTo>
                    <a:lnTo>
                      <a:pt x="375" y="141"/>
                    </a:lnTo>
                    <a:lnTo>
                      <a:pt x="332" y="141"/>
                    </a:lnTo>
                    <a:lnTo>
                      <a:pt x="252" y="156"/>
                    </a:lnTo>
                    <a:lnTo>
                      <a:pt x="347" y="156"/>
                    </a:lnTo>
                    <a:lnTo>
                      <a:pt x="396" y="156"/>
                    </a:lnTo>
                    <a:lnTo>
                      <a:pt x="411" y="163"/>
                    </a:lnTo>
                    <a:lnTo>
                      <a:pt x="426" y="169"/>
                    </a:lnTo>
                    <a:lnTo>
                      <a:pt x="426" y="176"/>
                    </a:lnTo>
                    <a:lnTo>
                      <a:pt x="418" y="191"/>
                    </a:lnTo>
                    <a:lnTo>
                      <a:pt x="411" y="198"/>
                    </a:lnTo>
                    <a:lnTo>
                      <a:pt x="396" y="198"/>
                    </a:lnTo>
                    <a:lnTo>
                      <a:pt x="224" y="211"/>
                    </a:lnTo>
                    <a:lnTo>
                      <a:pt x="210" y="219"/>
                    </a:lnTo>
                    <a:lnTo>
                      <a:pt x="274" y="233"/>
                    </a:lnTo>
                    <a:lnTo>
                      <a:pt x="318" y="226"/>
                    </a:lnTo>
                    <a:lnTo>
                      <a:pt x="340" y="226"/>
                    </a:lnTo>
                    <a:lnTo>
                      <a:pt x="347" y="233"/>
                    </a:lnTo>
                    <a:lnTo>
                      <a:pt x="354" y="240"/>
                    </a:lnTo>
                    <a:lnTo>
                      <a:pt x="347" y="255"/>
                    </a:lnTo>
                    <a:lnTo>
                      <a:pt x="332" y="261"/>
                    </a:lnTo>
                    <a:lnTo>
                      <a:pt x="310" y="261"/>
                    </a:lnTo>
                    <a:lnTo>
                      <a:pt x="195" y="268"/>
                    </a:lnTo>
                    <a:lnTo>
                      <a:pt x="144" y="283"/>
                    </a:lnTo>
                    <a:lnTo>
                      <a:pt x="95" y="303"/>
                    </a:lnTo>
                    <a:lnTo>
                      <a:pt x="51" y="310"/>
                    </a:lnTo>
                    <a:lnTo>
                      <a:pt x="0" y="310"/>
                    </a:lnTo>
                    <a:lnTo>
                      <a:pt x="44" y="240"/>
                    </a:lnTo>
                    <a:lnTo>
                      <a:pt x="80" y="176"/>
                    </a:lnTo>
                    <a:lnTo>
                      <a:pt x="87" y="149"/>
                    </a:lnTo>
                    <a:lnTo>
                      <a:pt x="95" y="114"/>
                    </a:lnTo>
                    <a:lnTo>
                      <a:pt x="117" y="92"/>
                    </a:lnTo>
                    <a:lnTo>
                      <a:pt x="144" y="71"/>
                    </a:lnTo>
                    <a:lnTo>
                      <a:pt x="181" y="57"/>
                    </a:lnTo>
                    <a:close/>
                  </a:path>
                </a:pathLst>
              </a:custGeom>
              <a:solidFill>
                <a:srgbClr val="01010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grpSp>
            <p:nvGrpSpPr>
              <p:cNvPr id="124" name="Gruppe 60"/>
              <p:cNvGrpSpPr>
                <a:grpSpLocks/>
              </p:cNvGrpSpPr>
              <p:nvPr/>
            </p:nvGrpSpPr>
            <p:grpSpPr bwMode="auto">
              <a:xfrm>
                <a:off x="1273176" y="2149475"/>
                <a:ext cx="3060700" cy="3594100"/>
                <a:chOff x="1273176" y="2149475"/>
                <a:chExt cx="3060700" cy="3594100"/>
              </a:xfrm>
            </p:grpSpPr>
            <p:sp>
              <p:nvSpPr>
                <p:cNvPr id="143" name="Freeform 90"/>
                <p:cNvSpPr>
                  <a:spLocks/>
                </p:cNvSpPr>
                <p:nvPr/>
              </p:nvSpPr>
              <p:spPr bwMode="auto">
                <a:xfrm>
                  <a:off x="2372578" y="2154924"/>
                  <a:ext cx="1359008" cy="1389743"/>
                </a:xfrm>
                <a:custGeom>
                  <a:avLst/>
                  <a:gdLst>
                    <a:gd name="T0" fmla="*/ 246063 w 857"/>
                    <a:gd name="T1" fmla="*/ 1301750 h 880"/>
                    <a:gd name="T2" fmla="*/ 433388 w 857"/>
                    <a:gd name="T3" fmla="*/ 1247775 h 880"/>
                    <a:gd name="T4" fmla="*/ 525463 w 857"/>
                    <a:gd name="T5" fmla="*/ 1185863 h 880"/>
                    <a:gd name="T6" fmla="*/ 901700 w 857"/>
                    <a:gd name="T7" fmla="*/ 1185863 h 880"/>
                    <a:gd name="T8" fmla="*/ 944563 w 857"/>
                    <a:gd name="T9" fmla="*/ 1225550 h 880"/>
                    <a:gd name="T10" fmla="*/ 1063625 w 857"/>
                    <a:gd name="T11" fmla="*/ 1331913 h 880"/>
                    <a:gd name="T12" fmla="*/ 1108075 w 857"/>
                    <a:gd name="T13" fmla="*/ 1341438 h 880"/>
                    <a:gd name="T14" fmla="*/ 1255713 w 857"/>
                    <a:gd name="T15" fmla="*/ 1379538 h 880"/>
                    <a:gd name="T16" fmla="*/ 1346200 w 857"/>
                    <a:gd name="T17" fmla="*/ 1343025 h 880"/>
                    <a:gd name="T18" fmla="*/ 1335088 w 857"/>
                    <a:gd name="T19" fmla="*/ 1290638 h 880"/>
                    <a:gd name="T20" fmla="*/ 1265238 w 857"/>
                    <a:gd name="T21" fmla="*/ 1250950 h 880"/>
                    <a:gd name="T22" fmla="*/ 1265238 w 857"/>
                    <a:gd name="T23" fmla="*/ 1185863 h 880"/>
                    <a:gd name="T24" fmla="*/ 1320800 w 857"/>
                    <a:gd name="T25" fmla="*/ 1185863 h 880"/>
                    <a:gd name="T26" fmla="*/ 1265238 w 857"/>
                    <a:gd name="T27" fmla="*/ 1160463 h 880"/>
                    <a:gd name="T28" fmla="*/ 1212850 w 857"/>
                    <a:gd name="T29" fmla="*/ 1027113 h 880"/>
                    <a:gd name="T30" fmla="*/ 1265238 w 857"/>
                    <a:gd name="T31" fmla="*/ 804862 h 880"/>
                    <a:gd name="T32" fmla="*/ 1265238 w 857"/>
                    <a:gd name="T33" fmla="*/ 592138 h 880"/>
                    <a:gd name="T34" fmla="*/ 1239838 w 857"/>
                    <a:gd name="T35" fmla="*/ 355600 h 880"/>
                    <a:gd name="T36" fmla="*/ 1212850 w 857"/>
                    <a:gd name="T37" fmla="*/ 158750 h 880"/>
                    <a:gd name="T38" fmla="*/ 1158875 w 857"/>
                    <a:gd name="T39" fmla="*/ 77788 h 880"/>
                    <a:gd name="T40" fmla="*/ 1077913 w 857"/>
                    <a:gd name="T41" fmla="*/ 38100 h 880"/>
                    <a:gd name="T42" fmla="*/ 874713 w 857"/>
                    <a:gd name="T43" fmla="*/ 26988 h 880"/>
                    <a:gd name="T44" fmla="*/ 809625 w 857"/>
                    <a:gd name="T45" fmla="*/ 12700 h 880"/>
                    <a:gd name="T46" fmla="*/ 728663 w 857"/>
                    <a:gd name="T47" fmla="*/ 12700 h 880"/>
                    <a:gd name="T48" fmla="*/ 633413 w 857"/>
                    <a:gd name="T49" fmla="*/ 12700 h 880"/>
                    <a:gd name="T50" fmla="*/ 485775 w 857"/>
                    <a:gd name="T51" fmla="*/ 117475 h 880"/>
                    <a:gd name="T52" fmla="*/ 323850 w 857"/>
                    <a:gd name="T53" fmla="*/ 276225 h 880"/>
                    <a:gd name="T54" fmla="*/ 242888 w 857"/>
                    <a:gd name="T55" fmla="*/ 447675 h 880"/>
                    <a:gd name="T56" fmla="*/ 203200 w 857"/>
                    <a:gd name="T57" fmla="*/ 579438 h 880"/>
                    <a:gd name="T58" fmla="*/ 122238 w 857"/>
                    <a:gd name="T59" fmla="*/ 750887 h 880"/>
                    <a:gd name="T60" fmla="*/ 122238 w 857"/>
                    <a:gd name="T61" fmla="*/ 882650 h 880"/>
                    <a:gd name="T62" fmla="*/ 161925 w 857"/>
                    <a:gd name="T63" fmla="*/ 1039813 h 880"/>
                    <a:gd name="T64" fmla="*/ 176213 w 857"/>
                    <a:gd name="T65" fmla="*/ 1133475 h 880"/>
                    <a:gd name="T66" fmla="*/ 122238 w 857"/>
                    <a:gd name="T67" fmla="*/ 1200150 h 880"/>
                    <a:gd name="T68" fmla="*/ 95250 w 857"/>
                    <a:gd name="T69" fmla="*/ 1250950 h 880"/>
                    <a:gd name="T70" fmla="*/ 41275 w 857"/>
                    <a:gd name="T71" fmla="*/ 1250950 h 880"/>
                    <a:gd name="T72" fmla="*/ 41275 w 857"/>
                    <a:gd name="T73" fmla="*/ 1290638 h 880"/>
                    <a:gd name="T74" fmla="*/ 95250 w 857"/>
                    <a:gd name="T75" fmla="*/ 1382713 h 880"/>
                    <a:gd name="T76" fmla="*/ 136525 w 857"/>
                    <a:gd name="T77" fmla="*/ 1366838 h 880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857"/>
                    <a:gd name="T118" fmla="*/ 0 h 880"/>
                    <a:gd name="T119" fmla="*/ 857 w 857"/>
                    <a:gd name="T120" fmla="*/ 880 h 880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857" h="880">
                      <a:moveTo>
                        <a:pt x="120" y="845"/>
                      </a:moveTo>
                      <a:lnTo>
                        <a:pt x="155" y="820"/>
                      </a:lnTo>
                      <a:lnTo>
                        <a:pt x="214" y="804"/>
                      </a:lnTo>
                      <a:lnTo>
                        <a:pt x="273" y="786"/>
                      </a:lnTo>
                      <a:lnTo>
                        <a:pt x="299" y="786"/>
                      </a:lnTo>
                      <a:lnTo>
                        <a:pt x="331" y="747"/>
                      </a:lnTo>
                      <a:lnTo>
                        <a:pt x="568" y="731"/>
                      </a:lnTo>
                      <a:lnTo>
                        <a:pt x="568" y="747"/>
                      </a:lnTo>
                      <a:lnTo>
                        <a:pt x="577" y="763"/>
                      </a:lnTo>
                      <a:lnTo>
                        <a:pt x="595" y="772"/>
                      </a:lnTo>
                      <a:lnTo>
                        <a:pt x="612" y="781"/>
                      </a:lnTo>
                      <a:lnTo>
                        <a:pt x="670" y="839"/>
                      </a:lnTo>
                      <a:lnTo>
                        <a:pt x="672" y="840"/>
                      </a:lnTo>
                      <a:lnTo>
                        <a:pt x="698" y="845"/>
                      </a:lnTo>
                      <a:lnTo>
                        <a:pt x="758" y="861"/>
                      </a:lnTo>
                      <a:lnTo>
                        <a:pt x="791" y="869"/>
                      </a:lnTo>
                      <a:lnTo>
                        <a:pt x="832" y="880"/>
                      </a:lnTo>
                      <a:lnTo>
                        <a:pt x="848" y="846"/>
                      </a:lnTo>
                      <a:lnTo>
                        <a:pt x="857" y="805"/>
                      </a:lnTo>
                      <a:lnTo>
                        <a:pt x="841" y="813"/>
                      </a:lnTo>
                      <a:lnTo>
                        <a:pt x="823" y="805"/>
                      </a:lnTo>
                      <a:lnTo>
                        <a:pt x="797" y="788"/>
                      </a:lnTo>
                      <a:lnTo>
                        <a:pt x="781" y="747"/>
                      </a:lnTo>
                      <a:lnTo>
                        <a:pt x="797" y="747"/>
                      </a:lnTo>
                      <a:lnTo>
                        <a:pt x="815" y="747"/>
                      </a:lnTo>
                      <a:lnTo>
                        <a:pt x="832" y="747"/>
                      </a:lnTo>
                      <a:lnTo>
                        <a:pt x="815" y="738"/>
                      </a:lnTo>
                      <a:lnTo>
                        <a:pt x="797" y="731"/>
                      </a:lnTo>
                      <a:lnTo>
                        <a:pt x="772" y="689"/>
                      </a:lnTo>
                      <a:lnTo>
                        <a:pt x="764" y="647"/>
                      </a:lnTo>
                      <a:lnTo>
                        <a:pt x="764" y="615"/>
                      </a:lnTo>
                      <a:lnTo>
                        <a:pt x="797" y="507"/>
                      </a:lnTo>
                      <a:lnTo>
                        <a:pt x="806" y="448"/>
                      </a:lnTo>
                      <a:lnTo>
                        <a:pt x="797" y="373"/>
                      </a:lnTo>
                      <a:lnTo>
                        <a:pt x="781" y="258"/>
                      </a:lnTo>
                      <a:lnTo>
                        <a:pt x="781" y="224"/>
                      </a:lnTo>
                      <a:lnTo>
                        <a:pt x="781" y="166"/>
                      </a:lnTo>
                      <a:lnTo>
                        <a:pt x="764" y="100"/>
                      </a:lnTo>
                      <a:lnTo>
                        <a:pt x="746" y="74"/>
                      </a:lnTo>
                      <a:lnTo>
                        <a:pt x="730" y="49"/>
                      </a:lnTo>
                      <a:lnTo>
                        <a:pt x="704" y="33"/>
                      </a:lnTo>
                      <a:lnTo>
                        <a:pt x="679" y="24"/>
                      </a:lnTo>
                      <a:lnTo>
                        <a:pt x="619" y="17"/>
                      </a:lnTo>
                      <a:lnTo>
                        <a:pt x="551" y="17"/>
                      </a:lnTo>
                      <a:lnTo>
                        <a:pt x="535" y="8"/>
                      </a:lnTo>
                      <a:lnTo>
                        <a:pt x="510" y="8"/>
                      </a:lnTo>
                      <a:lnTo>
                        <a:pt x="475" y="17"/>
                      </a:lnTo>
                      <a:lnTo>
                        <a:pt x="459" y="8"/>
                      </a:lnTo>
                      <a:lnTo>
                        <a:pt x="442" y="0"/>
                      </a:lnTo>
                      <a:lnTo>
                        <a:pt x="399" y="8"/>
                      </a:lnTo>
                      <a:lnTo>
                        <a:pt x="357" y="42"/>
                      </a:lnTo>
                      <a:lnTo>
                        <a:pt x="306" y="74"/>
                      </a:lnTo>
                      <a:lnTo>
                        <a:pt x="255" y="125"/>
                      </a:lnTo>
                      <a:lnTo>
                        <a:pt x="204" y="174"/>
                      </a:lnTo>
                      <a:lnTo>
                        <a:pt x="171" y="233"/>
                      </a:lnTo>
                      <a:lnTo>
                        <a:pt x="153" y="282"/>
                      </a:lnTo>
                      <a:lnTo>
                        <a:pt x="136" y="323"/>
                      </a:lnTo>
                      <a:lnTo>
                        <a:pt x="128" y="365"/>
                      </a:lnTo>
                      <a:lnTo>
                        <a:pt x="95" y="440"/>
                      </a:lnTo>
                      <a:lnTo>
                        <a:pt x="77" y="473"/>
                      </a:lnTo>
                      <a:lnTo>
                        <a:pt x="77" y="514"/>
                      </a:lnTo>
                      <a:lnTo>
                        <a:pt x="77" y="556"/>
                      </a:lnTo>
                      <a:lnTo>
                        <a:pt x="95" y="606"/>
                      </a:lnTo>
                      <a:lnTo>
                        <a:pt x="102" y="655"/>
                      </a:lnTo>
                      <a:lnTo>
                        <a:pt x="111" y="689"/>
                      </a:lnTo>
                      <a:lnTo>
                        <a:pt x="111" y="714"/>
                      </a:lnTo>
                      <a:lnTo>
                        <a:pt x="102" y="738"/>
                      </a:lnTo>
                      <a:lnTo>
                        <a:pt x="77" y="756"/>
                      </a:lnTo>
                      <a:lnTo>
                        <a:pt x="60" y="781"/>
                      </a:lnTo>
                      <a:lnTo>
                        <a:pt x="60" y="788"/>
                      </a:lnTo>
                      <a:lnTo>
                        <a:pt x="51" y="788"/>
                      </a:lnTo>
                      <a:lnTo>
                        <a:pt x="26" y="788"/>
                      </a:lnTo>
                      <a:lnTo>
                        <a:pt x="0" y="781"/>
                      </a:lnTo>
                      <a:lnTo>
                        <a:pt x="26" y="813"/>
                      </a:lnTo>
                      <a:lnTo>
                        <a:pt x="35" y="846"/>
                      </a:lnTo>
                      <a:lnTo>
                        <a:pt x="60" y="871"/>
                      </a:lnTo>
                      <a:lnTo>
                        <a:pt x="61" y="871"/>
                      </a:lnTo>
                      <a:lnTo>
                        <a:pt x="86" y="861"/>
                      </a:lnTo>
                      <a:lnTo>
                        <a:pt x="120" y="845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44" name="Freeform 92"/>
                <p:cNvSpPr>
                  <a:spLocks noEditPoints="1"/>
                </p:cNvSpPr>
                <p:nvPr/>
              </p:nvSpPr>
              <p:spPr bwMode="auto">
                <a:xfrm>
                  <a:off x="2325710" y="3372906"/>
                  <a:ext cx="2015093" cy="2123660"/>
                </a:xfrm>
                <a:custGeom>
                  <a:avLst/>
                  <a:gdLst>
                    <a:gd name="T0" fmla="*/ 1309687 w 1272"/>
                    <a:gd name="T1" fmla="*/ 173037 h 1334"/>
                    <a:gd name="T2" fmla="*/ 1189037 w 1272"/>
                    <a:gd name="T3" fmla="*/ 161925 h 1334"/>
                    <a:gd name="T4" fmla="*/ 1133475 w 1272"/>
                    <a:gd name="T5" fmla="*/ 122238 h 1334"/>
                    <a:gd name="T6" fmla="*/ 909638 w 1272"/>
                    <a:gd name="T7" fmla="*/ 52388 h 1334"/>
                    <a:gd name="T8" fmla="*/ 517525 w 1272"/>
                    <a:gd name="T9" fmla="*/ 0 h 1334"/>
                    <a:gd name="T10" fmla="*/ 515937 w 1272"/>
                    <a:gd name="T11" fmla="*/ 30163 h 1334"/>
                    <a:gd name="T12" fmla="*/ 515937 w 1272"/>
                    <a:gd name="T13" fmla="*/ 107950 h 1334"/>
                    <a:gd name="T14" fmla="*/ 474663 w 1272"/>
                    <a:gd name="T15" fmla="*/ 147637 h 1334"/>
                    <a:gd name="T16" fmla="*/ 420688 w 1272"/>
                    <a:gd name="T17" fmla="*/ 161925 h 1334"/>
                    <a:gd name="T18" fmla="*/ 327025 w 1272"/>
                    <a:gd name="T19" fmla="*/ 161925 h 1334"/>
                    <a:gd name="T20" fmla="*/ 304800 w 1272"/>
                    <a:gd name="T21" fmla="*/ 238125 h 1334"/>
                    <a:gd name="T22" fmla="*/ 223838 w 1272"/>
                    <a:gd name="T23" fmla="*/ 788987 h 1334"/>
                    <a:gd name="T24" fmla="*/ 130175 w 1272"/>
                    <a:gd name="T25" fmla="*/ 1155700 h 1334"/>
                    <a:gd name="T26" fmla="*/ 0 w 1272"/>
                    <a:gd name="T27" fmla="*/ 1352550 h 1334"/>
                    <a:gd name="T28" fmla="*/ 58738 w 1272"/>
                    <a:gd name="T29" fmla="*/ 1473200 h 1334"/>
                    <a:gd name="T30" fmla="*/ 125413 w 1272"/>
                    <a:gd name="T31" fmla="*/ 1658938 h 1334"/>
                    <a:gd name="T32" fmla="*/ 206375 w 1272"/>
                    <a:gd name="T33" fmla="*/ 1868488 h 1334"/>
                    <a:gd name="T34" fmla="*/ 273050 w 1272"/>
                    <a:gd name="T35" fmla="*/ 2051050 h 1334"/>
                    <a:gd name="T36" fmla="*/ 284162 w 1272"/>
                    <a:gd name="T37" fmla="*/ 2117725 h 1334"/>
                    <a:gd name="T38" fmla="*/ 1893888 w 1272"/>
                    <a:gd name="T39" fmla="*/ 1079500 h 1334"/>
                    <a:gd name="T40" fmla="*/ 1746250 w 1272"/>
                    <a:gd name="T41" fmla="*/ 631825 h 1334"/>
                    <a:gd name="T42" fmla="*/ 1719263 w 1272"/>
                    <a:gd name="T43" fmla="*/ 527050 h 1334"/>
                    <a:gd name="T44" fmla="*/ 1704975 w 1272"/>
                    <a:gd name="T45" fmla="*/ 474663 h 1334"/>
                    <a:gd name="T46" fmla="*/ 1665288 w 1272"/>
                    <a:gd name="T47" fmla="*/ 303212 h 1334"/>
                    <a:gd name="T48" fmla="*/ 1609725 w 1272"/>
                    <a:gd name="T49" fmla="*/ 238125 h 1334"/>
                    <a:gd name="T50" fmla="*/ 1476375 w 1272"/>
                    <a:gd name="T51" fmla="*/ 171450 h 1334"/>
                    <a:gd name="T52" fmla="*/ 1362075 w 1272"/>
                    <a:gd name="T53" fmla="*/ 147637 h 1334"/>
                    <a:gd name="T54" fmla="*/ 1336675 w 1272"/>
                    <a:gd name="T55" fmla="*/ 161925 h 1334"/>
                    <a:gd name="T56" fmla="*/ 1595437 w 1272"/>
                    <a:gd name="T57" fmla="*/ 1550987 h 1334"/>
                    <a:gd name="T58" fmla="*/ 1624012 w 1272"/>
                    <a:gd name="T59" fmla="*/ 1579562 h 1334"/>
                    <a:gd name="T60" fmla="*/ 1609725 w 1272"/>
                    <a:gd name="T61" fmla="*/ 1619250 h 1334"/>
                    <a:gd name="T62" fmla="*/ 1584325 w 1272"/>
                    <a:gd name="T63" fmla="*/ 1684338 h 1334"/>
                    <a:gd name="T64" fmla="*/ 1570037 w 1272"/>
                    <a:gd name="T65" fmla="*/ 1550987 h 1334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272"/>
                    <a:gd name="T100" fmla="*/ 0 h 1334"/>
                    <a:gd name="T101" fmla="*/ 1272 w 1272"/>
                    <a:gd name="T102" fmla="*/ 1334 h 1334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272" h="1334">
                      <a:moveTo>
                        <a:pt x="842" y="102"/>
                      </a:moveTo>
                      <a:lnTo>
                        <a:pt x="825" y="109"/>
                      </a:lnTo>
                      <a:lnTo>
                        <a:pt x="791" y="109"/>
                      </a:lnTo>
                      <a:lnTo>
                        <a:pt x="749" y="102"/>
                      </a:lnTo>
                      <a:lnTo>
                        <a:pt x="731" y="93"/>
                      </a:lnTo>
                      <a:lnTo>
                        <a:pt x="714" y="77"/>
                      </a:lnTo>
                      <a:lnTo>
                        <a:pt x="699" y="54"/>
                      </a:lnTo>
                      <a:lnTo>
                        <a:pt x="573" y="33"/>
                      </a:lnTo>
                      <a:lnTo>
                        <a:pt x="334" y="0"/>
                      </a:lnTo>
                      <a:lnTo>
                        <a:pt x="326" y="0"/>
                      </a:lnTo>
                      <a:lnTo>
                        <a:pt x="325" y="1"/>
                      </a:lnTo>
                      <a:lnTo>
                        <a:pt x="325" y="19"/>
                      </a:lnTo>
                      <a:lnTo>
                        <a:pt x="325" y="44"/>
                      </a:lnTo>
                      <a:lnTo>
                        <a:pt x="325" y="68"/>
                      </a:lnTo>
                      <a:lnTo>
                        <a:pt x="316" y="77"/>
                      </a:lnTo>
                      <a:lnTo>
                        <a:pt x="299" y="93"/>
                      </a:lnTo>
                      <a:lnTo>
                        <a:pt x="283" y="93"/>
                      </a:lnTo>
                      <a:lnTo>
                        <a:pt x="265" y="102"/>
                      </a:lnTo>
                      <a:lnTo>
                        <a:pt x="232" y="93"/>
                      </a:lnTo>
                      <a:lnTo>
                        <a:pt x="206" y="102"/>
                      </a:lnTo>
                      <a:lnTo>
                        <a:pt x="197" y="103"/>
                      </a:lnTo>
                      <a:lnTo>
                        <a:pt x="192" y="150"/>
                      </a:lnTo>
                      <a:lnTo>
                        <a:pt x="159" y="373"/>
                      </a:lnTo>
                      <a:lnTo>
                        <a:pt x="141" y="497"/>
                      </a:lnTo>
                      <a:lnTo>
                        <a:pt x="117" y="621"/>
                      </a:lnTo>
                      <a:lnTo>
                        <a:pt x="82" y="728"/>
                      </a:lnTo>
                      <a:lnTo>
                        <a:pt x="48" y="811"/>
                      </a:lnTo>
                      <a:lnTo>
                        <a:pt x="0" y="852"/>
                      </a:lnTo>
                      <a:lnTo>
                        <a:pt x="3" y="862"/>
                      </a:lnTo>
                      <a:lnTo>
                        <a:pt x="37" y="928"/>
                      </a:lnTo>
                      <a:lnTo>
                        <a:pt x="61" y="995"/>
                      </a:lnTo>
                      <a:lnTo>
                        <a:pt x="79" y="1045"/>
                      </a:lnTo>
                      <a:lnTo>
                        <a:pt x="96" y="1103"/>
                      </a:lnTo>
                      <a:lnTo>
                        <a:pt x="130" y="1177"/>
                      </a:lnTo>
                      <a:lnTo>
                        <a:pt x="163" y="1260"/>
                      </a:lnTo>
                      <a:lnTo>
                        <a:pt x="172" y="1292"/>
                      </a:lnTo>
                      <a:lnTo>
                        <a:pt x="181" y="1317"/>
                      </a:lnTo>
                      <a:lnTo>
                        <a:pt x="179" y="1334"/>
                      </a:lnTo>
                      <a:lnTo>
                        <a:pt x="1272" y="1023"/>
                      </a:lnTo>
                      <a:lnTo>
                        <a:pt x="1193" y="680"/>
                      </a:lnTo>
                      <a:lnTo>
                        <a:pt x="1100" y="422"/>
                      </a:lnTo>
                      <a:lnTo>
                        <a:pt x="1100" y="398"/>
                      </a:lnTo>
                      <a:lnTo>
                        <a:pt x="1100" y="364"/>
                      </a:lnTo>
                      <a:lnTo>
                        <a:pt x="1083" y="332"/>
                      </a:lnTo>
                      <a:lnTo>
                        <a:pt x="1074" y="315"/>
                      </a:lnTo>
                      <a:lnTo>
                        <a:pt x="1074" y="299"/>
                      </a:lnTo>
                      <a:lnTo>
                        <a:pt x="1065" y="232"/>
                      </a:lnTo>
                      <a:lnTo>
                        <a:pt x="1049" y="191"/>
                      </a:lnTo>
                      <a:lnTo>
                        <a:pt x="1032" y="166"/>
                      </a:lnTo>
                      <a:lnTo>
                        <a:pt x="1014" y="150"/>
                      </a:lnTo>
                      <a:lnTo>
                        <a:pt x="972" y="125"/>
                      </a:lnTo>
                      <a:lnTo>
                        <a:pt x="930" y="108"/>
                      </a:lnTo>
                      <a:lnTo>
                        <a:pt x="921" y="108"/>
                      </a:lnTo>
                      <a:lnTo>
                        <a:pt x="858" y="93"/>
                      </a:lnTo>
                      <a:lnTo>
                        <a:pt x="842" y="102"/>
                      </a:lnTo>
                      <a:close/>
                      <a:moveTo>
                        <a:pt x="989" y="977"/>
                      </a:moveTo>
                      <a:lnTo>
                        <a:pt x="1005" y="977"/>
                      </a:lnTo>
                      <a:lnTo>
                        <a:pt x="1014" y="986"/>
                      </a:lnTo>
                      <a:lnTo>
                        <a:pt x="1023" y="995"/>
                      </a:lnTo>
                      <a:lnTo>
                        <a:pt x="1023" y="1020"/>
                      </a:lnTo>
                      <a:lnTo>
                        <a:pt x="1014" y="1020"/>
                      </a:lnTo>
                      <a:lnTo>
                        <a:pt x="998" y="1036"/>
                      </a:lnTo>
                      <a:lnTo>
                        <a:pt x="998" y="1061"/>
                      </a:lnTo>
                      <a:lnTo>
                        <a:pt x="981" y="1069"/>
                      </a:lnTo>
                      <a:lnTo>
                        <a:pt x="989" y="977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45" name="Freeform 96"/>
                <p:cNvSpPr>
                  <a:spLocks/>
                </p:cNvSpPr>
                <p:nvPr/>
              </p:nvSpPr>
              <p:spPr bwMode="auto">
                <a:xfrm>
                  <a:off x="1279119" y="3732049"/>
                  <a:ext cx="1046591" cy="2014359"/>
                </a:xfrm>
                <a:custGeom>
                  <a:avLst/>
                  <a:gdLst>
                    <a:gd name="T0" fmla="*/ 903288 w 656"/>
                    <a:gd name="T1" fmla="*/ 1847850 h 1266"/>
                    <a:gd name="T2" fmla="*/ 782637 w 656"/>
                    <a:gd name="T3" fmla="*/ 1731963 h 1266"/>
                    <a:gd name="T4" fmla="*/ 701675 w 656"/>
                    <a:gd name="T5" fmla="*/ 1639888 h 1266"/>
                    <a:gd name="T6" fmla="*/ 661987 w 656"/>
                    <a:gd name="T7" fmla="*/ 1571625 h 1266"/>
                    <a:gd name="T8" fmla="*/ 635000 w 656"/>
                    <a:gd name="T9" fmla="*/ 1508125 h 1266"/>
                    <a:gd name="T10" fmla="*/ 620712 w 656"/>
                    <a:gd name="T11" fmla="*/ 1493837 h 1266"/>
                    <a:gd name="T12" fmla="*/ 606425 w 656"/>
                    <a:gd name="T13" fmla="*/ 1482725 h 1266"/>
                    <a:gd name="T14" fmla="*/ 581025 w 656"/>
                    <a:gd name="T15" fmla="*/ 1468437 h 1266"/>
                    <a:gd name="T16" fmla="*/ 581025 w 656"/>
                    <a:gd name="T17" fmla="*/ 1439862 h 1266"/>
                    <a:gd name="T18" fmla="*/ 592137 w 656"/>
                    <a:gd name="T19" fmla="*/ 1414462 h 1266"/>
                    <a:gd name="T20" fmla="*/ 620712 w 656"/>
                    <a:gd name="T21" fmla="*/ 1414462 h 1266"/>
                    <a:gd name="T22" fmla="*/ 701675 w 656"/>
                    <a:gd name="T23" fmla="*/ 1376362 h 1266"/>
                    <a:gd name="T24" fmla="*/ 796925 w 656"/>
                    <a:gd name="T25" fmla="*/ 1311275 h 1266"/>
                    <a:gd name="T26" fmla="*/ 835025 w 656"/>
                    <a:gd name="T27" fmla="*/ 1271587 h 1266"/>
                    <a:gd name="T28" fmla="*/ 874713 w 656"/>
                    <a:gd name="T29" fmla="*/ 1204912 h 1266"/>
                    <a:gd name="T30" fmla="*/ 944563 w 656"/>
                    <a:gd name="T31" fmla="*/ 1100137 h 1266"/>
                    <a:gd name="T32" fmla="*/ 1025525 w 656"/>
                    <a:gd name="T33" fmla="*/ 1008062 h 1266"/>
                    <a:gd name="T34" fmla="*/ 1041400 w 656"/>
                    <a:gd name="T35" fmla="*/ 993775 h 1266"/>
                    <a:gd name="T36" fmla="*/ 965200 w 656"/>
                    <a:gd name="T37" fmla="*/ 682625 h 1266"/>
                    <a:gd name="T38" fmla="*/ 884238 w 656"/>
                    <a:gd name="T39" fmla="*/ 339725 h 1266"/>
                    <a:gd name="T40" fmla="*/ 803275 w 656"/>
                    <a:gd name="T41" fmla="*/ 207963 h 1266"/>
                    <a:gd name="T42" fmla="*/ 776287 w 656"/>
                    <a:gd name="T43" fmla="*/ 168275 h 1266"/>
                    <a:gd name="T44" fmla="*/ 762000 w 656"/>
                    <a:gd name="T45" fmla="*/ 101600 h 1266"/>
                    <a:gd name="T46" fmla="*/ 762000 w 656"/>
                    <a:gd name="T47" fmla="*/ 36512 h 1266"/>
                    <a:gd name="T48" fmla="*/ 773112 w 656"/>
                    <a:gd name="T49" fmla="*/ 0 h 1266"/>
                    <a:gd name="T50" fmla="*/ 754062 w 656"/>
                    <a:gd name="T51" fmla="*/ 36512 h 1266"/>
                    <a:gd name="T52" fmla="*/ 701675 w 656"/>
                    <a:gd name="T53" fmla="*/ 128587 h 1266"/>
                    <a:gd name="T54" fmla="*/ 554037 w 656"/>
                    <a:gd name="T55" fmla="*/ 536575 h 1266"/>
                    <a:gd name="T56" fmla="*/ 28575 w 656"/>
                    <a:gd name="T57" fmla="*/ 1376362 h 1266"/>
                    <a:gd name="T58" fmla="*/ 0 w 656"/>
                    <a:gd name="T59" fmla="*/ 1414462 h 1266"/>
                    <a:gd name="T60" fmla="*/ 0 w 656"/>
                    <a:gd name="T61" fmla="*/ 1439862 h 1266"/>
                    <a:gd name="T62" fmla="*/ 0 w 656"/>
                    <a:gd name="T63" fmla="*/ 1493837 h 1266"/>
                    <a:gd name="T64" fmla="*/ 28575 w 656"/>
                    <a:gd name="T65" fmla="*/ 1546225 h 1266"/>
                    <a:gd name="T66" fmla="*/ 42862 w 656"/>
                    <a:gd name="T67" fmla="*/ 1571625 h 1266"/>
                    <a:gd name="T68" fmla="*/ 136525 w 656"/>
                    <a:gd name="T69" fmla="*/ 1731963 h 1266"/>
                    <a:gd name="T70" fmla="*/ 176212 w 656"/>
                    <a:gd name="T71" fmla="*/ 1782763 h 1266"/>
                    <a:gd name="T72" fmla="*/ 230188 w 656"/>
                    <a:gd name="T73" fmla="*/ 1836738 h 1266"/>
                    <a:gd name="T74" fmla="*/ 323850 w 656"/>
                    <a:gd name="T75" fmla="*/ 1914525 h 1266"/>
                    <a:gd name="T76" fmla="*/ 447675 w 656"/>
                    <a:gd name="T77" fmla="*/ 2009775 h 1266"/>
                    <a:gd name="T78" fmla="*/ 920750 w 656"/>
                    <a:gd name="T79" fmla="*/ 1874838 h 1266"/>
                    <a:gd name="T80" fmla="*/ 903288 w 656"/>
                    <a:gd name="T81" fmla="*/ 1847850 h 126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656"/>
                    <a:gd name="T124" fmla="*/ 0 h 1266"/>
                    <a:gd name="T125" fmla="*/ 656 w 656"/>
                    <a:gd name="T126" fmla="*/ 1266 h 1266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656" h="1266">
                      <a:moveTo>
                        <a:pt x="569" y="1164"/>
                      </a:moveTo>
                      <a:lnTo>
                        <a:pt x="493" y="1091"/>
                      </a:lnTo>
                      <a:lnTo>
                        <a:pt x="442" y="1033"/>
                      </a:lnTo>
                      <a:lnTo>
                        <a:pt x="417" y="990"/>
                      </a:lnTo>
                      <a:lnTo>
                        <a:pt x="400" y="950"/>
                      </a:lnTo>
                      <a:lnTo>
                        <a:pt x="391" y="941"/>
                      </a:lnTo>
                      <a:lnTo>
                        <a:pt x="382" y="934"/>
                      </a:lnTo>
                      <a:lnTo>
                        <a:pt x="366" y="925"/>
                      </a:lnTo>
                      <a:lnTo>
                        <a:pt x="366" y="907"/>
                      </a:lnTo>
                      <a:lnTo>
                        <a:pt x="373" y="891"/>
                      </a:lnTo>
                      <a:lnTo>
                        <a:pt x="391" y="891"/>
                      </a:lnTo>
                      <a:lnTo>
                        <a:pt x="442" y="867"/>
                      </a:lnTo>
                      <a:lnTo>
                        <a:pt x="502" y="826"/>
                      </a:lnTo>
                      <a:lnTo>
                        <a:pt x="526" y="801"/>
                      </a:lnTo>
                      <a:lnTo>
                        <a:pt x="551" y="759"/>
                      </a:lnTo>
                      <a:lnTo>
                        <a:pt x="595" y="693"/>
                      </a:lnTo>
                      <a:lnTo>
                        <a:pt x="646" y="635"/>
                      </a:lnTo>
                      <a:lnTo>
                        <a:pt x="656" y="626"/>
                      </a:lnTo>
                      <a:lnTo>
                        <a:pt x="608" y="430"/>
                      </a:lnTo>
                      <a:lnTo>
                        <a:pt x="557" y="214"/>
                      </a:lnTo>
                      <a:lnTo>
                        <a:pt x="506" y="131"/>
                      </a:lnTo>
                      <a:lnTo>
                        <a:pt x="489" y="106"/>
                      </a:lnTo>
                      <a:lnTo>
                        <a:pt x="480" y="64"/>
                      </a:lnTo>
                      <a:lnTo>
                        <a:pt x="480" y="23"/>
                      </a:lnTo>
                      <a:lnTo>
                        <a:pt x="487" y="0"/>
                      </a:lnTo>
                      <a:lnTo>
                        <a:pt x="475" y="23"/>
                      </a:lnTo>
                      <a:lnTo>
                        <a:pt x="442" y="81"/>
                      </a:lnTo>
                      <a:lnTo>
                        <a:pt x="349" y="338"/>
                      </a:lnTo>
                      <a:lnTo>
                        <a:pt x="18" y="867"/>
                      </a:lnTo>
                      <a:lnTo>
                        <a:pt x="0" y="891"/>
                      </a:lnTo>
                      <a:lnTo>
                        <a:pt x="0" y="907"/>
                      </a:lnTo>
                      <a:lnTo>
                        <a:pt x="0" y="941"/>
                      </a:lnTo>
                      <a:lnTo>
                        <a:pt x="18" y="974"/>
                      </a:lnTo>
                      <a:lnTo>
                        <a:pt x="27" y="990"/>
                      </a:lnTo>
                      <a:lnTo>
                        <a:pt x="86" y="1091"/>
                      </a:lnTo>
                      <a:lnTo>
                        <a:pt x="111" y="1123"/>
                      </a:lnTo>
                      <a:lnTo>
                        <a:pt x="145" y="1157"/>
                      </a:lnTo>
                      <a:lnTo>
                        <a:pt x="204" y="1206"/>
                      </a:lnTo>
                      <a:lnTo>
                        <a:pt x="282" y="1266"/>
                      </a:lnTo>
                      <a:lnTo>
                        <a:pt x="580" y="1181"/>
                      </a:lnTo>
                      <a:lnTo>
                        <a:pt x="569" y="1164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46" name="Freeform 97"/>
                <p:cNvSpPr>
                  <a:spLocks/>
                </p:cNvSpPr>
                <p:nvPr/>
              </p:nvSpPr>
              <p:spPr bwMode="auto">
                <a:xfrm>
                  <a:off x="2013294" y="3513437"/>
                  <a:ext cx="656075" cy="1217981"/>
                </a:xfrm>
                <a:custGeom>
                  <a:avLst/>
                  <a:gdLst>
                    <a:gd name="T0" fmla="*/ 0 w 373"/>
                    <a:gd name="T1" fmla="*/ 322263 h 765"/>
                    <a:gd name="T2" fmla="*/ 15908 w 373"/>
                    <a:gd name="T3" fmla="*/ 388938 h 765"/>
                    <a:gd name="T4" fmla="*/ 45956 w 373"/>
                    <a:gd name="T5" fmla="*/ 428625 h 765"/>
                    <a:gd name="T6" fmla="*/ 136101 w 373"/>
                    <a:gd name="T7" fmla="*/ 560388 h 765"/>
                    <a:gd name="T8" fmla="*/ 226246 w 373"/>
                    <a:gd name="T9" fmla="*/ 903288 h 765"/>
                    <a:gd name="T10" fmla="*/ 311089 w 373"/>
                    <a:gd name="T11" fmla="*/ 1214438 h 765"/>
                    <a:gd name="T12" fmla="*/ 395931 w 373"/>
                    <a:gd name="T13" fmla="*/ 1149350 h 765"/>
                    <a:gd name="T14" fmla="*/ 456028 w 373"/>
                    <a:gd name="T15" fmla="*/ 1017588 h 765"/>
                    <a:gd name="T16" fmla="*/ 517892 w 373"/>
                    <a:gd name="T17" fmla="*/ 847725 h 765"/>
                    <a:gd name="T18" fmla="*/ 560313 w 373"/>
                    <a:gd name="T19" fmla="*/ 650875 h 765"/>
                    <a:gd name="T20" fmla="*/ 592129 w 373"/>
                    <a:gd name="T21" fmla="*/ 454025 h 765"/>
                    <a:gd name="T22" fmla="*/ 650458 w 373"/>
                    <a:gd name="T23" fmla="*/ 100013 h 765"/>
                    <a:gd name="T24" fmla="*/ 659296 w 373"/>
                    <a:gd name="T25" fmla="*/ 25400 h 765"/>
                    <a:gd name="T26" fmla="*/ 570919 w 373"/>
                    <a:gd name="T27" fmla="*/ 34925 h 765"/>
                    <a:gd name="T28" fmla="*/ 524962 w 373"/>
                    <a:gd name="T29" fmla="*/ 23813 h 765"/>
                    <a:gd name="T30" fmla="*/ 473703 w 373"/>
                    <a:gd name="T31" fmla="*/ 0 h 765"/>
                    <a:gd name="T32" fmla="*/ 231549 w 373"/>
                    <a:gd name="T33" fmla="*/ 71438 h 765"/>
                    <a:gd name="T34" fmla="*/ 157312 w 373"/>
                    <a:gd name="T35" fmla="*/ 85725 h 765"/>
                    <a:gd name="T36" fmla="*/ 125496 w 373"/>
                    <a:gd name="T37" fmla="*/ 100013 h 765"/>
                    <a:gd name="T38" fmla="*/ 81307 w 373"/>
                    <a:gd name="T39" fmla="*/ 125413 h 765"/>
                    <a:gd name="T40" fmla="*/ 38886 w 373"/>
                    <a:gd name="T41" fmla="*/ 177800 h 765"/>
                    <a:gd name="T42" fmla="*/ 12373 w 373"/>
                    <a:gd name="T43" fmla="*/ 220663 h 765"/>
                    <a:gd name="T44" fmla="*/ 0 w 373"/>
                    <a:gd name="T45" fmla="*/ 257175 h 765"/>
                    <a:gd name="T46" fmla="*/ 0 w 373"/>
                    <a:gd name="T47" fmla="*/ 322263 h 765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373"/>
                    <a:gd name="T73" fmla="*/ 0 h 765"/>
                    <a:gd name="T74" fmla="*/ 373 w 373"/>
                    <a:gd name="T75" fmla="*/ 765 h 765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373" h="765">
                      <a:moveTo>
                        <a:pt x="0" y="203"/>
                      </a:moveTo>
                      <a:lnTo>
                        <a:pt x="9" y="245"/>
                      </a:lnTo>
                      <a:lnTo>
                        <a:pt x="26" y="270"/>
                      </a:lnTo>
                      <a:lnTo>
                        <a:pt x="77" y="353"/>
                      </a:lnTo>
                      <a:lnTo>
                        <a:pt x="128" y="569"/>
                      </a:lnTo>
                      <a:lnTo>
                        <a:pt x="176" y="765"/>
                      </a:lnTo>
                      <a:lnTo>
                        <a:pt x="224" y="724"/>
                      </a:lnTo>
                      <a:lnTo>
                        <a:pt x="258" y="641"/>
                      </a:lnTo>
                      <a:lnTo>
                        <a:pt x="293" y="534"/>
                      </a:lnTo>
                      <a:lnTo>
                        <a:pt x="317" y="410"/>
                      </a:lnTo>
                      <a:lnTo>
                        <a:pt x="335" y="286"/>
                      </a:lnTo>
                      <a:lnTo>
                        <a:pt x="368" y="63"/>
                      </a:lnTo>
                      <a:lnTo>
                        <a:pt x="373" y="16"/>
                      </a:lnTo>
                      <a:lnTo>
                        <a:pt x="323" y="22"/>
                      </a:lnTo>
                      <a:lnTo>
                        <a:pt x="297" y="15"/>
                      </a:lnTo>
                      <a:lnTo>
                        <a:pt x="268" y="0"/>
                      </a:lnTo>
                      <a:lnTo>
                        <a:pt x="131" y="45"/>
                      </a:lnTo>
                      <a:lnTo>
                        <a:pt x="89" y="54"/>
                      </a:lnTo>
                      <a:lnTo>
                        <a:pt x="71" y="63"/>
                      </a:lnTo>
                      <a:lnTo>
                        <a:pt x="46" y="79"/>
                      </a:lnTo>
                      <a:lnTo>
                        <a:pt x="22" y="112"/>
                      </a:lnTo>
                      <a:lnTo>
                        <a:pt x="7" y="139"/>
                      </a:lnTo>
                      <a:lnTo>
                        <a:pt x="0" y="162"/>
                      </a:lnTo>
                      <a:lnTo>
                        <a:pt x="0" y="203"/>
                      </a:lnTo>
                      <a:close/>
                    </a:path>
                  </a:pathLst>
                </a:custGeom>
                <a:solidFill>
                  <a:srgbClr val="01010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47" name="Freeform 99"/>
                <p:cNvSpPr>
                  <a:spLocks noEditPoints="1"/>
                </p:cNvSpPr>
                <p:nvPr/>
              </p:nvSpPr>
              <p:spPr bwMode="auto">
                <a:xfrm>
                  <a:off x="3731586" y="4028742"/>
                  <a:ext cx="484251" cy="640216"/>
                </a:xfrm>
                <a:custGeom>
                  <a:avLst/>
                  <a:gdLst>
                    <a:gd name="T0" fmla="*/ 482600 w 309"/>
                    <a:gd name="T1" fmla="*/ 95250 h 408"/>
                    <a:gd name="T2" fmla="*/ 463550 w 309"/>
                    <a:gd name="T3" fmla="*/ 90487 h 408"/>
                    <a:gd name="T4" fmla="*/ 438150 w 309"/>
                    <a:gd name="T5" fmla="*/ 90487 h 408"/>
                    <a:gd name="T6" fmla="*/ 417513 w 309"/>
                    <a:gd name="T7" fmla="*/ 69850 h 408"/>
                    <a:gd name="T8" fmla="*/ 393700 w 309"/>
                    <a:gd name="T9" fmla="*/ 63500 h 408"/>
                    <a:gd name="T10" fmla="*/ 368300 w 309"/>
                    <a:gd name="T11" fmla="*/ 80963 h 408"/>
                    <a:gd name="T12" fmla="*/ 358775 w 309"/>
                    <a:gd name="T13" fmla="*/ 119063 h 408"/>
                    <a:gd name="T14" fmla="*/ 349250 w 309"/>
                    <a:gd name="T15" fmla="*/ 150813 h 408"/>
                    <a:gd name="T16" fmla="*/ 338138 w 309"/>
                    <a:gd name="T17" fmla="*/ 139700 h 408"/>
                    <a:gd name="T18" fmla="*/ 336550 w 309"/>
                    <a:gd name="T19" fmla="*/ 100012 h 408"/>
                    <a:gd name="T20" fmla="*/ 333375 w 309"/>
                    <a:gd name="T21" fmla="*/ 76200 h 408"/>
                    <a:gd name="T22" fmla="*/ 323850 w 309"/>
                    <a:gd name="T23" fmla="*/ 55563 h 408"/>
                    <a:gd name="T24" fmla="*/ 295275 w 309"/>
                    <a:gd name="T25" fmla="*/ 53975 h 408"/>
                    <a:gd name="T26" fmla="*/ 273050 w 309"/>
                    <a:gd name="T27" fmla="*/ 65088 h 408"/>
                    <a:gd name="T28" fmla="*/ 265113 w 309"/>
                    <a:gd name="T29" fmla="*/ 100012 h 408"/>
                    <a:gd name="T30" fmla="*/ 260350 w 309"/>
                    <a:gd name="T31" fmla="*/ 114300 h 408"/>
                    <a:gd name="T32" fmla="*/ 252413 w 309"/>
                    <a:gd name="T33" fmla="*/ 144463 h 408"/>
                    <a:gd name="T34" fmla="*/ 236538 w 309"/>
                    <a:gd name="T35" fmla="*/ 182562 h 408"/>
                    <a:gd name="T36" fmla="*/ 209550 w 309"/>
                    <a:gd name="T37" fmla="*/ 192087 h 408"/>
                    <a:gd name="T38" fmla="*/ 200025 w 309"/>
                    <a:gd name="T39" fmla="*/ 180975 h 408"/>
                    <a:gd name="T40" fmla="*/ 192088 w 309"/>
                    <a:gd name="T41" fmla="*/ 141288 h 408"/>
                    <a:gd name="T42" fmla="*/ 192088 w 309"/>
                    <a:gd name="T43" fmla="*/ 120650 h 408"/>
                    <a:gd name="T44" fmla="*/ 192088 w 309"/>
                    <a:gd name="T45" fmla="*/ 104775 h 408"/>
                    <a:gd name="T46" fmla="*/ 192088 w 309"/>
                    <a:gd name="T47" fmla="*/ 71438 h 408"/>
                    <a:gd name="T48" fmla="*/ 185738 w 309"/>
                    <a:gd name="T49" fmla="*/ 34925 h 408"/>
                    <a:gd name="T50" fmla="*/ 174625 w 309"/>
                    <a:gd name="T51" fmla="*/ 14288 h 408"/>
                    <a:gd name="T52" fmla="*/ 144463 w 309"/>
                    <a:gd name="T53" fmla="*/ 0 h 408"/>
                    <a:gd name="T54" fmla="*/ 125413 w 309"/>
                    <a:gd name="T55" fmla="*/ 14288 h 408"/>
                    <a:gd name="T56" fmla="*/ 114300 w 309"/>
                    <a:gd name="T57" fmla="*/ 41275 h 408"/>
                    <a:gd name="T58" fmla="*/ 109538 w 309"/>
                    <a:gd name="T59" fmla="*/ 85725 h 408"/>
                    <a:gd name="T60" fmla="*/ 68263 w 309"/>
                    <a:gd name="T61" fmla="*/ 115888 h 408"/>
                    <a:gd name="T62" fmla="*/ 34925 w 309"/>
                    <a:gd name="T63" fmla="*/ 161925 h 408"/>
                    <a:gd name="T64" fmla="*/ 19050 w 309"/>
                    <a:gd name="T65" fmla="*/ 222250 h 408"/>
                    <a:gd name="T66" fmla="*/ 4763 w 309"/>
                    <a:gd name="T67" fmla="*/ 323850 h 408"/>
                    <a:gd name="T68" fmla="*/ 3175 w 309"/>
                    <a:gd name="T69" fmla="*/ 379412 h 408"/>
                    <a:gd name="T70" fmla="*/ 42863 w 309"/>
                    <a:gd name="T71" fmla="*/ 495300 h 408"/>
                    <a:gd name="T72" fmla="*/ 65088 w 309"/>
                    <a:gd name="T73" fmla="*/ 617538 h 408"/>
                    <a:gd name="T74" fmla="*/ 77788 w 309"/>
                    <a:gd name="T75" fmla="*/ 630238 h 408"/>
                    <a:gd name="T76" fmla="*/ 139700 w 309"/>
                    <a:gd name="T77" fmla="*/ 636588 h 408"/>
                    <a:gd name="T78" fmla="*/ 295275 w 309"/>
                    <a:gd name="T79" fmla="*/ 485775 h 408"/>
                    <a:gd name="T80" fmla="*/ 301625 w 309"/>
                    <a:gd name="T81" fmla="*/ 377825 h 408"/>
                    <a:gd name="T82" fmla="*/ 322263 w 309"/>
                    <a:gd name="T83" fmla="*/ 352425 h 408"/>
                    <a:gd name="T84" fmla="*/ 352425 w 309"/>
                    <a:gd name="T85" fmla="*/ 344487 h 408"/>
                    <a:gd name="T86" fmla="*/ 373063 w 309"/>
                    <a:gd name="T87" fmla="*/ 328612 h 408"/>
                    <a:gd name="T88" fmla="*/ 393700 w 309"/>
                    <a:gd name="T89" fmla="*/ 311150 h 408"/>
                    <a:gd name="T90" fmla="*/ 412750 w 309"/>
                    <a:gd name="T91" fmla="*/ 280988 h 408"/>
                    <a:gd name="T92" fmla="*/ 427038 w 309"/>
                    <a:gd name="T93" fmla="*/ 263525 h 408"/>
                    <a:gd name="T94" fmla="*/ 434975 w 309"/>
                    <a:gd name="T95" fmla="*/ 246063 h 408"/>
                    <a:gd name="T96" fmla="*/ 463550 w 309"/>
                    <a:gd name="T97" fmla="*/ 215900 h 408"/>
                    <a:gd name="T98" fmla="*/ 477838 w 309"/>
                    <a:gd name="T99" fmla="*/ 177800 h 408"/>
                    <a:gd name="T100" fmla="*/ 479425 w 309"/>
                    <a:gd name="T101" fmla="*/ 160338 h 408"/>
                    <a:gd name="T102" fmla="*/ 490538 w 309"/>
                    <a:gd name="T103" fmla="*/ 134938 h 408"/>
                    <a:gd name="T104" fmla="*/ 115888 w 309"/>
                    <a:gd name="T105" fmla="*/ 215900 h 408"/>
                    <a:gd name="T106" fmla="*/ 109538 w 309"/>
                    <a:gd name="T107" fmla="*/ 257175 h 408"/>
                    <a:gd name="T108" fmla="*/ 98425 w 309"/>
                    <a:gd name="T109" fmla="*/ 250825 h 408"/>
                    <a:gd name="T110" fmla="*/ 95250 w 309"/>
                    <a:gd name="T111" fmla="*/ 212725 h 408"/>
                    <a:gd name="T112" fmla="*/ 106363 w 309"/>
                    <a:gd name="T113" fmla="*/ 177800 h 408"/>
                    <a:gd name="T114" fmla="*/ 114300 w 309"/>
                    <a:gd name="T115" fmla="*/ 180975 h 408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309"/>
                    <a:gd name="T175" fmla="*/ 0 h 408"/>
                    <a:gd name="T176" fmla="*/ 309 w 309"/>
                    <a:gd name="T177" fmla="*/ 408 h 408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309" h="408">
                      <a:moveTo>
                        <a:pt x="308" y="75"/>
                      </a:moveTo>
                      <a:lnTo>
                        <a:pt x="308" y="75"/>
                      </a:lnTo>
                      <a:lnTo>
                        <a:pt x="306" y="66"/>
                      </a:lnTo>
                      <a:lnTo>
                        <a:pt x="304" y="60"/>
                      </a:lnTo>
                      <a:lnTo>
                        <a:pt x="298" y="57"/>
                      </a:lnTo>
                      <a:lnTo>
                        <a:pt x="295" y="56"/>
                      </a:lnTo>
                      <a:lnTo>
                        <a:pt x="292" y="57"/>
                      </a:lnTo>
                      <a:lnTo>
                        <a:pt x="288" y="59"/>
                      </a:lnTo>
                      <a:lnTo>
                        <a:pt x="282" y="59"/>
                      </a:lnTo>
                      <a:lnTo>
                        <a:pt x="276" y="57"/>
                      </a:lnTo>
                      <a:lnTo>
                        <a:pt x="271" y="56"/>
                      </a:lnTo>
                      <a:lnTo>
                        <a:pt x="267" y="48"/>
                      </a:lnTo>
                      <a:lnTo>
                        <a:pt x="263" y="44"/>
                      </a:lnTo>
                      <a:lnTo>
                        <a:pt x="255" y="41"/>
                      </a:lnTo>
                      <a:lnTo>
                        <a:pt x="248" y="40"/>
                      </a:lnTo>
                      <a:lnTo>
                        <a:pt x="242" y="41"/>
                      </a:lnTo>
                      <a:lnTo>
                        <a:pt x="235" y="47"/>
                      </a:lnTo>
                      <a:lnTo>
                        <a:pt x="232" y="51"/>
                      </a:lnTo>
                      <a:lnTo>
                        <a:pt x="232" y="56"/>
                      </a:lnTo>
                      <a:lnTo>
                        <a:pt x="229" y="64"/>
                      </a:lnTo>
                      <a:lnTo>
                        <a:pt x="226" y="75"/>
                      </a:lnTo>
                      <a:lnTo>
                        <a:pt x="225" y="89"/>
                      </a:lnTo>
                      <a:lnTo>
                        <a:pt x="223" y="94"/>
                      </a:lnTo>
                      <a:lnTo>
                        <a:pt x="220" y="95"/>
                      </a:lnTo>
                      <a:lnTo>
                        <a:pt x="219" y="95"/>
                      </a:lnTo>
                      <a:lnTo>
                        <a:pt x="216" y="92"/>
                      </a:lnTo>
                      <a:lnTo>
                        <a:pt x="213" y="88"/>
                      </a:lnTo>
                      <a:lnTo>
                        <a:pt x="212" y="79"/>
                      </a:lnTo>
                      <a:lnTo>
                        <a:pt x="212" y="70"/>
                      </a:lnTo>
                      <a:lnTo>
                        <a:pt x="212" y="63"/>
                      </a:lnTo>
                      <a:lnTo>
                        <a:pt x="212" y="56"/>
                      </a:lnTo>
                      <a:lnTo>
                        <a:pt x="210" y="48"/>
                      </a:lnTo>
                      <a:lnTo>
                        <a:pt x="209" y="43"/>
                      </a:lnTo>
                      <a:lnTo>
                        <a:pt x="207" y="38"/>
                      </a:lnTo>
                      <a:lnTo>
                        <a:pt x="204" y="35"/>
                      </a:lnTo>
                      <a:lnTo>
                        <a:pt x="200" y="34"/>
                      </a:lnTo>
                      <a:lnTo>
                        <a:pt x="196" y="32"/>
                      </a:lnTo>
                      <a:lnTo>
                        <a:pt x="186" y="34"/>
                      </a:lnTo>
                      <a:lnTo>
                        <a:pt x="178" y="35"/>
                      </a:lnTo>
                      <a:lnTo>
                        <a:pt x="175" y="37"/>
                      </a:lnTo>
                      <a:lnTo>
                        <a:pt x="172" y="41"/>
                      </a:lnTo>
                      <a:lnTo>
                        <a:pt x="169" y="50"/>
                      </a:lnTo>
                      <a:lnTo>
                        <a:pt x="168" y="56"/>
                      </a:lnTo>
                      <a:lnTo>
                        <a:pt x="167" y="63"/>
                      </a:lnTo>
                      <a:lnTo>
                        <a:pt x="165" y="67"/>
                      </a:lnTo>
                      <a:lnTo>
                        <a:pt x="164" y="72"/>
                      </a:lnTo>
                      <a:lnTo>
                        <a:pt x="162" y="75"/>
                      </a:lnTo>
                      <a:lnTo>
                        <a:pt x="161" y="77"/>
                      </a:lnTo>
                      <a:lnTo>
                        <a:pt x="159" y="91"/>
                      </a:lnTo>
                      <a:lnTo>
                        <a:pt x="158" y="102"/>
                      </a:lnTo>
                      <a:lnTo>
                        <a:pt x="153" y="110"/>
                      </a:lnTo>
                      <a:lnTo>
                        <a:pt x="149" y="115"/>
                      </a:lnTo>
                      <a:lnTo>
                        <a:pt x="140" y="120"/>
                      </a:lnTo>
                      <a:lnTo>
                        <a:pt x="132" y="121"/>
                      </a:lnTo>
                      <a:lnTo>
                        <a:pt x="129" y="121"/>
                      </a:lnTo>
                      <a:lnTo>
                        <a:pt x="127" y="120"/>
                      </a:lnTo>
                      <a:lnTo>
                        <a:pt x="126" y="114"/>
                      </a:lnTo>
                      <a:lnTo>
                        <a:pt x="123" y="104"/>
                      </a:lnTo>
                      <a:lnTo>
                        <a:pt x="123" y="96"/>
                      </a:lnTo>
                      <a:lnTo>
                        <a:pt x="121" y="89"/>
                      </a:lnTo>
                      <a:lnTo>
                        <a:pt x="121" y="83"/>
                      </a:lnTo>
                      <a:lnTo>
                        <a:pt x="121" y="76"/>
                      </a:lnTo>
                      <a:lnTo>
                        <a:pt x="121" y="73"/>
                      </a:lnTo>
                      <a:lnTo>
                        <a:pt x="121" y="70"/>
                      </a:lnTo>
                      <a:lnTo>
                        <a:pt x="121" y="66"/>
                      </a:lnTo>
                      <a:lnTo>
                        <a:pt x="121" y="51"/>
                      </a:lnTo>
                      <a:lnTo>
                        <a:pt x="121" y="45"/>
                      </a:lnTo>
                      <a:lnTo>
                        <a:pt x="121" y="40"/>
                      </a:lnTo>
                      <a:lnTo>
                        <a:pt x="120" y="32"/>
                      </a:lnTo>
                      <a:lnTo>
                        <a:pt x="117" y="22"/>
                      </a:lnTo>
                      <a:lnTo>
                        <a:pt x="113" y="13"/>
                      </a:lnTo>
                      <a:lnTo>
                        <a:pt x="110" y="9"/>
                      </a:lnTo>
                      <a:lnTo>
                        <a:pt x="105" y="3"/>
                      </a:lnTo>
                      <a:lnTo>
                        <a:pt x="100" y="0"/>
                      </a:lnTo>
                      <a:lnTo>
                        <a:pt x="91" y="0"/>
                      </a:lnTo>
                      <a:lnTo>
                        <a:pt x="84" y="3"/>
                      </a:lnTo>
                      <a:lnTo>
                        <a:pt x="79" y="9"/>
                      </a:lnTo>
                      <a:lnTo>
                        <a:pt x="75" y="16"/>
                      </a:lnTo>
                      <a:lnTo>
                        <a:pt x="72" y="21"/>
                      </a:lnTo>
                      <a:lnTo>
                        <a:pt x="72" y="26"/>
                      </a:lnTo>
                      <a:lnTo>
                        <a:pt x="72" y="40"/>
                      </a:lnTo>
                      <a:lnTo>
                        <a:pt x="70" y="45"/>
                      </a:lnTo>
                      <a:lnTo>
                        <a:pt x="69" y="54"/>
                      </a:lnTo>
                      <a:lnTo>
                        <a:pt x="65" y="60"/>
                      </a:lnTo>
                      <a:lnTo>
                        <a:pt x="59" y="64"/>
                      </a:lnTo>
                      <a:lnTo>
                        <a:pt x="43" y="73"/>
                      </a:lnTo>
                      <a:lnTo>
                        <a:pt x="35" y="79"/>
                      </a:lnTo>
                      <a:lnTo>
                        <a:pt x="31" y="86"/>
                      </a:lnTo>
                      <a:lnTo>
                        <a:pt x="22" y="102"/>
                      </a:lnTo>
                      <a:lnTo>
                        <a:pt x="18" y="111"/>
                      </a:lnTo>
                      <a:lnTo>
                        <a:pt x="15" y="120"/>
                      </a:lnTo>
                      <a:lnTo>
                        <a:pt x="12" y="130"/>
                      </a:lnTo>
                      <a:lnTo>
                        <a:pt x="12" y="140"/>
                      </a:lnTo>
                      <a:lnTo>
                        <a:pt x="12" y="177"/>
                      </a:lnTo>
                      <a:lnTo>
                        <a:pt x="3" y="204"/>
                      </a:lnTo>
                      <a:lnTo>
                        <a:pt x="0" y="222"/>
                      </a:lnTo>
                      <a:lnTo>
                        <a:pt x="0" y="232"/>
                      </a:lnTo>
                      <a:lnTo>
                        <a:pt x="2" y="238"/>
                      </a:lnTo>
                      <a:lnTo>
                        <a:pt x="2" y="239"/>
                      </a:lnTo>
                      <a:lnTo>
                        <a:pt x="6" y="245"/>
                      </a:lnTo>
                      <a:lnTo>
                        <a:pt x="11" y="251"/>
                      </a:lnTo>
                      <a:lnTo>
                        <a:pt x="18" y="268"/>
                      </a:lnTo>
                      <a:lnTo>
                        <a:pt x="22" y="289"/>
                      </a:lnTo>
                      <a:lnTo>
                        <a:pt x="27" y="312"/>
                      </a:lnTo>
                      <a:lnTo>
                        <a:pt x="30" y="337"/>
                      </a:lnTo>
                      <a:lnTo>
                        <a:pt x="34" y="359"/>
                      </a:lnTo>
                      <a:lnTo>
                        <a:pt x="37" y="378"/>
                      </a:lnTo>
                      <a:lnTo>
                        <a:pt x="41" y="389"/>
                      </a:lnTo>
                      <a:lnTo>
                        <a:pt x="43" y="392"/>
                      </a:lnTo>
                      <a:lnTo>
                        <a:pt x="44" y="392"/>
                      </a:lnTo>
                      <a:lnTo>
                        <a:pt x="46" y="394"/>
                      </a:lnTo>
                      <a:lnTo>
                        <a:pt x="49" y="397"/>
                      </a:lnTo>
                      <a:lnTo>
                        <a:pt x="57" y="404"/>
                      </a:lnTo>
                      <a:lnTo>
                        <a:pt x="63" y="407"/>
                      </a:lnTo>
                      <a:lnTo>
                        <a:pt x="70" y="408"/>
                      </a:lnTo>
                      <a:lnTo>
                        <a:pt x="79" y="405"/>
                      </a:lnTo>
                      <a:lnTo>
                        <a:pt x="88" y="401"/>
                      </a:lnTo>
                      <a:lnTo>
                        <a:pt x="168" y="367"/>
                      </a:lnTo>
                      <a:lnTo>
                        <a:pt x="172" y="354"/>
                      </a:lnTo>
                      <a:lnTo>
                        <a:pt x="178" y="340"/>
                      </a:lnTo>
                      <a:lnTo>
                        <a:pt x="186" y="306"/>
                      </a:lnTo>
                      <a:lnTo>
                        <a:pt x="191" y="276"/>
                      </a:lnTo>
                      <a:lnTo>
                        <a:pt x="193" y="260"/>
                      </a:lnTo>
                      <a:lnTo>
                        <a:pt x="190" y="238"/>
                      </a:lnTo>
                      <a:lnTo>
                        <a:pt x="193" y="232"/>
                      </a:lnTo>
                      <a:lnTo>
                        <a:pt x="199" y="225"/>
                      </a:lnTo>
                      <a:lnTo>
                        <a:pt x="203" y="222"/>
                      </a:lnTo>
                      <a:lnTo>
                        <a:pt x="209" y="220"/>
                      </a:lnTo>
                      <a:lnTo>
                        <a:pt x="216" y="219"/>
                      </a:lnTo>
                      <a:lnTo>
                        <a:pt x="222" y="217"/>
                      </a:lnTo>
                      <a:lnTo>
                        <a:pt x="226" y="214"/>
                      </a:lnTo>
                      <a:lnTo>
                        <a:pt x="229" y="213"/>
                      </a:lnTo>
                      <a:lnTo>
                        <a:pt x="235" y="207"/>
                      </a:lnTo>
                      <a:lnTo>
                        <a:pt x="239" y="203"/>
                      </a:lnTo>
                      <a:lnTo>
                        <a:pt x="248" y="196"/>
                      </a:lnTo>
                      <a:lnTo>
                        <a:pt x="254" y="190"/>
                      </a:lnTo>
                      <a:lnTo>
                        <a:pt x="257" y="184"/>
                      </a:lnTo>
                      <a:lnTo>
                        <a:pt x="260" y="177"/>
                      </a:lnTo>
                      <a:lnTo>
                        <a:pt x="263" y="174"/>
                      </a:lnTo>
                      <a:lnTo>
                        <a:pt x="264" y="171"/>
                      </a:lnTo>
                      <a:lnTo>
                        <a:pt x="269" y="166"/>
                      </a:lnTo>
                      <a:lnTo>
                        <a:pt x="271" y="162"/>
                      </a:lnTo>
                      <a:lnTo>
                        <a:pt x="273" y="159"/>
                      </a:lnTo>
                      <a:lnTo>
                        <a:pt x="274" y="155"/>
                      </a:lnTo>
                      <a:lnTo>
                        <a:pt x="277" y="150"/>
                      </a:lnTo>
                      <a:lnTo>
                        <a:pt x="282" y="145"/>
                      </a:lnTo>
                      <a:lnTo>
                        <a:pt x="292" y="136"/>
                      </a:lnTo>
                      <a:lnTo>
                        <a:pt x="295" y="128"/>
                      </a:lnTo>
                      <a:lnTo>
                        <a:pt x="301" y="112"/>
                      </a:lnTo>
                      <a:lnTo>
                        <a:pt x="302" y="110"/>
                      </a:lnTo>
                      <a:lnTo>
                        <a:pt x="302" y="105"/>
                      </a:lnTo>
                      <a:lnTo>
                        <a:pt x="302" y="101"/>
                      </a:lnTo>
                      <a:lnTo>
                        <a:pt x="304" y="98"/>
                      </a:lnTo>
                      <a:lnTo>
                        <a:pt x="308" y="94"/>
                      </a:lnTo>
                      <a:lnTo>
                        <a:pt x="309" y="85"/>
                      </a:lnTo>
                      <a:lnTo>
                        <a:pt x="308" y="75"/>
                      </a:lnTo>
                      <a:close/>
                      <a:moveTo>
                        <a:pt x="73" y="136"/>
                      </a:moveTo>
                      <a:lnTo>
                        <a:pt x="73" y="136"/>
                      </a:lnTo>
                      <a:lnTo>
                        <a:pt x="72" y="147"/>
                      </a:lnTo>
                      <a:lnTo>
                        <a:pt x="70" y="156"/>
                      </a:lnTo>
                      <a:lnTo>
                        <a:pt x="69" y="162"/>
                      </a:lnTo>
                      <a:lnTo>
                        <a:pt x="67" y="165"/>
                      </a:lnTo>
                      <a:lnTo>
                        <a:pt x="66" y="165"/>
                      </a:lnTo>
                      <a:lnTo>
                        <a:pt x="65" y="163"/>
                      </a:lnTo>
                      <a:lnTo>
                        <a:pt x="62" y="158"/>
                      </a:lnTo>
                      <a:lnTo>
                        <a:pt x="60" y="149"/>
                      </a:lnTo>
                      <a:lnTo>
                        <a:pt x="59" y="142"/>
                      </a:lnTo>
                      <a:lnTo>
                        <a:pt x="60" y="134"/>
                      </a:lnTo>
                      <a:lnTo>
                        <a:pt x="63" y="128"/>
                      </a:lnTo>
                      <a:lnTo>
                        <a:pt x="67" y="112"/>
                      </a:lnTo>
                      <a:lnTo>
                        <a:pt x="69" y="108"/>
                      </a:lnTo>
                      <a:lnTo>
                        <a:pt x="70" y="108"/>
                      </a:lnTo>
                      <a:lnTo>
                        <a:pt x="72" y="110"/>
                      </a:lnTo>
                      <a:lnTo>
                        <a:pt x="72" y="114"/>
                      </a:lnTo>
                      <a:lnTo>
                        <a:pt x="73" y="136"/>
                      </a:lnTo>
                      <a:close/>
                    </a:path>
                  </a:pathLst>
                </a:custGeom>
                <a:solidFill>
                  <a:srgbClr val="2E2E2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48" name="Freeform 100"/>
                <p:cNvSpPr>
                  <a:spLocks/>
                </p:cNvSpPr>
                <p:nvPr/>
              </p:nvSpPr>
              <p:spPr bwMode="auto">
                <a:xfrm>
                  <a:off x="3715970" y="4465966"/>
                  <a:ext cx="452999" cy="608986"/>
                </a:xfrm>
                <a:custGeom>
                  <a:avLst/>
                  <a:gdLst>
                    <a:gd name="T0" fmla="*/ 349250 w 290"/>
                    <a:gd name="T1" fmla="*/ 0 h 391"/>
                    <a:gd name="T2" fmla="*/ 349250 w 290"/>
                    <a:gd name="T3" fmla="*/ 0 h 391"/>
                    <a:gd name="T4" fmla="*/ 344487 w 290"/>
                    <a:gd name="T5" fmla="*/ 12700 h 391"/>
                    <a:gd name="T6" fmla="*/ 331787 w 290"/>
                    <a:gd name="T7" fmla="*/ 41275 h 391"/>
                    <a:gd name="T8" fmla="*/ 311150 w 290"/>
                    <a:gd name="T9" fmla="*/ 84138 h 391"/>
                    <a:gd name="T10" fmla="*/ 298450 w 290"/>
                    <a:gd name="T11" fmla="*/ 106363 h 391"/>
                    <a:gd name="T12" fmla="*/ 282575 w 290"/>
                    <a:gd name="T13" fmla="*/ 130175 h 391"/>
                    <a:gd name="T14" fmla="*/ 266700 w 290"/>
                    <a:gd name="T15" fmla="*/ 150813 h 391"/>
                    <a:gd name="T16" fmla="*/ 250825 w 290"/>
                    <a:gd name="T17" fmla="*/ 171450 h 391"/>
                    <a:gd name="T18" fmla="*/ 230188 w 290"/>
                    <a:gd name="T19" fmla="*/ 190500 h 391"/>
                    <a:gd name="T20" fmla="*/ 207963 w 290"/>
                    <a:gd name="T21" fmla="*/ 206375 h 391"/>
                    <a:gd name="T22" fmla="*/ 187325 w 290"/>
                    <a:gd name="T23" fmla="*/ 215900 h 391"/>
                    <a:gd name="T24" fmla="*/ 176212 w 290"/>
                    <a:gd name="T25" fmla="*/ 217488 h 391"/>
                    <a:gd name="T26" fmla="*/ 165100 w 290"/>
                    <a:gd name="T27" fmla="*/ 220663 h 391"/>
                    <a:gd name="T28" fmla="*/ 150812 w 290"/>
                    <a:gd name="T29" fmla="*/ 220663 h 391"/>
                    <a:gd name="T30" fmla="*/ 139700 w 290"/>
                    <a:gd name="T31" fmla="*/ 220663 h 391"/>
                    <a:gd name="T32" fmla="*/ 125412 w 290"/>
                    <a:gd name="T33" fmla="*/ 215900 h 391"/>
                    <a:gd name="T34" fmla="*/ 114300 w 290"/>
                    <a:gd name="T35" fmla="*/ 211138 h 391"/>
                    <a:gd name="T36" fmla="*/ 85725 w 290"/>
                    <a:gd name="T37" fmla="*/ 84138 h 391"/>
                    <a:gd name="T38" fmla="*/ 85725 w 290"/>
                    <a:gd name="T39" fmla="*/ 84138 h 391"/>
                    <a:gd name="T40" fmla="*/ 71437 w 290"/>
                    <a:gd name="T41" fmla="*/ 90488 h 391"/>
                    <a:gd name="T42" fmla="*/ 55563 w 290"/>
                    <a:gd name="T43" fmla="*/ 96838 h 391"/>
                    <a:gd name="T44" fmla="*/ 39687 w 290"/>
                    <a:gd name="T45" fmla="*/ 111125 h 391"/>
                    <a:gd name="T46" fmla="*/ 23812 w 290"/>
                    <a:gd name="T47" fmla="*/ 127000 h 391"/>
                    <a:gd name="T48" fmla="*/ 15875 w 290"/>
                    <a:gd name="T49" fmla="*/ 136525 h 391"/>
                    <a:gd name="T50" fmla="*/ 9525 w 290"/>
                    <a:gd name="T51" fmla="*/ 146050 h 391"/>
                    <a:gd name="T52" fmla="*/ 4762 w 290"/>
                    <a:gd name="T53" fmla="*/ 157163 h 391"/>
                    <a:gd name="T54" fmla="*/ 3175 w 290"/>
                    <a:gd name="T55" fmla="*/ 171450 h 391"/>
                    <a:gd name="T56" fmla="*/ 0 w 290"/>
                    <a:gd name="T57" fmla="*/ 182563 h 391"/>
                    <a:gd name="T58" fmla="*/ 0 w 290"/>
                    <a:gd name="T59" fmla="*/ 196850 h 391"/>
                    <a:gd name="T60" fmla="*/ 0 w 290"/>
                    <a:gd name="T61" fmla="*/ 196850 h 391"/>
                    <a:gd name="T62" fmla="*/ 7937 w 290"/>
                    <a:gd name="T63" fmla="*/ 238125 h 391"/>
                    <a:gd name="T64" fmla="*/ 19050 w 290"/>
                    <a:gd name="T65" fmla="*/ 296863 h 391"/>
                    <a:gd name="T66" fmla="*/ 49212 w 290"/>
                    <a:gd name="T67" fmla="*/ 433388 h 391"/>
                    <a:gd name="T68" fmla="*/ 88900 w 290"/>
                    <a:gd name="T69" fmla="*/ 608013 h 391"/>
                    <a:gd name="T70" fmla="*/ 88900 w 290"/>
                    <a:gd name="T71" fmla="*/ 608013 h 391"/>
                    <a:gd name="T72" fmla="*/ 104775 w 290"/>
                    <a:gd name="T73" fmla="*/ 611188 h 391"/>
                    <a:gd name="T74" fmla="*/ 141287 w 290"/>
                    <a:gd name="T75" fmla="*/ 615950 h 391"/>
                    <a:gd name="T76" fmla="*/ 196850 w 290"/>
                    <a:gd name="T77" fmla="*/ 620713 h 391"/>
                    <a:gd name="T78" fmla="*/ 227013 w 290"/>
                    <a:gd name="T79" fmla="*/ 620713 h 391"/>
                    <a:gd name="T80" fmla="*/ 258762 w 290"/>
                    <a:gd name="T81" fmla="*/ 620713 h 391"/>
                    <a:gd name="T82" fmla="*/ 292100 w 290"/>
                    <a:gd name="T83" fmla="*/ 617538 h 391"/>
                    <a:gd name="T84" fmla="*/ 323850 w 290"/>
                    <a:gd name="T85" fmla="*/ 612775 h 391"/>
                    <a:gd name="T86" fmla="*/ 354012 w 290"/>
                    <a:gd name="T87" fmla="*/ 606425 h 391"/>
                    <a:gd name="T88" fmla="*/ 382587 w 290"/>
                    <a:gd name="T89" fmla="*/ 596900 h 391"/>
                    <a:gd name="T90" fmla="*/ 407988 w 290"/>
                    <a:gd name="T91" fmla="*/ 582613 h 391"/>
                    <a:gd name="T92" fmla="*/ 417513 w 290"/>
                    <a:gd name="T93" fmla="*/ 574675 h 391"/>
                    <a:gd name="T94" fmla="*/ 425450 w 290"/>
                    <a:gd name="T95" fmla="*/ 565150 h 391"/>
                    <a:gd name="T96" fmla="*/ 434975 w 290"/>
                    <a:gd name="T97" fmla="*/ 555625 h 391"/>
                    <a:gd name="T98" fmla="*/ 442913 w 290"/>
                    <a:gd name="T99" fmla="*/ 544513 h 391"/>
                    <a:gd name="T100" fmla="*/ 446088 w 290"/>
                    <a:gd name="T101" fmla="*/ 530225 h 391"/>
                    <a:gd name="T102" fmla="*/ 449263 w 290"/>
                    <a:gd name="T103" fmla="*/ 515938 h 391"/>
                    <a:gd name="T104" fmla="*/ 449263 w 290"/>
                    <a:gd name="T105" fmla="*/ 515938 h 391"/>
                    <a:gd name="T106" fmla="*/ 458788 w 290"/>
                    <a:gd name="T107" fmla="*/ 468313 h 391"/>
                    <a:gd name="T108" fmla="*/ 460375 w 290"/>
                    <a:gd name="T109" fmla="*/ 428625 h 391"/>
                    <a:gd name="T110" fmla="*/ 460375 w 290"/>
                    <a:gd name="T111" fmla="*/ 400050 h 391"/>
                    <a:gd name="T112" fmla="*/ 458788 w 290"/>
                    <a:gd name="T113" fmla="*/ 382588 h 391"/>
                    <a:gd name="T114" fmla="*/ 454025 w 290"/>
                    <a:gd name="T115" fmla="*/ 369888 h 391"/>
                    <a:gd name="T116" fmla="*/ 449263 w 290"/>
                    <a:gd name="T117" fmla="*/ 363538 h 391"/>
                    <a:gd name="T118" fmla="*/ 444500 w 290"/>
                    <a:gd name="T119" fmla="*/ 358775 h 391"/>
                    <a:gd name="T120" fmla="*/ 349250 w 290"/>
                    <a:gd name="T121" fmla="*/ 0 h 391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290"/>
                    <a:gd name="T184" fmla="*/ 0 h 391"/>
                    <a:gd name="T185" fmla="*/ 290 w 290"/>
                    <a:gd name="T186" fmla="*/ 391 h 391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290" h="391">
                      <a:moveTo>
                        <a:pt x="220" y="0"/>
                      </a:moveTo>
                      <a:lnTo>
                        <a:pt x="220" y="0"/>
                      </a:lnTo>
                      <a:lnTo>
                        <a:pt x="217" y="8"/>
                      </a:lnTo>
                      <a:lnTo>
                        <a:pt x="209" y="26"/>
                      </a:lnTo>
                      <a:lnTo>
                        <a:pt x="196" y="53"/>
                      </a:lnTo>
                      <a:lnTo>
                        <a:pt x="188" y="67"/>
                      </a:lnTo>
                      <a:lnTo>
                        <a:pt x="178" y="82"/>
                      </a:lnTo>
                      <a:lnTo>
                        <a:pt x="168" y="95"/>
                      </a:lnTo>
                      <a:lnTo>
                        <a:pt x="158" y="108"/>
                      </a:lnTo>
                      <a:lnTo>
                        <a:pt x="145" y="120"/>
                      </a:lnTo>
                      <a:lnTo>
                        <a:pt x="131" y="130"/>
                      </a:lnTo>
                      <a:lnTo>
                        <a:pt x="118" y="136"/>
                      </a:lnTo>
                      <a:lnTo>
                        <a:pt x="111" y="137"/>
                      </a:lnTo>
                      <a:lnTo>
                        <a:pt x="104" y="139"/>
                      </a:lnTo>
                      <a:lnTo>
                        <a:pt x="95" y="139"/>
                      </a:lnTo>
                      <a:lnTo>
                        <a:pt x="88" y="139"/>
                      </a:lnTo>
                      <a:lnTo>
                        <a:pt x="79" y="136"/>
                      </a:lnTo>
                      <a:lnTo>
                        <a:pt x="72" y="133"/>
                      </a:lnTo>
                      <a:lnTo>
                        <a:pt x="54" y="53"/>
                      </a:lnTo>
                      <a:lnTo>
                        <a:pt x="45" y="57"/>
                      </a:lnTo>
                      <a:lnTo>
                        <a:pt x="35" y="61"/>
                      </a:lnTo>
                      <a:lnTo>
                        <a:pt x="25" y="70"/>
                      </a:lnTo>
                      <a:lnTo>
                        <a:pt x="15" y="80"/>
                      </a:lnTo>
                      <a:lnTo>
                        <a:pt x="10" y="86"/>
                      </a:lnTo>
                      <a:lnTo>
                        <a:pt x="6" y="92"/>
                      </a:lnTo>
                      <a:lnTo>
                        <a:pt x="3" y="99"/>
                      </a:lnTo>
                      <a:lnTo>
                        <a:pt x="2" y="108"/>
                      </a:lnTo>
                      <a:lnTo>
                        <a:pt x="0" y="115"/>
                      </a:lnTo>
                      <a:lnTo>
                        <a:pt x="0" y="124"/>
                      </a:lnTo>
                      <a:lnTo>
                        <a:pt x="5" y="150"/>
                      </a:lnTo>
                      <a:lnTo>
                        <a:pt x="12" y="187"/>
                      </a:lnTo>
                      <a:lnTo>
                        <a:pt x="31" y="273"/>
                      </a:lnTo>
                      <a:lnTo>
                        <a:pt x="56" y="383"/>
                      </a:lnTo>
                      <a:lnTo>
                        <a:pt x="66" y="385"/>
                      </a:lnTo>
                      <a:lnTo>
                        <a:pt x="89" y="388"/>
                      </a:lnTo>
                      <a:lnTo>
                        <a:pt x="124" y="391"/>
                      </a:lnTo>
                      <a:lnTo>
                        <a:pt x="143" y="391"/>
                      </a:lnTo>
                      <a:lnTo>
                        <a:pt x="163" y="391"/>
                      </a:lnTo>
                      <a:lnTo>
                        <a:pt x="184" y="389"/>
                      </a:lnTo>
                      <a:lnTo>
                        <a:pt x="204" y="386"/>
                      </a:lnTo>
                      <a:lnTo>
                        <a:pt x="223" y="382"/>
                      </a:lnTo>
                      <a:lnTo>
                        <a:pt x="241" y="376"/>
                      </a:lnTo>
                      <a:lnTo>
                        <a:pt x="257" y="367"/>
                      </a:lnTo>
                      <a:lnTo>
                        <a:pt x="263" y="362"/>
                      </a:lnTo>
                      <a:lnTo>
                        <a:pt x="268" y="356"/>
                      </a:lnTo>
                      <a:lnTo>
                        <a:pt x="274" y="350"/>
                      </a:lnTo>
                      <a:lnTo>
                        <a:pt x="279" y="343"/>
                      </a:lnTo>
                      <a:lnTo>
                        <a:pt x="281" y="334"/>
                      </a:lnTo>
                      <a:lnTo>
                        <a:pt x="283" y="325"/>
                      </a:lnTo>
                      <a:lnTo>
                        <a:pt x="289" y="295"/>
                      </a:lnTo>
                      <a:lnTo>
                        <a:pt x="290" y="270"/>
                      </a:lnTo>
                      <a:lnTo>
                        <a:pt x="290" y="252"/>
                      </a:lnTo>
                      <a:lnTo>
                        <a:pt x="289" y="241"/>
                      </a:lnTo>
                      <a:lnTo>
                        <a:pt x="286" y="233"/>
                      </a:lnTo>
                      <a:lnTo>
                        <a:pt x="283" y="229"/>
                      </a:lnTo>
                      <a:lnTo>
                        <a:pt x="280" y="226"/>
                      </a:lnTo>
                      <a:lnTo>
                        <a:pt x="22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49" name="Freeform 114"/>
                <p:cNvSpPr>
                  <a:spLocks/>
                </p:cNvSpPr>
                <p:nvPr/>
              </p:nvSpPr>
              <p:spPr bwMode="auto">
                <a:xfrm>
                  <a:off x="2794336" y="2326686"/>
                  <a:ext cx="765426" cy="1889438"/>
                </a:xfrm>
                <a:custGeom>
                  <a:avLst/>
                  <a:gdLst>
                    <a:gd name="T0" fmla="*/ 747713 w 480"/>
                    <a:gd name="T1" fmla="*/ 306387 h 1182"/>
                    <a:gd name="T2" fmla="*/ 708025 w 480"/>
                    <a:gd name="T3" fmla="*/ 227013 h 1182"/>
                    <a:gd name="T4" fmla="*/ 666750 w 480"/>
                    <a:gd name="T5" fmla="*/ 131762 h 1182"/>
                    <a:gd name="T6" fmla="*/ 612775 w 480"/>
                    <a:gd name="T7" fmla="*/ 79375 h 1182"/>
                    <a:gd name="T8" fmla="*/ 546100 w 480"/>
                    <a:gd name="T9" fmla="*/ 39687 h 1182"/>
                    <a:gd name="T10" fmla="*/ 465138 w 480"/>
                    <a:gd name="T11" fmla="*/ 14288 h 1182"/>
                    <a:gd name="T12" fmla="*/ 369888 w 480"/>
                    <a:gd name="T13" fmla="*/ 0 h 1182"/>
                    <a:gd name="T14" fmla="*/ 317500 w 480"/>
                    <a:gd name="T15" fmla="*/ 14288 h 1182"/>
                    <a:gd name="T16" fmla="*/ 277813 w 480"/>
                    <a:gd name="T17" fmla="*/ 39687 h 1182"/>
                    <a:gd name="T18" fmla="*/ 225425 w 480"/>
                    <a:gd name="T19" fmla="*/ 79375 h 1182"/>
                    <a:gd name="T20" fmla="*/ 182563 w 480"/>
                    <a:gd name="T21" fmla="*/ 120650 h 1182"/>
                    <a:gd name="T22" fmla="*/ 157163 w 480"/>
                    <a:gd name="T23" fmla="*/ 174625 h 1182"/>
                    <a:gd name="T24" fmla="*/ 115888 w 480"/>
                    <a:gd name="T25" fmla="*/ 227013 h 1182"/>
                    <a:gd name="T26" fmla="*/ 101600 w 480"/>
                    <a:gd name="T27" fmla="*/ 280987 h 1182"/>
                    <a:gd name="T28" fmla="*/ 101600 w 480"/>
                    <a:gd name="T29" fmla="*/ 331787 h 1182"/>
                    <a:gd name="T30" fmla="*/ 88900 w 480"/>
                    <a:gd name="T31" fmla="*/ 438150 h 1182"/>
                    <a:gd name="T32" fmla="*/ 76200 w 480"/>
                    <a:gd name="T33" fmla="*/ 546100 h 1182"/>
                    <a:gd name="T34" fmla="*/ 58738 w 480"/>
                    <a:gd name="T35" fmla="*/ 611187 h 1182"/>
                    <a:gd name="T36" fmla="*/ 55563 w 480"/>
                    <a:gd name="T37" fmla="*/ 615950 h 1182"/>
                    <a:gd name="T38" fmla="*/ 28575 w 480"/>
                    <a:gd name="T39" fmla="*/ 666750 h 1182"/>
                    <a:gd name="T40" fmla="*/ 0 w 480"/>
                    <a:gd name="T41" fmla="*/ 692150 h 1182"/>
                    <a:gd name="T42" fmla="*/ 28575 w 480"/>
                    <a:gd name="T43" fmla="*/ 784225 h 1182"/>
                    <a:gd name="T44" fmla="*/ 41275 w 480"/>
                    <a:gd name="T45" fmla="*/ 915988 h 1182"/>
                    <a:gd name="T46" fmla="*/ 55563 w 480"/>
                    <a:gd name="T47" fmla="*/ 1098550 h 1182"/>
                    <a:gd name="T48" fmla="*/ 95250 w 480"/>
                    <a:gd name="T49" fmla="*/ 1138237 h 1182"/>
                    <a:gd name="T50" fmla="*/ 88900 w 480"/>
                    <a:gd name="T51" fmla="*/ 1235075 h 1182"/>
                    <a:gd name="T52" fmla="*/ 130175 w 480"/>
                    <a:gd name="T53" fmla="*/ 1277937 h 1182"/>
                    <a:gd name="T54" fmla="*/ 192087 w 480"/>
                    <a:gd name="T55" fmla="*/ 1390650 h 1182"/>
                    <a:gd name="T56" fmla="*/ 296863 w 480"/>
                    <a:gd name="T57" fmla="*/ 1517650 h 1182"/>
                    <a:gd name="T58" fmla="*/ 423863 w 480"/>
                    <a:gd name="T59" fmla="*/ 1822450 h 1182"/>
                    <a:gd name="T60" fmla="*/ 444500 w 480"/>
                    <a:gd name="T61" fmla="*/ 1860550 h 1182"/>
                    <a:gd name="T62" fmla="*/ 469900 w 480"/>
                    <a:gd name="T63" fmla="*/ 1876425 h 1182"/>
                    <a:gd name="T64" fmla="*/ 560388 w 480"/>
                    <a:gd name="T65" fmla="*/ 1439862 h 1182"/>
                    <a:gd name="T66" fmla="*/ 574675 w 480"/>
                    <a:gd name="T67" fmla="*/ 1374775 h 1182"/>
                    <a:gd name="T68" fmla="*/ 601663 w 480"/>
                    <a:gd name="T69" fmla="*/ 1335087 h 1182"/>
                    <a:gd name="T70" fmla="*/ 615950 w 480"/>
                    <a:gd name="T71" fmla="*/ 1306512 h 1182"/>
                    <a:gd name="T72" fmla="*/ 615950 w 480"/>
                    <a:gd name="T73" fmla="*/ 1230312 h 1182"/>
                    <a:gd name="T74" fmla="*/ 531813 w 480"/>
                    <a:gd name="T75" fmla="*/ 992187 h 1182"/>
                    <a:gd name="T76" fmla="*/ 560388 w 480"/>
                    <a:gd name="T77" fmla="*/ 984250 h 1182"/>
                    <a:gd name="T78" fmla="*/ 585788 w 480"/>
                    <a:gd name="T79" fmla="*/ 969962 h 1182"/>
                    <a:gd name="T80" fmla="*/ 693738 w 480"/>
                    <a:gd name="T81" fmla="*/ 798512 h 1182"/>
                    <a:gd name="T82" fmla="*/ 722313 w 480"/>
                    <a:gd name="T83" fmla="*/ 731837 h 1182"/>
                    <a:gd name="T84" fmla="*/ 733425 w 480"/>
                    <a:gd name="T85" fmla="*/ 638175 h 1182"/>
                    <a:gd name="T86" fmla="*/ 762000 w 480"/>
                    <a:gd name="T87" fmla="*/ 493712 h 1182"/>
                    <a:gd name="T88" fmla="*/ 762000 w 480"/>
                    <a:gd name="T89" fmla="*/ 373062 h 1182"/>
                    <a:gd name="T90" fmla="*/ 747713 w 480"/>
                    <a:gd name="T91" fmla="*/ 306387 h 1182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480"/>
                    <a:gd name="T139" fmla="*/ 0 h 1182"/>
                    <a:gd name="T140" fmla="*/ 480 w 480"/>
                    <a:gd name="T141" fmla="*/ 1182 h 1182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480" h="1182">
                      <a:moveTo>
                        <a:pt x="471" y="193"/>
                      </a:moveTo>
                      <a:lnTo>
                        <a:pt x="446" y="143"/>
                      </a:lnTo>
                      <a:lnTo>
                        <a:pt x="420" y="83"/>
                      </a:lnTo>
                      <a:lnTo>
                        <a:pt x="386" y="50"/>
                      </a:lnTo>
                      <a:lnTo>
                        <a:pt x="344" y="25"/>
                      </a:lnTo>
                      <a:lnTo>
                        <a:pt x="293" y="9"/>
                      </a:lnTo>
                      <a:lnTo>
                        <a:pt x="233" y="0"/>
                      </a:lnTo>
                      <a:lnTo>
                        <a:pt x="200" y="9"/>
                      </a:lnTo>
                      <a:lnTo>
                        <a:pt x="175" y="25"/>
                      </a:lnTo>
                      <a:lnTo>
                        <a:pt x="142" y="50"/>
                      </a:lnTo>
                      <a:lnTo>
                        <a:pt x="115" y="76"/>
                      </a:lnTo>
                      <a:lnTo>
                        <a:pt x="99" y="110"/>
                      </a:lnTo>
                      <a:lnTo>
                        <a:pt x="73" y="143"/>
                      </a:lnTo>
                      <a:lnTo>
                        <a:pt x="64" y="177"/>
                      </a:lnTo>
                      <a:lnTo>
                        <a:pt x="64" y="209"/>
                      </a:lnTo>
                      <a:lnTo>
                        <a:pt x="56" y="276"/>
                      </a:lnTo>
                      <a:lnTo>
                        <a:pt x="48" y="344"/>
                      </a:lnTo>
                      <a:lnTo>
                        <a:pt x="37" y="385"/>
                      </a:lnTo>
                      <a:lnTo>
                        <a:pt x="35" y="388"/>
                      </a:lnTo>
                      <a:lnTo>
                        <a:pt x="18" y="420"/>
                      </a:lnTo>
                      <a:lnTo>
                        <a:pt x="0" y="436"/>
                      </a:lnTo>
                      <a:lnTo>
                        <a:pt x="18" y="494"/>
                      </a:lnTo>
                      <a:lnTo>
                        <a:pt x="26" y="577"/>
                      </a:lnTo>
                      <a:lnTo>
                        <a:pt x="35" y="692"/>
                      </a:lnTo>
                      <a:lnTo>
                        <a:pt x="60" y="717"/>
                      </a:lnTo>
                      <a:lnTo>
                        <a:pt x="56" y="778"/>
                      </a:lnTo>
                      <a:lnTo>
                        <a:pt x="82" y="805"/>
                      </a:lnTo>
                      <a:lnTo>
                        <a:pt x="121" y="876"/>
                      </a:lnTo>
                      <a:lnTo>
                        <a:pt x="187" y="956"/>
                      </a:lnTo>
                      <a:lnTo>
                        <a:pt x="267" y="1148"/>
                      </a:lnTo>
                      <a:lnTo>
                        <a:pt x="280" y="1172"/>
                      </a:lnTo>
                      <a:lnTo>
                        <a:pt x="296" y="1182"/>
                      </a:lnTo>
                      <a:lnTo>
                        <a:pt x="353" y="907"/>
                      </a:lnTo>
                      <a:lnTo>
                        <a:pt x="362" y="866"/>
                      </a:lnTo>
                      <a:lnTo>
                        <a:pt x="379" y="841"/>
                      </a:lnTo>
                      <a:lnTo>
                        <a:pt x="388" y="823"/>
                      </a:lnTo>
                      <a:lnTo>
                        <a:pt x="388" y="775"/>
                      </a:lnTo>
                      <a:lnTo>
                        <a:pt x="335" y="625"/>
                      </a:lnTo>
                      <a:lnTo>
                        <a:pt x="353" y="620"/>
                      </a:lnTo>
                      <a:lnTo>
                        <a:pt x="369" y="611"/>
                      </a:lnTo>
                      <a:lnTo>
                        <a:pt x="437" y="503"/>
                      </a:lnTo>
                      <a:lnTo>
                        <a:pt x="455" y="461"/>
                      </a:lnTo>
                      <a:lnTo>
                        <a:pt x="462" y="402"/>
                      </a:lnTo>
                      <a:lnTo>
                        <a:pt x="480" y="311"/>
                      </a:lnTo>
                      <a:lnTo>
                        <a:pt x="480" y="235"/>
                      </a:lnTo>
                      <a:lnTo>
                        <a:pt x="471" y="193"/>
                      </a:lnTo>
                      <a:close/>
                    </a:path>
                  </a:pathLst>
                </a:custGeom>
                <a:solidFill>
                  <a:srgbClr val="2E2E2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50" name="Freeform 115"/>
                <p:cNvSpPr>
                  <a:spLocks/>
                </p:cNvSpPr>
                <p:nvPr/>
              </p:nvSpPr>
              <p:spPr bwMode="auto">
                <a:xfrm>
                  <a:off x="2763094" y="3404136"/>
                  <a:ext cx="827909" cy="874448"/>
                </a:xfrm>
                <a:custGeom>
                  <a:avLst/>
                  <a:gdLst>
                    <a:gd name="T0" fmla="*/ 631825 w 515"/>
                    <a:gd name="T1" fmla="*/ 354013 h 555"/>
                    <a:gd name="T2" fmla="*/ 601663 w 515"/>
                    <a:gd name="T3" fmla="*/ 469900 h 555"/>
                    <a:gd name="T4" fmla="*/ 515938 w 515"/>
                    <a:gd name="T5" fmla="*/ 881063 h 555"/>
                    <a:gd name="T6" fmla="*/ 488950 w 515"/>
                    <a:gd name="T7" fmla="*/ 881063 h 555"/>
                    <a:gd name="T8" fmla="*/ 201613 w 515"/>
                    <a:gd name="T9" fmla="*/ 325438 h 555"/>
                    <a:gd name="T10" fmla="*/ 200025 w 515"/>
                    <a:gd name="T11" fmla="*/ 320675 h 555"/>
                    <a:gd name="T12" fmla="*/ 182563 w 515"/>
                    <a:gd name="T13" fmla="*/ 319088 h 555"/>
                    <a:gd name="T14" fmla="*/ 136525 w 515"/>
                    <a:gd name="T15" fmla="*/ 330200 h 555"/>
                    <a:gd name="T16" fmla="*/ 33338 w 515"/>
                    <a:gd name="T17" fmla="*/ 368300 h 555"/>
                    <a:gd name="T18" fmla="*/ 0 w 515"/>
                    <a:gd name="T19" fmla="*/ 381000 h 555"/>
                    <a:gd name="T20" fmla="*/ 0 w 515"/>
                    <a:gd name="T21" fmla="*/ 19050 h 555"/>
                    <a:gd name="T22" fmla="*/ 0 w 515"/>
                    <a:gd name="T23" fmla="*/ 20638 h 555"/>
                    <a:gd name="T24" fmla="*/ 33338 w 515"/>
                    <a:gd name="T25" fmla="*/ 15875 h 555"/>
                    <a:gd name="T26" fmla="*/ 95250 w 515"/>
                    <a:gd name="T27" fmla="*/ 0 h 555"/>
                    <a:gd name="T28" fmla="*/ 146050 w 515"/>
                    <a:gd name="T29" fmla="*/ 125413 h 555"/>
                    <a:gd name="T30" fmla="*/ 174625 w 515"/>
                    <a:gd name="T31" fmla="*/ 187325 h 555"/>
                    <a:gd name="T32" fmla="*/ 231775 w 515"/>
                    <a:gd name="T33" fmla="*/ 295275 h 555"/>
                    <a:gd name="T34" fmla="*/ 488950 w 515"/>
                    <a:gd name="T35" fmla="*/ 739775 h 555"/>
                    <a:gd name="T36" fmla="*/ 601663 w 515"/>
                    <a:gd name="T37" fmla="*/ 325438 h 555"/>
                    <a:gd name="T38" fmla="*/ 611188 w 515"/>
                    <a:gd name="T39" fmla="*/ 307975 h 555"/>
                    <a:gd name="T40" fmla="*/ 615950 w 515"/>
                    <a:gd name="T41" fmla="*/ 277813 h 555"/>
                    <a:gd name="T42" fmla="*/ 612775 w 515"/>
                    <a:gd name="T43" fmla="*/ 201613 h 555"/>
                    <a:gd name="T44" fmla="*/ 601663 w 515"/>
                    <a:gd name="T45" fmla="*/ 101600 h 555"/>
                    <a:gd name="T46" fmla="*/ 596900 w 515"/>
                    <a:gd name="T47" fmla="*/ 41275 h 555"/>
                    <a:gd name="T48" fmla="*/ 595313 w 515"/>
                    <a:gd name="T49" fmla="*/ 0 h 555"/>
                    <a:gd name="T50" fmla="*/ 596900 w 515"/>
                    <a:gd name="T51" fmla="*/ 0 h 555"/>
                    <a:gd name="T52" fmla="*/ 627063 w 515"/>
                    <a:gd name="T53" fmla="*/ 41275 h 555"/>
                    <a:gd name="T54" fmla="*/ 733425 w 515"/>
                    <a:gd name="T55" fmla="*/ 201613 h 555"/>
                    <a:gd name="T56" fmla="*/ 798513 w 515"/>
                    <a:gd name="T57" fmla="*/ 314325 h 555"/>
                    <a:gd name="T58" fmla="*/ 817563 w 515"/>
                    <a:gd name="T59" fmla="*/ 358775 h 555"/>
                    <a:gd name="T60" fmla="*/ 777875 w 515"/>
                    <a:gd name="T61" fmla="*/ 355600 h 555"/>
                    <a:gd name="T62" fmla="*/ 631825 w 515"/>
                    <a:gd name="T63" fmla="*/ 354013 h 555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515"/>
                    <a:gd name="T97" fmla="*/ 0 h 555"/>
                    <a:gd name="T98" fmla="*/ 515 w 515"/>
                    <a:gd name="T99" fmla="*/ 555 h 555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515" h="555">
                      <a:moveTo>
                        <a:pt x="398" y="223"/>
                      </a:moveTo>
                      <a:lnTo>
                        <a:pt x="398" y="223"/>
                      </a:lnTo>
                      <a:lnTo>
                        <a:pt x="389" y="252"/>
                      </a:lnTo>
                      <a:lnTo>
                        <a:pt x="379" y="296"/>
                      </a:lnTo>
                      <a:lnTo>
                        <a:pt x="354" y="408"/>
                      </a:lnTo>
                      <a:lnTo>
                        <a:pt x="325" y="555"/>
                      </a:lnTo>
                      <a:lnTo>
                        <a:pt x="308" y="555"/>
                      </a:lnTo>
                      <a:lnTo>
                        <a:pt x="127" y="205"/>
                      </a:lnTo>
                      <a:lnTo>
                        <a:pt x="126" y="202"/>
                      </a:lnTo>
                      <a:lnTo>
                        <a:pt x="121" y="201"/>
                      </a:lnTo>
                      <a:lnTo>
                        <a:pt x="115" y="201"/>
                      </a:lnTo>
                      <a:lnTo>
                        <a:pt x="107" y="202"/>
                      </a:lnTo>
                      <a:lnTo>
                        <a:pt x="86" y="208"/>
                      </a:lnTo>
                      <a:lnTo>
                        <a:pt x="63" y="216"/>
                      </a:lnTo>
                      <a:lnTo>
                        <a:pt x="21" y="232"/>
                      </a:lnTo>
                      <a:lnTo>
                        <a:pt x="0" y="240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3" y="13"/>
                      </a:lnTo>
                      <a:lnTo>
                        <a:pt x="21" y="10"/>
                      </a:lnTo>
                      <a:lnTo>
                        <a:pt x="60" y="0"/>
                      </a:lnTo>
                      <a:lnTo>
                        <a:pt x="76" y="41"/>
                      </a:lnTo>
                      <a:lnTo>
                        <a:pt x="92" y="79"/>
                      </a:lnTo>
                      <a:lnTo>
                        <a:pt x="110" y="118"/>
                      </a:lnTo>
                      <a:lnTo>
                        <a:pt x="146" y="186"/>
                      </a:lnTo>
                      <a:lnTo>
                        <a:pt x="308" y="466"/>
                      </a:lnTo>
                      <a:lnTo>
                        <a:pt x="379" y="205"/>
                      </a:lnTo>
                      <a:lnTo>
                        <a:pt x="382" y="201"/>
                      </a:lnTo>
                      <a:lnTo>
                        <a:pt x="385" y="194"/>
                      </a:lnTo>
                      <a:lnTo>
                        <a:pt x="386" y="185"/>
                      </a:lnTo>
                      <a:lnTo>
                        <a:pt x="388" y="175"/>
                      </a:lnTo>
                      <a:lnTo>
                        <a:pt x="388" y="151"/>
                      </a:lnTo>
                      <a:lnTo>
                        <a:pt x="386" y="127"/>
                      </a:lnTo>
                      <a:lnTo>
                        <a:pt x="382" y="83"/>
                      </a:lnTo>
                      <a:lnTo>
                        <a:pt x="379" y="64"/>
                      </a:lnTo>
                      <a:lnTo>
                        <a:pt x="376" y="26"/>
                      </a:lnTo>
                      <a:lnTo>
                        <a:pt x="375" y="7"/>
                      </a:lnTo>
                      <a:lnTo>
                        <a:pt x="375" y="0"/>
                      </a:lnTo>
                      <a:lnTo>
                        <a:pt x="376" y="0"/>
                      </a:lnTo>
                      <a:lnTo>
                        <a:pt x="395" y="26"/>
                      </a:lnTo>
                      <a:lnTo>
                        <a:pt x="439" y="89"/>
                      </a:lnTo>
                      <a:lnTo>
                        <a:pt x="462" y="127"/>
                      </a:lnTo>
                      <a:lnTo>
                        <a:pt x="485" y="165"/>
                      </a:lnTo>
                      <a:lnTo>
                        <a:pt x="503" y="198"/>
                      </a:lnTo>
                      <a:lnTo>
                        <a:pt x="510" y="213"/>
                      </a:lnTo>
                      <a:lnTo>
                        <a:pt x="515" y="226"/>
                      </a:lnTo>
                      <a:lnTo>
                        <a:pt x="490" y="224"/>
                      </a:lnTo>
                      <a:lnTo>
                        <a:pt x="455" y="223"/>
                      </a:lnTo>
                      <a:lnTo>
                        <a:pt x="398" y="22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ea typeface="+mn-ea"/>
                  </a:endParaRPr>
                </a:p>
              </p:txBody>
            </p:sp>
          </p:grpSp>
          <p:grpSp>
            <p:nvGrpSpPr>
              <p:cNvPr id="125" name="Gruppe 62"/>
              <p:cNvGrpSpPr>
                <a:grpSpLocks/>
              </p:cNvGrpSpPr>
              <p:nvPr/>
            </p:nvGrpSpPr>
            <p:grpSpPr bwMode="auto">
              <a:xfrm>
                <a:off x="5695951" y="1624013"/>
                <a:ext cx="4879975" cy="5016500"/>
                <a:chOff x="5695951" y="1624013"/>
                <a:chExt cx="4879975" cy="5016500"/>
              </a:xfrm>
            </p:grpSpPr>
            <p:sp>
              <p:nvSpPr>
                <p:cNvPr id="136" name="Freeform 64"/>
                <p:cNvSpPr>
                  <a:spLocks/>
                </p:cNvSpPr>
                <p:nvPr/>
              </p:nvSpPr>
              <p:spPr bwMode="auto">
                <a:xfrm>
                  <a:off x="6309025" y="2920065"/>
                  <a:ext cx="4264480" cy="3716405"/>
                </a:xfrm>
                <a:custGeom>
                  <a:avLst/>
                  <a:gdLst>
                    <a:gd name="T0" fmla="*/ 3284538 w 2686"/>
                    <a:gd name="T1" fmla="*/ 3298825 h 2346"/>
                    <a:gd name="T2" fmla="*/ 2932112 w 2686"/>
                    <a:gd name="T3" fmla="*/ 3308350 h 2346"/>
                    <a:gd name="T4" fmla="*/ 2719387 w 2686"/>
                    <a:gd name="T5" fmla="*/ 3303588 h 2346"/>
                    <a:gd name="T6" fmla="*/ 2611437 w 2686"/>
                    <a:gd name="T7" fmla="*/ 3289300 h 2346"/>
                    <a:gd name="T8" fmla="*/ 1635125 w 2686"/>
                    <a:gd name="T9" fmla="*/ 3181349 h 2346"/>
                    <a:gd name="T10" fmla="*/ 1331912 w 2686"/>
                    <a:gd name="T11" fmla="*/ 3141662 h 2346"/>
                    <a:gd name="T12" fmla="*/ 1089025 w 2686"/>
                    <a:gd name="T13" fmla="*/ 3121024 h 2346"/>
                    <a:gd name="T14" fmla="*/ 927100 w 2686"/>
                    <a:gd name="T15" fmla="*/ 3117849 h 2346"/>
                    <a:gd name="T16" fmla="*/ 869950 w 2686"/>
                    <a:gd name="T17" fmla="*/ 3105149 h 2346"/>
                    <a:gd name="T18" fmla="*/ 862013 w 2686"/>
                    <a:gd name="T19" fmla="*/ 3095624 h 2346"/>
                    <a:gd name="T20" fmla="*/ 847725 w 2686"/>
                    <a:gd name="T21" fmla="*/ 3024187 h 2346"/>
                    <a:gd name="T22" fmla="*/ 846138 w 2686"/>
                    <a:gd name="T23" fmla="*/ 2913062 h 2346"/>
                    <a:gd name="T24" fmla="*/ 857250 w 2686"/>
                    <a:gd name="T25" fmla="*/ 2794000 h 2346"/>
                    <a:gd name="T26" fmla="*/ 881063 w 2686"/>
                    <a:gd name="T27" fmla="*/ 2700337 h 2346"/>
                    <a:gd name="T28" fmla="*/ 903288 w 2686"/>
                    <a:gd name="T29" fmla="*/ 2665412 h 2346"/>
                    <a:gd name="T30" fmla="*/ 915988 w 2686"/>
                    <a:gd name="T31" fmla="*/ 2660650 h 2346"/>
                    <a:gd name="T32" fmla="*/ 1554162 w 2686"/>
                    <a:gd name="T33" fmla="*/ 2670175 h 2346"/>
                    <a:gd name="T34" fmla="*/ 1193800 w 2686"/>
                    <a:gd name="T35" fmla="*/ 2576512 h 2346"/>
                    <a:gd name="T36" fmla="*/ 65088 w 2686"/>
                    <a:gd name="T37" fmla="*/ 2974975 h 2346"/>
                    <a:gd name="T38" fmla="*/ 131763 w 2686"/>
                    <a:gd name="T39" fmla="*/ 2849562 h 2346"/>
                    <a:gd name="T40" fmla="*/ 166687 w 2686"/>
                    <a:gd name="T41" fmla="*/ 2746375 h 2346"/>
                    <a:gd name="T42" fmla="*/ 166687 w 2686"/>
                    <a:gd name="T43" fmla="*/ 2679700 h 2346"/>
                    <a:gd name="T44" fmla="*/ 157162 w 2686"/>
                    <a:gd name="T45" fmla="*/ 2660650 h 2346"/>
                    <a:gd name="T46" fmla="*/ 111125 w 2686"/>
                    <a:gd name="T47" fmla="*/ 2609850 h 2346"/>
                    <a:gd name="T48" fmla="*/ 36512 w 2686"/>
                    <a:gd name="T49" fmla="*/ 2570162 h 2346"/>
                    <a:gd name="T50" fmla="*/ 0 w 2686"/>
                    <a:gd name="T51" fmla="*/ 2559050 h 2346"/>
                    <a:gd name="T52" fmla="*/ 258763 w 2686"/>
                    <a:gd name="T53" fmla="*/ 2373312 h 2346"/>
                    <a:gd name="T54" fmla="*/ 303212 w 2686"/>
                    <a:gd name="T55" fmla="*/ 2338387 h 2346"/>
                    <a:gd name="T56" fmla="*/ 392112 w 2686"/>
                    <a:gd name="T57" fmla="*/ 2249487 h 2346"/>
                    <a:gd name="T58" fmla="*/ 434975 w 2686"/>
                    <a:gd name="T59" fmla="*/ 2216150 h 2346"/>
                    <a:gd name="T60" fmla="*/ 573087 w 2686"/>
                    <a:gd name="T61" fmla="*/ 2160587 h 2346"/>
                    <a:gd name="T62" fmla="*/ 684212 w 2686"/>
                    <a:gd name="T63" fmla="*/ 2068512 h 2346"/>
                    <a:gd name="T64" fmla="*/ 835025 w 2686"/>
                    <a:gd name="T65" fmla="*/ 1793875 h 2346"/>
                    <a:gd name="T66" fmla="*/ 877888 w 2686"/>
                    <a:gd name="T67" fmla="*/ 1708150 h 2346"/>
                    <a:gd name="T68" fmla="*/ 952500 w 2686"/>
                    <a:gd name="T69" fmla="*/ 1457325 h 2346"/>
                    <a:gd name="T70" fmla="*/ 1009650 w 2686"/>
                    <a:gd name="T71" fmla="*/ 1400175 h 2346"/>
                    <a:gd name="T72" fmla="*/ 1065213 w 2686"/>
                    <a:gd name="T73" fmla="*/ 1319212 h 2346"/>
                    <a:gd name="T74" fmla="*/ 1073150 w 2686"/>
                    <a:gd name="T75" fmla="*/ 1290637 h 2346"/>
                    <a:gd name="T76" fmla="*/ 1090612 w 2686"/>
                    <a:gd name="T77" fmla="*/ 1041400 h 2346"/>
                    <a:gd name="T78" fmla="*/ 2006600 w 2686"/>
                    <a:gd name="T79" fmla="*/ 0 h 2346"/>
                    <a:gd name="T80" fmla="*/ 2197100 w 2686"/>
                    <a:gd name="T81" fmla="*/ 50800 h 2346"/>
                    <a:gd name="T82" fmla="*/ 2354262 w 2686"/>
                    <a:gd name="T83" fmla="*/ 60325 h 2346"/>
                    <a:gd name="T84" fmla="*/ 2386012 w 2686"/>
                    <a:gd name="T85" fmla="*/ 69850 h 2346"/>
                    <a:gd name="T86" fmla="*/ 2465387 w 2686"/>
                    <a:gd name="T87" fmla="*/ 88900 h 2346"/>
                    <a:gd name="T88" fmla="*/ 2728912 w 2686"/>
                    <a:gd name="T89" fmla="*/ 115888 h 2346"/>
                    <a:gd name="T90" fmla="*/ 2941637 w 2686"/>
                    <a:gd name="T91" fmla="*/ 195262 h 2346"/>
                    <a:gd name="T92" fmla="*/ 2973387 w 2686"/>
                    <a:gd name="T93" fmla="*/ 212725 h 2346"/>
                    <a:gd name="T94" fmla="*/ 3057525 w 2686"/>
                    <a:gd name="T95" fmla="*/ 273050 h 2346"/>
                    <a:gd name="T96" fmla="*/ 3103562 w 2686"/>
                    <a:gd name="T97" fmla="*/ 298450 h 2346"/>
                    <a:gd name="T98" fmla="*/ 3127375 w 2686"/>
                    <a:gd name="T99" fmla="*/ 315912 h 2346"/>
                    <a:gd name="T100" fmla="*/ 3168650 w 2686"/>
                    <a:gd name="T101" fmla="*/ 357187 h 2346"/>
                    <a:gd name="T102" fmla="*/ 3275013 w 2686"/>
                    <a:gd name="T103" fmla="*/ 444500 h 2346"/>
                    <a:gd name="T104" fmla="*/ 3436938 w 2686"/>
                    <a:gd name="T105" fmla="*/ 611187 h 2346"/>
                    <a:gd name="T106" fmla="*/ 3497263 w 2686"/>
                    <a:gd name="T107" fmla="*/ 685800 h 2346"/>
                    <a:gd name="T108" fmla="*/ 3579813 w 2686"/>
                    <a:gd name="T109" fmla="*/ 839788 h 2346"/>
                    <a:gd name="T110" fmla="*/ 4043363 w 2686"/>
                    <a:gd name="T111" fmla="*/ 2466975 h 234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2686"/>
                    <a:gd name="T169" fmla="*/ 0 h 2346"/>
                    <a:gd name="T170" fmla="*/ 2686 w 2686"/>
                    <a:gd name="T171" fmla="*/ 2346 h 2346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2686" h="2346">
                      <a:moveTo>
                        <a:pt x="2686" y="2346"/>
                      </a:moveTo>
                      <a:lnTo>
                        <a:pt x="2069" y="2078"/>
                      </a:lnTo>
                      <a:lnTo>
                        <a:pt x="2022" y="2081"/>
                      </a:lnTo>
                      <a:lnTo>
                        <a:pt x="1911" y="2082"/>
                      </a:lnTo>
                      <a:lnTo>
                        <a:pt x="1847" y="2084"/>
                      </a:lnTo>
                      <a:lnTo>
                        <a:pt x="1786" y="2084"/>
                      </a:lnTo>
                      <a:lnTo>
                        <a:pt x="1734" y="2082"/>
                      </a:lnTo>
                      <a:lnTo>
                        <a:pt x="1713" y="2081"/>
                      </a:lnTo>
                      <a:lnTo>
                        <a:pt x="1696" y="2078"/>
                      </a:lnTo>
                      <a:lnTo>
                        <a:pt x="1645" y="2072"/>
                      </a:lnTo>
                      <a:lnTo>
                        <a:pt x="1553" y="2062"/>
                      </a:lnTo>
                      <a:lnTo>
                        <a:pt x="1298" y="2033"/>
                      </a:lnTo>
                      <a:lnTo>
                        <a:pt x="1030" y="2004"/>
                      </a:lnTo>
                      <a:lnTo>
                        <a:pt x="919" y="1991"/>
                      </a:lnTo>
                      <a:lnTo>
                        <a:pt x="839" y="1979"/>
                      </a:lnTo>
                      <a:lnTo>
                        <a:pt x="784" y="1973"/>
                      </a:lnTo>
                      <a:lnTo>
                        <a:pt x="731" y="1969"/>
                      </a:lnTo>
                      <a:lnTo>
                        <a:pt x="686" y="1966"/>
                      </a:lnTo>
                      <a:lnTo>
                        <a:pt x="645" y="1966"/>
                      </a:lnTo>
                      <a:lnTo>
                        <a:pt x="612" y="1966"/>
                      </a:lnTo>
                      <a:lnTo>
                        <a:pt x="584" y="1964"/>
                      </a:lnTo>
                      <a:lnTo>
                        <a:pt x="562" y="1961"/>
                      </a:lnTo>
                      <a:lnTo>
                        <a:pt x="555" y="1959"/>
                      </a:lnTo>
                      <a:lnTo>
                        <a:pt x="548" y="1956"/>
                      </a:lnTo>
                      <a:lnTo>
                        <a:pt x="546" y="1954"/>
                      </a:lnTo>
                      <a:lnTo>
                        <a:pt x="543" y="1950"/>
                      </a:lnTo>
                      <a:lnTo>
                        <a:pt x="539" y="1940"/>
                      </a:lnTo>
                      <a:lnTo>
                        <a:pt x="536" y="1924"/>
                      </a:lnTo>
                      <a:lnTo>
                        <a:pt x="534" y="1905"/>
                      </a:lnTo>
                      <a:lnTo>
                        <a:pt x="533" y="1884"/>
                      </a:lnTo>
                      <a:lnTo>
                        <a:pt x="533" y="1859"/>
                      </a:lnTo>
                      <a:lnTo>
                        <a:pt x="533" y="1835"/>
                      </a:lnTo>
                      <a:lnTo>
                        <a:pt x="534" y="1810"/>
                      </a:lnTo>
                      <a:lnTo>
                        <a:pt x="537" y="1785"/>
                      </a:lnTo>
                      <a:lnTo>
                        <a:pt x="540" y="1760"/>
                      </a:lnTo>
                      <a:lnTo>
                        <a:pt x="545" y="1739"/>
                      </a:lnTo>
                      <a:lnTo>
                        <a:pt x="549" y="1718"/>
                      </a:lnTo>
                      <a:lnTo>
                        <a:pt x="555" y="1701"/>
                      </a:lnTo>
                      <a:lnTo>
                        <a:pt x="562" y="1688"/>
                      </a:lnTo>
                      <a:lnTo>
                        <a:pt x="565" y="1683"/>
                      </a:lnTo>
                      <a:lnTo>
                        <a:pt x="569" y="1679"/>
                      </a:lnTo>
                      <a:lnTo>
                        <a:pt x="574" y="1677"/>
                      </a:lnTo>
                      <a:lnTo>
                        <a:pt x="577" y="1676"/>
                      </a:lnTo>
                      <a:lnTo>
                        <a:pt x="746" y="1679"/>
                      </a:lnTo>
                      <a:lnTo>
                        <a:pt x="979" y="1682"/>
                      </a:lnTo>
                      <a:lnTo>
                        <a:pt x="1043" y="1425"/>
                      </a:lnTo>
                      <a:lnTo>
                        <a:pt x="868" y="1524"/>
                      </a:lnTo>
                      <a:lnTo>
                        <a:pt x="752" y="1623"/>
                      </a:lnTo>
                      <a:lnTo>
                        <a:pt x="262" y="1822"/>
                      </a:lnTo>
                      <a:lnTo>
                        <a:pt x="41" y="1874"/>
                      </a:lnTo>
                      <a:lnTo>
                        <a:pt x="55" y="1851"/>
                      </a:lnTo>
                      <a:lnTo>
                        <a:pt x="68" y="1826"/>
                      </a:lnTo>
                      <a:lnTo>
                        <a:pt x="83" y="1795"/>
                      </a:lnTo>
                      <a:lnTo>
                        <a:pt x="96" y="1762"/>
                      </a:lnTo>
                      <a:lnTo>
                        <a:pt x="102" y="1746"/>
                      </a:lnTo>
                      <a:lnTo>
                        <a:pt x="105" y="1730"/>
                      </a:lnTo>
                      <a:lnTo>
                        <a:pt x="108" y="1714"/>
                      </a:lnTo>
                      <a:lnTo>
                        <a:pt x="108" y="1701"/>
                      </a:lnTo>
                      <a:lnTo>
                        <a:pt x="105" y="1688"/>
                      </a:lnTo>
                      <a:lnTo>
                        <a:pt x="102" y="1682"/>
                      </a:lnTo>
                      <a:lnTo>
                        <a:pt x="99" y="1676"/>
                      </a:lnTo>
                      <a:lnTo>
                        <a:pt x="93" y="1667"/>
                      </a:lnTo>
                      <a:lnTo>
                        <a:pt x="86" y="1658"/>
                      </a:lnTo>
                      <a:lnTo>
                        <a:pt x="70" y="1644"/>
                      </a:lnTo>
                      <a:lnTo>
                        <a:pt x="52" y="1634"/>
                      </a:lnTo>
                      <a:lnTo>
                        <a:pt x="36" y="1625"/>
                      </a:lnTo>
                      <a:lnTo>
                        <a:pt x="23" y="1619"/>
                      </a:lnTo>
                      <a:lnTo>
                        <a:pt x="11" y="1615"/>
                      </a:lnTo>
                      <a:lnTo>
                        <a:pt x="0" y="1612"/>
                      </a:lnTo>
                      <a:lnTo>
                        <a:pt x="68" y="1562"/>
                      </a:lnTo>
                      <a:lnTo>
                        <a:pt x="124" y="1524"/>
                      </a:lnTo>
                      <a:lnTo>
                        <a:pt x="163" y="1495"/>
                      </a:lnTo>
                      <a:lnTo>
                        <a:pt x="178" y="1485"/>
                      </a:lnTo>
                      <a:lnTo>
                        <a:pt x="191" y="1473"/>
                      </a:lnTo>
                      <a:lnTo>
                        <a:pt x="218" y="1444"/>
                      </a:lnTo>
                      <a:lnTo>
                        <a:pt x="233" y="1430"/>
                      </a:lnTo>
                      <a:lnTo>
                        <a:pt x="247" y="1417"/>
                      </a:lnTo>
                      <a:lnTo>
                        <a:pt x="261" y="1405"/>
                      </a:lnTo>
                      <a:lnTo>
                        <a:pt x="274" y="1396"/>
                      </a:lnTo>
                      <a:lnTo>
                        <a:pt x="303" y="1385"/>
                      </a:lnTo>
                      <a:lnTo>
                        <a:pt x="330" y="1373"/>
                      </a:lnTo>
                      <a:lnTo>
                        <a:pt x="361" y="1361"/>
                      </a:lnTo>
                      <a:lnTo>
                        <a:pt x="408" y="1344"/>
                      </a:lnTo>
                      <a:lnTo>
                        <a:pt x="431" y="1332"/>
                      </a:lnTo>
                      <a:lnTo>
                        <a:pt x="431" y="1303"/>
                      </a:lnTo>
                      <a:lnTo>
                        <a:pt x="485" y="1202"/>
                      </a:lnTo>
                      <a:lnTo>
                        <a:pt x="526" y="1130"/>
                      </a:lnTo>
                      <a:lnTo>
                        <a:pt x="548" y="1087"/>
                      </a:lnTo>
                      <a:lnTo>
                        <a:pt x="553" y="1076"/>
                      </a:lnTo>
                      <a:lnTo>
                        <a:pt x="561" y="1054"/>
                      </a:lnTo>
                      <a:lnTo>
                        <a:pt x="578" y="997"/>
                      </a:lnTo>
                      <a:lnTo>
                        <a:pt x="600" y="918"/>
                      </a:lnTo>
                      <a:lnTo>
                        <a:pt x="612" y="908"/>
                      </a:lnTo>
                      <a:lnTo>
                        <a:pt x="636" y="882"/>
                      </a:lnTo>
                      <a:lnTo>
                        <a:pt x="650" y="864"/>
                      </a:lnTo>
                      <a:lnTo>
                        <a:pt x="663" y="847"/>
                      </a:lnTo>
                      <a:lnTo>
                        <a:pt x="671" y="831"/>
                      </a:lnTo>
                      <a:lnTo>
                        <a:pt x="674" y="822"/>
                      </a:lnTo>
                      <a:lnTo>
                        <a:pt x="676" y="813"/>
                      </a:lnTo>
                      <a:lnTo>
                        <a:pt x="680" y="773"/>
                      </a:lnTo>
                      <a:lnTo>
                        <a:pt x="685" y="720"/>
                      </a:lnTo>
                      <a:lnTo>
                        <a:pt x="687" y="656"/>
                      </a:lnTo>
                      <a:lnTo>
                        <a:pt x="769" y="426"/>
                      </a:lnTo>
                      <a:lnTo>
                        <a:pt x="903" y="184"/>
                      </a:lnTo>
                      <a:lnTo>
                        <a:pt x="1264" y="0"/>
                      </a:lnTo>
                      <a:lnTo>
                        <a:pt x="1326" y="0"/>
                      </a:lnTo>
                      <a:lnTo>
                        <a:pt x="1361" y="24"/>
                      </a:lnTo>
                      <a:lnTo>
                        <a:pt x="1384" y="32"/>
                      </a:lnTo>
                      <a:lnTo>
                        <a:pt x="1471" y="35"/>
                      </a:lnTo>
                      <a:lnTo>
                        <a:pt x="1483" y="38"/>
                      </a:lnTo>
                      <a:lnTo>
                        <a:pt x="1493" y="41"/>
                      </a:lnTo>
                      <a:lnTo>
                        <a:pt x="1503" y="44"/>
                      </a:lnTo>
                      <a:lnTo>
                        <a:pt x="1518" y="48"/>
                      </a:lnTo>
                      <a:lnTo>
                        <a:pt x="1534" y="53"/>
                      </a:lnTo>
                      <a:lnTo>
                        <a:pt x="1553" y="56"/>
                      </a:lnTo>
                      <a:lnTo>
                        <a:pt x="1602" y="62"/>
                      </a:lnTo>
                      <a:lnTo>
                        <a:pt x="1675" y="67"/>
                      </a:lnTo>
                      <a:lnTo>
                        <a:pt x="1719" y="73"/>
                      </a:lnTo>
                      <a:lnTo>
                        <a:pt x="1748" y="85"/>
                      </a:lnTo>
                      <a:lnTo>
                        <a:pt x="1827" y="108"/>
                      </a:lnTo>
                      <a:lnTo>
                        <a:pt x="1853" y="123"/>
                      </a:lnTo>
                      <a:lnTo>
                        <a:pt x="1860" y="127"/>
                      </a:lnTo>
                      <a:lnTo>
                        <a:pt x="1873" y="134"/>
                      </a:lnTo>
                      <a:lnTo>
                        <a:pt x="1897" y="149"/>
                      </a:lnTo>
                      <a:lnTo>
                        <a:pt x="1926" y="172"/>
                      </a:lnTo>
                      <a:lnTo>
                        <a:pt x="1949" y="181"/>
                      </a:lnTo>
                      <a:lnTo>
                        <a:pt x="1955" y="188"/>
                      </a:lnTo>
                      <a:lnTo>
                        <a:pt x="1962" y="194"/>
                      </a:lnTo>
                      <a:lnTo>
                        <a:pt x="1970" y="199"/>
                      </a:lnTo>
                      <a:lnTo>
                        <a:pt x="1981" y="204"/>
                      </a:lnTo>
                      <a:lnTo>
                        <a:pt x="1996" y="225"/>
                      </a:lnTo>
                      <a:lnTo>
                        <a:pt x="2022" y="239"/>
                      </a:lnTo>
                      <a:lnTo>
                        <a:pt x="2042" y="268"/>
                      </a:lnTo>
                      <a:lnTo>
                        <a:pt x="2063" y="280"/>
                      </a:lnTo>
                      <a:lnTo>
                        <a:pt x="2109" y="341"/>
                      </a:lnTo>
                      <a:lnTo>
                        <a:pt x="2150" y="373"/>
                      </a:lnTo>
                      <a:lnTo>
                        <a:pt x="2165" y="385"/>
                      </a:lnTo>
                      <a:lnTo>
                        <a:pt x="2185" y="400"/>
                      </a:lnTo>
                      <a:lnTo>
                        <a:pt x="2194" y="420"/>
                      </a:lnTo>
                      <a:lnTo>
                        <a:pt x="2203" y="432"/>
                      </a:lnTo>
                      <a:lnTo>
                        <a:pt x="2217" y="446"/>
                      </a:lnTo>
                      <a:lnTo>
                        <a:pt x="2255" y="529"/>
                      </a:lnTo>
                      <a:lnTo>
                        <a:pt x="2280" y="589"/>
                      </a:lnTo>
                      <a:lnTo>
                        <a:pt x="2293" y="621"/>
                      </a:lnTo>
                      <a:lnTo>
                        <a:pt x="2547" y="1554"/>
                      </a:lnTo>
                      <a:lnTo>
                        <a:pt x="2686" y="234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37" name="Freeform 82"/>
                <p:cNvSpPr>
                  <a:spLocks/>
                </p:cNvSpPr>
                <p:nvPr/>
              </p:nvSpPr>
              <p:spPr bwMode="auto">
                <a:xfrm>
                  <a:off x="6512091" y="1624013"/>
                  <a:ext cx="1765158" cy="2076810"/>
                </a:xfrm>
                <a:custGeom>
                  <a:avLst/>
                  <a:gdLst>
                    <a:gd name="T0" fmla="*/ 1393825 w 1117"/>
                    <a:gd name="T1" fmla="*/ 1831975 h 1314"/>
                    <a:gd name="T2" fmla="*/ 1196975 w 1117"/>
                    <a:gd name="T3" fmla="*/ 2016125 h 1314"/>
                    <a:gd name="T4" fmla="*/ 1181100 w 1117"/>
                    <a:gd name="T5" fmla="*/ 2044700 h 1314"/>
                    <a:gd name="T6" fmla="*/ 1054100 w 1117"/>
                    <a:gd name="T7" fmla="*/ 1982788 h 1314"/>
                    <a:gd name="T8" fmla="*/ 971550 w 1117"/>
                    <a:gd name="T9" fmla="*/ 1943100 h 1314"/>
                    <a:gd name="T10" fmla="*/ 857250 w 1117"/>
                    <a:gd name="T11" fmla="*/ 1928813 h 1314"/>
                    <a:gd name="T12" fmla="*/ 827088 w 1117"/>
                    <a:gd name="T13" fmla="*/ 1944688 h 1314"/>
                    <a:gd name="T14" fmla="*/ 714375 w 1117"/>
                    <a:gd name="T15" fmla="*/ 1978025 h 1314"/>
                    <a:gd name="T16" fmla="*/ 619125 w 1117"/>
                    <a:gd name="T17" fmla="*/ 1973263 h 1314"/>
                    <a:gd name="T18" fmla="*/ 542925 w 1117"/>
                    <a:gd name="T19" fmla="*/ 1924050 h 1314"/>
                    <a:gd name="T20" fmla="*/ 520700 w 1117"/>
                    <a:gd name="T21" fmla="*/ 1852613 h 1314"/>
                    <a:gd name="T22" fmla="*/ 487363 w 1117"/>
                    <a:gd name="T23" fmla="*/ 1808163 h 1314"/>
                    <a:gd name="T24" fmla="*/ 436563 w 1117"/>
                    <a:gd name="T25" fmla="*/ 1787525 h 1314"/>
                    <a:gd name="T26" fmla="*/ 411163 w 1117"/>
                    <a:gd name="T27" fmla="*/ 1771650 h 1314"/>
                    <a:gd name="T28" fmla="*/ 400050 w 1117"/>
                    <a:gd name="T29" fmla="*/ 1736725 h 1314"/>
                    <a:gd name="T30" fmla="*/ 409575 w 1117"/>
                    <a:gd name="T31" fmla="*/ 1706563 h 1314"/>
                    <a:gd name="T32" fmla="*/ 425450 w 1117"/>
                    <a:gd name="T33" fmla="*/ 1685925 h 1314"/>
                    <a:gd name="T34" fmla="*/ 409575 w 1117"/>
                    <a:gd name="T35" fmla="*/ 1681163 h 1314"/>
                    <a:gd name="T36" fmla="*/ 369888 w 1117"/>
                    <a:gd name="T37" fmla="*/ 1666875 h 1314"/>
                    <a:gd name="T38" fmla="*/ 355600 w 1117"/>
                    <a:gd name="T39" fmla="*/ 1628775 h 1314"/>
                    <a:gd name="T40" fmla="*/ 293688 w 1117"/>
                    <a:gd name="T41" fmla="*/ 1547812 h 1314"/>
                    <a:gd name="T42" fmla="*/ 238125 w 1117"/>
                    <a:gd name="T43" fmla="*/ 1547812 h 1314"/>
                    <a:gd name="T44" fmla="*/ 207963 w 1117"/>
                    <a:gd name="T45" fmla="*/ 1519237 h 1314"/>
                    <a:gd name="T46" fmla="*/ 212725 w 1117"/>
                    <a:gd name="T47" fmla="*/ 1438275 h 1314"/>
                    <a:gd name="T48" fmla="*/ 258763 w 1117"/>
                    <a:gd name="T49" fmla="*/ 1220787 h 1314"/>
                    <a:gd name="T50" fmla="*/ 242888 w 1117"/>
                    <a:gd name="T51" fmla="*/ 1169987 h 1314"/>
                    <a:gd name="T52" fmla="*/ 217488 w 1117"/>
                    <a:gd name="T53" fmla="*/ 1135062 h 1314"/>
                    <a:gd name="T54" fmla="*/ 184150 w 1117"/>
                    <a:gd name="T55" fmla="*/ 1089025 h 1314"/>
                    <a:gd name="T56" fmla="*/ 188913 w 1117"/>
                    <a:gd name="T57" fmla="*/ 906463 h 1314"/>
                    <a:gd name="T58" fmla="*/ 187325 w 1117"/>
                    <a:gd name="T59" fmla="*/ 828675 h 1314"/>
                    <a:gd name="T60" fmla="*/ 131763 w 1117"/>
                    <a:gd name="T61" fmla="*/ 820738 h 1314"/>
                    <a:gd name="T62" fmla="*/ 112713 w 1117"/>
                    <a:gd name="T63" fmla="*/ 804862 h 1314"/>
                    <a:gd name="T64" fmla="*/ 61913 w 1117"/>
                    <a:gd name="T65" fmla="*/ 733425 h 1314"/>
                    <a:gd name="T66" fmla="*/ 0 w 1117"/>
                    <a:gd name="T67" fmla="*/ 674687 h 1314"/>
                    <a:gd name="T68" fmla="*/ 168275 w 1117"/>
                    <a:gd name="T69" fmla="*/ 450850 h 1314"/>
                    <a:gd name="T70" fmla="*/ 330200 w 1117"/>
                    <a:gd name="T71" fmla="*/ 282575 h 1314"/>
                    <a:gd name="T72" fmla="*/ 457200 w 1117"/>
                    <a:gd name="T73" fmla="*/ 193675 h 1314"/>
                    <a:gd name="T74" fmla="*/ 515938 w 1117"/>
                    <a:gd name="T75" fmla="*/ 166687 h 1314"/>
                    <a:gd name="T76" fmla="*/ 730250 w 1117"/>
                    <a:gd name="T77" fmla="*/ 61913 h 1314"/>
                    <a:gd name="T78" fmla="*/ 938213 w 1117"/>
                    <a:gd name="T79" fmla="*/ 4762 h 1314"/>
                    <a:gd name="T80" fmla="*/ 1069975 w 1117"/>
                    <a:gd name="T81" fmla="*/ 4762 h 1314"/>
                    <a:gd name="T82" fmla="*/ 1139825 w 1117"/>
                    <a:gd name="T83" fmla="*/ 25400 h 1314"/>
                    <a:gd name="T84" fmla="*/ 1376363 w 1117"/>
                    <a:gd name="T85" fmla="*/ 142875 h 1314"/>
                    <a:gd name="T86" fmla="*/ 1493838 w 1117"/>
                    <a:gd name="T87" fmla="*/ 233363 h 1314"/>
                    <a:gd name="T88" fmla="*/ 1571625 w 1117"/>
                    <a:gd name="T89" fmla="*/ 349250 h 1314"/>
                    <a:gd name="T90" fmla="*/ 1616075 w 1117"/>
                    <a:gd name="T91" fmla="*/ 495300 h 1314"/>
                    <a:gd name="T92" fmla="*/ 1662113 w 1117"/>
                    <a:gd name="T93" fmla="*/ 765175 h 1314"/>
                    <a:gd name="T94" fmla="*/ 1690688 w 1117"/>
                    <a:gd name="T95" fmla="*/ 890588 h 1314"/>
                    <a:gd name="T96" fmla="*/ 1746251 w 1117"/>
                    <a:gd name="T97" fmla="*/ 1052512 h 1314"/>
                    <a:gd name="T98" fmla="*/ 1773238 w 1117"/>
                    <a:gd name="T99" fmla="*/ 1190625 h 1314"/>
                    <a:gd name="T100" fmla="*/ 1692276 w 1117"/>
                    <a:gd name="T101" fmla="*/ 1436687 h 1314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1117"/>
                    <a:gd name="T154" fmla="*/ 0 h 1314"/>
                    <a:gd name="T155" fmla="*/ 1117 w 1117"/>
                    <a:gd name="T156" fmla="*/ 1314 h 1314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1117" h="1314">
                      <a:moveTo>
                        <a:pt x="1015" y="1039"/>
                      </a:moveTo>
                      <a:lnTo>
                        <a:pt x="1015" y="1039"/>
                      </a:lnTo>
                      <a:lnTo>
                        <a:pt x="973" y="1075"/>
                      </a:lnTo>
                      <a:lnTo>
                        <a:pt x="878" y="1154"/>
                      </a:lnTo>
                      <a:lnTo>
                        <a:pt x="829" y="1199"/>
                      </a:lnTo>
                      <a:lnTo>
                        <a:pt x="785" y="1238"/>
                      </a:lnTo>
                      <a:lnTo>
                        <a:pt x="768" y="1256"/>
                      </a:lnTo>
                      <a:lnTo>
                        <a:pt x="754" y="1270"/>
                      </a:lnTo>
                      <a:lnTo>
                        <a:pt x="746" y="1282"/>
                      </a:lnTo>
                      <a:lnTo>
                        <a:pt x="744" y="1285"/>
                      </a:lnTo>
                      <a:lnTo>
                        <a:pt x="744" y="1288"/>
                      </a:lnTo>
                      <a:lnTo>
                        <a:pt x="747" y="1314"/>
                      </a:lnTo>
                      <a:lnTo>
                        <a:pt x="700" y="1276"/>
                      </a:lnTo>
                      <a:lnTo>
                        <a:pt x="664" y="1249"/>
                      </a:lnTo>
                      <a:lnTo>
                        <a:pt x="648" y="1237"/>
                      </a:lnTo>
                      <a:lnTo>
                        <a:pt x="636" y="1231"/>
                      </a:lnTo>
                      <a:lnTo>
                        <a:pt x="612" y="1224"/>
                      </a:lnTo>
                      <a:lnTo>
                        <a:pt x="580" y="1217"/>
                      </a:lnTo>
                      <a:lnTo>
                        <a:pt x="565" y="1215"/>
                      </a:lnTo>
                      <a:lnTo>
                        <a:pt x="550" y="1214"/>
                      </a:lnTo>
                      <a:lnTo>
                        <a:pt x="540" y="1215"/>
                      </a:lnTo>
                      <a:lnTo>
                        <a:pt x="534" y="1217"/>
                      </a:lnTo>
                      <a:lnTo>
                        <a:pt x="531" y="1219"/>
                      </a:lnTo>
                      <a:lnTo>
                        <a:pt x="521" y="1225"/>
                      </a:lnTo>
                      <a:lnTo>
                        <a:pt x="502" y="1233"/>
                      </a:lnTo>
                      <a:lnTo>
                        <a:pt x="478" y="1240"/>
                      </a:lnTo>
                      <a:lnTo>
                        <a:pt x="464" y="1243"/>
                      </a:lnTo>
                      <a:lnTo>
                        <a:pt x="450" y="1246"/>
                      </a:lnTo>
                      <a:lnTo>
                        <a:pt x="435" y="1247"/>
                      </a:lnTo>
                      <a:lnTo>
                        <a:pt x="419" y="1247"/>
                      </a:lnTo>
                      <a:lnTo>
                        <a:pt x="405" y="1246"/>
                      </a:lnTo>
                      <a:lnTo>
                        <a:pt x="390" y="1243"/>
                      </a:lnTo>
                      <a:lnTo>
                        <a:pt x="377" y="1238"/>
                      </a:lnTo>
                      <a:lnTo>
                        <a:pt x="364" y="1233"/>
                      </a:lnTo>
                      <a:lnTo>
                        <a:pt x="352" y="1224"/>
                      </a:lnTo>
                      <a:lnTo>
                        <a:pt x="342" y="1212"/>
                      </a:lnTo>
                      <a:lnTo>
                        <a:pt x="339" y="1202"/>
                      </a:lnTo>
                      <a:lnTo>
                        <a:pt x="332" y="1180"/>
                      </a:lnTo>
                      <a:lnTo>
                        <a:pt x="328" y="1167"/>
                      </a:lnTo>
                      <a:lnTo>
                        <a:pt x="322" y="1155"/>
                      </a:lnTo>
                      <a:lnTo>
                        <a:pt x="314" y="1145"/>
                      </a:lnTo>
                      <a:lnTo>
                        <a:pt x="311" y="1142"/>
                      </a:lnTo>
                      <a:lnTo>
                        <a:pt x="307" y="1139"/>
                      </a:lnTo>
                      <a:lnTo>
                        <a:pt x="295" y="1133"/>
                      </a:lnTo>
                      <a:lnTo>
                        <a:pt x="285" y="1129"/>
                      </a:lnTo>
                      <a:lnTo>
                        <a:pt x="275" y="1126"/>
                      </a:lnTo>
                      <a:lnTo>
                        <a:pt x="269" y="1123"/>
                      </a:lnTo>
                      <a:lnTo>
                        <a:pt x="263" y="1120"/>
                      </a:lnTo>
                      <a:lnTo>
                        <a:pt x="259" y="1116"/>
                      </a:lnTo>
                      <a:lnTo>
                        <a:pt x="258" y="1110"/>
                      </a:lnTo>
                      <a:lnTo>
                        <a:pt x="255" y="1103"/>
                      </a:lnTo>
                      <a:lnTo>
                        <a:pt x="252" y="1094"/>
                      </a:lnTo>
                      <a:lnTo>
                        <a:pt x="252" y="1090"/>
                      </a:lnTo>
                      <a:lnTo>
                        <a:pt x="252" y="1085"/>
                      </a:lnTo>
                      <a:lnTo>
                        <a:pt x="255" y="1080"/>
                      </a:lnTo>
                      <a:lnTo>
                        <a:pt x="258" y="1075"/>
                      </a:lnTo>
                      <a:lnTo>
                        <a:pt x="265" y="1068"/>
                      </a:lnTo>
                      <a:lnTo>
                        <a:pt x="268" y="1064"/>
                      </a:lnTo>
                      <a:lnTo>
                        <a:pt x="268" y="1062"/>
                      </a:lnTo>
                      <a:lnTo>
                        <a:pt x="268" y="1061"/>
                      </a:lnTo>
                      <a:lnTo>
                        <a:pt x="265" y="1059"/>
                      </a:lnTo>
                      <a:lnTo>
                        <a:pt x="258" y="1059"/>
                      </a:lnTo>
                      <a:lnTo>
                        <a:pt x="247" y="1058"/>
                      </a:lnTo>
                      <a:lnTo>
                        <a:pt x="242" y="1056"/>
                      </a:lnTo>
                      <a:lnTo>
                        <a:pt x="237" y="1055"/>
                      </a:lnTo>
                      <a:lnTo>
                        <a:pt x="233" y="1050"/>
                      </a:lnTo>
                      <a:lnTo>
                        <a:pt x="228" y="1045"/>
                      </a:lnTo>
                      <a:lnTo>
                        <a:pt x="226" y="1036"/>
                      </a:lnTo>
                      <a:lnTo>
                        <a:pt x="224" y="1026"/>
                      </a:lnTo>
                      <a:lnTo>
                        <a:pt x="221" y="1001"/>
                      </a:lnTo>
                      <a:lnTo>
                        <a:pt x="218" y="970"/>
                      </a:lnTo>
                      <a:lnTo>
                        <a:pt x="185" y="975"/>
                      </a:lnTo>
                      <a:lnTo>
                        <a:pt x="161" y="976"/>
                      </a:lnTo>
                      <a:lnTo>
                        <a:pt x="154" y="976"/>
                      </a:lnTo>
                      <a:lnTo>
                        <a:pt x="150" y="975"/>
                      </a:lnTo>
                      <a:lnTo>
                        <a:pt x="144" y="973"/>
                      </a:lnTo>
                      <a:lnTo>
                        <a:pt x="140" y="970"/>
                      </a:lnTo>
                      <a:lnTo>
                        <a:pt x="135" y="964"/>
                      </a:lnTo>
                      <a:lnTo>
                        <a:pt x="131" y="957"/>
                      </a:lnTo>
                      <a:lnTo>
                        <a:pt x="129" y="944"/>
                      </a:lnTo>
                      <a:lnTo>
                        <a:pt x="129" y="928"/>
                      </a:lnTo>
                      <a:lnTo>
                        <a:pt x="134" y="906"/>
                      </a:lnTo>
                      <a:lnTo>
                        <a:pt x="147" y="857"/>
                      </a:lnTo>
                      <a:lnTo>
                        <a:pt x="156" y="816"/>
                      </a:lnTo>
                      <a:lnTo>
                        <a:pt x="161" y="785"/>
                      </a:lnTo>
                      <a:lnTo>
                        <a:pt x="163" y="769"/>
                      </a:lnTo>
                      <a:lnTo>
                        <a:pt x="161" y="762"/>
                      </a:lnTo>
                      <a:lnTo>
                        <a:pt x="158" y="750"/>
                      </a:lnTo>
                      <a:lnTo>
                        <a:pt x="153" y="737"/>
                      </a:lnTo>
                      <a:lnTo>
                        <a:pt x="145" y="724"/>
                      </a:lnTo>
                      <a:lnTo>
                        <a:pt x="142" y="720"/>
                      </a:lnTo>
                      <a:lnTo>
                        <a:pt x="137" y="715"/>
                      </a:lnTo>
                      <a:lnTo>
                        <a:pt x="131" y="711"/>
                      </a:lnTo>
                      <a:lnTo>
                        <a:pt x="126" y="705"/>
                      </a:lnTo>
                      <a:lnTo>
                        <a:pt x="121" y="696"/>
                      </a:lnTo>
                      <a:lnTo>
                        <a:pt x="116" y="686"/>
                      </a:lnTo>
                      <a:lnTo>
                        <a:pt x="115" y="672"/>
                      </a:lnTo>
                      <a:lnTo>
                        <a:pt x="115" y="653"/>
                      </a:lnTo>
                      <a:lnTo>
                        <a:pt x="119" y="571"/>
                      </a:lnTo>
                      <a:lnTo>
                        <a:pt x="119" y="524"/>
                      </a:lnTo>
                      <a:lnTo>
                        <a:pt x="119" y="523"/>
                      </a:lnTo>
                      <a:lnTo>
                        <a:pt x="118" y="522"/>
                      </a:lnTo>
                      <a:lnTo>
                        <a:pt x="113" y="520"/>
                      </a:lnTo>
                      <a:lnTo>
                        <a:pt x="99" y="519"/>
                      </a:lnTo>
                      <a:lnTo>
                        <a:pt x="90" y="519"/>
                      </a:lnTo>
                      <a:lnTo>
                        <a:pt x="83" y="517"/>
                      </a:lnTo>
                      <a:lnTo>
                        <a:pt x="75" y="513"/>
                      </a:lnTo>
                      <a:lnTo>
                        <a:pt x="73" y="510"/>
                      </a:lnTo>
                      <a:lnTo>
                        <a:pt x="71" y="507"/>
                      </a:lnTo>
                      <a:lnTo>
                        <a:pt x="65" y="497"/>
                      </a:lnTo>
                      <a:lnTo>
                        <a:pt x="61" y="488"/>
                      </a:lnTo>
                      <a:lnTo>
                        <a:pt x="54" y="478"/>
                      </a:lnTo>
                      <a:lnTo>
                        <a:pt x="39" y="462"/>
                      </a:lnTo>
                      <a:lnTo>
                        <a:pt x="23" y="444"/>
                      </a:lnTo>
                      <a:lnTo>
                        <a:pt x="10" y="434"/>
                      </a:lnTo>
                      <a:lnTo>
                        <a:pt x="0" y="425"/>
                      </a:lnTo>
                      <a:lnTo>
                        <a:pt x="30" y="382"/>
                      </a:lnTo>
                      <a:lnTo>
                        <a:pt x="64" y="336"/>
                      </a:lnTo>
                      <a:lnTo>
                        <a:pt x="106" y="284"/>
                      </a:lnTo>
                      <a:lnTo>
                        <a:pt x="131" y="256"/>
                      </a:lnTo>
                      <a:lnTo>
                        <a:pt x="156" y="229"/>
                      </a:lnTo>
                      <a:lnTo>
                        <a:pt x="182" y="202"/>
                      </a:lnTo>
                      <a:lnTo>
                        <a:pt x="208" y="178"/>
                      </a:lnTo>
                      <a:lnTo>
                        <a:pt x="234" y="156"/>
                      </a:lnTo>
                      <a:lnTo>
                        <a:pt x="262" y="137"/>
                      </a:lnTo>
                      <a:lnTo>
                        <a:pt x="275" y="128"/>
                      </a:lnTo>
                      <a:lnTo>
                        <a:pt x="288" y="122"/>
                      </a:lnTo>
                      <a:lnTo>
                        <a:pt x="301" y="116"/>
                      </a:lnTo>
                      <a:lnTo>
                        <a:pt x="314" y="112"/>
                      </a:lnTo>
                      <a:lnTo>
                        <a:pt x="325" y="105"/>
                      </a:lnTo>
                      <a:lnTo>
                        <a:pt x="357" y="87"/>
                      </a:lnTo>
                      <a:lnTo>
                        <a:pt x="402" y="64"/>
                      </a:lnTo>
                      <a:lnTo>
                        <a:pt x="429" y="51"/>
                      </a:lnTo>
                      <a:lnTo>
                        <a:pt x="460" y="39"/>
                      </a:lnTo>
                      <a:lnTo>
                        <a:pt x="491" y="28"/>
                      </a:lnTo>
                      <a:lnTo>
                        <a:pt x="524" y="17"/>
                      </a:lnTo>
                      <a:lnTo>
                        <a:pt x="558" y="9"/>
                      </a:lnTo>
                      <a:lnTo>
                        <a:pt x="591" y="3"/>
                      </a:lnTo>
                      <a:lnTo>
                        <a:pt x="625" y="0"/>
                      </a:lnTo>
                      <a:lnTo>
                        <a:pt x="642" y="0"/>
                      </a:lnTo>
                      <a:lnTo>
                        <a:pt x="658" y="1"/>
                      </a:lnTo>
                      <a:lnTo>
                        <a:pt x="674" y="3"/>
                      </a:lnTo>
                      <a:lnTo>
                        <a:pt x="689" y="7"/>
                      </a:lnTo>
                      <a:lnTo>
                        <a:pt x="705" y="12"/>
                      </a:lnTo>
                      <a:lnTo>
                        <a:pt x="718" y="16"/>
                      </a:lnTo>
                      <a:lnTo>
                        <a:pt x="773" y="41"/>
                      </a:lnTo>
                      <a:lnTo>
                        <a:pt x="823" y="65"/>
                      </a:lnTo>
                      <a:lnTo>
                        <a:pt x="846" y="77"/>
                      </a:lnTo>
                      <a:lnTo>
                        <a:pt x="867" y="90"/>
                      </a:lnTo>
                      <a:lnTo>
                        <a:pt x="887" y="103"/>
                      </a:lnTo>
                      <a:lnTo>
                        <a:pt x="906" y="118"/>
                      </a:lnTo>
                      <a:lnTo>
                        <a:pt x="925" y="133"/>
                      </a:lnTo>
                      <a:lnTo>
                        <a:pt x="941" y="147"/>
                      </a:lnTo>
                      <a:lnTo>
                        <a:pt x="955" y="163"/>
                      </a:lnTo>
                      <a:lnTo>
                        <a:pt x="969" y="181"/>
                      </a:lnTo>
                      <a:lnTo>
                        <a:pt x="980" y="200"/>
                      </a:lnTo>
                      <a:lnTo>
                        <a:pt x="990" y="220"/>
                      </a:lnTo>
                      <a:lnTo>
                        <a:pt x="999" y="242"/>
                      </a:lnTo>
                      <a:lnTo>
                        <a:pt x="1006" y="264"/>
                      </a:lnTo>
                      <a:lnTo>
                        <a:pt x="1018" y="312"/>
                      </a:lnTo>
                      <a:lnTo>
                        <a:pt x="1028" y="358"/>
                      </a:lnTo>
                      <a:lnTo>
                        <a:pt x="1036" y="404"/>
                      </a:lnTo>
                      <a:lnTo>
                        <a:pt x="1041" y="444"/>
                      </a:lnTo>
                      <a:lnTo>
                        <a:pt x="1047" y="482"/>
                      </a:lnTo>
                      <a:lnTo>
                        <a:pt x="1053" y="514"/>
                      </a:lnTo>
                      <a:lnTo>
                        <a:pt x="1059" y="542"/>
                      </a:lnTo>
                      <a:lnTo>
                        <a:pt x="1062" y="552"/>
                      </a:lnTo>
                      <a:lnTo>
                        <a:pt x="1065" y="561"/>
                      </a:lnTo>
                      <a:lnTo>
                        <a:pt x="1073" y="581"/>
                      </a:lnTo>
                      <a:lnTo>
                        <a:pt x="1082" y="606"/>
                      </a:lnTo>
                      <a:lnTo>
                        <a:pt x="1100" y="663"/>
                      </a:lnTo>
                      <a:lnTo>
                        <a:pt x="1113" y="717"/>
                      </a:lnTo>
                      <a:lnTo>
                        <a:pt x="1116" y="737"/>
                      </a:lnTo>
                      <a:lnTo>
                        <a:pt x="1117" y="750"/>
                      </a:lnTo>
                      <a:lnTo>
                        <a:pt x="1117" y="759"/>
                      </a:lnTo>
                      <a:lnTo>
                        <a:pt x="1113" y="771"/>
                      </a:lnTo>
                      <a:lnTo>
                        <a:pt x="1103" y="807"/>
                      </a:lnTo>
                      <a:lnTo>
                        <a:pt x="1066" y="905"/>
                      </a:lnTo>
                      <a:lnTo>
                        <a:pt x="1015" y="1039"/>
                      </a:lnTo>
                      <a:close/>
                    </a:path>
                  </a:pathLst>
                </a:custGeom>
                <a:solidFill>
                  <a:srgbClr val="4D4D4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38" name="Freeform 83"/>
                <p:cNvSpPr>
                  <a:spLocks/>
                </p:cNvSpPr>
                <p:nvPr/>
              </p:nvSpPr>
              <p:spPr bwMode="auto">
                <a:xfrm>
                  <a:off x="7652416" y="2810764"/>
                  <a:ext cx="765415" cy="1233592"/>
                </a:xfrm>
                <a:custGeom>
                  <a:avLst/>
                  <a:gdLst>
                    <a:gd name="T0" fmla="*/ 0 w 481"/>
                    <a:gd name="T1" fmla="*/ 884238 h 775"/>
                    <a:gd name="T2" fmla="*/ 0 w 481"/>
                    <a:gd name="T3" fmla="*/ 884238 h 775"/>
                    <a:gd name="T4" fmla="*/ 168275 w 481"/>
                    <a:gd name="T5" fmla="*/ 1035050 h 775"/>
                    <a:gd name="T6" fmla="*/ 300038 w 481"/>
                    <a:gd name="T7" fmla="*/ 1149350 h 775"/>
                    <a:gd name="T8" fmla="*/ 354013 w 481"/>
                    <a:gd name="T9" fmla="*/ 1196975 h 775"/>
                    <a:gd name="T10" fmla="*/ 392113 w 481"/>
                    <a:gd name="T11" fmla="*/ 1225550 h 775"/>
                    <a:gd name="T12" fmla="*/ 411163 w 481"/>
                    <a:gd name="T13" fmla="*/ 1230313 h 775"/>
                    <a:gd name="T14" fmla="*/ 411163 w 481"/>
                    <a:gd name="T15" fmla="*/ 1230313 h 775"/>
                    <a:gd name="T16" fmla="*/ 446088 w 481"/>
                    <a:gd name="T17" fmla="*/ 1116013 h 775"/>
                    <a:gd name="T18" fmla="*/ 481013 w 481"/>
                    <a:gd name="T19" fmla="*/ 990600 h 775"/>
                    <a:gd name="T20" fmla="*/ 527050 w 481"/>
                    <a:gd name="T21" fmla="*/ 842963 h 775"/>
                    <a:gd name="T22" fmla="*/ 579438 w 481"/>
                    <a:gd name="T23" fmla="*/ 681038 h 775"/>
                    <a:gd name="T24" fmla="*/ 604838 w 481"/>
                    <a:gd name="T25" fmla="*/ 601663 h 775"/>
                    <a:gd name="T26" fmla="*/ 635000 w 481"/>
                    <a:gd name="T27" fmla="*/ 523875 h 775"/>
                    <a:gd name="T28" fmla="*/ 663575 w 481"/>
                    <a:gd name="T29" fmla="*/ 449263 h 775"/>
                    <a:gd name="T30" fmla="*/ 690563 w 481"/>
                    <a:gd name="T31" fmla="*/ 382588 h 775"/>
                    <a:gd name="T32" fmla="*/ 719138 w 481"/>
                    <a:gd name="T33" fmla="*/ 323850 h 775"/>
                    <a:gd name="T34" fmla="*/ 744538 w 481"/>
                    <a:gd name="T35" fmla="*/ 273050 h 775"/>
                    <a:gd name="T36" fmla="*/ 744538 w 481"/>
                    <a:gd name="T37" fmla="*/ 273050 h 775"/>
                    <a:gd name="T38" fmla="*/ 750888 w 481"/>
                    <a:gd name="T39" fmla="*/ 252413 h 775"/>
                    <a:gd name="T40" fmla="*/ 760413 w 481"/>
                    <a:gd name="T41" fmla="*/ 203200 h 775"/>
                    <a:gd name="T42" fmla="*/ 763588 w 481"/>
                    <a:gd name="T43" fmla="*/ 174625 h 775"/>
                    <a:gd name="T44" fmla="*/ 763588 w 481"/>
                    <a:gd name="T45" fmla="*/ 146050 h 775"/>
                    <a:gd name="T46" fmla="*/ 758825 w 481"/>
                    <a:gd name="T47" fmla="*/ 119063 h 775"/>
                    <a:gd name="T48" fmla="*/ 755650 w 481"/>
                    <a:gd name="T49" fmla="*/ 109538 h 775"/>
                    <a:gd name="T50" fmla="*/ 749300 w 481"/>
                    <a:gd name="T51" fmla="*/ 96838 h 775"/>
                    <a:gd name="T52" fmla="*/ 619125 w 481"/>
                    <a:gd name="T53" fmla="*/ 0 h 775"/>
                    <a:gd name="T54" fmla="*/ 0 w 481"/>
                    <a:gd name="T55" fmla="*/ 884238 h 775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481"/>
                    <a:gd name="T85" fmla="*/ 0 h 775"/>
                    <a:gd name="T86" fmla="*/ 481 w 481"/>
                    <a:gd name="T87" fmla="*/ 775 h 775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481" h="775">
                      <a:moveTo>
                        <a:pt x="0" y="557"/>
                      </a:moveTo>
                      <a:lnTo>
                        <a:pt x="0" y="557"/>
                      </a:lnTo>
                      <a:lnTo>
                        <a:pt x="106" y="652"/>
                      </a:lnTo>
                      <a:lnTo>
                        <a:pt x="189" y="724"/>
                      </a:lnTo>
                      <a:lnTo>
                        <a:pt x="223" y="754"/>
                      </a:lnTo>
                      <a:lnTo>
                        <a:pt x="247" y="772"/>
                      </a:lnTo>
                      <a:lnTo>
                        <a:pt x="259" y="775"/>
                      </a:lnTo>
                      <a:lnTo>
                        <a:pt x="281" y="703"/>
                      </a:lnTo>
                      <a:lnTo>
                        <a:pt x="303" y="624"/>
                      </a:lnTo>
                      <a:lnTo>
                        <a:pt x="332" y="531"/>
                      </a:lnTo>
                      <a:lnTo>
                        <a:pt x="365" y="429"/>
                      </a:lnTo>
                      <a:lnTo>
                        <a:pt x="381" y="379"/>
                      </a:lnTo>
                      <a:lnTo>
                        <a:pt x="400" y="330"/>
                      </a:lnTo>
                      <a:lnTo>
                        <a:pt x="418" y="283"/>
                      </a:lnTo>
                      <a:lnTo>
                        <a:pt x="435" y="241"/>
                      </a:lnTo>
                      <a:lnTo>
                        <a:pt x="453" y="204"/>
                      </a:lnTo>
                      <a:lnTo>
                        <a:pt x="469" y="172"/>
                      </a:lnTo>
                      <a:lnTo>
                        <a:pt x="473" y="159"/>
                      </a:lnTo>
                      <a:lnTo>
                        <a:pt x="479" y="128"/>
                      </a:lnTo>
                      <a:lnTo>
                        <a:pt x="481" y="110"/>
                      </a:lnTo>
                      <a:lnTo>
                        <a:pt x="481" y="92"/>
                      </a:lnTo>
                      <a:lnTo>
                        <a:pt x="478" y="75"/>
                      </a:lnTo>
                      <a:lnTo>
                        <a:pt x="476" y="69"/>
                      </a:lnTo>
                      <a:lnTo>
                        <a:pt x="472" y="61"/>
                      </a:lnTo>
                      <a:lnTo>
                        <a:pt x="390" y="0"/>
                      </a:lnTo>
                      <a:lnTo>
                        <a:pt x="0" y="55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39" name="Freeform 84"/>
                <p:cNvSpPr>
                  <a:spLocks/>
                </p:cNvSpPr>
                <p:nvPr/>
              </p:nvSpPr>
              <p:spPr bwMode="auto">
                <a:xfrm>
                  <a:off x="7496208" y="3591522"/>
                  <a:ext cx="156208" cy="374764"/>
                </a:xfrm>
                <a:custGeom>
                  <a:avLst/>
                  <a:gdLst>
                    <a:gd name="T0" fmla="*/ 161925 w 102"/>
                    <a:gd name="T1" fmla="*/ 106363 h 234"/>
                    <a:gd name="T2" fmla="*/ 161925 w 102"/>
                    <a:gd name="T3" fmla="*/ 106363 h 234"/>
                    <a:gd name="T4" fmla="*/ 147638 w 102"/>
                    <a:gd name="T5" fmla="*/ 136525 h 234"/>
                    <a:gd name="T6" fmla="*/ 131763 w 102"/>
                    <a:gd name="T7" fmla="*/ 166688 h 234"/>
                    <a:gd name="T8" fmla="*/ 115888 w 102"/>
                    <a:gd name="T9" fmla="*/ 203200 h 234"/>
                    <a:gd name="T10" fmla="*/ 98425 w 102"/>
                    <a:gd name="T11" fmla="*/ 242888 h 234"/>
                    <a:gd name="T12" fmla="*/ 85725 w 102"/>
                    <a:gd name="T13" fmla="*/ 284163 h 234"/>
                    <a:gd name="T14" fmla="*/ 77788 w 102"/>
                    <a:gd name="T15" fmla="*/ 304800 h 234"/>
                    <a:gd name="T16" fmla="*/ 76200 w 102"/>
                    <a:gd name="T17" fmla="*/ 323850 h 234"/>
                    <a:gd name="T18" fmla="*/ 73025 w 102"/>
                    <a:gd name="T19" fmla="*/ 341313 h 234"/>
                    <a:gd name="T20" fmla="*/ 73025 w 102"/>
                    <a:gd name="T21" fmla="*/ 355600 h 234"/>
                    <a:gd name="T22" fmla="*/ 73025 w 102"/>
                    <a:gd name="T23" fmla="*/ 355600 h 234"/>
                    <a:gd name="T24" fmla="*/ 76200 w 102"/>
                    <a:gd name="T25" fmla="*/ 366713 h 234"/>
                    <a:gd name="T26" fmla="*/ 73025 w 102"/>
                    <a:gd name="T27" fmla="*/ 371475 h 234"/>
                    <a:gd name="T28" fmla="*/ 71438 w 102"/>
                    <a:gd name="T29" fmla="*/ 369888 h 234"/>
                    <a:gd name="T30" fmla="*/ 66675 w 102"/>
                    <a:gd name="T31" fmla="*/ 360363 h 234"/>
                    <a:gd name="T32" fmla="*/ 55563 w 102"/>
                    <a:gd name="T33" fmla="*/ 333375 h 234"/>
                    <a:gd name="T34" fmla="*/ 41275 w 102"/>
                    <a:gd name="T35" fmla="*/ 293688 h 234"/>
                    <a:gd name="T36" fmla="*/ 12700 w 102"/>
                    <a:gd name="T37" fmla="*/ 212725 h 234"/>
                    <a:gd name="T38" fmla="*/ 0 w 102"/>
                    <a:gd name="T39" fmla="*/ 171450 h 234"/>
                    <a:gd name="T40" fmla="*/ 36513 w 102"/>
                    <a:gd name="T41" fmla="*/ 0 h 234"/>
                    <a:gd name="T42" fmla="*/ 36513 w 102"/>
                    <a:gd name="T43" fmla="*/ 0 h 234"/>
                    <a:gd name="T44" fmla="*/ 50800 w 102"/>
                    <a:gd name="T45" fmla="*/ 6350 h 234"/>
                    <a:gd name="T46" fmla="*/ 66675 w 102"/>
                    <a:gd name="T47" fmla="*/ 11113 h 234"/>
                    <a:gd name="T48" fmla="*/ 85725 w 102"/>
                    <a:gd name="T49" fmla="*/ 22225 h 234"/>
                    <a:gd name="T50" fmla="*/ 103188 w 102"/>
                    <a:gd name="T51" fmla="*/ 36513 h 234"/>
                    <a:gd name="T52" fmla="*/ 123825 w 102"/>
                    <a:gd name="T53" fmla="*/ 55563 h 234"/>
                    <a:gd name="T54" fmla="*/ 146050 w 102"/>
                    <a:gd name="T55" fmla="*/ 77788 h 234"/>
                    <a:gd name="T56" fmla="*/ 153988 w 102"/>
                    <a:gd name="T57" fmla="*/ 92075 h 234"/>
                    <a:gd name="T58" fmla="*/ 161925 w 102"/>
                    <a:gd name="T59" fmla="*/ 106363 h 234"/>
                    <a:gd name="T60" fmla="*/ 161925 w 102"/>
                    <a:gd name="T61" fmla="*/ 106363 h 234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102"/>
                    <a:gd name="T94" fmla="*/ 0 h 234"/>
                    <a:gd name="T95" fmla="*/ 102 w 102"/>
                    <a:gd name="T96" fmla="*/ 234 h 234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102" h="234">
                      <a:moveTo>
                        <a:pt x="102" y="67"/>
                      </a:moveTo>
                      <a:lnTo>
                        <a:pt x="102" y="67"/>
                      </a:lnTo>
                      <a:lnTo>
                        <a:pt x="93" y="86"/>
                      </a:lnTo>
                      <a:lnTo>
                        <a:pt x="83" y="105"/>
                      </a:lnTo>
                      <a:lnTo>
                        <a:pt x="73" y="128"/>
                      </a:lnTo>
                      <a:lnTo>
                        <a:pt x="62" y="153"/>
                      </a:lnTo>
                      <a:lnTo>
                        <a:pt x="54" y="179"/>
                      </a:lnTo>
                      <a:lnTo>
                        <a:pt x="49" y="192"/>
                      </a:lnTo>
                      <a:lnTo>
                        <a:pt x="48" y="204"/>
                      </a:lnTo>
                      <a:lnTo>
                        <a:pt x="46" y="215"/>
                      </a:lnTo>
                      <a:lnTo>
                        <a:pt x="46" y="224"/>
                      </a:lnTo>
                      <a:lnTo>
                        <a:pt x="48" y="231"/>
                      </a:lnTo>
                      <a:lnTo>
                        <a:pt x="46" y="234"/>
                      </a:lnTo>
                      <a:lnTo>
                        <a:pt x="45" y="233"/>
                      </a:lnTo>
                      <a:lnTo>
                        <a:pt x="42" y="227"/>
                      </a:lnTo>
                      <a:lnTo>
                        <a:pt x="35" y="210"/>
                      </a:lnTo>
                      <a:lnTo>
                        <a:pt x="26" y="185"/>
                      </a:lnTo>
                      <a:lnTo>
                        <a:pt x="8" y="134"/>
                      </a:lnTo>
                      <a:lnTo>
                        <a:pt x="0" y="108"/>
                      </a:lnTo>
                      <a:lnTo>
                        <a:pt x="23" y="0"/>
                      </a:lnTo>
                      <a:lnTo>
                        <a:pt x="32" y="4"/>
                      </a:lnTo>
                      <a:lnTo>
                        <a:pt x="42" y="7"/>
                      </a:lnTo>
                      <a:lnTo>
                        <a:pt x="54" y="14"/>
                      </a:lnTo>
                      <a:lnTo>
                        <a:pt x="65" y="23"/>
                      </a:lnTo>
                      <a:lnTo>
                        <a:pt x="78" y="35"/>
                      </a:lnTo>
                      <a:lnTo>
                        <a:pt x="92" y="49"/>
                      </a:lnTo>
                      <a:lnTo>
                        <a:pt x="97" y="58"/>
                      </a:lnTo>
                      <a:lnTo>
                        <a:pt x="102" y="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40" name="Freeform 87"/>
                <p:cNvSpPr>
                  <a:spLocks/>
                </p:cNvSpPr>
                <p:nvPr/>
              </p:nvSpPr>
              <p:spPr bwMode="auto">
                <a:xfrm>
                  <a:off x="5699808" y="5449719"/>
                  <a:ext cx="781041" cy="624606"/>
                </a:xfrm>
                <a:custGeom>
                  <a:avLst/>
                  <a:gdLst>
                    <a:gd name="T0" fmla="*/ 696913 w 490"/>
                    <a:gd name="T1" fmla="*/ 390525 h 387"/>
                    <a:gd name="T2" fmla="*/ 777875 w 490"/>
                    <a:gd name="T3" fmla="*/ 203200 h 387"/>
                    <a:gd name="T4" fmla="*/ 627063 w 490"/>
                    <a:gd name="T5" fmla="*/ 15875 h 387"/>
                    <a:gd name="T6" fmla="*/ 615950 w 490"/>
                    <a:gd name="T7" fmla="*/ 7938 h 387"/>
                    <a:gd name="T8" fmla="*/ 587375 w 490"/>
                    <a:gd name="T9" fmla="*/ 38100 h 387"/>
                    <a:gd name="T10" fmla="*/ 561975 w 490"/>
                    <a:gd name="T11" fmla="*/ 63500 h 387"/>
                    <a:gd name="T12" fmla="*/ 509588 w 490"/>
                    <a:gd name="T13" fmla="*/ 52388 h 387"/>
                    <a:gd name="T14" fmla="*/ 327025 w 490"/>
                    <a:gd name="T15" fmla="*/ 7938 h 387"/>
                    <a:gd name="T16" fmla="*/ 258763 w 490"/>
                    <a:gd name="T17" fmla="*/ 0 h 387"/>
                    <a:gd name="T18" fmla="*/ 198437 w 490"/>
                    <a:gd name="T19" fmla="*/ 17463 h 387"/>
                    <a:gd name="T20" fmla="*/ 171450 w 490"/>
                    <a:gd name="T21" fmla="*/ 73025 h 387"/>
                    <a:gd name="T22" fmla="*/ 111125 w 490"/>
                    <a:gd name="T23" fmla="*/ 96838 h 387"/>
                    <a:gd name="T24" fmla="*/ 53975 w 490"/>
                    <a:gd name="T25" fmla="*/ 147638 h 387"/>
                    <a:gd name="T26" fmla="*/ 49212 w 490"/>
                    <a:gd name="T27" fmla="*/ 152400 h 387"/>
                    <a:gd name="T28" fmla="*/ 49212 w 490"/>
                    <a:gd name="T29" fmla="*/ 187325 h 387"/>
                    <a:gd name="T30" fmla="*/ 46038 w 490"/>
                    <a:gd name="T31" fmla="*/ 203200 h 387"/>
                    <a:gd name="T32" fmla="*/ 28575 w 490"/>
                    <a:gd name="T33" fmla="*/ 260350 h 387"/>
                    <a:gd name="T34" fmla="*/ 19050 w 490"/>
                    <a:gd name="T35" fmla="*/ 276225 h 387"/>
                    <a:gd name="T36" fmla="*/ 0 w 490"/>
                    <a:gd name="T37" fmla="*/ 330200 h 387"/>
                    <a:gd name="T38" fmla="*/ 0 w 490"/>
                    <a:gd name="T39" fmla="*/ 392113 h 387"/>
                    <a:gd name="T40" fmla="*/ 0 w 490"/>
                    <a:gd name="T41" fmla="*/ 422275 h 387"/>
                    <a:gd name="T42" fmla="*/ 19050 w 490"/>
                    <a:gd name="T43" fmla="*/ 481013 h 387"/>
                    <a:gd name="T44" fmla="*/ 44450 w 490"/>
                    <a:gd name="T45" fmla="*/ 538163 h 387"/>
                    <a:gd name="T46" fmla="*/ 49212 w 490"/>
                    <a:gd name="T47" fmla="*/ 544513 h 387"/>
                    <a:gd name="T48" fmla="*/ 90488 w 490"/>
                    <a:gd name="T49" fmla="*/ 579438 h 387"/>
                    <a:gd name="T50" fmla="*/ 122238 w 490"/>
                    <a:gd name="T51" fmla="*/ 579438 h 387"/>
                    <a:gd name="T52" fmla="*/ 147638 w 490"/>
                    <a:gd name="T53" fmla="*/ 579438 h 387"/>
                    <a:gd name="T54" fmla="*/ 177800 w 490"/>
                    <a:gd name="T55" fmla="*/ 584200 h 387"/>
                    <a:gd name="T56" fmla="*/ 195262 w 490"/>
                    <a:gd name="T57" fmla="*/ 584200 h 387"/>
                    <a:gd name="T58" fmla="*/ 203200 w 490"/>
                    <a:gd name="T59" fmla="*/ 584200 h 387"/>
                    <a:gd name="T60" fmla="*/ 222250 w 490"/>
                    <a:gd name="T61" fmla="*/ 587375 h 387"/>
                    <a:gd name="T62" fmla="*/ 252413 w 490"/>
                    <a:gd name="T63" fmla="*/ 596900 h 387"/>
                    <a:gd name="T64" fmla="*/ 288925 w 490"/>
                    <a:gd name="T65" fmla="*/ 596900 h 387"/>
                    <a:gd name="T66" fmla="*/ 296863 w 490"/>
                    <a:gd name="T67" fmla="*/ 598488 h 387"/>
                    <a:gd name="T68" fmla="*/ 314325 w 490"/>
                    <a:gd name="T69" fmla="*/ 603250 h 387"/>
                    <a:gd name="T70" fmla="*/ 344488 w 490"/>
                    <a:gd name="T71" fmla="*/ 604838 h 387"/>
                    <a:gd name="T72" fmla="*/ 354013 w 490"/>
                    <a:gd name="T73" fmla="*/ 612775 h 387"/>
                    <a:gd name="T74" fmla="*/ 384175 w 490"/>
                    <a:gd name="T75" fmla="*/ 612775 h 387"/>
                    <a:gd name="T76" fmla="*/ 414338 w 490"/>
                    <a:gd name="T77" fmla="*/ 614363 h 387"/>
                    <a:gd name="T78" fmla="*/ 439738 w 490"/>
                    <a:gd name="T79" fmla="*/ 603250 h 387"/>
                    <a:gd name="T80" fmla="*/ 439738 w 490"/>
                    <a:gd name="T81" fmla="*/ 596900 h 387"/>
                    <a:gd name="T82" fmla="*/ 460375 w 490"/>
                    <a:gd name="T83" fmla="*/ 579438 h 387"/>
                    <a:gd name="T84" fmla="*/ 495300 w 490"/>
                    <a:gd name="T85" fmla="*/ 557213 h 387"/>
                    <a:gd name="T86" fmla="*/ 496888 w 490"/>
                    <a:gd name="T87" fmla="*/ 542925 h 387"/>
                    <a:gd name="T88" fmla="*/ 495300 w 490"/>
                    <a:gd name="T89" fmla="*/ 512763 h 387"/>
                    <a:gd name="T90" fmla="*/ 476250 w 490"/>
                    <a:gd name="T91" fmla="*/ 477838 h 387"/>
                    <a:gd name="T92" fmla="*/ 531813 w 490"/>
                    <a:gd name="T93" fmla="*/ 471488 h 387"/>
                    <a:gd name="T94" fmla="*/ 574675 w 490"/>
                    <a:gd name="T95" fmla="*/ 461963 h 387"/>
                    <a:gd name="T96" fmla="*/ 581025 w 490"/>
                    <a:gd name="T97" fmla="*/ 457200 h 387"/>
                    <a:gd name="T98" fmla="*/ 596900 w 490"/>
                    <a:gd name="T99" fmla="*/ 455613 h 387"/>
                    <a:gd name="T100" fmla="*/ 600075 w 490"/>
                    <a:gd name="T101" fmla="*/ 447675 h 387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490"/>
                    <a:gd name="T154" fmla="*/ 0 h 387"/>
                    <a:gd name="T155" fmla="*/ 490 w 490"/>
                    <a:gd name="T156" fmla="*/ 387 h 387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490" h="387">
                      <a:moveTo>
                        <a:pt x="378" y="282"/>
                      </a:moveTo>
                      <a:lnTo>
                        <a:pt x="418" y="255"/>
                      </a:lnTo>
                      <a:lnTo>
                        <a:pt x="439" y="246"/>
                      </a:lnTo>
                      <a:lnTo>
                        <a:pt x="447" y="240"/>
                      </a:lnTo>
                      <a:lnTo>
                        <a:pt x="490" y="128"/>
                      </a:lnTo>
                      <a:lnTo>
                        <a:pt x="442" y="67"/>
                      </a:lnTo>
                      <a:lnTo>
                        <a:pt x="407" y="23"/>
                      </a:lnTo>
                      <a:lnTo>
                        <a:pt x="395" y="10"/>
                      </a:lnTo>
                      <a:lnTo>
                        <a:pt x="391" y="7"/>
                      </a:lnTo>
                      <a:lnTo>
                        <a:pt x="388" y="5"/>
                      </a:lnTo>
                      <a:lnTo>
                        <a:pt x="385" y="8"/>
                      </a:lnTo>
                      <a:lnTo>
                        <a:pt x="380" y="13"/>
                      </a:lnTo>
                      <a:lnTo>
                        <a:pt x="370" y="24"/>
                      </a:lnTo>
                      <a:lnTo>
                        <a:pt x="362" y="36"/>
                      </a:lnTo>
                      <a:lnTo>
                        <a:pt x="357" y="40"/>
                      </a:lnTo>
                      <a:lnTo>
                        <a:pt x="354" y="40"/>
                      </a:lnTo>
                      <a:lnTo>
                        <a:pt x="343" y="39"/>
                      </a:lnTo>
                      <a:lnTo>
                        <a:pt x="321" y="33"/>
                      </a:lnTo>
                      <a:lnTo>
                        <a:pt x="292" y="26"/>
                      </a:lnTo>
                      <a:lnTo>
                        <a:pt x="227" y="7"/>
                      </a:lnTo>
                      <a:lnTo>
                        <a:pt x="206" y="5"/>
                      </a:lnTo>
                      <a:lnTo>
                        <a:pt x="187" y="3"/>
                      </a:lnTo>
                      <a:lnTo>
                        <a:pt x="175" y="0"/>
                      </a:lnTo>
                      <a:lnTo>
                        <a:pt x="163" y="0"/>
                      </a:lnTo>
                      <a:lnTo>
                        <a:pt x="144" y="5"/>
                      </a:lnTo>
                      <a:lnTo>
                        <a:pt x="139" y="7"/>
                      </a:lnTo>
                      <a:lnTo>
                        <a:pt x="125" y="11"/>
                      </a:lnTo>
                      <a:lnTo>
                        <a:pt x="114" y="24"/>
                      </a:lnTo>
                      <a:lnTo>
                        <a:pt x="109" y="37"/>
                      </a:lnTo>
                      <a:lnTo>
                        <a:pt x="108" y="46"/>
                      </a:lnTo>
                      <a:lnTo>
                        <a:pt x="102" y="52"/>
                      </a:lnTo>
                      <a:lnTo>
                        <a:pt x="85" y="56"/>
                      </a:lnTo>
                      <a:lnTo>
                        <a:pt x="70" y="61"/>
                      </a:lnTo>
                      <a:lnTo>
                        <a:pt x="53" y="67"/>
                      </a:lnTo>
                      <a:lnTo>
                        <a:pt x="37" y="77"/>
                      </a:lnTo>
                      <a:lnTo>
                        <a:pt x="34" y="93"/>
                      </a:lnTo>
                      <a:lnTo>
                        <a:pt x="32" y="94"/>
                      </a:lnTo>
                      <a:lnTo>
                        <a:pt x="31" y="96"/>
                      </a:lnTo>
                      <a:lnTo>
                        <a:pt x="31" y="102"/>
                      </a:lnTo>
                      <a:lnTo>
                        <a:pt x="31" y="118"/>
                      </a:lnTo>
                      <a:lnTo>
                        <a:pt x="31" y="121"/>
                      </a:lnTo>
                      <a:lnTo>
                        <a:pt x="29" y="128"/>
                      </a:lnTo>
                      <a:lnTo>
                        <a:pt x="25" y="147"/>
                      </a:lnTo>
                      <a:lnTo>
                        <a:pt x="18" y="164"/>
                      </a:lnTo>
                      <a:lnTo>
                        <a:pt x="16" y="167"/>
                      </a:lnTo>
                      <a:lnTo>
                        <a:pt x="12" y="174"/>
                      </a:lnTo>
                      <a:lnTo>
                        <a:pt x="5" y="190"/>
                      </a:lnTo>
                      <a:lnTo>
                        <a:pt x="0" y="208"/>
                      </a:lnTo>
                      <a:lnTo>
                        <a:pt x="0" y="221"/>
                      </a:lnTo>
                      <a:lnTo>
                        <a:pt x="0" y="236"/>
                      </a:lnTo>
                      <a:lnTo>
                        <a:pt x="0" y="247"/>
                      </a:lnTo>
                      <a:lnTo>
                        <a:pt x="0" y="260"/>
                      </a:lnTo>
                      <a:lnTo>
                        <a:pt x="0" y="266"/>
                      </a:lnTo>
                      <a:lnTo>
                        <a:pt x="0" y="276"/>
                      </a:lnTo>
                      <a:lnTo>
                        <a:pt x="12" y="303"/>
                      </a:lnTo>
                      <a:lnTo>
                        <a:pt x="15" y="317"/>
                      </a:lnTo>
                      <a:lnTo>
                        <a:pt x="21" y="326"/>
                      </a:lnTo>
                      <a:lnTo>
                        <a:pt x="28" y="339"/>
                      </a:lnTo>
                      <a:lnTo>
                        <a:pt x="31" y="343"/>
                      </a:lnTo>
                      <a:lnTo>
                        <a:pt x="34" y="349"/>
                      </a:lnTo>
                      <a:lnTo>
                        <a:pt x="41" y="358"/>
                      </a:lnTo>
                      <a:lnTo>
                        <a:pt x="57" y="365"/>
                      </a:lnTo>
                      <a:lnTo>
                        <a:pt x="67" y="365"/>
                      </a:lnTo>
                      <a:lnTo>
                        <a:pt x="77" y="365"/>
                      </a:lnTo>
                      <a:lnTo>
                        <a:pt x="86" y="364"/>
                      </a:lnTo>
                      <a:lnTo>
                        <a:pt x="93" y="365"/>
                      </a:lnTo>
                      <a:lnTo>
                        <a:pt x="105" y="368"/>
                      </a:lnTo>
                      <a:lnTo>
                        <a:pt x="112" y="368"/>
                      </a:lnTo>
                      <a:lnTo>
                        <a:pt x="114" y="368"/>
                      </a:lnTo>
                      <a:lnTo>
                        <a:pt x="123" y="368"/>
                      </a:lnTo>
                      <a:lnTo>
                        <a:pt x="125" y="368"/>
                      </a:lnTo>
                      <a:lnTo>
                        <a:pt x="128" y="368"/>
                      </a:lnTo>
                      <a:lnTo>
                        <a:pt x="133" y="368"/>
                      </a:lnTo>
                      <a:lnTo>
                        <a:pt x="140" y="370"/>
                      </a:lnTo>
                      <a:lnTo>
                        <a:pt x="155" y="374"/>
                      </a:lnTo>
                      <a:lnTo>
                        <a:pt x="159" y="376"/>
                      </a:lnTo>
                      <a:lnTo>
                        <a:pt x="176" y="376"/>
                      </a:lnTo>
                      <a:lnTo>
                        <a:pt x="182" y="376"/>
                      </a:lnTo>
                      <a:lnTo>
                        <a:pt x="187" y="377"/>
                      </a:lnTo>
                      <a:lnTo>
                        <a:pt x="195" y="378"/>
                      </a:lnTo>
                      <a:lnTo>
                        <a:pt x="198" y="380"/>
                      </a:lnTo>
                      <a:lnTo>
                        <a:pt x="206" y="380"/>
                      </a:lnTo>
                      <a:lnTo>
                        <a:pt x="211" y="380"/>
                      </a:lnTo>
                      <a:lnTo>
                        <a:pt x="217" y="381"/>
                      </a:lnTo>
                      <a:lnTo>
                        <a:pt x="223" y="386"/>
                      </a:lnTo>
                      <a:lnTo>
                        <a:pt x="232" y="386"/>
                      </a:lnTo>
                      <a:lnTo>
                        <a:pt x="242" y="386"/>
                      </a:lnTo>
                      <a:lnTo>
                        <a:pt x="248" y="387"/>
                      </a:lnTo>
                      <a:lnTo>
                        <a:pt x="252" y="387"/>
                      </a:lnTo>
                      <a:lnTo>
                        <a:pt x="261" y="387"/>
                      </a:lnTo>
                      <a:lnTo>
                        <a:pt x="267" y="386"/>
                      </a:lnTo>
                      <a:lnTo>
                        <a:pt x="276" y="386"/>
                      </a:lnTo>
                      <a:lnTo>
                        <a:pt x="277" y="380"/>
                      </a:lnTo>
                      <a:lnTo>
                        <a:pt x="277" y="376"/>
                      </a:lnTo>
                      <a:lnTo>
                        <a:pt x="280" y="368"/>
                      </a:lnTo>
                      <a:lnTo>
                        <a:pt x="290" y="365"/>
                      </a:lnTo>
                      <a:lnTo>
                        <a:pt x="296" y="365"/>
                      </a:lnTo>
                      <a:lnTo>
                        <a:pt x="303" y="364"/>
                      </a:lnTo>
                      <a:lnTo>
                        <a:pt x="312" y="351"/>
                      </a:lnTo>
                      <a:lnTo>
                        <a:pt x="313" y="348"/>
                      </a:lnTo>
                      <a:lnTo>
                        <a:pt x="313" y="342"/>
                      </a:lnTo>
                      <a:lnTo>
                        <a:pt x="313" y="335"/>
                      </a:lnTo>
                      <a:lnTo>
                        <a:pt x="312" y="323"/>
                      </a:lnTo>
                      <a:lnTo>
                        <a:pt x="309" y="316"/>
                      </a:lnTo>
                      <a:lnTo>
                        <a:pt x="303" y="308"/>
                      </a:lnTo>
                      <a:lnTo>
                        <a:pt x="300" y="301"/>
                      </a:lnTo>
                      <a:lnTo>
                        <a:pt x="311" y="300"/>
                      </a:lnTo>
                      <a:lnTo>
                        <a:pt x="324" y="298"/>
                      </a:lnTo>
                      <a:lnTo>
                        <a:pt x="335" y="297"/>
                      </a:lnTo>
                      <a:lnTo>
                        <a:pt x="350" y="297"/>
                      </a:lnTo>
                      <a:lnTo>
                        <a:pt x="357" y="294"/>
                      </a:lnTo>
                      <a:lnTo>
                        <a:pt x="362" y="291"/>
                      </a:lnTo>
                      <a:lnTo>
                        <a:pt x="367" y="288"/>
                      </a:lnTo>
                      <a:lnTo>
                        <a:pt x="366" y="288"/>
                      </a:lnTo>
                      <a:lnTo>
                        <a:pt x="370" y="288"/>
                      </a:lnTo>
                      <a:lnTo>
                        <a:pt x="376" y="287"/>
                      </a:lnTo>
                      <a:lnTo>
                        <a:pt x="378" y="284"/>
                      </a:lnTo>
                      <a:lnTo>
                        <a:pt x="378" y="282"/>
                      </a:lnTo>
                      <a:close/>
                    </a:path>
                  </a:pathLst>
                </a:custGeom>
                <a:solidFill>
                  <a:srgbClr val="818181"/>
                </a:solidFill>
                <a:ln w="6">
                  <a:solidFill>
                    <a:srgbClr val="81818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41" name="Freeform 88"/>
                <p:cNvSpPr>
                  <a:spLocks/>
                </p:cNvSpPr>
                <p:nvPr/>
              </p:nvSpPr>
              <p:spPr bwMode="auto">
                <a:xfrm>
                  <a:off x="6309025" y="5309188"/>
                  <a:ext cx="437383" cy="608986"/>
                </a:xfrm>
                <a:custGeom>
                  <a:avLst/>
                  <a:gdLst>
                    <a:gd name="T0" fmla="*/ 247650 w 274"/>
                    <a:gd name="T1" fmla="*/ 544513 h 376"/>
                    <a:gd name="T2" fmla="*/ 46037 w 274"/>
                    <a:gd name="T3" fmla="*/ 596900 h 376"/>
                    <a:gd name="T4" fmla="*/ 46037 w 274"/>
                    <a:gd name="T5" fmla="*/ 596900 h 376"/>
                    <a:gd name="T6" fmla="*/ 58737 w 274"/>
                    <a:gd name="T7" fmla="*/ 582613 h 376"/>
                    <a:gd name="T8" fmla="*/ 84137 w 274"/>
                    <a:gd name="T9" fmla="*/ 546100 h 376"/>
                    <a:gd name="T10" fmla="*/ 100012 w 274"/>
                    <a:gd name="T11" fmla="*/ 520700 h 376"/>
                    <a:gd name="T12" fmla="*/ 115887 w 274"/>
                    <a:gd name="T13" fmla="*/ 493713 h 376"/>
                    <a:gd name="T14" fmla="*/ 131762 w 274"/>
                    <a:gd name="T15" fmla="*/ 460375 h 376"/>
                    <a:gd name="T16" fmla="*/ 144462 w 274"/>
                    <a:gd name="T17" fmla="*/ 425450 h 376"/>
                    <a:gd name="T18" fmla="*/ 152400 w 274"/>
                    <a:gd name="T19" fmla="*/ 388937 h 376"/>
                    <a:gd name="T20" fmla="*/ 155575 w 274"/>
                    <a:gd name="T21" fmla="*/ 369887 h 376"/>
                    <a:gd name="T22" fmla="*/ 157162 w 274"/>
                    <a:gd name="T23" fmla="*/ 352425 h 376"/>
                    <a:gd name="T24" fmla="*/ 155575 w 274"/>
                    <a:gd name="T25" fmla="*/ 333375 h 376"/>
                    <a:gd name="T26" fmla="*/ 152400 w 274"/>
                    <a:gd name="T27" fmla="*/ 314325 h 376"/>
                    <a:gd name="T28" fmla="*/ 150812 w 274"/>
                    <a:gd name="T29" fmla="*/ 296863 h 376"/>
                    <a:gd name="T30" fmla="*/ 144462 w 274"/>
                    <a:gd name="T31" fmla="*/ 276225 h 376"/>
                    <a:gd name="T32" fmla="*/ 134937 w 274"/>
                    <a:gd name="T33" fmla="*/ 257175 h 376"/>
                    <a:gd name="T34" fmla="*/ 123825 w 274"/>
                    <a:gd name="T35" fmla="*/ 241300 h 376"/>
                    <a:gd name="T36" fmla="*/ 111125 w 274"/>
                    <a:gd name="T37" fmla="*/ 222250 h 376"/>
                    <a:gd name="T38" fmla="*/ 95250 w 274"/>
                    <a:gd name="T39" fmla="*/ 203200 h 376"/>
                    <a:gd name="T40" fmla="*/ 74612 w 274"/>
                    <a:gd name="T41" fmla="*/ 187325 h 376"/>
                    <a:gd name="T42" fmla="*/ 53975 w 274"/>
                    <a:gd name="T43" fmla="*/ 171450 h 376"/>
                    <a:gd name="T44" fmla="*/ 28575 w 274"/>
                    <a:gd name="T45" fmla="*/ 157162 h 376"/>
                    <a:gd name="T46" fmla="*/ 0 w 274"/>
                    <a:gd name="T47" fmla="*/ 141288 h 376"/>
                    <a:gd name="T48" fmla="*/ 195262 w 274"/>
                    <a:gd name="T49" fmla="*/ 0 h 376"/>
                    <a:gd name="T50" fmla="*/ 195262 w 274"/>
                    <a:gd name="T51" fmla="*/ 0 h 376"/>
                    <a:gd name="T52" fmla="*/ 230187 w 274"/>
                    <a:gd name="T53" fmla="*/ 15875 h 376"/>
                    <a:gd name="T54" fmla="*/ 306387 w 274"/>
                    <a:gd name="T55" fmla="*/ 53975 h 376"/>
                    <a:gd name="T56" fmla="*/ 347662 w 274"/>
                    <a:gd name="T57" fmla="*/ 76200 h 376"/>
                    <a:gd name="T58" fmla="*/ 387350 w 274"/>
                    <a:gd name="T59" fmla="*/ 100012 h 376"/>
                    <a:gd name="T60" fmla="*/ 417513 w 274"/>
                    <a:gd name="T61" fmla="*/ 120650 h 376"/>
                    <a:gd name="T62" fmla="*/ 428625 w 274"/>
                    <a:gd name="T63" fmla="*/ 131763 h 376"/>
                    <a:gd name="T64" fmla="*/ 433388 w 274"/>
                    <a:gd name="T65" fmla="*/ 139700 h 376"/>
                    <a:gd name="T66" fmla="*/ 433388 w 274"/>
                    <a:gd name="T67" fmla="*/ 139700 h 376"/>
                    <a:gd name="T68" fmla="*/ 434975 w 274"/>
                    <a:gd name="T69" fmla="*/ 146050 h 376"/>
                    <a:gd name="T70" fmla="*/ 434975 w 274"/>
                    <a:gd name="T71" fmla="*/ 150812 h 376"/>
                    <a:gd name="T72" fmla="*/ 433388 w 274"/>
                    <a:gd name="T73" fmla="*/ 169862 h 376"/>
                    <a:gd name="T74" fmla="*/ 423863 w 274"/>
                    <a:gd name="T75" fmla="*/ 192087 h 376"/>
                    <a:gd name="T76" fmla="*/ 414338 w 274"/>
                    <a:gd name="T77" fmla="*/ 222250 h 376"/>
                    <a:gd name="T78" fmla="*/ 384175 w 274"/>
                    <a:gd name="T79" fmla="*/ 287338 h 376"/>
                    <a:gd name="T80" fmla="*/ 349250 w 274"/>
                    <a:gd name="T81" fmla="*/ 358775 h 376"/>
                    <a:gd name="T82" fmla="*/ 280987 w 274"/>
                    <a:gd name="T83" fmla="*/ 485775 h 376"/>
                    <a:gd name="T84" fmla="*/ 247650 w 274"/>
                    <a:gd name="T85" fmla="*/ 544513 h 376"/>
                    <a:gd name="T86" fmla="*/ 247650 w 274"/>
                    <a:gd name="T87" fmla="*/ 544513 h 37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274"/>
                    <a:gd name="T133" fmla="*/ 0 h 376"/>
                    <a:gd name="T134" fmla="*/ 274 w 274"/>
                    <a:gd name="T135" fmla="*/ 376 h 37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274" h="376">
                      <a:moveTo>
                        <a:pt x="156" y="343"/>
                      </a:moveTo>
                      <a:lnTo>
                        <a:pt x="29" y="376"/>
                      </a:lnTo>
                      <a:lnTo>
                        <a:pt x="37" y="367"/>
                      </a:lnTo>
                      <a:lnTo>
                        <a:pt x="53" y="344"/>
                      </a:lnTo>
                      <a:lnTo>
                        <a:pt x="63" y="328"/>
                      </a:lnTo>
                      <a:lnTo>
                        <a:pt x="73" y="311"/>
                      </a:lnTo>
                      <a:lnTo>
                        <a:pt x="83" y="290"/>
                      </a:lnTo>
                      <a:lnTo>
                        <a:pt x="91" y="268"/>
                      </a:lnTo>
                      <a:lnTo>
                        <a:pt x="96" y="245"/>
                      </a:lnTo>
                      <a:lnTo>
                        <a:pt x="98" y="233"/>
                      </a:lnTo>
                      <a:lnTo>
                        <a:pt x="99" y="222"/>
                      </a:lnTo>
                      <a:lnTo>
                        <a:pt x="98" y="210"/>
                      </a:lnTo>
                      <a:lnTo>
                        <a:pt x="96" y="198"/>
                      </a:lnTo>
                      <a:lnTo>
                        <a:pt x="95" y="187"/>
                      </a:lnTo>
                      <a:lnTo>
                        <a:pt x="91" y="174"/>
                      </a:lnTo>
                      <a:lnTo>
                        <a:pt x="85" y="162"/>
                      </a:lnTo>
                      <a:lnTo>
                        <a:pt x="78" y="152"/>
                      </a:lnTo>
                      <a:lnTo>
                        <a:pt x="70" y="140"/>
                      </a:lnTo>
                      <a:lnTo>
                        <a:pt x="60" y="128"/>
                      </a:lnTo>
                      <a:lnTo>
                        <a:pt x="47" y="118"/>
                      </a:lnTo>
                      <a:lnTo>
                        <a:pt x="34" y="108"/>
                      </a:lnTo>
                      <a:lnTo>
                        <a:pt x="18" y="99"/>
                      </a:lnTo>
                      <a:lnTo>
                        <a:pt x="0" y="89"/>
                      </a:lnTo>
                      <a:lnTo>
                        <a:pt x="123" y="0"/>
                      </a:lnTo>
                      <a:lnTo>
                        <a:pt x="145" y="10"/>
                      </a:lnTo>
                      <a:lnTo>
                        <a:pt x="193" y="34"/>
                      </a:lnTo>
                      <a:lnTo>
                        <a:pt x="219" y="48"/>
                      </a:lnTo>
                      <a:lnTo>
                        <a:pt x="244" y="63"/>
                      </a:lnTo>
                      <a:lnTo>
                        <a:pt x="263" y="76"/>
                      </a:lnTo>
                      <a:lnTo>
                        <a:pt x="270" y="83"/>
                      </a:lnTo>
                      <a:lnTo>
                        <a:pt x="273" y="88"/>
                      </a:lnTo>
                      <a:lnTo>
                        <a:pt x="274" y="92"/>
                      </a:lnTo>
                      <a:lnTo>
                        <a:pt x="274" y="95"/>
                      </a:lnTo>
                      <a:lnTo>
                        <a:pt x="273" y="107"/>
                      </a:lnTo>
                      <a:lnTo>
                        <a:pt x="267" y="121"/>
                      </a:lnTo>
                      <a:lnTo>
                        <a:pt x="261" y="140"/>
                      </a:lnTo>
                      <a:lnTo>
                        <a:pt x="242" y="181"/>
                      </a:lnTo>
                      <a:lnTo>
                        <a:pt x="220" y="226"/>
                      </a:lnTo>
                      <a:lnTo>
                        <a:pt x="177" y="306"/>
                      </a:lnTo>
                      <a:lnTo>
                        <a:pt x="156" y="34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142" name="Freeform 107"/>
                <p:cNvSpPr>
                  <a:spLocks/>
                </p:cNvSpPr>
                <p:nvPr/>
              </p:nvSpPr>
              <p:spPr bwMode="auto">
                <a:xfrm>
                  <a:off x="7136924" y="5543410"/>
                  <a:ext cx="702942" cy="530915"/>
                </a:xfrm>
                <a:custGeom>
                  <a:avLst/>
                  <a:gdLst>
                    <a:gd name="T0" fmla="*/ 704850 w 446"/>
                    <a:gd name="T1" fmla="*/ 4763 h 337"/>
                    <a:gd name="T2" fmla="*/ 704850 w 446"/>
                    <a:gd name="T3" fmla="*/ 4763 h 337"/>
                    <a:gd name="T4" fmla="*/ 698500 w 446"/>
                    <a:gd name="T5" fmla="*/ 14288 h 337"/>
                    <a:gd name="T6" fmla="*/ 677863 w 446"/>
                    <a:gd name="T7" fmla="*/ 41275 h 337"/>
                    <a:gd name="T8" fmla="*/ 647700 w 446"/>
                    <a:gd name="T9" fmla="*/ 87313 h 337"/>
                    <a:gd name="T10" fmla="*/ 633413 w 446"/>
                    <a:gd name="T11" fmla="*/ 115888 h 337"/>
                    <a:gd name="T12" fmla="*/ 617538 w 446"/>
                    <a:gd name="T13" fmla="*/ 147638 h 337"/>
                    <a:gd name="T14" fmla="*/ 603250 w 446"/>
                    <a:gd name="T15" fmla="*/ 182563 h 337"/>
                    <a:gd name="T16" fmla="*/ 588963 w 446"/>
                    <a:gd name="T17" fmla="*/ 222250 h 337"/>
                    <a:gd name="T18" fmla="*/ 577850 w 446"/>
                    <a:gd name="T19" fmla="*/ 263525 h 337"/>
                    <a:gd name="T20" fmla="*/ 568325 w 446"/>
                    <a:gd name="T21" fmla="*/ 307975 h 337"/>
                    <a:gd name="T22" fmla="*/ 563563 w 446"/>
                    <a:gd name="T23" fmla="*/ 355600 h 337"/>
                    <a:gd name="T24" fmla="*/ 561975 w 446"/>
                    <a:gd name="T25" fmla="*/ 406400 h 337"/>
                    <a:gd name="T26" fmla="*/ 563563 w 446"/>
                    <a:gd name="T27" fmla="*/ 460375 h 337"/>
                    <a:gd name="T28" fmla="*/ 573088 w 446"/>
                    <a:gd name="T29" fmla="*/ 515938 h 337"/>
                    <a:gd name="T30" fmla="*/ 576263 w 446"/>
                    <a:gd name="T31" fmla="*/ 534988 h 337"/>
                    <a:gd name="T32" fmla="*/ 50800 w 446"/>
                    <a:gd name="T33" fmla="*/ 492125 h 337"/>
                    <a:gd name="T34" fmla="*/ 50800 w 446"/>
                    <a:gd name="T35" fmla="*/ 492125 h 337"/>
                    <a:gd name="T36" fmla="*/ 44450 w 446"/>
                    <a:gd name="T37" fmla="*/ 482600 h 337"/>
                    <a:gd name="T38" fmla="*/ 30163 w 446"/>
                    <a:gd name="T39" fmla="*/ 457200 h 337"/>
                    <a:gd name="T40" fmla="*/ 22225 w 446"/>
                    <a:gd name="T41" fmla="*/ 436563 h 337"/>
                    <a:gd name="T42" fmla="*/ 15875 w 446"/>
                    <a:gd name="T43" fmla="*/ 414338 h 337"/>
                    <a:gd name="T44" fmla="*/ 9525 w 446"/>
                    <a:gd name="T45" fmla="*/ 385763 h 337"/>
                    <a:gd name="T46" fmla="*/ 1588 w 446"/>
                    <a:gd name="T47" fmla="*/ 355600 h 337"/>
                    <a:gd name="T48" fmla="*/ 0 w 446"/>
                    <a:gd name="T49" fmla="*/ 323850 h 337"/>
                    <a:gd name="T50" fmla="*/ 0 w 446"/>
                    <a:gd name="T51" fmla="*/ 287338 h 337"/>
                    <a:gd name="T52" fmla="*/ 1588 w 446"/>
                    <a:gd name="T53" fmla="*/ 247650 h 337"/>
                    <a:gd name="T54" fmla="*/ 11112 w 446"/>
                    <a:gd name="T55" fmla="*/ 206375 h 337"/>
                    <a:gd name="T56" fmla="*/ 22225 w 446"/>
                    <a:gd name="T57" fmla="*/ 161925 h 337"/>
                    <a:gd name="T58" fmla="*/ 41275 w 446"/>
                    <a:gd name="T59" fmla="*/ 112713 h 337"/>
                    <a:gd name="T60" fmla="*/ 66675 w 446"/>
                    <a:gd name="T61" fmla="*/ 66675 h 337"/>
                    <a:gd name="T62" fmla="*/ 100012 w 446"/>
                    <a:gd name="T63" fmla="*/ 15875 h 337"/>
                    <a:gd name="T64" fmla="*/ 708025 w 446"/>
                    <a:gd name="T65" fmla="*/ 0 h 337"/>
                    <a:gd name="T66" fmla="*/ 704850 w 446"/>
                    <a:gd name="T67" fmla="*/ 4763 h 337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446"/>
                    <a:gd name="T103" fmla="*/ 0 h 337"/>
                    <a:gd name="T104" fmla="*/ 446 w 446"/>
                    <a:gd name="T105" fmla="*/ 337 h 337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446" h="337">
                      <a:moveTo>
                        <a:pt x="444" y="3"/>
                      </a:moveTo>
                      <a:lnTo>
                        <a:pt x="444" y="3"/>
                      </a:lnTo>
                      <a:lnTo>
                        <a:pt x="440" y="9"/>
                      </a:lnTo>
                      <a:lnTo>
                        <a:pt x="427" y="26"/>
                      </a:lnTo>
                      <a:lnTo>
                        <a:pt x="408" y="55"/>
                      </a:lnTo>
                      <a:lnTo>
                        <a:pt x="399" y="73"/>
                      </a:lnTo>
                      <a:lnTo>
                        <a:pt x="389" y="93"/>
                      </a:lnTo>
                      <a:lnTo>
                        <a:pt x="380" y="115"/>
                      </a:lnTo>
                      <a:lnTo>
                        <a:pt x="371" y="140"/>
                      </a:lnTo>
                      <a:lnTo>
                        <a:pt x="364" y="166"/>
                      </a:lnTo>
                      <a:lnTo>
                        <a:pt x="358" y="194"/>
                      </a:lnTo>
                      <a:lnTo>
                        <a:pt x="355" y="224"/>
                      </a:lnTo>
                      <a:lnTo>
                        <a:pt x="354" y="256"/>
                      </a:lnTo>
                      <a:lnTo>
                        <a:pt x="355" y="290"/>
                      </a:lnTo>
                      <a:lnTo>
                        <a:pt x="361" y="325"/>
                      </a:lnTo>
                      <a:lnTo>
                        <a:pt x="363" y="337"/>
                      </a:lnTo>
                      <a:lnTo>
                        <a:pt x="32" y="310"/>
                      </a:lnTo>
                      <a:lnTo>
                        <a:pt x="28" y="304"/>
                      </a:lnTo>
                      <a:lnTo>
                        <a:pt x="19" y="288"/>
                      </a:lnTo>
                      <a:lnTo>
                        <a:pt x="14" y="275"/>
                      </a:lnTo>
                      <a:lnTo>
                        <a:pt x="10" y="261"/>
                      </a:lnTo>
                      <a:lnTo>
                        <a:pt x="6" y="243"/>
                      </a:lnTo>
                      <a:lnTo>
                        <a:pt x="1" y="224"/>
                      </a:lnTo>
                      <a:lnTo>
                        <a:pt x="0" y="204"/>
                      </a:lnTo>
                      <a:lnTo>
                        <a:pt x="0" y="181"/>
                      </a:lnTo>
                      <a:lnTo>
                        <a:pt x="1" y="156"/>
                      </a:lnTo>
                      <a:lnTo>
                        <a:pt x="7" y="130"/>
                      </a:lnTo>
                      <a:lnTo>
                        <a:pt x="14" y="102"/>
                      </a:lnTo>
                      <a:lnTo>
                        <a:pt x="26" y="71"/>
                      </a:lnTo>
                      <a:lnTo>
                        <a:pt x="42" y="42"/>
                      </a:lnTo>
                      <a:lnTo>
                        <a:pt x="63" y="10"/>
                      </a:lnTo>
                      <a:lnTo>
                        <a:pt x="446" y="0"/>
                      </a:lnTo>
                      <a:lnTo>
                        <a:pt x="444" y="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ea typeface="+mn-ea"/>
                  </a:endParaRPr>
                </a:p>
              </p:txBody>
            </p:sp>
          </p:grpSp>
          <p:grpSp>
            <p:nvGrpSpPr>
              <p:cNvPr id="126" name="Gruppe 69"/>
              <p:cNvGrpSpPr>
                <a:grpSpLocks/>
              </p:cNvGrpSpPr>
              <p:nvPr/>
            </p:nvGrpSpPr>
            <p:grpSpPr bwMode="auto">
              <a:xfrm>
                <a:off x="-1282700" y="2076450"/>
                <a:ext cx="4319589" cy="4779963"/>
                <a:chOff x="-1282700" y="2076450"/>
                <a:chExt cx="4319589" cy="4779963"/>
              </a:xfrm>
            </p:grpSpPr>
            <p:grpSp>
              <p:nvGrpSpPr>
                <p:cNvPr id="127" name="Gruppe 61"/>
                <p:cNvGrpSpPr>
                  <a:grpSpLocks/>
                </p:cNvGrpSpPr>
                <p:nvPr/>
              </p:nvGrpSpPr>
              <p:grpSpPr bwMode="auto">
                <a:xfrm>
                  <a:off x="-1282700" y="2076450"/>
                  <a:ext cx="4319589" cy="4779963"/>
                  <a:chOff x="-1282700" y="2076450"/>
                  <a:chExt cx="4319589" cy="4779963"/>
                </a:xfrm>
              </p:grpSpPr>
              <p:sp>
                <p:nvSpPr>
                  <p:cNvPr id="130" name="Freeform 63"/>
                  <p:cNvSpPr>
                    <a:spLocks/>
                  </p:cNvSpPr>
                  <p:nvPr/>
                </p:nvSpPr>
                <p:spPr bwMode="auto">
                  <a:xfrm>
                    <a:off x="-1282700" y="3622747"/>
                    <a:ext cx="3327235" cy="3232328"/>
                  </a:xfrm>
                  <a:custGeom>
                    <a:avLst/>
                    <a:gdLst>
                      <a:gd name="T0" fmla="*/ 3324225 w 2094"/>
                      <a:gd name="T1" fmla="*/ 1905001 h 2037"/>
                      <a:gd name="T2" fmla="*/ 3303588 w 2094"/>
                      <a:gd name="T3" fmla="*/ 1914526 h 2037"/>
                      <a:gd name="T4" fmla="*/ 3241674 w 2094"/>
                      <a:gd name="T5" fmla="*/ 1925638 h 2037"/>
                      <a:gd name="T6" fmla="*/ 3173412 w 2094"/>
                      <a:gd name="T7" fmla="*/ 1919288 h 2037"/>
                      <a:gd name="T8" fmla="*/ 2913062 w 2094"/>
                      <a:gd name="T9" fmla="*/ 1887538 h 2037"/>
                      <a:gd name="T10" fmla="*/ 2741612 w 2094"/>
                      <a:gd name="T11" fmla="*/ 1857376 h 2037"/>
                      <a:gd name="T12" fmla="*/ 2676525 w 2094"/>
                      <a:gd name="T13" fmla="*/ 1831976 h 2037"/>
                      <a:gd name="T14" fmla="*/ 2603500 w 2094"/>
                      <a:gd name="T15" fmla="*/ 1771651 h 2037"/>
                      <a:gd name="T16" fmla="*/ 2459037 w 2094"/>
                      <a:gd name="T17" fmla="*/ 1644651 h 2037"/>
                      <a:gd name="T18" fmla="*/ 2371725 w 2094"/>
                      <a:gd name="T19" fmla="*/ 1546225 h 2037"/>
                      <a:gd name="T20" fmla="*/ 2325687 w 2094"/>
                      <a:gd name="T21" fmla="*/ 1468438 h 2037"/>
                      <a:gd name="T22" fmla="*/ 2206625 w 2094"/>
                      <a:gd name="T23" fmla="*/ 1271588 h 2037"/>
                      <a:gd name="T24" fmla="*/ 2147887 w 2094"/>
                      <a:gd name="T25" fmla="*/ 1112838 h 2037"/>
                      <a:gd name="T26" fmla="*/ 1943100 w 2094"/>
                      <a:gd name="T27" fmla="*/ 563563 h 2037"/>
                      <a:gd name="T28" fmla="*/ 1874837 w 2094"/>
                      <a:gd name="T29" fmla="*/ 350838 h 2037"/>
                      <a:gd name="T30" fmla="*/ 1844675 w 2094"/>
                      <a:gd name="T31" fmla="*/ 496888 h 2037"/>
                      <a:gd name="T32" fmla="*/ 1839912 w 2094"/>
                      <a:gd name="T33" fmla="*/ 542925 h 2037"/>
                      <a:gd name="T34" fmla="*/ 1257300 w 2094"/>
                      <a:gd name="T35" fmla="*/ 239713 h 2037"/>
                      <a:gd name="T36" fmla="*/ 1004887 w 2094"/>
                      <a:gd name="T37" fmla="*/ 96838 h 2037"/>
                      <a:gd name="T38" fmla="*/ 950912 w 2094"/>
                      <a:gd name="T39" fmla="*/ 57150 h 2037"/>
                      <a:gd name="T40" fmla="*/ 885825 w 2094"/>
                      <a:gd name="T41" fmla="*/ 9525 h 2037"/>
                      <a:gd name="T42" fmla="*/ 669925 w 2094"/>
                      <a:gd name="T43" fmla="*/ 92075 h 2037"/>
                      <a:gd name="T44" fmla="*/ 463550 w 2094"/>
                      <a:gd name="T45" fmla="*/ 174625 h 2037"/>
                      <a:gd name="T46" fmla="*/ 423862 w 2094"/>
                      <a:gd name="T47" fmla="*/ 201613 h 2037"/>
                      <a:gd name="T48" fmla="*/ 352425 w 2094"/>
                      <a:gd name="T49" fmla="*/ 277813 h 2037"/>
                      <a:gd name="T50" fmla="*/ 201612 w 2094"/>
                      <a:gd name="T51" fmla="*/ 476250 h 2037"/>
                      <a:gd name="T52" fmla="*/ 161925 w 2094"/>
                      <a:gd name="T53" fmla="*/ 528638 h 2037"/>
                      <a:gd name="T54" fmla="*/ 150812 w 2094"/>
                      <a:gd name="T55" fmla="*/ 587375 h 2037"/>
                      <a:gd name="T56" fmla="*/ 100012 w 2094"/>
                      <a:gd name="T57" fmla="*/ 1130300 h 2037"/>
                      <a:gd name="T58" fmla="*/ 42862 w 2094"/>
                      <a:gd name="T59" fmla="*/ 1798638 h 2037"/>
                      <a:gd name="T60" fmla="*/ 34925 w 2094"/>
                      <a:gd name="T61" fmla="*/ 1893888 h 2037"/>
                      <a:gd name="T62" fmla="*/ 14287 w 2094"/>
                      <a:gd name="T63" fmla="*/ 2547938 h 2037"/>
                      <a:gd name="T64" fmla="*/ 0 w 2094"/>
                      <a:gd name="T65" fmla="*/ 3208338 h 2037"/>
                      <a:gd name="T66" fmla="*/ 160337 w 2094"/>
                      <a:gd name="T67" fmla="*/ 3198813 h 2037"/>
                      <a:gd name="T68" fmla="*/ 206375 w 2094"/>
                      <a:gd name="T69" fmla="*/ 3190876 h 2037"/>
                      <a:gd name="T70" fmla="*/ 376237 w 2094"/>
                      <a:gd name="T71" fmla="*/ 3186113 h 2037"/>
                      <a:gd name="T72" fmla="*/ 477837 w 2094"/>
                      <a:gd name="T73" fmla="*/ 3194051 h 2037"/>
                      <a:gd name="T74" fmla="*/ 644525 w 2094"/>
                      <a:gd name="T75" fmla="*/ 3221038 h 2037"/>
                      <a:gd name="T76" fmla="*/ 703262 w 2094"/>
                      <a:gd name="T77" fmla="*/ 3233738 h 2037"/>
                      <a:gd name="T78" fmla="*/ 920750 w 2094"/>
                      <a:gd name="T79" fmla="*/ 3224213 h 2037"/>
                      <a:gd name="T80" fmla="*/ 1133475 w 2094"/>
                      <a:gd name="T81" fmla="*/ 3205163 h 2037"/>
                      <a:gd name="T82" fmla="*/ 1349375 w 2094"/>
                      <a:gd name="T83" fmla="*/ 3135313 h 2037"/>
                      <a:gd name="T84" fmla="*/ 1585912 w 2094"/>
                      <a:gd name="T85" fmla="*/ 3092451 h 2037"/>
                      <a:gd name="T86" fmla="*/ 1725612 w 2094"/>
                      <a:gd name="T87" fmla="*/ 3092451 h 2037"/>
                      <a:gd name="T88" fmla="*/ 1758950 w 2094"/>
                      <a:gd name="T89" fmla="*/ 3097213 h 2037"/>
                      <a:gd name="T90" fmla="*/ 1857375 w 2094"/>
                      <a:gd name="T91" fmla="*/ 3079751 h 2037"/>
                      <a:gd name="T92" fmla="*/ 2008187 w 2094"/>
                      <a:gd name="T93" fmla="*/ 3038476 h 2037"/>
                      <a:gd name="T94" fmla="*/ 2074862 w 2094"/>
                      <a:gd name="T95" fmla="*/ 3013076 h 2037"/>
                      <a:gd name="T96" fmla="*/ 2646362 w 2094"/>
                      <a:gd name="T97" fmla="*/ 2835276 h 2037"/>
                      <a:gd name="T98" fmla="*/ 2965449 w 2094"/>
                      <a:gd name="T99" fmla="*/ 2724151 h 2037"/>
                      <a:gd name="T100" fmla="*/ 3233737 w 2094"/>
                      <a:gd name="T101" fmla="*/ 2622551 h 2037"/>
                      <a:gd name="T102" fmla="*/ 3298825 w 2094"/>
                      <a:gd name="T103" fmla="*/ 2587626 h 2037"/>
                      <a:gd name="T104" fmla="*/ 3308350 w 2094"/>
                      <a:gd name="T105" fmla="*/ 2573338 h 2037"/>
                      <a:gd name="T106" fmla="*/ 3319463 w 2094"/>
                      <a:gd name="T107" fmla="*/ 2500313 h 2037"/>
                      <a:gd name="T108" fmla="*/ 3306763 w 2094"/>
                      <a:gd name="T109" fmla="*/ 2374901 h 2037"/>
                      <a:gd name="T110" fmla="*/ 3278188 w 2094"/>
                      <a:gd name="T111" fmla="*/ 2292351 h 2037"/>
                      <a:gd name="T112" fmla="*/ 3197224 w 2094"/>
                      <a:gd name="T113" fmla="*/ 2138363 h 2037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w 2094"/>
                      <a:gd name="T172" fmla="*/ 0 h 2037"/>
                      <a:gd name="T173" fmla="*/ 2094 w 2094"/>
                      <a:gd name="T174" fmla="*/ 2037 h 2037"/>
                    </a:gdLst>
                    <a:ahLst/>
                    <a:cxnLst>
                      <a:cxn ang="T114">
                        <a:pos x="T0" y="T1"/>
                      </a:cxn>
                      <a:cxn ang="T115">
                        <a:pos x="T2" y="T3"/>
                      </a:cxn>
                      <a:cxn ang="T116">
                        <a:pos x="T4" y="T5"/>
                      </a:cxn>
                      <a:cxn ang="T117">
                        <a:pos x="T6" y="T7"/>
                      </a:cxn>
                      <a:cxn ang="T118">
                        <a:pos x="T8" y="T9"/>
                      </a:cxn>
                      <a:cxn ang="T119">
                        <a:pos x="T10" y="T11"/>
                      </a:cxn>
                      <a:cxn ang="T120">
                        <a:pos x="T12" y="T13"/>
                      </a:cxn>
                      <a:cxn ang="T121">
                        <a:pos x="T14" y="T15"/>
                      </a:cxn>
                      <a:cxn ang="T122">
                        <a:pos x="T16" y="T17"/>
                      </a:cxn>
                      <a:cxn ang="T123">
                        <a:pos x="T18" y="T19"/>
                      </a:cxn>
                      <a:cxn ang="T124">
                        <a:pos x="T20" y="T21"/>
                      </a:cxn>
                      <a:cxn ang="T125">
                        <a:pos x="T22" y="T23"/>
                      </a:cxn>
                      <a:cxn ang="T126">
                        <a:pos x="T24" y="T25"/>
                      </a:cxn>
                      <a:cxn ang="T127">
                        <a:pos x="T26" y="T27"/>
                      </a:cxn>
                      <a:cxn ang="T128">
                        <a:pos x="T28" y="T29"/>
                      </a:cxn>
                      <a:cxn ang="T129">
                        <a:pos x="T30" y="T31"/>
                      </a:cxn>
                      <a:cxn ang="T130">
                        <a:pos x="T32" y="T33"/>
                      </a:cxn>
                      <a:cxn ang="T131">
                        <a:pos x="T34" y="T35"/>
                      </a:cxn>
                      <a:cxn ang="T132">
                        <a:pos x="T36" y="T37"/>
                      </a:cxn>
                      <a:cxn ang="T133">
                        <a:pos x="T38" y="T39"/>
                      </a:cxn>
                      <a:cxn ang="T134">
                        <a:pos x="T40" y="T41"/>
                      </a:cxn>
                      <a:cxn ang="T135">
                        <a:pos x="T42" y="T43"/>
                      </a:cxn>
                      <a:cxn ang="T136">
                        <a:pos x="T44" y="T45"/>
                      </a:cxn>
                      <a:cxn ang="T137">
                        <a:pos x="T46" y="T47"/>
                      </a:cxn>
                      <a:cxn ang="T138">
                        <a:pos x="T48" y="T49"/>
                      </a:cxn>
                      <a:cxn ang="T139">
                        <a:pos x="T50" y="T51"/>
                      </a:cxn>
                      <a:cxn ang="T140">
                        <a:pos x="T52" y="T53"/>
                      </a:cxn>
                      <a:cxn ang="T141">
                        <a:pos x="T54" y="T55"/>
                      </a:cxn>
                      <a:cxn ang="T142">
                        <a:pos x="T56" y="T57"/>
                      </a:cxn>
                      <a:cxn ang="T143">
                        <a:pos x="T58" y="T59"/>
                      </a:cxn>
                      <a:cxn ang="T144">
                        <a:pos x="T60" y="T61"/>
                      </a:cxn>
                      <a:cxn ang="T145">
                        <a:pos x="T62" y="T63"/>
                      </a:cxn>
                      <a:cxn ang="T146">
                        <a:pos x="T64" y="T65"/>
                      </a:cxn>
                      <a:cxn ang="T147">
                        <a:pos x="T66" y="T67"/>
                      </a:cxn>
                      <a:cxn ang="T148">
                        <a:pos x="T68" y="T69"/>
                      </a:cxn>
                      <a:cxn ang="T149">
                        <a:pos x="T70" y="T71"/>
                      </a:cxn>
                      <a:cxn ang="T150">
                        <a:pos x="T72" y="T73"/>
                      </a:cxn>
                      <a:cxn ang="T151">
                        <a:pos x="T74" y="T75"/>
                      </a:cxn>
                      <a:cxn ang="T152">
                        <a:pos x="T76" y="T77"/>
                      </a:cxn>
                      <a:cxn ang="T153">
                        <a:pos x="T78" y="T79"/>
                      </a:cxn>
                      <a:cxn ang="T154">
                        <a:pos x="T80" y="T81"/>
                      </a:cxn>
                      <a:cxn ang="T155">
                        <a:pos x="T82" y="T83"/>
                      </a:cxn>
                      <a:cxn ang="T156">
                        <a:pos x="T84" y="T85"/>
                      </a:cxn>
                      <a:cxn ang="T157">
                        <a:pos x="T86" y="T87"/>
                      </a:cxn>
                      <a:cxn ang="T158">
                        <a:pos x="T88" y="T89"/>
                      </a:cxn>
                      <a:cxn ang="T159">
                        <a:pos x="T90" y="T91"/>
                      </a:cxn>
                      <a:cxn ang="T160">
                        <a:pos x="T92" y="T93"/>
                      </a:cxn>
                      <a:cxn ang="T161">
                        <a:pos x="T94" y="T95"/>
                      </a:cxn>
                      <a:cxn ang="T162">
                        <a:pos x="T96" y="T97"/>
                      </a:cxn>
                      <a:cxn ang="T163">
                        <a:pos x="T98" y="T99"/>
                      </a:cxn>
                      <a:cxn ang="T164">
                        <a:pos x="T100" y="T101"/>
                      </a:cxn>
                      <a:cxn ang="T165">
                        <a:pos x="T102" y="T103"/>
                      </a:cxn>
                      <a:cxn ang="T166">
                        <a:pos x="T104" y="T105"/>
                      </a:cxn>
                      <a:cxn ang="T167">
                        <a:pos x="T106" y="T107"/>
                      </a:cxn>
                      <a:cxn ang="T168">
                        <a:pos x="T108" y="T109"/>
                      </a:cxn>
                      <a:cxn ang="T169">
                        <a:pos x="T110" y="T111"/>
                      </a:cxn>
                      <a:cxn ang="T170">
                        <a:pos x="T112" y="T113"/>
                      </a:cxn>
                    </a:cxnLst>
                    <a:rect l="T171" t="T172" r="T173" b="T174"/>
                    <a:pathLst>
                      <a:path w="2094" h="2037">
                        <a:moveTo>
                          <a:pt x="1986" y="1302"/>
                        </a:moveTo>
                        <a:lnTo>
                          <a:pt x="2045" y="1279"/>
                        </a:lnTo>
                        <a:lnTo>
                          <a:pt x="2094" y="1200"/>
                        </a:lnTo>
                        <a:lnTo>
                          <a:pt x="2088" y="1203"/>
                        </a:lnTo>
                        <a:lnTo>
                          <a:pt x="2081" y="1206"/>
                        </a:lnTo>
                        <a:lnTo>
                          <a:pt x="2071" y="1209"/>
                        </a:lnTo>
                        <a:lnTo>
                          <a:pt x="2058" y="1212"/>
                        </a:lnTo>
                        <a:lnTo>
                          <a:pt x="2042" y="1213"/>
                        </a:lnTo>
                        <a:lnTo>
                          <a:pt x="2023" y="1213"/>
                        </a:lnTo>
                        <a:lnTo>
                          <a:pt x="1999" y="1209"/>
                        </a:lnTo>
                        <a:lnTo>
                          <a:pt x="1969" y="1205"/>
                        </a:lnTo>
                        <a:lnTo>
                          <a:pt x="1930" y="1200"/>
                        </a:lnTo>
                        <a:lnTo>
                          <a:pt x="1835" y="1189"/>
                        </a:lnTo>
                        <a:lnTo>
                          <a:pt x="1788" y="1183"/>
                        </a:lnTo>
                        <a:lnTo>
                          <a:pt x="1746" y="1174"/>
                        </a:lnTo>
                        <a:lnTo>
                          <a:pt x="1727" y="1170"/>
                        </a:lnTo>
                        <a:lnTo>
                          <a:pt x="1711" y="1165"/>
                        </a:lnTo>
                        <a:lnTo>
                          <a:pt x="1696" y="1160"/>
                        </a:lnTo>
                        <a:lnTo>
                          <a:pt x="1686" y="1154"/>
                        </a:lnTo>
                        <a:lnTo>
                          <a:pt x="1666" y="1138"/>
                        </a:lnTo>
                        <a:lnTo>
                          <a:pt x="1640" y="1116"/>
                        </a:lnTo>
                        <a:lnTo>
                          <a:pt x="1609" y="1091"/>
                        </a:lnTo>
                        <a:lnTo>
                          <a:pt x="1578" y="1063"/>
                        </a:lnTo>
                        <a:lnTo>
                          <a:pt x="1549" y="1036"/>
                        </a:lnTo>
                        <a:lnTo>
                          <a:pt x="1523" y="1009"/>
                        </a:lnTo>
                        <a:lnTo>
                          <a:pt x="1503" y="985"/>
                        </a:lnTo>
                        <a:lnTo>
                          <a:pt x="1494" y="974"/>
                        </a:lnTo>
                        <a:lnTo>
                          <a:pt x="1490" y="966"/>
                        </a:lnTo>
                        <a:lnTo>
                          <a:pt x="1465" y="925"/>
                        </a:lnTo>
                        <a:lnTo>
                          <a:pt x="1431" y="871"/>
                        </a:lnTo>
                        <a:lnTo>
                          <a:pt x="1401" y="821"/>
                        </a:lnTo>
                        <a:lnTo>
                          <a:pt x="1390" y="801"/>
                        </a:lnTo>
                        <a:lnTo>
                          <a:pt x="1383" y="785"/>
                        </a:lnTo>
                        <a:lnTo>
                          <a:pt x="1353" y="701"/>
                        </a:lnTo>
                        <a:lnTo>
                          <a:pt x="1291" y="536"/>
                        </a:lnTo>
                        <a:lnTo>
                          <a:pt x="1256" y="443"/>
                        </a:lnTo>
                        <a:lnTo>
                          <a:pt x="1224" y="355"/>
                        </a:lnTo>
                        <a:lnTo>
                          <a:pt x="1198" y="278"/>
                        </a:lnTo>
                        <a:lnTo>
                          <a:pt x="1181" y="221"/>
                        </a:lnTo>
                        <a:lnTo>
                          <a:pt x="1175" y="247"/>
                        </a:lnTo>
                        <a:lnTo>
                          <a:pt x="1168" y="279"/>
                        </a:lnTo>
                        <a:lnTo>
                          <a:pt x="1162" y="313"/>
                        </a:lnTo>
                        <a:lnTo>
                          <a:pt x="1160" y="329"/>
                        </a:lnTo>
                        <a:lnTo>
                          <a:pt x="1159" y="342"/>
                        </a:lnTo>
                        <a:lnTo>
                          <a:pt x="1077" y="300"/>
                        </a:lnTo>
                        <a:lnTo>
                          <a:pt x="892" y="205"/>
                        </a:lnTo>
                        <a:lnTo>
                          <a:pt x="792" y="151"/>
                        </a:lnTo>
                        <a:lnTo>
                          <a:pt x="701" y="102"/>
                        </a:lnTo>
                        <a:lnTo>
                          <a:pt x="663" y="80"/>
                        </a:lnTo>
                        <a:lnTo>
                          <a:pt x="633" y="61"/>
                        </a:lnTo>
                        <a:lnTo>
                          <a:pt x="611" y="46"/>
                        </a:lnTo>
                        <a:lnTo>
                          <a:pt x="599" y="36"/>
                        </a:lnTo>
                        <a:lnTo>
                          <a:pt x="567" y="0"/>
                        </a:lnTo>
                        <a:lnTo>
                          <a:pt x="558" y="6"/>
                        </a:lnTo>
                        <a:lnTo>
                          <a:pt x="545" y="11"/>
                        </a:lnTo>
                        <a:lnTo>
                          <a:pt x="512" y="25"/>
                        </a:lnTo>
                        <a:lnTo>
                          <a:pt x="422" y="58"/>
                        </a:lnTo>
                        <a:lnTo>
                          <a:pt x="373" y="76"/>
                        </a:lnTo>
                        <a:lnTo>
                          <a:pt x="330" y="93"/>
                        </a:lnTo>
                        <a:lnTo>
                          <a:pt x="292" y="110"/>
                        </a:lnTo>
                        <a:lnTo>
                          <a:pt x="279" y="119"/>
                        </a:lnTo>
                        <a:lnTo>
                          <a:pt x="267" y="127"/>
                        </a:lnTo>
                        <a:lnTo>
                          <a:pt x="257" y="135"/>
                        </a:lnTo>
                        <a:lnTo>
                          <a:pt x="245" y="147"/>
                        </a:lnTo>
                        <a:lnTo>
                          <a:pt x="222" y="175"/>
                        </a:lnTo>
                        <a:lnTo>
                          <a:pt x="196" y="207"/>
                        </a:lnTo>
                        <a:lnTo>
                          <a:pt x="171" y="240"/>
                        </a:lnTo>
                        <a:lnTo>
                          <a:pt x="127" y="300"/>
                        </a:lnTo>
                        <a:lnTo>
                          <a:pt x="113" y="322"/>
                        </a:lnTo>
                        <a:lnTo>
                          <a:pt x="102" y="333"/>
                        </a:lnTo>
                        <a:lnTo>
                          <a:pt x="101" y="338"/>
                        </a:lnTo>
                        <a:lnTo>
                          <a:pt x="100" y="345"/>
                        </a:lnTo>
                        <a:lnTo>
                          <a:pt x="95" y="370"/>
                        </a:lnTo>
                        <a:lnTo>
                          <a:pt x="86" y="456"/>
                        </a:lnTo>
                        <a:lnTo>
                          <a:pt x="75" y="574"/>
                        </a:lnTo>
                        <a:lnTo>
                          <a:pt x="63" y="712"/>
                        </a:lnTo>
                        <a:lnTo>
                          <a:pt x="41" y="979"/>
                        </a:lnTo>
                        <a:lnTo>
                          <a:pt x="33" y="1078"/>
                        </a:lnTo>
                        <a:lnTo>
                          <a:pt x="27" y="1133"/>
                        </a:lnTo>
                        <a:lnTo>
                          <a:pt x="25" y="1157"/>
                        </a:lnTo>
                        <a:lnTo>
                          <a:pt x="22" y="1193"/>
                        </a:lnTo>
                        <a:lnTo>
                          <a:pt x="18" y="1304"/>
                        </a:lnTo>
                        <a:lnTo>
                          <a:pt x="14" y="1448"/>
                        </a:lnTo>
                        <a:lnTo>
                          <a:pt x="9" y="1605"/>
                        </a:lnTo>
                        <a:lnTo>
                          <a:pt x="3" y="1892"/>
                        </a:lnTo>
                        <a:lnTo>
                          <a:pt x="0" y="2021"/>
                        </a:lnTo>
                        <a:lnTo>
                          <a:pt x="46" y="2019"/>
                        </a:lnTo>
                        <a:lnTo>
                          <a:pt x="84" y="2016"/>
                        </a:lnTo>
                        <a:lnTo>
                          <a:pt x="101" y="2015"/>
                        </a:lnTo>
                        <a:lnTo>
                          <a:pt x="116" y="2013"/>
                        </a:lnTo>
                        <a:lnTo>
                          <a:pt x="130" y="2010"/>
                        </a:lnTo>
                        <a:lnTo>
                          <a:pt x="148" y="2009"/>
                        </a:lnTo>
                        <a:lnTo>
                          <a:pt x="191" y="2007"/>
                        </a:lnTo>
                        <a:lnTo>
                          <a:pt x="237" y="2007"/>
                        </a:lnTo>
                        <a:lnTo>
                          <a:pt x="280" y="2010"/>
                        </a:lnTo>
                        <a:lnTo>
                          <a:pt x="301" y="2012"/>
                        </a:lnTo>
                        <a:lnTo>
                          <a:pt x="322" y="2015"/>
                        </a:lnTo>
                        <a:lnTo>
                          <a:pt x="366" y="2022"/>
                        </a:lnTo>
                        <a:lnTo>
                          <a:pt x="406" y="2029"/>
                        </a:lnTo>
                        <a:lnTo>
                          <a:pt x="435" y="2037"/>
                        </a:lnTo>
                        <a:lnTo>
                          <a:pt x="443" y="2037"/>
                        </a:lnTo>
                        <a:lnTo>
                          <a:pt x="455" y="2037"/>
                        </a:lnTo>
                        <a:lnTo>
                          <a:pt x="489" y="2037"/>
                        </a:lnTo>
                        <a:lnTo>
                          <a:pt x="580" y="2031"/>
                        </a:lnTo>
                        <a:lnTo>
                          <a:pt x="669" y="2024"/>
                        </a:lnTo>
                        <a:lnTo>
                          <a:pt x="714" y="2019"/>
                        </a:lnTo>
                        <a:lnTo>
                          <a:pt x="730" y="2016"/>
                        </a:lnTo>
                        <a:lnTo>
                          <a:pt x="762" y="2006"/>
                        </a:lnTo>
                        <a:lnTo>
                          <a:pt x="850" y="1975"/>
                        </a:lnTo>
                        <a:lnTo>
                          <a:pt x="972" y="1930"/>
                        </a:lnTo>
                        <a:lnTo>
                          <a:pt x="999" y="1948"/>
                        </a:lnTo>
                        <a:lnTo>
                          <a:pt x="1038" y="1946"/>
                        </a:lnTo>
                        <a:lnTo>
                          <a:pt x="1071" y="1948"/>
                        </a:lnTo>
                        <a:lnTo>
                          <a:pt x="1087" y="1948"/>
                        </a:lnTo>
                        <a:lnTo>
                          <a:pt x="1100" y="1951"/>
                        </a:lnTo>
                        <a:lnTo>
                          <a:pt x="1108" y="1951"/>
                        </a:lnTo>
                        <a:lnTo>
                          <a:pt x="1117" y="1951"/>
                        </a:lnTo>
                        <a:lnTo>
                          <a:pt x="1141" y="1948"/>
                        </a:lnTo>
                        <a:lnTo>
                          <a:pt x="1170" y="1940"/>
                        </a:lnTo>
                        <a:lnTo>
                          <a:pt x="1202" y="1933"/>
                        </a:lnTo>
                        <a:lnTo>
                          <a:pt x="1236" y="1923"/>
                        </a:lnTo>
                        <a:lnTo>
                          <a:pt x="1265" y="1914"/>
                        </a:lnTo>
                        <a:lnTo>
                          <a:pt x="1290" y="1906"/>
                        </a:lnTo>
                        <a:lnTo>
                          <a:pt x="1307" y="1898"/>
                        </a:lnTo>
                        <a:lnTo>
                          <a:pt x="1395" y="1857"/>
                        </a:lnTo>
                        <a:lnTo>
                          <a:pt x="1456" y="1828"/>
                        </a:lnTo>
                        <a:lnTo>
                          <a:pt x="1667" y="1786"/>
                        </a:lnTo>
                        <a:lnTo>
                          <a:pt x="1728" y="1764"/>
                        </a:lnTo>
                        <a:lnTo>
                          <a:pt x="1868" y="1716"/>
                        </a:lnTo>
                        <a:lnTo>
                          <a:pt x="1943" y="1690"/>
                        </a:lnTo>
                        <a:lnTo>
                          <a:pt x="2010" y="1664"/>
                        </a:lnTo>
                        <a:lnTo>
                          <a:pt x="2037" y="1652"/>
                        </a:lnTo>
                        <a:lnTo>
                          <a:pt x="2059" y="1642"/>
                        </a:lnTo>
                        <a:lnTo>
                          <a:pt x="2074" y="1634"/>
                        </a:lnTo>
                        <a:lnTo>
                          <a:pt x="2078" y="1630"/>
                        </a:lnTo>
                        <a:lnTo>
                          <a:pt x="2081" y="1627"/>
                        </a:lnTo>
                        <a:lnTo>
                          <a:pt x="2084" y="1621"/>
                        </a:lnTo>
                        <a:lnTo>
                          <a:pt x="2087" y="1616"/>
                        </a:lnTo>
                        <a:lnTo>
                          <a:pt x="2090" y="1597"/>
                        </a:lnTo>
                        <a:lnTo>
                          <a:pt x="2091" y="1575"/>
                        </a:lnTo>
                        <a:lnTo>
                          <a:pt x="2090" y="1550"/>
                        </a:lnTo>
                        <a:lnTo>
                          <a:pt x="2087" y="1524"/>
                        </a:lnTo>
                        <a:lnTo>
                          <a:pt x="2083" y="1496"/>
                        </a:lnTo>
                        <a:lnTo>
                          <a:pt x="2075" y="1470"/>
                        </a:lnTo>
                        <a:lnTo>
                          <a:pt x="2065" y="1444"/>
                        </a:lnTo>
                        <a:lnTo>
                          <a:pt x="2053" y="1419"/>
                        </a:lnTo>
                        <a:lnTo>
                          <a:pt x="2040" y="1394"/>
                        </a:lnTo>
                        <a:lnTo>
                          <a:pt x="2014" y="1347"/>
                        </a:lnTo>
                        <a:lnTo>
                          <a:pt x="1986" y="130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31" name="Freeform 68"/>
                  <p:cNvSpPr>
                    <a:spLocks/>
                  </p:cNvSpPr>
                  <p:nvPr/>
                </p:nvSpPr>
                <p:spPr bwMode="auto">
                  <a:xfrm>
                    <a:off x="2044535" y="5153030"/>
                    <a:ext cx="531109" cy="484064"/>
                  </a:xfrm>
                  <a:custGeom>
                    <a:avLst/>
                    <a:gdLst>
                      <a:gd name="T0" fmla="*/ 60325 w 329"/>
                      <a:gd name="T1" fmla="*/ 477838 h 301"/>
                      <a:gd name="T2" fmla="*/ 28575 w 329"/>
                      <a:gd name="T3" fmla="*/ 471488 h 301"/>
                      <a:gd name="T4" fmla="*/ 6350 w 329"/>
                      <a:gd name="T5" fmla="*/ 452438 h 301"/>
                      <a:gd name="T6" fmla="*/ 0 w 329"/>
                      <a:gd name="T7" fmla="*/ 427038 h 301"/>
                      <a:gd name="T8" fmla="*/ 9525 w 329"/>
                      <a:gd name="T9" fmla="*/ 395288 h 301"/>
                      <a:gd name="T10" fmla="*/ 36513 w 329"/>
                      <a:gd name="T11" fmla="*/ 341313 h 301"/>
                      <a:gd name="T12" fmla="*/ 87313 w 329"/>
                      <a:gd name="T13" fmla="*/ 258763 h 301"/>
                      <a:gd name="T14" fmla="*/ 111125 w 329"/>
                      <a:gd name="T15" fmla="*/ 227013 h 301"/>
                      <a:gd name="T16" fmla="*/ 160338 w 329"/>
                      <a:gd name="T17" fmla="*/ 138113 h 301"/>
                      <a:gd name="T18" fmla="*/ 168275 w 329"/>
                      <a:gd name="T19" fmla="*/ 127000 h 301"/>
                      <a:gd name="T20" fmla="*/ 201613 w 329"/>
                      <a:gd name="T21" fmla="*/ 92075 h 301"/>
                      <a:gd name="T22" fmla="*/ 242888 w 329"/>
                      <a:gd name="T23" fmla="*/ 60325 h 301"/>
                      <a:gd name="T24" fmla="*/ 279400 w 329"/>
                      <a:gd name="T25" fmla="*/ 20638 h 301"/>
                      <a:gd name="T26" fmla="*/ 288925 w 329"/>
                      <a:gd name="T27" fmla="*/ 12700 h 301"/>
                      <a:gd name="T28" fmla="*/ 307975 w 329"/>
                      <a:gd name="T29" fmla="*/ 1588 h 301"/>
                      <a:gd name="T30" fmla="*/ 317500 w 329"/>
                      <a:gd name="T31" fmla="*/ 0 h 301"/>
                      <a:gd name="T32" fmla="*/ 333375 w 329"/>
                      <a:gd name="T33" fmla="*/ 1588 h 301"/>
                      <a:gd name="T34" fmla="*/ 344488 w 329"/>
                      <a:gd name="T35" fmla="*/ 9525 h 301"/>
                      <a:gd name="T36" fmla="*/ 347663 w 329"/>
                      <a:gd name="T37" fmla="*/ 20638 h 301"/>
                      <a:gd name="T38" fmla="*/ 349250 w 329"/>
                      <a:gd name="T39" fmla="*/ 34925 h 301"/>
                      <a:gd name="T40" fmla="*/ 344488 w 329"/>
                      <a:gd name="T41" fmla="*/ 71438 h 301"/>
                      <a:gd name="T42" fmla="*/ 334963 w 329"/>
                      <a:gd name="T43" fmla="*/ 93663 h 301"/>
                      <a:gd name="T44" fmla="*/ 323850 w 329"/>
                      <a:gd name="T45" fmla="*/ 120650 h 301"/>
                      <a:gd name="T46" fmla="*/ 304800 w 329"/>
                      <a:gd name="T47" fmla="*/ 173038 h 301"/>
                      <a:gd name="T48" fmla="*/ 300038 w 329"/>
                      <a:gd name="T49" fmla="*/ 193675 h 301"/>
                      <a:gd name="T50" fmla="*/ 296863 w 329"/>
                      <a:gd name="T51" fmla="*/ 214313 h 301"/>
                      <a:gd name="T52" fmla="*/ 298450 w 329"/>
                      <a:gd name="T53" fmla="*/ 223838 h 301"/>
                      <a:gd name="T54" fmla="*/ 309563 w 329"/>
                      <a:gd name="T55" fmla="*/ 219075 h 301"/>
                      <a:gd name="T56" fmla="*/ 322263 w 329"/>
                      <a:gd name="T57" fmla="*/ 214313 h 301"/>
                      <a:gd name="T58" fmla="*/ 355600 w 329"/>
                      <a:gd name="T59" fmla="*/ 203200 h 301"/>
                      <a:gd name="T60" fmla="*/ 374650 w 329"/>
                      <a:gd name="T61" fmla="*/ 200025 h 301"/>
                      <a:gd name="T62" fmla="*/ 428625 w 329"/>
                      <a:gd name="T63" fmla="*/ 184150 h 301"/>
                      <a:gd name="T64" fmla="*/ 466725 w 329"/>
                      <a:gd name="T65" fmla="*/ 171450 h 301"/>
                      <a:gd name="T66" fmla="*/ 474663 w 329"/>
                      <a:gd name="T67" fmla="*/ 171450 h 301"/>
                      <a:gd name="T68" fmla="*/ 490538 w 329"/>
                      <a:gd name="T69" fmla="*/ 171450 h 301"/>
                      <a:gd name="T70" fmla="*/ 517525 w 329"/>
                      <a:gd name="T71" fmla="*/ 174625 h 301"/>
                      <a:gd name="T72" fmla="*/ 522288 w 329"/>
                      <a:gd name="T73" fmla="*/ 182563 h 301"/>
                      <a:gd name="T74" fmla="*/ 517525 w 329"/>
                      <a:gd name="T75" fmla="*/ 192088 h 301"/>
                      <a:gd name="T76" fmla="*/ 509588 w 329"/>
                      <a:gd name="T77" fmla="*/ 200025 h 301"/>
                      <a:gd name="T78" fmla="*/ 469900 w 329"/>
                      <a:gd name="T79" fmla="*/ 227013 h 301"/>
                      <a:gd name="T80" fmla="*/ 441325 w 329"/>
                      <a:gd name="T81" fmla="*/ 244475 h 301"/>
                      <a:gd name="T82" fmla="*/ 415925 w 329"/>
                      <a:gd name="T83" fmla="*/ 260350 h 301"/>
                      <a:gd name="T84" fmla="*/ 360363 w 329"/>
                      <a:gd name="T85" fmla="*/ 300038 h 301"/>
                      <a:gd name="T86" fmla="*/ 347663 w 329"/>
                      <a:gd name="T87" fmla="*/ 309563 h 301"/>
                      <a:gd name="T88" fmla="*/ 323850 w 329"/>
                      <a:gd name="T89" fmla="*/ 333375 h 301"/>
                      <a:gd name="T90" fmla="*/ 317500 w 329"/>
                      <a:gd name="T91" fmla="*/ 341313 h 301"/>
                      <a:gd name="T92" fmla="*/ 307975 w 329"/>
                      <a:gd name="T93" fmla="*/ 358775 h 301"/>
                      <a:gd name="T94" fmla="*/ 296863 w 329"/>
                      <a:gd name="T95" fmla="*/ 374650 h 301"/>
                      <a:gd name="T96" fmla="*/ 231775 w 329"/>
                      <a:gd name="T97" fmla="*/ 434975 h 301"/>
                      <a:gd name="T98" fmla="*/ 192088 w 329"/>
                      <a:gd name="T99" fmla="*/ 466725 h 301"/>
                      <a:gd name="T100" fmla="*/ 180975 w 329"/>
                      <a:gd name="T101" fmla="*/ 471488 h 301"/>
                      <a:gd name="T102" fmla="*/ 125413 w 329"/>
                      <a:gd name="T103" fmla="*/ 477838 h 301"/>
                      <a:gd name="T104" fmla="*/ 60325 w 329"/>
                      <a:gd name="T105" fmla="*/ 477838 h 301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329"/>
                      <a:gd name="T160" fmla="*/ 0 h 301"/>
                      <a:gd name="T161" fmla="*/ 329 w 329"/>
                      <a:gd name="T162" fmla="*/ 301 h 301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329" h="301">
                        <a:moveTo>
                          <a:pt x="38" y="301"/>
                        </a:moveTo>
                        <a:lnTo>
                          <a:pt x="38" y="301"/>
                        </a:lnTo>
                        <a:lnTo>
                          <a:pt x="26" y="300"/>
                        </a:lnTo>
                        <a:lnTo>
                          <a:pt x="18" y="297"/>
                        </a:lnTo>
                        <a:lnTo>
                          <a:pt x="10" y="293"/>
                        </a:lnTo>
                        <a:lnTo>
                          <a:pt x="4" y="285"/>
                        </a:lnTo>
                        <a:lnTo>
                          <a:pt x="2" y="278"/>
                        </a:lnTo>
                        <a:lnTo>
                          <a:pt x="0" y="269"/>
                        </a:lnTo>
                        <a:lnTo>
                          <a:pt x="2" y="259"/>
                        </a:lnTo>
                        <a:lnTo>
                          <a:pt x="6" y="249"/>
                        </a:lnTo>
                        <a:lnTo>
                          <a:pt x="23" y="215"/>
                        </a:lnTo>
                        <a:lnTo>
                          <a:pt x="39" y="188"/>
                        </a:lnTo>
                        <a:lnTo>
                          <a:pt x="55" y="163"/>
                        </a:lnTo>
                        <a:lnTo>
                          <a:pt x="70" y="143"/>
                        </a:lnTo>
                        <a:lnTo>
                          <a:pt x="82" y="122"/>
                        </a:lnTo>
                        <a:lnTo>
                          <a:pt x="101" y="87"/>
                        </a:lnTo>
                        <a:lnTo>
                          <a:pt x="106" y="80"/>
                        </a:lnTo>
                        <a:lnTo>
                          <a:pt x="112" y="73"/>
                        </a:lnTo>
                        <a:lnTo>
                          <a:pt x="127" y="58"/>
                        </a:lnTo>
                        <a:lnTo>
                          <a:pt x="153" y="38"/>
                        </a:lnTo>
                        <a:lnTo>
                          <a:pt x="166" y="25"/>
                        </a:lnTo>
                        <a:lnTo>
                          <a:pt x="176" y="13"/>
                        </a:lnTo>
                        <a:lnTo>
                          <a:pt x="182" y="8"/>
                        </a:lnTo>
                        <a:lnTo>
                          <a:pt x="188" y="4"/>
                        </a:lnTo>
                        <a:lnTo>
                          <a:pt x="194" y="1"/>
                        </a:lnTo>
                        <a:lnTo>
                          <a:pt x="200" y="0"/>
                        </a:lnTo>
                        <a:lnTo>
                          <a:pt x="206" y="0"/>
                        </a:lnTo>
                        <a:lnTo>
                          <a:pt x="210" y="1"/>
                        </a:lnTo>
                        <a:lnTo>
                          <a:pt x="214" y="3"/>
                        </a:lnTo>
                        <a:lnTo>
                          <a:pt x="217" y="6"/>
                        </a:lnTo>
                        <a:lnTo>
                          <a:pt x="219" y="13"/>
                        </a:lnTo>
                        <a:lnTo>
                          <a:pt x="220" y="22"/>
                        </a:lnTo>
                        <a:lnTo>
                          <a:pt x="219" y="32"/>
                        </a:lnTo>
                        <a:lnTo>
                          <a:pt x="217" y="45"/>
                        </a:lnTo>
                        <a:lnTo>
                          <a:pt x="211" y="59"/>
                        </a:lnTo>
                        <a:lnTo>
                          <a:pt x="204" y="76"/>
                        </a:lnTo>
                        <a:lnTo>
                          <a:pt x="195" y="93"/>
                        </a:lnTo>
                        <a:lnTo>
                          <a:pt x="192" y="109"/>
                        </a:lnTo>
                        <a:lnTo>
                          <a:pt x="189" y="122"/>
                        </a:lnTo>
                        <a:lnTo>
                          <a:pt x="187" y="135"/>
                        </a:lnTo>
                        <a:lnTo>
                          <a:pt x="187" y="138"/>
                        </a:lnTo>
                        <a:lnTo>
                          <a:pt x="188" y="141"/>
                        </a:lnTo>
                        <a:lnTo>
                          <a:pt x="191" y="141"/>
                        </a:lnTo>
                        <a:lnTo>
                          <a:pt x="195" y="138"/>
                        </a:lnTo>
                        <a:lnTo>
                          <a:pt x="203" y="135"/>
                        </a:lnTo>
                        <a:lnTo>
                          <a:pt x="211" y="131"/>
                        </a:lnTo>
                        <a:lnTo>
                          <a:pt x="224" y="128"/>
                        </a:lnTo>
                        <a:lnTo>
                          <a:pt x="236" y="126"/>
                        </a:lnTo>
                        <a:lnTo>
                          <a:pt x="252" y="124"/>
                        </a:lnTo>
                        <a:lnTo>
                          <a:pt x="270" y="116"/>
                        </a:lnTo>
                        <a:lnTo>
                          <a:pt x="287" y="110"/>
                        </a:lnTo>
                        <a:lnTo>
                          <a:pt x="294" y="108"/>
                        </a:lnTo>
                        <a:lnTo>
                          <a:pt x="299" y="108"/>
                        </a:lnTo>
                        <a:lnTo>
                          <a:pt x="309" y="108"/>
                        </a:lnTo>
                        <a:lnTo>
                          <a:pt x="319" y="108"/>
                        </a:lnTo>
                        <a:lnTo>
                          <a:pt x="326" y="110"/>
                        </a:lnTo>
                        <a:lnTo>
                          <a:pt x="328" y="113"/>
                        </a:lnTo>
                        <a:lnTo>
                          <a:pt x="329" y="115"/>
                        </a:lnTo>
                        <a:lnTo>
                          <a:pt x="328" y="118"/>
                        </a:lnTo>
                        <a:lnTo>
                          <a:pt x="326" y="121"/>
                        </a:lnTo>
                        <a:lnTo>
                          <a:pt x="321" y="126"/>
                        </a:lnTo>
                        <a:lnTo>
                          <a:pt x="313" y="132"/>
                        </a:lnTo>
                        <a:lnTo>
                          <a:pt x="296" y="143"/>
                        </a:lnTo>
                        <a:lnTo>
                          <a:pt x="278" y="154"/>
                        </a:lnTo>
                        <a:lnTo>
                          <a:pt x="262" y="164"/>
                        </a:lnTo>
                        <a:lnTo>
                          <a:pt x="248" y="176"/>
                        </a:lnTo>
                        <a:lnTo>
                          <a:pt x="227" y="189"/>
                        </a:lnTo>
                        <a:lnTo>
                          <a:pt x="219" y="195"/>
                        </a:lnTo>
                        <a:lnTo>
                          <a:pt x="211" y="202"/>
                        </a:lnTo>
                        <a:lnTo>
                          <a:pt x="204" y="210"/>
                        </a:lnTo>
                        <a:lnTo>
                          <a:pt x="200" y="215"/>
                        </a:lnTo>
                        <a:lnTo>
                          <a:pt x="194" y="226"/>
                        </a:lnTo>
                        <a:lnTo>
                          <a:pt x="187" y="236"/>
                        </a:lnTo>
                        <a:lnTo>
                          <a:pt x="165" y="256"/>
                        </a:lnTo>
                        <a:lnTo>
                          <a:pt x="146" y="274"/>
                        </a:lnTo>
                        <a:lnTo>
                          <a:pt x="121" y="294"/>
                        </a:lnTo>
                        <a:lnTo>
                          <a:pt x="114" y="297"/>
                        </a:lnTo>
                        <a:lnTo>
                          <a:pt x="99" y="300"/>
                        </a:lnTo>
                        <a:lnTo>
                          <a:pt x="79" y="301"/>
                        </a:lnTo>
                        <a:lnTo>
                          <a:pt x="57" y="301"/>
                        </a:lnTo>
                        <a:lnTo>
                          <a:pt x="38" y="301"/>
                        </a:lnTo>
                        <a:close/>
                      </a:path>
                    </a:pathLst>
                  </a:custGeom>
                  <a:solidFill>
                    <a:srgbClr val="A8A8A8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32" name="Freeform 69"/>
                  <p:cNvSpPr>
                    <a:spLocks/>
                  </p:cNvSpPr>
                  <p:nvPr/>
                </p:nvSpPr>
                <p:spPr bwMode="auto">
                  <a:xfrm>
                    <a:off x="2122644" y="5277951"/>
                    <a:ext cx="921625" cy="796367"/>
                  </a:xfrm>
                  <a:custGeom>
                    <a:avLst/>
                    <a:gdLst>
                      <a:gd name="T0" fmla="*/ 236538 w 579"/>
                      <a:gd name="T1" fmla="*/ 741363 h 504"/>
                      <a:gd name="T2" fmla="*/ 293688 w 579"/>
                      <a:gd name="T3" fmla="*/ 792163 h 504"/>
                      <a:gd name="T4" fmla="*/ 347663 w 579"/>
                      <a:gd name="T5" fmla="*/ 800100 h 504"/>
                      <a:gd name="T6" fmla="*/ 433388 w 579"/>
                      <a:gd name="T7" fmla="*/ 792163 h 504"/>
                      <a:gd name="T8" fmla="*/ 515938 w 579"/>
                      <a:gd name="T9" fmla="*/ 774700 h 504"/>
                      <a:gd name="T10" fmla="*/ 574675 w 579"/>
                      <a:gd name="T11" fmla="*/ 760413 h 504"/>
                      <a:gd name="T12" fmla="*/ 627063 w 579"/>
                      <a:gd name="T13" fmla="*/ 757238 h 504"/>
                      <a:gd name="T14" fmla="*/ 658813 w 579"/>
                      <a:gd name="T15" fmla="*/ 757238 h 504"/>
                      <a:gd name="T16" fmla="*/ 738188 w 579"/>
                      <a:gd name="T17" fmla="*/ 760413 h 504"/>
                      <a:gd name="T18" fmla="*/ 804863 w 579"/>
                      <a:gd name="T19" fmla="*/ 757238 h 504"/>
                      <a:gd name="T20" fmla="*/ 839788 w 579"/>
                      <a:gd name="T21" fmla="*/ 746125 h 504"/>
                      <a:gd name="T22" fmla="*/ 863600 w 579"/>
                      <a:gd name="T23" fmla="*/ 723900 h 504"/>
                      <a:gd name="T24" fmla="*/ 901700 w 579"/>
                      <a:gd name="T25" fmla="*/ 649288 h 504"/>
                      <a:gd name="T26" fmla="*/ 915988 w 579"/>
                      <a:gd name="T27" fmla="*/ 614363 h 504"/>
                      <a:gd name="T28" fmla="*/ 919163 w 579"/>
                      <a:gd name="T29" fmla="*/ 538163 h 504"/>
                      <a:gd name="T30" fmla="*/ 909638 w 579"/>
                      <a:gd name="T31" fmla="*/ 463550 h 504"/>
                      <a:gd name="T32" fmla="*/ 893763 w 579"/>
                      <a:gd name="T33" fmla="*/ 430213 h 504"/>
                      <a:gd name="T34" fmla="*/ 855663 w 579"/>
                      <a:gd name="T35" fmla="*/ 382588 h 504"/>
                      <a:gd name="T36" fmla="*/ 814388 w 579"/>
                      <a:gd name="T37" fmla="*/ 319088 h 504"/>
                      <a:gd name="T38" fmla="*/ 795338 w 579"/>
                      <a:gd name="T39" fmla="*/ 279400 h 504"/>
                      <a:gd name="T40" fmla="*/ 792163 w 579"/>
                      <a:gd name="T41" fmla="*/ 244475 h 504"/>
                      <a:gd name="T42" fmla="*/ 798513 w 579"/>
                      <a:gd name="T43" fmla="*/ 192088 h 504"/>
                      <a:gd name="T44" fmla="*/ 784225 w 579"/>
                      <a:gd name="T45" fmla="*/ 147638 h 504"/>
                      <a:gd name="T46" fmla="*/ 763588 w 579"/>
                      <a:gd name="T47" fmla="*/ 119063 h 504"/>
                      <a:gd name="T48" fmla="*/ 736600 w 579"/>
                      <a:gd name="T49" fmla="*/ 71438 h 504"/>
                      <a:gd name="T50" fmla="*/ 717550 w 579"/>
                      <a:gd name="T51" fmla="*/ 33338 h 504"/>
                      <a:gd name="T52" fmla="*/ 688975 w 579"/>
                      <a:gd name="T53" fmla="*/ 17463 h 504"/>
                      <a:gd name="T54" fmla="*/ 627063 w 579"/>
                      <a:gd name="T55" fmla="*/ 1588 h 504"/>
                      <a:gd name="T56" fmla="*/ 555625 w 579"/>
                      <a:gd name="T57" fmla="*/ 7938 h 504"/>
                      <a:gd name="T58" fmla="*/ 504825 w 579"/>
                      <a:gd name="T59" fmla="*/ 33338 h 504"/>
                      <a:gd name="T60" fmla="*/ 490538 w 579"/>
                      <a:gd name="T61" fmla="*/ 46038 h 504"/>
                      <a:gd name="T62" fmla="*/ 449263 w 579"/>
                      <a:gd name="T63" fmla="*/ 58738 h 504"/>
                      <a:gd name="T64" fmla="*/ 414338 w 579"/>
                      <a:gd name="T65" fmla="*/ 73025 h 504"/>
                      <a:gd name="T66" fmla="*/ 377825 w 579"/>
                      <a:gd name="T67" fmla="*/ 93663 h 504"/>
                      <a:gd name="T68" fmla="*/ 319088 w 579"/>
                      <a:gd name="T69" fmla="*/ 138113 h 504"/>
                      <a:gd name="T70" fmla="*/ 276225 w 579"/>
                      <a:gd name="T71" fmla="*/ 169863 h 504"/>
                      <a:gd name="T72" fmla="*/ 231775 w 579"/>
                      <a:gd name="T73" fmla="*/ 203200 h 504"/>
                      <a:gd name="T74" fmla="*/ 206375 w 579"/>
                      <a:gd name="T75" fmla="*/ 233363 h 504"/>
                      <a:gd name="T76" fmla="*/ 171450 w 579"/>
                      <a:gd name="T77" fmla="*/ 265113 h 504"/>
                      <a:gd name="T78" fmla="*/ 115888 w 579"/>
                      <a:gd name="T79" fmla="*/ 320675 h 504"/>
                      <a:gd name="T80" fmla="*/ 95250 w 579"/>
                      <a:gd name="T81" fmla="*/ 346075 h 504"/>
                      <a:gd name="T82" fmla="*/ 71438 w 579"/>
                      <a:gd name="T83" fmla="*/ 365125 h 504"/>
                      <a:gd name="T84" fmla="*/ 20638 w 579"/>
                      <a:gd name="T85" fmla="*/ 379413 h 504"/>
                      <a:gd name="T86" fmla="*/ 4763 w 579"/>
                      <a:gd name="T87" fmla="*/ 400050 h 504"/>
                      <a:gd name="T88" fmla="*/ 0 w 579"/>
                      <a:gd name="T89" fmla="*/ 441325 h 504"/>
                      <a:gd name="T90" fmla="*/ 4763 w 579"/>
                      <a:gd name="T91" fmla="*/ 476250 h 504"/>
                      <a:gd name="T92" fmla="*/ 122238 w 579"/>
                      <a:gd name="T93" fmla="*/ 608013 h 504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w 579"/>
                      <a:gd name="T142" fmla="*/ 0 h 504"/>
                      <a:gd name="T143" fmla="*/ 579 w 579"/>
                      <a:gd name="T144" fmla="*/ 504 h 504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T141" t="T142" r="T143" b="T144"/>
                    <a:pathLst>
                      <a:path w="579" h="504">
                        <a:moveTo>
                          <a:pt x="134" y="450"/>
                        </a:moveTo>
                        <a:lnTo>
                          <a:pt x="134" y="450"/>
                        </a:lnTo>
                        <a:lnTo>
                          <a:pt x="149" y="467"/>
                        </a:lnTo>
                        <a:lnTo>
                          <a:pt x="165" y="482"/>
                        </a:lnTo>
                        <a:lnTo>
                          <a:pt x="177" y="494"/>
                        </a:lnTo>
                        <a:lnTo>
                          <a:pt x="185" y="499"/>
                        </a:lnTo>
                        <a:lnTo>
                          <a:pt x="200" y="502"/>
                        </a:lnTo>
                        <a:lnTo>
                          <a:pt x="219" y="504"/>
                        </a:lnTo>
                        <a:lnTo>
                          <a:pt x="244" y="502"/>
                        </a:lnTo>
                        <a:lnTo>
                          <a:pt x="273" y="499"/>
                        </a:lnTo>
                        <a:lnTo>
                          <a:pt x="300" y="494"/>
                        </a:lnTo>
                        <a:lnTo>
                          <a:pt x="325" y="488"/>
                        </a:lnTo>
                        <a:lnTo>
                          <a:pt x="344" y="482"/>
                        </a:lnTo>
                        <a:lnTo>
                          <a:pt x="362" y="479"/>
                        </a:lnTo>
                        <a:lnTo>
                          <a:pt x="395" y="477"/>
                        </a:lnTo>
                        <a:lnTo>
                          <a:pt x="405" y="477"/>
                        </a:lnTo>
                        <a:lnTo>
                          <a:pt x="415" y="477"/>
                        </a:lnTo>
                        <a:lnTo>
                          <a:pt x="443" y="477"/>
                        </a:lnTo>
                        <a:lnTo>
                          <a:pt x="465" y="479"/>
                        </a:lnTo>
                        <a:lnTo>
                          <a:pt x="484" y="479"/>
                        </a:lnTo>
                        <a:lnTo>
                          <a:pt x="507" y="477"/>
                        </a:lnTo>
                        <a:lnTo>
                          <a:pt x="519" y="475"/>
                        </a:lnTo>
                        <a:lnTo>
                          <a:pt x="529" y="470"/>
                        </a:lnTo>
                        <a:lnTo>
                          <a:pt x="538" y="463"/>
                        </a:lnTo>
                        <a:lnTo>
                          <a:pt x="544" y="456"/>
                        </a:lnTo>
                        <a:lnTo>
                          <a:pt x="561" y="424"/>
                        </a:lnTo>
                        <a:lnTo>
                          <a:pt x="568" y="409"/>
                        </a:lnTo>
                        <a:lnTo>
                          <a:pt x="574" y="396"/>
                        </a:lnTo>
                        <a:lnTo>
                          <a:pt x="577" y="387"/>
                        </a:lnTo>
                        <a:lnTo>
                          <a:pt x="577" y="374"/>
                        </a:lnTo>
                        <a:lnTo>
                          <a:pt x="579" y="339"/>
                        </a:lnTo>
                        <a:lnTo>
                          <a:pt x="577" y="322"/>
                        </a:lnTo>
                        <a:lnTo>
                          <a:pt x="576" y="306"/>
                        </a:lnTo>
                        <a:lnTo>
                          <a:pt x="573" y="292"/>
                        </a:lnTo>
                        <a:lnTo>
                          <a:pt x="570" y="284"/>
                        </a:lnTo>
                        <a:lnTo>
                          <a:pt x="563" y="271"/>
                        </a:lnTo>
                        <a:lnTo>
                          <a:pt x="552" y="257"/>
                        </a:lnTo>
                        <a:lnTo>
                          <a:pt x="539" y="241"/>
                        </a:lnTo>
                        <a:lnTo>
                          <a:pt x="526" y="221"/>
                        </a:lnTo>
                        <a:lnTo>
                          <a:pt x="513" y="201"/>
                        </a:lnTo>
                        <a:lnTo>
                          <a:pt x="504" y="183"/>
                        </a:lnTo>
                        <a:lnTo>
                          <a:pt x="501" y="176"/>
                        </a:lnTo>
                        <a:lnTo>
                          <a:pt x="500" y="169"/>
                        </a:lnTo>
                        <a:lnTo>
                          <a:pt x="499" y="160"/>
                        </a:lnTo>
                        <a:lnTo>
                          <a:pt x="499" y="154"/>
                        </a:lnTo>
                        <a:lnTo>
                          <a:pt x="503" y="121"/>
                        </a:lnTo>
                        <a:lnTo>
                          <a:pt x="501" y="112"/>
                        </a:lnTo>
                        <a:lnTo>
                          <a:pt x="499" y="103"/>
                        </a:lnTo>
                        <a:lnTo>
                          <a:pt x="494" y="93"/>
                        </a:lnTo>
                        <a:lnTo>
                          <a:pt x="488" y="84"/>
                        </a:lnTo>
                        <a:lnTo>
                          <a:pt x="481" y="75"/>
                        </a:lnTo>
                        <a:lnTo>
                          <a:pt x="474" y="65"/>
                        </a:lnTo>
                        <a:lnTo>
                          <a:pt x="468" y="55"/>
                        </a:lnTo>
                        <a:lnTo>
                          <a:pt x="464" y="45"/>
                        </a:lnTo>
                        <a:lnTo>
                          <a:pt x="455" y="29"/>
                        </a:lnTo>
                        <a:lnTo>
                          <a:pt x="452" y="21"/>
                        </a:lnTo>
                        <a:lnTo>
                          <a:pt x="448" y="19"/>
                        </a:lnTo>
                        <a:lnTo>
                          <a:pt x="434" y="11"/>
                        </a:lnTo>
                        <a:lnTo>
                          <a:pt x="410" y="4"/>
                        </a:lnTo>
                        <a:lnTo>
                          <a:pt x="395" y="1"/>
                        </a:lnTo>
                        <a:lnTo>
                          <a:pt x="379" y="0"/>
                        </a:lnTo>
                        <a:lnTo>
                          <a:pt x="363" y="1"/>
                        </a:lnTo>
                        <a:lnTo>
                          <a:pt x="350" y="5"/>
                        </a:lnTo>
                        <a:lnTo>
                          <a:pt x="327" y="16"/>
                        </a:lnTo>
                        <a:lnTo>
                          <a:pt x="318" y="21"/>
                        </a:lnTo>
                        <a:lnTo>
                          <a:pt x="313" y="24"/>
                        </a:lnTo>
                        <a:lnTo>
                          <a:pt x="309" y="29"/>
                        </a:lnTo>
                        <a:lnTo>
                          <a:pt x="302" y="32"/>
                        </a:lnTo>
                        <a:lnTo>
                          <a:pt x="293" y="36"/>
                        </a:lnTo>
                        <a:lnTo>
                          <a:pt x="283" y="37"/>
                        </a:lnTo>
                        <a:lnTo>
                          <a:pt x="273" y="42"/>
                        </a:lnTo>
                        <a:lnTo>
                          <a:pt x="261" y="46"/>
                        </a:lnTo>
                        <a:lnTo>
                          <a:pt x="248" y="52"/>
                        </a:lnTo>
                        <a:lnTo>
                          <a:pt x="238" y="59"/>
                        </a:lnTo>
                        <a:lnTo>
                          <a:pt x="217" y="74"/>
                        </a:lnTo>
                        <a:lnTo>
                          <a:pt x="201" y="87"/>
                        </a:lnTo>
                        <a:lnTo>
                          <a:pt x="188" y="99"/>
                        </a:lnTo>
                        <a:lnTo>
                          <a:pt x="174" y="107"/>
                        </a:lnTo>
                        <a:lnTo>
                          <a:pt x="152" y="121"/>
                        </a:lnTo>
                        <a:lnTo>
                          <a:pt x="146" y="128"/>
                        </a:lnTo>
                        <a:lnTo>
                          <a:pt x="139" y="137"/>
                        </a:lnTo>
                        <a:lnTo>
                          <a:pt x="130" y="147"/>
                        </a:lnTo>
                        <a:lnTo>
                          <a:pt x="121" y="157"/>
                        </a:lnTo>
                        <a:lnTo>
                          <a:pt x="108" y="167"/>
                        </a:lnTo>
                        <a:lnTo>
                          <a:pt x="93" y="180"/>
                        </a:lnTo>
                        <a:lnTo>
                          <a:pt x="73" y="202"/>
                        </a:lnTo>
                        <a:lnTo>
                          <a:pt x="60" y="218"/>
                        </a:lnTo>
                        <a:lnTo>
                          <a:pt x="53" y="224"/>
                        </a:lnTo>
                        <a:lnTo>
                          <a:pt x="45" y="230"/>
                        </a:lnTo>
                        <a:lnTo>
                          <a:pt x="32" y="234"/>
                        </a:lnTo>
                        <a:lnTo>
                          <a:pt x="13" y="239"/>
                        </a:lnTo>
                        <a:lnTo>
                          <a:pt x="9" y="241"/>
                        </a:lnTo>
                        <a:lnTo>
                          <a:pt x="6" y="246"/>
                        </a:lnTo>
                        <a:lnTo>
                          <a:pt x="3" y="252"/>
                        </a:lnTo>
                        <a:lnTo>
                          <a:pt x="2" y="259"/>
                        </a:lnTo>
                        <a:lnTo>
                          <a:pt x="0" y="268"/>
                        </a:lnTo>
                        <a:lnTo>
                          <a:pt x="0" y="278"/>
                        </a:lnTo>
                        <a:lnTo>
                          <a:pt x="2" y="288"/>
                        </a:lnTo>
                        <a:lnTo>
                          <a:pt x="3" y="300"/>
                        </a:lnTo>
                        <a:lnTo>
                          <a:pt x="13" y="310"/>
                        </a:lnTo>
                        <a:lnTo>
                          <a:pt x="77" y="383"/>
                        </a:lnTo>
                        <a:lnTo>
                          <a:pt x="134" y="450"/>
                        </a:lnTo>
                        <a:close/>
                      </a:path>
                    </a:pathLst>
                  </a:custGeom>
                  <a:solidFill>
                    <a:srgbClr val="A8A8A8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33" name="Freeform 101"/>
                  <p:cNvSpPr>
                    <a:spLocks/>
                  </p:cNvSpPr>
                  <p:nvPr/>
                </p:nvSpPr>
                <p:spPr bwMode="auto">
                  <a:xfrm>
                    <a:off x="1872711" y="5590254"/>
                    <a:ext cx="515483" cy="640216"/>
                  </a:xfrm>
                  <a:custGeom>
                    <a:avLst/>
                    <a:gdLst>
                      <a:gd name="T0" fmla="*/ 287338 w 325"/>
                      <a:gd name="T1" fmla="*/ 0 h 405"/>
                      <a:gd name="T2" fmla="*/ 287338 w 325"/>
                      <a:gd name="T3" fmla="*/ 0 h 405"/>
                      <a:gd name="T4" fmla="*/ 298450 w 325"/>
                      <a:gd name="T5" fmla="*/ 7938 h 405"/>
                      <a:gd name="T6" fmla="*/ 333375 w 325"/>
                      <a:gd name="T7" fmla="*/ 38100 h 405"/>
                      <a:gd name="T8" fmla="*/ 377825 w 325"/>
                      <a:gd name="T9" fmla="*/ 82550 h 405"/>
                      <a:gd name="T10" fmla="*/ 400050 w 325"/>
                      <a:gd name="T11" fmla="*/ 111125 h 405"/>
                      <a:gd name="T12" fmla="*/ 425450 w 325"/>
                      <a:gd name="T13" fmla="*/ 142875 h 405"/>
                      <a:gd name="T14" fmla="*/ 449263 w 325"/>
                      <a:gd name="T15" fmla="*/ 174625 h 405"/>
                      <a:gd name="T16" fmla="*/ 469900 w 325"/>
                      <a:gd name="T17" fmla="*/ 212725 h 405"/>
                      <a:gd name="T18" fmla="*/ 488950 w 325"/>
                      <a:gd name="T19" fmla="*/ 249238 h 405"/>
                      <a:gd name="T20" fmla="*/ 503238 w 325"/>
                      <a:gd name="T21" fmla="*/ 290513 h 405"/>
                      <a:gd name="T22" fmla="*/ 509588 w 325"/>
                      <a:gd name="T23" fmla="*/ 309563 h 405"/>
                      <a:gd name="T24" fmla="*/ 514350 w 325"/>
                      <a:gd name="T25" fmla="*/ 330200 h 405"/>
                      <a:gd name="T26" fmla="*/ 515938 w 325"/>
                      <a:gd name="T27" fmla="*/ 350838 h 405"/>
                      <a:gd name="T28" fmla="*/ 515938 w 325"/>
                      <a:gd name="T29" fmla="*/ 371475 h 405"/>
                      <a:gd name="T30" fmla="*/ 515938 w 325"/>
                      <a:gd name="T31" fmla="*/ 395288 h 405"/>
                      <a:gd name="T32" fmla="*/ 514350 w 325"/>
                      <a:gd name="T33" fmla="*/ 415925 h 405"/>
                      <a:gd name="T34" fmla="*/ 509588 w 325"/>
                      <a:gd name="T35" fmla="*/ 436563 h 405"/>
                      <a:gd name="T36" fmla="*/ 503238 w 325"/>
                      <a:gd name="T37" fmla="*/ 460375 h 405"/>
                      <a:gd name="T38" fmla="*/ 141288 w 325"/>
                      <a:gd name="T39" fmla="*/ 642938 h 405"/>
                      <a:gd name="T40" fmla="*/ 141288 w 325"/>
                      <a:gd name="T41" fmla="*/ 642938 h 405"/>
                      <a:gd name="T42" fmla="*/ 134938 w 325"/>
                      <a:gd name="T43" fmla="*/ 571500 h 405"/>
                      <a:gd name="T44" fmla="*/ 123825 w 325"/>
                      <a:gd name="T45" fmla="*/ 496888 h 405"/>
                      <a:gd name="T46" fmla="*/ 109538 w 325"/>
                      <a:gd name="T47" fmla="*/ 409575 h 405"/>
                      <a:gd name="T48" fmla="*/ 90488 w 325"/>
                      <a:gd name="T49" fmla="*/ 315913 h 405"/>
                      <a:gd name="T50" fmla="*/ 79375 w 325"/>
                      <a:gd name="T51" fmla="*/ 269875 h 405"/>
                      <a:gd name="T52" fmla="*/ 65088 w 325"/>
                      <a:gd name="T53" fmla="*/ 225425 h 405"/>
                      <a:gd name="T54" fmla="*/ 50800 w 325"/>
                      <a:gd name="T55" fmla="*/ 187325 h 405"/>
                      <a:gd name="T56" fmla="*/ 34925 w 325"/>
                      <a:gd name="T57" fmla="*/ 152400 h 405"/>
                      <a:gd name="T58" fmla="*/ 19050 w 325"/>
                      <a:gd name="T59" fmla="*/ 122238 h 405"/>
                      <a:gd name="T60" fmla="*/ 9525 w 325"/>
                      <a:gd name="T61" fmla="*/ 107950 h 405"/>
                      <a:gd name="T62" fmla="*/ 0 w 325"/>
                      <a:gd name="T63" fmla="*/ 98425 h 405"/>
                      <a:gd name="T64" fmla="*/ 287338 w 325"/>
                      <a:gd name="T65" fmla="*/ 0 h 405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325"/>
                      <a:gd name="T100" fmla="*/ 0 h 405"/>
                      <a:gd name="T101" fmla="*/ 325 w 325"/>
                      <a:gd name="T102" fmla="*/ 405 h 405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325" h="405">
                        <a:moveTo>
                          <a:pt x="181" y="0"/>
                        </a:moveTo>
                        <a:lnTo>
                          <a:pt x="181" y="0"/>
                        </a:lnTo>
                        <a:lnTo>
                          <a:pt x="188" y="5"/>
                        </a:lnTo>
                        <a:lnTo>
                          <a:pt x="210" y="24"/>
                        </a:lnTo>
                        <a:lnTo>
                          <a:pt x="238" y="52"/>
                        </a:lnTo>
                        <a:lnTo>
                          <a:pt x="252" y="70"/>
                        </a:lnTo>
                        <a:lnTo>
                          <a:pt x="268" y="90"/>
                        </a:lnTo>
                        <a:lnTo>
                          <a:pt x="283" y="110"/>
                        </a:lnTo>
                        <a:lnTo>
                          <a:pt x="296" y="134"/>
                        </a:lnTo>
                        <a:lnTo>
                          <a:pt x="308" y="157"/>
                        </a:lnTo>
                        <a:lnTo>
                          <a:pt x="317" y="183"/>
                        </a:lnTo>
                        <a:lnTo>
                          <a:pt x="321" y="195"/>
                        </a:lnTo>
                        <a:lnTo>
                          <a:pt x="324" y="208"/>
                        </a:lnTo>
                        <a:lnTo>
                          <a:pt x="325" y="221"/>
                        </a:lnTo>
                        <a:lnTo>
                          <a:pt x="325" y="234"/>
                        </a:lnTo>
                        <a:lnTo>
                          <a:pt x="325" y="249"/>
                        </a:lnTo>
                        <a:lnTo>
                          <a:pt x="324" y="262"/>
                        </a:lnTo>
                        <a:lnTo>
                          <a:pt x="321" y="275"/>
                        </a:lnTo>
                        <a:lnTo>
                          <a:pt x="317" y="290"/>
                        </a:lnTo>
                        <a:lnTo>
                          <a:pt x="89" y="405"/>
                        </a:lnTo>
                        <a:lnTo>
                          <a:pt x="85" y="360"/>
                        </a:lnTo>
                        <a:lnTo>
                          <a:pt x="78" y="313"/>
                        </a:lnTo>
                        <a:lnTo>
                          <a:pt x="69" y="258"/>
                        </a:lnTo>
                        <a:lnTo>
                          <a:pt x="57" y="199"/>
                        </a:lnTo>
                        <a:lnTo>
                          <a:pt x="50" y="170"/>
                        </a:lnTo>
                        <a:lnTo>
                          <a:pt x="41" y="142"/>
                        </a:lnTo>
                        <a:lnTo>
                          <a:pt x="32" y="118"/>
                        </a:lnTo>
                        <a:lnTo>
                          <a:pt x="22" y="96"/>
                        </a:lnTo>
                        <a:lnTo>
                          <a:pt x="12" y="77"/>
                        </a:lnTo>
                        <a:lnTo>
                          <a:pt x="6" y="68"/>
                        </a:lnTo>
                        <a:lnTo>
                          <a:pt x="0" y="62"/>
                        </a:lnTo>
                        <a:lnTo>
                          <a:pt x="181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34" name="Freeform 109"/>
                  <p:cNvSpPr>
                    <a:spLocks/>
                  </p:cNvSpPr>
                  <p:nvPr/>
                </p:nvSpPr>
                <p:spPr bwMode="auto">
                  <a:xfrm>
                    <a:off x="-298592" y="2076843"/>
                    <a:ext cx="1577710" cy="1858206"/>
                  </a:xfrm>
                  <a:custGeom>
                    <a:avLst/>
                    <a:gdLst>
                      <a:gd name="T0" fmla="*/ 911225 w 1001"/>
                      <a:gd name="T1" fmla="*/ 1806576 h 1173"/>
                      <a:gd name="T2" fmla="*/ 966788 w 1001"/>
                      <a:gd name="T3" fmla="*/ 1703388 h 1173"/>
                      <a:gd name="T4" fmla="*/ 987425 w 1001"/>
                      <a:gd name="T5" fmla="*/ 1684338 h 1173"/>
                      <a:gd name="T6" fmla="*/ 1139825 w 1001"/>
                      <a:gd name="T7" fmla="*/ 1724026 h 1173"/>
                      <a:gd name="T8" fmla="*/ 1295400 w 1001"/>
                      <a:gd name="T9" fmla="*/ 1755776 h 1173"/>
                      <a:gd name="T10" fmla="*/ 1325563 w 1001"/>
                      <a:gd name="T11" fmla="*/ 1755776 h 1173"/>
                      <a:gd name="T12" fmla="*/ 1355725 w 1001"/>
                      <a:gd name="T13" fmla="*/ 1744663 h 1173"/>
                      <a:gd name="T14" fmla="*/ 1392238 w 1001"/>
                      <a:gd name="T15" fmla="*/ 1695451 h 1173"/>
                      <a:gd name="T16" fmla="*/ 1411288 w 1001"/>
                      <a:gd name="T17" fmla="*/ 1631951 h 1173"/>
                      <a:gd name="T18" fmla="*/ 1408113 w 1001"/>
                      <a:gd name="T19" fmla="*/ 1603375 h 1173"/>
                      <a:gd name="T20" fmla="*/ 1417638 w 1001"/>
                      <a:gd name="T21" fmla="*/ 1573213 h 1173"/>
                      <a:gd name="T22" fmla="*/ 1431925 w 1001"/>
                      <a:gd name="T23" fmla="*/ 1552575 h 1173"/>
                      <a:gd name="T24" fmla="*/ 1487488 w 1001"/>
                      <a:gd name="T25" fmla="*/ 1471613 h 1173"/>
                      <a:gd name="T26" fmla="*/ 1484313 w 1001"/>
                      <a:gd name="T27" fmla="*/ 1457325 h 1173"/>
                      <a:gd name="T28" fmla="*/ 1436688 w 1001"/>
                      <a:gd name="T29" fmla="*/ 1406525 h 1173"/>
                      <a:gd name="T30" fmla="*/ 1487488 w 1001"/>
                      <a:gd name="T31" fmla="*/ 1374775 h 1173"/>
                      <a:gd name="T32" fmla="*/ 1514475 w 1001"/>
                      <a:gd name="T33" fmla="*/ 1344613 h 1173"/>
                      <a:gd name="T34" fmla="*/ 1519238 w 1001"/>
                      <a:gd name="T35" fmla="*/ 1319213 h 1173"/>
                      <a:gd name="T36" fmla="*/ 1477963 w 1001"/>
                      <a:gd name="T37" fmla="*/ 1212850 h 1173"/>
                      <a:gd name="T38" fmla="*/ 1579563 w 1001"/>
                      <a:gd name="T39" fmla="*/ 1177925 h 1173"/>
                      <a:gd name="T40" fmla="*/ 1589088 w 1001"/>
                      <a:gd name="T41" fmla="*/ 1147763 h 1173"/>
                      <a:gd name="T42" fmla="*/ 1573213 w 1001"/>
                      <a:gd name="T43" fmla="*/ 1085850 h 1173"/>
                      <a:gd name="T44" fmla="*/ 1555750 w 1001"/>
                      <a:gd name="T45" fmla="*/ 1057275 h 1173"/>
                      <a:gd name="T46" fmla="*/ 1438275 w 1001"/>
                      <a:gd name="T47" fmla="*/ 900113 h 1173"/>
                      <a:gd name="T48" fmla="*/ 1431925 w 1001"/>
                      <a:gd name="T49" fmla="*/ 882650 h 1173"/>
                      <a:gd name="T50" fmla="*/ 1466850 w 1001"/>
                      <a:gd name="T51" fmla="*/ 788988 h 1173"/>
                      <a:gd name="T52" fmla="*/ 1482725 w 1001"/>
                      <a:gd name="T53" fmla="*/ 715963 h 1173"/>
                      <a:gd name="T54" fmla="*/ 1474788 w 1001"/>
                      <a:gd name="T55" fmla="*/ 604838 h 1173"/>
                      <a:gd name="T56" fmla="*/ 1449388 w 1001"/>
                      <a:gd name="T57" fmla="*/ 498475 h 1173"/>
                      <a:gd name="T58" fmla="*/ 1385888 w 1001"/>
                      <a:gd name="T59" fmla="*/ 331788 h 1173"/>
                      <a:gd name="T60" fmla="*/ 1366838 w 1001"/>
                      <a:gd name="T61" fmla="*/ 282575 h 1173"/>
                      <a:gd name="T62" fmla="*/ 1292225 w 1001"/>
                      <a:gd name="T63" fmla="*/ 206375 h 1173"/>
                      <a:gd name="T64" fmla="*/ 1150938 w 1001"/>
                      <a:gd name="T65" fmla="*/ 114300 h 1173"/>
                      <a:gd name="T66" fmla="*/ 1017588 w 1001"/>
                      <a:gd name="T67" fmla="*/ 55563 h 1173"/>
                      <a:gd name="T68" fmla="*/ 901700 w 1001"/>
                      <a:gd name="T69" fmla="*/ 23813 h 1173"/>
                      <a:gd name="T70" fmla="*/ 769938 w 1001"/>
                      <a:gd name="T71" fmla="*/ 4763 h 1173"/>
                      <a:gd name="T72" fmla="*/ 622300 w 1001"/>
                      <a:gd name="T73" fmla="*/ 3175 h 1173"/>
                      <a:gd name="T74" fmla="*/ 461963 w 1001"/>
                      <a:gd name="T75" fmla="*/ 22225 h 1173"/>
                      <a:gd name="T76" fmla="*/ 349250 w 1001"/>
                      <a:gd name="T77" fmla="*/ 49213 h 1173"/>
                      <a:gd name="T78" fmla="*/ 268288 w 1001"/>
                      <a:gd name="T79" fmla="*/ 77788 h 1173"/>
                      <a:gd name="T80" fmla="*/ 198438 w 1001"/>
                      <a:gd name="T81" fmla="*/ 119063 h 1173"/>
                      <a:gd name="T82" fmla="*/ 142875 w 1001"/>
                      <a:gd name="T83" fmla="*/ 166688 h 1173"/>
                      <a:gd name="T84" fmla="*/ 96838 w 1001"/>
                      <a:gd name="T85" fmla="*/ 222250 h 1173"/>
                      <a:gd name="T86" fmla="*/ 34925 w 1001"/>
                      <a:gd name="T87" fmla="*/ 357188 h 1173"/>
                      <a:gd name="T88" fmla="*/ 4763 w 1001"/>
                      <a:gd name="T89" fmla="*/ 504825 h 1173"/>
                      <a:gd name="T90" fmla="*/ 0 w 1001"/>
                      <a:gd name="T91" fmla="*/ 665163 h 1173"/>
                      <a:gd name="T92" fmla="*/ 14288 w 1001"/>
                      <a:gd name="T93" fmla="*/ 819150 h 1173"/>
                      <a:gd name="T94" fmla="*/ 71438 w 1001"/>
                      <a:gd name="T95" fmla="*/ 1090613 h 1173"/>
                      <a:gd name="T96" fmla="*/ 125413 w 1001"/>
                      <a:gd name="T97" fmla="*/ 1257300 h 1173"/>
                      <a:gd name="T98" fmla="*/ 57150 w 1001"/>
                      <a:gd name="T99" fmla="*/ 1406525 h 1173"/>
                      <a:gd name="T100" fmla="*/ 30163 w 1001"/>
                      <a:gd name="T101" fmla="*/ 1452563 h 1173"/>
                      <a:gd name="T102" fmla="*/ 827088 w 1001"/>
                      <a:gd name="T103" fmla="*/ 1835151 h 1173"/>
                      <a:gd name="T104" fmla="*/ 892175 w 1001"/>
                      <a:gd name="T105" fmla="*/ 1851026 h 1173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1001"/>
                      <a:gd name="T160" fmla="*/ 0 h 1173"/>
                      <a:gd name="T161" fmla="*/ 1001 w 1001"/>
                      <a:gd name="T162" fmla="*/ 1173 h 1173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1001" h="1173">
                        <a:moveTo>
                          <a:pt x="562" y="1166"/>
                        </a:moveTo>
                        <a:lnTo>
                          <a:pt x="562" y="1166"/>
                        </a:lnTo>
                        <a:lnTo>
                          <a:pt x="574" y="1138"/>
                        </a:lnTo>
                        <a:lnTo>
                          <a:pt x="591" y="1102"/>
                        </a:lnTo>
                        <a:lnTo>
                          <a:pt x="600" y="1086"/>
                        </a:lnTo>
                        <a:lnTo>
                          <a:pt x="609" y="1073"/>
                        </a:lnTo>
                        <a:lnTo>
                          <a:pt x="616" y="1064"/>
                        </a:lnTo>
                        <a:lnTo>
                          <a:pt x="619" y="1061"/>
                        </a:lnTo>
                        <a:lnTo>
                          <a:pt x="622" y="1061"/>
                        </a:lnTo>
                        <a:lnTo>
                          <a:pt x="654" y="1070"/>
                        </a:lnTo>
                        <a:lnTo>
                          <a:pt x="718" y="1086"/>
                        </a:lnTo>
                        <a:lnTo>
                          <a:pt x="755" y="1095"/>
                        </a:lnTo>
                        <a:lnTo>
                          <a:pt x="788" y="1102"/>
                        </a:lnTo>
                        <a:lnTo>
                          <a:pt x="816" y="1106"/>
                        </a:lnTo>
                        <a:lnTo>
                          <a:pt x="827" y="1106"/>
                        </a:lnTo>
                        <a:lnTo>
                          <a:pt x="835" y="1106"/>
                        </a:lnTo>
                        <a:lnTo>
                          <a:pt x="842" y="1106"/>
                        </a:lnTo>
                        <a:lnTo>
                          <a:pt x="848" y="1103"/>
                        </a:lnTo>
                        <a:lnTo>
                          <a:pt x="854" y="1099"/>
                        </a:lnTo>
                        <a:lnTo>
                          <a:pt x="859" y="1095"/>
                        </a:lnTo>
                        <a:lnTo>
                          <a:pt x="868" y="1083"/>
                        </a:lnTo>
                        <a:lnTo>
                          <a:pt x="877" y="1068"/>
                        </a:lnTo>
                        <a:lnTo>
                          <a:pt x="883" y="1054"/>
                        </a:lnTo>
                        <a:lnTo>
                          <a:pt x="886" y="1039"/>
                        </a:lnTo>
                        <a:lnTo>
                          <a:pt x="889" y="1028"/>
                        </a:lnTo>
                        <a:lnTo>
                          <a:pt x="889" y="1017"/>
                        </a:lnTo>
                        <a:lnTo>
                          <a:pt x="887" y="1010"/>
                        </a:lnTo>
                        <a:lnTo>
                          <a:pt x="889" y="1003"/>
                        </a:lnTo>
                        <a:lnTo>
                          <a:pt x="890" y="997"/>
                        </a:lnTo>
                        <a:lnTo>
                          <a:pt x="893" y="991"/>
                        </a:lnTo>
                        <a:lnTo>
                          <a:pt x="899" y="982"/>
                        </a:lnTo>
                        <a:lnTo>
                          <a:pt x="902" y="978"/>
                        </a:lnTo>
                        <a:lnTo>
                          <a:pt x="921" y="955"/>
                        </a:lnTo>
                        <a:lnTo>
                          <a:pt x="934" y="936"/>
                        </a:lnTo>
                        <a:lnTo>
                          <a:pt x="937" y="927"/>
                        </a:lnTo>
                        <a:lnTo>
                          <a:pt x="937" y="923"/>
                        </a:lnTo>
                        <a:lnTo>
                          <a:pt x="935" y="918"/>
                        </a:lnTo>
                        <a:lnTo>
                          <a:pt x="931" y="913"/>
                        </a:lnTo>
                        <a:lnTo>
                          <a:pt x="919" y="901"/>
                        </a:lnTo>
                        <a:lnTo>
                          <a:pt x="905" y="886"/>
                        </a:lnTo>
                        <a:lnTo>
                          <a:pt x="915" y="870"/>
                        </a:lnTo>
                        <a:lnTo>
                          <a:pt x="937" y="866"/>
                        </a:lnTo>
                        <a:lnTo>
                          <a:pt x="941" y="863"/>
                        </a:lnTo>
                        <a:lnTo>
                          <a:pt x="950" y="853"/>
                        </a:lnTo>
                        <a:lnTo>
                          <a:pt x="954" y="847"/>
                        </a:lnTo>
                        <a:lnTo>
                          <a:pt x="957" y="841"/>
                        </a:lnTo>
                        <a:lnTo>
                          <a:pt x="959" y="835"/>
                        </a:lnTo>
                        <a:lnTo>
                          <a:pt x="957" y="831"/>
                        </a:lnTo>
                        <a:lnTo>
                          <a:pt x="941" y="793"/>
                        </a:lnTo>
                        <a:lnTo>
                          <a:pt x="931" y="764"/>
                        </a:lnTo>
                        <a:lnTo>
                          <a:pt x="991" y="748"/>
                        </a:lnTo>
                        <a:lnTo>
                          <a:pt x="995" y="742"/>
                        </a:lnTo>
                        <a:lnTo>
                          <a:pt x="998" y="736"/>
                        </a:lnTo>
                        <a:lnTo>
                          <a:pt x="1001" y="729"/>
                        </a:lnTo>
                        <a:lnTo>
                          <a:pt x="1001" y="723"/>
                        </a:lnTo>
                        <a:lnTo>
                          <a:pt x="999" y="709"/>
                        </a:lnTo>
                        <a:lnTo>
                          <a:pt x="996" y="695"/>
                        </a:lnTo>
                        <a:lnTo>
                          <a:pt x="991" y="684"/>
                        </a:lnTo>
                        <a:lnTo>
                          <a:pt x="986" y="675"/>
                        </a:lnTo>
                        <a:lnTo>
                          <a:pt x="980" y="666"/>
                        </a:lnTo>
                        <a:lnTo>
                          <a:pt x="943" y="617"/>
                        </a:lnTo>
                        <a:lnTo>
                          <a:pt x="915" y="580"/>
                        </a:lnTo>
                        <a:lnTo>
                          <a:pt x="906" y="567"/>
                        </a:lnTo>
                        <a:lnTo>
                          <a:pt x="902" y="560"/>
                        </a:lnTo>
                        <a:lnTo>
                          <a:pt x="902" y="556"/>
                        </a:lnTo>
                        <a:lnTo>
                          <a:pt x="903" y="547"/>
                        </a:lnTo>
                        <a:lnTo>
                          <a:pt x="912" y="525"/>
                        </a:lnTo>
                        <a:lnTo>
                          <a:pt x="924" y="497"/>
                        </a:lnTo>
                        <a:lnTo>
                          <a:pt x="931" y="475"/>
                        </a:lnTo>
                        <a:lnTo>
                          <a:pt x="934" y="451"/>
                        </a:lnTo>
                        <a:lnTo>
                          <a:pt x="934" y="427"/>
                        </a:lnTo>
                        <a:lnTo>
                          <a:pt x="932" y="404"/>
                        </a:lnTo>
                        <a:lnTo>
                          <a:pt x="929" y="381"/>
                        </a:lnTo>
                        <a:lnTo>
                          <a:pt x="925" y="357"/>
                        </a:lnTo>
                        <a:lnTo>
                          <a:pt x="919" y="336"/>
                        </a:lnTo>
                        <a:lnTo>
                          <a:pt x="913" y="314"/>
                        </a:lnTo>
                        <a:lnTo>
                          <a:pt x="899" y="273"/>
                        </a:lnTo>
                        <a:lnTo>
                          <a:pt x="884" y="238"/>
                        </a:lnTo>
                        <a:lnTo>
                          <a:pt x="873" y="209"/>
                        </a:lnTo>
                        <a:lnTo>
                          <a:pt x="865" y="188"/>
                        </a:lnTo>
                        <a:lnTo>
                          <a:pt x="861" y="178"/>
                        </a:lnTo>
                        <a:lnTo>
                          <a:pt x="851" y="165"/>
                        </a:lnTo>
                        <a:lnTo>
                          <a:pt x="835" y="149"/>
                        </a:lnTo>
                        <a:lnTo>
                          <a:pt x="814" y="130"/>
                        </a:lnTo>
                        <a:lnTo>
                          <a:pt x="790" y="111"/>
                        </a:lnTo>
                        <a:lnTo>
                          <a:pt x="760" y="91"/>
                        </a:lnTo>
                        <a:lnTo>
                          <a:pt x="725" y="72"/>
                        </a:lnTo>
                        <a:lnTo>
                          <a:pt x="686" y="53"/>
                        </a:lnTo>
                        <a:lnTo>
                          <a:pt x="664" y="44"/>
                        </a:lnTo>
                        <a:lnTo>
                          <a:pt x="641" y="35"/>
                        </a:lnTo>
                        <a:lnTo>
                          <a:pt x="618" y="28"/>
                        </a:lnTo>
                        <a:lnTo>
                          <a:pt x="593" y="21"/>
                        </a:lnTo>
                        <a:lnTo>
                          <a:pt x="568" y="15"/>
                        </a:lnTo>
                        <a:lnTo>
                          <a:pt x="540" y="11"/>
                        </a:lnTo>
                        <a:lnTo>
                          <a:pt x="513" y="6"/>
                        </a:lnTo>
                        <a:lnTo>
                          <a:pt x="485" y="3"/>
                        </a:lnTo>
                        <a:lnTo>
                          <a:pt x="454" y="2"/>
                        </a:lnTo>
                        <a:lnTo>
                          <a:pt x="424" y="0"/>
                        </a:lnTo>
                        <a:lnTo>
                          <a:pt x="392" y="2"/>
                        </a:lnTo>
                        <a:lnTo>
                          <a:pt x="360" y="5"/>
                        </a:lnTo>
                        <a:lnTo>
                          <a:pt x="326" y="8"/>
                        </a:lnTo>
                        <a:lnTo>
                          <a:pt x="291" y="14"/>
                        </a:lnTo>
                        <a:lnTo>
                          <a:pt x="256" y="21"/>
                        </a:lnTo>
                        <a:lnTo>
                          <a:pt x="220" y="31"/>
                        </a:lnTo>
                        <a:lnTo>
                          <a:pt x="202" y="35"/>
                        </a:lnTo>
                        <a:lnTo>
                          <a:pt x="185" y="43"/>
                        </a:lnTo>
                        <a:lnTo>
                          <a:pt x="169" y="49"/>
                        </a:lnTo>
                        <a:lnTo>
                          <a:pt x="153" y="57"/>
                        </a:lnTo>
                        <a:lnTo>
                          <a:pt x="140" y="65"/>
                        </a:lnTo>
                        <a:lnTo>
                          <a:pt x="125" y="75"/>
                        </a:lnTo>
                        <a:lnTo>
                          <a:pt x="114" y="84"/>
                        </a:lnTo>
                        <a:lnTo>
                          <a:pt x="100" y="94"/>
                        </a:lnTo>
                        <a:lnTo>
                          <a:pt x="90" y="105"/>
                        </a:lnTo>
                        <a:lnTo>
                          <a:pt x="80" y="117"/>
                        </a:lnTo>
                        <a:lnTo>
                          <a:pt x="70" y="129"/>
                        </a:lnTo>
                        <a:lnTo>
                          <a:pt x="61" y="140"/>
                        </a:lnTo>
                        <a:lnTo>
                          <a:pt x="45" y="167"/>
                        </a:lnTo>
                        <a:lnTo>
                          <a:pt x="32" y="196"/>
                        </a:lnTo>
                        <a:lnTo>
                          <a:pt x="22" y="225"/>
                        </a:lnTo>
                        <a:lnTo>
                          <a:pt x="13" y="255"/>
                        </a:lnTo>
                        <a:lnTo>
                          <a:pt x="7" y="286"/>
                        </a:lnTo>
                        <a:lnTo>
                          <a:pt x="3" y="318"/>
                        </a:lnTo>
                        <a:lnTo>
                          <a:pt x="0" y="352"/>
                        </a:lnTo>
                        <a:lnTo>
                          <a:pt x="0" y="385"/>
                        </a:lnTo>
                        <a:lnTo>
                          <a:pt x="0" y="419"/>
                        </a:lnTo>
                        <a:lnTo>
                          <a:pt x="1" y="451"/>
                        </a:lnTo>
                        <a:lnTo>
                          <a:pt x="6" y="484"/>
                        </a:lnTo>
                        <a:lnTo>
                          <a:pt x="9" y="516"/>
                        </a:lnTo>
                        <a:lnTo>
                          <a:pt x="19" y="579"/>
                        </a:lnTo>
                        <a:lnTo>
                          <a:pt x="32" y="636"/>
                        </a:lnTo>
                        <a:lnTo>
                          <a:pt x="45" y="687"/>
                        </a:lnTo>
                        <a:lnTo>
                          <a:pt x="58" y="730"/>
                        </a:lnTo>
                        <a:lnTo>
                          <a:pt x="68" y="762"/>
                        </a:lnTo>
                        <a:lnTo>
                          <a:pt x="79" y="792"/>
                        </a:lnTo>
                        <a:lnTo>
                          <a:pt x="55" y="844"/>
                        </a:lnTo>
                        <a:lnTo>
                          <a:pt x="36" y="886"/>
                        </a:lnTo>
                        <a:lnTo>
                          <a:pt x="26" y="902"/>
                        </a:lnTo>
                        <a:lnTo>
                          <a:pt x="19" y="915"/>
                        </a:lnTo>
                        <a:lnTo>
                          <a:pt x="299" y="1051"/>
                        </a:lnTo>
                        <a:lnTo>
                          <a:pt x="459" y="1127"/>
                        </a:lnTo>
                        <a:lnTo>
                          <a:pt x="521" y="1156"/>
                        </a:lnTo>
                        <a:lnTo>
                          <a:pt x="562" y="1173"/>
                        </a:lnTo>
                        <a:lnTo>
                          <a:pt x="562" y="1166"/>
                        </a:lnTo>
                        <a:close/>
                      </a:path>
                    </a:pathLst>
                  </a:custGeom>
                  <a:solidFill>
                    <a:srgbClr val="2E2E2E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+mn-ea"/>
                    </a:endParaRPr>
                  </a:p>
                </p:txBody>
              </p:sp>
              <p:sp>
                <p:nvSpPr>
                  <p:cNvPr id="135" name="Freeform 110"/>
                  <p:cNvSpPr>
                    <a:spLocks/>
                  </p:cNvSpPr>
                  <p:nvPr/>
                </p:nvSpPr>
                <p:spPr bwMode="auto">
                  <a:xfrm>
                    <a:off x="-407933" y="3513436"/>
                    <a:ext cx="124967" cy="109311"/>
                  </a:xfrm>
                  <a:custGeom>
                    <a:avLst/>
                    <a:gdLst>
                      <a:gd name="T0" fmla="*/ 34925 w 82"/>
                      <a:gd name="T1" fmla="*/ 103188 h 70"/>
                      <a:gd name="T2" fmla="*/ 34925 w 82"/>
                      <a:gd name="T3" fmla="*/ 103188 h 70"/>
                      <a:gd name="T4" fmla="*/ 38100 w 82"/>
                      <a:gd name="T5" fmla="*/ 92075 h 70"/>
                      <a:gd name="T6" fmla="*/ 46037 w 82"/>
                      <a:gd name="T7" fmla="*/ 77787 h 70"/>
                      <a:gd name="T8" fmla="*/ 55563 w 82"/>
                      <a:gd name="T9" fmla="*/ 65087 h 70"/>
                      <a:gd name="T10" fmla="*/ 69850 w 82"/>
                      <a:gd name="T11" fmla="*/ 52388 h 70"/>
                      <a:gd name="T12" fmla="*/ 84137 w 82"/>
                      <a:gd name="T13" fmla="*/ 39687 h 70"/>
                      <a:gd name="T14" fmla="*/ 96837 w 82"/>
                      <a:gd name="T15" fmla="*/ 30162 h 70"/>
                      <a:gd name="T16" fmla="*/ 109538 w 82"/>
                      <a:gd name="T17" fmla="*/ 25400 h 70"/>
                      <a:gd name="T18" fmla="*/ 119063 w 82"/>
                      <a:gd name="T19" fmla="*/ 25400 h 70"/>
                      <a:gd name="T20" fmla="*/ 119063 w 82"/>
                      <a:gd name="T21" fmla="*/ 25400 h 70"/>
                      <a:gd name="T22" fmla="*/ 122238 w 82"/>
                      <a:gd name="T23" fmla="*/ 22225 h 70"/>
                      <a:gd name="T24" fmla="*/ 130175 w 82"/>
                      <a:gd name="T25" fmla="*/ 17462 h 70"/>
                      <a:gd name="T26" fmla="*/ 130175 w 82"/>
                      <a:gd name="T27" fmla="*/ 17462 h 70"/>
                      <a:gd name="T28" fmla="*/ 92075 w 82"/>
                      <a:gd name="T29" fmla="*/ 0 h 70"/>
                      <a:gd name="T30" fmla="*/ 0 w 82"/>
                      <a:gd name="T31" fmla="*/ 76200 h 70"/>
                      <a:gd name="T32" fmla="*/ 0 w 82"/>
                      <a:gd name="T33" fmla="*/ 76200 h 70"/>
                      <a:gd name="T34" fmla="*/ 4762 w 82"/>
                      <a:gd name="T35" fmla="*/ 85725 h 70"/>
                      <a:gd name="T36" fmla="*/ 25400 w 82"/>
                      <a:gd name="T37" fmla="*/ 111125 h 70"/>
                      <a:gd name="T38" fmla="*/ 25400 w 82"/>
                      <a:gd name="T39" fmla="*/ 111125 h 70"/>
                      <a:gd name="T40" fmla="*/ 33337 w 82"/>
                      <a:gd name="T41" fmla="*/ 106363 h 70"/>
                      <a:gd name="T42" fmla="*/ 34925 w 82"/>
                      <a:gd name="T43" fmla="*/ 103188 h 70"/>
                      <a:gd name="T44" fmla="*/ 34925 w 82"/>
                      <a:gd name="T45" fmla="*/ 103188 h 70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82"/>
                      <a:gd name="T70" fmla="*/ 0 h 70"/>
                      <a:gd name="T71" fmla="*/ 82 w 82"/>
                      <a:gd name="T72" fmla="*/ 70 h 70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82" h="70">
                        <a:moveTo>
                          <a:pt x="22" y="65"/>
                        </a:moveTo>
                        <a:lnTo>
                          <a:pt x="22" y="65"/>
                        </a:lnTo>
                        <a:lnTo>
                          <a:pt x="24" y="58"/>
                        </a:lnTo>
                        <a:lnTo>
                          <a:pt x="29" y="49"/>
                        </a:lnTo>
                        <a:lnTo>
                          <a:pt x="35" y="41"/>
                        </a:lnTo>
                        <a:lnTo>
                          <a:pt x="44" y="33"/>
                        </a:lnTo>
                        <a:lnTo>
                          <a:pt x="53" y="25"/>
                        </a:lnTo>
                        <a:lnTo>
                          <a:pt x="61" y="19"/>
                        </a:lnTo>
                        <a:lnTo>
                          <a:pt x="69" y="16"/>
                        </a:lnTo>
                        <a:lnTo>
                          <a:pt x="75" y="16"/>
                        </a:lnTo>
                        <a:lnTo>
                          <a:pt x="77" y="14"/>
                        </a:lnTo>
                        <a:lnTo>
                          <a:pt x="82" y="11"/>
                        </a:lnTo>
                        <a:lnTo>
                          <a:pt x="58" y="0"/>
                        </a:lnTo>
                        <a:lnTo>
                          <a:pt x="0" y="48"/>
                        </a:lnTo>
                        <a:lnTo>
                          <a:pt x="3" y="54"/>
                        </a:lnTo>
                        <a:lnTo>
                          <a:pt x="16" y="70"/>
                        </a:lnTo>
                        <a:lnTo>
                          <a:pt x="21" y="67"/>
                        </a:lnTo>
                        <a:lnTo>
                          <a:pt x="22" y="6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kern="0">
                      <a:solidFill>
                        <a:sysClr val="windowText" lastClr="000000"/>
                      </a:solidFill>
                      <a:latin typeface="+mn-lt"/>
                      <a:ea typeface="+mn-ea"/>
                    </a:endParaRPr>
                  </a:p>
                </p:txBody>
              </p:sp>
            </p:grpSp>
            <p:sp>
              <p:nvSpPr>
                <p:cNvPr id="128" name="Freeform 72"/>
                <p:cNvSpPr>
                  <a:spLocks/>
                </p:cNvSpPr>
                <p:nvPr/>
              </p:nvSpPr>
              <p:spPr bwMode="auto">
                <a:xfrm>
                  <a:off x="513692" y="4169272"/>
                  <a:ext cx="562350" cy="1686435"/>
                </a:xfrm>
                <a:custGeom>
                  <a:avLst/>
                  <a:gdLst/>
                  <a:ahLst/>
                  <a:cxnLst>
                    <a:cxn ang="0">
                      <a:pos x="57" y="0"/>
                    </a:cxn>
                    <a:cxn ang="0">
                      <a:pos x="57" y="0"/>
                    </a:cxn>
                    <a:cxn ang="0">
                      <a:pos x="123" y="476"/>
                    </a:cxn>
                    <a:cxn ang="0">
                      <a:pos x="168" y="807"/>
                    </a:cxn>
                    <a:cxn ang="0">
                      <a:pos x="188" y="966"/>
                    </a:cxn>
                    <a:cxn ang="0">
                      <a:pos x="188" y="966"/>
                    </a:cxn>
                    <a:cxn ang="0">
                      <a:pos x="187" y="970"/>
                    </a:cxn>
                    <a:cxn ang="0">
                      <a:pos x="183" y="975"/>
                    </a:cxn>
                    <a:cxn ang="0">
                      <a:pos x="177" y="979"/>
                    </a:cxn>
                    <a:cxn ang="0">
                      <a:pos x="171" y="982"/>
                    </a:cxn>
                    <a:cxn ang="0">
                      <a:pos x="158" y="985"/>
                    </a:cxn>
                    <a:cxn ang="0">
                      <a:pos x="152" y="985"/>
                    </a:cxn>
                    <a:cxn ang="0">
                      <a:pos x="110" y="988"/>
                    </a:cxn>
                    <a:cxn ang="0">
                      <a:pos x="83" y="966"/>
                    </a:cxn>
                    <a:cxn ang="0">
                      <a:pos x="83" y="966"/>
                    </a:cxn>
                    <a:cxn ang="0">
                      <a:pos x="81" y="839"/>
                    </a:cxn>
                    <a:cxn ang="0">
                      <a:pos x="75" y="705"/>
                    </a:cxn>
                    <a:cxn ang="0">
                      <a:pos x="67" y="548"/>
                    </a:cxn>
                    <a:cxn ang="0">
                      <a:pos x="62" y="465"/>
                    </a:cxn>
                    <a:cxn ang="0">
                      <a:pos x="56" y="383"/>
                    </a:cxn>
                    <a:cxn ang="0">
                      <a:pos x="50" y="303"/>
                    </a:cxn>
                    <a:cxn ang="0">
                      <a:pos x="41" y="226"/>
                    </a:cxn>
                    <a:cxn ang="0">
                      <a:pos x="32" y="157"/>
                    </a:cxn>
                    <a:cxn ang="0">
                      <a:pos x="24" y="96"/>
                    </a:cxn>
                    <a:cxn ang="0">
                      <a:pos x="18" y="68"/>
                    </a:cxn>
                    <a:cxn ang="0">
                      <a:pos x="14" y="45"/>
                    </a:cxn>
                    <a:cxn ang="0">
                      <a:pos x="8" y="25"/>
                    </a:cxn>
                    <a:cxn ang="0">
                      <a:pos x="0" y="7"/>
                    </a:cxn>
                  </a:cxnLst>
                  <a:rect l="0" t="0" r="r" b="b"/>
                  <a:pathLst>
                    <a:path w="188" h="988">
                      <a:moveTo>
                        <a:pt x="57" y="0"/>
                      </a:moveTo>
                      <a:lnTo>
                        <a:pt x="57" y="0"/>
                      </a:lnTo>
                      <a:lnTo>
                        <a:pt x="123" y="476"/>
                      </a:lnTo>
                      <a:lnTo>
                        <a:pt x="168" y="807"/>
                      </a:lnTo>
                      <a:lnTo>
                        <a:pt x="188" y="966"/>
                      </a:lnTo>
                      <a:lnTo>
                        <a:pt x="188" y="966"/>
                      </a:lnTo>
                      <a:lnTo>
                        <a:pt x="187" y="970"/>
                      </a:lnTo>
                      <a:lnTo>
                        <a:pt x="183" y="975"/>
                      </a:lnTo>
                      <a:lnTo>
                        <a:pt x="177" y="979"/>
                      </a:lnTo>
                      <a:lnTo>
                        <a:pt x="171" y="982"/>
                      </a:lnTo>
                      <a:lnTo>
                        <a:pt x="158" y="985"/>
                      </a:lnTo>
                      <a:lnTo>
                        <a:pt x="152" y="985"/>
                      </a:lnTo>
                      <a:lnTo>
                        <a:pt x="110" y="988"/>
                      </a:lnTo>
                      <a:lnTo>
                        <a:pt x="83" y="966"/>
                      </a:lnTo>
                      <a:lnTo>
                        <a:pt x="83" y="966"/>
                      </a:lnTo>
                      <a:lnTo>
                        <a:pt x="81" y="839"/>
                      </a:lnTo>
                      <a:lnTo>
                        <a:pt x="75" y="705"/>
                      </a:lnTo>
                      <a:lnTo>
                        <a:pt x="67" y="548"/>
                      </a:lnTo>
                      <a:lnTo>
                        <a:pt x="62" y="465"/>
                      </a:lnTo>
                      <a:lnTo>
                        <a:pt x="56" y="383"/>
                      </a:lnTo>
                      <a:lnTo>
                        <a:pt x="50" y="303"/>
                      </a:lnTo>
                      <a:lnTo>
                        <a:pt x="41" y="226"/>
                      </a:lnTo>
                      <a:lnTo>
                        <a:pt x="32" y="157"/>
                      </a:lnTo>
                      <a:lnTo>
                        <a:pt x="24" y="96"/>
                      </a:lnTo>
                      <a:lnTo>
                        <a:pt x="18" y="68"/>
                      </a:lnTo>
                      <a:lnTo>
                        <a:pt x="14" y="45"/>
                      </a:lnTo>
                      <a:lnTo>
                        <a:pt x="8" y="25"/>
                      </a:lnTo>
                      <a:lnTo>
                        <a:pt x="0" y="7"/>
                      </a:lnTo>
                    </a:path>
                  </a:pathLst>
                </a:custGeom>
                <a:gradFill rotWithShape="1">
                  <a:gsLst>
                    <a:gs pos="0">
                      <a:srgbClr val="78F8FF"/>
                    </a:gs>
                    <a:gs pos="100000">
                      <a:srgbClr val="1F88C8"/>
                    </a:gs>
                  </a:gsLst>
                  <a:lin ang="16200000"/>
                </a:gradFill>
                <a:ln w="9525">
                  <a:solidFill>
                    <a:srgbClr val="1F88C8"/>
                  </a:solidFill>
                  <a:miter lim="800000"/>
                  <a:headEnd/>
                  <a:tailEnd/>
                </a:ln>
                <a:effectLst/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 noProof="1">
                    <a:solidFill>
                      <a:srgbClr val="FFFFFF"/>
                    </a:solidFill>
                    <a:latin typeface="Arial Narrow" pitchFamily="-97" charset="0"/>
                    <a:ea typeface="+mn-ea"/>
                  </a:endParaRPr>
                </a:p>
              </p:txBody>
            </p:sp>
            <p:sp>
              <p:nvSpPr>
                <p:cNvPr id="129" name="Freeform 112"/>
                <p:cNvSpPr>
                  <a:spLocks/>
                </p:cNvSpPr>
                <p:nvPr/>
              </p:nvSpPr>
              <p:spPr bwMode="auto">
                <a:xfrm>
                  <a:off x="-376691" y="3529056"/>
                  <a:ext cx="968492" cy="640216"/>
                </a:xfrm>
                <a:custGeom>
                  <a:avLst/>
                  <a:gdLst>
                    <a:gd name="T0" fmla="*/ 939800 w 614"/>
                    <a:gd name="T1" fmla="*/ 636588 h 401"/>
                    <a:gd name="T2" fmla="*/ 939800 w 614"/>
                    <a:gd name="T3" fmla="*/ 636588 h 401"/>
                    <a:gd name="T4" fmla="*/ 941388 w 614"/>
                    <a:gd name="T5" fmla="*/ 615950 h 401"/>
                    <a:gd name="T6" fmla="*/ 944563 w 614"/>
                    <a:gd name="T7" fmla="*/ 590550 h 401"/>
                    <a:gd name="T8" fmla="*/ 954088 w 614"/>
                    <a:gd name="T9" fmla="*/ 536575 h 401"/>
                    <a:gd name="T10" fmla="*/ 965200 w 614"/>
                    <a:gd name="T11" fmla="*/ 485775 h 401"/>
                    <a:gd name="T12" fmla="*/ 974725 w 614"/>
                    <a:gd name="T13" fmla="*/ 444500 h 401"/>
                    <a:gd name="T14" fmla="*/ 974725 w 614"/>
                    <a:gd name="T15" fmla="*/ 444500 h 401"/>
                    <a:gd name="T16" fmla="*/ 966788 w 614"/>
                    <a:gd name="T17" fmla="*/ 409575 h 401"/>
                    <a:gd name="T18" fmla="*/ 966788 w 614"/>
                    <a:gd name="T19" fmla="*/ 409575 h 401"/>
                    <a:gd name="T20" fmla="*/ 901700 w 614"/>
                    <a:gd name="T21" fmla="*/ 382588 h 401"/>
                    <a:gd name="T22" fmla="*/ 803275 w 614"/>
                    <a:gd name="T23" fmla="*/ 336550 h 401"/>
                    <a:gd name="T24" fmla="*/ 549275 w 614"/>
                    <a:gd name="T25" fmla="*/ 215900 h 401"/>
                    <a:gd name="T26" fmla="*/ 104775 w 614"/>
                    <a:gd name="T27" fmla="*/ 0 h 401"/>
                    <a:gd name="T28" fmla="*/ 104775 w 614"/>
                    <a:gd name="T29" fmla="*/ 0 h 401"/>
                    <a:gd name="T30" fmla="*/ 96837 w 614"/>
                    <a:gd name="T31" fmla="*/ 4763 h 401"/>
                    <a:gd name="T32" fmla="*/ 93662 w 614"/>
                    <a:gd name="T33" fmla="*/ 7938 h 401"/>
                    <a:gd name="T34" fmla="*/ 93662 w 614"/>
                    <a:gd name="T35" fmla="*/ 7938 h 401"/>
                    <a:gd name="T36" fmla="*/ 84137 w 614"/>
                    <a:gd name="T37" fmla="*/ 7938 h 401"/>
                    <a:gd name="T38" fmla="*/ 71437 w 614"/>
                    <a:gd name="T39" fmla="*/ 12700 h 401"/>
                    <a:gd name="T40" fmla="*/ 58738 w 614"/>
                    <a:gd name="T41" fmla="*/ 22225 h 401"/>
                    <a:gd name="T42" fmla="*/ 44450 w 614"/>
                    <a:gd name="T43" fmla="*/ 34925 h 401"/>
                    <a:gd name="T44" fmla="*/ 30163 w 614"/>
                    <a:gd name="T45" fmla="*/ 47625 h 401"/>
                    <a:gd name="T46" fmla="*/ 20637 w 614"/>
                    <a:gd name="T47" fmla="*/ 60325 h 401"/>
                    <a:gd name="T48" fmla="*/ 12700 w 614"/>
                    <a:gd name="T49" fmla="*/ 74613 h 401"/>
                    <a:gd name="T50" fmla="*/ 9525 w 614"/>
                    <a:gd name="T51" fmla="*/ 85725 h 401"/>
                    <a:gd name="T52" fmla="*/ 9525 w 614"/>
                    <a:gd name="T53" fmla="*/ 85725 h 401"/>
                    <a:gd name="T54" fmla="*/ 7937 w 614"/>
                    <a:gd name="T55" fmla="*/ 88900 h 401"/>
                    <a:gd name="T56" fmla="*/ 0 w 614"/>
                    <a:gd name="T57" fmla="*/ 93663 h 401"/>
                    <a:gd name="T58" fmla="*/ 0 w 614"/>
                    <a:gd name="T59" fmla="*/ 93663 h 401"/>
                    <a:gd name="T60" fmla="*/ 50800 w 614"/>
                    <a:gd name="T61" fmla="*/ 150813 h 401"/>
                    <a:gd name="T62" fmla="*/ 50800 w 614"/>
                    <a:gd name="T63" fmla="*/ 150813 h 401"/>
                    <a:gd name="T64" fmla="*/ 69850 w 614"/>
                    <a:gd name="T65" fmla="*/ 166688 h 401"/>
                    <a:gd name="T66" fmla="*/ 104775 w 614"/>
                    <a:gd name="T67" fmla="*/ 190500 h 401"/>
                    <a:gd name="T68" fmla="*/ 152400 w 614"/>
                    <a:gd name="T69" fmla="*/ 220663 h 401"/>
                    <a:gd name="T70" fmla="*/ 212725 w 614"/>
                    <a:gd name="T71" fmla="*/ 255588 h 401"/>
                    <a:gd name="T72" fmla="*/ 357187 w 614"/>
                    <a:gd name="T73" fmla="*/ 333375 h 401"/>
                    <a:gd name="T74" fmla="*/ 515937 w 614"/>
                    <a:gd name="T75" fmla="*/ 419100 h 401"/>
                    <a:gd name="T76" fmla="*/ 809625 w 614"/>
                    <a:gd name="T77" fmla="*/ 569913 h 401"/>
                    <a:gd name="T78" fmla="*/ 939800 w 614"/>
                    <a:gd name="T79" fmla="*/ 636588 h 401"/>
                    <a:gd name="T80" fmla="*/ 939800 w 614"/>
                    <a:gd name="T81" fmla="*/ 636588 h 401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614"/>
                    <a:gd name="T124" fmla="*/ 0 h 401"/>
                    <a:gd name="T125" fmla="*/ 614 w 614"/>
                    <a:gd name="T126" fmla="*/ 401 h 401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614" h="401">
                      <a:moveTo>
                        <a:pt x="592" y="401"/>
                      </a:moveTo>
                      <a:lnTo>
                        <a:pt x="592" y="401"/>
                      </a:lnTo>
                      <a:lnTo>
                        <a:pt x="593" y="388"/>
                      </a:lnTo>
                      <a:lnTo>
                        <a:pt x="595" y="372"/>
                      </a:lnTo>
                      <a:lnTo>
                        <a:pt x="601" y="338"/>
                      </a:lnTo>
                      <a:lnTo>
                        <a:pt x="608" y="306"/>
                      </a:lnTo>
                      <a:lnTo>
                        <a:pt x="614" y="280"/>
                      </a:lnTo>
                      <a:lnTo>
                        <a:pt x="609" y="258"/>
                      </a:lnTo>
                      <a:lnTo>
                        <a:pt x="568" y="241"/>
                      </a:lnTo>
                      <a:lnTo>
                        <a:pt x="506" y="212"/>
                      </a:lnTo>
                      <a:lnTo>
                        <a:pt x="346" y="136"/>
                      </a:lnTo>
                      <a:lnTo>
                        <a:pt x="66" y="0"/>
                      </a:lnTo>
                      <a:lnTo>
                        <a:pt x="61" y="3"/>
                      </a:lnTo>
                      <a:lnTo>
                        <a:pt x="59" y="5"/>
                      </a:lnTo>
                      <a:lnTo>
                        <a:pt x="53" y="5"/>
                      </a:lnTo>
                      <a:lnTo>
                        <a:pt x="45" y="8"/>
                      </a:lnTo>
                      <a:lnTo>
                        <a:pt x="37" y="14"/>
                      </a:lnTo>
                      <a:lnTo>
                        <a:pt x="28" y="22"/>
                      </a:lnTo>
                      <a:lnTo>
                        <a:pt x="19" y="30"/>
                      </a:lnTo>
                      <a:lnTo>
                        <a:pt x="13" y="38"/>
                      </a:lnTo>
                      <a:lnTo>
                        <a:pt x="8" y="47"/>
                      </a:lnTo>
                      <a:lnTo>
                        <a:pt x="6" y="54"/>
                      </a:lnTo>
                      <a:lnTo>
                        <a:pt x="5" y="56"/>
                      </a:lnTo>
                      <a:lnTo>
                        <a:pt x="0" y="59"/>
                      </a:lnTo>
                      <a:lnTo>
                        <a:pt x="32" y="95"/>
                      </a:lnTo>
                      <a:lnTo>
                        <a:pt x="44" y="105"/>
                      </a:lnTo>
                      <a:lnTo>
                        <a:pt x="66" y="120"/>
                      </a:lnTo>
                      <a:lnTo>
                        <a:pt x="96" y="139"/>
                      </a:lnTo>
                      <a:lnTo>
                        <a:pt x="134" y="161"/>
                      </a:lnTo>
                      <a:lnTo>
                        <a:pt x="225" y="210"/>
                      </a:lnTo>
                      <a:lnTo>
                        <a:pt x="325" y="264"/>
                      </a:lnTo>
                      <a:lnTo>
                        <a:pt x="510" y="359"/>
                      </a:lnTo>
                      <a:lnTo>
                        <a:pt x="592" y="40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kern="0">
                    <a:solidFill>
                      <a:sysClr val="windowText" lastClr="000000"/>
                    </a:solidFill>
                    <a:latin typeface="+mn-lt"/>
                    <a:ea typeface="+mn-ea"/>
                  </a:endParaRPr>
                </a:p>
              </p:txBody>
            </p:sp>
          </p:grpSp>
        </p:grpSp>
        <p:sp>
          <p:nvSpPr>
            <p:cNvPr id="102" name="Freeform 76"/>
            <p:cNvSpPr>
              <a:spLocks/>
            </p:cNvSpPr>
            <p:nvPr/>
          </p:nvSpPr>
          <p:spPr bwMode="auto">
            <a:xfrm rot="20751694">
              <a:off x="1033224" y="5319024"/>
              <a:ext cx="124832" cy="174697"/>
            </a:xfrm>
            <a:custGeom>
              <a:avLst/>
              <a:gdLst/>
              <a:ahLst/>
              <a:cxnLst>
                <a:cxn ang="0">
                  <a:pos x="84" y="135"/>
                </a:cxn>
                <a:cxn ang="0">
                  <a:pos x="84" y="135"/>
                </a:cxn>
                <a:cxn ang="0">
                  <a:pos x="75" y="134"/>
                </a:cxn>
                <a:cxn ang="0">
                  <a:pos x="54" y="132"/>
                </a:cxn>
                <a:cxn ang="0">
                  <a:pos x="43" y="132"/>
                </a:cxn>
                <a:cxn ang="0">
                  <a:pos x="33" y="134"/>
                </a:cxn>
                <a:cxn ang="0">
                  <a:pos x="24" y="137"/>
                </a:cxn>
                <a:cxn ang="0">
                  <a:pos x="21" y="139"/>
                </a:cxn>
                <a:cxn ang="0">
                  <a:pos x="19" y="141"/>
                </a:cxn>
                <a:cxn ang="0">
                  <a:pos x="19" y="141"/>
                </a:cxn>
                <a:cxn ang="0">
                  <a:pos x="15" y="122"/>
                </a:cxn>
                <a:cxn ang="0">
                  <a:pos x="6" y="80"/>
                </a:cxn>
                <a:cxn ang="0">
                  <a:pos x="2" y="58"/>
                </a:cxn>
                <a:cxn ang="0">
                  <a:pos x="0" y="37"/>
                </a:cxn>
                <a:cxn ang="0">
                  <a:pos x="0" y="29"/>
                </a:cxn>
                <a:cxn ang="0">
                  <a:pos x="2" y="23"/>
                </a:cxn>
                <a:cxn ang="0">
                  <a:pos x="3" y="19"/>
                </a:cxn>
                <a:cxn ang="0">
                  <a:pos x="6" y="16"/>
                </a:cxn>
                <a:cxn ang="0">
                  <a:pos x="6" y="16"/>
                </a:cxn>
                <a:cxn ang="0">
                  <a:pos x="30" y="8"/>
                </a:cxn>
                <a:cxn ang="0">
                  <a:pos x="47" y="4"/>
                </a:cxn>
                <a:cxn ang="0">
                  <a:pos x="67" y="0"/>
                </a:cxn>
                <a:cxn ang="0">
                  <a:pos x="78" y="0"/>
                </a:cxn>
                <a:cxn ang="0">
                  <a:pos x="86" y="0"/>
                </a:cxn>
                <a:cxn ang="0">
                  <a:pos x="97" y="0"/>
                </a:cxn>
                <a:cxn ang="0">
                  <a:pos x="105" y="3"/>
                </a:cxn>
                <a:cxn ang="0">
                  <a:pos x="114" y="7"/>
                </a:cxn>
                <a:cxn ang="0">
                  <a:pos x="121" y="13"/>
                </a:cxn>
                <a:cxn ang="0">
                  <a:pos x="127" y="20"/>
                </a:cxn>
                <a:cxn ang="0">
                  <a:pos x="132" y="30"/>
                </a:cxn>
                <a:cxn ang="0">
                  <a:pos x="84" y="135"/>
                </a:cxn>
              </a:cxnLst>
              <a:rect l="0" t="0" r="r" b="b"/>
              <a:pathLst>
                <a:path w="132" h="141">
                  <a:moveTo>
                    <a:pt x="84" y="135"/>
                  </a:moveTo>
                  <a:lnTo>
                    <a:pt x="84" y="135"/>
                  </a:lnTo>
                  <a:lnTo>
                    <a:pt x="75" y="134"/>
                  </a:lnTo>
                  <a:lnTo>
                    <a:pt x="54" y="132"/>
                  </a:lnTo>
                  <a:lnTo>
                    <a:pt x="43" y="132"/>
                  </a:lnTo>
                  <a:lnTo>
                    <a:pt x="33" y="134"/>
                  </a:lnTo>
                  <a:lnTo>
                    <a:pt x="24" y="137"/>
                  </a:lnTo>
                  <a:lnTo>
                    <a:pt x="21" y="139"/>
                  </a:lnTo>
                  <a:lnTo>
                    <a:pt x="19" y="141"/>
                  </a:lnTo>
                  <a:lnTo>
                    <a:pt x="19" y="141"/>
                  </a:lnTo>
                  <a:lnTo>
                    <a:pt x="15" y="122"/>
                  </a:lnTo>
                  <a:lnTo>
                    <a:pt x="6" y="80"/>
                  </a:lnTo>
                  <a:lnTo>
                    <a:pt x="2" y="58"/>
                  </a:lnTo>
                  <a:lnTo>
                    <a:pt x="0" y="37"/>
                  </a:lnTo>
                  <a:lnTo>
                    <a:pt x="0" y="29"/>
                  </a:lnTo>
                  <a:lnTo>
                    <a:pt x="2" y="23"/>
                  </a:lnTo>
                  <a:lnTo>
                    <a:pt x="3" y="19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30" y="8"/>
                  </a:lnTo>
                  <a:lnTo>
                    <a:pt x="47" y="4"/>
                  </a:lnTo>
                  <a:lnTo>
                    <a:pt x="67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7" y="0"/>
                  </a:lnTo>
                  <a:lnTo>
                    <a:pt x="105" y="3"/>
                  </a:lnTo>
                  <a:lnTo>
                    <a:pt x="114" y="7"/>
                  </a:lnTo>
                  <a:lnTo>
                    <a:pt x="121" y="13"/>
                  </a:lnTo>
                  <a:lnTo>
                    <a:pt x="127" y="20"/>
                  </a:lnTo>
                  <a:lnTo>
                    <a:pt x="132" y="30"/>
                  </a:lnTo>
                  <a:lnTo>
                    <a:pt x="84" y="135"/>
                  </a:lnTo>
                  <a:close/>
                </a:path>
              </a:pathLst>
            </a:custGeom>
            <a:gradFill rotWithShape="1">
              <a:gsLst>
                <a:gs pos="0">
                  <a:srgbClr val="78F8FF"/>
                </a:gs>
                <a:gs pos="100000">
                  <a:srgbClr val="1F88C8"/>
                </a:gs>
              </a:gsLst>
              <a:lin ang="16200000"/>
            </a:gradFill>
            <a:ln w="9525">
              <a:solidFill>
                <a:srgbClr val="1F88C8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noProof="1">
                <a:solidFill>
                  <a:srgbClr val="FFFFFF"/>
                </a:solidFill>
                <a:latin typeface="Arial Narrow" pitchFamily="-97" charset="0"/>
                <a:ea typeface="+mn-ea"/>
              </a:endParaRPr>
            </a:p>
          </p:txBody>
        </p:sp>
      </p:grpSp>
      <p:grpSp>
        <p:nvGrpSpPr>
          <p:cNvPr id="162" name="Gruppe 92"/>
          <p:cNvGrpSpPr>
            <a:grpSpLocks/>
          </p:cNvGrpSpPr>
          <p:nvPr/>
        </p:nvGrpSpPr>
        <p:grpSpPr bwMode="auto">
          <a:xfrm>
            <a:off x="6702350" y="4278683"/>
            <a:ext cx="551414" cy="376475"/>
            <a:chOff x="2527300" y="2516188"/>
            <a:chExt cx="4238625" cy="2894012"/>
          </a:xfrm>
        </p:grpSpPr>
        <p:grpSp>
          <p:nvGrpSpPr>
            <p:cNvPr id="163" name="Gruppe 90"/>
            <p:cNvGrpSpPr/>
            <p:nvPr/>
          </p:nvGrpSpPr>
          <p:grpSpPr>
            <a:xfrm>
              <a:off x="2673350" y="3352800"/>
              <a:ext cx="2036763" cy="1743075"/>
              <a:chOff x="2673350" y="3352800"/>
              <a:chExt cx="2036763" cy="1743075"/>
            </a:xfrm>
            <a:solidFill>
              <a:srgbClr val="080808"/>
            </a:solidFill>
          </p:grpSpPr>
          <p:sp>
            <p:nvSpPr>
              <p:cNvPr id="207" name="Freeform 47"/>
              <p:cNvSpPr>
                <a:spLocks/>
              </p:cNvSpPr>
              <p:nvPr/>
            </p:nvSpPr>
            <p:spPr bwMode="auto">
              <a:xfrm>
                <a:off x="2701925" y="3352800"/>
                <a:ext cx="1630363" cy="1541462"/>
              </a:xfrm>
              <a:custGeom>
                <a:avLst/>
                <a:gdLst/>
                <a:ahLst/>
                <a:cxnLst>
                  <a:cxn ang="0">
                    <a:pos x="478" y="31"/>
                  </a:cxn>
                  <a:cxn ang="0">
                    <a:pos x="461" y="48"/>
                  </a:cxn>
                  <a:cxn ang="0">
                    <a:pos x="364" y="84"/>
                  </a:cxn>
                  <a:cxn ang="0">
                    <a:pos x="285" y="106"/>
                  </a:cxn>
                  <a:cxn ang="0">
                    <a:pos x="197" y="141"/>
                  </a:cxn>
                  <a:cxn ang="0">
                    <a:pos x="101" y="189"/>
                  </a:cxn>
                  <a:cxn ang="0">
                    <a:pos x="0" y="259"/>
                  </a:cxn>
                  <a:cxn ang="0">
                    <a:pos x="17" y="347"/>
                  </a:cxn>
                  <a:cxn ang="0">
                    <a:pos x="61" y="540"/>
                  </a:cxn>
                  <a:cxn ang="0">
                    <a:pos x="118" y="703"/>
                  </a:cxn>
                  <a:cxn ang="0">
                    <a:pos x="171" y="800"/>
                  </a:cxn>
                  <a:cxn ang="0">
                    <a:pos x="233" y="870"/>
                  </a:cxn>
                  <a:cxn ang="0">
                    <a:pos x="268" y="892"/>
                  </a:cxn>
                  <a:cxn ang="0">
                    <a:pos x="342" y="923"/>
                  </a:cxn>
                  <a:cxn ang="0">
                    <a:pos x="496" y="958"/>
                  </a:cxn>
                  <a:cxn ang="0">
                    <a:pos x="637" y="971"/>
                  </a:cxn>
                  <a:cxn ang="0">
                    <a:pos x="760" y="967"/>
                  </a:cxn>
                  <a:cxn ang="0">
                    <a:pos x="808" y="953"/>
                  </a:cxn>
                  <a:cxn ang="0">
                    <a:pos x="922" y="896"/>
                  </a:cxn>
                  <a:cxn ang="0">
                    <a:pos x="948" y="866"/>
                  </a:cxn>
                  <a:cxn ang="0">
                    <a:pos x="966" y="764"/>
                  </a:cxn>
                  <a:cxn ang="0">
                    <a:pos x="1019" y="347"/>
                  </a:cxn>
                  <a:cxn ang="0">
                    <a:pos x="1027" y="198"/>
                  </a:cxn>
                  <a:cxn ang="0">
                    <a:pos x="966" y="167"/>
                  </a:cxn>
                  <a:cxn ang="0">
                    <a:pos x="852" y="119"/>
                  </a:cxn>
                  <a:cxn ang="0">
                    <a:pos x="760" y="92"/>
                  </a:cxn>
                  <a:cxn ang="0">
                    <a:pos x="724" y="79"/>
                  </a:cxn>
                  <a:cxn ang="0">
                    <a:pos x="716" y="70"/>
                  </a:cxn>
                  <a:cxn ang="0">
                    <a:pos x="685" y="48"/>
                  </a:cxn>
                  <a:cxn ang="0">
                    <a:pos x="584" y="9"/>
                  </a:cxn>
                  <a:cxn ang="0">
                    <a:pos x="549" y="0"/>
                  </a:cxn>
                  <a:cxn ang="0">
                    <a:pos x="505" y="13"/>
                  </a:cxn>
                  <a:cxn ang="0">
                    <a:pos x="478" y="31"/>
                  </a:cxn>
                </a:cxnLst>
                <a:rect l="0" t="0" r="r" b="b"/>
                <a:pathLst>
                  <a:path w="1027" h="971">
                    <a:moveTo>
                      <a:pt x="478" y="31"/>
                    </a:moveTo>
                    <a:lnTo>
                      <a:pt x="478" y="31"/>
                    </a:lnTo>
                    <a:lnTo>
                      <a:pt x="474" y="35"/>
                    </a:lnTo>
                    <a:lnTo>
                      <a:pt x="461" y="48"/>
                    </a:lnTo>
                    <a:lnTo>
                      <a:pt x="426" y="66"/>
                    </a:lnTo>
                    <a:lnTo>
                      <a:pt x="364" y="84"/>
                    </a:lnTo>
                    <a:lnTo>
                      <a:pt x="364" y="84"/>
                    </a:lnTo>
                    <a:lnTo>
                      <a:pt x="285" y="106"/>
                    </a:lnTo>
                    <a:lnTo>
                      <a:pt x="241" y="123"/>
                    </a:lnTo>
                    <a:lnTo>
                      <a:pt x="197" y="141"/>
                    </a:lnTo>
                    <a:lnTo>
                      <a:pt x="149" y="163"/>
                    </a:lnTo>
                    <a:lnTo>
                      <a:pt x="101" y="189"/>
                    </a:lnTo>
                    <a:lnTo>
                      <a:pt x="52" y="224"/>
                    </a:lnTo>
                    <a:lnTo>
                      <a:pt x="0" y="259"/>
                    </a:lnTo>
                    <a:lnTo>
                      <a:pt x="0" y="259"/>
                    </a:lnTo>
                    <a:lnTo>
                      <a:pt x="17" y="347"/>
                    </a:lnTo>
                    <a:lnTo>
                      <a:pt x="35" y="435"/>
                    </a:lnTo>
                    <a:lnTo>
                      <a:pt x="61" y="540"/>
                    </a:lnTo>
                    <a:lnTo>
                      <a:pt x="96" y="650"/>
                    </a:lnTo>
                    <a:lnTo>
                      <a:pt x="118" y="703"/>
                    </a:lnTo>
                    <a:lnTo>
                      <a:pt x="145" y="756"/>
                    </a:lnTo>
                    <a:lnTo>
                      <a:pt x="171" y="800"/>
                    </a:lnTo>
                    <a:lnTo>
                      <a:pt x="202" y="839"/>
                    </a:lnTo>
                    <a:lnTo>
                      <a:pt x="233" y="870"/>
                    </a:lnTo>
                    <a:lnTo>
                      <a:pt x="268" y="892"/>
                    </a:lnTo>
                    <a:lnTo>
                      <a:pt x="268" y="892"/>
                    </a:lnTo>
                    <a:lnTo>
                      <a:pt x="303" y="909"/>
                    </a:lnTo>
                    <a:lnTo>
                      <a:pt x="342" y="923"/>
                    </a:lnTo>
                    <a:lnTo>
                      <a:pt x="417" y="945"/>
                    </a:lnTo>
                    <a:lnTo>
                      <a:pt x="496" y="958"/>
                    </a:lnTo>
                    <a:lnTo>
                      <a:pt x="571" y="967"/>
                    </a:lnTo>
                    <a:lnTo>
                      <a:pt x="637" y="971"/>
                    </a:lnTo>
                    <a:lnTo>
                      <a:pt x="689" y="971"/>
                    </a:lnTo>
                    <a:lnTo>
                      <a:pt x="760" y="967"/>
                    </a:lnTo>
                    <a:lnTo>
                      <a:pt x="760" y="967"/>
                    </a:lnTo>
                    <a:lnTo>
                      <a:pt x="808" y="953"/>
                    </a:lnTo>
                    <a:lnTo>
                      <a:pt x="865" y="927"/>
                    </a:lnTo>
                    <a:lnTo>
                      <a:pt x="922" y="896"/>
                    </a:lnTo>
                    <a:lnTo>
                      <a:pt x="940" y="883"/>
                    </a:lnTo>
                    <a:lnTo>
                      <a:pt x="948" y="866"/>
                    </a:lnTo>
                    <a:lnTo>
                      <a:pt x="948" y="866"/>
                    </a:lnTo>
                    <a:lnTo>
                      <a:pt x="966" y="764"/>
                    </a:lnTo>
                    <a:lnTo>
                      <a:pt x="992" y="567"/>
                    </a:lnTo>
                    <a:lnTo>
                      <a:pt x="1019" y="347"/>
                    </a:lnTo>
                    <a:lnTo>
                      <a:pt x="1027" y="259"/>
                    </a:lnTo>
                    <a:lnTo>
                      <a:pt x="1027" y="198"/>
                    </a:lnTo>
                    <a:lnTo>
                      <a:pt x="1027" y="198"/>
                    </a:lnTo>
                    <a:lnTo>
                      <a:pt x="966" y="167"/>
                    </a:lnTo>
                    <a:lnTo>
                      <a:pt x="909" y="141"/>
                    </a:lnTo>
                    <a:lnTo>
                      <a:pt x="852" y="119"/>
                    </a:lnTo>
                    <a:lnTo>
                      <a:pt x="852" y="119"/>
                    </a:lnTo>
                    <a:lnTo>
                      <a:pt x="760" y="92"/>
                    </a:lnTo>
                    <a:lnTo>
                      <a:pt x="733" y="84"/>
                    </a:lnTo>
                    <a:lnTo>
                      <a:pt x="724" y="79"/>
                    </a:lnTo>
                    <a:lnTo>
                      <a:pt x="716" y="70"/>
                    </a:lnTo>
                    <a:lnTo>
                      <a:pt x="716" y="70"/>
                    </a:lnTo>
                    <a:lnTo>
                      <a:pt x="707" y="57"/>
                    </a:lnTo>
                    <a:lnTo>
                      <a:pt x="685" y="48"/>
                    </a:lnTo>
                    <a:lnTo>
                      <a:pt x="637" y="26"/>
                    </a:lnTo>
                    <a:lnTo>
                      <a:pt x="584" y="9"/>
                    </a:lnTo>
                    <a:lnTo>
                      <a:pt x="549" y="0"/>
                    </a:lnTo>
                    <a:lnTo>
                      <a:pt x="549" y="0"/>
                    </a:lnTo>
                    <a:lnTo>
                      <a:pt x="527" y="5"/>
                    </a:lnTo>
                    <a:lnTo>
                      <a:pt x="505" y="13"/>
                    </a:lnTo>
                    <a:lnTo>
                      <a:pt x="478" y="31"/>
                    </a:lnTo>
                    <a:lnTo>
                      <a:pt x="478" y="3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08" name="Freeform 53"/>
              <p:cNvSpPr>
                <a:spLocks/>
              </p:cNvSpPr>
              <p:nvPr/>
            </p:nvSpPr>
            <p:spPr bwMode="auto">
              <a:xfrm>
                <a:off x="4235450" y="3652838"/>
                <a:ext cx="474663" cy="1108075"/>
              </a:xfrm>
              <a:custGeom>
                <a:avLst/>
                <a:gdLst/>
                <a:ahLst/>
                <a:cxnLst>
                  <a:cxn ang="0">
                    <a:pos x="26" y="4"/>
                  </a:cxn>
                  <a:cxn ang="0">
                    <a:pos x="26" y="4"/>
                  </a:cxn>
                  <a:cxn ang="0">
                    <a:pos x="35" y="0"/>
                  </a:cxn>
                  <a:cxn ang="0">
                    <a:pos x="44" y="0"/>
                  </a:cxn>
                  <a:cxn ang="0">
                    <a:pos x="53" y="0"/>
                  </a:cxn>
                  <a:cxn ang="0">
                    <a:pos x="66" y="4"/>
                  </a:cxn>
                  <a:cxn ang="0">
                    <a:pos x="75" y="18"/>
                  </a:cxn>
                  <a:cxn ang="0">
                    <a:pos x="88" y="31"/>
                  </a:cxn>
                  <a:cxn ang="0">
                    <a:pos x="97" y="57"/>
                  </a:cxn>
                  <a:cxn ang="0">
                    <a:pos x="97" y="57"/>
                  </a:cxn>
                  <a:cxn ang="0">
                    <a:pos x="123" y="171"/>
                  </a:cxn>
                  <a:cxn ang="0">
                    <a:pos x="171" y="356"/>
                  </a:cxn>
                  <a:cxn ang="0">
                    <a:pos x="202" y="457"/>
                  </a:cxn>
                  <a:cxn ang="0">
                    <a:pos x="233" y="549"/>
                  </a:cxn>
                  <a:cxn ang="0">
                    <a:pos x="268" y="633"/>
                  </a:cxn>
                  <a:cxn ang="0">
                    <a:pos x="299" y="698"/>
                  </a:cxn>
                  <a:cxn ang="0">
                    <a:pos x="0" y="694"/>
                  </a:cxn>
                  <a:cxn ang="0">
                    <a:pos x="0" y="694"/>
                  </a:cxn>
                  <a:cxn ang="0">
                    <a:pos x="9" y="562"/>
                  </a:cxn>
                  <a:cxn ang="0">
                    <a:pos x="13" y="461"/>
                  </a:cxn>
                  <a:cxn ang="0">
                    <a:pos x="9" y="417"/>
                  </a:cxn>
                  <a:cxn ang="0">
                    <a:pos x="4" y="387"/>
                  </a:cxn>
                  <a:cxn ang="0">
                    <a:pos x="4" y="387"/>
                  </a:cxn>
                  <a:cxn ang="0">
                    <a:pos x="4" y="351"/>
                  </a:cxn>
                  <a:cxn ang="0">
                    <a:pos x="4" y="299"/>
                  </a:cxn>
                  <a:cxn ang="0">
                    <a:pos x="9" y="171"/>
                  </a:cxn>
                  <a:cxn ang="0">
                    <a:pos x="26" y="4"/>
                  </a:cxn>
                  <a:cxn ang="0">
                    <a:pos x="26" y="4"/>
                  </a:cxn>
                </a:cxnLst>
                <a:rect l="0" t="0" r="r" b="b"/>
                <a:pathLst>
                  <a:path w="299" h="698">
                    <a:moveTo>
                      <a:pt x="26" y="4"/>
                    </a:moveTo>
                    <a:lnTo>
                      <a:pt x="26" y="4"/>
                    </a:lnTo>
                    <a:lnTo>
                      <a:pt x="35" y="0"/>
                    </a:lnTo>
                    <a:lnTo>
                      <a:pt x="44" y="0"/>
                    </a:lnTo>
                    <a:lnTo>
                      <a:pt x="53" y="0"/>
                    </a:lnTo>
                    <a:lnTo>
                      <a:pt x="66" y="4"/>
                    </a:lnTo>
                    <a:lnTo>
                      <a:pt x="75" y="18"/>
                    </a:lnTo>
                    <a:lnTo>
                      <a:pt x="88" y="31"/>
                    </a:lnTo>
                    <a:lnTo>
                      <a:pt x="97" y="57"/>
                    </a:lnTo>
                    <a:lnTo>
                      <a:pt x="97" y="57"/>
                    </a:lnTo>
                    <a:lnTo>
                      <a:pt x="123" y="171"/>
                    </a:lnTo>
                    <a:lnTo>
                      <a:pt x="171" y="356"/>
                    </a:lnTo>
                    <a:lnTo>
                      <a:pt x="202" y="457"/>
                    </a:lnTo>
                    <a:lnTo>
                      <a:pt x="233" y="549"/>
                    </a:lnTo>
                    <a:lnTo>
                      <a:pt x="268" y="633"/>
                    </a:lnTo>
                    <a:lnTo>
                      <a:pt x="299" y="698"/>
                    </a:lnTo>
                    <a:lnTo>
                      <a:pt x="0" y="694"/>
                    </a:lnTo>
                    <a:lnTo>
                      <a:pt x="0" y="694"/>
                    </a:lnTo>
                    <a:lnTo>
                      <a:pt x="9" y="562"/>
                    </a:lnTo>
                    <a:lnTo>
                      <a:pt x="13" y="461"/>
                    </a:lnTo>
                    <a:lnTo>
                      <a:pt x="9" y="417"/>
                    </a:lnTo>
                    <a:lnTo>
                      <a:pt x="4" y="387"/>
                    </a:lnTo>
                    <a:lnTo>
                      <a:pt x="4" y="387"/>
                    </a:lnTo>
                    <a:lnTo>
                      <a:pt x="4" y="351"/>
                    </a:lnTo>
                    <a:lnTo>
                      <a:pt x="4" y="299"/>
                    </a:lnTo>
                    <a:lnTo>
                      <a:pt x="9" y="171"/>
                    </a:lnTo>
                    <a:lnTo>
                      <a:pt x="26" y="4"/>
                    </a:lnTo>
                    <a:lnTo>
                      <a:pt x="26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09" name="Freeform 74"/>
              <p:cNvSpPr>
                <a:spLocks/>
              </p:cNvSpPr>
              <p:nvPr/>
            </p:nvSpPr>
            <p:spPr bwMode="auto">
              <a:xfrm>
                <a:off x="2673350" y="3751263"/>
                <a:ext cx="982663" cy="1344612"/>
              </a:xfrm>
              <a:custGeom>
                <a:avLst/>
                <a:gdLst/>
                <a:ahLst/>
                <a:cxnLst>
                  <a:cxn ang="0">
                    <a:pos x="18" y="8"/>
                  </a:cxn>
                  <a:cxn ang="0">
                    <a:pos x="5" y="70"/>
                  </a:cxn>
                  <a:cxn ang="0">
                    <a:pos x="0" y="188"/>
                  </a:cxn>
                  <a:cxn ang="0">
                    <a:pos x="5" y="298"/>
                  </a:cxn>
                  <a:cxn ang="0">
                    <a:pos x="22" y="426"/>
                  </a:cxn>
                  <a:cxn ang="0">
                    <a:pos x="66" y="571"/>
                  </a:cxn>
                  <a:cxn ang="0">
                    <a:pos x="132" y="733"/>
                  </a:cxn>
                  <a:cxn ang="0">
                    <a:pos x="176" y="817"/>
                  </a:cxn>
                  <a:cxn ang="0">
                    <a:pos x="255" y="839"/>
                  </a:cxn>
                  <a:cxn ang="0">
                    <a:pos x="373" y="847"/>
                  </a:cxn>
                  <a:cxn ang="0">
                    <a:pos x="527" y="839"/>
                  </a:cxn>
                  <a:cxn ang="0">
                    <a:pos x="615" y="817"/>
                  </a:cxn>
                  <a:cxn ang="0">
                    <a:pos x="611" y="803"/>
                  </a:cxn>
                  <a:cxn ang="0">
                    <a:pos x="597" y="733"/>
                  </a:cxn>
                  <a:cxn ang="0">
                    <a:pos x="606" y="672"/>
                  </a:cxn>
                  <a:cxn ang="0">
                    <a:pos x="619" y="641"/>
                  </a:cxn>
                  <a:cxn ang="0">
                    <a:pos x="554" y="632"/>
                  </a:cxn>
                  <a:cxn ang="0">
                    <a:pos x="466" y="606"/>
                  </a:cxn>
                  <a:cxn ang="0">
                    <a:pos x="439" y="593"/>
                  </a:cxn>
                  <a:cxn ang="0">
                    <a:pos x="360" y="557"/>
                  </a:cxn>
                  <a:cxn ang="0">
                    <a:pos x="334" y="553"/>
                  </a:cxn>
                  <a:cxn ang="0">
                    <a:pos x="343" y="549"/>
                  </a:cxn>
                  <a:cxn ang="0">
                    <a:pos x="356" y="535"/>
                  </a:cxn>
                  <a:cxn ang="0">
                    <a:pos x="347" y="513"/>
                  </a:cxn>
                  <a:cxn ang="0">
                    <a:pos x="334" y="505"/>
                  </a:cxn>
                  <a:cxn ang="0">
                    <a:pos x="347" y="434"/>
                  </a:cxn>
                  <a:cxn ang="0">
                    <a:pos x="347" y="333"/>
                  </a:cxn>
                  <a:cxn ang="0">
                    <a:pos x="325" y="246"/>
                  </a:cxn>
                  <a:cxn ang="0">
                    <a:pos x="299" y="184"/>
                  </a:cxn>
                  <a:cxn ang="0">
                    <a:pos x="281" y="153"/>
                  </a:cxn>
                  <a:cxn ang="0">
                    <a:pos x="198" y="61"/>
                  </a:cxn>
                  <a:cxn ang="0">
                    <a:pos x="114" y="13"/>
                  </a:cxn>
                  <a:cxn ang="0">
                    <a:pos x="53" y="0"/>
                  </a:cxn>
                  <a:cxn ang="0">
                    <a:pos x="18" y="8"/>
                  </a:cxn>
                </a:cxnLst>
                <a:rect l="0" t="0" r="r" b="b"/>
                <a:pathLst>
                  <a:path w="619" h="847">
                    <a:moveTo>
                      <a:pt x="18" y="8"/>
                    </a:moveTo>
                    <a:lnTo>
                      <a:pt x="18" y="8"/>
                    </a:lnTo>
                    <a:lnTo>
                      <a:pt x="13" y="26"/>
                    </a:lnTo>
                    <a:lnTo>
                      <a:pt x="5" y="70"/>
                    </a:lnTo>
                    <a:lnTo>
                      <a:pt x="0" y="144"/>
                    </a:lnTo>
                    <a:lnTo>
                      <a:pt x="0" y="188"/>
                    </a:lnTo>
                    <a:lnTo>
                      <a:pt x="0" y="241"/>
                    </a:lnTo>
                    <a:lnTo>
                      <a:pt x="5" y="298"/>
                    </a:lnTo>
                    <a:lnTo>
                      <a:pt x="9" y="360"/>
                    </a:lnTo>
                    <a:lnTo>
                      <a:pt x="22" y="426"/>
                    </a:lnTo>
                    <a:lnTo>
                      <a:pt x="40" y="496"/>
                    </a:lnTo>
                    <a:lnTo>
                      <a:pt x="66" y="571"/>
                    </a:lnTo>
                    <a:lnTo>
                      <a:pt x="92" y="650"/>
                    </a:lnTo>
                    <a:lnTo>
                      <a:pt x="132" y="733"/>
                    </a:lnTo>
                    <a:lnTo>
                      <a:pt x="176" y="817"/>
                    </a:lnTo>
                    <a:lnTo>
                      <a:pt x="176" y="817"/>
                    </a:lnTo>
                    <a:lnTo>
                      <a:pt x="211" y="830"/>
                    </a:lnTo>
                    <a:lnTo>
                      <a:pt x="255" y="839"/>
                    </a:lnTo>
                    <a:lnTo>
                      <a:pt x="308" y="843"/>
                    </a:lnTo>
                    <a:lnTo>
                      <a:pt x="373" y="847"/>
                    </a:lnTo>
                    <a:lnTo>
                      <a:pt x="448" y="847"/>
                    </a:lnTo>
                    <a:lnTo>
                      <a:pt x="527" y="839"/>
                    </a:lnTo>
                    <a:lnTo>
                      <a:pt x="571" y="830"/>
                    </a:lnTo>
                    <a:lnTo>
                      <a:pt x="615" y="817"/>
                    </a:lnTo>
                    <a:lnTo>
                      <a:pt x="615" y="817"/>
                    </a:lnTo>
                    <a:lnTo>
                      <a:pt x="611" y="803"/>
                    </a:lnTo>
                    <a:lnTo>
                      <a:pt x="602" y="759"/>
                    </a:lnTo>
                    <a:lnTo>
                      <a:pt x="597" y="733"/>
                    </a:lnTo>
                    <a:lnTo>
                      <a:pt x="602" y="702"/>
                    </a:lnTo>
                    <a:lnTo>
                      <a:pt x="606" y="672"/>
                    </a:lnTo>
                    <a:lnTo>
                      <a:pt x="619" y="641"/>
                    </a:lnTo>
                    <a:lnTo>
                      <a:pt x="619" y="641"/>
                    </a:lnTo>
                    <a:lnTo>
                      <a:pt x="602" y="641"/>
                    </a:lnTo>
                    <a:lnTo>
                      <a:pt x="554" y="632"/>
                    </a:lnTo>
                    <a:lnTo>
                      <a:pt x="492" y="619"/>
                    </a:lnTo>
                    <a:lnTo>
                      <a:pt x="466" y="606"/>
                    </a:lnTo>
                    <a:lnTo>
                      <a:pt x="439" y="593"/>
                    </a:lnTo>
                    <a:lnTo>
                      <a:pt x="439" y="593"/>
                    </a:lnTo>
                    <a:lnTo>
                      <a:pt x="395" y="566"/>
                    </a:lnTo>
                    <a:lnTo>
                      <a:pt x="360" y="557"/>
                    </a:lnTo>
                    <a:lnTo>
                      <a:pt x="343" y="553"/>
                    </a:lnTo>
                    <a:lnTo>
                      <a:pt x="334" y="553"/>
                    </a:lnTo>
                    <a:lnTo>
                      <a:pt x="334" y="553"/>
                    </a:lnTo>
                    <a:lnTo>
                      <a:pt x="343" y="549"/>
                    </a:lnTo>
                    <a:lnTo>
                      <a:pt x="352" y="540"/>
                    </a:lnTo>
                    <a:lnTo>
                      <a:pt x="356" y="535"/>
                    </a:lnTo>
                    <a:lnTo>
                      <a:pt x="356" y="527"/>
                    </a:lnTo>
                    <a:lnTo>
                      <a:pt x="347" y="513"/>
                    </a:lnTo>
                    <a:lnTo>
                      <a:pt x="334" y="505"/>
                    </a:lnTo>
                    <a:lnTo>
                      <a:pt x="334" y="505"/>
                    </a:lnTo>
                    <a:lnTo>
                      <a:pt x="343" y="470"/>
                    </a:lnTo>
                    <a:lnTo>
                      <a:pt x="347" y="434"/>
                    </a:lnTo>
                    <a:lnTo>
                      <a:pt x="347" y="386"/>
                    </a:lnTo>
                    <a:lnTo>
                      <a:pt x="347" y="333"/>
                    </a:lnTo>
                    <a:lnTo>
                      <a:pt x="334" y="276"/>
                    </a:lnTo>
                    <a:lnTo>
                      <a:pt x="325" y="246"/>
                    </a:lnTo>
                    <a:lnTo>
                      <a:pt x="312" y="215"/>
                    </a:lnTo>
                    <a:lnTo>
                      <a:pt x="299" y="184"/>
                    </a:lnTo>
                    <a:lnTo>
                      <a:pt x="281" y="153"/>
                    </a:lnTo>
                    <a:lnTo>
                      <a:pt x="281" y="153"/>
                    </a:lnTo>
                    <a:lnTo>
                      <a:pt x="237" y="101"/>
                    </a:lnTo>
                    <a:lnTo>
                      <a:pt x="198" y="61"/>
                    </a:lnTo>
                    <a:lnTo>
                      <a:pt x="154" y="30"/>
                    </a:lnTo>
                    <a:lnTo>
                      <a:pt x="114" y="13"/>
                    </a:lnTo>
                    <a:lnTo>
                      <a:pt x="79" y="0"/>
                    </a:lnTo>
                    <a:lnTo>
                      <a:pt x="53" y="0"/>
                    </a:lnTo>
                    <a:lnTo>
                      <a:pt x="31" y="0"/>
                    </a:lnTo>
                    <a:lnTo>
                      <a:pt x="18" y="8"/>
                    </a:lnTo>
                    <a:lnTo>
                      <a:pt x="18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164" name="AutoShape 4"/>
            <p:cNvSpPr>
              <a:spLocks noChangeAspect="1" noChangeArrowheads="1" noTextEdit="1"/>
            </p:cNvSpPr>
            <p:nvPr/>
          </p:nvSpPr>
          <p:spPr bwMode="auto">
            <a:xfrm>
              <a:off x="2527300" y="2516188"/>
              <a:ext cx="4238625" cy="28940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65" name="Freeform 9"/>
            <p:cNvSpPr>
              <a:spLocks/>
            </p:cNvSpPr>
            <p:nvPr/>
          </p:nvSpPr>
          <p:spPr bwMode="auto">
            <a:xfrm>
              <a:off x="4611226" y="3255419"/>
              <a:ext cx="1682867" cy="1769439"/>
            </a:xfrm>
            <a:custGeom>
              <a:avLst/>
              <a:gdLst/>
              <a:ahLst/>
              <a:cxnLst>
                <a:cxn ang="0">
                  <a:pos x="531" y="26"/>
                </a:cxn>
                <a:cxn ang="0">
                  <a:pos x="558" y="52"/>
                </a:cxn>
                <a:cxn ang="0">
                  <a:pos x="602" y="74"/>
                </a:cxn>
                <a:cxn ang="0">
                  <a:pos x="672" y="87"/>
                </a:cxn>
                <a:cxn ang="0">
                  <a:pos x="760" y="109"/>
                </a:cxn>
                <a:cxn ang="0">
                  <a:pos x="940" y="167"/>
                </a:cxn>
                <a:cxn ang="0">
                  <a:pos x="1006" y="197"/>
                </a:cxn>
                <a:cxn ang="0">
                  <a:pos x="1019" y="250"/>
                </a:cxn>
                <a:cxn ang="0">
                  <a:pos x="1050" y="465"/>
                </a:cxn>
                <a:cxn ang="0">
                  <a:pos x="1058" y="650"/>
                </a:cxn>
                <a:cxn ang="0">
                  <a:pos x="1054" y="742"/>
                </a:cxn>
                <a:cxn ang="0">
                  <a:pos x="1010" y="1014"/>
                </a:cxn>
                <a:cxn ang="0">
                  <a:pos x="993" y="1102"/>
                </a:cxn>
                <a:cxn ang="0">
                  <a:pos x="993" y="1115"/>
                </a:cxn>
                <a:cxn ang="0">
                  <a:pos x="953" y="1115"/>
                </a:cxn>
                <a:cxn ang="0">
                  <a:pos x="549" y="1089"/>
                </a:cxn>
                <a:cxn ang="0">
                  <a:pos x="101" y="1054"/>
                </a:cxn>
                <a:cxn ang="0">
                  <a:pos x="83" y="821"/>
                </a:cxn>
                <a:cxn ang="0">
                  <a:pos x="66" y="702"/>
                </a:cxn>
                <a:cxn ang="0">
                  <a:pos x="4" y="377"/>
                </a:cxn>
                <a:cxn ang="0">
                  <a:pos x="0" y="307"/>
                </a:cxn>
                <a:cxn ang="0">
                  <a:pos x="9" y="215"/>
                </a:cxn>
                <a:cxn ang="0">
                  <a:pos x="22" y="171"/>
                </a:cxn>
                <a:cxn ang="0">
                  <a:pos x="48" y="131"/>
                </a:cxn>
                <a:cxn ang="0">
                  <a:pos x="66" y="114"/>
                </a:cxn>
                <a:cxn ang="0">
                  <a:pos x="105" y="92"/>
                </a:cxn>
                <a:cxn ang="0">
                  <a:pos x="171" y="83"/>
                </a:cxn>
                <a:cxn ang="0">
                  <a:pos x="224" y="79"/>
                </a:cxn>
                <a:cxn ang="0">
                  <a:pos x="290" y="57"/>
                </a:cxn>
                <a:cxn ang="0">
                  <a:pos x="408" y="4"/>
                </a:cxn>
                <a:cxn ang="0">
                  <a:pos x="470" y="0"/>
                </a:cxn>
                <a:cxn ang="0">
                  <a:pos x="509" y="13"/>
                </a:cxn>
                <a:cxn ang="0">
                  <a:pos x="531" y="26"/>
                </a:cxn>
              </a:cxnLst>
              <a:rect l="0" t="0" r="r" b="b"/>
              <a:pathLst>
                <a:path w="1058" h="1115">
                  <a:moveTo>
                    <a:pt x="531" y="26"/>
                  </a:moveTo>
                  <a:lnTo>
                    <a:pt x="531" y="26"/>
                  </a:lnTo>
                  <a:lnTo>
                    <a:pt x="536" y="35"/>
                  </a:lnTo>
                  <a:lnTo>
                    <a:pt x="558" y="52"/>
                  </a:lnTo>
                  <a:lnTo>
                    <a:pt x="580" y="61"/>
                  </a:lnTo>
                  <a:lnTo>
                    <a:pt x="602" y="74"/>
                  </a:lnTo>
                  <a:lnTo>
                    <a:pt x="637" y="83"/>
                  </a:lnTo>
                  <a:lnTo>
                    <a:pt x="672" y="87"/>
                  </a:lnTo>
                  <a:lnTo>
                    <a:pt x="672" y="87"/>
                  </a:lnTo>
                  <a:lnTo>
                    <a:pt x="760" y="109"/>
                  </a:lnTo>
                  <a:lnTo>
                    <a:pt x="856" y="136"/>
                  </a:lnTo>
                  <a:lnTo>
                    <a:pt x="940" y="167"/>
                  </a:lnTo>
                  <a:lnTo>
                    <a:pt x="975" y="180"/>
                  </a:lnTo>
                  <a:lnTo>
                    <a:pt x="1006" y="197"/>
                  </a:lnTo>
                  <a:lnTo>
                    <a:pt x="1006" y="197"/>
                  </a:lnTo>
                  <a:lnTo>
                    <a:pt x="1019" y="250"/>
                  </a:lnTo>
                  <a:lnTo>
                    <a:pt x="1041" y="377"/>
                  </a:lnTo>
                  <a:lnTo>
                    <a:pt x="1050" y="465"/>
                  </a:lnTo>
                  <a:lnTo>
                    <a:pt x="1058" y="553"/>
                  </a:lnTo>
                  <a:lnTo>
                    <a:pt x="1058" y="650"/>
                  </a:lnTo>
                  <a:lnTo>
                    <a:pt x="1054" y="742"/>
                  </a:lnTo>
                  <a:lnTo>
                    <a:pt x="1054" y="742"/>
                  </a:lnTo>
                  <a:lnTo>
                    <a:pt x="1032" y="900"/>
                  </a:lnTo>
                  <a:lnTo>
                    <a:pt x="1010" y="1014"/>
                  </a:lnTo>
                  <a:lnTo>
                    <a:pt x="997" y="1085"/>
                  </a:lnTo>
                  <a:lnTo>
                    <a:pt x="993" y="1102"/>
                  </a:lnTo>
                  <a:lnTo>
                    <a:pt x="993" y="1115"/>
                  </a:lnTo>
                  <a:lnTo>
                    <a:pt x="993" y="1115"/>
                  </a:lnTo>
                  <a:lnTo>
                    <a:pt x="984" y="1115"/>
                  </a:lnTo>
                  <a:lnTo>
                    <a:pt x="953" y="1115"/>
                  </a:lnTo>
                  <a:lnTo>
                    <a:pt x="856" y="1111"/>
                  </a:lnTo>
                  <a:lnTo>
                    <a:pt x="549" y="1089"/>
                  </a:lnTo>
                  <a:lnTo>
                    <a:pt x="101" y="1054"/>
                  </a:lnTo>
                  <a:lnTo>
                    <a:pt x="101" y="1054"/>
                  </a:lnTo>
                  <a:lnTo>
                    <a:pt x="92" y="935"/>
                  </a:lnTo>
                  <a:lnTo>
                    <a:pt x="83" y="821"/>
                  </a:lnTo>
                  <a:lnTo>
                    <a:pt x="66" y="702"/>
                  </a:lnTo>
                  <a:lnTo>
                    <a:pt x="66" y="702"/>
                  </a:lnTo>
                  <a:lnTo>
                    <a:pt x="22" y="474"/>
                  </a:lnTo>
                  <a:lnTo>
                    <a:pt x="4" y="377"/>
                  </a:lnTo>
                  <a:lnTo>
                    <a:pt x="0" y="307"/>
                  </a:lnTo>
                  <a:lnTo>
                    <a:pt x="0" y="307"/>
                  </a:lnTo>
                  <a:lnTo>
                    <a:pt x="0" y="259"/>
                  </a:lnTo>
                  <a:lnTo>
                    <a:pt x="9" y="215"/>
                  </a:lnTo>
                  <a:lnTo>
                    <a:pt x="13" y="193"/>
                  </a:lnTo>
                  <a:lnTo>
                    <a:pt x="22" y="171"/>
                  </a:lnTo>
                  <a:lnTo>
                    <a:pt x="35" y="149"/>
                  </a:lnTo>
                  <a:lnTo>
                    <a:pt x="48" y="131"/>
                  </a:lnTo>
                  <a:lnTo>
                    <a:pt x="48" y="131"/>
                  </a:lnTo>
                  <a:lnTo>
                    <a:pt x="66" y="114"/>
                  </a:lnTo>
                  <a:lnTo>
                    <a:pt x="88" y="101"/>
                  </a:lnTo>
                  <a:lnTo>
                    <a:pt x="105" y="92"/>
                  </a:lnTo>
                  <a:lnTo>
                    <a:pt x="127" y="87"/>
                  </a:lnTo>
                  <a:lnTo>
                    <a:pt x="171" y="83"/>
                  </a:lnTo>
                  <a:lnTo>
                    <a:pt x="224" y="79"/>
                  </a:lnTo>
                  <a:lnTo>
                    <a:pt x="224" y="79"/>
                  </a:lnTo>
                  <a:lnTo>
                    <a:pt x="255" y="70"/>
                  </a:lnTo>
                  <a:lnTo>
                    <a:pt x="290" y="57"/>
                  </a:lnTo>
                  <a:lnTo>
                    <a:pt x="365" y="17"/>
                  </a:lnTo>
                  <a:lnTo>
                    <a:pt x="408" y="4"/>
                  </a:lnTo>
                  <a:lnTo>
                    <a:pt x="448" y="0"/>
                  </a:lnTo>
                  <a:lnTo>
                    <a:pt x="470" y="0"/>
                  </a:lnTo>
                  <a:lnTo>
                    <a:pt x="487" y="8"/>
                  </a:lnTo>
                  <a:lnTo>
                    <a:pt x="509" y="13"/>
                  </a:lnTo>
                  <a:lnTo>
                    <a:pt x="531" y="26"/>
                  </a:lnTo>
                  <a:lnTo>
                    <a:pt x="531" y="26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66" name="Freeform 10"/>
            <p:cNvSpPr>
              <a:spLocks/>
            </p:cNvSpPr>
            <p:nvPr/>
          </p:nvSpPr>
          <p:spPr bwMode="auto">
            <a:xfrm>
              <a:off x="4658410" y="3774454"/>
              <a:ext cx="361738" cy="1250404"/>
            </a:xfrm>
            <a:custGeom>
              <a:avLst/>
              <a:gdLst>
                <a:gd name="T0" fmla="*/ 76200 w 228"/>
                <a:gd name="T1" fmla="*/ 0 h 790"/>
                <a:gd name="T2" fmla="*/ 76200 w 228"/>
                <a:gd name="T3" fmla="*/ 0 h 790"/>
                <a:gd name="T4" fmla="*/ 76200 w 228"/>
                <a:gd name="T5" fmla="*/ 61913 h 790"/>
                <a:gd name="T6" fmla="*/ 96837 w 228"/>
                <a:gd name="T7" fmla="*/ 207963 h 790"/>
                <a:gd name="T8" fmla="*/ 111125 w 228"/>
                <a:gd name="T9" fmla="*/ 306388 h 790"/>
                <a:gd name="T10" fmla="*/ 131763 w 228"/>
                <a:gd name="T11" fmla="*/ 417513 h 790"/>
                <a:gd name="T12" fmla="*/ 160338 w 228"/>
                <a:gd name="T13" fmla="*/ 522288 h 790"/>
                <a:gd name="T14" fmla="*/ 201612 w 228"/>
                <a:gd name="T15" fmla="*/ 633412 h 790"/>
                <a:gd name="T16" fmla="*/ 201612 w 228"/>
                <a:gd name="T17" fmla="*/ 633412 h 790"/>
                <a:gd name="T18" fmla="*/ 236538 w 228"/>
                <a:gd name="T19" fmla="*/ 738187 h 790"/>
                <a:gd name="T20" fmla="*/ 271463 w 228"/>
                <a:gd name="T21" fmla="*/ 842963 h 790"/>
                <a:gd name="T22" fmla="*/ 320675 w 228"/>
                <a:gd name="T23" fmla="*/ 1017588 h 790"/>
                <a:gd name="T24" fmla="*/ 347663 w 228"/>
                <a:gd name="T25" fmla="*/ 1163638 h 790"/>
                <a:gd name="T26" fmla="*/ 361950 w 228"/>
                <a:gd name="T27" fmla="*/ 1254125 h 790"/>
                <a:gd name="T28" fmla="*/ 6350 w 228"/>
                <a:gd name="T29" fmla="*/ 1241425 h 790"/>
                <a:gd name="T30" fmla="*/ 6350 w 228"/>
                <a:gd name="T31" fmla="*/ 1241425 h 790"/>
                <a:gd name="T32" fmla="*/ 14288 w 228"/>
                <a:gd name="T33" fmla="*/ 1031875 h 790"/>
                <a:gd name="T34" fmla="*/ 20638 w 228"/>
                <a:gd name="T35" fmla="*/ 850900 h 790"/>
                <a:gd name="T36" fmla="*/ 14288 w 228"/>
                <a:gd name="T37" fmla="*/ 682625 h 790"/>
                <a:gd name="T38" fmla="*/ 14288 w 228"/>
                <a:gd name="T39" fmla="*/ 682625 h 790"/>
                <a:gd name="T40" fmla="*/ 6350 w 228"/>
                <a:gd name="T41" fmla="*/ 530225 h 790"/>
                <a:gd name="T42" fmla="*/ 0 w 228"/>
                <a:gd name="T43" fmla="*/ 452438 h 790"/>
                <a:gd name="T44" fmla="*/ 0 w 228"/>
                <a:gd name="T45" fmla="*/ 369887 h 790"/>
                <a:gd name="T46" fmla="*/ 6350 w 228"/>
                <a:gd name="T47" fmla="*/ 277813 h 790"/>
                <a:gd name="T48" fmla="*/ 20638 w 228"/>
                <a:gd name="T49" fmla="*/ 187325 h 790"/>
                <a:gd name="T50" fmla="*/ 41275 w 228"/>
                <a:gd name="T51" fmla="*/ 96837 h 790"/>
                <a:gd name="T52" fmla="*/ 76200 w 228"/>
                <a:gd name="T53" fmla="*/ 0 h 790"/>
                <a:gd name="T54" fmla="*/ 76200 w 228"/>
                <a:gd name="T55" fmla="*/ 0 h 79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28"/>
                <a:gd name="T85" fmla="*/ 0 h 790"/>
                <a:gd name="T86" fmla="*/ 228 w 228"/>
                <a:gd name="T87" fmla="*/ 790 h 79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28" h="790">
                  <a:moveTo>
                    <a:pt x="48" y="0"/>
                  </a:moveTo>
                  <a:lnTo>
                    <a:pt x="48" y="0"/>
                  </a:lnTo>
                  <a:lnTo>
                    <a:pt x="48" y="39"/>
                  </a:lnTo>
                  <a:lnTo>
                    <a:pt x="61" y="131"/>
                  </a:lnTo>
                  <a:lnTo>
                    <a:pt x="70" y="193"/>
                  </a:lnTo>
                  <a:lnTo>
                    <a:pt x="83" y="263"/>
                  </a:lnTo>
                  <a:lnTo>
                    <a:pt x="101" y="329"/>
                  </a:lnTo>
                  <a:lnTo>
                    <a:pt x="127" y="399"/>
                  </a:lnTo>
                  <a:lnTo>
                    <a:pt x="149" y="465"/>
                  </a:lnTo>
                  <a:lnTo>
                    <a:pt x="171" y="531"/>
                  </a:lnTo>
                  <a:lnTo>
                    <a:pt x="202" y="641"/>
                  </a:lnTo>
                  <a:lnTo>
                    <a:pt x="219" y="733"/>
                  </a:lnTo>
                  <a:lnTo>
                    <a:pt x="228" y="790"/>
                  </a:lnTo>
                  <a:lnTo>
                    <a:pt x="4" y="782"/>
                  </a:lnTo>
                  <a:lnTo>
                    <a:pt x="9" y="650"/>
                  </a:lnTo>
                  <a:lnTo>
                    <a:pt x="13" y="536"/>
                  </a:lnTo>
                  <a:lnTo>
                    <a:pt x="9" y="430"/>
                  </a:lnTo>
                  <a:lnTo>
                    <a:pt x="4" y="334"/>
                  </a:lnTo>
                  <a:lnTo>
                    <a:pt x="0" y="285"/>
                  </a:lnTo>
                  <a:lnTo>
                    <a:pt x="0" y="233"/>
                  </a:lnTo>
                  <a:lnTo>
                    <a:pt x="4" y="175"/>
                  </a:lnTo>
                  <a:lnTo>
                    <a:pt x="13" y="118"/>
                  </a:lnTo>
                  <a:lnTo>
                    <a:pt x="26" y="61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67" name="Freeform 11"/>
            <p:cNvSpPr>
              <a:spLocks/>
            </p:cNvSpPr>
            <p:nvPr/>
          </p:nvSpPr>
          <p:spPr bwMode="auto">
            <a:xfrm>
              <a:off x="4823548" y="3491344"/>
              <a:ext cx="306693" cy="424665"/>
            </a:xfrm>
            <a:custGeom>
              <a:avLst/>
              <a:gdLst>
                <a:gd name="T0" fmla="*/ 76200 w 193"/>
                <a:gd name="T1" fmla="*/ 6350 h 268"/>
                <a:gd name="T2" fmla="*/ 76200 w 193"/>
                <a:gd name="T3" fmla="*/ 6350 h 268"/>
                <a:gd name="T4" fmla="*/ 34925 w 193"/>
                <a:gd name="T5" fmla="*/ 125412 h 268"/>
                <a:gd name="T6" fmla="*/ 14288 w 193"/>
                <a:gd name="T7" fmla="*/ 230187 h 268"/>
                <a:gd name="T8" fmla="*/ 6350 w 193"/>
                <a:gd name="T9" fmla="*/ 285750 h 268"/>
                <a:gd name="T10" fmla="*/ 0 w 193"/>
                <a:gd name="T11" fmla="*/ 334962 h 268"/>
                <a:gd name="T12" fmla="*/ 0 w 193"/>
                <a:gd name="T13" fmla="*/ 334962 h 268"/>
                <a:gd name="T14" fmla="*/ 26988 w 193"/>
                <a:gd name="T15" fmla="*/ 327025 h 268"/>
                <a:gd name="T16" fmla="*/ 104775 w 193"/>
                <a:gd name="T17" fmla="*/ 314325 h 268"/>
                <a:gd name="T18" fmla="*/ 104775 w 193"/>
                <a:gd name="T19" fmla="*/ 314325 h 268"/>
                <a:gd name="T20" fmla="*/ 125413 w 193"/>
                <a:gd name="T21" fmla="*/ 320675 h 268"/>
                <a:gd name="T22" fmla="*/ 152400 w 193"/>
                <a:gd name="T23" fmla="*/ 327025 h 268"/>
                <a:gd name="T24" fmla="*/ 222250 w 193"/>
                <a:gd name="T25" fmla="*/ 369887 h 268"/>
                <a:gd name="T26" fmla="*/ 306388 w 193"/>
                <a:gd name="T27" fmla="*/ 425450 h 268"/>
                <a:gd name="T28" fmla="*/ 306388 w 193"/>
                <a:gd name="T29" fmla="*/ 425450 h 268"/>
                <a:gd name="T30" fmla="*/ 292100 w 193"/>
                <a:gd name="T31" fmla="*/ 384175 h 268"/>
                <a:gd name="T32" fmla="*/ 271463 w 193"/>
                <a:gd name="T33" fmla="*/ 341312 h 268"/>
                <a:gd name="T34" fmla="*/ 236538 w 193"/>
                <a:gd name="T35" fmla="*/ 292100 h 268"/>
                <a:gd name="T36" fmla="*/ 236538 w 193"/>
                <a:gd name="T37" fmla="*/ 292100 h 268"/>
                <a:gd name="T38" fmla="*/ 201613 w 193"/>
                <a:gd name="T39" fmla="*/ 236537 h 268"/>
                <a:gd name="T40" fmla="*/ 174625 w 193"/>
                <a:gd name="T41" fmla="*/ 195262 h 268"/>
                <a:gd name="T42" fmla="*/ 160338 w 193"/>
                <a:gd name="T43" fmla="*/ 153987 h 268"/>
                <a:gd name="T44" fmla="*/ 152400 w 193"/>
                <a:gd name="T45" fmla="*/ 111125 h 268"/>
                <a:gd name="T46" fmla="*/ 152400 w 193"/>
                <a:gd name="T47" fmla="*/ 111125 h 268"/>
                <a:gd name="T48" fmla="*/ 139700 w 193"/>
                <a:gd name="T49" fmla="*/ 69850 h 268"/>
                <a:gd name="T50" fmla="*/ 117475 w 193"/>
                <a:gd name="T51" fmla="*/ 28575 h 268"/>
                <a:gd name="T52" fmla="*/ 90488 w 193"/>
                <a:gd name="T53" fmla="*/ 6350 h 268"/>
                <a:gd name="T54" fmla="*/ 82550 w 193"/>
                <a:gd name="T55" fmla="*/ 0 h 268"/>
                <a:gd name="T56" fmla="*/ 76200 w 193"/>
                <a:gd name="T57" fmla="*/ 6350 h 268"/>
                <a:gd name="T58" fmla="*/ 76200 w 193"/>
                <a:gd name="T59" fmla="*/ 6350 h 26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93"/>
                <a:gd name="T91" fmla="*/ 0 h 268"/>
                <a:gd name="T92" fmla="*/ 193 w 193"/>
                <a:gd name="T93" fmla="*/ 268 h 26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93" h="268">
                  <a:moveTo>
                    <a:pt x="48" y="4"/>
                  </a:moveTo>
                  <a:lnTo>
                    <a:pt x="48" y="4"/>
                  </a:lnTo>
                  <a:lnTo>
                    <a:pt x="22" y="79"/>
                  </a:lnTo>
                  <a:lnTo>
                    <a:pt x="9" y="145"/>
                  </a:lnTo>
                  <a:lnTo>
                    <a:pt x="4" y="180"/>
                  </a:lnTo>
                  <a:lnTo>
                    <a:pt x="0" y="211"/>
                  </a:lnTo>
                  <a:lnTo>
                    <a:pt x="17" y="206"/>
                  </a:lnTo>
                  <a:lnTo>
                    <a:pt x="66" y="198"/>
                  </a:lnTo>
                  <a:lnTo>
                    <a:pt x="79" y="202"/>
                  </a:lnTo>
                  <a:lnTo>
                    <a:pt x="96" y="206"/>
                  </a:lnTo>
                  <a:lnTo>
                    <a:pt x="140" y="233"/>
                  </a:lnTo>
                  <a:lnTo>
                    <a:pt x="193" y="268"/>
                  </a:lnTo>
                  <a:lnTo>
                    <a:pt x="184" y="242"/>
                  </a:lnTo>
                  <a:lnTo>
                    <a:pt x="171" y="215"/>
                  </a:lnTo>
                  <a:lnTo>
                    <a:pt x="149" y="184"/>
                  </a:lnTo>
                  <a:lnTo>
                    <a:pt x="127" y="149"/>
                  </a:lnTo>
                  <a:lnTo>
                    <a:pt x="110" y="123"/>
                  </a:lnTo>
                  <a:lnTo>
                    <a:pt x="101" y="97"/>
                  </a:lnTo>
                  <a:lnTo>
                    <a:pt x="96" y="70"/>
                  </a:lnTo>
                  <a:lnTo>
                    <a:pt x="88" y="44"/>
                  </a:lnTo>
                  <a:lnTo>
                    <a:pt x="74" y="18"/>
                  </a:lnTo>
                  <a:lnTo>
                    <a:pt x="57" y="4"/>
                  </a:lnTo>
                  <a:lnTo>
                    <a:pt x="52" y="0"/>
                  </a:lnTo>
                  <a:lnTo>
                    <a:pt x="48" y="4"/>
                  </a:lnTo>
                  <a:close/>
                </a:path>
              </a:pathLst>
            </a:custGeom>
            <a:solidFill>
              <a:srgbClr val="E9E5E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68" name="Freeform 13"/>
            <p:cNvSpPr>
              <a:spLocks/>
            </p:cNvSpPr>
            <p:nvPr/>
          </p:nvSpPr>
          <p:spPr bwMode="auto">
            <a:xfrm>
              <a:off x="4721320" y="2830755"/>
              <a:ext cx="55045" cy="290977"/>
            </a:xfrm>
            <a:custGeom>
              <a:avLst/>
              <a:gdLst>
                <a:gd name="T0" fmla="*/ 42863 w 35"/>
                <a:gd name="T1" fmla="*/ 0 h 184"/>
                <a:gd name="T2" fmla="*/ 42863 w 35"/>
                <a:gd name="T3" fmla="*/ 0 h 184"/>
                <a:gd name="T4" fmla="*/ 20638 w 35"/>
                <a:gd name="T5" fmla="*/ 41275 h 184"/>
                <a:gd name="T6" fmla="*/ 7938 w 35"/>
                <a:gd name="T7" fmla="*/ 90487 h 184"/>
                <a:gd name="T8" fmla="*/ 0 w 35"/>
                <a:gd name="T9" fmla="*/ 139700 h 184"/>
                <a:gd name="T10" fmla="*/ 0 w 35"/>
                <a:gd name="T11" fmla="*/ 139700 h 184"/>
                <a:gd name="T12" fmla="*/ 7938 w 35"/>
                <a:gd name="T13" fmla="*/ 195262 h 184"/>
                <a:gd name="T14" fmla="*/ 28575 w 35"/>
                <a:gd name="T15" fmla="*/ 242888 h 184"/>
                <a:gd name="T16" fmla="*/ 49213 w 35"/>
                <a:gd name="T17" fmla="*/ 292100 h 184"/>
                <a:gd name="T18" fmla="*/ 49213 w 35"/>
                <a:gd name="T19" fmla="*/ 292100 h 184"/>
                <a:gd name="T20" fmla="*/ 55563 w 35"/>
                <a:gd name="T21" fmla="*/ 152400 h 184"/>
                <a:gd name="T22" fmla="*/ 55563 w 35"/>
                <a:gd name="T23" fmla="*/ 47625 h 184"/>
                <a:gd name="T24" fmla="*/ 49213 w 35"/>
                <a:gd name="T25" fmla="*/ 12700 h 184"/>
                <a:gd name="T26" fmla="*/ 42863 w 35"/>
                <a:gd name="T27" fmla="*/ 0 h 184"/>
                <a:gd name="T28" fmla="*/ 42863 w 35"/>
                <a:gd name="T29" fmla="*/ 0 h 18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5"/>
                <a:gd name="T46" fmla="*/ 0 h 184"/>
                <a:gd name="T47" fmla="*/ 35 w 35"/>
                <a:gd name="T48" fmla="*/ 184 h 18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5" h="184">
                  <a:moveTo>
                    <a:pt x="27" y="0"/>
                  </a:moveTo>
                  <a:lnTo>
                    <a:pt x="27" y="0"/>
                  </a:lnTo>
                  <a:lnTo>
                    <a:pt x="13" y="26"/>
                  </a:lnTo>
                  <a:lnTo>
                    <a:pt x="5" y="57"/>
                  </a:lnTo>
                  <a:lnTo>
                    <a:pt x="0" y="88"/>
                  </a:lnTo>
                  <a:lnTo>
                    <a:pt x="5" y="123"/>
                  </a:lnTo>
                  <a:lnTo>
                    <a:pt x="18" y="153"/>
                  </a:lnTo>
                  <a:lnTo>
                    <a:pt x="31" y="184"/>
                  </a:lnTo>
                  <a:lnTo>
                    <a:pt x="35" y="96"/>
                  </a:lnTo>
                  <a:lnTo>
                    <a:pt x="35" y="30"/>
                  </a:lnTo>
                  <a:lnTo>
                    <a:pt x="31" y="8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B9783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69" name="Freeform 19"/>
            <p:cNvSpPr>
              <a:spLocks/>
            </p:cNvSpPr>
            <p:nvPr/>
          </p:nvSpPr>
          <p:spPr bwMode="auto">
            <a:xfrm>
              <a:off x="5138103" y="3365518"/>
              <a:ext cx="39322" cy="47185"/>
            </a:xfrm>
            <a:custGeom>
              <a:avLst/>
              <a:gdLst>
                <a:gd name="T0" fmla="*/ 0 w 22"/>
                <a:gd name="T1" fmla="*/ 0 h 31"/>
                <a:gd name="T2" fmla="*/ 0 w 22"/>
                <a:gd name="T3" fmla="*/ 0 h 31"/>
                <a:gd name="T4" fmla="*/ 14288 w 22"/>
                <a:gd name="T5" fmla="*/ 14287 h 31"/>
                <a:gd name="T6" fmla="*/ 20637 w 22"/>
                <a:gd name="T7" fmla="*/ 26987 h 31"/>
                <a:gd name="T8" fmla="*/ 20637 w 22"/>
                <a:gd name="T9" fmla="*/ 49212 h 31"/>
                <a:gd name="T10" fmla="*/ 20637 w 22"/>
                <a:gd name="T11" fmla="*/ 49212 h 31"/>
                <a:gd name="T12" fmla="*/ 26988 w 22"/>
                <a:gd name="T13" fmla="*/ 41275 h 31"/>
                <a:gd name="T14" fmla="*/ 34925 w 22"/>
                <a:gd name="T15" fmla="*/ 26987 h 31"/>
                <a:gd name="T16" fmla="*/ 34925 w 22"/>
                <a:gd name="T17" fmla="*/ 14287 h 31"/>
                <a:gd name="T18" fmla="*/ 26988 w 22"/>
                <a:gd name="T19" fmla="*/ 6350 h 31"/>
                <a:gd name="T20" fmla="*/ 20637 w 22"/>
                <a:gd name="T21" fmla="*/ 0 h 31"/>
                <a:gd name="T22" fmla="*/ 0 w 22"/>
                <a:gd name="T23" fmla="*/ 0 h 31"/>
                <a:gd name="T24" fmla="*/ 0 w 22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"/>
                <a:gd name="T40" fmla="*/ 0 h 31"/>
                <a:gd name="T41" fmla="*/ 22 w 22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" h="31">
                  <a:moveTo>
                    <a:pt x="0" y="0"/>
                  </a:moveTo>
                  <a:lnTo>
                    <a:pt x="0" y="0"/>
                  </a:lnTo>
                  <a:lnTo>
                    <a:pt x="9" y="9"/>
                  </a:lnTo>
                  <a:lnTo>
                    <a:pt x="13" y="17"/>
                  </a:lnTo>
                  <a:lnTo>
                    <a:pt x="13" y="31"/>
                  </a:lnTo>
                  <a:lnTo>
                    <a:pt x="17" y="26"/>
                  </a:lnTo>
                  <a:lnTo>
                    <a:pt x="22" y="17"/>
                  </a:lnTo>
                  <a:lnTo>
                    <a:pt x="22" y="9"/>
                  </a:lnTo>
                  <a:lnTo>
                    <a:pt x="17" y="4"/>
                  </a:lnTo>
                  <a:lnTo>
                    <a:pt x="1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E976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70" name="Freeform 24"/>
            <p:cNvSpPr>
              <a:spLocks/>
            </p:cNvSpPr>
            <p:nvPr/>
          </p:nvSpPr>
          <p:spPr bwMode="auto">
            <a:xfrm>
              <a:off x="5083058" y="3129593"/>
              <a:ext cx="196594" cy="55052"/>
            </a:xfrm>
            <a:custGeom>
              <a:avLst/>
              <a:gdLst>
                <a:gd name="T0" fmla="*/ 0 w 123"/>
                <a:gd name="T1" fmla="*/ 0 h 35"/>
                <a:gd name="T2" fmla="*/ 0 w 123"/>
                <a:gd name="T3" fmla="*/ 0 h 35"/>
                <a:gd name="T4" fmla="*/ 20638 w 123"/>
                <a:gd name="T5" fmla="*/ 12700 h 35"/>
                <a:gd name="T6" fmla="*/ 55563 w 123"/>
                <a:gd name="T7" fmla="*/ 26987 h 35"/>
                <a:gd name="T8" fmla="*/ 82550 w 123"/>
                <a:gd name="T9" fmla="*/ 34925 h 35"/>
                <a:gd name="T10" fmla="*/ 117475 w 123"/>
                <a:gd name="T11" fmla="*/ 34925 h 35"/>
                <a:gd name="T12" fmla="*/ 152400 w 123"/>
                <a:gd name="T13" fmla="*/ 20637 h 35"/>
                <a:gd name="T14" fmla="*/ 195263 w 123"/>
                <a:gd name="T15" fmla="*/ 0 h 35"/>
                <a:gd name="T16" fmla="*/ 195263 w 123"/>
                <a:gd name="T17" fmla="*/ 0 h 35"/>
                <a:gd name="T18" fmla="*/ 180975 w 123"/>
                <a:gd name="T19" fmla="*/ 12700 h 35"/>
                <a:gd name="T20" fmla="*/ 160338 w 123"/>
                <a:gd name="T21" fmla="*/ 34925 h 35"/>
                <a:gd name="T22" fmla="*/ 138113 w 123"/>
                <a:gd name="T23" fmla="*/ 47625 h 35"/>
                <a:gd name="T24" fmla="*/ 104775 w 123"/>
                <a:gd name="T25" fmla="*/ 55562 h 35"/>
                <a:gd name="T26" fmla="*/ 76200 w 123"/>
                <a:gd name="T27" fmla="*/ 55562 h 35"/>
                <a:gd name="T28" fmla="*/ 41275 w 123"/>
                <a:gd name="T29" fmla="*/ 34925 h 35"/>
                <a:gd name="T30" fmla="*/ 0 w 123"/>
                <a:gd name="T31" fmla="*/ 0 h 35"/>
                <a:gd name="T32" fmla="*/ 0 w 123"/>
                <a:gd name="T33" fmla="*/ 0 h 3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23"/>
                <a:gd name="T52" fmla="*/ 0 h 35"/>
                <a:gd name="T53" fmla="*/ 123 w 123"/>
                <a:gd name="T54" fmla="*/ 35 h 3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23" h="35">
                  <a:moveTo>
                    <a:pt x="0" y="0"/>
                  </a:moveTo>
                  <a:lnTo>
                    <a:pt x="0" y="0"/>
                  </a:lnTo>
                  <a:lnTo>
                    <a:pt x="13" y="8"/>
                  </a:lnTo>
                  <a:lnTo>
                    <a:pt x="35" y="17"/>
                  </a:lnTo>
                  <a:lnTo>
                    <a:pt x="52" y="22"/>
                  </a:lnTo>
                  <a:lnTo>
                    <a:pt x="74" y="22"/>
                  </a:lnTo>
                  <a:lnTo>
                    <a:pt x="96" y="13"/>
                  </a:lnTo>
                  <a:lnTo>
                    <a:pt x="123" y="0"/>
                  </a:lnTo>
                  <a:lnTo>
                    <a:pt x="114" y="8"/>
                  </a:lnTo>
                  <a:lnTo>
                    <a:pt x="101" y="22"/>
                  </a:lnTo>
                  <a:lnTo>
                    <a:pt x="87" y="30"/>
                  </a:lnTo>
                  <a:lnTo>
                    <a:pt x="66" y="35"/>
                  </a:lnTo>
                  <a:lnTo>
                    <a:pt x="48" y="35"/>
                  </a:lnTo>
                  <a:lnTo>
                    <a:pt x="26" y="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grpSp>
          <p:nvGrpSpPr>
            <p:cNvPr id="171" name="Gruppe 88"/>
            <p:cNvGrpSpPr/>
            <p:nvPr/>
          </p:nvGrpSpPr>
          <p:grpSpPr>
            <a:xfrm>
              <a:off x="4695825" y="2516188"/>
              <a:ext cx="793750" cy="1430337"/>
              <a:chOff x="4695825" y="2516188"/>
              <a:chExt cx="793750" cy="1430337"/>
            </a:xfrm>
            <a:solidFill>
              <a:srgbClr val="D7D8D9">
                <a:lumMod val="50000"/>
              </a:srgbClr>
            </a:solidFill>
          </p:grpSpPr>
          <p:sp>
            <p:nvSpPr>
              <p:cNvPr id="201" name="Freeform 12"/>
              <p:cNvSpPr>
                <a:spLocks/>
              </p:cNvSpPr>
              <p:nvPr/>
            </p:nvSpPr>
            <p:spPr bwMode="auto">
              <a:xfrm>
                <a:off x="4695825" y="2544763"/>
                <a:ext cx="320675" cy="746125"/>
              </a:xfrm>
              <a:custGeom>
                <a:avLst/>
                <a:gdLst/>
                <a:ahLst/>
                <a:cxnLst>
                  <a:cxn ang="0">
                    <a:pos x="197" y="0"/>
                  </a:cxn>
                  <a:cxn ang="0">
                    <a:pos x="197" y="0"/>
                  </a:cxn>
                  <a:cxn ang="0">
                    <a:pos x="180" y="4"/>
                  </a:cxn>
                  <a:cxn ang="0">
                    <a:pos x="136" y="17"/>
                  </a:cxn>
                  <a:cxn ang="0">
                    <a:pos x="105" y="26"/>
                  </a:cxn>
                  <a:cxn ang="0">
                    <a:pos x="79" y="43"/>
                  </a:cxn>
                  <a:cxn ang="0">
                    <a:pos x="52" y="70"/>
                  </a:cxn>
                  <a:cxn ang="0">
                    <a:pos x="30" y="96"/>
                  </a:cxn>
                  <a:cxn ang="0">
                    <a:pos x="30" y="96"/>
                  </a:cxn>
                  <a:cxn ang="0">
                    <a:pos x="13" y="131"/>
                  </a:cxn>
                  <a:cxn ang="0">
                    <a:pos x="4" y="171"/>
                  </a:cxn>
                  <a:cxn ang="0">
                    <a:pos x="0" y="206"/>
                  </a:cxn>
                  <a:cxn ang="0">
                    <a:pos x="4" y="241"/>
                  </a:cxn>
                  <a:cxn ang="0">
                    <a:pos x="9" y="276"/>
                  </a:cxn>
                  <a:cxn ang="0">
                    <a:pos x="17" y="307"/>
                  </a:cxn>
                  <a:cxn ang="0">
                    <a:pos x="35" y="369"/>
                  </a:cxn>
                  <a:cxn ang="0">
                    <a:pos x="35" y="369"/>
                  </a:cxn>
                  <a:cxn ang="0">
                    <a:pos x="61" y="443"/>
                  </a:cxn>
                  <a:cxn ang="0">
                    <a:pos x="74" y="470"/>
                  </a:cxn>
                  <a:cxn ang="0">
                    <a:pos x="74" y="470"/>
                  </a:cxn>
                  <a:cxn ang="0">
                    <a:pos x="96" y="329"/>
                  </a:cxn>
                  <a:cxn ang="0">
                    <a:pos x="114" y="219"/>
                  </a:cxn>
                  <a:cxn ang="0">
                    <a:pos x="123" y="180"/>
                  </a:cxn>
                  <a:cxn ang="0">
                    <a:pos x="136" y="153"/>
                  </a:cxn>
                  <a:cxn ang="0">
                    <a:pos x="136" y="153"/>
                  </a:cxn>
                  <a:cxn ang="0">
                    <a:pos x="162" y="118"/>
                  </a:cxn>
                  <a:cxn ang="0">
                    <a:pos x="189" y="74"/>
                  </a:cxn>
                  <a:cxn ang="0">
                    <a:pos x="197" y="52"/>
                  </a:cxn>
                  <a:cxn ang="0">
                    <a:pos x="202" y="30"/>
                  </a:cxn>
                  <a:cxn ang="0">
                    <a:pos x="202" y="13"/>
                  </a:cxn>
                  <a:cxn ang="0">
                    <a:pos x="197" y="0"/>
                  </a:cxn>
                  <a:cxn ang="0">
                    <a:pos x="197" y="0"/>
                  </a:cxn>
                </a:cxnLst>
                <a:rect l="0" t="0" r="r" b="b"/>
                <a:pathLst>
                  <a:path w="202" h="470">
                    <a:moveTo>
                      <a:pt x="197" y="0"/>
                    </a:moveTo>
                    <a:lnTo>
                      <a:pt x="197" y="0"/>
                    </a:lnTo>
                    <a:lnTo>
                      <a:pt x="180" y="4"/>
                    </a:lnTo>
                    <a:lnTo>
                      <a:pt x="136" y="17"/>
                    </a:lnTo>
                    <a:lnTo>
                      <a:pt x="105" y="26"/>
                    </a:lnTo>
                    <a:lnTo>
                      <a:pt x="79" y="43"/>
                    </a:lnTo>
                    <a:lnTo>
                      <a:pt x="52" y="70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13" y="131"/>
                    </a:lnTo>
                    <a:lnTo>
                      <a:pt x="4" y="171"/>
                    </a:lnTo>
                    <a:lnTo>
                      <a:pt x="0" y="206"/>
                    </a:lnTo>
                    <a:lnTo>
                      <a:pt x="4" y="241"/>
                    </a:lnTo>
                    <a:lnTo>
                      <a:pt x="9" y="276"/>
                    </a:lnTo>
                    <a:lnTo>
                      <a:pt x="17" y="307"/>
                    </a:lnTo>
                    <a:lnTo>
                      <a:pt x="35" y="369"/>
                    </a:lnTo>
                    <a:lnTo>
                      <a:pt x="35" y="369"/>
                    </a:lnTo>
                    <a:lnTo>
                      <a:pt x="61" y="443"/>
                    </a:lnTo>
                    <a:lnTo>
                      <a:pt x="74" y="470"/>
                    </a:lnTo>
                    <a:lnTo>
                      <a:pt x="74" y="470"/>
                    </a:lnTo>
                    <a:lnTo>
                      <a:pt x="96" y="329"/>
                    </a:lnTo>
                    <a:lnTo>
                      <a:pt x="114" y="219"/>
                    </a:lnTo>
                    <a:lnTo>
                      <a:pt x="123" y="180"/>
                    </a:lnTo>
                    <a:lnTo>
                      <a:pt x="136" y="153"/>
                    </a:lnTo>
                    <a:lnTo>
                      <a:pt x="136" y="153"/>
                    </a:lnTo>
                    <a:lnTo>
                      <a:pt x="162" y="118"/>
                    </a:lnTo>
                    <a:lnTo>
                      <a:pt x="189" y="74"/>
                    </a:lnTo>
                    <a:lnTo>
                      <a:pt x="197" y="52"/>
                    </a:lnTo>
                    <a:lnTo>
                      <a:pt x="202" y="30"/>
                    </a:lnTo>
                    <a:lnTo>
                      <a:pt x="202" y="13"/>
                    </a:lnTo>
                    <a:lnTo>
                      <a:pt x="197" y="0"/>
                    </a:lnTo>
                    <a:lnTo>
                      <a:pt x="197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02" name="Freeform 14"/>
              <p:cNvSpPr>
                <a:spLocks/>
              </p:cNvSpPr>
              <p:nvPr/>
            </p:nvSpPr>
            <p:spPr bwMode="auto">
              <a:xfrm>
                <a:off x="4953000" y="3101975"/>
                <a:ext cx="536575" cy="844550"/>
              </a:xfrm>
              <a:custGeom>
                <a:avLst/>
                <a:gdLst/>
                <a:ahLst/>
                <a:cxnLst>
                  <a:cxn ang="0">
                    <a:pos x="5" y="294"/>
                  </a:cxn>
                  <a:cxn ang="0">
                    <a:pos x="5" y="294"/>
                  </a:cxn>
                  <a:cxn ang="0">
                    <a:pos x="13" y="334"/>
                  </a:cxn>
                  <a:cxn ang="0">
                    <a:pos x="31" y="369"/>
                  </a:cxn>
                  <a:cxn ang="0">
                    <a:pos x="53" y="409"/>
                  </a:cxn>
                  <a:cxn ang="0">
                    <a:pos x="53" y="409"/>
                  </a:cxn>
                  <a:cxn ang="0">
                    <a:pos x="79" y="448"/>
                  </a:cxn>
                  <a:cxn ang="0">
                    <a:pos x="101" y="492"/>
                  </a:cxn>
                  <a:cxn ang="0">
                    <a:pos x="119" y="532"/>
                  </a:cxn>
                  <a:cxn ang="0">
                    <a:pos x="119" y="532"/>
                  </a:cxn>
                  <a:cxn ang="0">
                    <a:pos x="171" y="492"/>
                  </a:cxn>
                  <a:cxn ang="0">
                    <a:pos x="220" y="452"/>
                  </a:cxn>
                  <a:cxn ang="0">
                    <a:pos x="264" y="413"/>
                  </a:cxn>
                  <a:cxn ang="0">
                    <a:pos x="264" y="413"/>
                  </a:cxn>
                  <a:cxn ang="0">
                    <a:pos x="281" y="387"/>
                  </a:cxn>
                  <a:cxn ang="0">
                    <a:pos x="299" y="360"/>
                  </a:cxn>
                  <a:cxn ang="0">
                    <a:pos x="321" y="299"/>
                  </a:cxn>
                  <a:cxn ang="0">
                    <a:pos x="338" y="242"/>
                  </a:cxn>
                  <a:cxn ang="0">
                    <a:pos x="338" y="220"/>
                  </a:cxn>
                  <a:cxn ang="0">
                    <a:pos x="338" y="202"/>
                  </a:cxn>
                  <a:cxn ang="0">
                    <a:pos x="338" y="202"/>
                  </a:cxn>
                  <a:cxn ang="0">
                    <a:pos x="330" y="176"/>
                  </a:cxn>
                  <a:cxn ang="0">
                    <a:pos x="312" y="141"/>
                  </a:cxn>
                  <a:cxn ang="0">
                    <a:pos x="294" y="101"/>
                  </a:cxn>
                  <a:cxn ang="0">
                    <a:pos x="290" y="79"/>
                  </a:cxn>
                  <a:cxn ang="0">
                    <a:pos x="286" y="61"/>
                  </a:cxn>
                  <a:cxn ang="0">
                    <a:pos x="286" y="61"/>
                  </a:cxn>
                  <a:cxn ang="0">
                    <a:pos x="281" y="44"/>
                  </a:cxn>
                  <a:cxn ang="0">
                    <a:pos x="272" y="26"/>
                  </a:cxn>
                  <a:cxn ang="0">
                    <a:pos x="255" y="18"/>
                  </a:cxn>
                  <a:cxn ang="0">
                    <a:pos x="237" y="9"/>
                  </a:cxn>
                  <a:cxn ang="0">
                    <a:pos x="220" y="0"/>
                  </a:cxn>
                  <a:cxn ang="0">
                    <a:pos x="202" y="0"/>
                  </a:cxn>
                  <a:cxn ang="0">
                    <a:pos x="185" y="0"/>
                  </a:cxn>
                  <a:cxn ang="0">
                    <a:pos x="176" y="4"/>
                  </a:cxn>
                  <a:cxn ang="0">
                    <a:pos x="176" y="4"/>
                  </a:cxn>
                  <a:cxn ang="0">
                    <a:pos x="158" y="18"/>
                  </a:cxn>
                  <a:cxn ang="0">
                    <a:pos x="136" y="44"/>
                  </a:cxn>
                  <a:cxn ang="0">
                    <a:pos x="106" y="83"/>
                  </a:cxn>
                  <a:cxn ang="0">
                    <a:pos x="70" y="127"/>
                  </a:cxn>
                  <a:cxn ang="0">
                    <a:pos x="40" y="176"/>
                  </a:cxn>
                  <a:cxn ang="0">
                    <a:pos x="18" y="224"/>
                  </a:cxn>
                  <a:cxn ang="0">
                    <a:pos x="9" y="242"/>
                  </a:cxn>
                  <a:cxn ang="0">
                    <a:pos x="5" y="264"/>
                  </a:cxn>
                  <a:cxn ang="0">
                    <a:pos x="0" y="281"/>
                  </a:cxn>
                  <a:cxn ang="0">
                    <a:pos x="5" y="294"/>
                  </a:cxn>
                  <a:cxn ang="0">
                    <a:pos x="5" y="294"/>
                  </a:cxn>
                </a:cxnLst>
                <a:rect l="0" t="0" r="r" b="b"/>
                <a:pathLst>
                  <a:path w="338" h="532">
                    <a:moveTo>
                      <a:pt x="5" y="294"/>
                    </a:moveTo>
                    <a:lnTo>
                      <a:pt x="5" y="294"/>
                    </a:lnTo>
                    <a:lnTo>
                      <a:pt x="13" y="334"/>
                    </a:lnTo>
                    <a:lnTo>
                      <a:pt x="31" y="369"/>
                    </a:lnTo>
                    <a:lnTo>
                      <a:pt x="53" y="409"/>
                    </a:lnTo>
                    <a:lnTo>
                      <a:pt x="53" y="409"/>
                    </a:lnTo>
                    <a:lnTo>
                      <a:pt x="79" y="448"/>
                    </a:lnTo>
                    <a:lnTo>
                      <a:pt x="101" y="492"/>
                    </a:lnTo>
                    <a:lnTo>
                      <a:pt x="119" y="532"/>
                    </a:lnTo>
                    <a:lnTo>
                      <a:pt x="119" y="532"/>
                    </a:lnTo>
                    <a:lnTo>
                      <a:pt x="171" y="492"/>
                    </a:lnTo>
                    <a:lnTo>
                      <a:pt x="220" y="452"/>
                    </a:lnTo>
                    <a:lnTo>
                      <a:pt x="264" y="413"/>
                    </a:lnTo>
                    <a:lnTo>
                      <a:pt x="264" y="413"/>
                    </a:lnTo>
                    <a:lnTo>
                      <a:pt x="281" y="387"/>
                    </a:lnTo>
                    <a:lnTo>
                      <a:pt x="299" y="360"/>
                    </a:lnTo>
                    <a:lnTo>
                      <a:pt x="321" y="299"/>
                    </a:lnTo>
                    <a:lnTo>
                      <a:pt x="338" y="242"/>
                    </a:lnTo>
                    <a:lnTo>
                      <a:pt x="338" y="220"/>
                    </a:lnTo>
                    <a:lnTo>
                      <a:pt x="338" y="202"/>
                    </a:lnTo>
                    <a:lnTo>
                      <a:pt x="338" y="202"/>
                    </a:lnTo>
                    <a:lnTo>
                      <a:pt x="330" y="176"/>
                    </a:lnTo>
                    <a:lnTo>
                      <a:pt x="312" y="141"/>
                    </a:lnTo>
                    <a:lnTo>
                      <a:pt x="294" y="101"/>
                    </a:lnTo>
                    <a:lnTo>
                      <a:pt x="290" y="79"/>
                    </a:lnTo>
                    <a:lnTo>
                      <a:pt x="286" y="61"/>
                    </a:lnTo>
                    <a:lnTo>
                      <a:pt x="286" y="61"/>
                    </a:lnTo>
                    <a:lnTo>
                      <a:pt x="281" y="44"/>
                    </a:lnTo>
                    <a:lnTo>
                      <a:pt x="272" y="26"/>
                    </a:lnTo>
                    <a:lnTo>
                      <a:pt x="255" y="18"/>
                    </a:lnTo>
                    <a:lnTo>
                      <a:pt x="237" y="9"/>
                    </a:lnTo>
                    <a:lnTo>
                      <a:pt x="220" y="0"/>
                    </a:lnTo>
                    <a:lnTo>
                      <a:pt x="202" y="0"/>
                    </a:lnTo>
                    <a:lnTo>
                      <a:pt x="185" y="0"/>
                    </a:lnTo>
                    <a:lnTo>
                      <a:pt x="176" y="4"/>
                    </a:lnTo>
                    <a:lnTo>
                      <a:pt x="176" y="4"/>
                    </a:lnTo>
                    <a:lnTo>
                      <a:pt x="158" y="18"/>
                    </a:lnTo>
                    <a:lnTo>
                      <a:pt x="136" y="44"/>
                    </a:lnTo>
                    <a:lnTo>
                      <a:pt x="106" y="83"/>
                    </a:lnTo>
                    <a:lnTo>
                      <a:pt x="70" y="127"/>
                    </a:lnTo>
                    <a:lnTo>
                      <a:pt x="40" y="176"/>
                    </a:lnTo>
                    <a:lnTo>
                      <a:pt x="18" y="224"/>
                    </a:lnTo>
                    <a:lnTo>
                      <a:pt x="9" y="242"/>
                    </a:lnTo>
                    <a:lnTo>
                      <a:pt x="5" y="264"/>
                    </a:lnTo>
                    <a:lnTo>
                      <a:pt x="0" y="281"/>
                    </a:lnTo>
                    <a:lnTo>
                      <a:pt x="5" y="294"/>
                    </a:lnTo>
                    <a:lnTo>
                      <a:pt x="5" y="29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03" name="Freeform 15"/>
              <p:cNvSpPr>
                <a:spLocks/>
              </p:cNvSpPr>
              <p:nvPr/>
            </p:nvSpPr>
            <p:spPr bwMode="auto">
              <a:xfrm>
                <a:off x="5384800" y="3003550"/>
                <a:ext cx="104775" cy="273050"/>
              </a:xfrm>
              <a:custGeom>
                <a:avLst/>
                <a:gdLst/>
                <a:ahLst/>
                <a:cxnLst>
                  <a:cxn ang="0">
                    <a:pos x="0" y="115"/>
                  </a:cxn>
                  <a:cxn ang="0">
                    <a:pos x="0" y="115"/>
                  </a:cxn>
                  <a:cxn ang="0">
                    <a:pos x="9" y="75"/>
                  </a:cxn>
                  <a:cxn ang="0">
                    <a:pos x="18" y="40"/>
                  </a:cxn>
                  <a:cxn ang="0">
                    <a:pos x="27" y="22"/>
                  </a:cxn>
                  <a:cxn ang="0">
                    <a:pos x="36" y="9"/>
                  </a:cxn>
                  <a:cxn ang="0">
                    <a:pos x="36" y="9"/>
                  </a:cxn>
                  <a:cxn ang="0">
                    <a:pos x="44" y="0"/>
                  </a:cxn>
                  <a:cxn ang="0">
                    <a:pos x="53" y="0"/>
                  </a:cxn>
                  <a:cxn ang="0">
                    <a:pos x="62" y="0"/>
                  </a:cxn>
                  <a:cxn ang="0">
                    <a:pos x="66" y="9"/>
                  </a:cxn>
                  <a:cxn ang="0">
                    <a:pos x="66" y="18"/>
                  </a:cxn>
                  <a:cxn ang="0">
                    <a:pos x="66" y="31"/>
                  </a:cxn>
                  <a:cxn ang="0">
                    <a:pos x="62" y="66"/>
                  </a:cxn>
                  <a:cxn ang="0">
                    <a:pos x="62" y="66"/>
                  </a:cxn>
                  <a:cxn ang="0">
                    <a:pos x="44" y="115"/>
                  </a:cxn>
                  <a:cxn ang="0">
                    <a:pos x="40" y="128"/>
                  </a:cxn>
                  <a:cxn ang="0">
                    <a:pos x="40" y="141"/>
                  </a:cxn>
                  <a:cxn ang="0">
                    <a:pos x="40" y="141"/>
                  </a:cxn>
                  <a:cxn ang="0">
                    <a:pos x="31" y="159"/>
                  </a:cxn>
                  <a:cxn ang="0">
                    <a:pos x="27" y="167"/>
                  </a:cxn>
                  <a:cxn ang="0">
                    <a:pos x="18" y="172"/>
                  </a:cxn>
                  <a:cxn ang="0">
                    <a:pos x="14" y="167"/>
                  </a:cxn>
                  <a:cxn ang="0">
                    <a:pos x="9" y="163"/>
                  </a:cxn>
                  <a:cxn ang="0">
                    <a:pos x="5" y="145"/>
                  </a:cxn>
                  <a:cxn ang="0">
                    <a:pos x="0" y="115"/>
                  </a:cxn>
                  <a:cxn ang="0">
                    <a:pos x="0" y="115"/>
                  </a:cxn>
                </a:cxnLst>
                <a:rect l="0" t="0" r="r" b="b"/>
                <a:pathLst>
                  <a:path w="66" h="172">
                    <a:moveTo>
                      <a:pt x="0" y="115"/>
                    </a:moveTo>
                    <a:lnTo>
                      <a:pt x="0" y="115"/>
                    </a:lnTo>
                    <a:lnTo>
                      <a:pt x="9" y="75"/>
                    </a:lnTo>
                    <a:lnTo>
                      <a:pt x="18" y="40"/>
                    </a:lnTo>
                    <a:lnTo>
                      <a:pt x="27" y="22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44" y="0"/>
                    </a:lnTo>
                    <a:lnTo>
                      <a:pt x="53" y="0"/>
                    </a:lnTo>
                    <a:lnTo>
                      <a:pt x="62" y="0"/>
                    </a:lnTo>
                    <a:lnTo>
                      <a:pt x="66" y="9"/>
                    </a:lnTo>
                    <a:lnTo>
                      <a:pt x="66" y="18"/>
                    </a:lnTo>
                    <a:lnTo>
                      <a:pt x="66" y="31"/>
                    </a:lnTo>
                    <a:lnTo>
                      <a:pt x="62" y="66"/>
                    </a:lnTo>
                    <a:lnTo>
                      <a:pt x="62" y="66"/>
                    </a:lnTo>
                    <a:lnTo>
                      <a:pt x="44" y="115"/>
                    </a:lnTo>
                    <a:lnTo>
                      <a:pt x="40" y="128"/>
                    </a:lnTo>
                    <a:lnTo>
                      <a:pt x="40" y="141"/>
                    </a:lnTo>
                    <a:lnTo>
                      <a:pt x="40" y="141"/>
                    </a:lnTo>
                    <a:lnTo>
                      <a:pt x="31" y="159"/>
                    </a:lnTo>
                    <a:lnTo>
                      <a:pt x="27" y="167"/>
                    </a:lnTo>
                    <a:lnTo>
                      <a:pt x="18" y="172"/>
                    </a:lnTo>
                    <a:lnTo>
                      <a:pt x="14" y="167"/>
                    </a:lnTo>
                    <a:lnTo>
                      <a:pt x="9" y="163"/>
                    </a:lnTo>
                    <a:lnTo>
                      <a:pt x="5" y="145"/>
                    </a:lnTo>
                    <a:lnTo>
                      <a:pt x="0" y="115"/>
                    </a:lnTo>
                    <a:lnTo>
                      <a:pt x="0" y="11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04" name="Freeform 16"/>
              <p:cNvSpPr>
                <a:spLocks/>
              </p:cNvSpPr>
              <p:nvPr/>
            </p:nvSpPr>
            <p:spPr bwMode="auto">
              <a:xfrm>
                <a:off x="4946650" y="3262313"/>
                <a:ext cx="425450" cy="495300"/>
              </a:xfrm>
              <a:custGeom>
                <a:avLst/>
                <a:gdLst/>
                <a:ahLst/>
                <a:cxnLst>
                  <a:cxn ang="0">
                    <a:pos x="4" y="206"/>
                  </a:cxn>
                  <a:cxn ang="0">
                    <a:pos x="4" y="206"/>
                  </a:cxn>
                  <a:cxn ang="0">
                    <a:pos x="9" y="224"/>
                  </a:cxn>
                  <a:cxn ang="0">
                    <a:pos x="31" y="255"/>
                  </a:cxn>
                  <a:cxn ang="0">
                    <a:pos x="44" y="272"/>
                  </a:cxn>
                  <a:cxn ang="0">
                    <a:pos x="61" y="290"/>
                  </a:cxn>
                  <a:cxn ang="0">
                    <a:pos x="83" y="303"/>
                  </a:cxn>
                  <a:cxn ang="0">
                    <a:pos x="105" y="312"/>
                  </a:cxn>
                  <a:cxn ang="0">
                    <a:pos x="105" y="312"/>
                  </a:cxn>
                  <a:cxn ang="0">
                    <a:pos x="114" y="312"/>
                  </a:cxn>
                  <a:cxn ang="0">
                    <a:pos x="127" y="312"/>
                  </a:cxn>
                  <a:cxn ang="0">
                    <a:pos x="158" y="294"/>
                  </a:cxn>
                  <a:cxn ang="0">
                    <a:pos x="184" y="268"/>
                  </a:cxn>
                  <a:cxn ang="0">
                    <a:pos x="211" y="233"/>
                  </a:cxn>
                  <a:cxn ang="0">
                    <a:pos x="233" y="193"/>
                  </a:cxn>
                  <a:cxn ang="0">
                    <a:pos x="255" y="145"/>
                  </a:cxn>
                  <a:cxn ang="0">
                    <a:pos x="263" y="97"/>
                  </a:cxn>
                  <a:cxn ang="0">
                    <a:pos x="268" y="48"/>
                  </a:cxn>
                  <a:cxn ang="0">
                    <a:pos x="268" y="48"/>
                  </a:cxn>
                  <a:cxn ang="0">
                    <a:pos x="263" y="26"/>
                  </a:cxn>
                  <a:cxn ang="0">
                    <a:pos x="255" y="13"/>
                  </a:cxn>
                  <a:cxn ang="0">
                    <a:pos x="241" y="4"/>
                  </a:cxn>
                  <a:cxn ang="0">
                    <a:pos x="224" y="0"/>
                  </a:cxn>
                  <a:cxn ang="0">
                    <a:pos x="202" y="0"/>
                  </a:cxn>
                  <a:cxn ang="0">
                    <a:pos x="175" y="9"/>
                  </a:cxn>
                  <a:cxn ang="0">
                    <a:pos x="149" y="18"/>
                  </a:cxn>
                  <a:cxn ang="0">
                    <a:pos x="127" y="31"/>
                  </a:cxn>
                  <a:cxn ang="0">
                    <a:pos x="101" y="48"/>
                  </a:cxn>
                  <a:cxn ang="0">
                    <a:pos x="74" y="66"/>
                  </a:cxn>
                  <a:cxn ang="0">
                    <a:pos x="53" y="88"/>
                  </a:cxn>
                  <a:cxn ang="0">
                    <a:pos x="35" y="110"/>
                  </a:cxn>
                  <a:cxn ang="0">
                    <a:pos x="17" y="136"/>
                  </a:cxn>
                  <a:cxn ang="0">
                    <a:pos x="9" y="158"/>
                  </a:cxn>
                  <a:cxn ang="0">
                    <a:pos x="0" y="185"/>
                  </a:cxn>
                  <a:cxn ang="0">
                    <a:pos x="4" y="206"/>
                  </a:cxn>
                  <a:cxn ang="0">
                    <a:pos x="4" y="206"/>
                  </a:cxn>
                </a:cxnLst>
                <a:rect l="0" t="0" r="r" b="b"/>
                <a:pathLst>
                  <a:path w="268" h="312">
                    <a:moveTo>
                      <a:pt x="4" y="206"/>
                    </a:moveTo>
                    <a:lnTo>
                      <a:pt x="4" y="206"/>
                    </a:lnTo>
                    <a:lnTo>
                      <a:pt x="9" y="224"/>
                    </a:lnTo>
                    <a:lnTo>
                      <a:pt x="31" y="255"/>
                    </a:lnTo>
                    <a:lnTo>
                      <a:pt x="44" y="272"/>
                    </a:lnTo>
                    <a:lnTo>
                      <a:pt x="61" y="290"/>
                    </a:lnTo>
                    <a:lnTo>
                      <a:pt x="83" y="303"/>
                    </a:lnTo>
                    <a:lnTo>
                      <a:pt x="105" y="312"/>
                    </a:lnTo>
                    <a:lnTo>
                      <a:pt x="105" y="312"/>
                    </a:lnTo>
                    <a:lnTo>
                      <a:pt x="114" y="312"/>
                    </a:lnTo>
                    <a:lnTo>
                      <a:pt x="127" y="312"/>
                    </a:lnTo>
                    <a:lnTo>
                      <a:pt x="158" y="294"/>
                    </a:lnTo>
                    <a:lnTo>
                      <a:pt x="184" y="268"/>
                    </a:lnTo>
                    <a:lnTo>
                      <a:pt x="211" y="233"/>
                    </a:lnTo>
                    <a:lnTo>
                      <a:pt x="233" y="193"/>
                    </a:lnTo>
                    <a:lnTo>
                      <a:pt x="255" y="145"/>
                    </a:lnTo>
                    <a:lnTo>
                      <a:pt x="263" y="97"/>
                    </a:lnTo>
                    <a:lnTo>
                      <a:pt x="268" y="48"/>
                    </a:lnTo>
                    <a:lnTo>
                      <a:pt x="268" y="48"/>
                    </a:lnTo>
                    <a:lnTo>
                      <a:pt x="263" y="26"/>
                    </a:lnTo>
                    <a:lnTo>
                      <a:pt x="255" y="13"/>
                    </a:lnTo>
                    <a:lnTo>
                      <a:pt x="241" y="4"/>
                    </a:lnTo>
                    <a:lnTo>
                      <a:pt x="224" y="0"/>
                    </a:lnTo>
                    <a:lnTo>
                      <a:pt x="202" y="0"/>
                    </a:lnTo>
                    <a:lnTo>
                      <a:pt x="175" y="9"/>
                    </a:lnTo>
                    <a:lnTo>
                      <a:pt x="149" y="18"/>
                    </a:lnTo>
                    <a:lnTo>
                      <a:pt x="127" y="31"/>
                    </a:lnTo>
                    <a:lnTo>
                      <a:pt x="101" y="48"/>
                    </a:lnTo>
                    <a:lnTo>
                      <a:pt x="74" y="66"/>
                    </a:lnTo>
                    <a:lnTo>
                      <a:pt x="53" y="88"/>
                    </a:lnTo>
                    <a:lnTo>
                      <a:pt x="35" y="110"/>
                    </a:lnTo>
                    <a:lnTo>
                      <a:pt x="17" y="136"/>
                    </a:lnTo>
                    <a:lnTo>
                      <a:pt x="9" y="158"/>
                    </a:lnTo>
                    <a:lnTo>
                      <a:pt x="0" y="185"/>
                    </a:lnTo>
                    <a:lnTo>
                      <a:pt x="4" y="206"/>
                    </a:lnTo>
                    <a:lnTo>
                      <a:pt x="4" y="20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05" name="Freeform 17"/>
              <p:cNvSpPr>
                <a:spLocks/>
              </p:cNvSpPr>
              <p:nvPr/>
            </p:nvSpPr>
            <p:spPr bwMode="auto">
              <a:xfrm>
                <a:off x="4751388" y="2705100"/>
                <a:ext cx="647700" cy="968375"/>
              </a:xfrm>
              <a:custGeom>
                <a:avLst/>
                <a:gdLst/>
                <a:ahLst/>
                <a:cxnLst>
                  <a:cxn ang="0">
                    <a:pos x="13" y="87"/>
                  </a:cxn>
                  <a:cxn ang="0">
                    <a:pos x="13" y="87"/>
                  </a:cxn>
                  <a:cxn ang="0">
                    <a:pos x="4" y="153"/>
                  </a:cxn>
                  <a:cxn ang="0">
                    <a:pos x="0" y="219"/>
                  </a:cxn>
                  <a:cxn ang="0">
                    <a:pos x="4" y="250"/>
                  </a:cxn>
                  <a:cxn ang="0">
                    <a:pos x="9" y="281"/>
                  </a:cxn>
                  <a:cxn ang="0">
                    <a:pos x="9" y="281"/>
                  </a:cxn>
                  <a:cxn ang="0">
                    <a:pos x="13" y="342"/>
                  </a:cxn>
                  <a:cxn ang="0">
                    <a:pos x="26" y="399"/>
                  </a:cxn>
                  <a:cxn ang="0">
                    <a:pos x="35" y="430"/>
                  </a:cxn>
                  <a:cxn ang="0">
                    <a:pos x="48" y="461"/>
                  </a:cxn>
                  <a:cxn ang="0">
                    <a:pos x="48" y="461"/>
                  </a:cxn>
                  <a:cxn ang="0">
                    <a:pos x="88" y="553"/>
                  </a:cxn>
                  <a:cxn ang="0">
                    <a:pos x="105" y="593"/>
                  </a:cxn>
                  <a:cxn ang="0">
                    <a:pos x="105" y="593"/>
                  </a:cxn>
                  <a:cxn ang="0">
                    <a:pos x="114" y="597"/>
                  </a:cxn>
                  <a:cxn ang="0">
                    <a:pos x="140" y="606"/>
                  </a:cxn>
                  <a:cxn ang="0">
                    <a:pos x="162" y="610"/>
                  </a:cxn>
                  <a:cxn ang="0">
                    <a:pos x="189" y="610"/>
                  </a:cxn>
                  <a:cxn ang="0">
                    <a:pos x="224" y="610"/>
                  </a:cxn>
                  <a:cxn ang="0">
                    <a:pos x="263" y="601"/>
                  </a:cxn>
                  <a:cxn ang="0">
                    <a:pos x="263" y="601"/>
                  </a:cxn>
                  <a:cxn ang="0">
                    <a:pos x="307" y="562"/>
                  </a:cxn>
                  <a:cxn ang="0">
                    <a:pos x="347" y="527"/>
                  </a:cxn>
                  <a:cxn ang="0">
                    <a:pos x="364" y="505"/>
                  </a:cxn>
                  <a:cxn ang="0">
                    <a:pos x="373" y="483"/>
                  </a:cxn>
                  <a:cxn ang="0">
                    <a:pos x="373" y="483"/>
                  </a:cxn>
                  <a:cxn ang="0">
                    <a:pos x="391" y="443"/>
                  </a:cxn>
                  <a:cxn ang="0">
                    <a:pos x="399" y="399"/>
                  </a:cxn>
                  <a:cxn ang="0">
                    <a:pos x="408" y="364"/>
                  </a:cxn>
                  <a:cxn ang="0">
                    <a:pos x="408" y="333"/>
                  </a:cxn>
                  <a:cxn ang="0">
                    <a:pos x="408" y="333"/>
                  </a:cxn>
                  <a:cxn ang="0">
                    <a:pos x="408" y="241"/>
                  </a:cxn>
                  <a:cxn ang="0">
                    <a:pos x="404" y="188"/>
                  </a:cxn>
                  <a:cxn ang="0">
                    <a:pos x="399" y="153"/>
                  </a:cxn>
                  <a:cxn ang="0">
                    <a:pos x="399" y="153"/>
                  </a:cxn>
                  <a:cxn ang="0">
                    <a:pos x="395" y="131"/>
                  </a:cxn>
                  <a:cxn ang="0">
                    <a:pos x="382" y="105"/>
                  </a:cxn>
                  <a:cxn ang="0">
                    <a:pos x="364" y="79"/>
                  </a:cxn>
                  <a:cxn ang="0">
                    <a:pos x="338" y="52"/>
                  </a:cxn>
                  <a:cxn ang="0">
                    <a:pos x="338" y="52"/>
                  </a:cxn>
                  <a:cxn ang="0">
                    <a:pos x="312" y="30"/>
                  </a:cxn>
                  <a:cxn ang="0">
                    <a:pos x="285" y="22"/>
                  </a:cxn>
                  <a:cxn ang="0">
                    <a:pos x="259" y="13"/>
                  </a:cxn>
                  <a:cxn ang="0">
                    <a:pos x="228" y="8"/>
                  </a:cxn>
                  <a:cxn ang="0">
                    <a:pos x="228" y="8"/>
                  </a:cxn>
                  <a:cxn ang="0">
                    <a:pos x="176" y="0"/>
                  </a:cxn>
                  <a:cxn ang="0">
                    <a:pos x="154" y="0"/>
                  </a:cxn>
                  <a:cxn ang="0">
                    <a:pos x="140" y="0"/>
                  </a:cxn>
                  <a:cxn ang="0">
                    <a:pos x="140" y="0"/>
                  </a:cxn>
                  <a:cxn ang="0">
                    <a:pos x="70" y="35"/>
                  </a:cxn>
                  <a:cxn ang="0">
                    <a:pos x="48" y="44"/>
                  </a:cxn>
                  <a:cxn ang="0">
                    <a:pos x="31" y="61"/>
                  </a:cxn>
                  <a:cxn ang="0">
                    <a:pos x="17" y="74"/>
                  </a:cxn>
                  <a:cxn ang="0">
                    <a:pos x="13" y="87"/>
                  </a:cxn>
                  <a:cxn ang="0">
                    <a:pos x="13" y="87"/>
                  </a:cxn>
                </a:cxnLst>
                <a:rect l="0" t="0" r="r" b="b"/>
                <a:pathLst>
                  <a:path w="408" h="610">
                    <a:moveTo>
                      <a:pt x="13" y="87"/>
                    </a:moveTo>
                    <a:lnTo>
                      <a:pt x="13" y="87"/>
                    </a:lnTo>
                    <a:lnTo>
                      <a:pt x="4" y="153"/>
                    </a:lnTo>
                    <a:lnTo>
                      <a:pt x="0" y="219"/>
                    </a:lnTo>
                    <a:lnTo>
                      <a:pt x="4" y="250"/>
                    </a:lnTo>
                    <a:lnTo>
                      <a:pt x="9" y="281"/>
                    </a:lnTo>
                    <a:lnTo>
                      <a:pt x="9" y="281"/>
                    </a:lnTo>
                    <a:lnTo>
                      <a:pt x="13" y="342"/>
                    </a:lnTo>
                    <a:lnTo>
                      <a:pt x="26" y="399"/>
                    </a:lnTo>
                    <a:lnTo>
                      <a:pt x="35" y="430"/>
                    </a:lnTo>
                    <a:lnTo>
                      <a:pt x="48" y="461"/>
                    </a:lnTo>
                    <a:lnTo>
                      <a:pt x="48" y="461"/>
                    </a:lnTo>
                    <a:lnTo>
                      <a:pt x="88" y="553"/>
                    </a:lnTo>
                    <a:lnTo>
                      <a:pt x="105" y="593"/>
                    </a:lnTo>
                    <a:lnTo>
                      <a:pt x="105" y="593"/>
                    </a:lnTo>
                    <a:lnTo>
                      <a:pt x="114" y="597"/>
                    </a:lnTo>
                    <a:lnTo>
                      <a:pt x="140" y="606"/>
                    </a:lnTo>
                    <a:lnTo>
                      <a:pt x="162" y="610"/>
                    </a:lnTo>
                    <a:lnTo>
                      <a:pt x="189" y="610"/>
                    </a:lnTo>
                    <a:lnTo>
                      <a:pt x="224" y="610"/>
                    </a:lnTo>
                    <a:lnTo>
                      <a:pt x="263" y="601"/>
                    </a:lnTo>
                    <a:lnTo>
                      <a:pt x="263" y="601"/>
                    </a:lnTo>
                    <a:lnTo>
                      <a:pt x="307" y="562"/>
                    </a:lnTo>
                    <a:lnTo>
                      <a:pt x="347" y="527"/>
                    </a:lnTo>
                    <a:lnTo>
                      <a:pt x="364" y="505"/>
                    </a:lnTo>
                    <a:lnTo>
                      <a:pt x="373" y="483"/>
                    </a:lnTo>
                    <a:lnTo>
                      <a:pt x="373" y="483"/>
                    </a:lnTo>
                    <a:lnTo>
                      <a:pt x="391" y="443"/>
                    </a:lnTo>
                    <a:lnTo>
                      <a:pt x="399" y="399"/>
                    </a:lnTo>
                    <a:lnTo>
                      <a:pt x="408" y="364"/>
                    </a:lnTo>
                    <a:lnTo>
                      <a:pt x="408" y="333"/>
                    </a:lnTo>
                    <a:lnTo>
                      <a:pt x="408" y="333"/>
                    </a:lnTo>
                    <a:lnTo>
                      <a:pt x="408" y="241"/>
                    </a:lnTo>
                    <a:lnTo>
                      <a:pt x="404" y="188"/>
                    </a:lnTo>
                    <a:lnTo>
                      <a:pt x="399" y="153"/>
                    </a:lnTo>
                    <a:lnTo>
                      <a:pt x="399" y="153"/>
                    </a:lnTo>
                    <a:lnTo>
                      <a:pt x="395" y="131"/>
                    </a:lnTo>
                    <a:lnTo>
                      <a:pt x="382" y="105"/>
                    </a:lnTo>
                    <a:lnTo>
                      <a:pt x="364" y="79"/>
                    </a:lnTo>
                    <a:lnTo>
                      <a:pt x="338" y="52"/>
                    </a:lnTo>
                    <a:lnTo>
                      <a:pt x="338" y="52"/>
                    </a:lnTo>
                    <a:lnTo>
                      <a:pt x="312" y="30"/>
                    </a:lnTo>
                    <a:lnTo>
                      <a:pt x="285" y="22"/>
                    </a:lnTo>
                    <a:lnTo>
                      <a:pt x="259" y="13"/>
                    </a:lnTo>
                    <a:lnTo>
                      <a:pt x="228" y="8"/>
                    </a:lnTo>
                    <a:lnTo>
                      <a:pt x="228" y="8"/>
                    </a:lnTo>
                    <a:lnTo>
                      <a:pt x="176" y="0"/>
                    </a:lnTo>
                    <a:lnTo>
                      <a:pt x="154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70" y="35"/>
                    </a:lnTo>
                    <a:lnTo>
                      <a:pt x="48" y="44"/>
                    </a:lnTo>
                    <a:lnTo>
                      <a:pt x="31" y="61"/>
                    </a:lnTo>
                    <a:lnTo>
                      <a:pt x="17" y="74"/>
                    </a:lnTo>
                    <a:lnTo>
                      <a:pt x="13" y="87"/>
                    </a:lnTo>
                    <a:lnTo>
                      <a:pt x="13" y="8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06" name="Freeform 27"/>
              <p:cNvSpPr>
                <a:spLocks/>
              </p:cNvSpPr>
              <p:nvPr/>
            </p:nvSpPr>
            <p:spPr bwMode="auto">
              <a:xfrm>
                <a:off x="4765675" y="2516188"/>
                <a:ext cx="711200" cy="696912"/>
              </a:xfrm>
              <a:custGeom>
                <a:avLst/>
                <a:gdLst/>
                <a:ahLst/>
                <a:cxnLst>
                  <a:cxn ang="0">
                    <a:pos x="22" y="105"/>
                  </a:cxn>
                  <a:cxn ang="0">
                    <a:pos x="4" y="145"/>
                  </a:cxn>
                  <a:cxn ang="0">
                    <a:pos x="0" y="180"/>
                  </a:cxn>
                  <a:cxn ang="0">
                    <a:pos x="17" y="220"/>
                  </a:cxn>
                  <a:cxn ang="0">
                    <a:pos x="48" y="250"/>
                  </a:cxn>
                  <a:cxn ang="0">
                    <a:pos x="92" y="272"/>
                  </a:cxn>
                  <a:cxn ang="0">
                    <a:pos x="101" y="272"/>
                  </a:cxn>
                  <a:cxn ang="0">
                    <a:pos x="61" y="242"/>
                  </a:cxn>
                  <a:cxn ang="0">
                    <a:pos x="48" y="224"/>
                  </a:cxn>
                  <a:cxn ang="0">
                    <a:pos x="114" y="259"/>
                  </a:cxn>
                  <a:cxn ang="0">
                    <a:pos x="145" y="268"/>
                  </a:cxn>
                  <a:cxn ang="0">
                    <a:pos x="188" y="281"/>
                  </a:cxn>
                  <a:cxn ang="0">
                    <a:pos x="202" y="286"/>
                  </a:cxn>
                  <a:cxn ang="0">
                    <a:pos x="171" y="255"/>
                  </a:cxn>
                  <a:cxn ang="0">
                    <a:pos x="153" y="242"/>
                  </a:cxn>
                  <a:cxn ang="0">
                    <a:pos x="224" y="264"/>
                  </a:cxn>
                  <a:cxn ang="0">
                    <a:pos x="259" y="277"/>
                  </a:cxn>
                  <a:cxn ang="0">
                    <a:pos x="311" y="299"/>
                  </a:cxn>
                  <a:cxn ang="0">
                    <a:pos x="351" y="316"/>
                  </a:cxn>
                  <a:cxn ang="0">
                    <a:pos x="360" y="325"/>
                  </a:cxn>
                  <a:cxn ang="0">
                    <a:pos x="382" y="369"/>
                  </a:cxn>
                  <a:cxn ang="0">
                    <a:pos x="395" y="439"/>
                  </a:cxn>
                  <a:cxn ang="0">
                    <a:pos x="399" y="426"/>
                  </a:cxn>
                  <a:cxn ang="0">
                    <a:pos x="412" y="387"/>
                  </a:cxn>
                  <a:cxn ang="0">
                    <a:pos x="421" y="334"/>
                  </a:cxn>
                  <a:cxn ang="0">
                    <a:pos x="439" y="277"/>
                  </a:cxn>
                  <a:cxn ang="0">
                    <a:pos x="448" y="215"/>
                  </a:cxn>
                  <a:cxn ang="0">
                    <a:pos x="439" y="167"/>
                  </a:cxn>
                  <a:cxn ang="0">
                    <a:pos x="408" y="110"/>
                  </a:cxn>
                  <a:cxn ang="0">
                    <a:pos x="386" y="83"/>
                  </a:cxn>
                  <a:cxn ang="0">
                    <a:pos x="333" y="40"/>
                  </a:cxn>
                  <a:cxn ang="0">
                    <a:pos x="285" y="13"/>
                  </a:cxn>
                  <a:cxn ang="0">
                    <a:pos x="237" y="0"/>
                  </a:cxn>
                  <a:cxn ang="0">
                    <a:pos x="188" y="4"/>
                  </a:cxn>
                  <a:cxn ang="0">
                    <a:pos x="140" y="13"/>
                  </a:cxn>
                  <a:cxn ang="0">
                    <a:pos x="74" y="48"/>
                  </a:cxn>
                  <a:cxn ang="0">
                    <a:pos x="35" y="83"/>
                  </a:cxn>
                  <a:cxn ang="0">
                    <a:pos x="22" y="105"/>
                  </a:cxn>
                </a:cxnLst>
                <a:rect l="0" t="0" r="r" b="b"/>
                <a:pathLst>
                  <a:path w="448" h="439">
                    <a:moveTo>
                      <a:pt x="22" y="105"/>
                    </a:moveTo>
                    <a:lnTo>
                      <a:pt x="22" y="105"/>
                    </a:lnTo>
                    <a:lnTo>
                      <a:pt x="13" y="119"/>
                    </a:lnTo>
                    <a:lnTo>
                      <a:pt x="4" y="145"/>
                    </a:lnTo>
                    <a:lnTo>
                      <a:pt x="0" y="163"/>
                    </a:lnTo>
                    <a:lnTo>
                      <a:pt x="0" y="180"/>
                    </a:lnTo>
                    <a:lnTo>
                      <a:pt x="8" y="198"/>
                    </a:lnTo>
                    <a:lnTo>
                      <a:pt x="17" y="220"/>
                    </a:lnTo>
                    <a:lnTo>
                      <a:pt x="17" y="220"/>
                    </a:lnTo>
                    <a:lnTo>
                      <a:pt x="48" y="250"/>
                    </a:lnTo>
                    <a:lnTo>
                      <a:pt x="74" y="264"/>
                    </a:lnTo>
                    <a:lnTo>
                      <a:pt x="92" y="272"/>
                    </a:lnTo>
                    <a:lnTo>
                      <a:pt x="101" y="272"/>
                    </a:lnTo>
                    <a:lnTo>
                      <a:pt x="101" y="272"/>
                    </a:lnTo>
                    <a:lnTo>
                      <a:pt x="79" y="255"/>
                    </a:lnTo>
                    <a:lnTo>
                      <a:pt x="61" y="242"/>
                    </a:lnTo>
                    <a:lnTo>
                      <a:pt x="48" y="224"/>
                    </a:lnTo>
                    <a:lnTo>
                      <a:pt x="48" y="224"/>
                    </a:lnTo>
                    <a:lnTo>
                      <a:pt x="83" y="246"/>
                    </a:lnTo>
                    <a:lnTo>
                      <a:pt x="114" y="259"/>
                    </a:lnTo>
                    <a:lnTo>
                      <a:pt x="145" y="268"/>
                    </a:lnTo>
                    <a:lnTo>
                      <a:pt x="145" y="268"/>
                    </a:lnTo>
                    <a:lnTo>
                      <a:pt x="171" y="272"/>
                    </a:lnTo>
                    <a:lnTo>
                      <a:pt x="188" y="281"/>
                    </a:lnTo>
                    <a:lnTo>
                      <a:pt x="202" y="286"/>
                    </a:lnTo>
                    <a:lnTo>
                      <a:pt x="202" y="286"/>
                    </a:lnTo>
                    <a:lnTo>
                      <a:pt x="188" y="268"/>
                    </a:lnTo>
                    <a:lnTo>
                      <a:pt x="171" y="255"/>
                    </a:lnTo>
                    <a:lnTo>
                      <a:pt x="153" y="242"/>
                    </a:lnTo>
                    <a:lnTo>
                      <a:pt x="153" y="242"/>
                    </a:lnTo>
                    <a:lnTo>
                      <a:pt x="193" y="250"/>
                    </a:lnTo>
                    <a:lnTo>
                      <a:pt x="224" y="264"/>
                    </a:lnTo>
                    <a:lnTo>
                      <a:pt x="259" y="277"/>
                    </a:lnTo>
                    <a:lnTo>
                      <a:pt x="259" y="277"/>
                    </a:lnTo>
                    <a:lnTo>
                      <a:pt x="285" y="290"/>
                    </a:lnTo>
                    <a:lnTo>
                      <a:pt x="311" y="299"/>
                    </a:lnTo>
                    <a:lnTo>
                      <a:pt x="333" y="307"/>
                    </a:lnTo>
                    <a:lnTo>
                      <a:pt x="351" y="316"/>
                    </a:lnTo>
                    <a:lnTo>
                      <a:pt x="351" y="316"/>
                    </a:lnTo>
                    <a:lnTo>
                      <a:pt x="360" y="325"/>
                    </a:lnTo>
                    <a:lnTo>
                      <a:pt x="369" y="338"/>
                    </a:lnTo>
                    <a:lnTo>
                      <a:pt x="382" y="369"/>
                    </a:lnTo>
                    <a:lnTo>
                      <a:pt x="390" y="409"/>
                    </a:lnTo>
                    <a:lnTo>
                      <a:pt x="395" y="439"/>
                    </a:lnTo>
                    <a:lnTo>
                      <a:pt x="395" y="439"/>
                    </a:lnTo>
                    <a:lnTo>
                      <a:pt x="399" y="426"/>
                    </a:lnTo>
                    <a:lnTo>
                      <a:pt x="408" y="409"/>
                    </a:lnTo>
                    <a:lnTo>
                      <a:pt x="412" y="387"/>
                    </a:lnTo>
                    <a:lnTo>
                      <a:pt x="412" y="387"/>
                    </a:lnTo>
                    <a:lnTo>
                      <a:pt x="421" y="334"/>
                    </a:lnTo>
                    <a:lnTo>
                      <a:pt x="439" y="277"/>
                    </a:lnTo>
                    <a:lnTo>
                      <a:pt x="439" y="277"/>
                    </a:lnTo>
                    <a:lnTo>
                      <a:pt x="443" y="242"/>
                    </a:lnTo>
                    <a:lnTo>
                      <a:pt x="448" y="215"/>
                    </a:lnTo>
                    <a:lnTo>
                      <a:pt x="443" y="193"/>
                    </a:lnTo>
                    <a:lnTo>
                      <a:pt x="439" y="167"/>
                    </a:lnTo>
                    <a:lnTo>
                      <a:pt x="426" y="141"/>
                    </a:lnTo>
                    <a:lnTo>
                      <a:pt x="408" y="110"/>
                    </a:lnTo>
                    <a:lnTo>
                      <a:pt x="386" y="83"/>
                    </a:lnTo>
                    <a:lnTo>
                      <a:pt x="386" y="83"/>
                    </a:lnTo>
                    <a:lnTo>
                      <a:pt x="360" y="61"/>
                    </a:lnTo>
                    <a:lnTo>
                      <a:pt x="333" y="40"/>
                    </a:lnTo>
                    <a:lnTo>
                      <a:pt x="307" y="26"/>
                    </a:lnTo>
                    <a:lnTo>
                      <a:pt x="285" y="13"/>
                    </a:lnTo>
                    <a:lnTo>
                      <a:pt x="259" y="4"/>
                    </a:lnTo>
                    <a:lnTo>
                      <a:pt x="237" y="0"/>
                    </a:lnTo>
                    <a:lnTo>
                      <a:pt x="210" y="0"/>
                    </a:lnTo>
                    <a:lnTo>
                      <a:pt x="188" y="4"/>
                    </a:lnTo>
                    <a:lnTo>
                      <a:pt x="188" y="4"/>
                    </a:lnTo>
                    <a:lnTo>
                      <a:pt x="140" y="13"/>
                    </a:lnTo>
                    <a:lnTo>
                      <a:pt x="92" y="35"/>
                    </a:lnTo>
                    <a:lnTo>
                      <a:pt x="74" y="48"/>
                    </a:lnTo>
                    <a:lnTo>
                      <a:pt x="52" y="66"/>
                    </a:lnTo>
                    <a:lnTo>
                      <a:pt x="35" y="83"/>
                    </a:lnTo>
                    <a:lnTo>
                      <a:pt x="22" y="105"/>
                    </a:lnTo>
                    <a:lnTo>
                      <a:pt x="22" y="10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172" name="Freeform 30"/>
            <p:cNvSpPr>
              <a:spLocks/>
            </p:cNvSpPr>
            <p:nvPr/>
          </p:nvSpPr>
          <p:spPr bwMode="auto">
            <a:xfrm>
              <a:off x="5208880" y="2862211"/>
              <a:ext cx="267371" cy="353890"/>
            </a:xfrm>
            <a:custGeom>
              <a:avLst/>
              <a:gdLst/>
              <a:ahLst/>
              <a:cxnLst>
                <a:cxn ang="0">
                  <a:pos x="0" y="57"/>
                </a:cxn>
                <a:cxn ang="0">
                  <a:pos x="0" y="57"/>
                </a:cxn>
                <a:cxn ang="0">
                  <a:pos x="13" y="61"/>
                </a:cxn>
                <a:cxn ang="0">
                  <a:pos x="48" y="74"/>
                </a:cxn>
                <a:cxn ang="0">
                  <a:pos x="48" y="74"/>
                </a:cxn>
                <a:cxn ang="0">
                  <a:pos x="35" y="52"/>
                </a:cxn>
                <a:cxn ang="0">
                  <a:pos x="22" y="39"/>
                </a:cxn>
                <a:cxn ang="0">
                  <a:pos x="8" y="22"/>
                </a:cxn>
                <a:cxn ang="0">
                  <a:pos x="8" y="22"/>
                </a:cxn>
                <a:cxn ang="0">
                  <a:pos x="35" y="35"/>
                </a:cxn>
                <a:cxn ang="0">
                  <a:pos x="52" y="48"/>
                </a:cxn>
                <a:cxn ang="0">
                  <a:pos x="70" y="66"/>
                </a:cxn>
                <a:cxn ang="0">
                  <a:pos x="70" y="66"/>
                </a:cxn>
                <a:cxn ang="0">
                  <a:pos x="74" y="39"/>
                </a:cxn>
                <a:cxn ang="0">
                  <a:pos x="74" y="8"/>
                </a:cxn>
                <a:cxn ang="0">
                  <a:pos x="74" y="8"/>
                </a:cxn>
                <a:cxn ang="0">
                  <a:pos x="105" y="92"/>
                </a:cxn>
                <a:cxn ang="0">
                  <a:pos x="105" y="92"/>
                </a:cxn>
                <a:cxn ang="0">
                  <a:pos x="123" y="22"/>
                </a:cxn>
                <a:cxn ang="0">
                  <a:pos x="123" y="22"/>
                </a:cxn>
                <a:cxn ang="0">
                  <a:pos x="131" y="79"/>
                </a:cxn>
                <a:cxn ang="0">
                  <a:pos x="131" y="79"/>
                </a:cxn>
                <a:cxn ang="0">
                  <a:pos x="149" y="52"/>
                </a:cxn>
                <a:cxn ang="0">
                  <a:pos x="158" y="30"/>
                </a:cxn>
                <a:cxn ang="0">
                  <a:pos x="167" y="0"/>
                </a:cxn>
                <a:cxn ang="0">
                  <a:pos x="167" y="0"/>
                </a:cxn>
                <a:cxn ang="0">
                  <a:pos x="162" y="26"/>
                </a:cxn>
                <a:cxn ang="0">
                  <a:pos x="158" y="52"/>
                </a:cxn>
                <a:cxn ang="0">
                  <a:pos x="153" y="79"/>
                </a:cxn>
                <a:cxn ang="0">
                  <a:pos x="153" y="79"/>
                </a:cxn>
                <a:cxn ang="0">
                  <a:pos x="136" y="131"/>
                </a:cxn>
                <a:cxn ang="0">
                  <a:pos x="131" y="171"/>
                </a:cxn>
                <a:cxn ang="0">
                  <a:pos x="131" y="171"/>
                </a:cxn>
                <a:cxn ang="0">
                  <a:pos x="127" y="189"/>
                </a:cxn>
                <a:cxn ang="0">
                  <a:pos x="123" y="202"/>
                </a:cxn>
                <a:cxn ang="0">
                  <a:pos x="114" y="219"/>
                </a:cxn>
                <a:cxn ang="0">
                  <a:pos x="114" y="219"/>
                </a:cxn>
                <a:cxn ang="0">
                  <a:pos x="109" y="193"/>
                </a:cxn>
                <a:cxn ang="0">
                  <a:pos x="105" y="171"/>
                </a:cxn>
                <a:cxn ang="0">
                  <a:pos x="96" y="153"/>
                </a:cxn>
                <a:cxn ang="0">
                  <a:pos x="96" y="153"/>
                </a:cxn>
                <a:cxn ang="0">
                  <a:pos x="88" y="136"/>
                </a:cxn>
                <a:cxn ang="0">
                  <a:pos x="70" y="118"/>
                </a:cxn>
                <a:cxn ang="0">
                  <a:pos x="35" y="87"/>
                </a:cxn>
                <a:cxn ang="0">
                  <a:pos x="35" y="87"/>
                </a:cxn>
                <a:cxn ang="0">
                  <a:pos x="8" y="66"/>
                </a:cxn>
                <a:cxn ang="0">
                  <a:pos x="0" y="57"/>
                </a:cxn>
                <a:cxn ang="0">
                  <a:pos x="0" y="57"/>
                </a:cxn>
              </a:cxnLst>
              <a:rect l="0" t="0" r="r" b="b"/>
              <a:pathLst>
                <a:path w="167" h="219">
                  <a:moveTo>
                    <a:pt x="0" y="57"/>
                  </a:moveTo>
                  <a:lnTo>
                    <a:pt x="0" y="57"/>
                  </a:lnTo>
                  <a:lnTo>
                    <a:pt x="13" y="61"/>
                  </a:lnTo>
                  <a:lnTo>
                    <a:pt x="48" y="74"/>
                  </a:lnTo>
                  <a:lnTo>
                    <a:pt x="48" y="74"/>
                  </a:lnTo>
                  <a:lnTo>
                    <a:pt x="35" y="52"/>
                  </a:lnTo>
                  <a:lnTo>
                    <a:pt x="22" y="39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35" y="35"/>
                  </a:lnTo>
                  <a:lnTo>
                    <a:pt x="52" y="48"/>
                  </a:lnTo>
                  <a:lnTo>
                    <a:pt x="70" y="66"/>
                  </a:lnTo>
                  <a:lnTo>
                    <a:pt x="70" y="66"/>
                  </a:lnTo>
                  <a:lnTo>
                    <a:pt x="74" y="39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105" y="92"/>
                  </a:lnTo>
                  <a:lnTo>
                    <a:pt x="105" y="92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31" y="79"/>
                  </a:lnTo>
                  <a:lnTo>
                    <a:pt x="131" y="79"/>
                  </a:lnTo>
                  <a:lnTo>
                    <a:pt x="149" y="52"/>
                  </a:lnTo>
                  <a:lnTo>
                    <a:pt x="158" y="30"/>
                  </a:lnTo>
                  <a:lnTo>
                    <a:pt x="167" y="0"/>
                  </a:lnTo>
                  <a:lnTo>
                    <a:pt x="167" y="0"/>
                  </a:lnTo>
                  <a:lnTo>
                    <a:pt x="162" y="26"/>
                  </a:lnTo>
                  <a:lnTo>
                    <a:pt x="158" y="52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36" y="131"/>
                  </a:lnTo>
                  <a:lnTo>
                    <a:pt x="131" y="171"/>
                  </a:lnTo>
                  <a:lnTo>
                    <a:pt x="131" y="171"/>
                  </a:lnTo>
                  <a:lnTo>
                    <a:pt x="127" y="189"/>
                  </a:lnTo>
                  <a:lnTo>
                    <a:pt x="123" y="202"/>
                  </a:lnTo>
                  <a:lnTo>
                    <a:pt x="114" y="219"/>
                  </a:lnTo>
                  <a:lnTo>
                    <a:pt x="114" y="219"/>
                  </a:lnTo>
                  <a:lnTo>
                    <a:pt x="109" y="193"/>
                  </a:lnTo>
                  <a:lnTo>
                    <a:pt x="105" y="171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88" y="136"/>
                  </a:lnTo>
                  <a:lnTo>
                    <a:pt x="70" y="118"/>
                  </a:lnTo>
                  <a:lnTo>
                    <a:pt x="35" y="87"/>
                  </a:lnTo>
                  <a:lnTo>
                    <a:pt x="35" y="87"/>
                  </a:lnTo>
                  <a:lnTo>
                    <a:pt x="8" y="66"/>
                  </a:lnTo>
                  <a:lnTo>
                    <a:pt x="0" y="57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D7D8D9">
                <a:lumMod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73" name="Freeform 31"/>
            <p:cNvSpPr>
              <a:spLocks/>
            </p:cNvSpPr>
            <p:nvPr/>
          </p:nvSpPr>
          <p:spPr bwMode="auto">
            <a:xfrm>
              <a:off x="5932355" y="3562124"/>
              <a:ext cx="715609" cy="1085255"/>
            </a:xfrm>
            <a:custGeom>
              <a:avLst/>
              <a:gdLst/>
              <a:ahLst/>
              <a:cxnLst>
                <a:cxn ang="0">
                  <a:pos x="171" y="0"/>
                </a:cxn>
                <a:cxn ang="0">
                  <a:pos x="171" y="0"/>
                </a:cxn>
                <a:cxn ang="0">
                  <a:pos x="141" y="31"/>
                </a:cxn>
                <a:cxn ang="0">
                  <a:pos x="110" y="66"/>
                </a:cxn>
                <a:cxn ang="0">
                  <a:pos x="79" y="114"/>
                </a:cxn>
                <a:cxn ang="0">
                  <a:pos x="48" y="176"/>
                </a:cxn>
                <a:cxn ang="0">
                  <a:pos x="35" y="211"/>
                </a:cxn>
                <a:cxn ang="0">
                  <a:pos x="22" y="250"/>
                </a:cxn>
                <a:cxn ang="0">
                  <a:pos x="13" y="290"/>
                </a:cxn>
                <a:cxn ang="0">
                  <a:pos x="4" y="334"/>
                </a:cxn>
                <a:cxn ang="0">
                  <a:pos x="0" y="382"/>
                </a:cxn>
                <a:cxn ang="0">
                  <a:pos x="4" y="435"/>
                </a:cxn>
                <a:cxn ang="0">
                  <a:pos x="4" y="435"/>
                </a:cxn>
                <a:cxn ang="0">
                  <a:pos x="13" y="488"/>
                </a:cxn>
                <a:cxn ang="0">
                  <a:pos x="26" y="527"/>
                </a:cxn>
                <a:cxn ang="0">
                  <a:pos x="44" y="558"/>
                </a:cxn>
                <a:cxn ang="0">
                  <a:pos x="66" y="589"/>
                </a:cxn>
                <a:cxn ang="0">
                  <a:pos x="110" y="637"/>
                </a:cxn>
                <a:cxn ang="0">
                  <a:pos x="127" y="659"/>
                </a:cxn>
                <a:cxn ang="0">
                  <a:pos x="145" y="685"/>
                </a:cxn>
                <a:cxn ang="0">
                  <a:pos x="452" y="654"/>
                </a:cxn>
                <a:cxn ang="0">
                  <a:pos x="452" y="654"/>
                </a:cxn>
                <a:cxn ang="0">
                  <a:pos x="444" y="584"/>
                </a:cxn>
                <a:cxn ang="0">
                  <a:pos x="430" y="509"/>
                </a:cxn>
                <a:cxn ang="0">
                  <a:pos x="404" y="417"/>
                </a:cxn>
                <a:cxn ang="0">
                  <a:pos x="369" y="312"/>
                </a:cxn>
                <a:cxn ang="0">
                  <a:pos x="347" y="255"/>
                </a:cxn>
                <a:cxn ang="0">
                  <a:pos x="321" y="202"/>
                </a:cxn>
                <a:cxn ang="0">
                  <a:pos x="290" y="149"/>
                </a:cxn>
                <a:cxn ang="0">
                  <a:pos x="255" y="97"/>
                </a:cxn>
                <a:cxn ang="0">
                  <a:pos x="215" y="48"/>
                </a:cxn>
                <a:cxn ang="0">
                  <a:pos x="171" y="0"/>
                </a:cxn>
                <a:cxn ang="0">
                  <a:pos x="171" y="0"/>
                </a:cxn>
              </a:cxnLst>
              <a:rect l="0" t="0" r="r" b="b"/>
              <a:pathLst>
                <a:path w="452" h="685">
                  <a:moveTo>
                    <a:pt x="171" y="0"/>
                  </a:moveTo>
                  <a:lnTo>
                    <a:pt x="171" y="0"/>
                  </a:lnTo>
                  <a:lnTo>
                    <a:pt x="141" y="31"/>
                  </a:lnTo>
                  <a:lnTo>
                    <a:pt x="110" y="66"/>
                  </a:lnTo>
                  <a:lnTo>
                    <a:pt x="79" y="114"/>
                  </a:lnTo>
                  <a:lnTo>
                    <a:pt x="48" y="176"/>
                  </a:lnTo>
                  <a:lnTo>
                    <a:pt x="35" y="211"/>
                  </a:lnTo>
                  <a:lnTo>
                    <a:pt x="22" y="250"/>
                  </a:lnTo>
                  <a:lnTo>
                    <a:pt x="13" y="290"/>
                  </a:lnTo>
                  <a:lnTo>
                    <a:pt x="4" y="334"/>
                  </a:lnTo>
                  <a:lnTo>
                    <a:pt x="0" y="382"/>
                  </a:lnTo>
                  <a:lnTo>
                    <a:pt x="4" y="435"/>
                  </a:lnTo>
                  <a:lnTo>
                    <a:pt x="4" y="435"/>
                  </a:lnTo>
                  <a:lnTo>
                    <a:pt x="13" y="488"/>
                  </a:lnTo>
                  <a:lnTo>
                    <a:pt x="26" y="527"/>
                  </a:lnTo>
                  <a:lnTo>
                    <a:pt x="44" y="558"/>
                  </a:lnTo>
                  <a:lnTo>
                    <a:pt x="66" y="589"/>
                  </a:lnTo>
                  <a:lnTo>
                    <a:pt x="110" y="637"/>
                  </a:lnTo>
                  <a:lnTo>
                    <a:pt x="127" y="659"/>
                  </a:lnTo>
                  <a:lnTo>
                    <a:pt x="145" y="685"/>
                  </a:lnTo>
                  <a:lnTo>
                    <a:pt x="452" y="654"/>
                  </a:lnTo>
                  <a:lnTo>
                    <a:pt x="452" y="654"/>
                  </a:lnTo>
                  <a:lnTo>
                    <a:pt x="444" y="584"/>
                  </a:lnTo>
                  <a:lnTo>
                    <a:pt x="430" y="509"/>
                  </a:lnTo>
                  <a:lnTo>
                    <a:pt x="404" y="417"/>
                  </a:lnTo>
                  <a:lnTo>
                    <a:pt x="369" y="312"/>
                  </a:lnTo>
                  <a:lnTo>
                    <a:pt x="347" y="255"/>
                  </a:lnTo>
                  <a:lnTo>
                    <a:pt x="321" y="202"/>
                  </a:lnTo>
                  <a:lnTo>
                    <a:pt x="290" y="149"/>
                  </a:lnTo>
                  <a:lnTo>
                    <a:pt x="255" y="97"/>
                  </a:lnTo>
                  <a:lnTo>
                    <a:pt x="215" y="48"/>
                  </a:lnTo>
                  <a:lnTo>
                    <a:pt x="171" y="0"/>
                  </a:lnTo>
                  <a:lnTo>
                    <a:pt x="171" y="0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74" name="Freeform 32"/>
            <p:cNvSpPr>
              <a:spLocks/>
            </p:cNvSpPr>
            <p:nvPr/>
          </p:nvSpPr>
          <p:spPr bwMode="auto">
            <a:xfrm>
              <a:off x="4776365" y="4694564"/>
              <a:ext cx="920075" cy="401070"/>
            </a:xfrm>
            <a:custGeom>
              <a:avLst/>
              <a:gdLst/>
              <a:ahLst/>
              <a:cxnLst>
                <a:cxn ang="0">
                  <a:pos x="536" y="123"/>
                </a:cxn>
                <a:cxn ang="0">
                  <a:pos x="536" y="123"/>
                </a:cxn>
                <a:cxn ang="0">
                  <a:pos x="453" y="79"/>
                </a:cxn>
                <a:cxn ang="0">
                  <a:pos x="387" y="35"/>
                </a:cxn>
                <a:cxn ang="0">
                  <a:pos x="334" y="0"/>
                </a:cxn>
                <a:cxn ang="0">
                  <a:pos x="334" y="0"/>
                </a:cxn>
                <a:cxn ang="0">
                  <a:pos x="317" y="4"/>
                </a:cxn>
                <a:cxn ang="0">
                  <a:pos x="299" y="13"/>
                </a:cxn>
                <a:cxn ang="0">
                  <a:pos x="277" y="22"/>
                </a:cxn>
                <a:cxn ang="0">
                  <a:pos x="277" y="22"/>
                </a:cxn>
                <a:cxn ang="0">
                  <a:pos x="242" y="39"/>
                </a:cxn>
                <a:cxn ang="0">
                  <a:pos x="198" y="57"/>
                </a:cxn>
                <a:cxn ang="0">
                  <a:pos x="137" y="79"/>
                </a:cxn>
                <a:cxn ang="0">
                  <a:pos x="137" y="79"/>
                </a:cxn>
                <a:cxn ang="0">
                  <a:pos x="84" y="123"/>
                </a:cxn>
                <a:cxn ang="0">
                  <a:pos x="36" y="153"/>
                </a:cxn>
                <a:cxn ang="0">
                  <a:pos x="0" y="175"/>
                </a:cxn>
                <a:cxn ang="0">
                  <a:pos x="0" y="175"/>
                </a:cxn>
                <a:cxn ang="0">
                  <a:pos x="0" y="184"/>
                </a:cxn>
                <a:cxn ang="0">
                  <a:pos x="9" y="193"/>
                </a:cxn>
                <a:cxn ang="0">
                  <a:pos x="18" y="197"/>
                </a:cxn>
                <a:cxn ang="0">
                  <a:pos x="27" y="202"/>
                </a:cxn>
                <a:cxn ang="0">
                  <a:pos x="36" y="202"/>
                </a:cxn>
                <a:cxn ang="0">
                  <a:pos x="53" y="197"/>
                </a:cxn>
                <a:cxn ang="0">
                  <a:pos x="53" y="197"/>
                </a:cxn>
                <a:cxn ang="0">
                  <a:pos x="53" y="202"/>
                </a:cxn>
                <a:cxn ang="0">
                  <a:pos x="58" y="210"/>
                </a:cxn>
                <a:cxn ang="0">
                  <a:pos x="66" y="215"/>
                </a:cxn>
                <a:cxn ang="0">
                  <a:pos x="75" y="215"/>
                </a:cxn>
                <a:cxn ang="0">
                  <a:pos x="88" y="215"/>
                </a:cxn>
                <a:cxn ang="0">
                  <a:pos x="110" y="210"/>
                </a:cxn>
                <a:cxn ang="0">
                  <a:pos x="110" y="210"/>
                </a:cxn>
                <a:cxn ang="0">
                  <a:pos x="119" y="215"/>
                </a:cxn>
                <a:cxn ang="0">
                  <a:pos x="132" y="219"/>
                </a:cxn>
                <a:cxn ang="0">
                  <a:pos x="154" y="210"/>
                </a:cxn>
                <a:cxn ang="0">
                  <a:pos x="154" y="210"/>
                </a:cxn>
                <a:cxn ang="0">
                  <a:pos x="180" y="202"/>
                </a:cxn>
                <a:cxn ang="0">
                  <a:pos x="202" y="188"/>
                </a:cxn>
                <a:cxn ang="0">
                  <a:pos x="220" y="171"/>
                </a:cxn>
                <a:cxn ang="0">
                  <a:pos x="220" y="171"/>
                </a:cxn>
                <a:cxn ang="0">
                  <a:pos x="295" y="153"/>
                </a:cxn>
                <a:cxn ang="0">
                  <a:pos x="295" y="153"/>
                </a:cxn>
                <a:cxn ang="0">
                  <a:pos x="321" y="166"/>
                </a:cxn>
                <a:cxn ang="0">
                  <a:pos x="365" y="180"/>
                </a:cxn>
                <a:cxn ang="0">
                  <a:pos x="365" y="180"/>
                </a:cxn>
                <a:cxn ang="0">
                  <a:pos x="387" y="197"/>
                </a:cxn>
                <a:cxn ang="0">
                  <a:pos x="431" y="219"/>
                </a:cxn>
                <a:cxn ang="0">
                  <a:pos x="431" y="219"/>
                </a:cxn>
                <a:cxn ang="0">
                  <a:pos x="483" y="246"/>
                </a:cxn>
                <a:cxn ang="0">
                  <a:pos x="514" y="254"/>
                </a:cxn>
                <a:cxn ang="0">
                  <a:pos x="549" y="254"/>
                </a:cxn>
                <a:cxn ang="0">
                  <a:pos x="549" y="254"/>
                </a:cxn>
                <a:cxn ang="0">
                  <a:pos x="567" y="250"/>
                </a:cxn>
                <a:cxn ang="0">
                  <a:pos x="576" y="241"/>
                </a:cxn>
                <a:cxn ang="0">
                  <a:pos x="580" y="224"/>
                </a:cxn>
                <a:cxn ang="0">
                  <a:pos x="580" y="202"/>
                </a:cxn>
                <a:cxn ang="0">
                  <a:pos x="576" y="180"/>
                </a:cxn>
                <a:cxn ang="0">
                  <a:pos x="567" y="158"/>
                </a:cxn>
                <a:cxn ang="0">
                  <a:pos x="554" y="140"/>
                </a:cxn>
                <a:cxn ang="0">
                  <a:pos x="536" y="123"/>
                </a:cxn>
                <a:cxn ang="0">
                  <a:pos x="536" y="123"/>
                </a:cxn>
              </a:cxnLst>
              <a:rect l="0" t="0" r="r" b="b"/>
              <a:pathLst>
                <a:path w="580" h="254">
                  <a:moveTo>
                    <a:pt x="536" y="123"/>
                  </a:moveTo>
                  <a:lnTo>
                    <a:pt x="536" y="123"/>
                  </a:lnTo>
                  <a:lnTo>
                    <a:pt x="453" y="79"/>
                  </a:lnTo>
                  <a:lnTo>
                    <a:pt x="387" y="35"/>
                  </a:lnTo>
                  <a:lnTo>
                    <a:pt x="334" y="0"/>
                  </a:lnTo>
                  <a:lnTo>
                    <a:pt x="334" y="0"/>
                  </a:lnTo>
                  <a:lnTo>
                    <a:pt x="317" y="4"/>
                  </a:lnTo>
                  <a:lnTo>
                    <a:pt x="299" y="13"/>
                  </a:lnTo>
                  <a:lnTo>
                    <a:pt x="277" y="22"/>
                  </a:lnTo>
                  <a:lnTo>
                    <a:pt x="277" y="22"/>
                  </a:lnTo>
                  <a:lnTo>
                    <a:pt x="242" y="39"/>
                  </a:lnTo>
                  <a:lnTo>
                    <a:pt x="198" y="57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84" y="123"/>
                  </a:lnTo>
                  <a:lnTo>
                    <a:pt x="36" y="153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0" y="184"/>
                  </a:lnTo>
                  <a:lnTo>
                    <a:pt x="9" y="193"/>
                  </a:lnTo>
                  <a:lnTo>
                    <a:pt x="18" y="197"/>
                  </a:lnTo>
                  <a:lnTo>
                    <a:pt x="27" y="202"/>
                  </a:lnTo>
                  <a:lnTo>
                    <a:pt x="36" y="202"/>
                  </a:lnTo>
                  <a:lnTo>
                    <a:pt x="53" y="197"/>
                  </a:lnTo>
                  <a:lnTo>
                    <a:pt x="53" y="197"/>
                  </a:lnTo>
                  <a:lnTo>
                    <a:pt x="53" y="202"/>
                  </a:lnTo>
                  <a:lnTo>
                    <a:pt x="58" y="210"/>
                  </a:lnTo>
                  <a:lnTo>
                    <a:pt x="66" y="215"/>
                  </a:lnTo>
                  <a:lnTo>
                    <a:pt x="75" y="215"/>
                  </a:lnTo>
                  <a:lnTo>
                    <a:pt x="88" y="215"/>
                  </a:lnTo>
                  <a:lnTo>
                    <a:pt x="110" y="210"/>
                  </a:lnTo>
                  <a:lnTo>
                    <a:pt x="110" y="210"/>
                  </a:lnTo>
                  <a:lnTo>
                    <a:pt x="119" y="215"/>
                  </a:lnTo>
                  <a:lnTo>
                    <a:pt x="132" y="219"/>
                  </a:lnTo>
                  <a:lnTo>
                    <a:pt x="154" y="210"/>
                  </a:lnTo>
                  <a:lnTo>
                    <a:pt x="154" y="210"/>
                  </a:lnTo>
                  <a:lnTo>
                    <a:pt x="180" y="202"/>
                  </a:lnTo>
                  <a:lnTo>
                    <a:pt x="202" y="188"/>
                  </a:lnTo>
                  <a:lnTo>
                    <a:pt x="220" y="171"/>
                  </a:lnTo>
                  <a:lnTo>
                    <a:pt x="220" y="171"/>
                  </a:lnTo>
                  <a:lnTo>
                    <a:pt x="295" y="153"/>
                  </a:lnTo>
                  <a:lnTo>
                    <a:pt x="295" y="153"/>
                  </a:lnTo>
                  <a:lnTo>
                    <a:pt x="321" y="166"/>
                  </a:lnTo>
                  <a:lnTo>
                    <a:pt x="365" y="180"/>
                  </a:lnTo>
                  <a:lnTo>
                    <a:pt x="365" y="180"/>
                  </a:lnTo>
                  <a:lnTo>
                    <a:pt x="387" y="197"/>
                  </a:lnTo>
                  <a:lnTo>
                    <a:pt x="431" y="219"/>
                  </a:lnTo>
                  <a:lnTo>
                    <a:pt x="431" y="219"/>
                  </a:lnTo>
                  <a:lnTo>
                    <a:pt x="483" y="246"/>
                  </a:lnTo>
                  <a:lnTo>
                    <a:pt x="514" y="254"/>
                  </a:lnTo>
                  <a:lnTo>
                    <a:pt x="549" y="254"/>
                  </a:lnTo>
                  <a:lnTo>
                    <a:pt x="549" y="254"/>
                  </a:lnTo>
                  <a:lnTo>
                    <a:pt x="567" y="250"/>
                  </a:lnTo>
                  <a:lnTo>
                    <a:pt x="576" y="241"/>
                  </a:lnTo>
                  <a:lnTo>
                    <a:pt x="580" y="224"/>
                  </a:lnTo>
                  <a:lnTo>
                    <a:pt x="580" y="202"/>
                  </a:lnTo>
                  <a:lnTo>
                    <a:pt x="576" y="180"/>
                  </a:lnTo>
                  <a:lnTo>
                    <a:pt x="567" y="158"/>
                  </a:lnTo>
                  <a:lnTo>
                    <a:pt x="554" y="140"/>
                  </a:lnTo>
                  <a:lnTo>
                    <a:pt x="536" y="123"/>
                  </a:lnTo>
                  <a:lnTo>
                    <a:pt x="536" y="123"/>
                  </a:lnTo>
                  <a:close/>
                </a:path>
              </a:pathLst>
            </a:custGeom>
            <a:solidFill>
              <a:srgbClr val="D7D8D9">
                <a:lumMod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75" name="Freeform 33"/>
            <p:cNvSpPr>
              <a:spLocks/>
            </p:cNvSpPr>
            <p:nvPr/>
          </p:nvSpPr>
          <p:spPr bwMode="auto">
            <a:xfrm>
              <a:off x="5625662" y="4411454"/>
              <a:ext cx="1053758" cy="770688"/>
            </a:xfrm>
            <a:custGeom>
              <a:avLst/>
              <a:gdLst/>
              <a:ahLst/>
              <a:cxnLst>
                <a:cxn ang="0">
                  <a:pos x="623" y="0"/>
                </a:cxn>
                <a:cxn ang="0">
                  <a:pos x="623" y="0"/>
                </a:cxn>
                <a:cxn ang="0">
                  <a:pos x="632" y="39"/>
                </a:cxn>
                <a:cxn ang="0">
                  <a:pos x="650" y="136"/>
                </a:cxn>
                <a:cxn ang="0">
                  <a:pos x="659" y="198"/>
                </a:cxn>
                <a:cxn ang="0">
                  <a:pos x="663" y="268"/>
                </a:cxn>
                <a:cxn ang="0">
                  <a:pos x="667" y="334"/>
                </a:cxn>
                <a:cxn ang="0">
                  <a:pos x="659" y="395"/>
                </a:cxn>
                <a:cxn ang="0">
                  <a:pos x="659" y="395"/>
                </a:cxn>
                <a:cxn ang="0">
                  <a:pos x="632" y="413"/>
                </a:cxn>
                <a:cxn ang="0">
                  <a:pos x="597" y="426"/>
                </a:cxn>
                <a:cxn ang="0">
                  <a:pos x="549" y="448"/>
                </a:cxn>
                <a:cxn ang="0">
                  <a:pos x="483" y="465"/>
                </a:cxn>
                <a:cxn ang="0">
                  <a:pos x="399" y="479"/>
                </a:cxn>
                <a:cxn ang="0">
                  <a:pos x="303" y="483"/>
                </a:cxn>
                <a:cxn ang="0">
                  <a:pos x="246" y="483"/>
                </a:cxn>
                <a:cxn ang="0">
                  <a:pos x="184" y="479"/>
                </a:cxn>
                <a:cxn ang="0">
                  <a:pos x="184" y="479"/>
                </a:cxn>
                <a:cxn ang="0">
                  <a:pos x="123" y="474"/>
                </a:cxn>
                <a:cxn ang="0">
                  <a:pos x="101" y="465"/>
                </a:cxn>
                <a:cxn ang="0">
                  <a:pos x="96" y="461"/>
                </a:cxn>
                <a:cxn ang="0">
                  <a:pos x="96" y="461"/>
                </a:cxn>
                <a:cxn ang="0">
                  <a:pos x="96" y="457"/>
                </a:cxn>
                <a:cxn ang="0">
                  <a:pos x="17" y="465"/>
                </a:cxn>
                <a:cxn ang="0">
                  <a:pos x="17" y="465"/>
                </a:cxn>
                <a:cxn ang="0">
                  <a:pos x="22" y="448"/>
                </a:cxn>
                <a:cxn ang="0">
                  <a:pos x="31" y="408"/>
                </a:cxn>
                <a:cxn ang="0">
                  <a:pos x="31" y="382"/>
                </a:cxn>
                <a:cxn ang="0">
                  <a:pos x="26" y="351"/>
                </a:cxn>
                <a:cxn ang="0">
                  <a:pos x="17" y="321"/>
                </a:cxn>
                <a:cxn ang="0">
                  <a:pos x="0" y="285"/>
                </a:cxn>
                <a:cxn ang="0">
                  <a:pos x="74" y="285"/>
                </a:cxn>
                <a:cxn ang="0">
                  <a:pos x="74" y="285"/>
                </a:cxn>
                <a:cxn ang="0">
                  <a:pos x="83" y="268"/>
                </a:cxn>
                <a:cxn ang="0">
                  <a:pos x="92" y="255"/>
                </a:cxn>
                <a:cxn ang="0">
                  <a:pos x="110" y="237"/>
                </a:cxn>
                <a:cxn ang="0">
                  <a:pos x="110" y="237"/>
                </a:cxn>
                <a:cxn ang="0">
                  <a:pos x="118" y="228"/>
                </a:cxn>
                <a:cxn ang="0">
                  <a:pos x="136" y="224"/>
                </a:cxn>
                <a:cxn ang="0">
                  <a:pos x="175" y="219"/>
                </a:cxn>
                <a:cxn ang="0">
                  <a:pos x="219" y="211"/>
                </a:cxn>
                <a:cxn ang="0">
                  <a:pos x="241" y="202"/>
                </a:cxn>
                <a:cxn ang="0">
                  <a:pos x="259" y="193"/>
                </a:cxn>
                <a:cxn ang="0">
                  <a:pos x="259" y="193"/>
                </a:cxn>
                <a:cxn ang="0">
                  <a:pos x="272" y="176"/>
                </a:cxn>
                <a:cxn ang="0">
                  <a:pos x="290" y="158"/>
                </a:cxn>
                <a:cxn ang="0">
                  <a:pos x="312" y="110"/>
                </a:cxn>
                <a:cxn ang="0">
                  <a:pos x="338" y="48"/>
                </a:cxn>
                <a:cxn ang="0">
                  <a:pos x="623" y="0"/>
                </a:cxn>
              </a:cxnLst>
              <a:rect l="0" t="0" r="r" b="b"/>
              <a:pathLst>
                <a:path w="667" h="483">
                  <a:moveTo>
                    <a:pt x="623" y="0"/>
                  </a:moveTo>
                  <a:lnTo>
                    <a:pt x="623" y="0"/>
                  </a:lnTo>
                  <a:lnTo>
                    <a:pt x="632" y="39"/>
                  </a:lnTo>
                  <a:lnTo>
                    <a:pt x="650" y="136"/>
                  </a:lnTo>
                  <a:lnTo>
                    <a:pt x="659" y="198"/>
                  </a:lnTo>
                  <a:lnTo>
                    <a:pt x="663" y="268"/>
                  </a:lnTo>
                  <a:lnTo>
                    <a:pt x="667" y="334"/>
                  </a:lnTo>
                  <a:lnTo>
                    <a:pt x="659" y="395"/>
                  </a:lnTo>
                  <a:lnTo>
                    <a:pt x="659" y="395"/>
                  </a:lnTo>
                  <a:lnTo>
                    <a:pt x="632" y="413"/>
                  </a:lnTo>
                  <a:lnTo>
                    <a:pt x="597" y="426"/>
                  </a:lnTo>
                  <a:lnTo>
                    <a:pt x="549" y="448"/>
                  </a:lnTo>
                  <a:lnTo>
                    <a:pt x="483" y="465"/>
                  </a:lnTo>
                  <a:lnTo>
                    <a:pt x="399" y="479"/>
                  </a:lnTo>
                  <a:lnTo>
                    <a:pt x="303" y="483"/>
                  </a:lnTo>
                  <a:lnTo>
                    <a:pt x="246" y="483"/>
                  </a:lnTo>
                  <a:lnTo>
                    <a:pt x="184" y="479"/>
                  </a:lnTo>
                  <a:lnTo>
                    <a:pt x="184" y="479"/>
                  </a:lnTo>
                  <a:lnTo>
                    <a:pt x="123" y="474"/>
                  </a:lnTo>
                  <a:lnTo>
                    <a:pt x="101" y="465"/>
                  </a:lnTo>
                  <a:lnTo>
                    <a:pt x="96" y="461"/>
                  </a:lnTo>
                  <a:lnTo>
                    <a:pt x="96" y="461"/>
                  </a:lnTo>
                  <a:lnTo>
                    <a:pt x="96" y="457"/>
                  </a:lnTo>
                  <a:lnTo>
                    <a:pt x="17" y="465"/>
                  </a:lnTo>
                  <a:lnTo>
                    <a:pt x="17" y="465"/>
                  </a:lnTo>
                  <a:lnTo>
                    <a:pt x="22" y="448"/>
                  </a:lnTo>
                  <a:lnTo>
                    <a:pt x="31" y="408"/>
                  </a:lnTo>
                  <a:lnTo>
                    <a:pt x="31" y="382"/>
                  </a:lnTo>
                  <a:lnTo>
                    <a:pt x="26" y="351"/>
                  </a:lnTo>
                  <a:lnTo>
                    <a:pt x="17" y="321"/>
                  </a:lnTo>
                  <a:lnTo>
                    <a:pt x="0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83" y="268"/>
                  </a:lnTo>
                  <a:lnTo>
                    <a:pt x="92" y="255"/>
                  </a:lnTo>
                  <a:lnTo>
                    <a:pt x="110" y="237"/>
                  </a:lnTo>
                  <a:lnTo>
                    <a:pt x="110" y="237"/>
                  </a:lnTo>
                  <a:lnTo>
                    <a:pt x="118" y="228"/>
                  </a:lnTo>
                  <a:lnTo>
                    <a:pt x="136" y="224"/>
                  </a:lnTo>
                  <a:lnTo>
                    <a:pt x="175" y="219"/>
                  </a:lnTo>
                  <a:lnTo>
                    <a:pt x="219" y="211"/>
                  </a:lnTo>
                  <a:lnTo>
                    <a:pt x="241" y="202"/>
                  </a:lnTo>
                  <a:lnTo>
                    <a:pt x="259" y="193"/>
                  </a:lnTo>
                  <a:lnTo>
                    <a:pt x="259" y="193"/>
                  </a:lnTo>
                  <a:lnTo>
                    <a:pt x="272" y="176"/>
                  </a:lnTo>
                  <a:lnTo>
                    <a:pt x="290" y="158"/>
                  </a:lnTo>
                  <a:lnTo>
                    <a:pt x="312" y="110"/>
                  </a:lnTo>
                  <a:lnTo>
                    <a:pt x="338" y="48"/>
                  </a:lnTo>
                  <a:lnTo>
                    <a:pt x="623" y="0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76" name="Freeform 34"/>
            <p:cNvSpPr>
              <a:spLocks/>
            </p:cNvSpPr>
            <p:nvPr/>
          </p:nvSpPr>
          <p:spPr bwMode="auto">
            <a:xfrm>
              <a:off x="5169558" y="3294743"/>
              <a:ext cx="424649" cy="692046"/>
            </a:xfrm>
            <a:custGeom>
              <a:avLst/>
              <a:gdLst>
                <a:gd name="T0" fmla="*/ 285750 w 268"/>
                <a:gd name="T1" fmla="*/ 0 h 435"/>
                <a:gd name="T2" fmla="*/ 285750 w 268"/>
                <a:gd name="T3" fmla="*/ 0 h 435"/>
                <a:gd name="T4" fmla="*/ 285750 w 268"/>
                <a:gd name="T5" fmla="*/ 14287 h 435"/>
                <a:gd name="T6" fmla="*/ 300037 w 268"/>
                <a:gd name="T7" fmla="*/ 55562 h 435"/>
                <a:gd name="T8" fmla="*/ 300037 w 268"/>
                <a:gd name="T9" fmla="*/ 111125 h 435"/>
                <a:gd name="T10" fmla="*/ 300037 w 268"/>
                <a:gd name="T11" fmla="*/ 188912 h 435"/>
                <a:gd name="T12" fmla="*/ 285750 w 268"/>
                <a:gd name="T13" fmla="*/ 230187 h 435"/>
                <a:gd name="T14" fmla="*/ 273050 w 268"/>
                <a:gd name="T15" fmla="*/ 279400 h 435"/>
                <a:gd name="T16" fmla="*/ 250825 w 268"/>
                <a:gd name="T17" fmla="*/ 334962 h 435"/>
                <a:gd name="T18" fmla="*/ 223837 w 268"/>
                <a:gd name="T19" fmla="*/ 384175 h 435"/>
                <a:gd name="T20" fmla="*/ 182562 w 268"/>
                <a:gd name="T21" fmla="*/ 439737 h 435"/>
                <a:gd name="T22" fmla="*/ 133350 w 268"/>
                <a:gd name="T23" fmla="*/ 501650 h 435"/>
                <a:gd name="T24" fmla="*/ 69850 w 268"/>
                <a:gd name="T25" fmla="*/ 565150 h 435"/>
                <a:gd name="T26" fmla="*/ 0 w 268"/>
                <a:gd name="T27" fmla="*/ 627062 h 435"/>
                <a:gd name="T28" fmla="*/ 0 w 268"/>
                <a:gd name="T29" fmla="*/ 627062 h 435"/>
                <a:gd name="T30" fmla="*/ 7937 w 268"/>
                <a:gd name="T31" fmla="*/ 635000 h 435"/>
                <a:gd name="T32" fmla="*/ 14287 w 268"/>
                <a:gd name="T33" fmla="*/ 641350 h 435"/>
                <a:gd name="T34" fmla="*/ 34925 w 268"/>
                <a:gd name="T35" fmla="*/ 635000 h 435"/>
                <a:gd name="T36" fmla="*/ 34925 w 268"/>
                <a:gd name="T37" fmla="*/ 635000 h 435"/>
                <a:gd name="T38" fmla="*/ 104775 w 268"/>
                <a:gd name="T39" fmla="*/ 585787 h 435"/>
                <a:gd name="T40" fmla="*/ 147637 w 268"/>
                <a:gd name="T41" fmla="*/ 557212 h 435"/>
                <a:gd name="T42" fmla="*/ 147637 w 268"/>
                <a:gd name="T43" fmla="*/ 557212 h 435"/>
                <a:gd name="T44" fmla="*/ 244475 w 268"/>
                <a:gd name="T45" fmla="*/ 614362 h 435"/>
                <a:gd name="T46" fmla="*/ 307975 w 268"/>
                <a:gd name="T47" fmla="*/ 661987 h 435"/>
                <a:gd name="T48" fmla="*/ 342900 w 268"/>
                <a:gd name="T49" fmla="*/ 690562 h 435"/>
                <a:gd name="T50" fmla="*/ 342900 w 268"/>
                <a:gd name="T51" fmla="*/ 690562 h 435"/>
                <a:gd name="T52" fmla="*/ 355600 w 268"/>
                <a:gd name="T53" fmla="*/ 682625 h 435"/>
                <a:gd name="T54" fmla="*/ 369887 w 268"/>
                <a:gd name="T55" fmla="*/ 649287 h 435"/>
                <a:gd name="T56" fmla="*/ 390525 w 268"/>
                <a:gd name="T57" fmla="*/ 585787 h 435"/>
                <a:gd name="T58" fmla="*/ 411163 w 268"/>
                <a:gd name="T59" fmla="*/ 501650 h 435"/>
                <a:gd name="T60" fmla="*/ 425450 w 268"/>
                <a:gd name="T61" fmla="*/ 404812 h 435"/>
                <a:gd name="T62" fmla="*/ 425450 w 268"/>
                <a:gd name="T63" fmla="*/ 292100 h 435"/>
                <a:gd name="T64" fmla="*/ 425450 w 268"/>
                <a:gd name="T65" fmla="*/ 236537 h 435"/>
                <a:gd name="T66" fmla="*/ 411163 w 268"/>
                <a:gd name="T67" fmla="*/ 180975 h 435"/>
                <a:gd name="T68" fmla="*/ 398462 w 268"/>
                <a:gd name="T69" fmla="*/ 119062 h 435"/>
                <a:gd name="T70" fmla="*/ 384175 w 268"/>
                <a:gd name="T71" fmla="*/ 55562 h 435"/>
                <a:gd name="T72" fmla="*/ 384175 w 268"/>
                <a:gd name="T73" fmla="*/ 55562 h 435"/>
                <a:gd name="T74" fmla="*/ 342900 w 268"/>
                <a:gd name="T75" fmla="*/ 20637 h 435"/>
                <a:gd name="T76" fmla="*/ 307975 w 268"/>
                <a:gd name="T77" fmla="*/ 6350 h 435"/>
                <a:gd name="T78" fmla="*/ 293687 w 268"/>
                <a:gd name="T79" fmla="*/ 0 h 435"/>
                <a:gd name="T80" fmla="*/ 285750 w 268"/>
                <a:gd name="T81" fmla="*/ 0 h 435"/>
                <a:gd name="T82" fmla="*/ 285750 w 268"/>
                <a:gd name="T83" fmla="*/ 0 h 43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68"/>
                <a:gd name="T127" fmla="*/ 0 h 435"/>
                <a:gd name="T128" fmla="*/ 268 w 268"/>
                <a:gd name="T129" fmla="*/ 435 h 43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68" h="435">
                  <a:moveTo>
                    <a:pt x="180" y="0"/>
                  </a:moveTo>
                  <a:lnTo>
                    <a:pt x="180" y="0"/>
                  </a:lnTo>
                  <a:lnTo>
                    <a:pt x="180" y="9"/>
                  </a:lnTo>
                  <a:lnTo>
                    <a:pt x="189" y="35"/>
                  </a:lnTo>
                  <a:lnTo>
                    <a:pt x="189" y="70"/>
                  </a:lnTo>
                  <a:lnTo>
                    <a:pt x="189" y="119"/>
                  </a:lnTo>
                  <a:lnTo>
                    <a:pt x="180" y="145"/>
                  </a:lnTo>
                  <a:lnTo>
                    <a:pt x="172" y="176"/>
                  </a:lnTo>
                  <a:lnTo>
                    <a:pt x="158" y="211"/>
                  </a:lnTo>
                  <a:lnTo>
                    <a:pt x="141" y="242"/>
                  </a:lnTo>
                  <a:lnTo>
                    <a:pt x="115" y="277"/>
                  </a:lnTo>
                  <a:lnTo>
                    <a:pt x="84" y="316"/>
                  </a:lnTo>
                  <a:lnTo>
                    <a:pt x="44" y="356"/>
                  </a:lnTo>
                  <a:lnTo>
                    <a:pt x="0" y="395"/>
                  </a:lnTo>
                  <a:lnTo>
                    <a:pt x="5" y="400"/>
                  </a:lnTo>
                  <a:lnTo>
                    <a:pt x="9" y="404"/>
                  </a:lnTo>
                  <a:lnTo>
                    <a:pt x="22" y="400"/>
                  </a:lnTo>
                  <a:lnTo>
                    <a:pt x="66" y="369"/>
                  </a:lnTo>
                  <a:lnTo>
                    <a:pt x="93" y="351"/>
                  </a:lnTo>
                  <a:lnTo>
                    <a:pt x="154" y="387"/>
                  </a:lnTo>
                  <a:lnTo>
                    <a:pt x="194" y="417"/>
                  </a:lnTo>
                  <a:lnTo>
                    <a:pt x="216" y="435"/>
                  </a:lnTo>
                  <a:lnTo>
                    <a:pt x="224" y="430"/>
                  </a:lnTo>
                  <a:lnTo>
                    <a:pt x="233" y="409"/>
                  </a:lnTo>
                  <a:lnTo>
                    <a:pt x="246" y="369"/>
                  </a:lnTo>
                  <a:lnTo>
                    <a:pt x="259" y="316"/>
                  </a:lnTo>
                  <a:lnTo>
                    <a:pt x="268" y="255"/>
                  </a:lnTo>
                  <a:lnTo>
                    <a:pt x="268" y="184"/>
                  </a:lnTo>
                  <a:lnTo>
                    <a:pt x="268" y="149"/>
                  </a:lnTo>
                  <a:lnTo>
                    <a:pt x="259" y="114"/>
                  </a:lnTo>
                  <a:lnTo>
                    <a:pt x="251" y="75"/>
                  </a:lnTo>
                  <a:lnTo>
                    <a:pt x="242" y="35"/>
                  </a:lnTo>
                  <a:lnTo>
                    <a:pt x="216" y="13"/>
                  </a:lnTo>
                  <a:lnTo>
                    <a:pt x="194" y="4"/>
                  </a:lnTo>
                  <a:lnTo>
                    <a:pt x="185" y="0"/>
                  </a:lnTo>
                  <a:lnTo>
                    <a:pt x="180" y="0"/>
                  </a:lnTo>
                  <a:close/>
                </a:path>
              </a:pathLst>
            </a:custGeom>
            <a:solidFill>
              <a:srgbClr val="E9E5E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77" name="Freeform 35"/>
            <p:cNvSpPr>
              <a:spLocks/>
            </p:cNvSpPr>
            <p:nvPr/>
          </p:nvSpPr>
          <p:spPr bwMode="auto">
            <a:xfrm>
              <a:off x="5421202" y="4238442"/>
              <a:ext cx="424649" cy="55049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22" y="9"/>
                </a:cxn>
                <a:cxn ang="0">
                  <a:pos x="75" y="22"/>
                </a:cxn>
                <a:cxn ang="0">
                  <a:pos x="110" y="31"/>
                </a:cxn>
                <a:cxn ang="0">
                  <a:pos x="145" y="35"/>
                </a:cxn>
                <a:cxn ang="0">
                  <a:pos x="185" y="35"/>
                </a:cxn>
                <a:cxn ang="0">
                  <a:pos x="224" y="31"/>
                </a:cxn>
                <a:cxn ang="0">
                  <a:pos x="268" y="264"/>
                </a:cxn>
                <a:cxn ang="0">
                  <a:pos x="181" y="347"/>
                </a:cxn>
                <a:cxn ang="0">
                  <a:pos x="40" y="264"/>
                </a:cxn>
                <a:cxn ang="0">
                  <a:pos x="40" y="264"/>
                </a:cxn>
                <a:cxn ang="0">
                  <a:pos x="31" y="233"/>
                </a:cxn>
                <a:cxn ang="0">
                  <a:pos x="14" y="167"/>
                </a:cxn>
                <a:cxn ang="0">
                  <a:pos x="0" y="79"/>
                </a:cxn>
                <a:cxn ang="0">
                  <a:pos x="0" y="4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68" h="347">
                  <a:moveTo>
                    <a:pt x="0" y="0"/>
                  </a:moveTo>
                  <a:lnTo>
                    <a:pt x="0" y="0"/>
                  </a:lnTo>
                  <a:lnTo>
                    <a:pt x="22" y="9"/>
                  </a:lnTo>
                  <a:lnTo>
                    <a:pt x="75" y="22"/>
                  </a:lnTo>
                  <a:lnTo>
                    <a:pt x="110" y="31"/>
                  </a:lnTo>
                  <a:lnTo>
                    <a:pt x="145" y="35"/>
                  </a:lnTo>
                  <a:lnTo>
                    <a:pt x="185" y="35"/>
                  </a:lnTo>
                  <a:lnTo>
                    <a:pt x="224" y="31"/>
                  </a:lnTo>
                  <a:lnTo>
                    <a:pt x="268" y="264"/>
                  </a:lnTo>
                  <a:lnTo>
                    <a:pt x="181" y="347"/>
                  </a:lnTo>
                  <a:lnTo>
                    <a:pt x="40" y="264"/>
                  </a:lnTo>
                  <a:lnTo>
                    <a:pt x="40" y="264"/>
                  </a:lnTo>
                  <a:lnTo>
                    <a:pt x="31" y="233"/>
                  </a:lnTo>
                  <a:lnTo>
                    <a:pt x="14" y="167"/>
                  </a:lnTo>
                  <a:lnTo>
                    <a:pt x="0" y="79"/>
                  </a:lnTo>
                  <a:lnTo>
                    <a:pt x="0" y="4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78" name="Freeform 36"/>
            <p:cNvSpPr>
              <a:spLocks/>
            </p:cNvSpPr>
            <p:nvPr/>
          </p:nvSpPr>
          <p:spPr bwMode="auto">
            <a:xfrm>
              <a:off x="5130241" y="4057564"/>
              <a:ext cx="55045" cy="62913"/>
            </a:xfrm>
            <a:custGeom>
              <a:avLst/>
              <a:gdLst>
                <a:gd name="T0" fmla="*/ 49213 w 31"/>
                <a:gd name="T1" fmla="*/ 34925 h 39"/>
                <a:gd name="T2" fmla="*/ 49213 w 31"/>
                <a:gd name="T3" fmla="*/ 34925 h 39"/>
                <a:gd name="T4" fmla="*/ 42863 w 31"/>
                <a:gd name="T5" fmla="*/ 55562 h 39"/>
                <a:gd name="T6" fmla="*/ 34925 w 31"/>
                <a:gd name="T7" fmla="*/ 61912 h 39"/>
                <a:gd name="T8" fmla="*/ 22225 w 31"/>
                <a:gd name="T9" fmla="*/ 61912 h 39"/>
                <a:gd name="T10" fmla="*/ 22225 w 31"/>
                <a:gd name="T11" fmla="*/ 61912 h 39"/>
                <a:gd name="T12" fmla="*/ 14288 w 31"/>
                <a:gd name="T13" fmla="*/ 61912 h 39"/>
                <a:gd name="T14" fmla="*/ 7938 w 31"/>
                <a:gd name="T15" fmla="*/ 55562 h 39"/>
                <a:gd name="T16" fmla="*/ 0 w 31"/>
                <a:gd name="T17" fmla="*/ 34925 h 39"/>
                <a:gd name="T18" fmla="*/ 0 w 31"/>
                <a:gd name="T19" fmla="*/ 34925 h 39"/>
                <a:gd name="T20" fmla="*/ 7938 w 31"/>
                <a:gd name="T21" fmla="*/ 14287 h 39"/>
                <a:gd name="T22" fmla="*/ 14288 w 31"/>
                <a:gd name="T23" fmla="*/ 6350 h 39"/>
                <a:gd name="T24" fmla="*/ 22225 w 31"/>
                <a:gd name="T25" fmla="*/ 0 h 39"/>
                <a:gd name="T26" fmla="*/ 22225 w 31"/>
                <a:gd name="T27" fmla="*/ 0 h 39"/>
                <a:gd name="T28" fmla="*/ 34925 w 31"/>
                <a:gd name="T29" fmla="*/ 6350 h 39"/>
                <a:gd name="T30" fmla="*/ 42863 w 31"/>
                <a:gd name="T31" fmla="*/ 14287 h 39"/>
                <a:gd name="T32" fmla="*/ 49213 w 31"/>
                <a:gd name="T33" fmla="*/ 34925 h 39"/>
                <a:gd name="T34" fmla="*/ 49213 w 31"/>
                <a:gd name="T35" fmla="*/ 34925 h 3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1"/>
                <a:gd name="T55" fmla="*/ 0 h 39"/>
                <a:gd name="T56" fmla="*/ 31 w 31"/>
                <a:gd name="T57" fmla="*/ 39 h 3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1" h="39">
                  <a:moveTo>
                    <a:pt x="31" y="22"/>
                  </a:moveTo>
                  <a:lnTo>
                    <a:pt x="31" y="22"/>
                  </a:lnTo>
                  <a:lnTo>
                    <a:pt x="27" y="35"/>
                  </a:lnTo>
                  <a:lnTo>
                    <a:pt x="22" y="39"/>
                  </a:lnTo>
                  <a:lnTo>
                    <a:pt x="14" y="39"/>
                  </a:lnTo>
                  <a:lnTo>
                    <a:pt x="9" y="39"/>
                  </a:lnTo>
                  <a:lnTo>
                    <a:pt x="5" y="35"/>
                  </a:lnTo>
                  <a:lnTo>
                    <a:pt x="0" y="22"/>
                  </a:lnTo>
                  <a:lnTo>
                    <a:pt x="5" y="9"/>
                  </a:lnTo>
                  <a:lnTo>
                    <a:pt x="9" y="4"/>
                  </a:lnTo>
                  <a:lnTo>
                    <a:pt x="14" y="0"/>
                  </a:lnTo>
                  <a:lnTo>
                    <a:pt x="22" y="4"/>
                  </a:lnTo>
                  <a:lnTo>
                    <a:pt x="27" y="9"/>
                  </a:lnTo>
                  <a:lnTo>
                    <a:pt x="31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79" name="Freeform 37"/>
            <p:cNvSpPr>
              <a:spLocks/>
            </p:cNvSpPr>
            <p:nvPr/>
          </p:nvSpPr>
          <p:spPr bwMode="auto">
            <a:xfrm>
              <a:off x="5201014" y="4340674"/>
              <a:ext cx="47183" cy="55052"/>
            </a:xfrm>
            <a:custGeom>
              <a:avLst/>
              <a:gdLst>
                <a:gd name="T0" fmla="*/ 49213 w 31"/>
                <a:gd name="T1" fmla="*/ 26987 h 39"/>
                <a:gd name="T2" fmla="*/ 49213 w 31"/>
                <a:gd name="T3" fmla="*/ 26987 h 39"/>
                <a:gd name="T4" fmla="*/ 41275 w 31"/>
                <a:gd name="T5" fmla="*/ 47625 h 39"/>
                <a:gd name="T6" fmla="*/ 34925 w 31"/>
                <a:gd name="T7" fmla="*/ 55562 h 39"/>
                <a:gd name="T8" fmla="*/ 26988 w 31"/>
                <a:gd name="T9" fmla="*/ 61912 h 39"/>
                <a:gd name="T10" fmla="*/ 26988 w 31"/>
                <a:gd name="T11" fmla="*/ 61912 h 39"/>
                <a:gd name="T12" fmla="*/ 14288 w 31"/>
                <a:gd name="T13" fmla="*/ 55562 h 39"/>
                <a:gd name="T14" fmla="*/ 6350 w 31"/>
                <a:gd name="T15" fmla="*/ 47625 h 39"/>
                <a:gd name="T16" fmla="*/ 0 w 31"/>
                <a:gd name="T17" fmla="*/ 26987 h 39"/>
                <a:gd name="T18" fmla="*/ 0 w 31"/>
                <a:gd name="T19" fmla="*/ 26987 h 39"/>
                <a:gd name="T20" fmla="*/ 6350 w 31"/>
                <a:gd name="T21" fmla="*/ 6350 h 39"/>
                <a:gd name="T22" fmla="*/ 14288 w 31"/>
                <a:gd name="T23" fmla="*/ 0 h 39"/>
                <a:gd name="T24" fmla="*/ 26988 w 31"/>
                <a:gd name="T25" fmla="*/ 0 h 39"/>
                <a:gd name="T26" fmla="*/ 26988 w 31"/>
                <a:gd name="T27" fmla="*/ 0 h 39"/>
                <a:gd name="T28" fmla="*/ 34925 w 31"/>
                <a:gd name="T29" fmla="*/ 0 h 39"/>
                <a:gd name="T30" fmla="*/ 41275 w 31"/>
                <a:gd name="T31" fmla="*/ 6350 h 39"/>
                <a:gd name="T32" fmla="*/ 49213 w 31"/>
                <a:gd name="T33" fmla="*/ 26987 h 39"/>
                <a:gd name="T34" fmla="*/ 49213 w 31"/>
                <a:gd name="T35" fmla="*/ 26987 h 3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1"/>
                <a:gd name="T55" fmla="*/ 0 h 39"/>
                <a:gd name="T56" fmla="*/ 31 w 31"/>
                <a:gd name="T57" fmla="*/ 39 h 3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1" h="39">
                  <a:moveTo>
                    <a:pt x="31" y="17"/>
                  </a:moveTo>
                  <a:lnTo>
                    <a:pt x="31" y="17"/>
                  </a:lnTo>
                  <a:lnTo>
                    <a:pt x="26" y="30"/>
                  </a:lnTo>
                  <a:lnTo>
                    <a:pt x="22" y="35"/>
                  </a:lnTo>
                  <a:lnTo>
                    <a:pt x="17" y="39"/>
                  </a:lnTo>
                  <a:lnTo>
                    <a:pt x="9" y="35"/>
                  </a:lnTo>
                  <a:lnTo>
                    <a:pt x="4" y="30"/>
                  </a:lnTo>
                  <a:lnTo>
                    <a:pt x="0" y="17"/>
                  </a:lnTo>
                  <a:lnTo>
                    <a:pt x="4" y="4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26" y="4"/>
                  </a:lnTo>
                  <a:lnTo>
                    <a:pt x="31" y="1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80" name="Freeform 38"/>
            <p:cNvSpPr>
              <a:spLocks/>
            </p:cNvSpPr>
            <p:nvPr/>
          </p:nvSpPr>
          <p:spPr bwMode="auto">
            <a:xfrm>
              <a:off x="5256063" y="4560870"/>
              <a:ext cx="47183" cy="55052"/>
            </a:xfrm>
            <a:custGeom>
              <a:avLst/>
              <a:gdLst>
                <a:gd name="T0" fmla="*/ 42863 w 27"/>
                <a:gd name="T1" fmla="*/ 28575 h 35"/>
                <a:gd name="T2" fmla="*/ 42863 w 27"/>
                <a:gd name="T3" fmla="*/ 28575 h 35"/>
                <a:gd name="T4" fmla="*/ 34925 w 27"/>
                <a:gd name="T5" fmla="*/ 49212 h 35"/>
                <a:gd name="T6" fmla="*/ 28575 w 27"/>
                <a:gd name="T7" fmla="*/ 55562 h 35"/>
                <a:gd name="T8" fmla="*/ 22225 w 27"/>
                <a:gd name="T9" fmla="*/ 55562 h 35"/>
                <a:gd name="T10" fmla="*/ 22225 w 27"/>
                <a:gd name="T11" fmla="*/ 55562 h 35"/>
                <a:gd name="T12" fmla="*/ 14288 w 27"/>
                <a:gd name="T13" fmla="*/ 55562 h 35"/>
                <a:gd name="T14" fmla="*/ 7938 w 27"/>
                <a:gd name="T15" fmla="*/ 49212 h 35"/>
                <a:gd name="T16" fmla="*/ 0 w 27"/>
                <a:gd name="T17" fmla="*/ 28575 h 35"/>
                <a:gd name="T18" fmla="*/ 0 w 27"/>
                <a:gd name="T19" fmla="*/ 28575 h 35"/>
                <a:gd name="T20" fmla="*/ 7938 w 27"/>
                <a:gd name="T21" fmla="*/ 6350 h 35"/>
                <a:gd name="T22" fmla="*/ 14288 w 27"/>
                <a:gd name="T23" fmla="*/ 0 h 35"/>
                <a:gd name="T24" fmla="*/ 22225 w 27"/>
                <a:gd name="T25" fmla="*/ 0 h 35"/>
                <a:gd name="T26" fmla="*/ 22225 w 27"/>
                <a:gd name="T27" fmla="*/ 0 h 35"/>
                <a:gd name="T28" fmla="*/ 28575 w 27"/>
                <a:gd name="T29" fmla="*/ 0 h 35"/>
                <a:gd name="T30" fmla="*/ 34925 w 27"/>
                <a:gd name="T31" fmla="*/ 6350 h 35"/>
                <a:gd name="T32" fmla="*/ 42863 w 27"/>
                <a:gd name="T33" fmla="*/ 28575 h 35"/>
                <a:gd name="T34" fmla="*/ 42863 w 27"/>
                <a:gd name="T35" fmla="*/ 28575 h 3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7"/>
                <a:gd name="T55" fmla="*/ 0 h 35"/>
                <a:gd name="T56" fmla="*/ 27 w 27"/>
                <a:gd name="T57" fmla="*/ 35 h 3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7" h="35">
                  <a:moveTo>
                    <a:pt x="27" y="18"/>
                  </a:moveTo>
                  <a:lnTo>
                    <a:pt x="27" y="18"/>
                  </a:lnTo>
                  <a:lnTo>
                    <a:pt x="22" y="31"/>
                  </a:lnTo>
                  <a:lnTo>
                    <a:pt x="18" y="35"/>
                  </a:lnTo>
                  <a:lnTo>
                    <a:pt x="14" y="35"/>
                  </a:lnTo>
                  <a:lnTo>
                    <a:pt x="9" y="35"/>
                  </a:lnTo>
                  <a:lnTo>
                    <a:pt x="5" y="31"/>
                  </a:lnTo>
                  <a:lnTo>
                    <a:pt x="0" y="18"/>
                  </a:lnTo>
                  <a:lnTo>
                    <a:pt x="5" y="4"/>
                  </a:lnTo>
                  <a:lnTo>
                    <a:pt x="9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7" y="1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81" name="Freeform 44"/>
            <p:cNvSpPr>
              <a:spLocks/>
            </p:cNvSpPr>
            <p:nvPr/>
          </p:nvSpPr>
          <p:spPr bwMode="auto">
            <a:xfrm>
              <a:off x="3824840" y="5150685"/>
              <a:ext cx="1557045" cy="117960"/>
            </a:xfrm>
            <a:custGeom>
              <a:avLst/>
              <a:gdLst>
                <a:gd name="T0" fmla="*/ 0 w 983"/>
                <a:gd name="T1" fmla="*/ 119062 h 75"/>
                <a:gd name="T2" fmla="*/ 1539875 w 983"/>
                <a:gd name="T3" fmla="*/ 98425 h 75"/>
                <a:gd name="T4" fmla="*/ 1539875 w 983"/>
                <a:gd name="T5" fmla="*/ 98425 h 75"/>
                <a:gd name="T6" fmla="*/ 1547813 w 983"/>
                <a:gd name="T7" fmla="*/ 92075 h 75"/>
                <a:gd name="T8" fmla="*/ 1560513 w 983"/>
                <a:gd name="T9" fmla="*/ 77787 h 75"/>
                <a:gd name="T10" fmla="*/ 1560513 w 983"/>
                <a:gd name="T11" fmla="*/ 63500 h 75"/>
                <a:gd name="T12" fmla="*/ 1560513 w 983"/>
                <a:gd name="T13" fmla="*/ 49212 h 75"/>
                <a:gd name="T14" fmla="*/ 1554163 w 983"/>
                <a:gd name="T15" fmla="*/ 28575 h 75"/>
                <a:gd name="T16" fmla="*/ 1539875 w 983"/>
                <a:gd name="T17" fmla="*/ 0 h 75"/>
                <a:gd name="T18" fmla="*/ 26988 w 983"/>
                <a:gd name="T19" fmla="*/ 7937 h 75"/>
                <a:gd name="T20" fmla="*/ 0 w 983"/>
                <a:gd name="T21" fmla="*/ 119062 h 7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83"/>
                <a:gd name="T34" fmla="*/ 0 h 75"/>
                <a:gd name="T35" fmla="*/ 983 w 983"/>
                <a:gd name="T36" fmla="*/ 75 h 7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83" h="75">
                  <a:moveTo>
                    <a:pt x="0" y="75"/>
                  </a:moveTo>
                  <a:lnTo>
                    <a:pt x="970" y="62"/>
                  </a:lnTo>
                  <a:lnTo>
                    <a:pt x="975" y="58"/>
                  </a:lnTo>
                  <a:lnTo>
                    <a:pt x="983" y="49"/>
                  </a:lnTo>
                  <a:lnTo>
                    <a:pt x="983" y="40"/>
                  </a:lnTo>
                  <a:lnTo>
                    <a:pt x="983" y="31"/>
                  </a:lnTo>
                  <a:lnTo>
                    <a:pt x="979" y="18"/>
                  </a:lnTo>
                  <a:lnTo>
                    <a:pt x="970" y="0"/>
                  </a:lnTo>
                  <a:lnTo>
                    <a:pt x="17" y="5"/>
                  </a:lnTo>
                  <a:lnTo>
                    <a:pt x="0" y="75"/>
                  </a:lnTo>
                  <a:close/>
                </a:path>
              </a:pathLst>
            </a:custGeom>
            <a:solidFill>
              <a:srgbClr val="A19B9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82" name="Freeform 45"/>
            <p:cNvSpPr>
              <a:spLocks/>
            </p:cNvSpPr>
            <p:nvPr/>
          </p:nvSpPr>
          <p:spPr bwMode="auto">
            <a:xfrm>
              <a:off x="3533875" y="4899032"/>
              <a:ext cx="322421" cy="369613"/>
            </a:xfrm>
            <a:custGeom>
              <a:avLst/>
              <a:gdLst>
                <a:gd name="T0" fmla="*/ 320675 w 207"/>
                <a:gd name="T1" fmla="*/ 334962 h 233"/>
                <a:gd name="T2" fmla="*/ 320675 w 207"/>
                <a:gd name="T3" fmla="*/ 334962 h 233"/>
                <a:gd name="T4" fmla="*/ 307975 w 207"/>
                <a:gd name="T5" fmla="*/ 363537 h 233"/>
                <a:gd name="T6" fmla="*/ 300038 w 207"/>
                <a:gd name="T7" fmla="*/ 369887 h 233"/>
                <a:gd name="T8" fmla="*/ 293688 w 207"/>
                <a:gd name="T9" fmla="*/ 369887 h 233"/>
                <a:gd name="T10" fmla="*/ 7938 w 207"/>
                <a:gd name="T11" fmla="*/ 90487 h 233"/>
                <a:gd name="T12" fmla="*/ 7938 w 207"/>
                <a:gd name="T13" fmla="*/ 90487 h 233"/>
                <a:gd name="T14" fmla="*/ 0 w 207"/>
                <a:gd name="T15" fmla="*/ 69850 h 233"/>
                <a:gd name="T16" fmla="*/ 7938 w 207"/>
                <a:gd name="T17" fmla="*/ 34925 h 233"/>
                <a:gd name="T18" fmla="*/ 7938 w 207"/>
                <a:gd name="T19" fmla="*/ 34925 h 233"/>
                <a:gd name="T20" fmla="*/ 7938 w 207"/>
                <a:gd name="T21" fmla="*/ 34925 h 233"/>
                <a:gd name="T22" fmla="*/ 22225 w 207"/>
                <a:gd name="T23" fmla="*/ 7937 h 233"/>
                <a:gd name="T24" fmla="*/ 28575 w 207"/>
                <a:gd name="T25" fmla="*/ 0 h 233"/>
                <a:gd name="T26" fmla="*/ 34925 w 207"/>
                <a:gd name="T27" fmla="*/ 7937 h 233"/>
                <a:gd name="T28" fmla="*/ 320675 w 207"/>
                <a:gd name="T29" fmla="*/ 279400 h 233"/>
                <a:gd name="T30" fmla="*/ 320675 w 207"/>
                <a:gd name="T31" fmla="*/ 279400 h 233"/>
                <a:gd name="T32" fmla="*/ 328613 w 207"/>
                <a:gd name="T33" fmla="*/ 300037 h 233"/>
                <a:gd name="T34" fmla="*/ 320675 w 207"/>
                <a:gd name="T35" fmla="*/ 334962 h 233"/>
                <a:gd name="T36" fmla="*/ 320675 w 207"/>
                <a:gd name="T37" fmla="*/ 334962 h 23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07"/>
                <a:gd name="T58" fmla="*/ 0 h 233"/>
                <a:gd name="T59" fmla="*/ 207 w 207"/>
                <a:gd name="T60" fmla="*/ 233 h 23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07" h="233">
                  <a:moveTo>
                    <a:pt x="202" y="211"/>
                  </a:moveTo>
                  <a:lnTo>
                    <a:pt x="202" y="211"/>
                  </a:lnTo>
                  <a:lnTo>
                    <a:pt x="194" y="229"/>
                  </a:lnTo>
                  <a:lnTo>
                    <a:pt x="189" y="233"/>
                  </a:lnTo>
                  <a:lnTo>
                    <a:pt x="185" y="233"/>
                  </a:lnTo>
                  <a:lnTo>
                    <a:pt x="5" y="57"/>
                  </a:lnTo>
                  <a:lnTo>
                    <a:pt x="0" y="44"/>
                  </a:lnTo>
                  <a:lnTo>
                    <a:pt x="5" y="22"/>
                  </a:lnTo>
                  <a:lnTo>
                    <a:pt x="14" y="5"/>
                  </a:lnTo>
                  <a:lnTo>
                    <a:pt x="18" y="0"/>
                  </a:lnTo>
                  <a:lnTo>
                    <a:pt x="22" y="5"/>
                  </a:lnTo>
                  <a:lnTo>
                    <a:pt x="202" y="176"/>
                  </a:lnTo>
                  <a:lnTo>
                    <a:pt x="207" y="189"/>
                  </a:lnTo>
                  <a:lnTo>
                    <a:pt x="202" y="211"/>
                  </a:lnTo>
                  <a:close/>
                </a:path>
              </a:pathLst>
            </a:custGeom>
            <a:solidFill>
              <a:srgbClr val="D6CFD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83" name="Freeform 46"/>
            <p:cNvSpPr>
              <a:spLocks/>
            </p:cNvSpPr>
            <p:nvPr/>
          </p:nvSpPr>
          <p:spPr bwMode="auto">
            <a:xfrm>
              <a:off x="3541741" y="4859709"/>
              <a:ext cx="1297535" cy="322433"/>
            </a:xfrm>
            <a:custGeom>
              <a:avLst/>
              <a:gdLst>
                <a:gd name="T0" fmla="*/ 0 w 821"/>
                <a:gd name="T1" fmla="*/ 41275 h 202"/>
                <a:gd name="T2" fmla="*/ 1079500 w 821"/>
                <a:gd name="T3" fmla="*/ 0 h 202"/>
                <a:gd name="T4" fmla="*/ 1303338 w 821"/>
                <a:gd name="T5" fmla="*/ 236538 h 202"/>
                <a:gd name="T6" fmla="*/ 312738 w 821"/>
                <a:gd name="T7" fmla="*/ 320675 h 202"/>
                <a:gd name="T8" fmla="*/ 0 w 821"/>
                <a:gd name="T9" fmla="*/ 41275 h 20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21"/>
                <a:gd name="T16" fmla="*/ 0 h 202"/>
                <a:gd name="T17" fmla="*/ 821 w 821"/>
                <a:gd name="T18" fmla="*/ 202 h 20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21" h="202">
                  <a:moveTo>
                    <a:pt x="0" y="26"/>
                  </a:moveTo>
                  <a:lnTo>
                    <a:pt x="680" y="0"/>
                  </a:lnTo>
                  <a:lnTo>
                    <a:pt x="821" y="149"/>
                  </a:lnTo>
                  <a:lnTo>
                    <a:pt x="197" y="202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E8E4E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84" name="Freeform 52"/>
            <p:cNvSpPr>
              <a:spLocks/>
            </p:cNvSpPr>
            <p:nvPr/>
          </p:nvSpPr>
          <p:spPr bwMode="auto">
            <a:xfrm>
              <a:off x="3966390" y="3845234"/>
              <a:ext cx="353871" cy="1077388"/>
            </a:xfrm>
            <a:custGeom>
              <a:avLst/>
              <a:gdLst>
                <a:gd name="T0" fmla="*/ 222250 w 224"/>
                <a:gd name="T1" fmla="*/ 0 h 681"/>
                <a:gd name="T2" fmla="*/ 222250 w 224"/>
                <a:gd name="T3" fmla="*/ 0 h 681"/>
                <a:gd name="T4" fmla="*/ 236538 w 224"/>
                <a:gd name="T5" fmla="*/ 47625 h 681"/>
                <a:gd name="T6" fmla="*/ 242888 w 224"/>
                <a:gd name="T7" fmla="*/ 111125 h 681"/>
                <a:gd name="T8" fmla="*/ 242888 w 224"/>
                <a:gd name="T9" fmla="*/ 187325 h 681"/>
                <a:gd name="T10" fmla="*/ 236538 w 224"/>
                <a:gd name="T11" fmla="*/ 271462 h 681"/>
                <a:gd name="T12" fmla="*/ 222250 w 224"/>
                <a:gd name="T13" fmla="*/ 368300 h 681"/>
                <a:gd name="T14" fmla="*/ 195262 w 224"/>
                <a:gd name="T15" fmla="*/ 466725 h 681"/>
                <a:gd name="T16" fmla="*/ 173038 w 224"/>
                <a:gd name="T17" fmla="*/ 515937 h 681"/>
                <a:gd name="T18" fmla="*/ 146050 w 224"/>
                <a:gd name="T19" fmla="*/ 563562 h 681"/>
                <a:gd name="T20" fmla="*/ 146050 w 224"/>
                <a:gd name="T21" fmla="*/ 563562 h 681"/>
                <a:gd name="T22" fmla="*/ 61913 w 224"/>
                <a:gd name="T23" fmla="*/ 731837 h 681"/>
                <a:gd name="T24" fmla="*/ 34925 w 224"/>
                <a:gd name="T25" fmla="*/ 793750 h 681"/>
                <a:gd name="T26" fmla="*/ 12700 w 224"/>
                <a:gd name="T27" fmla="*/ 850900 h 681"/>
                <a:gd name="T28" fmla="*/ 0 w 224"/>
                <a:gd name="T29" fmla="*/ 906462 h 681"/>
                <a:gd name="T30" fmla="*/ 0 w 224"/>
                <a:gd name="T31" fmla="*/ 962025 h 681"/>
                <a:gd name="T32" fmla="*/ 0 w 224"/>
                <a:gd name="T33" fmla="*/ 1017587 h 681"/>
                <a:gd name="T34" fmla="*/ 6350 w 224"/>
                <a:gd name="T35" fmla="*/ 1081087 h 681"/>
                <a:gd name="T36" fmla="*/ 341313 w 224"/>
                <a:gd name="T37" fmla="*/ 1066800 h 681"/>
                <a:gd name="T38" fmla="*/ 341313 w 224"/>
                <a:gd name="T39" fmla="*/ 1066800 h 681"/>
                <a:gd name="T40" fmla="*/ 347663 w 224"/>
                <a:gd name="T41" fmla="*/ 947737 h 681"/>
                <a:gd name="T42" fmla="*/ 355600 w 224"/>
                <a:gd name="T43" fmla="*/ 808037 h 681"/>
                <a:gd name="T44" fmla="*/ 355600 w 224"/>
                <a:gd name="T45" fmla="*/ 647700 h 681"/>
                <a:gd name="T46" fmla="*/ 341313 w 224"/>
                <a:gd name="T47" fmla="*/ 473075 h 681"/>
                <a:gd name="T48" fmla="*/ 320675 w 224"/>
                <a:gd name="T49" fmla="*/ 292100 h 681"/>
                <a:gd name="T50" fmla="*/ 306388 w 224"/>
                <a:gd name="T51" fmla="*/ 207962 h 681"/>
                <a:gd name="T52" fmla="*/ 285750 w 224"/>
                <a:gd name="T53" fmla="*/ 131762 h 681"/>
                <a:gd name="T54" fmla="*/ 257175 w 224"/>
                <a:gd name="T55" fmla="*/ 61912 h 681"/>
                <a:gd name="T56" fmla="*/ 222250 w 224"/>
                <a:gd name="T57" fmla="*/ 0 h 681"/>
                <a:gd name="T58" fmla="*/ 222250 w 224"/>
                <a:gd name="T59" fmla="*/ 0 h 68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24"/>
                <a:gd name="T91" fmla="*/ 0 h 681"/>
                <a:gd name="T92" fmla="*/ 224 w 224"/>
                <a:gd name="T93" fmla="*/ 681 h 68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24" h="681">
                  <a:moveTo>
                    <a:pt x="140" y="0"/>
                  </a:moveTo>
                  <a:lnTo>
                    <a:pt x="140" y="0"/>
                  </a:lnTo>
                  <a:lnTo>
                    <a:pt x="149" y="30"/>
                  </a:lnTo>
                  <a:lnTo>
                    <a:pt x="153" y="70"/>
                  </a:lnTo>
                  <a:lnTo>
                    <a:pt x="153" y="118"/>
                  </a:lnTo>
                  <a:lnTo>
                    <a:pt x="149" y="171"/>
                  </a:lnTo>
                  <a:lnTo>
                    <a:pt x="140" y="232"/>
                  </a:lnTo>
                  <a:lnTo>
                    <a:pt x="123" y="294"/>
                  </a:lnTo>
                  <a:lnTo>
                    <a:pt x="109" y="325"/>
                  </a:lnTo>
                  <a:lnTo>
                    <a:pt x="92" y="355"/>
                  </a:lnTo>
                  <a:lnTo>
                    <a:pt x="39" y="461"/>
                  </a:lnTo>
                  <a:lnTo>
                    <a:pt x="22" y="500"/>
                  </a:lnTo>
                  <a:lnTo>
                    <a:pt x="8" y="536"/>
                  </a:lnTo>
                  <a:lnTo>
                    <a:pt x="0" y="571"/>
                  </a:lnTo>
                  <a:lnTo>
                    <a:pt x="0" y="606"/>
                  </a:lnTo>
                  <a:lnTo>
                    <a:pt x="0" y="641"/>
                  </a:lnTo>
                  <a:lnTo>
                    <a:pt x="4" y="681"/>
                  </a:lnTo>
                  <a:lnTo>
                    <a:pt x="215" y="672"/>
                  </a:lnTo>
                  <a:lnTo>
                    <a:pt x="219" y="597"/>
                  </a:lnTo>
                  <a:lnTo>
                    <a:pt x="224" y="509"/>
                  </a:lnTo>
                  <a:lnTo>
                    <a:pt x="224" y="408"/>
                  </a:lnTo>
                  <a:lnTo>
                    <a:pt x="215" y="298"/>
                  </a:lnTo>
                  <a:lnTo>
                    <a:pt x="202" y="184"/>
                  </a:lnTo>
                  <a:lnTo>
                    <a:pt x="193" y="131"/>
                  </a:lnTo>
                  <a:lnTo>
                    <a:pt x="180" y="83"/>
                  </a:lnTo>
                  <a:lnTo>
                    <a:pt x="162" y="39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2D2D2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85" name="Freeform 54"/>
            <p:cNvSpPr>
              <a:spLocks/>
            </p:cNvSpPr>
            <p:nvPr/>
          </p:nvSpPr>
          <p:spPr bwMode="auto">
            <a:xfrm>
              <a:off x="3746201" y="2925124"/>
              <a:ext cx="448238" cy="605543"/>
            </a:xfrm>
            <a:custGeom>
              <a:avLst/>
              <a:gdLst/>
              <a:ahLst/>
              <a:cxnLst>
                <a:cxn ang="0">
                  <a:pos x="237" y="70"/>
                </a:cxn>
                <a:cxn ang="0">
                  <a:pos x="237" y="70"/>
                </a:cxn>
                <a:cxn ang="0">
                  <a:pos x="241" y="79"/>
                </a:cxn>
                <a:cxn ang="0">
                  <a:pos x="245" y="110"/>
                </a:cxn>
                <a:cxn ang="0">
                  <a:pos x="245" y="158"/>
                </a:cxn>
                <a:cxn ang="0">
                  <a:pos x="241" y="185"/>
                </a:cxn>
                <a:cxn ang="0">
                  <a:pos x="237" y="215"/>
                </a:cxn>
                <a:cxn ang="0">
                  <a:pos x="237" y="215"/>
                </a:cxn>
                <a:cxn ang="0">
                  <a:pos x="228" y="242"/>
                </a:cxn>
                <a:cxn ang="0">
                  <a:pos x="228" y="268"/>
                </a:cxn>
                <a:cxn ang="0">
                  <a:pos x="228" y="286"/>
                </a:cxn>
                <a:cxn ang="0">
                  <a:pos x="232" y="303"/>
                </a:cxn>
                <a:cxn ang="0">
                  <a:pos x="241" y="312"/>
                </a:cxn>
                <a:cxn ang="0">
                  <a:pos x="254" y="321"/>
                </a:cxn>
                <a:cxn ang="0">
                  <a:pos x="267" y="325"/>
                </a:cxn>
                <a:cxn ang="0">
                  <a:pos x="281" y="325"/>
                </a:cxn>
                <a:cxn ang="0">
                  <a:pos x="281" y="325"/>
                </a:cxn>
                <a:cxn ang="0">
                  <a:pos x="272" y="325"/>
                </a:cxn>
                <a:cxn ang="0">
                  <a:pos x="254" y="330"/>
                </a:cxn>
                <a:cxn ang="0">
                  <a:pos x="241" y="325"/>
                </a:cxn>
                <a:cxn ang="0">
                  <a:pos x="232" y="321"/>
                </a:cxn>
                <a:cxn ang="0">
                  <a:pos x="219" y="312"/>
                </a:cxn>
                <a:cxn ang="0">
                  <a:pos x="210" y="294"/>
                </a:cxn>
                <a:cxn ang="0">
                  <a:pos x="210" y="294"/>
                </a:cxn>
                <a:cxn ang="0">
                  <a:pos x="206" y="308"/>
                </a:cxn>
                <a:cxn ang="0">
                  <a:pos x="206" y="330"/>
                </a:cxn>
                <a:cxn ang="0">
                  <a:pos x="210" y="347"/>
                </a:cxn>
                <a:cxn ang="0">
                  <a:pos x="219" y="360"/>
                </a:cxn>
                <a:cxn ang="0">
                  <a:pos x="232" y="369"/>
                </a:cxn>
                <a:cxn ang="0">
                  <a:pos x="254" y="378"/>
                </a:cxn>
                <a:cxn ang="0">
                  <a:pos x="254" y="378"/>
                </a:cxn>
                <a:cxn ang="0">
                  <a:pos x="232" y="382"/>
                </a:cxn>
                <a:cxn ang="0">
                  <a:pos x="206" y="378"/>
                </a:cxn>
                <a:cxn ang="0">
                  <a:pos x="175" y="374"/>
                </a:cxn>
                <a:cxn ang="0">
                  <a:pos x="140" y="365"/>
                </a:cxn>
                <a:cxn ang="0">
                  <a:pos x="105" y="347"/>
                </a:cxn>
                <a:cxn ang="0">
                  <a:pos x="70" y="321"/>
                </a:cxn>
                <a:cxn ang="0">
                  <a:pos x="52" y="299"/>
                </a:cxn>
                <a:cxn ang="0">
                  <a:pos x="35" y="281"/>
                </a:cxn>
                <a:cxn ang="0">
                  <a:pos x="35" y="281"/>
                </a:cxn>
                <a:cxn ang="0">
                  <a:pos x="21" y="259"/>
                </a:cxn>
                <a:cxn ang="0">
                  <a:pos x="13" y="233"/>
                </a:cxn>
                <a:cxn ang="0">
                  <a:pos x="4" y="211"/>
                </a:cxn>
                <a:cxn ang="0">
                  <a:pos x="0" y="189"/>
                </a:cxn>
                <a:cxn ang="0">
                  <a:pos x="0" y="145"/>
                </a:cxn>
                <a:cxn ang="0">
                  <a:pos x="8" y="106"/>
                </a:cxn>
                <a:cxn ang="0">
                  <a:pos x="21" y="70"/>
                </a:cxn>
                <a:cxn ang="0">
                  <a:pos x="48" y="40"/>
                </a:cxn>
                <a:cxn ang="0">
                  <a:pos x="79" y="18"/>
                </a:cxn>
                <a:cxn ang="0">
                  <a:pos x="96" y="13"/>
                </a:cxn>
                <a:cxn ang="0">
                  <a:pos x="118" y="5"/>
                </a:cxn>
                <a:cxn ang="0">
                  <a:pos x="118" y="5"/>
                </a:cxn>
                <a:cxn ang="0">
                  <a:pos x="149" y="0"/>
                </a:cxn>
                <a:cxn ang="0">
                  <a:pos x="180" y="0"/>
                </a:cxn>
                <a:cxn ang="0">
                  <a:pos x="202" y="5"/>
                </a:cxn>
                <a:cxn ang="0">
                  <a:pos x="215" y="9"/>
                </a:cxn>
                <a:cxn ang="0">
                  <a:pos x="228" y="22"/>
                </a:cxn>
                <a:cxn ang="0">
                  <a:pos x="232" y="35"/>
                </a:cxn>
                <a:cxn ang="0">
                  <a:pos x="237" y="48"/>
                </a:cxn>
                <a:cxn ang="0">
                  <a:pos x="237" y="70"/>
                </a:cxn>
                <a:cxn ang="0">
                  <a:pos x="237" y="70"/>
                </a:cxn>
              </a:cxnLst>
              <a:rect l="0" t="0" r="r" b="b"/>
              <a:pathLst>
                <a:path w="281" h="382">
                  <a:moveTo>
                    <a:pt x="237" y="70"/>
                  </a:moveTo>
                  <a:lnTo>
                    <a:pt x="237" y="70"/>
                  </a:lnTo>
                  <a:lnTo>
                    <a:pt x="241" y="79"/>
                  </a:lnTo>
                  <a:lnTo>
                    <a:pt x="245" y="110"/>
                  </a:lnTo>
                  <a:lnTo>
                    <a:pt x="245" y="158"/>
                  </a:lnTo>
                  <a:lnTo>
                    <a:pt x="241" y="185"/>
                  </a:lnTo>
                  <a:lnTo>
                    <a:pt x="237" y="215"/>
                  </a:lnTo>
                  <a:lnTo>
                    <a:pt x="237" y="215"/>
                  </a:lnTo>
                  <a:lnTo>
                    <a:pt x="228" y="242"/>
                  </a:lnTo>
                  <a:lnTo>
                    <a:pt x="228" y="268"/>
                  </a:lnTo>
                  <a:lnTo>
                    <a:pt x="228" y="286"/>
                  </a:lnTo>
                  <a:lnTo>
                    <a:pt x="232" y="303"/>
                  </a:lnTo>
                  <a:lnTo>
                    <a:pt x="241" y="312"/>
                  </a:lnTo>
                  <a:lnTo>
                    <a:pt x="254" y="321"/>
                  </a:lnTo>
                  <a:lnTo>
                    <a:pt x="267" y="325"/>
                  </a:lnTo>
                  <a:lnTo>
                    <a:pt x="281" y="325"/>
                  </a:lnTo>
                  <a:lnTo>
                    <a:pt x="281" y="325"/>
                  </a:lnTo>
                  <a:lnTo>
                    <a:pt x="272" y="325"/>
                  </a:lnTo>
                  <a:lnTo>
                    <a:pt x="254" y="330"/>
                  </a:lnTo>
                  <a:lnTo>
                    <a:pt x="241" y="325"/>
                  </a:lnTo>
                  <a:lnTo>
                    <a:pt x="232" y="321"/>
                  </a:lnTo>
                  <a:lnTo>
                    <a:pt x="219" y="312"/>
                  </a:lnTo>
                  <a:lnTo>
                    <a:pt x="210" y="294"/>
                  </a:lnTo>
                  <a:lnTo>
                    <a:pt x="210" y="294"/>
                  </a:lnTo>
                  <a:lnTo>
                    <a:pt x="206" y="308"/>
                  </a:lnTo>
                  <a:lnTo>
                    <a:pt x="206" y="330"/>
                  </a:lnTo>
                  <a:lnTo>
                    <a:pt x="210" y="347"/>
                  </a:lnTo>
                  <a:lnTo>
                    <a:pt x="219" y="360"/>
                  </a:lnTo>
                  <a:lnTo>
                    <a:pt x="232" y="369"/>
                  </a:lnTo>
                  <a:lnTo>
                    <a:pt x="254" y="378"/>
                  </a:lnTo>
                  <a:lnTo>
                    <a:pt x="254" y="378"/>
                  </a:lnTo>
                  <a:lnTo>
                    <a:pt x="232" y="382"/>
                  </a:lnTo>
                  <a:lnTo>
                    <a:pt x="206" y="378"/>
                  </a:lnTo>
                  <a:lnTo>
                    <a:pt x="175" y="374"/>
                  </a:lnTo>
                  <a:lnTo>
                    <a:pt x="140" y="365"/>
                  </a:lnTo>
                  <a:lnTo>
                    <a:pt x="105" y="347"/>
                  </a:lnTo>
                  <a:lnTo>
                    <a:pt x="70" y="321"/>
                  </a:lnTo>
                  <a:lnTo>
                    <a:pt x="52" y="299"/>
                  </a:lnTo>
                  <a:lnTo>
                    <a:pt x="35" y="281"/>
                  </a:lnTo>
                  <a:lnTo>
                    <a:pt x="35" y="281"/>
                  </a:lnTo>
                  <a:lnTo>
                    <a:pt x="21" y="259"/>
                  </a:lnTo>
                  <a:lnTo>
                    <a:pt x="13" y="233"/>
                  </a:lnTo>
                  <a:lnTo>
                    <a:pt x="4" y="211"/>
                  </a:lnTo>
                  <a:lnTo>
                    <a:pt x="0" y="189"/>
                  </a:lnTo>
                  <a:lnTo>
                    <a:pt x="0" y="145"/>
                  </a:lnTo>
                  <a:lnTo>
                    <a:pt x="8" y="106"/>
                  </a:lnTo>
                  <a:lnTo>
                    <a:pt x="21" y="70"/>
                  </a:lnTo>
                  <a:lnTo>
                    <a:pt x="48" y="40"/>
                  </a:lnTo>
                  <a:lnTo>
                    <a:pt x="79" y="18"/>
                  </a:lnTo>
                  <a:lnTo>
                    <a:pt x="96" y="13"/>
                  </a:lnTo>
                  <a:lnTo>
                    <a:pt x="118" y="5"/>
                  </a:lnTo>
                  <a:lnTo>
                    <a:pt x="118" y="5"/>
                  </a:lnTo>
                  <a:lnTo>
                    <a:pt x="149" y="0"/>
                  </a:lnTo>
                  <a:lnTo>
                    <a:pt x="180" y="0"/>
                  </a:lnTo>
                  <a:lnTo>
                    <a:pt x="202" y="5"/>
                  </a:lnTo>
                  <a:lnTo>
                    <a:pt x="215" y="9"/>
                  </a:lnTo>
                  <a:lnTo>
                    <a:pt x="228" y="22"/>
                  </a:lnTo>
                  <a:lnTo>
                    <a:pt x="232" y="35"/>
                  </a:lnTo>
                  <a:lnTo>
                    <a:pt x="237" y="48"/>
                  </a:lnTo>
                  <a:lnTo>
                    <a:pt x="237" y="70"/>
                  </a:lnTo>
                  <a:lnTo>
                    <a:pt x="237" y="70"/>
                  </a:lnTo>
                  <a:close/>
                </a:path>
              </a:pathLst>
            </a:custGeom>
            <a:solidFill>
              <a:srgbClr val="D7D8D9">
                <a:lumMod val="10000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grpSp>
          <p:nvGrpSpPr>
            <p:cNvPr id="186" name="Gruppe 89"/>
            <p:cNvGrpSpPr/>
            <p:nvPr/>
          </p:nvGrpSpPr>
          <p:grpSpPr>
            <a:xfrm>
              <a:off x="3328988" y="2732088"/>
              <a:ext cx="801688" cy="1401762"/>
              <a:chOff x="3328988" y="2732088"/>
              <a:chExt cx="801688" cy="1401762"/>
            </a:xfrm>
            <a:solidFill>
              <a:srgbClr val="D7D8D9">
                <a:lumMod val="50000"/>
              </a:srgbClr>
            </a:solidFill>
          </p:grpSpPr>
          <p:sp>
            <p:nvSpPr>
              <p:cNvPr id="199" name="Freeform 48"/>
              <p:cNvSpPr>
                <a:spLocks/>
              </p:cNvSpPr>
              <p:nvPr/>
            </p:nvSpPr>
            <p:spPr bwMode="auto">
              <a:xfrm>
                <a:off x="3328988" y="3178175"/>
                <a:ext cx="600075" cy="955675"/>
              </a:xfrm>
              <a:custGeom>
                <a:avLst/>
                <a:gdLst/>
                <a:ahLst/>
                <a:cxnLst>
                  <a:cxn ang="0">
                    <a:pos x="105" y="9"/>
                  </a:cxn>
                  <a:cxn ang="0">
                    <a:pos x="105" y="9"/>
                  </a:cxn>
                  <a:cxn ang="0">
                    <a:pos x="105" y="40"/>
                  </a:cxn>
                  <a:cxn ang="0">
                    <a:pos x="97" y="106"/>
                  </a:cxn>
                  <a:cxn ang="0">
                    <a:pos x="88" y="145"/>
                  </a:cxn>
                  <a:cxn ang="0">
                    <a:pos x="79" y="185"/>
                  </a:cxn>
                  <a:cxn ang="0">
                    <a:pos x="66" y="216"/>
                  </a:cxn>
                  <a:cxn ang="0">
                    <a:pos x="57" y="224"/>
                  </a:cxn>
                  <a:cxn ang="0">
                    <a:pos x="48" y="233"/>
                  </a:cxn>
                  <a:cxn ang="0">
                    <a:pos x="48" y="233"/>
                  </a:cxn>
                  <a:cxn ang="0">
                    <a:pos x="31" y="251"/>
                  </a:cxn>
                  <a:cxn ang="0">
                    <a:pos x="18" y="273"/>
                  </a:cxn>
                  <a:cxn ang="0">
                    <a:pos x="9" y="299"/>
                  </a:cxn>
                  <a:cxn ang="0">
                    <a:pos x="0" y="325"/>
                  </a:cxn>
                  <a:cxn ang="0">
                    <a:pos x="0" y="356"/>
                  </a:cxn>
                  <a:cxn ang="0">
                    <a:pos x="0" y="387"/>
                  </a:cxn>
                  <a:cxn ang="0">
                    <a:pos x="9" y="418"/>
                  </a:cxn>
                  <a:cxn ang="0">
                    <a:pos x="18" y="448"/>
                  </a:cxn>
                  <a:cxn ang="0">
                    <a:pos x="26" y="479"/>
                  </a:cxn>
                  <a:cxn ang="0">
                    <a:pos x="44" y="510"/>
                  </a:cxn>
                  <a:cxn ang="0">
                    <a:pos x="57" y="536"/>
                  </a:cxn>
                  <a:cxn ang="0">
                    <a:pos x="79" y="558"/>
                  </a:cxn>
                  <a:cxn ang="0">
                    <a:pos x="101" y="576"/>
                  </a:cxn>
                  <a:cxn ang="0">
                    <a:pos x="123" y="589"/>
                  </a:cxn>
                  <a:cxn ang="0">
                    <a:pos x="149" y="602"/>
                  </a:cxn>
                  <a:cxn ang="0">
                    <a:pos x="176" y="602"/>
                  </a:cxn>
                  <a:cxn ang="0">
                    <a:pos x="176" y="602"/>
                  </a:cxn>
                  <a:cxn ang="0">
                    <a:pos x="228" y="598"/>
                  </a:cxn>
                  <a:cxn ang="0">
                    <a:pos x="268" y="585"/>
                  </a:cxn>
                  <a:cxn ang="0">
                    <a:pos x="303" y="567"/>
                  </a:cxn>
                  <a:cxn ang="0">
                    <a:pos x="329" y="545"/>
                  </a:cxn>
                  <a:cxn ang="0">
                    <a:pos x="351" y="514"/>
                  </a:cxn>
                  <a:cxn ang="0">
                    <a:pos x="365" y="488"/>
                  </a:cxn>
                  <a:cxn ang="0">
                    <a:pos x="373" y="457"/>
                  </a:cxn>
                  <a:cxn ang="0">
                    <a:pos x="378" y="431"/>
                  </a:cxn>
                  <a:cxn ang="0">
                    <a:pos x="378" y="431"/>
                  </a:cxn>
                  <a:cxn ang="0">
                    <a:pos x="373" y="404"/>
                  </a:cxn>
                  <a:cxn ang="0">
                    <a:pos x="365" y="382"/>
                  </a:cxn>
                  <a:cxn ang="0">
                    <a:pos x="334" y="334"/>
                  </a:cxn>
                  <a:cxn ang="0">
                    <a:pos x="321" y="303"/>
                  </a:cxn>
                  <a:cxn ang="0">
                    <a:pos x="312" y="268"/>
                  </a:cxn>
                  <a:cxn ang="0">
                    <a:pos x="307" y="229"/>
                  </a:cxn>
                  <a:cxn ang="0">
                    <a:pos x="312" y="176"/>
                  </a:cxn>
                  <a:cxn ang="0">
                    <a:pos x="312" y="176"/>
                  </a:cxn>
                  <a:cxn ang="0">
                    <a:pos x="312" y="150"/>
                  </a:cxn>
                  <a:cxn ang="0">
                    <a:pos x="312" y="128"/>
                  </a:cxn>
                  <a:cxn ang="0">
                    <a:pos x="303" y="106"/>
                  </a:cxn>
                  <a:cxn ang="0">
                    <a:pos x="294" y="84"/>
                  </a:cxn>
                  <a:cxn ang="0">
                    <a:pos x="281" y="66"/>
                  </a:cxn>
                  <a:cxn ang="0">
                    <a:pos x="268" y="53"/>
                  </a:cxn>
                  <a:cxn ang="0">
                    <a:pos x="228" y="27"/>
                  </a:cxn>
                  <a:cxn ang="0">
                    <a:pos x="193" y="9"/>
                  </a:cxn>
                  <a:cxn ang="0">
                    <a:pos x="154" y="0"/>
                  </a:cxn>
                  <a:cxn ang="0">
                    <a:pos x="123" y="0"/>
                  </a:cxn>
                  <a:cxn ang="0">
                    <a:pos x="114" y="5"/>
                  </a:cxn>
                  <a:cxn ang="0">
                    <a:pos x="105" y="9"/>
                  </a:cxn>
                  <a:cxn ang="0">
                    <a:pos x="105" y="9"/>
                  </a:cxn>
                </a:cxnLst>
                <a:rect l="0" t="0" r="r" b="b"/>
                <a:pathLst>
                  <a:path w="378" h="602">
                    <a:moveTo>
                      <a:pt x="105" y="9"/>
                    </a:moveTo>
                    <a:lnTo>
                      <a:pt x="105" y="9"/>
                    </a:lnTo>
                    <a:lnTo>
                      <a:pt x="105" y="40"/>
                    </a:lnTo>
                    <a:lnTo>
                      <a:pt x="97" y="106"/>
                    </a:lnTo>
                    <a:lnTo>
                      <a:pt x="88" y="145"/>
                    </a:lnTo>
                    <a:lnTo>
                      <a:pt x="79" y="185"/>
                    </a:lnTo>
                    <a:lnTo>
                      <a:pt x="66" y="216"/>
                    </a:lnTo>
                    <a:lnTo>
                      <a:pt x="57" y="224"/>
                    </a:lnTo>
                    <a:lnTo>
                      <a:pt x="48" y="233"/>
                    </a:lnTo>
                    <a:lnTo>
                      <a:pt x="48" y="233"/>
                    </a:lnTo>
                    <a:lnTo>
                      <a:pt x="31" y="251"/>
                    </a:lnTo>
                    <a:lnTo>
                      <a:pt x="18" y="273"/>
                    </a:lnTo>
                    <a:lnTo>
                      <a:pt x="9" y="299"/>
                    </a:lnTo>
                    <a:lnTo>
                      <a:pt x="0" y="325"/>
                    </a:lnTo>
                    <a:lnTo>
                      <a:pt x="0" y="356"/>
                    </a:lnTo>
                    <a:lnTo>
                      <a:pt x="0" y="387"/>
                    </a:lnTo>
                    <a:lnTo>
                      <a:pt x="9" y="418"/>
                    </a:lnTo>
                    <a:lnTo>
                      <a:pt x="18" y="448"/>
                    </a:lnTo>
                    <a:lnTo>
                      <a:pt x="26" y="479"/>
                    </a:lnTo>
                    <a:lnTo>
                      <a:pt x="44" y="510"/>
                    </a:lnTo>
                    <a:lnTo>
                      <a:pt x="57" y="536"/>
                    </a:lnTo>
                    <a:lnTo>
                      <a:pt x="79" y="558"/>
                    </a:lnTo>
                    <a:lnTo>
                      <a:pt x="101" y="576"/>
                    </a:lnTo>
                    <a:lnTo>
                      <a:pt x="123" y="589"/>
                    </a:lnTo>
                    <a:lnTo>
                      <a:pt x="149" y="602"/>
                    </a:lnTo>
                    <a:lnTo>
                      <a:pt x="176" y="602"/>
                    </a:lnTo>
                    <a:lnTo>
                      <a:pt x="176" y="602"/>
                    </a:lnTo>
                    <a:lnTo>
                      <a:pt x="228" y="598"/>
                    </a:lnTo>
                    <a:lnTo>
                      <a:pt x="268" y="585"/>
                    </a:lnTo>
                    <a:lnTo>
                      <a:pt x="303" y="567"/>
                    </a:lnTo>
                    <a:lnTo>
                      <a:pt x="329" y="545"/>
                    </a:lnTo>
                    <a:lnTo>
                      <a:pt x="351" y="514"/>
                    </a:lnTo>
                    <a:lnTo>
                      <a:pt x="365" y="488"/>
                    </a:lnTo>
                    <a:lnTo>
                      <a:pt x="373" y="457"/>
                    </a:lnTo>
                    <a:lnTo>
                      <a:pt x="378" y="431"/>
                    </a:lnTo>
                    <a:lnTo>
                      <a:pt x="378" y="431"/>
                    </a:lnTo>
                    <a:lnTo>
                      <a:pt x="373" y="404"/>
                    </a:lnTo>
                    <a:lnTo>
                      <a:pt x="365" y="382"/>
                    </a:lnTo>
                    <a:lnTo>
                      <a:pt x="334" y="334"/>
                    </a:lnTo>
                    <a:lnTo>
                      <a:pt x="321" y="303"/>
                    </a:lnTo>
                    <a:lnTo>
                      <a:pt x="312" y="268"/>
                    </a:lnTo>
                    <a:lnTo>
                      <a:pt x="307" y="229"/>
                    </a:lnTo>
                    <a:lnTo>
                      <a:pt x="312" y="176"/>
                    </a:lnTo>
                    <a:lnTo>
                      <a:pt x="312" y="176"/>
                    </a:lnTo>
                    <a:lnTo>
                      <a:pt x="312" y="150"/>
                    </a:lnTo>
                    <a:lnTo>
                      <a:pt x="312" y="128"/>
                    </a:lnTo>
                    <a:lnTo>
                      <a:pt x="303" y="106"/>
                    </a:lnTo>
                    <a:lnTo>
                      <a:pt x="294" y="84"/>
                    </a:lnTo>
                    <a:lnTo>
                      <a:pt x="281" y="66"/>
                    </a:lnTo>
                    <a:lnTo>
                      <a:pt x="268" y="53"/>
                    </a:lnTo>
                    <a:lnTo>
                      <a:pt x="228" y="27"/>
                    </a:lnTo>
                    <a:lnTo>
                      <a:pt x="193" y="9"/>
                    </a:lnTo>
                    <a:lnTo>
                      <a:pt x="154" y="0"/>
                    </a:lnTo>
                    <a:lnTo>
                      <a:pt x="123" y="0"/>
                    </a:lnTo>
                    <a:lnTo>
                      <a:pt x="114" y="5"/>
                    </a:lnTo>
                    <a:lnTo>
                      <a:pt x="105" y="9"/>
                    </a:lnTo>
                    <a:lnTo>
                      <a:pt x="105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00" name="Freeform 56"/>
              <p:cNvSpPr>
                <a:spLocks/>
              </p:cNvSpPr>
              <p:nvPr/>
            </p:nvSpPr>
            <p:spPr bwMode="auto">
              <a:xfrm>
                <a:off x="3475038" y="2732088"/>
                <a:ext cx="655638" cy="865187"/>
              </a:xfrm>
              <a:custGeom>
                <a:avLst/>
                <a:gdLst/>
                <a:ahLst/>
                <a:cxnLst>
                  <a:cxn ang="0">
                    <a:pos x="378" y="44"/>
                  </a:cxn>
                  <a:cxn ang="0">
                    <a:pos x="378" y="44"/>
                  </a:cxn>
                  <a:cxn ang="0">
                    <a:pos x="387" y="57"/>
                  </a:cxn>
                  <a:cxn ang="0">
                    <a:pos x="400" y="75"/>
                  </a:cxn>
                  <a:cxn ang="0">
                    <a:pos x="404" y="101"/>
                  </a:cxn>
                  <a:cxn ang="0">
                    <a:pos x="413" y="132"/>
                  </a:cxn>
                  <a:cxn ang="0">
                    <a:pos x="413" y="171"/>
                  </a:cxn>
                  <a:cxn ang="0">
                    <a:pos x="404" y="215"/>
                  </a:cxn>
                  <a:cxn ang="0">
                    <a:pos x="387" y="268"/>
                  </a:cxn>
                  <a:cxn ang="0">
                    <a:pos x="387" y="268"/>
                  </a:cxn>
                  <a:cxn ang="0">
                    <a:pos x="387" y="286"/>
                  </a:cxn>
                  <a:cxn ang="0">
                    <a:pos x="382" y="330"/>
                  </a:cxn>
                  <a:cxn ang="0">
                    <a:pos x="374" y="360"/>
                  </a:cxn>
                  <a:cxn ang="0">
                    <a:pos x="360" y="391"/>
                  </a:cxn>
                  <a:cxn ang="0">
                    <a:pos x="343" y="422"/>
                  </a:cxn>
                  <a:cxn ang="0">
                    <a:pos x="316" y="453"/>
                  </a:cxn>
                  <a:cxn ang="0">
                    <a:pos x="316" y="453"/>
                  </a:cxn>
                  <a:cxn ang="0">
                    <a:pos x="259" y="514"/>
                  </a:cxn>
                  <a:cxn ang="0">
                    <a:pos x="242" y="536"/>
                  </a:cxn>
                  <a:cxn ang="0">
                    <a:pos x="242" y="536"/>
                  </a:cxn>
                  <a:cxn ang="0">
                    <a:pos x="233" y="540"/>
                  </a:cxn>
                  <a:cxn ang="0">
                    <a:pos x="215" y="545"/>
                  </a:cxn>
                  <a:cxn ang="0">
                    <a:pos x="202" y="545"/>
                  </a:cxn>
                  <a:cxn ang="0">
                    <a:pos x="185" y="545"/>
                  </a:cxn>
                  <a:cxn ang="0">
                    <a:pos x="167" y="536"/>
                  </a:cxn>
                  <a:cxn ang="0">
                    <a:pos x="150" y="523"/>
                  </a:cxn>
                  <a:cxn ang="0">
                    <a:pos x="150" y="523"/>
                  </a:cxn>
                  <a:cxn ang="0">
                    <a:pos x="110" y="497"/>
                  </a:cxn>
                  <a:cxn ang="0">
                    <a:pos x="88" y="475"/>
                  </a:cxn>
                  <a:cxn ang="0">
                    <a:pos x="66" y="448"/>
                  </a:cxn>
                  <a:cxn ang="0">
                    <a:pos x="40" y="422"/>
                  </a:cxn>
                  <a:cxn ang="0">
                    <a:pos x="22" y="387"/>
                  </a:cxn>
                  <a:cxn ang="0">
                    <a:pos x="9" y="347"/>
                  </a:cxn>
                  <a:cxn ang="0">
                    <a:pos x="0" y="303"/>
                  </a:cxn>
                  <a:cxn ang="0">
                    <a:pos x="0" y="303"/>
                  </a:cxn>
                  <a:cxn ang="0">
                    <a:pos x="5" y="281"/>
                  </a:cxn>
                  <a:cxn ang="0">
                    <a:pos x="13" y="224"/>
                  </a:cxn>
                  <a:cxn ang="0">
                    <a:pos x="31" y="145"/>
                  </a:cxn>
                  <a:cxn ang="0">
                    <a:pos x="49" y="110"/>
                  </a:cxn>
                  <a:cxn ang="0">
                    <a:pos x="62" y="70"/>
                  </a:cxn>
                  <a:cxn ang="0">
                    <a:pos x="62" y="70"/>
                  </a:cxn>
                  <a:cxn ang="0">
                    <a:pos x="75" y="57"/>
                  </a:cxn>
                  <a:cxn ang="0">
                    <a:pos x="88" y="40"/>
                  </a:cxn>
                  <a:cxn ang="0">
                    <a:pos x="101" y="31"/>
                  </a:cxn>
                  <a:cxn ang="0">
                    <a:pos x="119" y="18"/>
                  </a:cxn>
                  <a:cxn ang="0">
                    <a:pos x="158" y="5"/>
                  </a:cxn>
                  <a:cxn ang="0">
                    <a:pos x="202" y="0"/>
                  </a:cxn>
                  <a:cxn ang="0">
                    <a:pos x="251" y="0"/>
                  </a:cxn>
                  <a:cxn ang="0">
                    <a:pos x="294" y="9"/>
                  </a:cxn>
                  <a:cxn ang="0">
                    <a:pos x="338" y="22"/>
                  </a:cxn>
                  <a:cxn ang="0">
                    <a:pos x="378" y="44"/>
                  </a:cxn>
                  <a:cxn ang="0">
                    <a:pos x="378" y="44"/>
                  </a:cxn>
                </a:cxnLst>
                <a:rect l="0" t="0" r="r" b="b"/>
                <a:pathLst>
                  <a:path w="413" h="545">
                    <a:moveTo>
                      <a:pt x="378" y="44"/>
                    </a:moveTo>
                    <a:lnTo>
                      <a:pt x="378" y="44"/>
                    </a:lnTo>
                    <a:lnTo>
                      <a:pt x="387" y="57"/>
                    </a:lnTo>
                    <a:lnTo>
                      <a:pt x="400" y="75"/>
                    </a:lnTo>
                    <a:lnTo>
                      <a:pt x="404" y="101"/>
                    </a:lnTo>
                    <a:lnTo>
                      <a:pt x="413" y="132"/>
                    </a:lnTo>
                    <a:lnTo>
                      <a:pt x="413" y="171"/>
                    </a:lnTo>
                    <a:lnTo>
                      <a:pt x="404" y="215"/>
                    </a:lnTo>
                    <a:lnTo>
                      <a:pt x="387" y="268"/>
                    </a:lnTo>
                    <a:lnTo>
                      <a:pt x="387" y="268"/>
                    </a:lnTo>
                    <a:lnTo>
                      <a:pt x="387" y="286"/>
                    </a:lnTo>
                    <a:lnTo>
                      <a:pt x="382" y="330"/>
                    </a:lnTo>
                    <a:lnTo>
                      <a:pt x="374" y="360"/>
                    </a:lnTo>
                    <a:lnTo>
                      <a:pt x="360" y="391"/>
                    </a:lnTo>
                    <a:lnTo>
                      <a:pt x="343" y="422"/>
                    </a:lnTo>
                    <a:lnTo>
                      <a:pt x="316" y="453"/>
                    </a:lnTo>
                    <a:lnTo>
                      <a:pt x="316" y="453"/>
                    </a:lnTo>
                    <a:lnTo>
                      <a:pt x="259" y="514"/>
                    </a:lnTo>
                    <a:lnTo>
                      <a:pt x="242" y="536"/>
                    </a:lnTo>
                    <a:lnTo>
                      <a:pt x="242" y="536"/>
                    </a:lnTo>
                    <a:lnTo>
                      <a:pt x="233" y="540"/>
                    </a:lnTo>
                    <a:lnTo>
                      <a:pt x="215" y="545"/>
                    </a:lnTo>
                    <a:lnTo>
                      <a:pt x="202" y="545"/>
                    </a:lnTo>
                    <a:lnTo>
                      <a:pt x="185" y="545"/>
                    </a:lnTo>
                    <a:lnTo>
                      <a:pt x="167" y="536"/>
                    </a:lnTo>
                    <a:lnTo>
                      <a:pt x="150" y="523"/>
                    </a:lnTo>
                    <a:lnTo>
                      <a:pt x="150" y="523"/>
                    </a:lnTo>
                    <a:lnTo>
                      <a:pt x="110" y="497"/>
                    </a:lnTo>
                    <a:lnTo>
                      <a:pt x="88" y="475"/>
                    </a:lnTo>
                    <a:lnTo>
                      <a:pt x="66" y="448"/>
                    </a:lnTo>
                    <a:lnTo>
                      <a:pt x="40" y="422"/>
                    </a:lnTo>
                    <a:lnTo>
                      <a:pt x="22" y="387"/>
                    </a:lnTo>
                    <a:lnTo>
                      <a:pt x="9" y="347"/>
                    </a:lnTo>
                    <a:lnTo>
                      <a:pt x="0" y="303"/>
                    </a:lnTo>
                    <a:lnTo>
                      <a:pt x="0" y="303"/>
                    </a:lnTo>
                    <a:lnTo>
                      <a:pt x="5" y="281"/>
                    </a:lnTo>
                    <a:lnTo>
                      <a:pt x="13" y="224"/>
                    </a:lnTo>
                    <a:lnTo>
                      <a:pt x="31" y="145"/>
                    </a:lnTo>
                    <a:lnTo>
                      <a:pt x="49" y="110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75" y="57"/>
                    </a:lnTo>
                    <a:lnTo>
                      <a:pt x="88" y="40"/>
                    </a:lnTo>
                    <a:lnTo>
                      <a:pt x="101" y="31"/>
                    </a:lnTo>
                    <a:lnTo>
                      <a:pt x="119" y="18"/>
                    </a:lnTo>
                    <a:lnTo>
                      <a:pt x="158" y="5"/>
                    </a:lnTo>
                    <a:lnTo>
                      <a:pt x="202" y="0"/>
                    </a:lnTo>
                    <a:lnTo>
                      <a:pt x="251" y="0"/>
                    </a:lnTo>
                    <a:lnTo>
                      <a:pt x="294" y="9"/>
                    </a:lnTo>
                    <a:lnTo>
                      <a:pt x="338" y="22"/>
                    </a:lnTo>
                    <a:lnTo>
                      <a:pt x="378" y="44"/>
                    </a:lnTo>
                    <a:lnTo>
                      <a:pt x="378" y="4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187" name="Freeform 62"/>
            <p:cNvSpPr>
              <a:spLocks/>
            </p:cNvSpPr>
            <p:nvPr/>
          </p:nvSpPr>
          <p:spPr bwMode="auto">
            <a:xfrm>
              <a:off x="3675424" y="2555511"/>
              <a:ext cx="589792" cy="794278"/>
            </a:xfrm>
            <a:custGeom>
              <a:avLst/>
              <a:gdLst/>
              <a:ahLst/>
              <a:cxnLst>
                <a:cxn ang="0">
                  <a:pos x="83" y="145"/>
                </a:cxn>
                <a:cxn ang="0">
                  <a:pos x="109" y="194"/>
                </a:cxn>
                <a:cxn ang="0">
                  <a:pos x="158" y="264"/>
                </a:cxn>
                <a:cxn ang="0">
                  <a:pos x="184" y="286"/>
                </a:cxn>
                <a:cxn ang="0">
                  <a:pos x="259" y="356"/>
                </a:cxn>
                <a:cxn ang="0">
                  <a:pos x="298" y="409"/>
                </a:cxn>
                <a:cxn ang="0">
                  <a:pos x="303" y="470"/>
                </a:cxn>
                <a:cxn ang="0">
                  <a:pos x="294" y="501"/>
                </a:cxn>
                <a:cxn ang="0">
                  <a:pos x="316" y="475"/>
                </a:cxn>
                <a:cxn ang="0">
                  <a:pos x="320" y="440"/>
                </a:cxn>
                <a:cxn ang="0">
                  <a:pos x="307" y="391"/>
                </a:cxn>
                <a:cxn ang="0">
                  <a:pos x="289" y="365"/>
                </a:cxn>
                <a:cxn ang="0">
                  <a:pos x="232" y="299"/>
                </a:cxn>
                <a:cxn ang="0">
                  <a:pos x="188" y="251"/>
                </a:cxn>
                <a:cxn ang="0">
                  <a:pos x="175" y="238"/>
                </a:cxn>
                <a:cxn ang="0">
                  <a:pos x="250" y="299"/>
                </a:cxn>
                <a:cxn ang="0">
                  <a:pos x="281" y="321"/>
                </a:cxn>
                <a:cxn ang="0">
                  <a:pos x="307" y="343"/>
                </a:cxn>
                <a:cxn ang="0">
                  <a:pos x="338" y="396"/>
                </a:cxn>
                <a:cxn ang="0">
                  <a:pos x="342" y="431"/>
                </a:cxn>
                <a:cxn ang="0">
                  <a:pos x="338" y="448"/>
                </a:cxn>
                <a:cxn ang="0">
                  <a:pos x="360" y="396"/>
                </a:cxn>
                <a:cxn ang="0">
                  <a:pos x="368" y="334"/>
                </a:cxn>
                <a:cxn ang="0">
                  <a:pos x="355" y="255"/>
                </a:cxn>
                <a:cxn ang="0">
                  <a:pos x="333" y="202"/>
                </a:cxn>
                <a:cxn ang="0">
                  <a:pos x="276" y="106"/>
                </a:cxn>
                <a:cxn ang="0">
                  <a:pos x="215" y="49"/>
                </a:cxn>
                <a:cxn ang="0">
                  <a:pos x="162" y="22"/>
                </a:cxn>
                <a:cxn ang="0">
                  <a:pos x="105" y="5"/>
                </a:cxn>
                <a:cxn ang="0">
                  <a:pos x="35" y="0"/>
                </a:cxn>
                <a:cxn ang="0">
                  <a:pos x="0" y="0"/>
                </a:cxn>
                <a:cxn ang="0">
                  <a:pos x="35" y="40"/>
                </a:cxn>
                <a:cxn ang="0">
                  <a:pos x="65" y="84"/>
                </a:cxn>
                <a:cxn ang="0">
                  <a:pos x="83" y="145"/>
                </a:cxn>
              </a:cxnLst>
              <a:rect l="0" t="0" r="r" b="b"/>
              <a:pathLst>
                <a:path w="368" h="501">
                  <a:moveTo>
                    <a:pt x="83" y="145"/>
                  </a:moveTo>
                  <a:lnTo>
                    <a:pt x="83" y="145"/>
                  </a:lnTo>
                  <a:lnTo>
                    <a:pt x="92" y="158"/>
                  </a:lnTo>
                  <a:lnTo>
                    <a:pt x="109" y="194"/>
                  </a:lnTo>
                  <a:lnTo>
                    <a:pt x="140" y="242"/>
                  </a:lnTo>
                  <a:lnTo>
                    <a:pt x="158" y="264"/>
                  </a:lnTo>
                  <a:lnTo>
                    <a:pt x="184" y="286"/>
                  </a:lnTo>
                  <a:lnTo>
                    <a:pt x="184" y="286"/>
                  </a:lnTo>
                  <a:lnTo>
                    <a:pt x="237" y="330"/>
                  </a:lnTo>
                  <a:lnTo>
                    <a:pt x="259" y="356"/>
                  </a:lnTo>
                  <a:lnTo>
                    <a:pt x="281" y="378"/>
                  </a:lnTo>
                  <a:lnTo>
                    <a:pt x="298" y="409"/>
                  </a:lnTo>
                  <a:lnTo>
                    <a:pt x="307" y="435"/>
                  </a:lnTo>
                  <a:lnTo>
                    <a:pt x="303" y="470"/>
                  </a:lnTo>
                  <a:lnTo>
                    <a:pt x="294" y="501"/>
                  </a:lnTo>
                  <a:lnTo>
                    <a:pt x="294" y="501"/>
                  </a:lnTo>
                  <a:lnTo>
                    <a:pt x="303" y="492"/>
                  </a:lnTo>
                  <a:lnTo>
                    <a:pt x="316" y="475"/>
                  </a:lnTo>
                  <a:lnTo>
                    <a:pt x="320" y="457"/>
                  </a:lnTo>
                  <a:lnTo>
                    <a:pt x="320" y="440"/>
                  </a:lnTo>
                  <a:lnTo>
                    <a:pt x="316" y="418"/>
                  </a:lnTo>
                  <a:lnTo>
                    <a:pt x="307" y="391"/>
                  </a:lnTo>
                  <a:lnTo>
                    <a:pt x="307" y="391"/>
                  </a:lnTo>
                  <a:lnTo>
                    <a:pt x="289" y="365"/>
                  </a:lnTo>
                  <a:lnTo>
                    <a:pt x="272" y="339"/>
                  </a:lnTo>
                  <a:lnTo>
                    <a:pt x="232" y="299"/>
                  </a:lnTo>
                  <a:lnTo>
                    <a:pt x="202" y="268"/>
                  </a:lnTo>
                  <a:lnTo>
                    <a:pt x="188" y="251"/>
                  </a:lnTo>
                  <a:lnTo>
                    <a:pt x="175" y="238"/>
                  </a:lnTo>
                  <a:lnTo>
                    <a:pt x="175" y="238"/>
                  </a:lnTo>
                  <a:lnTo>
                    <a:pt x="215" y="273"/>
                  </a:lnTo>
                  <a:lnTo>
                    <a:pt x="250" y="299"/>
                  </a:lnTo>
                  <a:lnTo>
                    <a:pt x="281" y="321"/>
                  </a:lnTo>
                  <a:lnTo>
                    <a:pt x="281" y="321"/>
                  </a:lnTo>
                  <a:lnTo>
                    <a:pt x="294" y="330"/>
                  </a:lnTo>
                  <a:lnTo>
                    <a:pt x="307" y="343"/>
                  </a:lnTo>
                  <a:lnTo>
                    <a:pt x="329" y="378"/>
                  </a:lnTo>
                  <a:lnTo>
                    <a:pt x="338" y="396"/>
                  </a:lnTo>
                  <a:lnTo>
                    <a:pt x="342" y="413"/>
                  </a:lnTo>
                  <a:lnTo>
                    <a:pt x="342" y="431"/>
                  </a:lnTo>
                  <a:lnTo>
                    <a:pt x="338" y="448"/>
                  </a:lnTo>
                  <a:lnTo>
                    <a:pt x="338" y="448"/>
                  </a:lnTo>
                  <a:lnTo>
                    <a:pt x="347" y="435"/>
                  </a:lnTo>
                  <a:lnTo>
                    <a:pt x="360" y="396"/>
                  </a:lnTo>
                  <a:lnTo>
                    <a:pt x="364" y="365"/>
                  </a:lnTo>
                  <a:lnTo>
                    <a:pt x="368" y="334"/>
                  </a:lnTo>
                  <a:lnTo>
                    <a:pt x="364" y="299"/>
                  </a:lnTo>
                  <a:lnTo>
                    <a:pt x="355" y="255"/>
                  </a:lnTo>
                  <a:lnTo>
                    <a:pt x="355" y="255"/>
                  </a:lnTo>
                  <a:lnTo>
                    <a:pt x="333" y="202"/>
                  </a:lnTo>
                  <a:lnTo>
                    <a:pt x="307" y="154"/>
                  </a:lnTo>
                  <a:lnTo>
                    <a:pt x="276" y="106"/>
                  </a:lnTo>
                  <a:lnTo>
                    <a:pt x="237" y="66"/>
                  </a:lnTo>
                  <a:lnTo>
                    <a:pt x="215" y="49"/>
                  </a:lnTo>
                  <a:lnTo>
                    <a:pt x="188" y="35"/>
                  </a:lnTo>
                  <a:lnTo>
                    <a:pt x="162" y="22"/>
                  </a:lnTo>
                  <a:lnTo>
                    <a:pt x="136" y="9"/>
                  </a:lnTo>
                  <a:lnTo>
                    <a:pt x="105" y="5"/>
                  </a:lnTo>
                  <a:lnTo>
                    <a:pt x="70" y="0"/>
                  </a:lnTo>
                  <a:lnTo>
                    <a:pt x="3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8" y="14"/>
                  </a:lnTo>
                  <a:lnTo>
                    <a:pt x="35" y="40"/>
                  </a:lnTo>
                  <a:lnTo>
                    <a:pt x="48" y="62"/>
                  </a:lnTo>
                  <a:lnTo>
                    <a:pt x="65" y="84"/>
                  </a:lnTo>
                  <a:lnTo>
                    <a:pt x="74" y="115"/>
                  </a:lnTo>
                  <a:lnTo>
                    <a:pt x="83" y="145"/>
                  </a:lnTo>
                  <a:lnTo>
                    <a:pt x="83" y="145"/>
                  </a:lnTo>
                  <a:close/>
                </a:path>
              </a:pathLst>
            </a:custGeom>
            <a:solidFill>
              <a:srgbClr val="D7D8D9">
                <a:lumMod val="10000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88" name="Freeform 63"/>
            <p:cNvSpPr>
              <a:spLocks/>
            </p:cNvSpPr>
            <p:nvPr/>
          </p:nvSpPr>
          <p:spPr bwMode="auto">
            <a:xfrm>
              <a:off x="3486691" y="2626286"/>
              <a:ext cx="314555" cy="723503"/>
            </a:xfrm>
            <a:custGeom>
              <a:avLst/>
              <a:gdLst/>
              <a:ahLst/>
              <a:cxnLst>
                <a:cxn ang="0">
                  <a:pos x="193" y="49"/>
                </a:cxn>
                <a:cxn ang="0">
                  <a:pos x="193" y="49"/>
                </a:cxn>
                <a:cxn ang="0">
                  <a:pos x="198" y="66"/>
                </a:cxn>
                <a:cxn ang="0">
                  <a:pos x="193" y="110"/>
                </a:cxn>
                <a:cxn ang="0">
                  <a:pos x="184" y="136"/>
                </a:cxn>
                <a:cxn ang="0">
                  <a:pos x="171" y="167"/>
                </a:cxn>
                <a:cxn ang="0">
                  <a:pos x="154" y="198"/>
                </a:cxn>
                <a:cxn ang="0">
                  <a:pos x="127" y="229"/>
                </a:cxn>
                <a:cxn ang="0">
                  <a:pos x="127" y="229"/>
                </a:cxn>
                <a:cxn ang="0">
                  <a:pos x="70" y="281"/>
                </a:cxn>
                <a:cxn ang="0">
                  <a:pos x="48" y="312"/>
                </a:cxn>
                <a:cxn ang="0">
                  <a:pos x="31" y="339"/>
                </a:cxn>
                <a:cxn ang="0">
                  <a:pos x="18" y="369"/>
                </a:cxn>
                <a:cxn ang="0">
                  <a:pos x="13" y="400"/>
                </a:cxn>
                <a:cxn ang="0">
                  <a:pos x="18" y="426"/>
                </a:cxn>
                <a:cxn ang="0">
                  <a:pos x="31" y="457"/>
                </a:cxn>
                <a:cxn ang="0">
                  <a:pos x="31" y="457"/>
                </a:cxn>
                <a:cxn ang="0">
                  <a:pos x="22" y="453"/>
                </a:cxn>
                <a:cxn ang="0">
                  <a:pos x="18" y="444"/>
                </a:cxn>
                <a:cxn ang="0">
                  <a:pos x="9" y="431"/>
                </a:cxn>
                <a:cxn ang="0">
                  <a:pos x="0" y="413"/>
                </a:cxn>
                <a:cxn ang="0">
                  <a:pos x="0" y="387"/>
                </a:cxn>
                <a:cxn ang="0">
                  <a:pos x="0" y="352"/>
                </a:cxn>
                <a:cxn ang="0">
                  <a:pos x="9" y="308"/>
                </a:cxn>
                <a:cxn ang="0">
                  <a:pos x="9" y="308"/>
                </a:cxn>
                <a:cxn ang="0">
                  <a:pos x="26" y="255"/>
                </a:cxn>
                <a:cxn ang="0">
                  <a:pos x="44" y="207"/>
                </a:cxn>
                <a:cxn ang="0">
                  <a:pos x="88" y="110"/>
                </a:cxn>
                <a:cxn ang="0">
                  <a:pos x="127" y="35"/>
                </a:cxn>
                <a:cxn ang="0">
                  <a:pos x="141" y="13"/>
                </a:cxn>
                <a:cxn ang="0">
                  <a:pos x="154" y="0"/>
                </a:cxn>
                <a:cxn ang="0">
                  <a:pos x="154" y="0"/>
                </a:cxn>
                <a:cxn ang="0">
                  <a:pos x="158" y="0"/>
                </a:cxn>
                <a:cxn ang="0">
                  <a:pos x="167" y="5"/>
                </a:cxn>
                <a:cxn ang="0">
                  <a:pos x="180" y="22"/>
                </a:cxn>
                <a:cxn ang="0">
                  <a:pos x="193" y="49"/>
                </a:cxn>
                <a:cxn ang="0">
                  <a:pos x="193" y="49"/>
                </a:cxn>
              </a:cxnLst>
              <a:rect l="0" t="0" r="r" b="b"/>
              <a:pathLst>
                <a:path w="198" h="457">
                  <a:moveTo>
                    <a:pt x="193" y="49"/>
                  </a:moveTo>
                  <a:lnTo>
                    <a:pt x="193" y="49"/>
                  </a:lnTo>
                  <a:lnTo>
                    <a:pt x="198" y="66"/>
                  </a:lnTo>
                  <a:lnTo>
                    <a:pt x="193" y="110"/>
                  </a:lnTo>
                  <a:lnTo>
                    <a:pt x="184" y="136"/>
                  </a:lnTo>
                  <a:lnTo>
                    <a:pt x="171" y="167"/>
                  </a:lnTo>
                  <a:lnTo>
                    <a:pt x="154" y="198"/>
                  </a:lnTo>
                  <a:lnTo>
                    <a:pt x="127" y="229"/>
                  </a:lnTo>
                  <a:lnTo>
                    <a:pt x="127" y="229"/>
                  </a:lnTo>
                  <a:lnTo>
                    <a:pt x="70" y="281"/>
                  </a:lnTo>
                  <a:lnTo>
                    <a:pt x="48" y="312"/>
                  </a:lnTo>
                  <a:lnTo>
                    <a:pt x="31" y="339"/>
                  </a:lnTo>
                  <a:lnTo>
                    <a:pt x="18" y="369"/>
                  </a:lnTo>
                  <a:lnTo>
                    <a:pt x="13" y="400"/>
                  </a:lnTo>
                  <a:lnTo>
                    <a:pt x="18" y="426"/>
                  </a:lnTo>
                  <a:lnTo>
                    <a:pt x="31" y="457"/>
                  </a:lnTo>
                  <a:lnTo>
                    <a:pt x="31" y="457"/>
                  </a:lnTo>
                  <a:lnTo>
                    <a:pt x="22" y="453"/>
                  </a:lnTo>
                  <a:lnTo>
                    <a:pt x="18" y="444"/>
                  </a:lnTo>
                  <a:lnTo>
                    <a:pt x="9" y="431"/>
                  </a:lnTo>
                  <a:lnTo>
                    <a:pt x="0" y="413"/>
                  </a:lnTo>
                  <a:lnTo>
                    <a:pt x="0" y="387"/>
                  </a:lnTo>
                  <a:lnTo>
                    <a:pt x="0" y="352"/>
                  </a:lnTo>
                  <a:lnTo>
                    <a:pt x="9" y="308"/>
                  </a:lnTo>
                  <a:lnTo>
                    <a:pt x="9" y="308"/>
                  </a:lnTo>
                  <a:lnTo>
                    <a:pt x="26" y="255"/>
                  </a:lnTo>
                  <a:lnTo>
                    <a:pt x="44" y="207"/>
                  </a:lnTo>
                  <a:lnTo>
                    <a:pt x="88" y="110"/>
                  </a:lnTo>
                  <a:lnTo>
                    <a:pt x="127" y="35"/>
                  </a:lnTo>
                  <a:lnTo>
                    <a:pt x="141" y="13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58" y="0"/>
                  </a:lnTo>
                  <a:lnTo>
                    <a:pt x="167" y="5"/>
                  </a:lnTo>
                  <a:lnTo>
                    <a:pt x="180" y="22"/>
                  </a:lnTo>
                  <a:lnTo>
                    <a:pt x="193" y="49"/>
                  </a:lnTo>
                  <a:lnTo>
                    <a:pt x="193" y="49"/>
                  </a:lnTo>
                  <a:close/>
                </a:path>
              </a:pathLst>
            </a:custGeom>
            <a:solidFill>
              <a:srgbClr val="D7D8D9">
                <a:lumMod val="10000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89" name="Freeform 64"/>
            <p:cNvSpPr>
              <a:spLocks/>
            </p:cNvSpPr>
            <p:nvPr/>
          </p:nvSpPr>
          <p:spPr bwMode="auto">
            <a:xfrm>
              <a:off x="3101365" y="2555511"/>
              <a:ext cx="676292" cy="1022341"/>
            </a:xfrm>
            <a:custGeom>
              <a:avLst/>
              <a:gdLst/>
              <a:ahLst/>
              <a:cxnLst>
                <a:cxn ang="0">
                  <a:pos x="400" y="14"/>
                </a:cxn>
                <a:cxn ang="0">
                  <a:pos x="374" y="5"/>
                </a:cxn>
                <a:cxn ang="0">
                  <a:pos x="330" y="5"/>
                </a:cxn>
                <a:cxn ang="0">
                  <a:pos x="268" y="35"/>
                </a:cxn>
                <a:cxn ang="0">
                  <a:pos x="229" y="62"/>
                </a:cxn>
                <a:cxn ang="0">
                  <a:pos x="176" y="115"/>
                </a:cxn>
                <a:cxn ang="0">
                  <a:pos x="145" y="163"/>
                </a:cxn>
                <a:cxn ang="0">
                  <a:pos x="128" y="211"/>
                </a:cxn>
                <a:cxn ang="0">
                  <a:pos x="115" y="299"/>
                </a:cxn>
                <a:cxn ang="0">
                  <a:pos x="115" y="369"/>
                </a:cxn>
                <a:cxn ang="0">
                  <a:pos x="106" y="396"/>
                </a:cxn>
                <a:cxn ang="0">
                  <a:pos x="80" y="431"/>
                </a:cxn>
                <a:cxn ang="0">
                  <a:pos x="44" y="440"/>
                </a:cxn>
                <a:cxn ang="0">
                  <a:pos x="0" y="440"/>
                </a:cxn>
                <a:cxn ang="0">
                  <a:pos x="5" y="444"/>
                </a:cxn>
                <a:cxn ang="0">
                  <a:pos x="44" y="466"/>
                </a:cxn>
                <a:cxn ang="0">
                  <a:pos x="84" y="466"/>
                </a:cxn>
                <a:cxn ang="0">
                  <a:pos x="110" y="457"/>
                </a:cxn>
                <a:cxn ang="0">
                  <a:pos x="84" y="479"/>
                </a:cxn>
                <a:cxn ang="0">
                  <a:pos x="53" y="488"/>
                </a:cxn>
                <a:cxn ang="0">
                  <a:pos x="14" y="488"/>
                </a:cxn>
                <a:cxn ang="0">
                  <a:pos x="31" y="497"/>
                </a:cxn>
                <a:cxn ang="0">
                  <a:pos x="71" y="510"/>
                </a:cxn>
                <a:cxn ang="0">
                  <a:pos x="123" y="510"/>
                </a:cxn>
                <a:cxn ang="0">
                  <a:pos x="167" y="484"/>
                </a:cxn>
                <a:cxn ang="0">
                  <a:pos x="185" y="470"/>
                </a:cxn>
                <a:cxn ang="0">
                  <a:pos x="163" y="506"/>
                </a:cxn>
                <a:cxn ang="0">
                  <a:pos x="128" y="532"/>
                </a:cxn>
                <a:cxn ang="0">
                  <a:pos x="75" y="545"/>
                </a:cxn>
                <a:cxn ang="0">
                  <a:pos x="84" y="549"/>
                </a:cxn>
                <a:cxn ang="0">
                  <a:pos x="128" y="549"/>
                </a:cxn>
                <a:cxn ang="0">
                  <a:pos x="172" y="532"/>
                </a:cxn>
                <a:cxn ang="0">
                  <a:pos x="194" y="514"/>
                </a:cxn>
                <a:cxn ang="0">
                  <a:pos x="202" y="567"/>
                </a:cxn>
                <a:cxn ang="0">
                  <a:pos x="224" y="607"/>
                </a:cxn>
                <a:cxn ang="0">
                  <a:pos x="268" y="642"/>
                </a:cxn>
                <a:cxn ang="0">
                  <a:pos x="260" y="637"/>
                </a:cxn>
                <a:cxn ang="0">
                  <a:pos x="238" y="598"/>
                </a:cxn>
                <a:cxn ang="0">
                  <a:pos x="224" y="545"/>
                </a:cxn>
                <a:cxn ang="0">
                  <a:pos x="220" y="510"/>
                </a:cxn>
                <a:cxn ang="0">
                  <a:pos x="229" y="536"/>
                </a:cxn>
                <a:cxn ang="0">
                  <a:pos x="260" y="563"/>
                </a:cxn>
                <a:cxn ang="0">
                  <a:pos x="277" y="571"/>
                </a:cxn>
                <a:cxn ang="0">
                  <a:pos x="255" y="527"/>
                </a:cxn>
                <a:cxn ang="0">
                  <a:pos x="246" y="479"/>
                </a:cxn>
                <a:cxn ang="0">
                  <a:pos x="246" y="422"/>
                </a:cxn>
                <a:cxn ang="0">
                  <a:pos x="255" y="391"/>
                </a:cxn>
                <a:cxn ang="0">
                  <a:pos x="299" y="290"/>
                </a:cxn>
                <a:cxn ang="0">
                  <a:pos x="369" y="185"/>
                </a:cxn>
                <a:cxn ang="0">
                  <a:pos x="396" y="145"/>
                </a:cxn>
                <a:cxn ang="0">
                  <a:pos x="418" y="97"/>
                </a:cxn>
                <a:cxn ang="0">
                  <a:pos x="422" y="49"/>
                </a:cxn>
                <a:cxn ang="0">
                  <a:pos x="400" y="14"/>
                </a:cxn>
              </a:cxnLst>
              <a:rect l="0" t="0" r="r" b="b"/>
              <a:pathLst>
                <a:path w="422" h="642">
                  <a:moveTo>
                    <a:pt x="400" y="14"/>
                  </a:moveTo>
                  <a:lnTo>
                    <a:pt x="400" y="14"/>
                  </a:lnTo>
                  <a:lnTo>
                    <a:pt x="387" y="9"/>
                  </a:lnTo>
                  <a:lnTo>
                    <a:pt x="374" y="5"/>
                  </a:lnTo>
                  <a:lnTo>
                    <a:pt x="356" y="0"/>
                  </a:lnTo>
                  <a:lnTo>
                    <a:pt x="330" y="5"/>
                  </a:lnTo>
                  <a:lnTo>
                    <a:pt x="304" y="14"/>
                  </a:lnTo>
                  <a:lnTo>
                    <a:pt x="268" y="35"/>
                  </a:lnTo>
                  <a:lnTo>
                    <a:pt x="229" y="62"/>
                  </a:lnTo>
                  <a:lnTo>
                    <a:pt x="229" y="62"/>
                  </a:lnTo>
                  <a:lnTo>
                    <a:pt x="202" y="88"/>
                  </a:lnTo>
                  <a:lnTo>
                    <a:pt x="176" y="115"/>
                  </a:lnTo>
                  <a:lnTo>
                    <a:pt x="159" y="141"/>
                  </a:lnTo>
                  <a:lnTo>
                    <a:pt x="145" y="163"/>
                  </a:lnTo>
                  <a:lnTo>
                    <a:pt x="137" y="189"/>
                  </a:lnTo>
                  <a:lnTo>
                    <a:pt x="128" y="211"/>
                  </a:lnTo>
                  <a:lnTo>
                    <a:pt x="119" y="260"/>
                  </a:lnTo>
                  <a:lnTo>
                    <a:pt x="115" y="299"/>
                  </a:lnTo>
                  <a:lnTo>
                    <a:pt x="115" y="339"/>
                  </a:lnTo>
                  <a:lnTo>
                    <a:pt x="115" y="369"/>
                  </a:lnTo>
                  <a:lnTo>
                    <a:pt x="106" y="396"/>
                  </a:lnTo>
                  <a:lnTo>
                    <a:pt x="106" y="396"/>
                  </a:lnTo>
                  <a:lnTo>
                    <a:pt x="93" y="418"/>
                  </a:lnTo>
                  <a:lnTo>
                    <a:pt x="80" y="431"/>
                  </a:lnTo>
                  <a:lnTo>
                    <a:pt x="62" y="435"/>
                  </a:lnTo>
                  <a:lnTo>
                    <a:pt x="44" y="440"/>
                  </a:lnTo>
                  <a:lnTo>
                    <a:pt x="14" y="440"/>
                  </a:lnTo>
                  <a:lnTo>
                    <a:pt x="0" y="440"/>
                  </a:lnTo>
                  <a:lnTo>
                    <a:pt x="0" y="440"/>
                  </a:lnTo>
                  <a:lnTo>
                    <a:pt x="5" y="444"/>
                  </a:lnTo>
                  <a:lnTo>
                    <a:pt x="27" y="462"/>
                  </a:lnTo>
                  <a:lnTo>
                    <a:pt x="44" y="466"/>
                  </a:lnTo>
                  <a:lnTo>
                    <a:pt x="62" y="466"/>
                  </a:lnTo>
                  <a:lnTo>
                    <a:pt x="84" y="466"/>
                  </a:lnTo>
                  <a:lnTo>
                    <a:pt x="110" y="457"/>
                  </a:lnTo>
                  <a:lnTo>
                    <a:pt x="110" y="457"/>
                  </a:lnTo>
                  <a:lnTo>
                    <a:pt x="106" y="466"/>
                  </a:lnTo>
                  <a:lnTo>
                    <a:pt x="84" y="479"/>
                  </a:lnTo>
                  <a:lnTo>
                    <a:pt x="71" y="484"/>
                  </a:lnTo>
                  <a:lnTo>
                    <a:pt x="53" y="488"/>
                  </a:lnTo>
                  <a:lnTo>
                    <a:pt x="36" y="492"/>
                  </a:lnTo>
                  <a:lnTo>
                    <a:pt x="14" y="488"/>
                  </a:lnTo>
                  <a:lnTo>
                    <a:pt x="14" y="488"/>
                  </a:lnTo>
                  <a:lnTo>
                    <a:pt x="31" y="497"/>
                  </a:lnTo>
                  <a:lnTo>
                    <a:pt x="49" y="506"/>
                  </a:lnTo>
                  <a:lnTo>
                    <a:pt x="71" y="510"/>
                  </a:lnTo>
                  <a:lnTo>
                    <a:pt x="97" y="514"/>
                  </a:lnTo>
                  <a:lnTo>
                    <a:pt x="123" y="510"/>
                  </a:lnTo>
                  <a:lnTo>
                    <a:pt x="154" y="497"/>
                  </a:lnTo>
                  <a:lnTo>
                    <a:pt x="167" y="484"/>
                  </a:lnTo>
                  <a:lnTo>
                    <a:pt x="185" y="470"/>
                  </a:lnTo>
                  <a:lnTo>
                    <a:pt x="185" y="470"/>
                  </a:lnTo>
                  <a:lnTo>
                    <a:pt x="181" y="479"/>
                  </a:lnTo>
                  <a:lnTo>
                    <a:pt x="163" y="506"/>
                  </a:lnTo>
                  <a:lnTo>
                    <a:pt x="150" y="519"/>
                  </a:lnTo>
                  <a:lnTo>
                    <a:pt x="128" y="532"/>
                  </a:lnTo>
                  <a:lnTo>
                    <a:pt x="106" y="541"/>
                  </a:lnTo>
                  <a:lnTo>
                    <a:pt x="75" y="545"/>
                  </a:lnTo>
                  <a:lnTo>
                    <a:pt x="75" y="545"/>
                  </a:lnTo>
                  <a:lnTo>
                    <a:pt x="84" y="549"/>
                  </a:lnTo>
                  <a:lnTo>
                    <a:pt x="110" y="549"/>
                  </a:lnTo>
                  <a:lnTo>
                    <a:pt x="128" y="549"/>
                  </a:lnTo>
                  <a:lnTo>
                    <a:pt x="150" y="545"/>
                  </a:lnTo>
                  <a:lnTo>
                    <a:pt x="172" y="532"/>
                  </a:lnTo>
                  <a:lnTo>
                    <a:pt x="194" y="514"/>
                  </a:lnTo>
                  <a:lnTo>
                    <a:pt x="194" y="514"/>
                  </a:lnTo>
                  <a:lnTo>
                    <a:pt x="194" y="532"/>
                  </a:lnTo>
                  <a:lnTo>
                    <a:pt x="202" y="567"/>
                  </a:lnTo>
                  <a:lnTo>
                    <a:pt x="211" y="585"/>
                  </a:lnTo>
                  <a:lnTo>
                    <a:pt x="224" y="607"/>
                  </a:lnTo>
                  <a:lnTo>
                    <a:pt x="242" y="629"/>
                  </a:lnTo>
                  <a:lnTo>
                    <a:pt x="268" y="642"/>
                  </a:lnTo>
                  <a:lnTo>
                    <a:pt x="268" y="642"/>
                  </a:lnTo>
                  <a:lnTo>
                    <a:pt x="260" y="637"/>
                  </a:lnTo>
                  <a:lnTo>
                    <a:pt x="246" y="615"/>
                  </a:lnTo>
                  <a:lnTo>
                    <a:pt x="238" y="598"/>
                  </a:lnTo>
                  <a:lnTo>
                    <a:pt x="229" y="576"/>
                  </a:lnTo>
                  <a:lnTo>
                    <a:pt x="224" y="545"/>
                  </a:lnTo>
                  <a:lnTo>
                    <a:pt x="220" y="510"/>
                  </a:lnTo>
                  <a:lnTo>
                    <a:pt x="220" y="510"/>
                  </a:lnTo>
                  <a:lnTo>
                    <a:pt x="224" y="519"/>
                  </a:lnTo>
                  <a:lnTo>
                    <a:pt x="229" y="536"/>
                  </a:lnTo>
                  <a:lnTo>
                    <a:pt x="246" y="554"/>
                  </a:lnTo>
                  <a:lnTo>
                    <a:pt x="260" y="563"/>
                  </a:lnTo>
                  <a:lnTo>
                    <a:pt x="277" y="571"/>
                  </a:lnTo>
                  <a:lnTo>
                    <a:pt x="277" y="571"/>
                  </a:lnTo>
                  <a:lnTo>
                    <a:pt x="268" y="558"/>
                  </a:lnTo>
                  <a:lnTo>
                    <a:pt x="255" y="527"/>
                  </a:lnTo>
                  <a:lnTo>
                    <a:pt x="251" y="506"/>
                  </a:lnTo>
                  <a:lnTo>
                    <a:pt x="246" y="479"/>
                  </a:lnTo>
                  <a:lnTo>
                    <a:pt x="246" y="453"/>
                  </a:lnTo>
                  <a:lnTo>
                    <a:pt x="246" y="422"/>
                  </a:lnTo>
                  <a:lnTo>
                    <a:pt x="246" y="422"/>
                  </a:lnTo>
                  <a:lnTo>
                    <a:pt x="255" y="391"/>
                  </a:lnTo>
                  <a:lnTo>
                    <a:pt x="268" y="356"/>
                  </a:lnTo>
                  <a:lnTo>
                    <a:pt x="299" y="290"/>
                  </a:lnTo>
                  <a:lnTo>
                    <a:pt x="339" y="229"/>
                  </a:lnTo>
                  <a:lnTo>
                    <a:pt x="369" y="185"/>
                  </a:lnTo>
                  <a:lnTo>
                    <a:pt x="369" y="185"/>
                  </a:lnTo>
                  <a:lnTo>
                    <a:pt x="396" y="145"/>
                  </a:lnTo>
                  <a:lnTo>
                    <a:pt x="409" y="123"/>
                  </a:lnTo>
                  <a:lnTo>
                    <a:pt x="418" y="97"/>
                  </a:lnTo>
                  <a:lnTo>
                    <a:pt x="422" y="75"/>
                  </a:lnTo>
                  <a:lnTo>
                    <a:pt x="422" y="49"/>
                  </a:lnTo>
                  <a:lnTo>
                    <a:pt x="413" y="31"/>
                  </a:lnTo>
                  <a:lnTo>
                    <a:pt x="400" y="14"/>
                  </a:lnTo>
                  <a:lnTo>
                    <a:pt x="400" y="14"/>
                  </a:lnTo>
                  <a:close/>
                </a:path>
              </a:pathLst>
            </a:custGeom>
            <a:solidFill>
              <a:srgbClr val="D7D8D9">
                <a:lumMod val="10000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90" name="Freeform 72"/>
            <p:cNvSpPr>
              <a:spLocks/>
            </p:cNvSpPr>
            <p:nvPr/>
          </p:nvSpPr>
          <p:spPr bwMode="auto">
            <a:xfrm>
              <a:off x="3659696" y="4568737"/>
              <a:ext cx="416787" cy="448255"/>
            </a:xfrm>
            <a:custGeom>
              <a:avLst/>
              <a:gdLst/>
              <a:ahLst/>
              <a:cxnLst>
                <a:cxn ang="0">
                  <a:pos x="14" y="159"/>
                </a:cxn>
                <a:cxn ang="0">
                  <a:pos x="14" y="159"/>
                </a:cxn>
                <a:cxn ang="0">
                  <a:pos x="58" y="159"/>
                </a:cxn>
                <a:cxn ang="0">
                  <a:pos x="88" y="150"/>
                </a:cxn>
                <a:cxn ang="0">
                  <a:pos x="101" y="145"/>
                </a:cxn>
                <a:cxn ang="0">
                  <a:pos x="110" y="141"/>
                </a:cxn>
                <a:cxn ang="0">
                  <a:pos x="110" y="141"/>
                </a:cxn>
                <a:cxn ang="0">
                  <a:pos x="128" y="110"/>
                </a:cxn>
                <a:cxn ang="0">
                  <a:pos x="150" y="62"/>
                </a:cxn>
                <a:cxn ang="0">
                  <a:pos x="172" y="0"/>
                </a:cxn>
                <a:cxn ang="0">
                  <a:pos x="172" y="0"/>
                </a:cxn>
                <a:cxn ang="0">
                  <a:pos x="211" y="14"/>
                </a:cxn>
                <a:cxn ang="0">
                  <a:pos x="260" y="36"/>
                </a:cxn>
                <a:cxn ang="0">
                  <a:pos x="260" y="36"/>
                </a:cxn>
                <a:cxn ang="0">
                  <a:pos x="264" y="44"/>
                </a:cxn>
                <a:cxn ang="0">
                  <a:pos x="264" y="58"/>
                </a:cxn>
                <a:cxn ang="0">
                  <a:pos x="260" y="88"/>
                </a:cxn>
                <a:cxn ang="0">
                  <a:pos x="251" y="132"/>
                </a:cxn>
                <a:cxn ang="0">
                  <a:pos x="198" y="150"/>
                </a:cxn>
                <a:cxn ang="0">
                  <a:pos x="198" y="150"/>
                </a:cxn>
                <a:cxn ang="0">
                  <a:pos x="180" y="181"/>
                </a:cxn>
                <a:cxn ang="0">
                  <a:pos x="167" y="207"/>
                </a:cxn>
                <a:cxn ang="0">
                  <a:pos x="154" y="233"/>
                </a:cxn>
                <a:cxn ang="0">
                  <a:pos x="154" y="233"/>
                </a:cxn>
                <a:cxn ang="0">
                  <a:pos x="145" y="251"/>
                </a:cxn>
                <a:cxn ang="0">
                  <a:pos x="132" y="260"/>
                </a:cxn>
                <a:cxn ang="0">
                  <a:pos x="115" y="260"/>
                </a:cxn>
                <a:cxn ang="0">
                  <a:pos x="97" y="255"/>
                </a:cxn>
                <a:cxn ang="0">
                  <a:pos x="22" y="282"/>
                </a:cxn>
                <a:cxn ang="0">
                  <a:pos x="22" y="282"/>
                </a:cxn>
                <a:cxn ang="0">
                  <a:pos x="14" y="273"/>
                </a:cxn>
                <a:cxn ang="0">
                  <a:pos x="5" y="255"/>
                </a:cxn>
                <a:cxn ang="0">
                  <a:pos x="5" y="238"/>
                </a:cxn>
                <a:cxn ang="0">
                  <a:pos x="0" y="216"/>
                </a:cxn>
                <a:cxn ang="0">
                  <a:pos x="5" y="189"/>
                </a:cxn>
                <a:cxn ang="0">
                  <a:pos x="14" y="159"/>
                </a:cxn>
                <a:cxn ang="0">
                  <a:pos x="14" y="159"/>
                </a:cxn>
              </a:cxnLst>
              <a:rect l="0" t="0" r="r" b="b"/>
              <a:pathLst>
                <a:path w="264" h="282">
                  <a:moveTo>
                    <a:pt x="14" y="159"/>
                  </a:moveTo>
                  <a:lnTo>
                    <a:pt x="14" y="159"/>
                  </a:lnTo>
                  <a:lnTo>
                    <a:pt x="58" y="159"/>
                  </a:lnTo>
                  <a:lnTo>
                    <a:pt x="88" y="150"/>
                  </a:lnTo>
                  <a:lnTo>
                    <a:pt x="101" y="145"/>
                  </a:lnTo>
                  <a:lnTo>
                    <a:pt x="110" y="141"/>
                  </a:lnTo>
                  <a:lnTo>
                    <a:pt x="110" y="141"/>
                  </a:lnTo>
                  <a:lnTo>
                    <a:pt x="128" y="110"/>
                  </a:lnTo>
                  <a:lnTo>
                    <a:pt x="150" y="62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211" y="14"/>
                  </a:lnTo>
                  <a:lnTo>
                    <a:pt x="260" y="36"/>
                  </a:lnTo>
                  <a:lnTo>
                    <a:pt x="260" y="36"/>
                  </a:lnTo>
                  <a:lnTo>
                    <a:pt x="264" y="44"/>
                  </a:lnTo>
                  <a:lnTo>
                    <a:pt x="264" y="58"/>
                  </a:lnTo>
                  <a:lnTo>
                    <a:pt x="260" y="88"/>
                  </a:lnTo>
                  <a:lnTo>
                    <a:pt x="251" y="132"/>
                  </a:lnTo>
                  <a:lnTo>
                    <a:pt x="198" y="150"/>
                  </a:lnTo>
                  <a:lnTo>
                    <a:pt x="198" y="150"/>
                  </a:lnTo>
                  <a:lnTo>
                    <a:pt x="180" y="181"/>
                  </a:lnTo>
                  <a:lnTo>
                    <a:pt x="167" y="207"/>
                  </a:lnTo>
                  <a:lnTo>
                    <a:pt x="154" y="233"/>
                  </a:lnTo>
                  <a:lnTo>
                    <a:pt x="154" y="233"/>
                  </a:lnTo>
                  <a:lnTo>
                    <a:pt x="145" y="251"/>
                  </a:lnTo>
                  <a:lnTo>
                    <a:pt x="132" y="260"/>
                  </a:lnTo>
                  <a:lnTo>
                    <a:pt x="115" y="260"/>
                  </a:lnTo>
                  <a:lnTo>
                    <a:pt x="97" y="255"/>
                  </a:lnTo>
                  <a:lnTo>
                    <a:pt x="22" y="282"/>
                  </a:lnTo>
                  <a:lnTo>
                    <a:pt x="22" y="282"/>
                  </a:lnTo>
                  <a:lnTo>
                    <a:pt x="14" y="273"/>
                  </a:lnTo>
                  <a:lnTo>
                    <a:pt x="5" y="255"/>
                  </a:lnTo>
                  <a:lnTo>
                    <a:pt x="5" y="238"/>
                  </a:lnTo>
                  <a:lnTo>
                    <a:pt x="0" y="216"/>
                  </a:lnTo>
                  <a:lnTo>
                    <a:pt x="5" y="189"/>
                  </a:lnTo>
                  <a:lnTo>
                    <a:pt x="14" y="159"/>
                  </a:lnTo>
                  <a:lnTo>
                    <a:pt x="14" y="159"/>
                  </a:lnTo>
                  <a:close/>
                </a:path>
              </a:pathLst>
            </a:custGeom>
            <a:solidFill>
              <a:srgbClr val="D7D8D9">
                <a:lumMod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91" name="Freeform 73"/>
            <p:cNvSpPr>
              <a:spLocks/>
            </p:cNvSpPr>
            <p:nvPr/>
          </p:nvSpPr>
          <p:spPr bwMode="auto">
            <a:xfrm>
              <a:off x="3549602" y="4788934"/>
              <a:ext cx="243782" cy="267382"/>
            </a:xfrm>
            <a:custGeom>
              <a:avLst/>
              <a:gdLst>
                <a:gd name="T0" fmla="*/ 47625 w 153"/>
                <a:gd name="T1" fmla="*/ 0 h 167"/>
                <a:gd name="T2" fmla="*/ 47625 w 153"/>
                <a:gd name="T3" fmla="*/ 0 h 167"/>
                <a:gd name="T4" fmla="*/ 103188 w 153"/>
                <a:gd name="T5" fmla="*/ 6350 h 167"/>
                <a:gd name="T6" fmla="*/ 160338 w 153"/>
                <a:gd name="T7" fmla="*/ 6350 h 167"/>
                <a:gd name="T8" fmla="*/ 215900 w 153"/>
                <a:gd name="T9" fmla="*/ 0 h 167"/>
                <a:gd name="T10" fmla="*/ 215900 w 153"/>
                <a:gd name="T11" fmla="*/ 0 h 167"/>
                <a:gd name="T12" fmla="*/ 207963 w 153"/>
                <a:gd name="T13" fmla="*/ 20637 h 167"/>
                <a:gd name="T14" fmla="*/ 195263 w 153"/>
                <a:gd name="T15" fmla="*/ 76200 h 167"/>
                <a:gd name="T16" fmla="*/ 195263 w 153"/>
                <a:gd name="T17" fmla="*/ 111125 h 167"/>
                <a:gd name="T18" fmla="*/ 201613 w 153"/>
                <a:gd name="T19" fmla="*/ 153987 h 167"/>
                <a:gd name="T20" fmla="*/ 215900 w 153"/>
                <a:gd name="T21" fmla="*/ 195262 h 167"/>
                <a:gd name="T22" fmla="*/ 242888 w 153"/>
                <a:gd name="T23" fmla="*/ 236537 h 167"/>
                <a:gd name="T24" fmla="*/ 242888 w 153"/>
                <a:gd name="T25" fmla="*/ 236537 h 167"/>
                <a:gd name="T26" fmla="*/ 166688 w 153"/>
                <a:gd name="T27" fmla="*/ 244475 h 167"/>
                <a:gd name="T28" fmla="*/ 96838 w 153"/>
                <a:gd name="T29" fmla="*/ 250825 h 167"/>
                <a:gd name="T30" fmla="*/ 34925 w 153"/>
                <a:gd name="T31" fmla="*/ 265112 h 167"/>
                <a:gd name="T32" fmla="*/ 34925 w 153"/>
                <a:gd name="T33" fmla="*/ 265112 h 167"/>
                <a:gd name="T34" fmla="*/ 20638 w 153"/>
                <a:gd name="T35" fmla="*/ 244475 h 167"/>
                <a:gd name="T36" fmla="*/ 12700 w 153"/>
                <a:gd name="T37" fmla="*/ 215900 h 167"/>
                <a:gd name="T38" fmla="*/ 0 w 153"/>
                <a:gd name="T39" fmla="*/ 180975 h 167"/>
                <a:gd name="T40" fmla="*/ 0 w 153"/>
                <a:gd name="T41" fmla="*/ 146050 h 167"/>
                <a:gd name="T42" fmla="*/ 6350 w 153"/>
                <a:gd name="T43" fmla="*/ 98425 h 167"/>
                <a:gd name="T44" fmla="*/ 20638 w 153"/>
                <a:gd name="T45" fmla="*/ 49212 h 167"/>
                <a:gd name="T46" fmla="*/ 47625 w 153"/>
                <a:gd name="T47" fmla="*/ 0 h 167"/>
                <a:gd name="T48" fmla="*/ 47625 w 153"/>
                <a:gd name="T49" fmla="*/ 0 h 1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53"/>
                <a:gd name="T76" fmla="*/ 0 h 167"/>
                <a:gd name="T77" fmla="*/ 153 w 153"/>
                <a:gd name="T78" fmla="*/ 167 h 16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53" h="167">
                  <a:moveTo>
                    <a:pt x="30" y="0"/>
                  </a:moveTo>
                  <a:lnTo>
                    <a:pt x="30" y="0"/>
                  </a:lnTo>
                  <a:lnTo>
                    <a:pt x="65" y="4"/>
                  </a:lnTo>
                  <a:lnTo>
                    <a:pt x="101" y="4"/>
                  </a:lnTo>
                  <a:lnTo>
                    <a:pt x="136" y="0"/>
                  </a:lnTo>
                  <a:lnTo>
                    <a:pt x="131" y="13"/>
                  </a:lnTo>
                  <a:lnTo>
                    <a:pt x="123" y="48"/>
                  </a:lnTo>
                  <a:lnTo>
                    <a:pt x="123" y="70"/>
                  </a:lnTo>
                  <a:lnTo>
                    <a:pt x="127" y="97"/>
                  </a:lnTo>
                  <a:lnTo>
                    <a:pt x="136" y="123"/>
                  </a:lnTo>
                  <a:lnTo>
                    <a:pt x="153" y="149"/>
                  </a:lnTo>
                  <a:lnTo>
                    <a:pt x="105" y="154"/>
                  </a:lnTo>
                  <a:lnTo>
                    <a:pt x="61" y="158"/>
                  </a:lnTo>
                  <a:lnTo>
                    <a:pt x="22" y="167"/>
                  </a:lnTo>
                  <a:lnTo>
                    <a:pt x="13" y="154"/>
                  </a:lnTo>
                  <a:lnTo>
                    <a:pt x="8" y="136"/>
                  </a:lnTo>
                  <a:lnTo>
                    <a:pt x="0" y="114"/>
                  </a:lnTo>
                  <a:lnTo>
                    <a:pt x="0" y="92"/>
                  </a:lnTo>
                  <a:lnTo>
                    <a:pt x="4" y="62"/>
                  </a:lnTo>
                  <a:lnTo>
                    <a:pt x="13" y="31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92" name="Freeform 76"/>
            <p:cNvSpPr>
              <a:spLocks/>
            </p:cNvSpPr>
            <p:nvPr/>
          </p:nvSpPr>
          <p:spPr bwMode="auto">
            <a:xfrm>
              <a:off x="4147256" y="3845234"/>
              <a:ext cx="70777" cy="62913"/>
            </a:xfrm>
            <a:custGeom>
              <a:avLst/>
              <a:gdLst>
                <a:gd name="T0" fmla="*/ 69850 w 44"/>
                <a:gd name="T1" fmla="*/ 55563 h 44"/>
                <a:gd name="T2" fmla="*/ 69850 w 44"/>
                <a:gd name="T3" fmla="*/ 55563 h 44"/>
                <a:gd name="T4" fmla="*/ 61913 w 44"/>
                <a:gd name="T5" fmla="*/ 55563 h 44"/>
                <a:gd name="T6" fmla="*/ 55563 w 44"/>
                <a:gd name="T7" fmla="*/ 61913 h 44"/>
                <a:gd name="T8" fmla="*/ 49212 w 44"/>
                <a:gd name="T9" fmla="*/ 69850 h 44"/>
                <a:gd name="T10" fmla="*/ 0 w 44"/>
                <a:gd name="T11" fmla="*/ 20637 h 44"/>
                <a:gd name="T12" fmla="*/ 0 w 44"/>
                <a:gd name="T13" fmla="*/ 20637 h 44"/>
                <a:gd name="T14" fmla="*/ 0 w 44"/>
                <a:gd name="T15" fmla="*/ 6350 h 44"/>
                <a:gd name="T16" fmla="*/ 6350 w 44"/>
                <a:gd name="T17" fmla="*/ 6350 h 44"/>
                <a:gd name="T18" fmla="*/ 14288 w 44"/>
                <a:gd name="T19" fmla="*/ 0 h 44"/>
                <a:gd name="T20" fmla="*/ 69850 w 44"/>
                <a:gd name="T21" fmla="*/ 55563 h 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4"/>
                <a:gd name="T34" fmla="*/ 0 h 44"/>
                <a:gd name="T35" fmla="*/ 44 w 44"/>
                <a:gd name="T36" fmla="*/ 44 h 4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4" h="44">
                  <a:moveTo>
                    <a:pt x="44" y="35"/>
                  </a:moveTo>
                  <a:lnTo>
                    <a:pt x="44" y="35"/>
                  </a:lnTo>
                  <a:lnTo>
                    <a:pt x="39" y="35"/>
                  </a:lnTo>
                  <a:lnTo>
                    <a:pt x="35" y="39"/>
                  </a:lnTo>
                  <a:lnTo>
                    <a:pt x="31" y="44"/>
                  </a:lnTo>
                  <a:lnTo>
                    <a:pt x="0" y="13"/>
                  </a:lnTo>
                  <a:lnTo>
                    <a:pt x="0" y="4"/>
                  </a:lnTo>
                  <a:lnTo>
                    <a:pt x="4" y="4"/>
                  </a:lnTo>
                  <a:lnTo>
                    <a:pt x="9" y="0"/>
                  </a:lnTo>
                  <a:lnTo>
                    <a:pt x="44" y="35"/>
                  </a:lnTo>
                  <a:close/>
                </a:path>
              </a:pathLst>
            </a:custGeom>
            <a:solidFill>
              <a:srgbClr val="8082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93" name="Freeform 77"/>
            <p:cNvSpPr>
              <a:spLocks/>
            </p:cNvSpPr>
            <p:nvPr/>
          </p:nvSpPr>
          <p:spPr bwMode="auto">
            <a:xfrm>
              <a:off x="3809112" y="3845234"/>
              <a:ext cx="1942372" cy="1368364"/>
            </a:xfrm>
            <a:custGeom>
              <a:avLst/>
              <a:gdLst>
                <a:gd name="T0" fmla="*/ 1938338 w 1221"/>
                <a:gd name="T1" fmla="*/ 82550 h 865"/>
                <a:gd name="T2" fmla="*/ 1889126 w 1221"/>
                <a:gd name="T3" fmla="*/ 41275 h 865"/>
                <a:gd name="T4" fmla="*/ 334963 w 1221"/>
                <a:gd name="T5" fmla="*/ 0 h 865"/>
                <a:gd name="T6" fmla="*/ 0 w 1221"/>
                <a:gd name="T7" fmla="*/ 1303337 h 865"/>
                <a:gd name="T8" fmla="*/ 41275 w 1221"/>
                <a:gd name="T9" fmla="*/ 1373187 h 865"/>
                <a:gd name="T10" fmla="*/ 1527175 w 1221"/>
                <a:gd name="T11" fmla="*/ 1338262 h 865"/>
                <a:gd name="T12" fmla="*/ 1938338 w 1221"/>
                <a:gd name="T13" fmla="*/ 82550 h 8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21"/>
                <a:gd name="T22" fmla="*/ 0 h 865"/>
                <a:gd name="T23" fmla="*/ 1221 w 1221"/>
                <a:gd name="T24" fmla="*/ 865 h 86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21" h="865">
                  <a:moveTo>
                    <a:pt x="1221" y="52"/>
                  </a:moveTo>
                  <a:lnTo>
                    <a:pt x="1190" y="26"/>
                  </a:lnTo>
                  <a:lnTo>
                    <a:pt x="211" y="0"/>
                  </a:lnTo>
                  <a:lnTo>
                    <a:pt x="0" y="821"/>
                  </a:lnTo>
                  <a:lnTo>
                    <a:pt x="26" y="865"/>
                  </a:lnTo>
                  <a:lnTo>
                    <a:pt x="962" y="843"/>
                  </a:lnTo>
                  <a:lnTo>
                    <a:pt x="1221" y="52"/>
                  </a:lnTo>
                  <a:close/>
                </a:path>
              </a:pathLst>
            </a:custGeom>
            <a:solidFill>
              <a:srgbClr val="D6CFD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94" name="Freeform 78"/>
            <p:cNvSpPr>
              <a:spLocks/>
            </p:cNvSpPr>
            <p:nvPr/>
          </p:nvSpPr>
          <p:spPr bwMode="auto">
            <a:xfrm>
              <a:off x="3848429" y="3900281"/>
              <a:ext cx="1903055" cy="1313318"/>
            </a:xfrm>
            <a:custGeom>
              <a:avLst/>
              <a:gdLst>
                <a:gd name="T0" fmla="*/ 1903413 w 1199"/>
                <a:gd name="T1" fmla="*/ 20637 h 826"/>
                <a:gd name="T2" fmla="*/ 355600 w 1199"/>
                <a:gd name="T3" fmla="*/ 0 h 826"/>
                <a:gd name="T4" fmla="*/ 0 w 1199"/>
                <a:gd name="T5" fmla="*/ 1311275 h 826"/>
                <a:gd name="T6" fmla="*/ 1519238 w 1199"/>
                <a:gd name="T7" fmla="*/ 1282700 h 826"/>
                <a:gd name="T8" fmla="*/ 1903413 w 1199"/>
                <a:gd name="T9" fmla="*/ 20637 h 8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99"/>
                <a:gd name="T16" fmla="*/ 0 h 826"/>
                <a:gd name="T17" fmla="*/ 1199 w 1199"/>
                <a:gd name="T18" fmla="*/ 826 h 82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99" h="826">
                  <a:moveTo>
                    <a:pt x="1199" y="13"/>
                  </a:moveTo>
                  <a:lnTo>
                    <a:pt x="224" y="0"/>
                  </a:lnTo>
                  <a:lnTo>
                    <a:pt x="0" y="826"/>
                  </a:lnTo>
                  <a:lnTo>
                    <a:pt x="957" y="808"/>
                  </a:lnTo>
                  <a:lnTo>
                    <a:pt x="1199" y="13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B6ADAB">
                    <a:shade val="30000"/>
                    <a:satMod val="115000"/>
                  </a:srgbClr>
                </a:gs>
                <a:gs pos="50000">
                  <a:srgbClr val="B6ADAB">
                    <a:shade val="67500"/>
                    <a:satMod val="115000"/>
                  </a:srgbClr>
                </a:gs>
                <a:gs pos="100000">
                  <a:srgbClr val="B6ADAB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95" name="Freeform 49"/>
            <p:cNvSpPr>
              <a:spLocks/>
            </p:cNvSpPr>
            <p:nvPr/>
          </p:nvSpPr>
          <p:spPr bwMode="auto">
            <a:xfrm>
              <a:off x="3329414" y="3805911"/>
              <a:ext cx="589792" cy="55049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31" y="17"/>
                </a:cxn>
                <a:cxn ang="0">
                  <a:pos x="66" y="35"/>
                </a:cxn>
                <a:cxn ang="0">
                  <a:pos x="114" y="48"/>
                </a:cxn>
                <a:cxn ang="0">
                  <a:pos x="167" y="57"/>
                </a:cxn>
                <a:cxn ang="0">
                  <a:pos x="198" y="57"/>
                </a:cxn>
                <a:cxn ang="0">
                  <a:pos x="228" y="57"/>
                </a:cxn>
                <a:cxn ang="0">
                  <a:pos x="264" y="48"/>
                </a:cxn>
                <a:cxn ang="0">
                  <a:pos x="294" y="39"/>
                </a:cxn>
                <a:cxn ang="0">
                  <a:pos x="329" y="22"/>
                </a:cxn>
                <a:cxn ang="0">
                  <a:pos x="365" y="0"/>
                </a:cxn>
                <a:cxn ang="0">
                  <a:pos x="365" y="0"/>
                </a:cxn>
                <a:cxn ang="0">
                  <a:pos x="369" y="35"/>
                </a:cxn>
                <a:cxn ang="0">
                  <a:pos x="365" y="74"/>
                </a:cxn>
                <a:cxn ang="0">
                  <a:pos x="360" y="123"/>
                </a:cxn>
                <a:cxn ang="0">
                  <a:pos x="347" y="180"/>
                </a:cxn>
                <a:cxn ang="0">
                  <a:pos x="329" y="237"/>
                </a:cxn>
                <a:cxn ang="0">
                  <a:pos x="312" y="263"/>
                </a:cxn>
                <a:cxn ang="0">
                  <a:pos x="294" y="294"/>
                </a:cxn>
                <a:cxn ang="0">
                  <a:pos x="272" y="320"/>
                </a:cxn>
                <a:cxn ang="0">
                  <a:pos x="246" y="347"/>
                </a:cxn>
                <a:cxn ang="0">
                  <a:pos x="246" y="347"/>
                </a:cxn>
                <a:cxn ang="0">
                  <a:pos x="228" y="329"/>
                </a:cxn>
                <a:cxn ang="0">
                  <a:pos x="211" y="312"/>
                </a:cxn>
                <a:cxn ang="0">
                  <a:pos x="180" y="281"/>
                </a:cxn>
                <a:cxn ang="0">
                  <a:pos x="145" y="232"/>
                </a:cxn>
                <a:cxn ang="0">
                  <a:pos x="105" y="175"/>
                </a:cxn>
                <a:cxn ang="0">
                  <a:pos x="53" y="96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69" h="347">
                  <a:moveTo>
                    <a:pt x="0" y="0"/>
                  </a:moveTo>
                  <a:lnTo>
                    <a:pt x="0" y="0"/>
                  </a:lnTo>
                  <a:lnTo>
                    <a:pt x="31" y="17"/>
                  </a:lnTo>
                  <a:lnTo>
                    <a:pt x="66" y="35"/>
                  </a:lnTo>
                  <a:lnTo>
                    <a:pt x="114" y="48"/>
                  </a:lnTo>
                  <a:lnTo>
                    <a:pt x="167" y="57"/>
                  </a:lnTo>
                  <a:lnTo>
                    <a:pt x="198" y="57"/>
                  </a:lnTo>
                  <a:lnTo>
                    <a:pt x="228" y="57"/>
                  </a:lnTo>
                  <a:lnTo>
                    <a:pt x="264" y="48"/>
                  </a:lnTo>
                  <a:lnTo>
                    <a:pt x="294" y="39"/>
                  </a:lnTo>
                  <a:lnTo>
                    <a:pt x="329" y="22"/>
                  </a:lnTo>
                  <a:lnTo>
                    <a:pt x="365" y="0"/>
                  </a:lnTo>
                  <a:lnTo>
                    <a:pt x="365" y="0"/>
                  </a:lnTo>
                  <a:lnTo>
                    <a:pt x="369" y="35"/>
                  </a:lnTo>
                  <a:lnTo>
                    <a:pt x="365" y="74"/>
                  </a:lnTo>
                  <a:lnTo>
                    <a:pt x="360" y="123"/>
                  </a:lnTo>
                  <a:lnTo>
                    <a:pt x="347" y="180"/>
                  </a:lnTo>
                  <a:lnTo>
                    <a:pt x="329" y="237"/>
                  </a:lnTo>
                  <a:lnTo>
                    <a:pt x="312" y="263"/>
                  </a:lnTo>
                  <a:lnTo>
                    <a:pt x="294" y="294"/>
                  </a:lnTo>
                  <a:lnTo>
                    <a:pt x="272" y="320"/>
                  </a:lnTo>
                  <a:lnTo>
                    <a:pt x="246" y="347"/>
                  </a:lnTo>
                  <a:lnTo>
                    <a:pt x="246" y="347"/>
                  </a:lnTo>
                  <a:lnTo>
                    <a:pt x="228" y="329"/>
                  </a:lnTo>
                  <a:lnTo>
                    <a:pt x="211" y="312"/>
                  </a:lnTo>
                  <a:lnTo>
                    <a:pt x="180" y="281"/>
                  </a:lnTo>
                  <a:lnTo>
                    <a:pt x="145" y="232"/>
                  </a:lnTo>
                  <a:lnTo>
                    <a:pt x="105" y="175"/>
                  </a:lnTo>
                  <a:lnTo>
                    <a:pt x="53" y="9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7D8D9">
                <a:lumMod val="25000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grpSp>
          <p:nvGrpSpPr>
            <p:cNvPr id="196" name="Gruppe 91"/>
            <p:cNvGrpSpPr>
              <a:grpSpLocks/>
            </p:cNvGrpSpPr>
            <p:nvPr/>
          </p:nvGrpSpPr>
          <p:grpSpPr bwMode="auto">
            <a:xfrm>
              <a:off x="3209925" y="3422650"/>
              <a:ext cx="858838" cy="1017588"/>
              <a:chOff x="3209925" y="3422650"/>
              <a:chExt cx="858838" cy="1017588"/>
            </a:xfrm>
          </p:grpSpPr>
          <p:sp>
            <p:nvSpPr>
              <p:cNvPr id="197" name="Freeform 50"/>
              <p:cNvSpPr>
                <a:spLocks/>
              </p:cNvSpPr>
              <p:nvPr/>
            </p:nvSpPr>
            <p:spPr bwMode="auto">
              <a:xfrm>
                <a:off x="3211461" y="3420569"/>
                <a:ext cx="511149" cy="935835"/>
              </a:xfrm>
              <a:custGeom>
                <a:avLst/>
                <a:gdLst>
                  <a:gd name="T0" fmla="*/ 250825 w 321"/>
                  <a:gd name="T1" fmla="*/ 0 h 589"/>
                  <a:gd name="T2" fmla="*/ 250825 w 321"/>
                  <a:gd name="T3" fmla="*/ 0 h 589"/>
                  <a:gd name="T4" fmla="*/ 244475 w 321"/>
                  <a:gd name="T5" fmla="*/ 20637 h 589"/>
                  <a:gd name="T6" fmla="*/ 223838 w 321"/>
                  <a:gd name="T7" fmla="*/ 76200 h 589"/>
                  <a:gd name="T8" fmla="*/ 209550 w 321"/>
                  <a:gd name="T9" fmla="*/ 166687 h 589"/>
                  <a:gd name="T10" fmla="*/ 203200 w 321"/>
                  <a:gd name="T11" fmla="*/ 215900 h 589"/>
                  <a:gd name="T12" fmla="*/ 203200 w 321"/>
                  <a:gd name="T13" fmla="*/ 279400 h 589"/>
                  <a:gd name="T14" fmla="*/ 203200 w 321"/>
                  <a:gd name="T15" fmla="*/ 349250 h 589"/>
                  <a:gd name="T16" fmla="*/ 215900 w 321"/>
                  <a:gd name="T17" fmla="*/ 419100 h 589"/>
                  <a:gd name="T18" fmla="*/ 238125 w 321"/>
                  <a:gd name="T19" fmla="*/ 495300 h 589"/>
                  <a:gd name="T20" fmla="*/ 265113 w 321"/>
                  <a:gd name="T21" fmla="*/ 571500 h 589"/>
                  <a:gd name="T22" fmla="*/ 307975 w 321"/>
                  <a:gd name="T23" fmla="*/ 661987 h 589"/>
                  <a:gd name="T24" fmla="*/ 363538 w 321"/>
                  <a:gd name="T25" fmla="*/ 746124 h 589"/>
                  <a:gd name="T26" fmla="*/ 425450 w 321"/>
                  <a:gd name="T27" fmla="*/ 836612 h 589"/>
                  <a:gd name="T28" fmla="*/ 509588 w 321"/>
                  <a:gd name="T29" fmla="*/ 935037 h 589"/>
                  <a:gd name="T30" fmla="*/ 509588 w 321"/>
                  <a:gd name="T31" fmla="*/ 935037 h 589"/>
                  <a:gd name="T32" fmla="*/ 468313 w 321"/>
                  <a:gd name="T33" fmla="*/ 906462 h 589"/>
                  <a:gd name="T34" fmla="*/ 355600 w 321"/>
                  <a:gd name="T35" fmla="*/ 836612 h 589"/>
                  <a:gd name="T36" fmla="*/ 285750 w 321"/>
                  <a:gd name="T37" fmla="*/ 787399 h 589"/>
                  <a:gd name="T38" fmla="*/ 215900 w 321"/>
                  <a:gd name="T39" fmla="*/ 731837 h 589"/>
                  <a:gd name="T40" fmla="*/ 147638 w 321"/>
                  <a:gd name="T41" fmla="*/ 669925 h 589"/>
                  <a:gd name="T42" fmla="*/ 77788 w 321"/>
                  <a:gd name="T43" fmla="*/ 600075 h 589"/>
                  <a:gd name="T44" fmla="*/ 112713 w 321"/>
                  <a:gd name="T45" fmla="*/ 515937 h 589"/>
                  <a:gd name="T46" fmla="*/ 0 w 321"/>
                  <a:gd name="T47" fmla="*/ 431800 h 589"/>
                  <a:gd name="T48" fmla="*/ 0 w 321"/>
                  <a:gd name="T49" fmla="*/ 431800 h 589"/>
                  <a:gd name="T50" fmla="*/ 7938 w 321"/>
                  <a:gd name="T51" fmla="*/ 384175 h 589"/>
                  <a:gd name="T52" fmla="*/ 22225 w 321"/>
                  <a:gd name="T53" fmla="*/ 328612 h 589"/>
                  <a:gd name="T54" fmla="*/ 42863 w 321"/>
                  <a:gd name="T55" fmla="*/ 265112 h 589"/>
                  <a:gd name="T56" fmla="*/ 69850 w 321"/>
                  <a:gd name="T57" fmla="*/ 195262 h 589"/>
                  <a:gd name="T58" fmla="*/ 112713 w 321"/>
                  <a:gd name="T59" fmla="*/ 125412 h 589"/>
                  <a:gd name="T60" fmla="*/ 139700 w 321"/>
                  <a:gd name="T61" fmla="*/ 90487 h 589"/>
                  <a:gd name="T62" fmla="*/ 174625 w 321"/>
                  <a:gd name="T63" fmla="*/ 55562 h 589"/>
                  <a:gd name="T64" fmla="*/ 209550 w 321"/>
                  <a:gd name="T65" fmla="*/ 28575 h 589"/>
                  <a:gd name="T66" fmla="*/ 250825 w 321"/>
                  <a:gd name="T67" fmla="*/ 0 h 589"/>
                  <a:gd name="T68" fmla="*/ 250825 w 321"/>
                  <a:gd name="T69" fmla="*/ 0 h 58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21"/>
                  <a:gd name="T106" fmla="*/ 0 h 589"/>
                  <a:gd name="T107" fmla="*/ 321 w 321"/>
                  <a:gd name="T108" fmla="*/ 589 h 589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21" h="589">
                    <a:moveTo>
                      <a:pt x="158" y="0"/>
                    </a:moveTo>
                    <a:lnTo>
                      <a:pt x="158" y="0"/>
                    </a:lnTo>
                    <a:lnTo>
                      <a:pt x="154" y="13"/>
                    </a:lnTo>
                    <a:lnTo>
                      <a:pt x="141" y="48"/>
                    </a:lnTo>
                    <a:lnTo>
                      <a:pt x="132" y="105"/>
                    </a:lnTo>
                    <a:lnTo>
                      <a:pt x="128" y="136"/>
                    </a:lnTo>
                    <a:lnTo>
                      <a:pt x="128" y="176"/>
                    </a:lnTo>
                    <a:lnTo>
                      <a:pt x="128" y="220"/>
                    </a:lnTo>
                    <a:lnTo>
                      <a:pt x="136" y="264"/>
                    </a:lnTo>
                    <a:lnTo>
                      <a:pt x="150" y="312"/>
                    </a:lnTo>
                    <a:lnTo>
                      <a:pt x="167" y="360"/>
                    </a:lnTo>
                    <a:lnTo>
                      <a:pt x="194" y="417"/>
                    </a:lnTo>
                    <a:lnTo>
                      <a:pt x="229" y="470"/>
                    </a:lnTo>
                    <a:lnTo>
                      <a:pt x="268" y="527"/>
                    </a:lnTo>
                    <a:lnTo>
                      <a:pt x="321" y="589"/>
                    </a:lnTo>
                    <a:lnTo>
                      <a:pt x="295" y="571"/>
                    </a:lnTo>
                    <a:lnTo>
                      <a:pt x="224" y="527"/>
                    </a:lnTo>
                    <a:lnTo>
                      <a:pt x="180" y="496"/>
                    </a:lnTo>
                    <a:lnTo>
                      <a:pt x="136" y="461"/>
                    </a:lnTo>
                    <a:lnTo>
                      <a:pt x="93" y="422"/>
                    </a:lnTo>
                    <a:lnTo>
                      <a:pt x="49" y="378"/>
                    </a:lnTo>
                    <a:lnTo>
                      <a:pt x="71" y="325"/>
                    </a:lnTo>
                    <a:lnTo>
                      <a:pt x="0" y="272"/>
                    </a:lnTo>
                    <a:lnTo>
                      <a:pt x="5" y="242"/>
                    </a:lnTo>
                    <a:lnTo>
                      <a:pt x="14" y="207"/>
                    </a:lnTo>
                    <a:lnTo>
                      <a:pt x="27" y="167"/>
                    </a:lnTo>
                    <a:lnTo>
                      <a:pt x="44" y="123"/>
                    </a:lnTo>
                    <a:lnTo>
                      <a:pt x="71" y="79"/>
                    </a:lnTo>
                    <a:lnTo>
                      <a:pt x="88" y="57"/>
                    </a:lnTo>
                    <a:lnTo>
                      <a:pt x="110" y="35"/>
                    </a:lnTo>
                    <a:lnTo>
                      <a:pt x="132" y="18"/>
                    </a:lnTo>
                    <a:lnTo>
                      <a:pt x="158" y="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98" name="Freeform 51"/>
              <p:cNvSpPr>
                <a:spLocks/>
              </p:cNvSpPr>
              <p:nvPr/>
            </p:nvSpPr>
            <p:spPr bwMode="auto">
              <a:xfrm>
                <a:off x="3643971" y="3585715"/>
                <a:ext cx="424649" cy="857198"/>
              </a:xfrm>
              <a:custGeom>
                <a:avLst/>
                <a:gdLst>
                  <a:gd name="T0" fmla="*/ 187325 w 268"/>
                  <a:gd name="T1" fmla="*/ 34925 h 536"/>
                  <a:gd name="T2" fmla="*/ 187325 w 268"/>
                  <a:gd name="T3" fmla="*/ 34925 h 536"/>
                  <a:gd name="T4" fmla="*/ 201612 w 268"/>
                  <a:gd name="T5" fmla="*/ 112712 h 536"/>
                  <a:gd name="T6" fmla="*/ 215900 w 268"/>
                  <a:gd name="T7" fmla="*/ 195262 h 536"/>
                  <a:gd name="T8" fmla="*/ 215900 w 268"/>
                  <a:gd name="T9" fmla="*/ 300037 h 536"/>
                  <a:gd name="T10" fmla="*/ 215900 w 268"/>
                  <a:gd name="T11" fmla="*/ 363537 h 536"/>
                  <a:gd name="T12" fmla="*/ 207963 w 268"/>
                  <a:gd name="T13" fmla="*/ 425450 h 536"/>
                  <a:gd name="T14" fmla="*/ 195262 w 268"/>
                  <a:gd name="T15" fmla="*/ 495300 h 536"/>
                  <a:gd name="T16" fmla="*/ 166687 w 268"/>
                  <a:gd name="T17" fmla="*/ 558800 h 536"/>
                  <a:gd name="T18" fmla="*/ 138112 w 268"/>
                  <a:gd name="T19" fmla="*/ 635000 h 536"/>
                  <a:gd name="T20" fmla="*/ 104775 w 268"/>
                  <a:gd name="T21" fmla="*/ 704850 h 536"/>
                  <a:gd name="T22" fmla="*/ 55562 w 268"/>
                  <a:gd name="T23" fmla="*/ 781050 h 536"/>
                  <a:gd name="T24" fmla="*/ 0 w 268"/>
                  <a:gd name="T25" fmla="*/ 850900 h 536"/>
                  <a:gd name="T26" fmla="*/ 0 w 268"/>
                  <a:gd name="T27" fmla="*/ 850900 h 536"/>
                  <a:gd name="T28" fmla="*/ 41275 w 268"/>
                  <a:gd name="T29" fmla="*/ 809625 h 536"/>
                  <a:gd name="T30" fmla="*/ 146050 w 268"/>
                  <a:gd name="T31" fmla="*/ 704850 h 536"/>
                  <a:gd name="T32" fmla="*/ 207963 w 268"/>
                  <a:gd name="T33" fmla="*/ 635000 h 536"/>
                  <a:gd name="T34" fmla="*/ 271462 w 268"/>
                  <a:gd name="T35" fmla="*/ 552450 h 536"/>
                  <a:gd name="T36" fmla="*/ 327025 w 268"/>
                  <a:gd name="T37" fmla="*/ 460375 h 536"/>
                  <a:gd name="T38" fmla="*/ 376237 w 268"/>
                  <a:gd name="T39" fmla="*/ 357187 h 536"/>
                  <a:gd name="T40" fmla="*/ 376237 w 268"/>
                  <a:gd name="T41" fmla="*/ 357187 h 536"/>
                  <a:gd name="T42" fmla="*/ 361950 w 268"/>
                  <a:gd name="T43" fmla="*/ 334962 h 536"/>
                  <a:gd name="T44" fmla="*/ 341312 w 268"/>
                  <a:gd name="T45" fmla="*/ 314325 h 536"/>
                  <a:gd name="T46" fmla="*/ 306387 w 268"/>
                  <a:gd name="T47" fmla="*/ 287337 h 536"/>
                  <a:gd name="T48" fmla="*/ 425450 w 268"/>
                  <a:gd name="T49" fmla="*/ 273050 h 536"/>
                  <a:gd name="T50" fmla="*/ 425450 w 268"/>
                  <a:gd name="T51" fmla="*/ 273050 h 536"/>
                  <a:gd name="T52" fmla="*/ 368300 w 268"/>
                  <a:gd name="T53" fmla="*/ 168275 h 536"/>
                  <a:gd name="T54" fmla="*/ 312737 w 268"/>
                  <a:gd name="T55" fmla="*/ 77787 h 536"/>
                  <a:gd name="T56" fmla="*/ 250825 w 268"/>
                  <a:gd name="T57" fmla="*/ 0 h 536"/>
                  <a:gd name="T58" fmla="*/ 187325 w 268"/>
                  <a:gd name="T59" fmla="*/ 34925 h 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268"/>
                  <a:gd name="T91" fmla="*/ 0 h 536"/>
                  <a:gd name="T92" fmla="*/ 268 w 268"/>
                  <a:gd name="T93" fmla="*/ 536 h 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268" h="536">
                    <a:moveTo>
                      <a:pt x="118" y="22"/>
                    </a:moveTo>
                    <a:lnTo>
                      <a:pt x="118" y="22"/>
                    </a:lnTo>
                    <a:lnTo>
                      <a:pt x="127" y="71"/>
                    </a:lnTo>
                    <a:lnTo>
                      <a:pt x="136" y="123"/>
                    </a:lnTo>
                    <a:lnTo>
                      <a:pt x="136" y="189"/>
                    </a:lnTo>
                    <a:lnTo>
                      <a:pt x="136" y="229"/>
                    </a:lnTo>
                    <a:lnTo>
                      <a:pt x="131" y="268"/>
                    </a:lnTo>
                    <a:lnTo>
                      <a:pt x="123" y="312"/>
                    </a:lnTo>
                    <a:lnTo>
                      <a:pt x="105" y="352"/>
                    </a:lnTo>
                    <a:lnTo>
                      <a:pt x="87" y="400"/>
                    </a:lnTo>
                    <a:lnTo>
                      <a:pt x="66" y="444"/>
                    </a:lnTo>
                    <a:lnTo>
                      <a:pt x="35" y="492"/>
                    </a:lnTo>
                    <a:lnTo>
                      <a:pt x="0" y="536"/>
                    </a:lnTo>
                    <a:lnTo>
                      <a:pt x="26" y="510"/>
                    </a:lnTo>
                    <a:lnTo>
                      <a:pt x="92" y="444"/>
                    </a:lnTo>
                    <a:lnTo>
                      <a:pt x="131" y="400"/>
                    </a:lnTo>
                    <a:lnTo>
                      <a:pt x="171" y="348"/>
                    </a:lnTo>
                    <a:lnTo>
                      <a:pt x="206" y="290"/>
                    </a:lnTo>
                    <a:lnTo>
                      <a:pt x="237" y="225"/>
                    </a:lnTo>
                    <a:lnTo>
                      <a:pt x="228" y="211"/>
                    </a:lnTo>
                    <a:lnTo>
                      <a:pt x="215" y="198"/>
                    </a:lnTo>
                    <a:lnTo>
                      <a:pt x="193" y="181"/>
                    </a:lnTo>
                    <a:lnTo>
                      <a:pt x="268" y="172"/>
                    </a:lnTo>
                    <a:lnTo>
                      <a:pt x="232" y="106"/>
                    </a:lnTo>
                    <a:lnTo>
                      <a:pt x="197" y="49"/>
                    </a:lnTo>
                    <a:lnTo>
                      <a:pt x="158" y="0"/>
                    </a:lnTo>
                    <a:lnTo>
                      <a:pt x="118" y="22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210" name="Gruppe 68"/>
          <p:cNvGrpSpPr>
            <a:grpSpLocks/>
          </p:cNvGrpSpPr>
          <p:nvPr/>
        </p:nvGrpSpPr>
        <p:grpSpPr bwMode="auto">
          <a:xfrm>
            <a:off x="6609817" y="2993512"/>
            <a:ext cx="248035" cy="705595"/>
            <a:chOff x="3594573" y="1102784"/>
            <a:chExt cx="1646880" cy="4688415"/>
          </a:xfrm>
        </p:grpSpPr>
        <p:grpSp>
          <p:nvGrpSpPr>
            <p:cNvPr id="211" name="Gruppe 58"/>
            <p:cNvGrpSpPr>
              <a:grpSpLocks/>
            </p:cNvGrpSpPr>
            <p:nvPr/>
          </p:nvGrpSpPr>
          <p:grpSpPr bwMode="auto">
            <a:xfrm>
              <a:off x="3594573" y="1102784"/>
              <a:ext cx="1646880" cy="4688415"/>
              <a:chOff x="3594573" y="1102784"/>
              <a:chExt cx="1646880" cy="4688415"/>
            </a:xfrm>
          </p:grpSpPr>
          <p:sp>
            <p:nvSpPr>
              <p:cNvPr id="213" name="Freeform 122"/>
              <p:cNvSpPr>
                <a:spLocks noEditPoints="1"/>
              </p:cNvSpPr>
              <p:nvPr/>
            </p:nvSpPr>
            <p:spPr bwMode="auto">
              <a:xfrm>
                <a:off x="3594573" y="1102784"/>
                <a:ext cx="1646880" cy="4688415"/>
              </a:xfrm>
              <a:custGeom>
                <a:avLst/>
                <a:gdLst>
                  <a:gd name="T0" fmla="*/ 1589388 w 1776"/>
                  <a:gd name="T1" fmla="*/ 1105338 h 5056"/>
                  <a:gd name="T2" fmla="*/ 1505931 w 1776"/>
                  <a:gd name="T3" fmla="*/ 808603 h 5056"/>
                  <a:gd name="T4" fmla="*/ 1288943 w 1776"/>
                  <a:gd name="T5" fmla="*/ 736274 h 5056"/>
                  <a:gd name="T6" fmla="*/ 1296362 w 1776"/>
                  <a:gd name="T7" fmla="*/ 701037 h 5056"/>
                  <a:gd name="T8" fmla="*/ 1277816 w 1776"/>
                  <a:gd name="T9" fmla="*/ 624998 h 5056"/>
                  <a:gd name="T10" fmla="*/ 1231451 w 1776"/>
                  <a:gd name="T11" fmla="*/ 630562 h 5056"/>
                  <a:gd name="T12" fmla="*/ 1179522 w 1776"/>
                  <a:gd name="T13" fmla="*/ 591616 h 5056"/>
                  <a:gd name="T14" fmla="*/ 1099775 w 1776"/>
                  <a:gd name="T15" fmla="*/ 166914 h 5056"/>
                  <a:gd name="T16" fmla="*/ 1029300 w 1776"/>
                  <a:gd name="T17" fmla="*/ 37092 h 5056"/>
                  <a:gd name="T18" fmla="*/ 916170 w 1776"/>
                  <a:gd name="T19" fmla="*/ 0 h 5056"/>
                  <a:gd name="T20" fmla="*/ 762238 w 1776"/>
                  <a:gd name="T21" fmla="*/ 38946 h 5056"/>
                  <a:gd name="T22" fmla="*/ 643544 w 1776"/>
                  <a:gd name="T23" fmla="*/ 261498 h 5056"/>
                  <a:gd name="T24" fmla="*/ 637981 w 1776"/>
                  <a:gd name="T25" fmla="*/ 589761 h 5056"/>
                  <a:gd name="T26" fmla="*/ 608307 w 1776"/>
                  <a:gd name="T27" fmla="*/ 663945 h 5056"/>
                  <a:gd name="T28" fmla="*/ 469212 w 1776"/>
                  <a:gd name="T29" fmla="*/ 788203 h 5056"/>
                  <a:gd name="T30" fmla="*/ 424702 w 1776"/>
                  <a:gd name="T31" fmla="*/ 799330 h 5056"/>
                  <a:gd name="T32" fmla="*/ 385756 w 1776"/>
                  <a:gd name="T33" fmla="*/ 782639 h 5056"/>
                  <a:gd name="T34" fmla="*/ 461794 w 1776"/>
                  <a:gd name="T35" fmla="*/ 862386 h 5056"/>
                  <a:gd name="T36" fmla="*/ 363501 w 1776"/>
                  <a:gd name="T37" fmla="*/ 945843 h 5056"/>
                  <a:gd name="T38" fmla="*/ 244807 w 1776"/>
                  <a:gd name="T39" fmla="*/ 1203632 h 5056"/>
                  <a:gd name="T40" fmla="*/ 44510 w 1776"/>
                  <a:gd name="T41" fmla="*/ 1530040 h 5056"/>
                  <a:gd name="T42" fmla="*/ 22255 w 1776"/>
                  <a:gd name="T43" fmla="*/ 1696954 h 5056"/>
                  <a:gd name="T44" fmla="*/ 365355 w 1776"/>
                  <a:gd name="T45" fmla="*/ 2106819 h 5056"/>
                  <a:gd name="T46" fmla="*/ 547105 w 1776"/>
                  <a:gd name="T47" fmla="*/ 2336789 h 5056"/>
                  <a:gd name="T48" fmla="*/ 530414 w 1776"/>
                  <a:gd name="T49" fmla="*/ 2800438 h 5056"/>
                  <a:gd name="T50" fmla="*/ 556378 w 1776"/>
                  <a:gd name="T51" fmla="*/ 3239976 h 5056"/>
                  <a:gd name="T52" fmla="*/ 591616 w 1776"/>
                  <a:gd name="T53" fmla="*/ 3514456 h 5056"/>
                  <a:gd name="T54" fmla="*/ 739983 w 1776"/>
                  <a:gd name="T55" fmla="*/ 3991088 h 5056"/>
                  <a:gd name="T56" fmla="*/ 775221 w 1776"/>
                  <a:gd name="T57" fmla="*/ 4272986 h 5056"/>
                  <a:gd name="T58" fmla="*/ 799330 w 1776"/>
                  <a:gd name="T59" fmla="*/ 4584558 h 5056"/>
                  <a:gd name="T60" fmla="*/ 936570 w 1776"/>
                  <a:gd name="T61" fmla="*/ 4679142 h 5056"/>
                  <a:gd name="T62" fmla="*/ 1092356 w 1776"/>
                  <a:gd name="T63" fmla="*/ 4638341 h 5056"/>
                  <a:gd name="T64" fmla="*/ 1253706 w 1776"/>
                  <a:gd name="T65" fmla="*/ 4655032 h 5056"/>
                  <a:gd name="T66" fmla="*/ 1251851 w 1776"/>
                  <a:gd name="T67" fmla="*/ 4525211 h 5056"/>
                  <a:gd name="T68" fmla="*/ 1198068 w 1776"/>
                  <a:gd name="T69" fmla="*/ 4345315 h 5056"/>
                  <a:gd name="T70" fmla="*/ 1316762 w 1776"/>
                  <a:gd name="T71" fmla="*/ 3857557 h 5056"/>
                  <a:gd name="T72" fmla="*/ 1494803 w 1776"/>
                  <a:gd name="T73" fmla="*/ 3269650 h 5056"/>
                  <a:gd name="T74" fmla="*/ 1556005 w 1776"/>
                  <a:gd name="T75" fmla="*/ 2410973 h 5056"/>
                  <a:gd name="T76" fmla="*/ 1635752 w 1776"/>
                  <a:gd name="T77" fmla="*/ 2257042 h 5056"/>
                  <a:gd name="T78" fmla="*/ 1626479 w 1776"/>
                  <a:gd name="T79" fmla="*/ 1887977 h 5056"/>
                  <a:gd name="T80" fmla="*/ 437684 w 1776"/>
                  <a:gd name="T81" fmla="*/ 1895395 h 5056"/>
                  <a:gd name="T82" fmla="*/ 267062 w 1776"/>
                  <a:gd name="T83" fmla="*/ 1628334 h 5056"/>
                  <a:gd name="T84" fmla="*/ 270771 w 1776"/>
                  <a:gd name="T85" fmla="*/ 1594951 h 5056"/>
                  <a:gd name="T86" fmla="*/ 424702 w 1776"/>
                  <a:gd name="T87" fmla="*/ 1342726 h 5056"/>
                  <a:gd name="T88" fmla="*/ 545251 w 1776"/>
                  <a:gd name="T89" fmla="*/ 1383527 h 5056"/>
                  <a:gd name="T90" fmla="*/ 582343 w 1776"/>
                  <a:gd name="T91" fmla="*/ 1580114 h 5056"/>
                  <a:gd name="T92" fmla="*/ 1014463 w 1776"/>
                  <a:gd name="T93" fmla="*/ 4486264 h 5056"/>
                  <a:gd name="T94" fmla="*/ 1029300 w 1776"/>
                  <a:gd name="T95" fmla="*/ 4432481 h 5056"/>
                  <a:gd name="T96" fmla="*/ 1135012 w 1776"/>
                  <a:gd name="T97" fmla="*/ 3609040 h 5056"/>
                  <a:gd name="T98" fmla="*/ 1079374 w 1776"/>
                  <a:gd name="T99" fmla="*/ 4063417 h 5056"/>
                  <a:gd name="T100" fmla="*/ 968099 w 1776"/>
                  <a:gd name="T101" fmla="*/ 4239603 h 5056"/>
                  <a:gd name="T102" fmla="*/ 901333 w 1776"/>
                  <a:gd name="T103" fmla="*/ 3931741 h 5056"/>
                  <a:gd name="T104" fmla="*/ 843841 w 1776"/>
                  <a:gd name="T105" fmla="*/ 3362380 h 5056"/>
                  <a:gd name="T106" fmla="*/ 1186941 w 1776"/>
                  <a:gd name="T107" fmla="*/ 3258522 h 5056"/>
                  <a:gd name="T108" fmla="*/ 1170249 w 1776"/>
                  <a:gd name="T109" fmla="*/ 1007045 h 5056"/>
                  <a:gd name="T110" fmla="*/ 821585 w 1776"/>
                  <a:gd name="T111" fmla="*/ 981081 h 5056"/>
                  <a:gd name="T112" fmla="*/ 754820 w 1776"/>
                  <a:gd name="T113" fmla="*/ 714019 h 5056"/>
                  <a:gd name="T114" fmla="*/ 1144285 w 1776"/>
                  <a:gd name="T115" fmla="*/ 984790 h 5056"/>
                  <a:gd name="T116" fmla="*/ 1144285 w 1776"/>
                  <a:gd name="T117" fmla="*/ 760384 h 5056"/>
                  <a:gd name="T118" fmla="*/ 1326035 w 1776"/>
                  <a:gd name="T119" fmla="*/ 1758155 h 5056"/>
                  <a:gd name="T120" fmla="*/ 1305635 w 1776"/>
                  <a:gd name="T121" fmla="*/ 1565278 h 5056"/>
                  <a:gd name="T122" fmla="*/ 1342727 w 1776"/>
                  <a:gd name="T123" fmla="*/ 1500367 h 5056"/>
                  <a:gd name="T124" fmla="*/ 1340872 w 1776"/>
                  <a:gd name="T125" fmla="*/ 1626479 h 505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776"/>
                  <a:gd name="T190" fmla="*/ 0 h 5056"/>
                  <a:gd name="T191" fmla="*/ 1776 w 1776"/>
                  <a:gd name="T192" fmla="*/ 5056 h 505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776" h="5056">
                    <a:moveTo>
                      <a:pt x="1744" y="1934"/>
                    </a:moveTo>
                    <a:lnTo>
                      <a:pt x="1744" y="1934"/>
                    </a:lnTo>
                    <a:lnTo>
                      <a:pt x="1736" y="1822"/>
                    </a:lnTo>
                    <a:lnTo>
                      <a:pt x="1730" y="1708"/>
                    </a:lnTo>
                    <a:lnTo>
                      <a:pt x="1726" y="1594"/>
                    </a:lnTo>
                    <a:lnTo>
                      <a:pt x="1724" y="1482"/>
                    </a:lnTo>
                    <a:lnTo>
                      <a:pt x="1722" y="1368"/>
                    </a:lnTo>
                    <a:lnTo>
                      <a:pt x="1722" y="1310"/>
                    </a:lnTo>
                    <a:lnTo>
                      <a:pt x="1718" y="1250"/>
                    </a:lnTo>
                    <a:lnTo>
                      <a:pt x="1714" y="1192"/>
                    </a:lnTo>
                    <a:lnTo>
                      <a:pt x="1708" y="1134"/>
                    </a:lnTo>
                    <a:lnTo>
                      <a:pt x="1698" y="1076"/>
                    </a:lnTo>
                    <a:lnTo>
                      <a:pt x="1690" y="1048"/>
                    </a:lnTo>
                    <a:lnTo>
                      <a:pt x="1682" y="1020"/>
                    </a:lnTo>
                    <a:lnTo>
                      <a:pt x="1672" y="980"/>
                    </a:lnTo>
                    <a:lnTo>
                      <a:pt x="1660" y="938"/>
                    </a:lnTo>
                    <a:lnTo>
                      <a:pt x="1654" y="916"/>
                    </a:lnTo>
                    <a:lnTo>
                      <a:pt x="1644" y="896"/>
                    </a:lnTo>
                    <a:lnTo>
                      <a:pt x="1632" y="878"/>
                    </a:lnTo>
                    <a:lnTo>
                      <a:pt x="1624" y="872"/>
                    </a:lnTo>
                    <a:lnTo>
                      <a:pt x="1616" y="864"/>
                    </a:lnTo>
                    <a:lnTo>
                      <a:pt x="1604" y="856"/>
                    </a:lnTo>
                    <a:lnTo>
                      <a:pt x="1590" y="850"/>
                    </a:lnTo>
                    <a:lnTo>
                      <a:pt x="1558" y="838"/>
                    </a:lnTo>
                    <a:lnTo>
                      <a:pt x="1494" y="820"/>
                    </a:lnTo>
                    <a:lnTo>
                      <a:pt x="1470" y="812"/>
                    </a:lnTo>
                    <a:lnTo>
                      <a:pt x="1444" y="806"/>
                    </a:lnTo>
                    <a:lnTo>
                      <a:pt x="1390" y="794"/>
                    </a:lnTo>
                    <a:lnTo>
                      <a:pt x="1410" y="782"/>
                    </a:lnTo>
                    <a:lnTo>
                      <a:pt x="1420" y="774"/>
                    </a:lnTo>
                    <a:lnTo>
                      <a:pt x="1428" y="768"/>
                    </a:lnTo>
                    <a:lnTo>
                      <a:pt x="1436" y="760"/>
                    </a:lnTo>
                    <a:lnTo>
                      <a:pt x="1442" y="750"/>
                    </a:lnTo>
                    <a:lnTo>
                      <a:pt x="1442" y="740"/>
                    </a:lnTo>
                    <a:lnTo>
                      <a:pt x="1440" y="730"/>
                    </a:lnTo>
                    <a:lnTo>
                      <a:pt x="1424" y="742"/>
                    </a:lnTo>
                    <a:lnTo>
                      <a:pt x="1406" y="752"/>
                    </a:lnTo>
                    <a:lnTo>
                      <a:pt x="1398" y="756"/>
                    </a:lnTo>
                    <a:lnTo>
                      <a:pt x="1388" y="758"/>
                    </a:lnTo>
                    <a:lnTo>
                      <a:pt x="1378" y="758"/>
                    </a:lnTo>
                    <a:lnTo>
                      <a:pt x="1366" y="756"/>
                    </a:lnTo>
                    <a:lnTo>
                      <a:pt x="1374" y="736"/>
                    </a:lnTo>
                    <a:lnTo>
                      <a:pt x="1380" y="716"/>
                    </a:lnTo>
                    <a:lnTo>
                      <a:pt x="1382" y="706"/>
                    </a:lnTo>
                    <a:lnTo>
                      <a:pt x="1382" y="696"/>
                    </a:lnTo>
                    <a:lnTo>
                      <a:pt x="1382" y="684"/>
                    </a:lnTo>
                    <a:lnTo>
                      <a:pt x="1378" y="674"/>
                    </a:lnTo>
                    <a:lnTo>
                      <a:pt x="1374" y="692"/>
                    </a:lnTo>
                    <a:lnTo>
                      <a:pt x="1366" y="714"/>
                    </a:lnTo>
                    <a:lnTo>
                      <a:pt x="1362" y="722"/>
                    </a:lnTo>
                    <a:lnTo>
                      <a:pt x="1356" y="730"/>
                    </a:lnTo>
                    <a:lnTo>
                      <a:pt x="1348" y="736"/>
                    </a:lnTo>
                    <a:lnTo>
                      <a:pt x="1340" y="742"/>
                    </a:lnTo>
                    <a:lnTo>
                      <a:pt x="1336" y="728"/>
                    </a:lnTo>
                    <a:lnTo>
                      <a:pt x="1332" y="712"/>
                    </a:lnTo>
                    <a:lnTo>
                      <a:pt x="1328" y="680"/>
                    </a:lnTo>
                    <a:lnTo>
                      <a:pt x="1326" y="692"/>
                    </a:lnTo>
                    <a:lnTo>
                      <a:pt x="1324" y="704"/>
                    </a:lnTo>
                    <a:lnTo>
                      <a:pt x="1322" y="714"/>
                    </a:lnTo>
                    <a:lnTo>
                      <a:pt x="1318" y="722"/>
                    </a:lnTo>
                    <a:lnTo>
                      <a:pt x="1312" y="730"/>
                    </a:lnTo>
                    <a:lnTo>
                      <a:pt x="1306" y="734"/>
                    </a:lnTo>
                    <a:lnTo>
                      <a:pt x="1298" y="736"/>
                    </a:lnTo>
                    <a:lnTo>
                      <a:pt x="1292" y="732"/>
                    </a:lnTo>
                    <a:lnTo>
                      <a:pt x="1280" y="670"/>
                    </a:lnTo>
                    <a:lnTo>
                      <a:pt x="1272" y="638"/>
                    </a:lnTo>
                    <a:lnTo>
                      <a:pt x="1264" y="606"/>
                    </a:lnTo>
                    <a:lnTo>
                      <a:pt x="1258" y="570"/>
                    </a:lnTo>
                    <a:lnTo>
                      <a:pt x="1252" y="534"/>
                    </a:lnTo>
                    <a:lnTo>
                      <a:pt x="1242" y="464"/>
                    </a:lnTo>
                    <a:lnTo>
                      <a:pt x="1232" y="390"/>
                    </a:lnTo>
                    <a:lnTo>
                      <a:pt x="1222" y="318"/>
                    </a:lnTo>
                    <a:lnTo>
                      <a:pt x="1214" y="274"/>
                    </a:lnTo>
                    <a:lnTo>
                      <a:pt x="1202" y="226"/>
                    </a:lnTo>
                    <a:lnTo>
                      <a:pt x="1186" y="180"/>
                    </a:lnTo>
                    <a:lnTo>
                      <a:pt x="1176" y="158"/>
                    </a:lnTo>
                    <a:lnTo>
                      <a:pt x="1166" y="136"/>
                    </a:lnTo>
                    <a:lnTo>
                      <a:pt x="1162" y="120"/>
                    </a:lnTo>
                    <a:lnTo>
                      <a:pt x="1156" y="106"/>
                    </a:lnTo>
                    <a:lnTo>
                      <a:pt x="1142" y="80"/>
                    </a:lnTo>
                    <a:lnTo>
                      <a:pt x="1132" y="66"/>
                    </a:lnTo>
                    <a:lnTo>
                      <a:pt x="1118" y="50"/>
                    </a:lnTo>
                    <a:lnTo>
                      <a:pt x="1110" y="40"/>
                    </a:lnTo>
                    <a:lnTo>
                      <a:pt x="1100" y="34"/>
                    </a:lnTo>
                    <a:lnTo>
                      <a:pt x="1092" y="28"/>
                    </a:lnTo>
                    <a:lnTo>
                      <a:pt x="1082" y="26"/>
                    </a:lnTo>
                    <a:lnTo>
                      <a:pt x="1060" y="14"/>
                    </a:lnTo>
                    <a:lnTo>
                      <a:pt x="1034" y="4"/>
                    </a:lnTo>
                    <a:lnTo>
                      <a:pt x="1022" y="0"/>
                    </a:lnTo>
                    <a:lnTo>
                      <a:pt x="1010" y="0"/>
                    </a:lnTo>
                    <a:lnTo>
                      <a:pt x="998" y="0"/>
                    </a:lnTo>
                    <a:lnTo>
                      <a:pt x="988" y="0"/>
                    </a:lnTo>
                    <a:lnTo>
                      <a:pt x="966" y="10"/>
                    </a:lnTo>
                    <a:lnTo>
                      <a:pt x="956" y="12"/>
                    </a:lnTo>
                    <a:lnTo>
                      <a:pt x="942" y="10"/>
                    </a:lnTo>
                    <a:lnTo>
                      <a:pt x="948" y="12"/>
                    </a:lnTo>
                    <a:lnTo>
                      <a:pt x="918" y="14"/>
                    </a:lnTo>
                    <a:lnTo>
                      <a:pt x="892" y="18"/>
                    </a:lnTo>
                    <a:lnTo>
                      <a:pt x="866" y="26"/>
                    </a:lnTo>
                    <a:lnTo>
                      <a:pt x="844" y="34"/>
                    </a:lnTo>
                    <a:lnTo>
                      <a:pt x="822" y="42"/>
                    </a:lnTo>
                    <a:lnTo>
                      <a:pt x="804" y="54"/>
                    </a:lnTo>
                    <a:lnTo>
                      <a:pt x="786" y="68"/>
                    </a:lnTo>
                    <a:lnTo>
                      <a:pt x="772" y="82"/>
                    </a:lnTo>
                    <a:lnTo>
                      <a:pt x="758" y="96"/>
                    </a:lnTo>
                    <a:lnTo>
                      <a:pt x="746" y="114"/>
                    </a:lnTo>
                    <a:lnTo>
                      <a:pt x="734" y="132"/>
                    </a:lnTo>
                    <a:lnTo>
                      <a:pt x="726" y="150"/>
                    </a:lnTo>
                    <a:lnTo>
                      <a:pt x="718" y="170"/>
                    </a:lnTo>
                    <a:lnTo>
                      <a:pt x="712" y="192"/>
                    </a:lnTo>
                    <a:lnTo>
                      <a:pt x="702" y="236"/>
                    </a:lnTo>
                    <a:lnTo>
                      <a:pt x="694" y="282"/>
                    </a:lnTo>
                    <a:lnTo>
                      <a:pt x="692" y="328"/>
                    </a:lnTo>
                    <a:lnTo>
                      <a:pt x="690" y="378"/>
                    </a:lnTo>
                    <a:lnTo>
                      <a:pt x="690" y="426"/>
                    </a:lnTo>
                    <a:lnTo>
                      <a:pt x="692" y="520"/>
                    </a:lnTo>
                    <a:lnTo>
                      <a:pt x="692" y="564"/>
                    </a:lnTo>
                    <a:lnTo>
                      <a:pt x="692" y="606"/>
                    </a:lnTo>
                    <a:lnTo>
                      <a:pt x="686" y="642"/>
                    </a:lnTo>
                    <a:lnTo>
                      <a:pt x="686" y="638"/>
                    </a:lnTo>
                    <a:lnTo>
                      <a:pt x="688" y="636"/>
                    </a:lnTo>
                    <a:lnTo>
                      <a:pt x="688" y="638"/>
                    </a:lnTo>
                    <a:lnTo>
                      <a:pt x="684" y="672"/>
                    </a:lnTo>
                    <a:lnTo>
                      <a:pt x="676" y="706"/>
                    </a:lnTo>
                    <a:lnTo>
                      <a:pt x="686" y="642"/>
                    </a:lnTo>
                    <a:lnTo>
                      <a:pt x="682" y="654"/>
                    </a:lnTo>
                    <a:lnTo>
                      <a:pt x="656" y="716"/>
                    </a:lnTo>
                    <a:lnTo>
                      <a:pt x="642" y="746"/>
                    </a:lnTo>
                    <a:lnTo>
                      <a:pt x="632" y="760"/>
                    </a:lnTo>
                    <a:lnTo>
                      <a:pt x="622" y="774"/>
                    </a:lnTo>
                    <a:lnTo>
                      <a:pt x="600" y="802"/>
                    </a:lnTo>
                    <a:lnTo>
                      <a:pt x="588" y="816"/>
                    </a:lnTo>
                    <a:lnTo>
                      <a:pt x="574" y="828"/>
                    </a:lnTo>
                    <a:lnTo>
                      <a:pt x="560" y="838"/>
                    </a:lnTo>
                    <a:lnTo>
                      <a:pt x="544" y="844"/>
                    </a:lnTo>
                    <a:lnTo>
                      <a:pt x="526" y="850"/>
                    </a:lnTo>
                    <a:lnTo>
                      <a:pt x="506" y="850"/>
                    </a:lnTo>
                    <a:lnTo>
                      <a:pt x="488" y="848"/>
                    </a:lnTo>
                    <a:lnTo>
                      <a:pt x="470" y="842"/>
                    </a:lnTo>
                    <a:lnTo>
                      <a:pt x="464" y="838"/>
                    </a:lnTo>
                    <a:lnTo>
                      <a:pt x="456" y="832"/>
                    </a:lnTo>
                    <a:lnTo>
                      <a:pt x="450" y="826"/>
                    </a:lnTo>
                    <a:lnTo>
                      <a:pt x="446" y="818"/>
                    </a:lnTo>
                    <a:lnTo>
                      <a:pt x="450" y="842"/>
                    </a:lnTo>
                    <a:lnTo>
                      <a:pt x="454" y="852"/>
                    </a:lnTo>
                    <a:lnTo>
                      <a:pt x="458" y="862"/>
                    </a:lnTo>
                    <a:lnTo>
                      <a:pt x="464" y="872"/>
                    </a:lnTo>
                    <a:lnTo>
                      <a:pt x="472" y="880"/>
                    </a:lnTo>
                    <a:lnTo>
                      <a:pt x="484" y="888"/>
                    </a:lnTo>
                    <a:lnTo>
                      <a:pt x="500" y="894"/>
                    </a:lnTo>
                    <a:lnTo>
                      <a:pt x="486" y="894"/>
                    </a:lnTo>
                    <a:lnTo>
                      <a:pt x="474" y="890"/>
                    </a:lnTo>
                    <a:lnTo>
                      <a:pt x="462" y="886"/>
                    </a:lnTo>
                    <a:lnTo>
                      <a:pt x="452" y="880"/>
                    </a:lnTo>
                    <a:lnTo>
                      <a:pt x="434" y="862"/>
                    </a:lnTo>
                    <a:lnTo>
                      <a:pt x="416" y="844"/>
                    </a:lnTo>
                    <a:lnTo>
                      <a:pt x="418" y="854"/>
                    </a:lnTo>
                    <a:lnTo>
                      <a:pt x="422" y="862"/>
                    </a:lnTo>
                    <a:lnTo>
                      <a:pt x="432" y="882"/>
                    </a:lnTo>
                    <a:lnTo>
                      <a:pt x="446" y="898"/>
                    </a:lnTo>
                    <a:lnTo>
                      <a:pt x="462" y="912"/>
                    </a:lnTo>
                    <a:lnTo>
                      <a:pt x="480" y="922"/>
                    </a:lnTo>
                    <a:lnTo>
                      <a:pt x="488" y="926"/>
                    </a:lnTo>
                    <a:lnTo>
                      <a:pt x="498" y="930"/>
                    </a:lnTo>
                    <a:lnTo>
                      <a:pt x="458" y="944"/>
                    </a:lnTo>
                    <a:lnTo>
                      <a:pt x="440" y="952"/>
                    </a:lnTo>
                    <a:lnTo>
                      <a:pt x="422" y="962"/>
                    </a:lnTo>
                    <a:lnTo>
                      <a:pt x="414" y="968"/>
                    </a:lnTo>
                    <a:lnTo>
                      <a:pt x="406" y="974"/>
                    </a:lnTo>
                    <a:lnTo>
                      <a:pt x="402" y="982"/>
                    </a:lnTo>
                    <a:lnTo>
                      <a:pt x="400" y="988"/>
                    </a:lnTo>
                    <a:lnTo>
                      <a:pt x="398" y="1002"/>
                    </a:lnTo>
                    <a:lnTo>
                      <a:pt x="392" y="1020"/>
                    </a:lnTo>
                    <a:lnTo>
                      <a:pt x="374" y="1056"/>
                    </a:lnTo>
                    <a:lnTo>
                      <a:pt x="366" y="1078"/>
                    </a:lnTo>
                    <a:lnTo>
                      <a:pt x="366" y="1088"/>
                    </a:lnTo>
                    <a:lnTo>
                      <a:pt x="366" y="1096"/>
                    </a:lnTo>
                    <a:lnTo>
                      <a:pt x="356" y="1122"/>
                    </a:lnTo>
                    <a:lnTo>
                      <a:pt x="344" y="1148"/>
                    </a:lnTo>
                    <a:lnTo>
                      <a:pt x="318" y="1198"/>
                    </a:lnTo>
                    <a:lnTo>
                      <a:pt x="290" y="1248"/>
                    </a:lnTo>
                    <a:lnTo>
                      <a:pt x="264" y="1298"/>
                    </a:lnTo>
                    <a:lnTo>
                      <a:pt x="248" y="1334"/>
                    </a:lnTo>
                    <a:lnTo>
                      <a:pt x="232" y="1370"/>
                    </a:lnTo>
                    <a:lnTo>
                      <a:pt x="212" y="1406"/>
                    </a:lnTo>
                    <a:lnTo>
                      <a:pt x="192" y="1440"/>
                    </a:lnTo>
                    <a:lnTo>
                      <a:pt x="168" y="1486"/>
                    </a:lnTo>
                    <a:lnTo>
                      <a:pt x="140" y="1532"/>
                    </a:lnTo>
                    <a:lnTo>
                      <a:pt x="110" y="1574"/>
                    </a:lnTo>
                    <a:lnTo>
                      <a:pt x="80" y="1614"/>
                    </a:lnTo>
                    <a:lnTo>
                      <a:pt x="48" y="1650"/>
                    </a:lnTo>
                    <a:lnTo>
                      <a:pt x="34" y="1664"/>
                    </a:lnTo>
                    <a:lnTo>
                      <a:pt x="20" y="1680"/>
                    </a:lnTo>
                    <a:lnTo>
                      <a:pt x="10" y="1698"/>
                    </a:lnTo>
                    <a:lnTo>
                      <a:pt x="4" y="1714"/>
                    </a:lnTo>
                    <a:lnTo>
                      <a:pt x="2" y="1724"/>
                    </a:lnTo>
                    <a:lnTo>
                      <a:pt x="0" y="1734"/>
                    </a:lnTo>
                    <a:lnTo>
                      <a:pt x="0" y="1744"/>
                    </a:lnTo>
                    <a:lnTo>
                      <a:pt x="2" y="1756"/>
                    </a:lnTo>
                    <a:lnTo>
                      <a:pt x="10" y="1794"/>
                    </a:lnTo>
                    <a:lnTo>
                      <a:pt x="24" y="1830"/>
                    </a:lnTo>
                    <a:lnTo>
                      <a:pt x="40" y="1866"/>
                    </a:lnTo>
                    <a:lnTo>
                      <a:pt x="60" y="1902"/>
                    </a:lnTo>
                    <a:lnTo>
                      <a:pt x="82" y="1936"/>
                    </a:lnTo>
                    <a:lnTo>
                      <a:pt x="106" y="1970"/>
                    </a:lnTo>
                    <a:lnTo>
                      <a:pt x="134" y="2002"/>
                    </a:lnTo>
                    <a:lnTo>
                      <a:pt x="162" y="2034"/>
                    </a:lnTo>
                    <a:lnTo>
                      <a:pt x="222" y="2096"/>
                    </a:lnTo>
                    <a:lnTo>
                      <a:pt x="282" y="2156"/>
                    </a:lnTo>
                    <a:lnTo>
                      <a:pt x="340" y="2214"/>
                    </a:lnTo>
                    <a:lnTo>
                      <a:pt x="368" y="2244"/>
                    </a:lnTo>
                    <a:lnTo>
                      <a:pt x="394" y="2272"/>
                    </a:lnTo>
                    <a:lnTo>
                      <a:pt x="466" y="2324"/>
                    </a:lnTo>
                    <a:lnTo>
                      <a:pt x="446" y="2382"/>
                    </a:lnTo>
                    <a:lnTo>
                      <a:pt x="428" y="2442"/>
                    </a:lnTo>
                    <a:lnTo>
                      <a:pt x="510" y="2452"/>
                    </a:lnTo>
                    <a:lnTo>
                      <a:pt x="562" y="2460"/>
                    </a:lnTo>
                    <a:lnTo>
                      <a:pt x="580" y="2464"/>
                    </a:lnTo>
                    <a:lnTo>
                      <a:pt x="594" y="2470"/>
                    </a:lnTo>
                    <a:lnTo>
                      <a:pt x="590" y="2520"/>
                    </a:lnTo>
                    <a:lnTo>
                      <a:pt x="584" y="2574"/>
                    </a:lnTo>
                    <a:lnTo>
                      <a:pt x="578" y="2630"/>
                    </a:lnTo>
                    <a:lnTo>
                      <a:pt x="576" y="2684"/>
                    </a:lnTo>
                    <a:lnTo>
                      <a:pt x="570" y="2780"/>
                    </a:lnTo>
                    <a:lnTo>
                      <a:pt x="566" y="2862"/>
                    </a:lnTo>
                    <a:lnTo>
                      <a:pt x="564" y="2900"/>
                    </a:lnTo>
                    <a:lnTo>
                      <a:pt x="566" y="2940"/>
                    </a:lnTo>
                    <a:lnTo>
                      <a:pt x="568" y="2978"/>
                    </a:lnTo>
                    <a:lnTo>
                      <a:pt x="572" y="3020"/>
                    </a:lnTo>
                    <a:lnTo>
                      <a:pt x="578" y="3078"/>
                    </a:lnTo>
                    <a:lnTo>
                      <a:pt x="580" y="3136"/>
                    </a:lnTo>
                    <a:lnTo>
                      <a:pt x="580" y="3194"/>
                    </a:lnTo>
                    <a:lnTo>
                      <a:pt x="580" y="3254"/>
                    </a:lnTo>
                    <a:lnTo>
                      <a:pt x="576" y="3312"/>
                    </a:lnTo>
                    <a:lnTo>
                      <a:pt x="570" y="3370"/>
                    </a:lnTo>
                    <a:lnTo>
                      <a:pt x="564" y="3428"/>
                    </a:lnTo>
                    <a:lnTo>
                      <a:pt x="556" y="3484"/>
                    </a:lnTo>
                    <a:lnTo>
                      <a:pt x="578" y="3492"/>
                    </a:lnTo>
                    <a:lnTo>
                      <a:pt x="600" y="3494"/>
                    </a:lnTo>
                    <a:lnTo>
                      <a:pt x="620" y="3496"/>
                    </a:lnTo>
                    <a:lnTo>
                      <a:pt x="640" y="3496"/>
                    </a:lnTo>
                    <a:lnTo>
                      <a:pt x="630" y="3562"/>
                    </a:lnTo>
                    <a:lnTo>
                      <a:pt x="628" y="3596"/>
                    </a:lnTo>
                    <a:lnTo>
                      <a:pt x="626" y="3632"/>
                    </a:lnTo>
                    <a:lnTo>
                      <a:pt x="626" y="3672"/>
                    </a:lnTo>
                    <a:lnTo>
                      <a:pt x="628" y="3712"/>
                    </a:lnTo>
                    <a:lnTo>
                      <a:pt x="632" y="3750"/>
                    </a:lnTo>
                    <a:lnTo>
                      <a:pt x="638" y="3790"/>
                    </a:lnTo>
                    <a:lnTo>
                      <a:pt x="648" y="3846"/>
                    </a:lnTo>
                    <a:lnTo>
                      <a:pt x="660" y="3900"/>
                    </a:lnTo>
                    <a:lnTo>
                      <a:pt x="672" y="3954"/>
                    </a:lnTo>
                    <a:lnTo>
                      <a:pt x="688" y="4006"/>
                    </a:lnTo>
                    <a:lnTo>
                      <a:pt x="704" y="4060"/>
                    </a:lnTo>
                    <a:lnTo>
                      <a:pt x="722" y="4112"/>
                    </a:lnTo>
                    <a:lnTo>
                      <a:pt x="742" y="4164"/>
                    </a:lnTo>
                    <a:lnTo>
                      <a:pt x="764" y="4216"/>
                    </a:lnTo>
                    <a:lnTo>
                      <a:pt x="798" y="4304"/>
                    </a:lnTo>
                    <a:lnTo>
                      <a:pt x="814" y="4350"/>
                    </a:lnTo>
                    <a:lnTo>
                      <a:pt x="828" y="4396"/>
                    </a:lnTo>
                    <a:lnTo>
                      <a:pt x="840" y="4444"/>
                    </a:lnTo>
                    <a:lnTo>
                      <a:pt x="844" y="4468"/>
                    </a:lnTo>
                    <a:lnTo>
                      <a:pt x="846" y="4492"/>
                    </a:lnTo>
                    <a:lnTo>
                      <a:pt x="848" y="4514"/>
                    </a:lnTo>
                    <a:lnTo>
                      <a:pt x="846" y="4538"/>
                    </a:lnTo>
                    <a:lnTo>
                      <a:pt x="844" y="4560"/>
                    </a:lnTo>
                    <a:lnTo>
                      <a:pt x="840" y="4582"/>
                    </a:lnTo>
                    <a:lnTo>
                      <a:pt x="836" y="4608"/>
                    </a:lnTo>
                    <a:lnTo>
                      <a:pt x="832" y="4634"/>
                    </a:lnTo>
                    <a:lnTo>
                      <a:pt x="826" y="4686"/>
                    </a:lnTo>
                    <a:lnTo>
                      <a:pt x="826" y="4740"/>
                    </a:lnTo>
                    <a:lnTo>
                      <a:pt x="828" y="4792"/>
                    </a:lnTo>
                    <a:lnTo>
                      <a:pt x="836" y="4828"/>
                    </a:lnTo>
                    <a:lnTo>
                      <a:pt x="846" y="4862"/>
                    </a:lnTo>
                    <a:lnTo>
                      <a:pt x="854" y="4896"/>
                    </a:lnTo>
                    <a:lnTo>
                      <a:pt x="862" y="4932"/>
                    </a:lnTo>
                    <a:lnTo>
                      <a:pt x="862" y="4944"/>
                    </a:lnTo>
                    <a:lnTo>
                      <a:pt x="862" y="4956"/>
                    </a:lnTo>
                    <a:lnTo>
                      <a:pt x="862" y="4976"/>
                    </a:lnTo>
                    <a:lnTo>
                      <a:pt x="864" y="4986"/>
                    </a:lnTo>
                    <a:lnTo>
                      <a:pt x="868" y="4994"/>
                    </a:lnTo>
                    <a:lnTo>
                      <a:pt x="876" y="5002"/>
                    </a:lnTo>
                    <a:lnTo>
                      <a:pt x="888" y="5010"/>
                    </a:lnTo>
                    <a:lnTo>
                      <a:pt x="910" y="5018"/>
                    </a:lnTo>
                    <a:lnTo>
                      <a:pt x="940" y="5028"/>
                    </a:lnTo>
                    <a:lnTo>
                      <a:pt x="974" y="5038"/>
                    </a:lnTo>
                    <a:lnTo>
                      <a:pt x="1010" y="5046"/>
                    </a:lnTo>
                    <a:lnTo>
                      <a:pt x="1046" y="5052"/>
                    </a:lnTo>
                    <a:lnTo>
                      <a:pt x="1080" y="5056"/>
                    </a:lnTo>
                    <a:lnTo>
                      <a:pt x="1096" y="5056"/>
                    </a:lnTo>
                    <a:lnTo>
                      <a:pt x="1110" y="5054"/>
                    </a:lnTo>
                    <a:lnTo>
                      <a:pt x="1122" y="5052"/>
                    </a:lnTo>
                    <a:lnTo>
                      <a:pt x="1134" y="5048"/>
                    </a:lnTo>
                    <a:lnTo>
                      <a:pt x="1150" y="5038"/>
                    </a:lnTo>
                    <a:lnTo>
                      <a:pt x="1164" y="5026"/>
                    </a:lnTo>
                    <a:lnTo>
                      <a:pt x="1172" y="5014"/>
                    </a:lnTo>
                    <a:lnTo>
                      <a:pt x="1178" y="5002"/>
                    </a:lnTo>
                    <a:lnTo>
                      <a:pt x="1186" y="5012"/>
                    </a:lnTo>
                    <a:lnTo>
                      <a:pt x="1194" y="5020"/>
                    </a:lnTo>
                    <a:lnTo>
                      <a:pt x="1206" y="5024"/>
                    </a:lnTo>
                    <a:lnTo>
                      <a:pt x="1222" y="5028"/>
                    </a:lnTo>
                    <a:lnTo>
                      <a:pt x="1240" y="5030"/>
                    </a:lnTo>
                    <a:lnTo>
                      <a:pt x="1256" y="5032"/>
                    </a:lnTo>
                    <a:lnTo>
                      <a:pt x="1288" y="5032"/>
                    </a:lnTo>
                    <a:lnTo>
                      <a:pt x="1320" y="5026"/>
                    </a:lnTo>
                    <a:lnTo>
                      <a:pt x="1352" y="5020"/>
                    </a:lnTo>
                    <a:lnTo>
                      <a:pt x="1372" y="5012"/>
                    </a:lnTo>
                    <a:lnTo>
                      <a:pt x="1388" y="5004"/>
                    </a:lnTo>
                    <a:lnTo>
                      <a:pt x="1400" y="4994"/>
                    </a:lnTo>
                    <a:lnTo>
                      <a:pt x="1404" y="4984"/>
                    </a:lnTo>
                    <a:lnTo>
                      <a:pt x="1406" y="4972"/>
                    </a:lnTo>
                    <a:lnTo>
                      <a:pt x="1406" y="4960"/>
                    </a:lnTo>
                    <a:lnTo>
                      <a:pt x="1400" y="4948"/>
                    </a:lnTo>
                    <a:lnTo>
                      <a:pt x="1394" y="4934"/>
                    </a:lnTo>
                    <a:lnTo>
                      <a:pt x="1374" y="4908"/>
                    </a:lnTo>
                    <a:lnTo>
                      <a:pt x="1350" y="4880"/>
                    </a:lnTo>
                    <a:lnTo>
                      <a:pt x="1328" y="4852"/>
                    </a:lnTo>
                    <a:lnTo>
                      <a:pt x="1320" y="4838"/>
                    </a:lnTo>
                    <a:lnTo>
                      <a:pt x="1312" y="4826"/>
                    </a:lnTo>
                    <a:lnTo>
                      <a:pt x="1304" y="4804"/>
                    </a:lnTo>
                    <a:lnTo>
                      <a:pt x="1300" y="4780"/>
                    </a:lnTo>
                    <a:lnTo>
                      <a:pt x="1296" y="4754"/>
                    </a:lnTo>
                    <a:lnTo>
                      <a:pt x="1294" y="4728"/>
                    </a:lnTo>
                    <a:lnTo>
                      <a:pt x="1294" y="4706"/>
                    </a:lnTo>
                    <a:lnTo>
                      <a:pt x="1292" y="4686"/>
                    </a:lnTo>
                    <a:lnTo>
                      <a:pt x="1288" y="4652"/>
                    </a:lnTo>
                    <a:lnTo>
                      <a:pt x="1284" y="4622"/>
                    </a:lnTo>
                    <a:lnTo>
                      <a:pt x="1282" y="4606"/>
                    </a:lnTo>
                    <a:lnTo>
                      <a:pt x="1282" y="4590"/>
                    </a:lnTo>
                    <a:lnTo>
                      <a:pt x="1284" y="4578"/>
                    </a:lnTo>
                    <a:lnTo>
                      <a:pt x="1288" y="4558"/>
                    </a:lnTo>
                    <a:lnTo>
                      <a:pt x="1304" y="4506"/>
                    </a:lnTo>
                    <a:lnTo>
                      <a:pt x="1348" y="4368"/>
                    </a:lnTo>
                    <a:lnTo>
                      <a:pt x="1394" y="4234"/>
                    </a:lnTo>
                    <a:lnTo>
                      <a:pt x="1420" y="4160"/>
                    </a:lnTo>
                    <a:lnTo>
                      <a:pt x="1442" y="4098"/>
                    </a:lnTo>
                    <a:lnTo>
                      <a:pt x="1484" y="3986"/>
                    </a:lnTo>
                    <a:lnTo>
                      <a:pt x="1526" y="3874"/>
                    </a:lnTo>
                    <a:lnTo>
                      <a:pt x="1540" y="3832"/>
                    </a:lnTo>
                    <a:lnTo>
                      <a:pt x="1548" y="3808"/>
                    </a:lnTo>
                    <a:lnTo>
                      <a:pt x="1608" y="3534"/>
                    </a:lnTo>
                    <a:lnTo>
                      <a:pt x="1610" y="3532"/>
                    </a:lnTo>
                    <a:lnTo>
                      <a:pt x="1612" y="3526"/>
                    </a:lnTo>
                    <a:lnTo>
                      <a:pt x="1616" y="3508"/>
                    </a:lnTo>
                    <a:lnTo>
                      <a:pt x="1622" y="3440"/>
                    </a:lnTo>
                    <a:lnTo>
                      <a:pt x="1626" y="3342"/>
                    </a:lnTo>
                    <a:lnTo>
                      <a:pt x="1632" y="3220"/>
                    </a:lnTo>
                    <a:lnTo>
                      <a:pt x="1638" y="3088"/>
                    </a:lnTo>
                    <a:lnTo>
                      <a:pt x="1644" y="2952"/>
                    </a:lnTo>
                    <a:lnTo>
                      <a:pt x="1652" y="2822"/>
                    </a:lnTo>
                    <a:lnTo>
                      <a:pt x="1658" y="2762"/>
                    </a:lnTo>
                    <a:lnTo>
                      <a:pt x="1664" y="2708"/>
                    </a:lnTo>
                    <a:lnTo>
                      <a:pt x="1678" y="2600"/>
                    </a:lnTo>
                    <a:lnTo>
                      <a:pt x="1684" y="2566"/>
                    </a:lnTo>
                    <a:lnTo>
                      <a:pt x="1690" y="2544"/>
                    </a:lnTo>
                    <a:lnTo>
                      <a:pt x="1696" y="2528"/>
                    </a:lnTo>
                    <a:lnTo>
                      <a:pt x="1704" y="2518"/>
                    </a:lnTo>
                    <a:lnTo>
                      <a:pt x="1714" y="2512"/>
                    </a:lnTo>
                    <a:lnTo>
                      <a:pt x="1728" y="2508"/>
                    </a:lnTo>
                    <a:lnTo>
                      <a:pt x="1738" y="2494"/>
                    </a:lnTo>
                    <a:lnTo>
                      <a:pt x="1748" y="2476"/>
                    </a:lnTo>
                    <a:lnTo>
                      <a:pt x="1756" y="2456"/>
                    </a:lnTo>
                    <a:lnTo>
                      <a:pt x="1764" y="2434"/>
                    </a:lnTo>
                    <a:lnTo>
                      <a:pt x="1768" y="2414"/>
                    </a:lnTo>
                    <a:lnTo>
                      <a:pt x="1772" y="2388"/>
                    </a:lnTo>
                    <a:lnTo>
                      <a:pt x="1774" y="2360"/>
                    </a:lnTo>
                    <a:lnTo>
                      <a:pt x="1774" y="2332"/>
                    </a:lnTo>
                    <a:lnTo>
                      <a:pt x="1776" y="2282"/>
                    </a:lnTo>
                    <a:lnTo>
                      <a:pt x="1774" y="2234"/>
                    </a:lnTo>
                    <a:lnTo>
                      <a:pt x="1770" y="2184"/>
                    </a:lnTo>
                    <a:lnTo>
                      <a:pt x="1766" y="2134"/>
                    </a:lnTo>
                    <a:lnTo>
                      <a:pt x="1754" y="2036"/>
                    </a:lnTo>
                    <a:lnTo>
                      <a:pt x="1750" y="1986"/>
                    </a:lnTo>
                    <a:lnTo>
                      <a:pt x="1744" y="1934"/>
                    </a:lnTo>
                    <a:close/>
                    <a:moveTo>
                      <a:pt x="578" y="2062"/>
                    </a:moveTo>
                    <a:lnTo>
                      <a:pt x="578" y="2062"/>
                    </a:lnTo>
                    <a:lnTo>
                      <a:pt x="580" y="2062"/>
                    </a:lnTo>
                    <a:lnTo>
                      <a:pt x="572" y="2082"/>
                    </a:lnTo>
                    <a:lnTo>
                      <a:pt x="558" y="2110"/>
                    </a:lnTo>
                    <a:lnTo>
                      <a:pt x="472" y="2044"/>
                    </a:lnTo>
                    <a:lnTo>
                      <a:pt x="460" y="2028"/>
                    </a:lnTo>
                    <a:lnTo>
                      <a:pt x="448" y="2012"/>
                    </a:lnTo>
                    <a:lnTo>
                      <a:pt x="424" y="1974"/>
                    </a:lnTo>
                    <a:lnTo>
                      <a:pt x="400" y="1934"/>
                    </a:lnTo>
                    <a:lnTo>
                      <a:pt x="376" y="1892"/>
                    </a:lnTo>
                    <a:lnTo>
                      <a:pt x="352" y="1850"/>
                    </a:lnTo>
                    <a:lnTo>
                      <a:pt x="330" y="1812"/>
                    </a:lnTo>
                    <a:lnTo>
                      <a:pt x="308" y="1780"/>
                    </a:lnTo>
                    <a:lnTo>
                      <a:pt x="298" y="1766"/>
                    </a:lnTo>
                    <a:lnTo>
                      <a:pt x="288" y="1756"/>
                    </a:lnTo>
                    <a:lnTo>
                      <a:pt x="290" y="1754"/>
                    </a:lnTo>
                    <a:lnTo>
                      <a:pt x="292" y="1752"/>
                    </a:lnTo>
                    <a:lnTo>
                      <a:pt x="294" y="1746"/>
                    </a:lnTo>
                    <a:lnTo>
                      <a:pt x="294" y="1740"/>
                    </a:lnTo>
                    <a:lnTo>
                      <a:pt x="296" y="1738"/>
                    </a:lnTo>
                    <a:lnTo>
                      <a:pt x="298" y="1736"/>
                    </a:lnTo>
                    <a:lnTo>
                      <a:pt x="294" y="1732"/>
                    </a:lnTo>
                    <a:lnTo>
                      <a:pt x="292" y="1728"/>
                    </a:lnTo>
                    <a:lnTo>
                      <a:pt x="292" y="1720"/>
                    </a:lnTo>
                    <a:lnTo>
                      <a:pt x="294" y="1712"/>
                    </a:lnTo>
                    <a:lnTo>
                      <a:pt x="294" y="1700"/>
                    </a:lnTo>
                    <a:lnTo>
                      <a:pt x="314" y="1674"/>
                    </a:lnTo>
                    <a:lnTo>
                      <a:pt x="334" y="1646"/>
                    </a:lnTo>
                    <a:lnTo>
                      <a:pt x="368" y="1586"/>
                    </a:lnTo>
                    <a:lnTo>
                      <a:pt x="404" y="1526"/>
                    </a:lnTo>
                    <a:lnTo>
                      <a:pt x="422" y="1496"/>
                    </a:lnTo>
                    <a:lnTo>
                      <a:pt x="444" y="1468"/>
                    </a:lnTo>
                    <a:lnTo>
                      <a:pt x="458" y="1448"/>
                    </a:lnTo>
                    <a:lnTo>
                      <a:pt x="476" y="1428"/>
                    </a:lnTo>
                    <a:lnTo>
                      <a:pt x="496" y="1410"/>
                    </a:lnTo>
                    <a:lnTo>
                      <a:pt x="516" y="1394"/>
                    </a:lnTo>
                    <a:lnTo>
                      <a:pt x="540" y="1380"/>
                    </a:lnTo>
                    <a:lnTo>
                      <a:pt x="544" y="1392"/>
                    </a:lnTo>
                    <a:lnTo>
                      <a:pt x="548" y="1402"/>
                    </a:lnTo>
                    <a:lnTo>
                      <a:pt x="576" y="1462"/>
                    </a:lnTo>
                    <a:lnTo>
                      <a:pt x="588" y="1492"/>
                    </a:lnTo>
                    <a:lnTo>
                      <a:pt x="598" y="1520"/>
                    </a:lnTo>
                    <a:lnTo>
                      <a:pt x="604" y="1538"/>
                    </a:lnTo>
                    <a:lnTo>
                      <a:pt x="606" y="1554"/>
                    </a:lnTo>
                    <a:lnTo>
                      <a:pt x="608" y="1584"/>
                    </a:lnTo>
                    <a:lnTo>
                      <a:pt x="608" y="1612"/>
                    </a:lnTo>
                    <a:lnTo>
                      <a:pt x="608" y="1642"/>
                    </a:lnTo>
                    <a:lnTo>
                      <a:pt x="612" y="1656"/>
                    </a:lnTo>
                    <a:lnTo>
                      <a:pt x="616" y="1672"/>
                    </a:lnTo>
                    <a:lnTo>
                      <a:pt x="628" y="1704"/>
                    </a:lnTo>
                    <a:lnTo>
                      <a:pt x="642" y="1736"/>
                    </a:lnTo>
                    <a:lnTo>
                      <a:pt x="646" y="1752"/>
                    </a:lnTo>
                    <a:lnTo>
                      <a:pt x="650" y="1768"/>
                    </a:lnTo>
                    <a:lnTo>
                      <a:pt x="652" y="1790"/>
                    </a:lnTo>
                    <a:lnTo>
                      <a:pt x="652" y="1808"/>
                    </a:lnTo>
                    <a:lnTo>
                      <a:pt x="578" y="2062"/>
                    </a:lnTo>
                    <a:close/>
                    <a:moveTo>
                      <a:pt x="1112" y="4872"/>
                    </a:moveTo>
                    <a:lnTo>
                      <a:pt x="1112" y="4872"/>
                    </a:lnTo>
                    <a:lnTo>
                      <a:pt x="1102" y="4856"/>
                    </a:lnTo>
                    <a:lnTo>
                      <a:pt x="1094" y="4838"/>
                    </a:lnTo>
                    <a:lnTo>
                      <a:pt x="1088" y="4818"/>
                    </a:lnTo>
                    <a:lnTo>
                      <a:pt x="1084" y="4800"/>
                    </a:lnTo>
                    <a:lnTo>
                      <a:pt x="1076" y="4760"/>
                    </a:lnTo>
                    <a:lnTo>
                      <a:pt x="1070" y="4722"/>
                    </a:lnTo>
                    <a:lnTo>
                      <a:pt x="1082" y="4732"/>
                    </a:lnTo>
                    <a:lnTo>
                      <a:pt x="1092" y="4742"/>
                    </a:lnTo>
                    <a:lnTo>
                      <a:pt x="1100" y="4752"/>
                    </a:lnTo>
                    <a:lnTo>
                      <a:pt x="1106" y="4766"/>
                    </a:lnTo>
                    <a:lnTo>
                      <a:pt x="1110" y="4780"/>
                    </a:lnTo>
                    <a:lnTo>
                      <a:pt x="1112" y="4792"/>
                    </a:lnTo>
                    <a:lnTo>
                      <a:pt x="1114" y="4820"/>
                    </a:lnTo>
                    <a:lnTo>
                      <a:pt x="1112" y="4872"/>
                    </a:lnTo>
                    <a:close/>
                    <a:moveTo>
                      <a:pt x="1280" y="3722"/>
                    </a:moveTo>
                    <a:lnTo>
                      <a:pt x="1280" y="3722"/>
                    </a:lnTo>
                    <a:lnTo>
                      <a:pt x="1270" y="3758"/>
                    </a:lnTo>
                    <a:lnTo>
                      <a:pt x="1258" y="3796"/>
                    </a:lnTo>
                    <a:lnTo>
                      <a:pt x="1232" y="3866"/>
                    </a:lnTo>
                    <a:lnTo>
                      <a:pt x="1224" y="3892"/>
                    </a:lnTo>
                    <a:lnTo>
                      <a:pt x="1220" y="3916"/>
                    </a:lnTo>
                    <a:lnTo>
                      <a:pt x="1212" y="3964"/>
                    </a:lnTo>
                    <a:lnTo>
                      <a:pt x="1206" y="4012"/>
                    </a:lnTo>
                    <a:lnTo>
                      <a:pt x="1202" y="4060"/>
                    </a:lnTo>
                    <a:lnTo>
                      <a:pt x="1198" y="4154"/>
                    </a:lnTo>
                    <a:lnTo>
                      <a:pt x="1194" y="4200"/>
                    </a:lnTo>
                    <a:lnTo>
                      <a:pt x="1190" y="4246"/>
                    </a:lnTo>
                    <a:lnTo>
                      <a:pt x="1184" y="4290"/>
                    </a:lnTo>
                    <a:lnTo>
                      <a:pt x="1176" y="4336"/>
                    </a:lnTo>
                    <a:lnTo>
                      <a:pt x="1164" y="4382"/>
                    </a:lnTo>
                    <a:lnTo>
                      <a:pt x="1148" y="4426"/>
                    </a:lnTo>
                    <a:lnTo>
                      <a:pt x="1134" y="4458"/>
                    </a:lnTo>
                    <a:lnTo>
                      <a:pt x="1116" y="4488"/>
                    </a:lnTo>
                    <a:lnTo>
                      <a:pt x="1096" y="4516"/>
                    </a:lnTo>
                    <a:lnTo>
                      <a:pt x="1074" y="4544"/>
                    </a:lnTo>
                    <a:lnTo>
                      <a:pt x="1068" y="4550"/>
                    </a:lnTo>
                    <a:lnTo>
                      <a:pt x="1060" y="4556"/>
                    </a:lnTo>
                    <a:lnTo>
                      <a:pt x="1044" y="4572"/>
                    </a:lnTo>
                    <a:lnTo>
                      <a:pt x="1042" y="4556"/>
                    </a:lnTo>
                    <a:lnTo>
                      <a:pt x="1038" y="4548"/>
                    </a:lnTo>
                    <a:lnTo>
                      <a:pt x="1034" y="4540"/>
                    </a:lnTo>
                    <a:lnTo>
                      <a:pt x="1026" y="4516"/>
                    </a:lnTo>
                    <a:lnTo>
                      <a:pt x="1008" y="4450"/>
                    </a:lnTo>
                    <a:lnTo>
                      <a:pt x="992" y="4374"/>
                    </a:lnTo>
                    <a:lnTo>
                      <a:pt x="978" y="4300"/>
                    </a:lnTo>
                    <a:lnTo>
                      <a:pt x="974" y="4268"/>
                    </a:lnTo>
                    <a:lnTo>
                      <a:pt x="972" y="4240"/>
                    </a:lnTo>
                    <a:lnTo>
                      <a:pt x="944" y="3906"/>
                    </a:lnTo>
                    <a:lnTo>
                      <a:pt x="938" y="3838"/>
                    </a:lnTo>
                    <a:lnTo>
                      <a:pt x="930" y="3772"/>
                    </a:lnTo>
                    <a:lnTo>
                      <a:pt x="916" y="3700"/>
                    </a:lnTo>
                    <a:lnTo>
                      <a:pt x="910" y="3662"/>
                    </a:lnTo>
                    <a:lnTo>
                      <a:pt x="908" y="3644"/>
                    </a:lnTo>
                    <a:lnTo>
                      <a:pt x="910" y="3626"/>
                    </a:lnTo>
                    <a:lnTo>
                      <a:pt x="920" y="3566"/>
                    </a:lnTo>
                    <a:lnTo>
                      <a:pt x="930" y="3508"/>
                    </a:lnTo>
                    <a:lnTo>
                      <a:pt x="940" y="3506"/>
                    </a:lnTo>
                    <a:lnTo>
                      <a:pt x="952" y="3504"/>
                    </a:lnTo>
                    <a:lnTo>
                      <a:pt x="1008" y="3502"/>
                    </a:lnTo>
                    <a:lnTo>
                      <a:pt x="1064" y="3504"/>
                    </a:lnTo>
                    <a:lnTo>
                      <a:pt x="1172" y="3510"/>
                    </a:lnTo>
                    <a:lnTo>
                      <a:pt x="1280" y="3514"/>
                    </a:lnTo>
                    <a:lnTo>
                      <a:pt x="1280" y="3528"/>
                    </a:lnTo>
                    <a:lnTo>
                      <a:pt x="1282" y="3540"/>
                    </a:lnTo>
                    <a:lnTo>
                      <a:pt x="1286" y="3554"/>
                    </a:lnTo>
                    <a:lnTo>
                      <a:pt x="1288" y="3572"/>
                    </a:lnTo>
                    <a:lnTo>
                      <a:pt x="1290" y="3596"/>
                    </a:lnTo>
                    <a:lnTo>
                      <a:pt x="1290" y="3628"/>
                    </a:lnTo>
                    <a:lnTo>
                      <a:pt x="1286" y="3668"/>
                    </a:lnTo>
                    <a:lnTo>
                      <a:pt x="1280" y="3722"/>
                    </a:lnTo>
                    <a:close/>
                    <a:moveTo>
                      <a:pt x="1262" y="1086"/>
                    </a:moveTo>
                    <a:lnTo>
                      <a:pt x="1262" y="1086"/>
                    </a:lnTo>
                    <a:lnTo>
                      <a:pt x="1250" y="1126"/>
                    </a:lnTo>
                    <a:lnTo>
                      <a:pt x="1234" y="1186"/>
                    </a:lnTo>
                    <a:lnTo>
                      <a:pt x="1200" y="1340"/>
                    </a:lnTo>
                    <a:lnTo>
                      <a:pt x="1160" y="1542"/>
                    </a:lnTo>
                    <a:lnTo>
                      <a:pt x="1136" y="1542"/>
                    </a:lnTo>
                    <a:lnTo>
                      <a:pt x="888" y="1062"/>
                    </a:lnTo>
                    <a:lnTo>
                      <a:pt x="886" y="1058"/>
                    </a:lnTo>
                    <a:lnTo>
                      <a:pt x="880" y="1056"/>
                    </a:lnTo>
                    <a:lnTo>
                      <a:pt x="872" y="1056"/>
                    </a:lnTo>
                    <a:lnTo>
                      <a:pt x="862" y="1058"/>
                    </a:lnTo>
                    <a:lnTo>
                      <a:pt x="834" y="1066"/>
                    </a:lnTo>
                    <a:lnTo>
                      <a:pt x="802" y="1076"/>
                    </a:lnTo>
                    <a:lnTo>
                      <a:pt x="742" y="1098"/>
                    </a:lnTo>
                    <a:lnTo>
                      <a:pt x="716" y="1110"/>
                    </a:lnTo>
                    <a:lnTo>
                      <a:pt x="716" y="796"/>
                    </a:lnTo>
                    <a:lnTo>
                      <a:pt x="814" y="770"/>
                    </a:lnTo>
                    <a:lnTo>
                      <a:pt x="832" y="828"/>
                    </a:lnTo>
                    <a:lnTo>
                      <a:pt x="850" y="884"/>
                    </a:lnTo>
                    <a:lnTo>
                      <a:pt x="864" y="942"/>
                    </a:lnTo>
                    <a:lnTo>
                      <a:pt x="916" y="1036"/>
                    </a:lnTo>
                    <a:lnTo>
                      <a:pt x="1136" y="1420"/>
                    </a:lnTo>
                    <a:lnTo>
                      <a:pt x="1234" y="1062"/>
                    </a:lnTo>
                    <a:lnTo>
                      <a:pt x="1240" y="1056"/>
                    </a:lnTo>
                    <a:lnTo>
                      <a:pt x="1242" y="1046"/>
                    </a:lnTo>
                    <a:lnTo>
                      <a:pt x="1244" y="1034"/>
                    </a:lnTo>
                    <a:lnTo>
                      <a:pt x="1246" y="1020"/>
                    </a:lnTo>
                    <a:lnTo>
                      <a:pt x="1246" y="988"/>
                    </a:lnTo>
                    <a:lnTo>
                      <a:pt x="1244" y="954"/>
                    </a:lnTo>
                    <a:lnTo>
                      <a:pt x="1238" y="894"/>
                    </a:lnTo>
                    <a:lnTo>
                      <a:pt x="1234" y="868"/>
                    </a:lnTo>
                    <a:lnTo>
                      <a:pt x="1234" y="820"/>
                    </a:lnTo>
                    <a:lnTo>
                      <a:pt x="1262" y="844"/>
                    </a:lnTo>
                    <a:lnTo>
                      <a:pt x="1384" y="1086"/>
                    </a:lnTo>
                    <a:lnTo>
                      <a:pt x="1262" y="1086"/>
                    </a:lnTo>
                    <a:close/>
                    <a:moveTo>
                      <a:pt x="1444" y="1902"/>
                    </a:moveTo>
                    <a:lnTo>
                      <a:pt x="1444" y="1902"/>
                    </a:lnTo>
                    <a:lnTo>
                      <a:pt x="1432" y="1902"/>
                    </a:lnTo>
                    <a:lnTo>
                      <a:pt x="1430" y="1896"/>
                    </a:lnTo>
                    <a:lnTo>
                      <a:pt x="1428" y="1888"/>
                    </a:lnTo>
                    <a:lnTo>
                      <a:pt x="1420" y="1868"/>
                    </a:lnTo>
                    <a:lnTo>
                      <a:pt x="1410" y="1846"/>
                    </a:lnTo>
                    <a:lnTo>
                      <a:pt x="1406" y="1834"/>
                    </a:lnTo>
                    <a:lnTo>
                      <a:pt x="1404" y="1824"/>
                    </a:lnTo>
                    <a:lnTo>
                      <a:pt x="1402" y="1802"/>
                    </a:lnTo>
                    <a:lnTo>
                      <a:pt x="1402" y="1776"/>
                    </a:lnTo>
                    <a:lnTo>
                      <a:pt x="1404" y="1724"/>
                    </a:lnTo>
                    <a:lnTo>
                      <a:pt x="1408" y="1688"/>
                    </a:lnTo>
                    <a:lnTo>
                      <a:pt x="1414" y="1654"/>
                    </a:lnTo>
                    <a:lnTo>
                      <a:pt x="1426" y="1584"/>
                    </a:lnTo>
                    <a:lnTo>
                      <a:pt x="1434" y="1548"/>
                    </a:lnTo>
                    <a:lnTo>
                      <a:pt x="1438" y="1514"/>
                    </a:lnTo>
                    <a:lnTo>
                      <a:pt x="1442" y="1480"/>
                    </a:lnTo>
                    <a:lnTo>
                      <a:pt x="1444" y="1444"/>
                    </a:lnTo>
                    <a:lnTo>
                      <a:pt x="1448" y="1514"/>
                    </a:lnTo>
                    <a:lnTo>
                      <a:pt x="1448" y="1548"/>
                    </a:lnTo>
                    <a:lnTo>
                      <a:pt x="1450" y="1584"/>
                    </a:lnTo>
                    <a:lnTo>
                      <a:pt x="1448" y="1618"/>
                    </a:lnTo>
                    <a:lnTo>
                      <a:pt x="1444" y="1652"/>
                    </a:lnTo>
                    <a:lnTo>
                      <a:pt x="1436" y="1686"/>
                    </a:lnTo>
                    <a:lnTo>
                      <a:pt x="1426" y="1720"/>
                    </a:lnTo>
                    <a:lnTo>
                      <a:pt x="1432" y="1720"/>
                    </a:lnTo>
                    <a:lnTo>
                      <a:pt x="1438" y="1720"/>
                    </a:lnTo>
                    <a:lnTo>
                      <a:pt x="1450" y="1720"/>
                    </a:lnTo>
                    <a:lnTo>
                      <a:pt x="1446" y="1734"/>
                    </a:lnTo>
                    <a:lnTo>
                      <a:pt x="1444" y="1744"/>
                    </a:lnTo>
                    <a:lnTo>
                      <a:pt x="1446" y="1754"/>
                    </a:lnTo>
                    <a:lnTo>
                      <a:pt x="1448" y="1764"/>
                    </a:lnTo>
                    <a:lnTo>
                      <a:pt x="1456" y="1784"/>
                    </a:lnTo>
                    <a:lnTo>
                      <a:pt x="1458" y="1794"/>
                    </a:lnTo>
                    <a:lnTo>
                      <a:pt x="1458" y="1806"/>
                    </a:lnTo>
                    <a:lnTo>
                      <a:pt x="1456" y="1830"/>
                    </a:lnTo>
                    <a:lnTo>
                      <a:pt x="1452" y="1854"/>
                    </a:lnTo>
                    <a:lnTo>
                      <a:pt x="1448" y="1878"/>
                    </a:lnTo>
                    <a:lnTo>
                      <a:pt x="1444" y="1902"/>
                    </a:lnTo>
                    <a:close/>
                  </a:path>
                </a:pathLst>
              </a:custGeom>
              <a:solidFill>
                <a:srgbClr val="0A0B0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214" name="Freeform 123"/>
              <p:cNvSpPr>
                <a:spLocks/>
              </p:cNvSpPr>
              <p:nvPr/>
            </p:nvSpPr>
            <p:spPr bwMode="auto">
              <a:xfrm>
                <a:off x="4316492" y="1253295"/>
                <a:ext cx="436159" cy="1181512"/>
              </a:xfrm>
              <a:custGeom>
                <a:avLst/>
                <a:gdLst>
                  <a:gd name="T0" fmla="*/ 422847 w 468"/>
                  <a:gd name="T1" fmla="*/ 606452 h 1272"/>
                  <a:gd name="T2" fmla="*/ 422847 w 468"/>
                  <a:gd name="T3" fmla="*/ 606452 h 1272"/>
                  <a:gd name="T4" fmla="*/ 415429 w 468"/>
                  <a:gd name="T5" fmla="*/ 606452 h 1272"/>
                  <a:gd name="T6" fmla="*/ 408011 w 468"/>
                  <a:gd name="T7" fmla="*/ 606452 h 1272"/>
                  <a:gd name="T8" fmla="*/ 396883 w 468"/>
                  <a:gd name="T9" fmla="*/ 604598 h 1272"/>
                  <a:gd name="T10" fmla="*/ 383901 w 468"/>
                  <a:gd name="T11" fmla="*/ 599034 h 1272"/>
                  <a:gd name="T12" fmla="*/ 369064 w 468"/>
                  <a:gd name="T13" fmla="*/ 589761 h 1272"/>
                  <a:gd name="T14" fmla="*/ 352373 w 468"/>
                  <a:gd name="T15" fmla="*/ 578633 h 1272"/>
                  <a:gd name="T16" fmla="*/ 335682 w 468"/>
                  <a:gd name="T17" fmla="*/ 560088 h 1272"/>
                  <a:gd name="T18" fmla="*/ 335682 w 468"/>
                  <a:gd name="T19" fmla="*/ 560088 h 1272"/>
                  <a:gd name="T20" fmla="*/ 320845 w 468"/>
                  <a:gd name="T21" fmla="*/ 539687 h 1272"/>
                  <a:gd name="T22" fmla="*/ 311572 w 468"/>
                  <a:gd name="T23" fmla="*/ 521141 h 1272"/>
                  <a:gd name="T24" fmla="*/ 306008 w 468"/>
                  <a:gd name="T25" fmla="*/ 504450 h 1272"/>
                  <a:gd name="T26" fmla="*/ 304153 w 468"/>
                  <a:gd name="T27" fmla="*/ 491468 h 1272"/>
                  <a:gd name="T28" fmla="*/ 356082 w 468"/>
                  <a:gd name="T29" fmla="*/ 406156 h 1272"/>
                  <a:gd name="T30" fmla="*/ 369064 w 468"/>
                  <a:gd name="T31" fmla="*/ 372773 h 1272"/>
                  <a:gd name="T32" fmla="*/ 376483 w 468"/>
                  <a:gd name="T33" fmla="*/ 326409 h 1272"/>
                  <a:gd name="T34" fmla="*/ 389465 w 468"/>
                  <a:gd name="T35" fmla="*/ 250370 h 1272"/>
                  <a:gd name="T36" fmla="*/ 389465 w 468"/>
                  <a:gd name="T37" fmla="*/ 189169 h 1272"/>
                  <a:gd name="T38" fmla="*/ 382046 w 468"/>
                  <a:gd name="T39" fmla="*/ 155786 h 1272"/>
                  <a:gd name="T40" fmla="*/ 361646 w 468"/>
                  <a:gd name="T41" fmla="*/ 114985 h 1272"/>
                  <a:gd name="T42" fmla="*/ 341245 w 468"/>
                  <a:gd name="T43" fmla="*/ 66765 h 1272"/>
                  <a:gd name="T44" fmla="*/ 313426 w 468"/>
                  <a:gd name="T45" fmla="*/ 40801 h 1272"/>
                  <a:gd name="T46" fmla="*/ 280044 w 468"/>
                  <a:gd name="T47" fmla="*/ 20401 h 1272"/>
                  <a:gd name="T48" fmla="*/ 239243 w 468"/>
                  <a:gd name="T49" fmla="*/ 5564 h 1272"/>
                  <a:gd name="T50" fmla="*/ 191023 w 468"/>
                  <a:gd name="T51" fmla="*/ 0 h 1272"/>
                  <a:gd name="T52" fmla="*/ 163204 w 468"/>
                  <a:gd name="T53" fmla="*/ 5564 h 1272"/>
                  <a:gd name="T54" fmla="*/ 142804 w 468"/>
                  <a:gd name="T55" fmla="*/ 20401 h 1272"/>
                  <a:gd name="T56" fmla="*/ 114985 w 468"/>
                  <a:gd name="T57" fmla="*/ 40801 h 1272"/>
                  <a:gd name="T58" fmla="*/ 94584 w 468"/>
                  <a:gd name="T59" fmla="*/ 61202 h 1272"/>
                  <a:gd name="T60" fmla="*/ 81602 w 468"/>
                  <a:gd name="T61" fmla="*/ 87166 h 1272"/>
                  <a:gd name="T62" fmla="*/ 59347 w 468"/>
                  <a:gd name="T63" fmla="*/ 114985 h 1272"/>
                  <a:gd name="T64" fmla="*/ 53783 w 468"/>
                  <a:gd name="T65" fmla="*/ 142804 h 1272"/>
                  <a:gd name="T66" fmla="*/ 53783 w 468"/>
                  <a:gd name="T67" fmla="*/ 168768 h 1272"/>
                  <a:gd name="T68" fmla="*/ 46365 w 468"/>
                  <a:gd name="T69" fmla="*/ 224406 h 1272"/>
                  <a:gd name="T70" fmla="*/ 38946 w 468"/>
                  <a:gd name="T71" fmla="*/ 278189 h 1272"/>
                  <a:gd name="T72" fmla="*/ 31528 w 468"/>
                  <a:gd name="T73" fmla="*/ 311572 h 1272"/>
                  <a:gd name="T74" fmla="*/ 29674 w 468"/>
                  <a:gd name="T75" fmla="*/ 313426 h 1272"/>
                  <a:gd name="T76" fmla="*/ 14837 w 468"/>
                  <a:gd name="T77" fmla="*/ 339391 h 1272"/>
                  <a:gd name="T78" fmla="*/ 0 w 468"/>
                  <a:gd name="T79" fmla="*/ 354227 h 1272"/>
                  <a:gd name="T80" fmla="*/ 14837 w 468"/>
                  <a:gd name="T81" fmla="*/ 400592 h 1272"/>
                  <a:gd name="T82" fmla="*/ 22255 w 468"/>
                  <a:gd name="T83" fmla="*/ 467358 h 1272"/>
                  <a:gd name="T84" fmla="*/ 27819 w 468"/>
                  <a:gd name="T85" fmla="*/ 556378 h 1272"/>
                  <a:gd name="T86" fmla="*/ 38946 w 468"/>
                  <a:gd name="T87" fmla="*/ 543396 h 1272"/>
                  <a:gd name="T88" fmla="*/ 38946 w 468"/>
                  <a:gd name="T89" fmla="*/ 552669 h 1272"/>
                  <a:gd name="T90" fmla="*/ 27819 w 468"/>
                  <a:gd name="T91" fmla="*/ 556378 h 1272"/>
                  <a:gd name="T92" fmla="*/ 29674 w 468"/>
                  <a:gd name="T93" fmla="*/ 556378 h 1272"/>
                  <a:gd name="T94" fmla="*/ 29674 w 468"/>
                  <a:gd name="T95" fmla="*/ 561942 h 1272"/>
                  <a:gd name="T96" fmla="*/ 31528 w 468"/>
                  <a:gd name="T97" fmla="*/ 561942 h 1272"/>
                  <a:gd name="T98" fmla="*/ 79748 w 468"/>
                  <a:gd name="T99" fmla="*/ 719583 h 1272"/>
                  <a:gd name="T100" fmla="*/ 185459 w 468"/>
                  <a:gd name="T101" fmla="*/ 947698 h 1272"/>
                  <a:gd name="T102" fmla="*/ 344955 w 468"/>
                  <a:gd name="T103" fmla="*/ 1179522 h 1272"/>
                  <a:gd name="T104" fmla="*/ 389465 w 468"/>
                  <a:gd name="T105" fmla="*/ 929152 h 1272"/>
                  <a:gd name="T106" fmla="*/ 433975 w 468"/>
                  <a:gd name="T107" fmla="*/ 810458 h 1272"/>
                  <a:gd name="T108" fmla="*/ 422847 w 468"/>
                  <a:gd name="T109" fmla="*/ 606452 h 127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68"/>
                  <a:gd name="T166" fmla="*/ 0 h 1272"/>
                  <a:gd name="T167" fmla="*/ 468 w 468"/>
                  <a:gd name="T168" fmla="*/ 1272 h 127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68" h="1272">
                    <a:moveTo>
                      <a:pt x="456" y="654"/>
                    </a:moveTo>
                    <a:lnTo>
                      <a:pt x="456" y="654"/>
                    </a:lnTo>
                    <a:lnTo>
                      <a:pt x="448" y="654"/>
                    </a:lnTo>
                    <a:lnTo>
                      <a:pt x="440" y="654"/>
                    </a:lnTo>
                    <a:lnTo>
                      <a:pt x="428" y="652"/>
                    </a:lnTo>
                    <a:lnTo>
                      <a:pt x="414" y="646"/>
                    </a:lnTo>
                    <a:lnTo>
                      <a:pt x="398" y="636"/>
                    </a:lnTo>
                    <a:lnTo>
                      <a:pt x="380" y="624"/>
                    </a:lnTo>
                    <a:lnTo>
                      <a:pt x="362" y="604"/>
                    </a:lnTo>
                    <a:lnTo>
                      <a:pt x="346" y="582"/>
                    </a:lnTo>
                    <a:lnTo>
                      <a:pt x="336" y="562"/>
                    </a:lnTo>
                    <a:lnTo>
                      <a:pt x="330" y="544"/>
                    </a:lnTo>
                    <a:lnTo>
                      <a:pt x="328" y="530"/>
                    </a:lnTo>
                    <a:lnTo>
                      <a:pt x="384" y="438"/>
                    </a:lnTo>
                    <a:lnTo>
                      <a:pt x="398" y="402"/>
                    </a:lnTo>
                    <a:lnTo>
                      <a:pt x="406" y="352"/>
                    </a:lnTo>
                    <a:lnTo>
                      <a:pt x="420" y="270"/>
                    </a:lnTo>
                    <a:lnTo>
                      <a:pt x="420" y="204"/>
                    </a:lnTo>
                    <a:lnTo>
                      <a:pt x="412" y="168"/>
                    </a:lnTo>
                    <a:lnTo>
                      <a:pt x="390" y="124"/>
                    </a:lnTo>
                    <a:lnTo>
                      <a:pt x="368" y="72"/>
                    </a:lnTo>
                    <a:lnTo>
                      <a:pt x="338" y="44"/>
                    </a:lnTo>
                    <a:lnTo>
                      <a:pt x="302" y="22"/>
                    </a:lnTo>
                    <a:lnTo>
                      <a:pt x="258" y="6"/>
                    </a:lnTo>
                    <a:lnTo>
                      <a:pt x="206" y="0"/>
                    </a:lnTo>
                    <a:lnTo>
                      <a:pt x="176" y="6"/>
                    </a:lnTo>
                    <a:lnTo>
                      <a:pt x="154" y="22"/>
                    </a:lnTo>
                    <a:lnTo>
                      <a:pt x="124" y="44"/>
                    </a:lnTo>
                    <a:lnTo>
                      <a:pt x="102" y="66"/>
                    </a:lnTo>
                    <a:lnTo>
                      <a:pt x="88" y="94"/>
                    </a:lnTo>
                    <a:lnTo>
                      <a:pt x="64" y="124"/>
                    </a:lnTo>
                    <a:lnTo>
                      <a:pt x="58" y="154"/>
                    </a:lnTo>
                    <a:lnTo>
                      <a:pt x="58" y="182"/>
                    </a:lnTo>
                    <a:lnTo>
                      <a:pt x="50" y="242"/>
                    </a:lnTo>
                    <a:lnTo>
                      <a:pt x="42" y="300"/>
                    </a:lnTo>
                    <a:lnTo>
                      <a:pt x="34" y="336"/>
                    </a:lnTo>
                    <a:lnTo>
                      <a:pt x="32" y="338"/>
                    </a:lnTo>
                    <a:lnTo>
                      <a:pt x="16" y="366"/>
                    </a:lnTo>
                    <a:lnTo>
                      <a:pt x="0" y="382"/>
                    </a:lnTo>
                    <a:lnTo>
                      <a:pt x="16" y="432"/>
                    </a:lnTo>
                    <a:lnTo>
                      <a:pt x="24" y="504"/>
                    </a:lnTo>
                    <a:lnTo>
                      <a:pt x="30" y="600"/>
                    </a:lnTo>
                    <a:lnTo>
                      <a:pt x="42" y="586"/>
                    </a:lnTo>
                    <a:lnTo>
                      <a:pt x="42" y="596"/>
                    </a:lnTo>
                    <a:lnTo>
                      <a:pt x="30" y="600"/>
                    </a:lnTo>
                    <a:lnTo>
                      <a:pt x="32" y="600"/>
                    </a:lnTo>
                    <a:lnTo>
                      <a:pt x="32" y="606"/>
                    </a:lnTo>
                    <a:lnTo>
                      <a:pt x="34" y="606"/>
                    </a:lnTo>
                    <a:lnTo>
                      <a:pt x="86" y="776"/>
                    </a:lnTo>
                    <a:lnTo>
                      <a:pt x="200" y="1022"/>
                    </a:lnTo>
                    <a:lnTo>
                      <a:pt x="372" y="1272"/>
                    </a:lnTo>
                    <a:lnTo>
                      <a:pt x="420" y="1002"/>
                    </a:lnTo>
                    <a:lnTo>
                      <a:pt x="468" y="874"/>
                    </a:lnTo>
                    <a:lnTo>
                      <a:pt x="456" y="654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>
                  <a:solidFill>
                    <a:sysClr val="windowText" lastClr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212" name="Freeform 114"/>
            <p:cNvSpPr>
              <a:spLocks/>
            </p:cNvSpPr>
            <p:nvPr/>
          </p:nvSpPr>
          <p:spPr bwMode="auto">
            <a:xfrm>
              <a:off x="4248814" y="1810185"/>
              <a:ext cx="631679" cy="737503"/>
            </a:xfrm>
            <a:custGeom>
              <a:avLst/>
              <a:gdLst>
                <a:gd name="T0" fmla="*/ 511930 w 670"/>
                <a:gd name="T1" fmla="*/ 301635 h 770"/>
                <a:gd name="T2" fmla="*/ 511930 w 670"/>
                <a:gd name="T3" fmla="*/ 301635 h 770"/>
                <a:gd name="T4" fmla="*/ 500679 w 670"/>
                <a:gd name="T5" fmla="*/ 340060 h 770"/>
                <a:gd name="T6" fmla="*/ 487553 w 670"/>
                <a:gd name="T7" fmla="*/ 399619 h 770"/>
                <a:gd name="T8" fmla="*/ 455674 w 670"/>
                <a:gd name="T9" fmla="*/ 545633 h 770"/>
                <a:gd name="T10" fmla="*/ 418170 w 670"/>
                <a:gd name="T11" fmla="*/ 739679 h 770"/>
                <a:gd name="T12" fmla="*/ 418170 w 670"/>
                <a:gd name="T13" fmla="*/ 739679 h 770"/>
                <a:gd name="T14" fmla="*/ 395668 w 670"/>
                <a:gd name="T15" fmla="*/ 739679 h 770"/>
                <a:gd name="T16" fmla="*/ 395668 w 670"/>
                <a:gd name="T17" fmla="*/ 739679 h 770"/>
                <a:gd name="T18" fmla="*/ 163143 w 670"/>
                <a:gd name="T19" fmla="*/ 278580 h 770"/>
                <a:gd name="T20" fmla="*/ 163143 w 670"/>
                <a:gd name="T21" fmla="*/ 278580 h 770"/>
                <a:gd name="T22" fmla="*/ 161267 w 670"/>
                <a:gd name="T23" fmla="*/ 274738 h 770"/>
                <a:gd name="T24" fmla="*/ 155642 w 670"/>
                <a:gd name="T25" fmla="*/ 274738 h 770"/>
                <a:gd name="T26" fmla="*/ 148141 w 670"/>
                <a:gd name="T27" fmla="*/ 274738 h 770"/>
                <a:gd name="T28" fmla="*/ 136890 w 670"/>
                <a:gd name="T29" fmla="*/ 276659 h 770"/>
                <a:gd name="T30" fmla="*/ 110637 w 670"/>
                <a:gd name="T31" fmla="*/ 282423 h 770"/>
                <a:gd name="T32" fmla="*/ 80634 w 670"/>
                <a:gd name="T33" fmla="*/ 292029 h 770"/>
                <a:gd name="T34" fmla="*/ 26253 w 670"/>
                <a:gd name="T35" fmla="*/ 315084 h 770"/>
                <a:gd name="T36" fmla="*/ 0 w 670"/>
                <a:gd name="T37" fmla="*/ 324690 h 770"/>
                <a:gd name="T38" fmla="*/ 0 w 670"/>
                <a:gd name="T39" fmla="*/ 324690 h 770"/>
                <a:gd name="T40" fmla="*/ 0 w 670"/>
                <a:gd name="T41" fmla="*/ 24976 h 770"/>
                <a:gd name="T42" fmla="*/ 0 w 670"/>
                <a:gd name="T43" fmla="*/ 24976 h 770"/>
                <a:gd name="T44" fmla="*/ 91885 w 670"/>
                <a:gd name="T45" fmla="*/ 0 h 770"/>
                <a:gd name="T46" fmla="*/ 91885 w 670"/>
                <a:gd name="T47" fmla="*/ 0 h 770"/>
                <a:gd name="T48" fmla="*/ 110637 w 670"/>
                <a:gd name="T49" fmla="*/ 55716 h 770"/>
                <a:gd name="T50" fmla="*/ 125639 w 670"/>
                <a:gd name="T51" fmla="*/ 107590 h 770"/>
                <a:gd name="T52" fmla="*/ 140640 w 670"/>
                <a:gd name="T53" fmla="*/ 163306 h 770"/>
                <a:gd name="T54" fmla="*/ 140640 w 670"/>
                <a:gd name="T55" fmla="*/ 163306 h 770"/>
                <a:gd name="T56" fmla="*/ 187520 w 670"/>
                <a:gd name="T57" fmla="*/ 253604 h 770"/>
                <a:gd name="T58" fmla="*/ 187520 w 670"/>
                <a:gd name="T59" fmla="*/ 253604 h 770"/>
                <a:gd name="T60" fmla="*/ 395668 w 670"/>
                <a:gd name="T61" fmla="*/ 624404 h 770"/>
                <a:gd name="T62" fmla="*/ 395668 w 670"/>
                <a:gd name="T63" fmla="*/ 624404 h 770"/>
                <a:gd name="T64" fmla="*/ 487553 w 670"/>
                <a:gd name="T65" fmla="*/ 278580 h 770"/>
                <a:gd name="T66" fmla="*/ 487553 w 670"/>
                <a:gd name="T67" fmla="*/ 278580 h 770"/>
                <a:gd name="T68" fmla="*/ 491303 w 670"/>
                <a:gd name="T69" fmla="*/ 272817 h 770"/>
                <a:gd name="T70" fmla="*/ 495054 w 670"/>
                <a:gd name="T71" fmla="*/ 263210 h 770"/>
                <a:gd name="T72" fmla="*/ 496929 w 670"/>
                <a:gd name="T73" fmla="*/ 253604 h 770"/>
                <a:gd name="T74" fmla="*/ 498804 w 670"/>
                <a:gd name="T75" fmla="*/ 240156 h 770"/>
                <a:gd name="T76" fmla="*/ 498804 w 670"/>
                <a:gd name="T77" fmla="*/ 209416 h 770"/>
                <a:gd name="T78" fmla="*/ 496929 w 670"/>
                <a:gd name="T79" fmla="*/ 176754 h 770"/>
                <a:gd name="T80" fmla="*/ 491303 w 670"/>
                <a:gd name="T81" fmla="*/ 119117 h 770"/>
                <a:gd name="T82" fmla="*/ 487553 w 670"/>
                <a:gd name="T83" fmla="*/ 92220 h 770"/>
                <a:gd name="T84" fmla="*/ 487553 w 670"/>
                <a:gd name="T85" fmla="*/ 92220 h 770"/>
                <a:gd name="T86" fmla="*/ 487553 w 670"/>
                <a:gd name="T87" fmla="*/ 48031 h 770"/>
                <a:gd name="T88" fmla="*/ 487553 w 670"/>
                <a:gd name="T89" fmla="*/ 48031 h 770"/>
                <a:gd name="T90" fmla="*/ 511930 w 670"/>
                <a:gd name="T91" fmla="*/ 71086 h 770"/>
                <a:gd name="T92" fmla="*/ 511930 w 670"/>
                <a:gd name="T93" fmla="*/ 71086 h 770"/>
                <a:gd name="T94" fmla="*/ 628193 w 670"/>
                <a:gd name="T95" fmla="*/ 301635 h 770"/>
                <a:gd name="T96" fmla="*/ 628193 w 670"/>
                <a:gd name="T97" fmla="*/ 301635 h 770"/>
                <a:gd name="T98" fmla="*/ 511930 w 670"/>
                <a:gd name="T99" fmla="*/ 301635 h 770"/>
                <a:gd name="T100" fmla="*/ 511930 w 670"/>
                <a:gd name="T101" fmla="*/ 301635 h 77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70"/>
                <a:gd name="T154" fmla="*/ 0 h 770"/>
                <a:gd name="T155" fmla="*/ 670 w 670"/>
                <a:gd name="T156" fmla="*/ 770 h 77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70" h="770">
                  <a:moveTo>
                    <a:pt x="546" y="314"/>
                  </a:moveTo>
                  <a:lnTo>
                    <a:pt x="546" y="314"/>
                  </a:lnTo>
                  <a:lnTo>
                    <a:pt x="534" y="354"/>
                  </a:lnTo>
                  <a:lnTo>
                    <a:pt x="520" y="416"/>
                  </a:lnTo>
                  <a:lnTo>
                    <a:pt x="486" y="568"/>
                  </a:lnTo>
                  <a:lnTo>
                    <a:pt x="446" y="770"/>
                  </a:lnTo>
                  <a:lnTo>
                    <a:pt x="422" y="770"/>
                  </a:lnTo>
                  <a:lnTo>
                    <a:pt x="174" y="290"/>
                  </a:lnTo>
                  <a:lnTo>
                    <a:pt x="172" y="286"/>
                  </a:lnTo>
                  <a:lnTo>
                    <a:pt x="166" y="286"/>
                  </a:lnTo>
                  <a:lnTo>
                    <a:pt x="158" y="286"/>
                  </a:lnTo>
                  <a:lnTo>
                    <a:pt x="146" y="288"/>
                  </a:lnTo>
                  <a:lnTo>
                    <a:pt x="118" y="294"/>
                  </a:lnTo>
                  <a:lnTo>
                    <a:pt x="86" y="304"/>
                  </a:lnTo>
                  <a:lnTo>
                    <a:pt x="28" y="328"/>
                  </a:lnTo>
                  <a:lnTo>
                    <a:pt x="0" y="338"/>
                  </a:lnTo>
                  <a:lnTo>
                    <a:pt x="0" y="26"/>
                  </a:lnTo>
                  <a:lnTo>
                    <a:pt x="98" y="0"/>
                  </a:lnTo>
                  <a:lnTo>
                    <a:pt x="118" y="58"/>
                  </a:lnTo>
                  <a:lnTo>
                    <a:pt x="134" y="112"/>
                  </a:lnTo>
                  <a:lnTo>
                    <a:pt x="150" y="170"/>
                  </a:lnTo>
                  <a:lnTo>
                    <a:pt x="200" y="264"/>
                  </a:lnTo>
                  <a:lnTo>
                    <a:pt x="422" y="650"/>
                  </a:lnTo>
                  <a:lnTo>
                    <a:pt x="520" y="290"/>
                  </a:lnTo>
                  <a:lnTo>
                    <a:pt x="524" y="284"/>
                  </a:lnTo>
                  <a:lnTo>
                    <a:pt x="528" y="274"/>
                  </a:lnTo>
                  <a:lnTo>
                    <a:pt x="530" y="264"/>
                  </a:lnTo>
                  <a:lnTo>
                    <a:pt x="532" y="250"/>
                  </a:lnTo>
                  <a:lnTo>
                    <a:pt x="532" y="218"/>
                  </a:lnTo>
                  <a:lnTo>
                    <a:pt x="530" y="184"/>
                  </a:lnTo>
                  <a:lnTo>
                    <a:pt x="524" y="124"/>
                  </a:lnTo>
                  <a:lnTo>
                    <a:pt x="520" y="96"/>
                  </a:lnTo>
                  <a:lnTo>
                    <a:pt x="520" y="50"/>
                  </a:lnTo>
                  <a:lnTo>
                    <a:pt x="546" y="74"/>
                  </a:lnTo>
                  <a:lnTo>
                    <a:pt x="670" y="314"/>
                  </a:lnTo>
                  <a:lnTo>
                    <a:pt x="546" y="31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4992163" y="3335034"/>
            <a:ext cx="1560353" cy="1234958"/>
            <a:chOff x="5280492" y="2655321"/>
            <a:chExt cx="1560353" cy="1234958"/>
          </a:xfrm>
        </p:grpSpPr>
        <p:sp>
          <p:nvSpPr>
            <p:cNvPr id="55" name="Højrepil 26"/>
            <p:cNvSpPr>
              <a:spLocks noChangeArrowheads="1"/>
            </p:cNvSpPr>
            <p:nvPr/>
          </p:nvSpPr>
          <p:spPr bwMode="auto">
            <a:xfrm>
              <a:off x="5280492" y="2655321"/>
              <a:ext cx="1560353" cy="1234958"/>
            </a:xfrm>
            <a:prstGeom prst="rightArrow">
              <a:avLst>
                <a:gd name="adj1" fmla="val 82769"/>
                <a:gd name="adj2" fmla="val 50000"/>
              </a:avLst>
            </a:prstGeom>
            <a:gradFill flip="none" rotWithShape="1">
              <a:gsLst>
                <a:gs pos="0">
                  <a:srgbClr val="2A9B18"/>
                </a:gs>
                <a:gs pos="100000">
                  <a:srgbClr val="92D050"/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63500" dist="38100" dir="2700000" algn="tl" rotWithShape="0">
                <a:srgbClr val="000000">
                  <a:alpha val="39999"/>
                </a:srgbClr>
              </a:outerShdw>
            </a:effectLst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chemeClr val="tx1">
                    <a:lumMod val="95000"/>
                    <a:lumOff val="5000"/>
                  </a:schemeClr>
                </a:solidFill>
                <a:latin typeface="Calibri"/>
                <a:ea typeface="+mn-ea"/>
              </a:endParaRPr>
            </a:p>
          </p:txBody>
        </p:sp>
        <p:sp>
          <p:nvSpPr>
            <p:cNvPr id="221" name="Tekstboks 364"/>
            <p:cNvSpPr txBox="1">
              <a:spLocks noChangeArrowheads="1"/>
            </p:cNvSpPr>
            <p:nvPr/>
          </p:nvSpPr>
          <p:spPr bwMode="auto">
            <a:xfrm>
              <a:off x="5739108" y="3109639"/>
              <a:ext cx="947070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da-DK" sz="1400" b="1" dirty="0">
                  <a:solidFill>
                    <a:schemeClr val="bg1"/>
                  </a:solidFill>
                </a:rPr>
                <a:t>RELEASE</a:t>
              </a:r>
            </a:p>
          </p:txBody>
        </p:sp>
      </p:grpSp>
      <p:sp>
        <p:nvSpPr>
          <p:cNvPr id="52" name="Tekstboks 78"/>
          <p:cNvSpPr txBox="1">
            <a:spLocks noChangeArrowheads="1"/>
          </p:cNvSpPr>
          <p:nvPr/>
        </p:nvSpPr>
        <p:spPr bwMode="auto">
          <a:xfrm>
            <a:off x="482607" y="2469636"/>
            <a:ext cx="94890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a-DK" sz="1000" b="1" dirty="0">
                <a:solidFill>
                  <a:srgbClr val="17375E"/>
                </a:solidFill>
              </a:rPr>
              <a:t>PREPARATION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3201222" y="3585927"/>
            <a:ext cx="1097741" cy="622860"/>
            <a:chOff x="3765353" y="2849260"/>
            <a:chExt cx="1097741" cy="622860"/>
          </a:xfrm>
        </p:grpSpPr>
        <p:sp>
          <p:nvSpPr>
            <p:cNvPr id="2" name="Rounded Rectangle 1"/>
            <p:cNvSpPr/>
            <p:nvPr/>
          </p:nvSpPr>
          <p:spPr>
            <a:xfrm>
              <a:off x="3802916" y="2849260"/>
              <a:ext cx="1022614" cy="622860"/>
            </a:xfrm>
            <a:prstGeom prst="roundRect">
              <a:avLst>
                <a:gd name="adj" fmla="val 9327"/>
              </a:avLst>
            </a:prstGeom>
            <a:gradFill flip="none" rotWithShape="1">
              <a:gsLst>
                <a:gs pos="0">
                  <a:srgbClr val="10253F"/>
                </a:gs>
                <a:gs pos="100000">
                  <a:srgbClr val="376092"/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63500" dist="38100" dir="2700000" algn="tl" rotWithShape="0">
                <a:srgbClr val="000000">
                  <a:alpha val="39999"/>
                </a:srgbClr>
              </a:outerShdw>
            </a:effectLst>
          </p:spPr>
          <p:txBody>
            <a:bodyPr anchor="ctr"/>
            <a:lstStyle/>
            <a:p>
              <a:pPr algn="ctr"/>
              <a:endParaRPr lang="en-US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53" name="Tekstboks 81"/>
            <p:cNvSpPr txBox="1">
              <a:spLocks noChangeArrowheads="1"/>
            </p:cNvSpPr>
            <p:nvPr/>
          </p:nvSpPr>
          <p:spPr bwMode="auto">
            <a:xfrm>
              <a:off x="3765353" y="3037580"/>
              <a:ext cx="1097741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r>
                <a:rPr lang="da-DK" sz="1000" b="1" dirty="0">
                  <a:solidFill>
                    <a:schemeClr val="bg1"/>
                  </a:solidFill>
                </a:rPr>
                <a:t>SCRUM PROCESS</a:t>
              </a:r>
            </a:p>
          </p:txBody>
        </p:sp>
      </p:grpSp>
      <p:grpSp>
        <p:nvGrpSpPr>
          <p:cNvPr id="56" name="Group 1"/>
          <p:cNvGrpSpPr>
            <a:grpSpLocks/>
          </p:cNvGrpSpPr>
          <p:nvPr/>
        </p:nvGrpSpPr>
        <p:grpSpPr bwMode="auto">
          <a:xfrm>
            <a:off x="2047413" y="2163976"/>
            <a:ext cx="3437166" cy="3416986"/>
            <a:chOff x="2409710" y="800736"/>
            <a:chExt cx="4056494" cy="4030999"/>
          </a:xfr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50000"/>
                </a:schemeClr>
              </a:gs>
            </a:gsLst>
            <a:lin ang="5400000" scaled="1"/>
          </a:gradFill>
        </p:grpSpPr>
        <p:sp>
          <p:nvSpPr>
            <p:cNvPr id="57" name="Blokbue 38"/>
            <p:cNvSpPr>
              <a:spLocks noChangeArrowheads="1"/>
            </p:cNvSpPr>
            <p:nvPr/>
          </p:nvSpPr>
          <p:spPr bwMode="auto">
            <a:xfrm rot="7334020">
              <a:off x="2624052" y="876906"/>
              <a:ext cx="3842146" cy="3842158"/>
            </a:xfrm>
            <a:custGeom>
              <a:avLst/>
              <a:gdLst>
                <a:gd name="T0" fmla="*/ 846461 w 5061247"/>
                <a:gd name="T1" fmla="*/ 1745918 h 5061735"/>
                <a:gd name="T2" fmla="*/ 2367396 w 5061247"/>
                <a:gd name="T3" fmla="*/ 679748 h 5061735"/>
                <a:gd name="T4" fmla="*/ 2530624 w 5061247"/>
                <a:gd name="T5" fmla="*/ 2530868 h 5061735"/>
                <a:gd name="T6" fmla="*/ 5898240 60000 65536"/>
                <a:gd name="T7" fmla="*/ 0 60000 65536"/>
                <a:gd name="T8" fmla="*/ 17694720 60000 65536"/>
                <a:gd name="T9" fmla="*/ 236857 w 5061247"/>
                <a:gd name="T10" fmla="*/ 9784 h 5061735"/>
                <a:gd name="T11" fmla="*/ 2426473 w 5061247"/>
                <a:gd name="T12" fmla="*/ 2030041 h 506173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61247" h="5061735">
                  <a:moveTo>
                    <a:pt x="236857" y="1461796"/>
                  </a:moveTo>
                  <a:lnTo>
                    <a:pt x="236856" y="1461795"/>
                  </a:lnTo>
                  <a:cubicBezTo>
                    <a:pt x="618584" y="642613"/>
                    <a:pt x="1408130" y="89174"/>
                    <a:pt x="2308321" y="9782"/>
                  </a:cubicBezTo>
                  <a:lnTo>
                    <a:pt x="2426473" y="1349712"/>
                  </a:lnTo>
                  <a:lnTo>
                    <a:pt x="2426472" y="1349711"/>
                  </a:lnTo>
                  <a:cubicBezTo>
                    <a:pt x="2004756" y="1386912"/>
                    <a:pt x="1634879" y="1646224"/>
                    <a:pt x="1456065" y="2030040"/>
                  </a:cubicBezTo>
                  <a:lnTo>
                    <a:pt x="236857" y="1461796"/>
                  </a:lnTo>
                  <a:close/>
                </a:path>
              </a:pathLst>
            </a:custGeom>
            <a:grpFill/>
            <a:ln w="3175">
              <a:solidFill>
                <a:srgbClr val="CFCFCF"/>
              </a:solidFill>
              <a:round/>
              <a:headEnd/>
              <a:tailEnd/>
            </a:ln>
            <a:effectLst>
              <a:outerShdw blurRad="63500" dist="38100" dir="5400000" algn="t" rotWithShape="0">
                <a:srgbClr val="000000">
                  <a:alpha val="39998"/>
                </a:srgb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ea typeface="ＭＳ Ｐゴシック" charset="-128"/>
              </a:endParaRPr>
            </a:p>
          </p:txBody>
        </p:sp>
        <p:sp>
          <p:nvSpPr>
            <p:cNvPr id="58" name="Blokbue 39"/>
            <p:cNvSpPr>
              <a:spLocks noChangeArrowheads="1"/>
            </p:cNvSpPr>
            <p:nvPr/>
          </p:nvSpPr>
          <p:spPr bwMode="auto">
            <a:xfrm rot="10843925">
              <a:off x="2543074" y="981655"/>
              <a:ext cx="3842158" cy="3842146"/>
            </a:xfrm>
            <a:custGeom>
              <a:avLst/>
              <a:gdLst>
                <a:gd name="T0" fmla="*/ 846563 w 5061735"/>
                <a:gd name="T1" fmla="*/ 1745607 h 5061247"/>
                <a:gd name="T2" fmla="*/ 2367661 w 5061735"/>
                <a:gd name="T3" fmla="*/ 679743 h 5061247"/>
                <a:gd name="T4" fmla="*/ 2530868 w 5061735"/>
                <a:gd name="T5" fmla="*/ 2530624 h 5061247"/>
                <a:gd name="T6" fmla="*/ 5898240 60000 65536"/>
                <a:gd name="T7" fmla="*/ 0 60000 65536"/>
                <a:gd name="T8" fmla="*/ 17694720 60000 65536"/>
                <a:gd name="T9" fmla="*/ 236959 w 5061735"/>
                <a:gd name="T10" fmla="*/ 9779 h 5061247"/>
                <a:gd name="T11" fmla="*/ 2426738 w 5061735"/>
                <a:gd name="T12" fmla="*/ 2029730 h 506124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61735" h="5061247">
                  <a:moveTo>
                    <a:pt x="236959" y="1461486"/>
                  </a:moveTo>
                  <a:lnTo>
                    <a:pt x="236959" y="1461486"/>
                  </a:lnTo>
                  <a:cubicBezTo>
                    <a:pt x="618762" y="642458"/>
                    <a:pt x="1408359" y="89143"/>
                    <a:pt x="2308587" y="9779"/>
                  </a:cubicBezTo>
                  <a:lnTo>
                    <a:pt x="2426738" y="1349708"/>
                  </a:lnTo>
                  <a:cubicBezTo>
                    <a:pt x="2004984" y="1386881"/>
                    <a:pt x="1635056" y="1646069"/>
                    <a:pt x="1456166" y="2029730"/>
                  </a:cubicBezTo>
                  <a:lnTo>
                    <a:pt x="236959" y="1461486"/>
                  </a:lnTo>
                  <a:close/>
                </a:path>
              </a:pathLst>
            </a:custGeom>
            <a:grpFill/>
            <a:ln w="3175">
              <a:solidFill>
                <a:srgbClr val="CFCFCF"/>
              </a:solidFill>
              <a:round/>
              <a:headEnd/>
              <a:tailEnd/>
            </a:ln>
            <a:effectLst>
              <a:outerShdw blurRad="63500" dist="38100" dir="5400000" algn="t" rotWithShape="0">
                <a:srgbClr val="000000">
                  <a:alpha val="39998"/>
                </a:srgb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ea typeface="ＭＳ Ｐゴシック" charset="-128"/>
              </a:endParaRPr>
            </a:p>
          </p:txBody>
        </p:sp>
        <p:sp>
          <p:nvSpPr>
            <p:cNvPr id="59" name="Blokbue 40"/>
            <p:cNvSpPr>
              <a:spLocks noChangeArrowheads="1"/>
            </p:cNvSpPr>
            <p:nvPr/>
          </p:nvSpPr>
          <p:spPr bwMode="auto">
            <a:xfrm rot="14446858">
              <a:off x="2438294" y="989584"/>
              <a:ext cx="3842145" cy="3842158"/>
            </a:xfrm>
            <a:custGeom>
              <a:avLst/>
              <a:gdLst>
                <a:gd name="T0" fmla="*/ 846563 w 5061735"/>
                <a:gd name="T1" fmla="*/ 1745607 h 5061247"/>
                <a:gd name="T2" fmla="*/ 2367661 w 5061735"/>
                <a:gd name="T3" fmla="*/ 679743 h 5061247"/>
                <a:gd name="T4" fmla="*/ 2530868 w 5061735"/>
                <a:gd name="T5" fmla="*/ 2530624 h 5061247"/>
                <a:gd name="T6" fmla="*/ 5898240 60000 65536"/>
                <a:gd name="T7" fmla="*/ 0 60000 65536"/>
                <a:gd name="T8" fmla="*/ 17694720 60000 65536"/>
                <a:gd name="T9" fmla="*/ 236959 w 5061735"/>
                <a:gd name="T10" fmla="*/ 9779 h 5061247"/>
                <a:gd name="T11" fmla="*/ 2426738 w 5061735"/>
                <a:gd name="T12" fmla="*/ 2029730 h 506124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61735" h="5061247">
                  <a:moveTo>
                    <a:pt x="236959" y="1461486"/>
                  </a:moveTo>
                  <a:lnTo>
                    <a:pt x="236959" y="1461486"/>
                  </a:lnTo>
                  <a:cubicBezTo>
                    <a:pt x="618762" y="642458"/>
                    <a:pt x="1408359" y="89143"/>
                    <a:pt x="2308587" y="9779"/>
                  </a:cubicBezTo>
                  <a:lnTo>
                    <a:pt x="2426738" y="1349708"/>
                  </a:lnTo>
                  <a:cubicBezTo>
                    <a:pt x="2004984" y="1386881"/>
                    <a:pt x="1635056" y="1646069"/>
                    <a:pt x="1456166" y="2029730"/>
                  </a:cubicBezTo>
                  <a:lnTo>
                    <a:pt x="236959" y="1461486"/>
                  </a:lnTo>
                  <a:close/>
                </a:path>
              </a:pathLst>
            </a:custGeom>
            <a:grpFill/>
            <a:ln w="3175">
              <a:solidFill>
                <a:srgbClr val="CFCFCF"/>
              </a:solidFill>
              <a:round/>
              <a:headEnd/>
              <a:tailEnd/>
            </a:ln>
            <a:effectLst>
              <a:outerShdw blurRad="63500" dist="38100" dir="5400000" algn="t" rotWithShape="0">
                <a:srgbClr val="000000">
                  <a:alpha val="39998"/>
                </a:srgb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ea typeface="ＭＳ Ｐゴシック" charset="-128"/>
              </a:endParaRPr>
            </a:p>
          </p:txBody>
        </p:sp>
        <p:sp>
          <p:nvSpPr>
            <p:cNvPr id="60" name="Blokbue 41"/>
            <p:cNvSpPr>
              <a:spLocks noChangeArrowheads="1"/>
            </p:cNvSpPr>
            <p:nvPr/>
          </p:nvSpPr>
          <p:spPr bwMode="auto">
            <a:xfrm rot="18033862">
              <a:off x="2408923" y="882461"/>
              <a:ext cx="3843732" cy="3842158"/>
            </a:xfrm>
            <a:custGeom>
              <a:avLst/>
              <a:gdLst>
                <a:gd name="T0" fmla="*/ 846461 w 5061247"/>
                <a:gd name="T1" fmla="*/ 1745918 h 5061735"/>
                <a:gd name="T2" fmla="*/ 2367396 w 5061247"/>
                <a:gd name="T3" fmla="*/ 679748 h 5061735"/>
                <a:gd name="T4" fmla="*/ 2530624 w 5061247"/>
                <a:gd name="T5" fmla="*/ 2530868 h 5061735"/>
                <a:gd name="T6" fmla="*/ 5898240 60000 65536"/>
                <a:gd name="T7" fmla="*/ 0 60000 65536"/>
                <a:gd name="T8" fmla="*/ 17694720 60000 65536"/>
                <a:gd name="T9" fmla="*/ 236857 w 5061247"/>
                <a:gd name="T10" fmla="*/ 9784 h 5061735"/>
                <a:gd name="T11" fmla="*/ 2426473 w 5061247"/>
                <a:gd name="T12" fmla="*/ 2030041 h 506173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61247" h="5061735">
                  <a:moveTo>
                    <a:pt x="236857" y="1461796"/>
                  </a:moveTo>
                  <a:lnTo>
                    <a:pt x="236856" y="1461795"/>
                  </a:lnTo>
                  <a:cubicBezTo>
                    <a:pt x="618584" y="642613"/>
                    <a:pt x="1408130" y="89174"/>
                    <a:pt x="2308321" y="9782"/>
                  </a:cubicBezTo>
                  <a:lnTo>
                    <a:pt x="2426473" y="1349712"/>
                  </a:lnTo>
                  <a:lnTo>
                    <a:pt x="2426472" y="1349711"/>
                  </a:lnTo>
                  <a:cubicBezTo>
                    <a:pt x="2004756" y="1386912"/>
                    <a:pt x="1634879" y="1646224"/>
                    <a:pt x="1456065" y="2030040"/>
                  </a:cubicBezTo>
                  <a:lnTo>
                    <a:pt x="236857" y="1461796"/>
                  </a:lnTo>
                  <a:close/>
                </a:path>
              </a:pathLst>
            </a:custGeom>
            <a:grpFill/>
            <a:ln w="3175">
              <a:solidFill>
                <a:srgbClr val="CFCFCF"/>
              </a:solidFill>
              <a:round/>
              <a:headEnd/>
              <a:tailEnd/>
            </a:ln>
            <a:effectLst>
              <a:outerShdw blurRad="63500" dist="38100" dir="5400000" algn="t" rotWithShape="0">
                <a:srgbClr val="000000">
                  <a:alpha val="39998"/>
                </a:srgb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ea typeface="ＭＳ Ｐゴシック" charset="-128"/>
              </a:endParaRPr>
            </a:p>
          </p:txBody>
        </p:sp>
        <p:sp>
          <p:nvSpPr>
            <p:cNvPr id="61" name="Blokbue 42"/>
            <p:cNvSpPr>
              <a:spLocks noChangeArrowheads="1"/>
            </p:cNvSpPr>
            <p:nvPr/>
          </p:nvSpPr>
          <p:spPr bwMode="auto">
            <a:xfrm rot="14285">
              <a:off x="2471630" y="805498"/>
              <a:ext cx="3842158" cy="3843732"/>
            </a:xfrm>
            <a:custGeom>
              <a:avLst/>
              <a:gdLst>
                <a:gd name="T0" fmla="*/ 846563 w 5061735"/>
                <a:gd name="T1" fmla="*/ 1745607 h 5061247"/>
                <a:gd name="T2" fmla="*/ 2367661 w 5061735"/>
                <a:gd name="T3" fmla="*/ 679743 h 5061247"/>
                <a:gd name="T4" fmla="*/ 2530868 w 5061735"/>
                <a:gd name="T5" fmla="*/ 2530624 h 5061247"/>
                <a:gd name="T6" fmla="*/ 5898240 60000 65536"/>
                <a:gd name="T7" fmla="*/ 0 60000 65536"/>
                <a:gd name="T8" fmla="*/ 17694720 60000 65536"/>
                <a:gd name="T9" fmla="*/ 236959 w 5061735"/>
                <a:gd name="T10" fmla="*/ 9779 h 5061247"/>
                <a:gd name="T11" fmla="*/ 2426738 w 5061735"/>
                <a:gd name="T12" fmla="*/ 2029730 h 506124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61735" h="5061247">
                  <a:moveTo>
                    <a:pt x="236959" y="1461486"/>
                  </a:moveTo>
                  <a:lnTo>
                    <a:pt x="236959" y="1461486"/>
                  </a:lnTo>
                  <a:cubicBezTo>
                    <a:pt x="618762" y="642458"/>
                    <a:pt x="1408359" y="89143"/>
                    <a:pt x="2308587" y="9779"/>
                  </a:cubicBezTo>
                  <a:lnTo>
                    <a:pt x="2426738" y="1349708"/>
                  </a:lnTo>
                  <a:cubicBezTo>
                    <a:pt x="2004984" y="1386881"/>
                    <a:pt x="1635056" y="1646069"/>
                    <a:pt x="1456166" y="2029730"/>
                  </a:cubicBezTo>
                  <a:lnTo>
                    <a:pt x="236959" y="1461486"/>
                  </a:lnTo>
                  <a:close/>
                </a:path>
              </a:pathLst>
            </a:custGeom>
            <a:grpFill/>
            <a:ln w="3175">
              <a:solidFill>
                <a:srgbClr val="CFCFCF"/>
              </a:solidFill>
              <a:round/>
              <a:headEnd/>
              <a:tailEnd/>
            </a:ln>
            <a:effectLst>
              <a:outerShdw blurRad="63500" dist="38100" dir="5400000" algn="t" rotWithShape="0">
                <a:srgbClr val="000000">
                  <a:alpha val="39998"/>
                </a:srgb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ea typeface="ＭＳ Ｐゴシック" charset="-128"/>
              </a:endParaRPr>
            </a:p>
          </p:txBody>
        </p:sp>
        <p:sp>
          <p:nvSpPr>
            <p:cNvPr id="62" name="Blokbue 43"/>
            <p:cNvSpPr>
              <a:spLocks noChangeArrowheads="1"/>
            </p:cNvSpPr>
            <p:nvPr/>
          </p:nvSpPr>
          <p:spPr bwMode="auto">
            <a:xfrm rot="3730573">
              <a:off x="2546256" y="800730"/>
              <a:ext cx="3842146" cy="3842158"/>
            </a:xfrm>
            <a:custGeom>
              <a:avLst/>
              <a:gdLst>
                <a:gd name="T0" fmla="*/ 846563 w 5061735"/>
                <a:gd name="T1" fmla="*/ 1745607 h 5061247"/>
                <a:gd name="T2" fmla="*/ 2367661 w 5061735"/>
                <a:gd name="T3" fmla="*/ 679743 h 5061247"/>
                <a:gd name="T4" fmla="*/ 2530868 w 5061735"/>
                <a:gd name="T5" fmla="*/ 2530624 h 5061247"/>
                <a:gd name="T6" fmla="*/ 5898240 60000 65536"/>
                <a:gd name="T7" fmla="*/ 0 60000 65536"/>
                <a:gd name="T8" fmla="*/ 17694720 60000 65536"/>
                <a:gd name="T9" fmla="*/ 236959 w 5061735"/>
                <a:gd name="T10" fmla="*/ 9779 h 5061247"/>
                <a:gd name="T11" fmla="*/ 2426738 w 5061735"/>
                <a:gd name="T12" fmla="*/ 2029730 h 506124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61735" h="5061247">
                  <a:moveTo>
                    <a:pt x="236959" y="1461486"/>
                  </a:moveTo>
                  <a:lnTo>
                    <a:pt x="236959" y="1461486"/>
                  </a:lnTo>
                  <a:cubicBezTo>
                    <a:pt x="618762" y="642458"/>
                    <a:pt x="1408359" y="89143"/>
                    <a:pt x="2308587" y="9779"/>
                  </a:cubicBezTo>
                  <a:lnTo>
                    <a:pt x="2426738" y="1349708"/>
                  </a:lnTo>
                  <a:cubicBezTo>
                    <a:pt x="2004984" y="1386881"/>
                    <a:pt x="1635056" y="1646069"/>
                    <a:pt x="1456166" y="2029730"/>
                  </a:cubicBezTo>
                  <a:lnTo>
                    <a:pt x="236959" y="1461486"/>
                  </a:lnTo>
                  <a:close/>
                </a:path>
              </a:pathLst>
            </a:custGeom>
            <a:grpFill/>
            <a:ln w="3175">
              <a:solidFill>
                <a:srgbClr val="CFCFCF"/>
              </a:solidFill>
              <a:round/>
              <a:headEnd/>
              <a:tailEnd/>
            </a:ln>
            <a:effectLst>
              <a:outerShdw blurRad="63500" dist="38100" dir="5400000" algn="t" rotWithShape="0">
                <a:srgbClr val="000000">
                  <a:alpha val="39998"/>
                </a:srgb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>
                <a:ea typeface="ＭＳ Ｐゴシック" charset="-128"/>
              </a:endParaRPr>
            </a:p>
          </p:txBody>
        </p:sp>
      </p:grpSp>
      <p:sp>
        <p:nvSpPr>
          <p:cNvPr id="63" name="Højrepil 44"/>
          <p:cNvSpPr>
            <a:spLocks noChangeArrowheads="1"/>
          </p:cNvSpPr>
          <p:nvPr/>
        </p:nvSpPr>
        <p:spPr bwMode="auto">
          <a:xfrm>
            <a:off x="490678" y="2469636"/>
            <a:ext cx="1934332" cy="1783828"/>
          </a:xfrm>
          <a:prstGeom prst="rightArrow">
            <a:avLst>
              <a:gd name="adj1" fmla="val 71000"/>
              <a:gd name="adj2" fmla="val 50000"/>
            </a:avLst>
          </a:prstGeom>
          <a:gradFill flip="none" rotWithShape="1">
            <a:gsLst>
              <a:gs pos="0">
                <a:srgbClr val="10253F"/>
              </a:gs>
              <a:gs pos="100000">
                <a:srgbClr val="376092"/>
              </a:gs>
            </a:gsLst>
            <a:lin ang="16200000" scaled="1"/>
            <a:tileRect/>
          </a:gradFill>
          <a:ln>
            <a:noFill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" lastClr="FFFFFF"/>
              </a:solidFill>
              <a:latin typeface="Calibri"/>
              <a:ea typeface="+mn-ea"/>
            </a:endParaRPr>
          </a:p>
        </p:txBody>
      </p:sp>
      <p:sp>
        <p:nvSpPr>
          <p:cNvPr id="215" name="Tekstboks 358"/>
          <p:cNvSpPr txBox="1">
            <a:spLocks noChangeArrowheads="1"/>
          </p:cNvSpPr>
          <p:nvPr/>
        </p:nvSpPr>
        <p:spPr bwMode="auto">
          <a:xfrm>
            <a:off x="482607" y="2791696"/>
            <a:ext cx="1253792" cy="990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Font typeface="Arial" pitchFamily="34" charset="0"/>
              <a:buChar char="•"/>
            </a:pPr>
            <a:r>
              <a:rPr lang="da-DK" sz="1000" dirty="0">
                <a:solidFill>
                  <a:schemeClr val="bg1"/>
                </a:solidFill>
              </a:rPr>
              <a:t>Business case &amp; funding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da-DK" sz="1000" dirty="0">
                <a:solidFill>
                  <a:schemeClr val="bg1"/>
                </a:solidFill>
              </a:rPr>
              <a:t>Contractual agreement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da-DK" sz="1000" dirty="0">
                <a:solidFill>
                  <a:schemeClr val="bg1"/>
                </a:solidFill>
              </a:rPr>
              <a:t>Vision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da-DK" sz="1000" dirty="0">
                <a:solidFill>
                  <a:schemeClr val="bg1"/>
                </a:solidFill>
              </a:rPr>
              <a:t>Initial productbacklog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da-DK" sz="1000" dirty="0">
                <a:solidFill>
                  <a:schemeClr val="bg1"/>
                </a:solidFill>
              </a:rPr>
              <a:t>Initial release plan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da-DK" sz="1000" dirty="0">
                <a:solidFill>
                  <a:schemeClr val="bg1"/>
                </a:solidFill>
              </a:rPr>
              <a:t>Stakeholderbuy-in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da-DK" sz="1000" dirty="0">
                <a:solidFill>
                  <a:schemeClr val="bg1"/>
                </a:solidFill>
              </a:rPr>
              <a:t>Assemble team</a:t>
            </a:r>
          </a:p>
        </p:txBody>
      </p:sp>
      <p:sp>
        <p:nvSpPr>
          <p:cNvPr id="216" name="Tekstboks 359"/>
          <p:cNvSpPr txBox="1"/>
          <p:nvPr/>
        </p:nvSpPr>
        <p:spPr>
          <a:xfrm>
            <a:off x="2573913" y="2650522"/>
            <a:ext cx="1025096" cy="40011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</a:rPr>
              <a:t>Sprint </a:t>
            </a:r>
            <a:r>
              <a:rPr lang="da-DK" sz="10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</a:rPr>
              <a:t>planning</a:t>
            </a:r>
            <a:r>
              <a:rPr lang="da-DK" sz="10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</a:rPr>
              <a:t> meeting</a:t>
            </a:r>
          </a:p>
        </p:txBody>
      </p:sp>
      <p:sp>
        <p:nvSpPr>
          <p:cNvPr id="217" name="Tekstboks 360"/>
          <p:cNvSpPr txBox="1"/>
          <p:nvPr/>
        </p:nvSpPr>
        <p:spPr>
          <a:xfrm>
            <a:off x="3934828" y="2609261"/>
            <a:ext cx="839449" cy="24622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</a:rPr>
              <a:t>Daily</a:t>
            </a:r>
            <a:r>
              <a:rPr lang="da-DK" sz="10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</a:rPr>
              <a:t> </a:t>
            </a:r>
            <a:r>
              <a:rPr lang="da-DK" sz="10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</a:rPr>
              <a:t>Cycle</a:t>
            </a:r>
            <a:endParaRPr lang="da-DK" sz="1000" dirty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</a:endParaRPr>
          </a:p>
        </p:txBody>
      </p:sp>
      <p:sp>
        <p:nvSpPr>
          <p:cNvPr id="218" name="Tekstboks 361"/>
          <p:cNvSpPr txBox="1"/>
          <p:nvPr/>
        </p:nvSpPr>
        <p:spPr>
          <a:xfrm>
            <a:off x="3962609" y="4837808"/>
            <a:ext cx="100484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</a:rPr>
              <a:t>Sprint </a:t>
            </a:r>
            <a:r>
              <a:rPr lang="da-DK" sz="10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</a:rPr>
              <a:t>review</a:t>
            </a:r>
            <a:endParaRPr lang="da-DK" sz="1000" dirty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</a:endParaRPr>
          </a:p>
        </p:txBody>
      </p:sp>
      <p:sp>
        <p:nvSpPr>
          <p:cNvPr id="219" name="Tekstboks 362"/>
          <p:cNvSpPr txBox="1"/>
          <p:nvPr/>
        </p:nvSpPr>
        <p:spPr>
          <a:xfrm>
            <a:off x="2726352" y="4814948"/>
            <a:ext cx="90671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</a:rPr>
              <a:t>Sprint </a:t>
            </a:r>
            <a:r>
              <a:rPr lang="da-DK" sz="10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</a:rPr>
              <a:t>retrospective</a:t>
            </a:r>
            <a:endParaRPr lang="da-DK" sz="1000" dirty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</a:endParaRPr>
          </a:p>
        </p:txBody>
      </p:sp>
      <p:sp>
        <p:nvSpPr>
          <p:cNvPr id="220" name="Tekstboks 363"/>
          <p:cNvSpPr txBox="1"/>
          <p:nvPr/>
        </p:nvSpPr>
        <p:spPr>
          <a:xfrm>
            <a:off x="2191583" y="3664638"/>
            <a:ext cx="99333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a-DK" sz="10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</a:rPr>
              <a:t>Update product backlog</a:t>
            </a:r>
            <a:endParaRPr lang="da-DK" sz="1000" dirty="0">
              <a:solidFill>
                <a:schemeClr val="tx1">
                  <a:lumMod val="95000"/>
                  <a:lumOff val="5000"/>
                </a:schemeClr>
              </a:solidFill>
              <a:latin typeface="+mn-lt"/>
              <a:ea typeface="+mn-ea"/>
            </a:endParaRPr>
          </a:p>
        </p:txBody>
      </p:sp>
      <p:sp>
        <p:nvSpPr>
          <p:cNvPr id="222" name="Tekstboks 365"/>
          <p:cNvSpPr txBox="1">
            <a:spLocks noChangeArrowheads="1"/>
          </p:cNvSpPr>
          <p:nvPr/>
        </p:nvSpPr>
        <p:spPr bwMode="auto">
          <a:xfrm>
            <a:off x="4701632" y="3627298"/>
            <a:ext cx="83944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Font typeface="Arial" pitchFamily="34" charset="0"/>
              <a:buChar char="•"/>
            </a:pPr>
            <a:r>
              <a:rPr lang="da-DK" sz="1000">
                <a:solidFill>
                  <a:schemeClr val="tx1">
                    <a:lumMod val="95000"/>
                    <a:lumOff val="5000"/>
                  </a:schemeClr>
                </a:solidFill>
              </a:rPr>
              <a:t>Product increment</a:t>
            </a:r>
          </a:p>
        </p:txBody>
      </p:sp>
      <p:grpSp>
        <p:nvGrpSpPr>
          <p:cNvPr id="223" name="Group 222"/>
          <p:cNvGrpSpPr/>
          <p:nvPr/>
        </p:nvGrpSpPr>
        <p:grpSpPr>
          <a:xfrm>
            <a:off x="713764" y="1867596"/>
            <a:ext cx="791477" cy="637659"/>
            <a:chOff x="358605" y="2653300"/>
            <a:chExt cx="791477" cy="637659"/>
          </a:xfrm>
        </p:grpSpPr>
        <p:grpSp>
          <p:nvGrpSpPr>
            <p:cNvPr id="224" name="Gruppe 22"/>
            <p:cNvGrpSpPr>
              <a:grpSpLocks/>
            </p:cNvGrpSpPr>
            <p:nvPr/>
          </p:nvGrpSpPr>
          <p:grpSpPr bwMode="auto">
            <a:xfrm>
              <a:off x="358605" y="2911592"/>
              <a:ext cx="557400" cy="347080"/>
              <a:chOff x="3135274" y="1809750"/>
              <a:chExt cx="5292446" cy="3295940"/>
            </a:xfrm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grpSpPr>
          <p:sp>
            <p:nvSpPr>
              <p:cNvPr id="247" name="Kombinationstegning 194"/>
              <p:cNvSpPr/>
              <p:nvPr/>
            </p:nvSpPr>
            <p:spPr bwMode="auto">
              <a:xfrm>
                <a:off x="3812865" y="3352802"/>
                <a:ext cx="4614855" cy="1752888"/>
              </a:xfrm>
              <a:custGeom>
                <a:avLst/>
                <a:gdLst>
                  <a:gd name="connsiteX0" fmla="*/ 762000 w 2628900"/>
                  <a:gd name="connsiteY0" fmla="*/ 723900 h 723900"/>
                  <a:gd name="connsiteX1" fmla="*/ 2628900 w 2628900"/>
                  <a:gd name="connsiteY1" fmla="*/ 419100 h 723900"/>
                  <a:gd name="connsiteX2" fmla="*/ 514350 w 2628900"/>
                  <a:gd name="connsiteY2" fmla="*/ 0 h 723900"/>
                  <a:gd name="connsiteX3" fmla="*/ 0 w 2628900"/>
                  <a:gd name="connsiteY3" fmla="*/ 57150 h 723900"/>
                  <a:gd name="connsiteX4" fmla="*/ 762000 w 2628900"/>
                  <a:gd name="connsiteY4" fmla="*/ 723900 h 723900"/>
                  <a:gd name="connsiteX0" fmla="*/ 599628 w 2628900"/>
                  <a:gd name="connsiteY0" fmla="*/ 723900 h 723900"/>
                  <a:gd name="connsiteX1" fmla="*/ 2628900 w 2628900"/>
                  <a:gd name="connsiteY1" fmla="*/ 419100 h 723900"/>
                  <a:gd name="connsiteX2" fmla="*/ 514350 w 2628900"/>
                  <a:gd name="connsiteY2" fmla="*/ 0 h 723900"/>
                  <a:gd name="connsiteX3" fmla="*/ 0 w 2628900"/>
                  <a:gd name="connsiteY3" fmla="*/ 57150 h 723900"/>
                  <a:gd name="connsiteX4" fmla="*/ 599628 w 2628900"/>
                  <a:gd name="connsiteY4" fmla="*/ 723900 h 723900"/>
                  <a:gd name="connsiteX0" fmla="*/ 599628 w 2628900"/>
                  <a:gd name="connsiteY0" fmla="*/ 666750 h 666750"/>
                  <a:gd name="connsiteX1" fmla="*/ 2628900 w 2628900"/>
                  <a:gd name="connsiteY1" fmla="*/ 361950 h 666750"/>
                  <a:gd name="connsiteX2" fmla="*/ 1634716 w 2628900"/>
                  <a:gd name="connsiteY2" fmla="*/ 59081 h 666750"/>
                  <a:gd name="connsiteX3" fmla="*/ 0 w 2628900"/>
                  <a:gd name="connsiteY3" fmla="*/ 0 h 666750"/>
                  <a:gd name="connsiteX4" fmla="*/ 599628 w 2628900"/>
                  <a:gd name="connsiteY4" fmla="*/ 666750 h 666750"/>
                  <a:gd name="connsiteX0" fmla="*/ 429137 w 2458409"/>
                  <a:gd name="connsiteY0" fmla="*/ 607669 h 607669"/>
                  <a:gd name="connsiteX1" fmla="*/ 2458409 w 2458409"/>
                  <a:gd name="connsiteY1" fmla="*/ 302869 h 607669"/>
                  <a:gd name="connsiteX2" fmla="*/ 1464225 w 2458409"/>
                  <a:gd name="connsiteY2" fmla="*/ 0 h 607669"/>
                  <a:gd name="connsiteX3" fmla="*/ 0 w 2458409"/>
                  <a:gd name="connsiteY3" fmla="*/ 136398 h 607669"/>
                  <a:gd name="connsiteX4" fmla="*/ 429137 w 2458409"/>
                  <a:gd name="connsiteY4" fmla="*/ 607669 h 607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8409" h="607669">
                    <a:moveTo>
                      <a:pt x="429137" y="607669"/>
                    </a:moveTo>
                    <a:lnTo>
                      <a:pt x="2458409" y="302869"/>
                    </a:lnTo>
                    <a:lnTo>
                      <a:pt x="1464225" y="0"/>
                    </a:lnTo>
                    <a:lnTo>
                      <a:pt x="0" y="136398"/>
                    </a:lnTo>
                    <a:lnTo>
                      <a:pt x="429137" y="607669"/>
                    </a:lnTo>
                    <a:close/>
                  </a:path>
                </a:pathLst>
              </a:custGeom>
              <a:gradFill flip="none" rotWithShape="1">
                <a:gsLst>
                  <a:gs pos="24000">
                    <a:sysClr val="windowText" lastClr="000000">
                      <a:alpha val="23000"/>
                    </a:sysClr>
                  </a:gs>
                  <a:gs pos="69000">
                    <a:sysClr val="window" lastClr="FFFFFF">
                      <a:alpha val="0"/>
                    </a:sysClr>
                  </a:gs>
                </a:gsLst>
                <a:lin ang="1890000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dirty="0" err="1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248" name="Gruppe 240"/>
              <p:cNvGrpSpPr>
                <a:grpSpLocks/>
              </p:cNvGrpSpPr>
              <p:nvPr/>
            </p:nvGrpSpPr>
            <p:grpSpPr bwMode="auto">
              <a:xfrm>
                <a:off x="3135274" y="1809750"/>
                <a:ext cx="3452893" cy="3276600"/>
                <a:chOff x="13047663" y="2554288"/>
                <a:chExt cx="1803400" cy="1711325"/>
              </a:xfrm>
            </p:grpSpPr>
            <p:sp>
              <p:nvSpPr>
                <p:cNvPr id="249" name="Freeform 227"/>
                <p:cNvSpPr>
                  <a:spLocks/>
                </p:cNvSpPr>
                <p:nvPr/>
              </p:nvSpPr>
              <p:spPr bwMode="auto">
                <a:xfrm>
                  <a:off x="13047663" y="2767013"/>
                  <a:ext cx="781050" cy="1498600"/>
                </a:xfrm>
                <a:custGeom>
                  <a:avLst/>
                  <a:gdLst>
                    <a:gd name="T0" fmla="*/ 50800 w 492"/>
                    <a:gd name="T1" fmla="*/ 0 h 944"/>
                    <a:gd name="T2" fmla="*/ 50800 w 492"/>
                    <a:gd name="T3" fmla="*/ 0 h 944"/>
                    <a:gd name="T4" fmla="*/ 41275 w 492"/>
                    <a:gd name="T5" fmla="*/ 0 h 944"/>
                    <a:gd name="T6" fmla="*/ 25400 w 492"/>
                    <a:gd name="T7" fmla="*/ 3175 h 944"/>
                    <a:gd name="T8" fmla="*/ 15875 w 492"/>
                    <a:gd name="T9" fmla="*/ 6350 h 944"/>
                    <a:gd name="T10" fmla="*/ 9525 w 492"/>
                    <a:gd name="T11" fmla="*/ 12700 h 944"/>
                    <a:gd name="T12" fmla="*/ 3175 w 492"/>
                    <a:gd name="T13" fmla="*/ 22225 h 944"/>
                    <a:gd name="T14" fmla="*/ 0 w 492"/>
                    <a:gd name="T15" fmla="*/ 38100 h 944"/>
                    <a:gd name="T16" fmla="*/ 0 w 492"/>
                    <a:gd name="T17" fmla="*/ 38100 h 944"/>
                    <a:gd name="T18" fmla="*/ 0 w 492"/>
                    <a:gd name="T19" fmla="*/ 244475 h 944"/>
                    <a:gd name="T20" fmla="*/ 3175 w 492"/>
                    <a:gd name="T21" fmla="*/ 657225 h 944"/>
                    <a:gd name="T22" fmla="*/ 3175 w 492"/>
                    <a:gd name="T23" fmla="*/ 876300 h 944"/>
                    <a:gd name="T24" fmla="*/ 6350 w 492"/>
                    <a:gd name="T25" fmla="*/ 1063625 h 944"/>
                    <a:gd name="T26" fmla="*/ 12700 w 492"/>
                    <a:gd name="T27" fmla="*/ 1196975 h 944"/>
                    <a:gd name="T28" fmla="*/ 15875 w 492"/>
                    <a:gd name="T29" fmla="*/ 1235075 h 944"/>
                    <a:gd name="T30" fmla="*/ 19050 w 492"/>
                    <a:gd name="T31" fmla="*/ 1247775 h 944"/>
                    <a:gd name="T32" fmla="*/ 19050 w 492"/>
                    <a:gd name="T33" fmla="*/ 1247775 h 944"/>
                    <a:gd name="T34" fmla="*/ 387350 w 492"/>
                    <a:gd name="T35" fmla="*/ 1377950 h 944"/>
                    <a:gd name="T36" fmla="*/ 635000 w 492"/>
                    <a:gd name="T37" fmla="*/ 1463675 h 944"/>
                    <a:gd name="T38" fmla="*/ 717550 w 492"/>
                    <a:gd name="T39" fmla="*/ 1489075 h 944"/>
                    <a:gd name="T40" fmla="*/ 752475 w 492"/>
                    <a:gd name="T41" fmla="*/ 1498600 h 944"/>
                    <a:gd name="T42" fmla="*/ 752475 w 492"/>
                    <a:gd name="T43" fmla="*/ 1498600 h 944"/>
                    <a:gd name="T44" fmla="*/ 752475 w 492"/>
                    <a:gd name="T45" fmla="*/ 1485900 h 944"/>
                    <a:gd name="T46" fmla="*/ 755650 w 492"/>
                    <a:gd name="T47" fmla="*/ 1444625 h 944"/>
                    <a:gd name="T48" fmla="*/ 755650 w 492"/>
                    <a:gd name="T49" fmla="*/ 1298575 h 944"/>
                    <a:gd name="T50" fmla="*/ 752475 w 492"/>
                    <a:gd name="T51" fmla="*/ 860425 h 944"/>
                    <a:gd name="T52" fmla="*/ 749300 w 492"/>
                    <a:gd name="T53" fmla="*/ 422275 h 944"/>
                    <a:gd name="T54" fmla="*/ 749300 w 492"/>
                    <a:gd name="T55" fmla="*/ 279400 h 944"/>
                    <a:gd name="T56" fmla="*/ 752475 w 492"/>
                    <a:gd name="T57" fmla="*/ 222250 h 944"/>
                    <a:gd name="T58" fmla="*/ 752475 w 492"/>
                    <a:gd name="T59" fmla="*/ 222250 h 944"/>
                    <a:gd name="T60" fmla="*/ 771525 w 492"/>
                    <a:gd name="T61" fmla="*/ 206375 h 944"/>
                    <a:gd name="T62" fmla="*/ 781050 w 492"/>
                    <a:gd name="T63" fmla="*/ 193675 h 944"/>
                    <a:gd name="T64" fmla="*/ 50800 w 492"/>
                    <a:gd name="T65" fmla="*/ 0 h 944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492"/>
                    <a:gd name="T100" fmla="*/ 0 h 944"/>
                    <a:gd name="T101" fmla="*/ 492 w 492"/>
                    <a:gd name="T102" fmla="*/ 944 h 944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492" h="944">
                      <a:moveTo>
                        <a:pt x="32" y="0"/>
                      </a:moveTo>
                      <a:lnTo>
                        <a:pt x="32" y="0"/>
                      </a:lnTo>
                      <a:lnTo>
                        <a:pt x="26" y="0"/>
                      </a:lnTo>
                      <a:lnTo>
                        <a:pt x="16" y="2"/>
                      </a:lnTo>
                      <a:lnTo>
                        <a:pt x="10" y="4"/>
                      </a:lnTo>
                      <a:lnTo>
                        <a:pt x="6" y="8"/>
                      </a:lnTo>
                      <a:lnTo>
                        <a:pt x="2" y="14"/>
                      </a:lnTo>
                      <a:lnTo>
                        <a:pt x="0" y="24"/>
                      </a:lnTo>
                      <a:lnTo>
                        <a:pt x="0" y="154"/>
                      </a:lnTo>
                      <a:lnTo>
                        <a:pt x="2" y="414"/>
                      </a:lnTo>
                      <a:lnTo>
                        <a:pt x="2" y="552"/>
                      </a:lnTo>
                      <a:lnTo>
                        <a:pt x="4" y="670"/>
                      </a:lnTo>
                      <a:lnTo>
                        <a:pt x="8" y="754"/>
                      </a:lnTo>
                      <a:lnTo>
                        <a:pt x="10" y="778"/>
                      </a:lnTo>
                      <a:lnTo>
                        <a:pt x="12" y="786"/>
                      </a:lnTo>
                      <a:lnTo>
                        <a:pt x="244" y="868"/>
                      </a:lnTo>
                      <a:lnTo>
                        <a:pt x="400" y="922"/>
                      </a:lnTo>
                      <a:lnTo>
                        <a:pt x="452" y="938"/>
                      </a:lnTo>
                      <a:lnTo>
                        <a:pt x="474" y="944"/>
                      </a:lnTo>
                      <a:lnTo>
                        <a:pt x="474" y="936"/>
                      </a:lnTo>
                      <a:lnTo>
                        <a:pt x="476" y="910"/>
                      </a:lnTo>
                      <a:lnTo>
                        <a:pt x="476" y="818"/>
                      </a:lnTo>
                      <a:lnTo>
                        <a:pt x="474" y="542"/>
                      </a:lnTo>
                      <a:lnTo>
                        <a:pt x="472" y="266"/>
                      </a:lnTo>
                      <a:lnTo>
                        <a:pt x="472" y="176"/>
                      </a:lnTo>
                      <a:lnTo>
                        <a:pt x="474" y="140"/>
                      </a:lnTo>
                      <a:lnTo>
                        <a:pt x="486" y="130"/>
                      </a:lnTo>
                      <a:lnTo>
                        <a:pt x="492" y="122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solidFill>
                  <a:srgbClr val="BF9F6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250" name="Freeform 228"/>
                <p:cNvSpPr>
                  <a:spLocks/>
                </p:cNvSpPr>
                <p:nvPr/>
              </p:nvSpPr>
              <p:spPr bwMode="auto">
                <a:xfrm>
                  <a:off x="13066713" y="2554288"/>
                  <a:ext cx="1784350" cy="1711325"/>
                </a:xfrm>
                <a:custGeom>
                  <a:avLst/>
                  <a:gdLst>
                    <a:gd name="T0" fmla="*/ 0 w 1124"/>
                    <a:gd name="T1" fmla="*/ 222250 h 1078"/>
                    <a:gd name="T2" fmla="*/ 0 w 1124"/>
                    <a:gd name="T3" fmla="*/ 222250 h 1078"/>
                    <a:gd name="T4" fmla="*/ 361950 w 1124"/>
                    <a:gd name="T5" fmla="*/ 317500 h 1078"/>
                    <a:gd name="T6" fmla="*/ 609600 w 1124"/>
                    <a:gd name="T7" fmla="*/ 387350 h 1078"/>
                    <a:gd name="T8" fmla="*/ 695325 w 1124"/>
                    <a:gd name="T9" fmla="*/ 412750 h 1078"/>
                    <a:gd name="T10" fmla="*/ 717550 w 1124"/>
                    <a:gd name="T11" fmla="*/ 419100 h 1078"/>
                    <a:gd name="T12" fmla="*/ 727075 w 1124"/>
                    <a:gd name="T13" fmla="*/ 425450 h 1078"/>
                    <a:gd name="T14" fmla="*/ 727075 w 1124"/>
                    <a:gd name="T15" fmla="*/ 425450 h 1078"/>
                    <a:gd name="T16" fmla="*/ 730250 w 1124"/>
                    <a:gd name="T17" fmla="*/ 485775 h 1078"/>
                    <a:gd name="T18" fmla="*/ 730250 w 1124"/>
                    <a:gd name="T19" fmla="*/ 631825 h 1078"/>
                    <a:gd name="T20" fmla="*/ 730250 w 1124"/>
                    <a:gd name="T21" fmla="*/ 1073150 h 1078"/>
                    <a:gd name="T22" fmla="*/ 727075 w 1124"/>
                    <a:gd name="T23" fmla="*/ 1511300 h 1078"/>
                    <a:gd name="T24" fmla="*/ 727075 w 1124"/>
                    <a:gd name="T25" fmla="*/ 1657350 h 1078"/>
                    <a:gd name="T26" fmla="*/ 730250 w 1124"/>
                    <a:gd name="T27" fmla="*/ 1711325 h 1078"/>
                    <a:gd name="T28" fmla="*/ 730250 w 1124"/>
                    <a:gd name="T29" fmla="*/ 1711325 h 1078"/>
                    <a:gd name="T30" fmla="*/ 777875 w 1124"/>
                    <a:gd name="T31" fmla="*/ 1701800 h 1078"/>
                    <a:gd name="T32" fmla="*/ 895350 w 1124"/>
                    <a:gd name="T33" fmla="*/ 1666875 h 1078"/>
                    <a:gd name="T34" fmla="*/ 1247775 w 1124"/>
                    <a:gd name="T35" fmla="*/ 1565275 h 1078"/>
                    <a:gd name="T36" fmla="*/ 1600200 w 1124"/>
                    <a:gd name="T37" fmla="*/ 1457325 h 1078"/>
                    <a:gd name="T38" fmla="*/ 1714500 w 1124"/>
                    <a:gd name="T39" fmla="*/ 1419225 h 1078"/>
                    <a:gd name="T40" fmla="*/ 1762125 w 1124"/>
                    <a:gd name="T41" fmla="*/ 1403350 h 1078"/>
                    <a:gd name="T42" fmla="*/ 1762125 w 1124"/>
                    <a:gd name="T43" fmla="*/ 1403350 h 1078"/>
                    <a:gd name="T44" fmla="*/ 1765300 w 1124"/>
                    <a:gd name="T45" fmla="*/ 1349375 h 1078"/>
                    <a:gd name="T46" fmla="*/ 1768475 w 1124"/>
                    <a:gd name="T47" fmla="*/ 1209675 h 1078"/>
                    <a:gd name="T48" fmla="*/ 1778000 w 1124"/>
                    <a:gd name="T49" fmla="*/ 790575 h 1078"/>
                    <a:gd name="T50" fmla="*/ 1784350 w 1124"/>
                    <a:gd name="T51" fmla="*/ 374650 h 1078"/>
                    <a:gd name="T52" fmla="*/ 1784350 w 1124"/>
                    <a:gd name="T53" fmla="*/ 234950 h 1078"/>
                    <a:gd name="T54" fmla="*/ 1781175 w 1124"/>
                    <a:gd name="T55" fmla="*/ 196850 h 1078"/>
                    <a:gd name="T56" fmla="*/ 1781175 w 1124"/>
                    <a:gd name="T57" fmla="*/ 180975 h 1078"/>
                    <a:gd name="T58" fmla="*/ 1781175 w 1124"/>
                    <a:gd name="T59" fmla="*/ 180975 h 1078"/>
                    <a:gd name="T60" fmla="*/ 1657350 w 1124"/>
                    <a:gd name="T61" fmla="*/ 149225 h 1078"/>
                    <a:gd name="T62" fmla="*/ 1403350 w 1124"/>
                    <a:gd name="T63" fmla="*/ 85725 h 1078"/>
                    <a:gd name="T64" fmla="*/ 1152525 w 1124"/>
                    <a:gd name="T65" fmla="*/ 25400 h 1078"/>
                    <a:gd name="T66" fmla="*/ 1035050 w 1124"/>
                    <a:gd name="T67" fmla="*/ 0 h 1078"/>
                    <a:gd name="T68" fmla="*/ 1035050 w 1124"/>
                    <a:gd name="T69" fmla="*/ 0 h 1078"/>
                    <a:gd name="T70" fmla="*/ 508000 w 1124"/>
                    <a:gd name="T71" fmla="*/ 104775 h 1078"/>
                    <a:gd name="T72" fmla="*/ 317500 w 1124"/>
                    <a:gd name="T73" fmla="*/ 142875 h 1078"/>
                    <a:gd name="T74" fmla="*/ 152400 w 1124"/>
                    <a:gd name="T75" fmla="*/ 180975 h 1078"/>
                    <a:gd name="T76" fmla="*/ 38100 w 1124"/>
                    <a:gd name="T77" fmla="*/ 206375 h 1078"/>
                    <a:gd name="T78" fmla="*/ 9525 w 1124"/>
                    <a:gd name="T79" fmla="*/ 215900 h 1078"/>
                    <a:gd name="T80" fmla="*/ 3175 w 1124"/>
                    <a:gd name="T81" fmla="*/ 222250 h 1078"/>
                    <a:gd name="T82" fmla="*/ 0 w 1124"/>
                    <a:gd name="T83" fmla="*/ 222250 h 1078"/>
                    <a:gd name="T84" fmla="*/ 0 w 1124"/>
                    <a:gd name="T85" fmla="*/ 222250 h 107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124"/>
                    <a:gd name="T130" fmla="*/ 0 h 1078"/>
                    <a:gd name="T131" fmla="*/ 1124 w 1124"/>
                    <a:gd name="T132" fmla="*/ 1078 h 107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124" h="1078">
                      <a:moveTo>
                        <a:pt x="0" y="140"/>
                      </a:moveTo>
                      <a:lnTo>
                        <a:pt x="0" y="140"/>
                      </a:lnTo>
                      <a:lnTo>
                        <a:pt x="228" y="200"/>
                      </a:lnTo>
                      <a:lnTo>
                        <a:pt x="384" y="244"/>
                      </a:lnTo>
                      <a:lnTo>
                        <a:pt x="438" y="260"/>
                      </a:lnTo>
                      <a:lnTo>
                        <a:pt x="452" y="264"/>
                      </a:lnTo>
                      <a:lnTo>
                        <a:pt x="458" y="268"/>
                      </a:lnTo>
                      <a:lnTo>
                        <a:pt x="460" y="306"/>
                      </a:lnTo>
                      <a:lnTo>
                        <a:pt x="460" y="398"/>
                      </a:lnTo>
                      <a:lnTo>
                        <a:pt x="460" y="676"/>
                      </a:lnTo>
                      <a:lnTo>
                        <a:pt x="458" y="952"/>
                      </a:lnTo>
                      <a:lnTo>
                        <a:pt x="458" y="1044"/>
                      </a:lnTo>
                      <a:lnTo>
                        <a:pt x="460" y="1078"/>
                      </a:lnTo>
                      <a:lnTo>
                        <a:pt x="490" y="1072"/>
                      </a:lnTo>
                      <a:lnTo>
                        <a:pt x="564" y="1050"/>
                      </a:lnTo>
                      <a:lnTo>
                        <a:pt x="786" y="986"/>
                      </a:lnTo>
                      <a:lnTo>
                        <a:pt x="1008" y="918"/>
                      </a:lnTo>
                      <a:lnTo>
                        <a:pt x="1080" y="894"/>
                      </a:lnTo>
                      <a:lnTo>
                        <a:pt x="1110" y="884"/>
                      </a:lnTo>
                      <a:lnTo>
                        <a:pt x="1112" y="850"/>
                      </a:lnTo>
                      <a:lnTo>
                        <a:pt x="1114" y="762"/>
                      </a:lnTo>
                      <a:lnTo>
                        <a:pt x="1120" y="498"/>
                      </a:lnTo>
                      <a:lnTo>
                        <a:pt x="1124" y="236"/>
                      </a:lnTo>
                      <a:lnTo>
                        <a:pt x="1124" y="148"/>
                      </a:lnTo>
                      <a:lnTo>
                        <a:pt x="1122" y="124"/>
                      </a:lnTo>
                      <a:lnTo>
                        <a:pt x="1122" y="114"/>
                      </a:lnTo>
                      <a:lnTo>
                        <a:pt x="1044" y="94"/>
                      </a:lnTo>
                      <a:lnTo>
                        <a:pt x="884" y="54"/>
                      </a:lnTo>
                      <a:lnTo>
                        <a:pt x="726" y="16"/>
                      </a:lnTo>
                      <a:lnTo>
                        <a:pt x="652" y="0"/>
                      </a:lnTo>
                      <a:lnTo>
                        <a:pt x="320" y="66"/>
                      </a:lnTo>
                      <a:lnTo>
                        <a:pt x="200" y="90"/>
                      </a:lnTo>
                      <a:lnTo>
                        <a:pt x="96" y="114"/>
                      </a:lnTo>
                      <a:lnTo>
                        <a:pt x="24" y="130"/>
                      </a:lnTo>
                      <a:lnTo>
                        <a:pt x="6" y="136"/>
                      </a:lnTo>
                      <a:lnTo>
                        <a:pt x="2" y="140"/>
                      </a:lnTo>
                      <a:lnTo>
                        <a:pt x="0" y="140"/>
                      </a:lnTo>
                      <a:close/>
                    </a:path>
                  </a:pathLst>
                </a:custGeom>
                <a:solidFill>
                  <a:srgbClr val="CBB48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251" name="Freeform 229"/>
                <p:cNvSpPr>
                  <a:spLocks/>
                </p:cNvSpPr>
                <p:nvPr/>
              </p:nvSpPr>
              <p:spPr bwMode="auto">
                <a:xfrm>
                  <a:off x="13603288" y="2906713"/>
                  <a:ext cx="212725" cy="82550"/>
                </a:xfrm>
                <a:custGeom>
                  <a:avLst/>
                  <a:gdLst>
                    <a:gd name="T0" fmla="*/ 19050 w 134"/>
                    <a:gd name="T1" fmla="*/ 0 h 52"/>
                    <a:gd name="T2" fmla="*/ 19050 w 134"/>
                    <a:gd name="T3" fmla="*/ 0 h 52"/>
                    <a:gd name="T4" fmla="*/ 0 w 134"/>
                    <a:gd name="T5" fmla="*/ 9525 h 52"/>
                    <a:gd name="T6" fmla="*/ 0 w 134"/>
                    <a:gd name="T7" fmla="*/ 9525 h 52"/>
                    <a:gd name="T8" fmla="*/ 120650 w 134"/>
                    <a:gd name="T9" fmla="*/ 47625 h 52"/>
                    <a:gd name="T10" fmla="*/ 187325 w 134"/>
                    <a:gd name="T11" fmla="*/ 63500 h 52"/>
                    <a:gd name="T12" fmla="*/ 187325 w 134"/>
                    <a:gd name="T13" fmla="*/ 63500 h 52"/>
                    <a:gd name="T14" fmla="*/ 196850 w 134"/>
                    <a:gd name="T15" fmla="*/ 66675 h 52"/>
                    <a:gd name="T16" fmla="*/ 200025 w 134"/>
                    <a:gd name="T17" fmla="*/ 73025 h 52"/>
                    <a:gd name="T18" fmla="*/ 196850 w 134"/>
                    <a:gd name="T19" fmla="*/ 82550 h 52"/>
                    <a:gd name="T20" fmla="*/ 196850 w 134"/>
                    <a:gd name="T21" fmla="*/ 82550 h 52"/>
                    <a:gd name="T22" fmla="*/ 206375 w 134"/>
                    <a:gd name="T23" fmla="*/ 79375 h 52"/>
                    <a:gd name="T24" fmla="*/ 212725 w 134"/>
                    <a:gd name="T25" fmla="*/ 73025 h 52"/>
                    <a:gd name="T26" fmla="*/ 212725 w 134"/>
                    <a:gd name="T27" fmla="*/ 66675 h 52"/>
                    <a:gd name="T28" fmla="*/ 212725 w 134"/>
                    <a:gd name="T29" fmla="*/ 66675 h 52"/>
                    <a:gd name="T30" fmla="*/ 196850 w 134"/>
                    <a:gd name="T31" fmla="*/ 57150 h 52"/>
                    <a:gd name="T32" fmla="*/ 152400 w 134"/>
                    <a:gd name="T33" fmla="*/ 41275 h 52"/>
                    <a:gd name="T34" fmla="*/ 19050 w 134"/>
                    <a:gd name="T35" fmla="*/ 0 h 52"/>
                    <a:gd name="T36" fmla="*/ 19050 w 134"/>
                    <a:gd name="T37" fmla="*/ 0 h 52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34"/>
                    <a:gd name="T58" fmla="*/ 0 h 52"/>
                    <a:gd name="T59" fmla="*/ 134 w 134"/>
                    <a:gd name="T60" fmla="*/ 52 h 52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34" h="52">
                      <a:moveTo>
                        <a:pt x="12" y="0"/>
                      </a:moveTo>
                      <a:lnTo>
                        <a:pt x="12" y="0"/>
                      </a:lnTo>
                      <a:lnTo>
                        <a:pt x="0" y="6"/>
                      </a:lnTo>
                      <a:lnTo>
                        <a:pt x="76" y="30"/>
                      </a:lnTo>
                      <a:lnTo>
                        <a:pt x="118" y="40"/>
                      </a:lnTo>
                      <a:lnTo>
                        <a:pt x="124" y="42"/>
                      </a:lnTo>
                      <a:lnTo>
                        <a:pt x="126" y="46"/>
                      </a:lnTo>
                      <a:lnTo>
                        <a:pt x="124" y="52"/>
                      </a:lnTo>
                      <a:lnTo>
                        <a:pt x="130" y="50"/>
                      </a:lnTo>
                      <a:lnTo>
                        <a:pt x="134" y="46"/>
                      </a:lnTo>
                      <a:lnTo>
                        <a:pt x="134" y="42"/>
                      </a:lnTo>
                      <a:lnTo>
                        <a:pt x="124" y="36"/>
                      </a:lnTo>
                      <a:lnTo>
                        <a:pt x="96" y="26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AF876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252" name="Freeform 230"/>
                <p:cNvSpPr>
                  <a:spLocks/>
                </p:cNvSpPr>
                <p:nvPr/>
              </p:nvSpPr>
              <p:spPr bwMode="auto">
                <a:xfrm>
                  <a:off x="13054013" y="2767013"/>
                  <a:ext cx="228600" cy="60325"/>
                </a:xfrm>
                <a:custGeom>
                  <a:avLst/>
                  <a:gdLst>
                    <a:gd name="T0" fmla="*/ 228600 w 144"/>
                    <a:gd name="T1" fmla="*/ 50800 h 38"/>
                    <a:gd name="T2" fmla="*/ 228600 w 144"/>
                    <a:gd name="T3" fmla="*/ 50800 h 38"/>
                    <a:gd name="T4" fmla="*/ 34925 w 144"/>
                    <a:gd name="T5" fmla="*/ 0 h 38"/>
                    <a:gd name="T6" fmla="*/ 34925 w 144"/>
                    <a:gd name="T7" fmla="*/ 0 h 38"/>
                    <a:gd name="T8" fmla="*/ 25400 w 144"/>
                    <a:gd name="T9" fmla="*/ 0 h 38"/>
                    <a:gd name="T10" fmla="*/ 19050 w 144"/>
                    <a:gd name="T11" fmla="*/ 3175 h 38"/>
                    <a:gd name="T12" fmla="*/ 6350 w 144"/>
                    <a:gd name="T13" fmla="*/ 9525 h 38"/>
                    <a:gd name="T14" fmla="*/ 0 w 144"/>
                    <a:gd name="T15" fmla="*/ 19050 h 38"/>
                    <a:gd name="T16" fmla="*/ 0 w 144"/>
                    <a:gd name="T17" fmla="*/ 22225 h 38"/>
                    <a:gd name="T18" fmla="*/ 15875 w 144"/>
                    <a:gd name="T19" fmla="*/ 9525 h 38"/>
                    <a:gd name="T20" fmla="*/ 15875 w 144"/>
                    <a:gd name="T21" fmla="*/ 9525 h 38"/>
                    <a:gd name="T22" fmla="*/ 25400 w 144"/>
                    <a:gd name="T23" fmla="*/ 9525 h 38"/>
                    <a:gd name="T24" fmla="*/ 38100 w 144"/>
                    <a:gd name="T25" fmla="*/ 12700 h 38"/>
                    <a:gd name="T26" fmla="*/ 107950 w 144"/>
                    <a:gd name="T27" fmla="*/ 31750 h 38"/>
                    <a:gd name="T28" fmla="*/ 107950 w 144"/>
                    <a:gd name="T29" fmla="*/ 31750 h 38"/>
                    <a:gd name="T30" fmla="*/ 219075 w 144"/>
                    <a:gd name="T31" fmla="*/ 60325 h 38"/>
                    <a:gd name="T32" fmla="*/ 219075 w 144"/>
                    <a:gd name="T33" fmla="*/ 60325 h 38"/>
                    <a:gd name="T34" fmla="*/ 228600 w 144"/>
                    <a:gd name="T35" fmla="*/ 50800 h 38"/>
                    <a:gd name="T36" fmla="*/ 228600 w 144"/>
                    <a:gd name="T37" fmla="*/ 50800 h 3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44"/>
                    <a:gd name="T58" fmla="*/ 0 h 38"/>
                    <a:gd name="T59" fmla="*/ 144 w 144"/>
                    <a:gd name="T60" fmla="*/ 38 h 3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44" h="38">
                      <a:moveTo>
                        <a:pt x="144" y="32"/>
                      </a:moveTo>
                      <a:lnTo>
                        <a:pt x="144" y="32"/>
                      </a:lnTo>
                      <a:lnTo>
                        <a:pt x="22" y="0"/>
                      </a:lnTo>
                      <a:lnTo>
                        <a:pt x="16" y="0"/>
                      </a:lnTo>
                      <a:lnTo>
                        <a:pt x="12" y="2"/>
                      </a:lnTo>
                      <a:lnTo>
                        <a:pt x="4" y="6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10" y="6"/>
                      </a:lnTo>
                      <a:lnTo>
                        <a:pt x="16" y="6"/>
                      </a:lnTo>
                      <a:lnTo>
                        <a:pt x="24" y="8"/>
                      </a:lnTo>
                      <a:lnTo>
                        <a:pt x="68" y="20"/>
                      </a:lnTo>
                      <a:lnTo>
                        <a:pt x="138" y="38"/>
                      </a:lnTo>
                      <a:lnTo>
                        <a:pt x="144" y="32"/>
                      </a:lnTo>
                      <a:close/>
                    </a:path>
                  </a:pathLst>
                </a:custGeom>
                <a:solidFill>
                  <a:srgbClr val="AF876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253" name="Freeform 231"/>
                <p:cNvSpPr>
                  <a:spLocks/>
                </p:cNvSpPr>
                <p:nvPr/>
              </p:nvSpPr>
              <p:spPr bwMode="auto">
                <a:xfrm>
                  <a:off x="13282613" y="2595563"/>
                  <a:ext cx="1352550" cy="311150"/>
                </a:xfrm>
                <a:custGeom>
                  <a:avLst/>
                  <a:gdLst>
                    <a:gd name="T0" fmla="*/ 149225 w 852"/>
                    <a:gd name="T1" fmla="*/ 254000 h 196"/>
                    <a:gd name="T2" fmla="*/ 149225 w 852"/>
                    <a:gd name="T3" fmla="*/ 254000 h 196"/>
                    <a:gd name="T4" fmla="*/ 1133475 w 852"/>
                    <a:gd name="T5" fmla="*/ 41275 h 196"/>
                    <a:gd name="T6" fmla="*/ 1152525 w 852"/>
                    <a:gd name="T7" fmla="*/ 44450 h 196"/>
                    <a:gd name="T8" fmla="*/ 1152525 w 852"/>
                    <a:gd name="T9" fmla="*/ 44450 h 196"/>
                    <a:gd name="T10" fmla="*/ 654050 w 852"/>
                    <a:gd name="T11" fmla="*/ 152400 h 196"/>
                    <a:gd name="T12" fmla="*/ 314325 w 852"/>
                    <a:gd name="T13" fmla="*/ 225425 h 196"/>
                    <a:gd name="T14" fmla="*/ 206375 w 852"/>
                    <a:gd name="T15" fmla="*/ 250825 h 196"/>
                    <a:gd name="T16" fmla="*/ 177800 w 852"/>
                    <a:gd name="T17" fmla="*/ 260350 h 196"/>
                    <a:gd name="T18" fmla="*/ 171450 w 852"/>
                    <a:gd name="T19" fmla="*/ 263525 h 196"/>
                    <a:gd name="T20" fmla="*/ 171450 w 852"/>
                    <a:gd name="T21" fmla="*/ 263525 h 196"/>
                    <a:gd name="T22" fmla="*/ 339725 w 852"/>
                    <a:gd name="T23" fmla="*/ 311150 h 196"/>
                    <a:gd name="T24" fmla="*/ 342900 w 852"/>
                    <a:gd name="T25" fmla="*/ 311150 h 196"/>
                    <a:gd name="T26" fmla="*/ 342900 w 852"/>
                    <a:gd name="T27" fmla="*/ 311150 h 196"/>
                    <a:gd name="T28" fmla="*/ 850900 w 852"/>
                    <a:gd name="T29" fmla="*/ 196850 h 196"/>
                    <a:gd name="T30" fmla="*/ 1352550 w 852"/>
                    <a:gd name="T31" fmla="*/ 82550 h 196"/>
                    <a:gd name="T32" fmla="*/ 1012825 w 852"/>
                    <a:gd name="T33" fmla="*/ 0 h 196"/>
                    <a:gd name="T34" fmla="*/ 1012825 w 852"/>
                    <a:gd name="T35" fmla="*/ 0 h 196"/>
                    <a:gd name="T36" fmla="*/ 514350 w 852"/>
                    <a:gd name="T37" fmla="*/ 104775 h 196"/>
                    <a:gd name="T38" fmla="*/ 168275 w 852"/>
                    <a:gd name="T39" fmla="*/ 177800 h 196"/>
                    <a:gd name="T40" fmla="*/ 53975 w 852"/>
                    <a:gd name="T41" fmla="*/ 203200 h 196"/>
                    <a:gd name="T42" fmla="*/ 6350 w 852"/>
                    <a:gd name="T43" fmla="*/ 215900 h 196"/>
                    <a:gd name="T44" fmla="*/ 6350 w 852"/>
                    <a:gd name="T45" fmla="*/ 215900 h 196"/>
                    <a:gd name="T46" fmla="*/ 0 w 852"/>
                    <a:gd name="T47" fmla="*/ 222250 h 196"/>
                    <a:gd name="T48" fmla="*/ 0 w 852"/>
                    <a:gd name="T49" fmla="*/ 222250 h 196"/>
                    <a:gd name="T50" fmla="*/ 101600 w 852"/>
                    <a:gd name="T51" fmla="*/ 244475 h 196"/>
                    <a:gd name="T52" fmla="*/ 149225 w 852"/>
                    <a:gd name="T53" fmla="*/ 254000 h 196"/>
                    <a:gd name="T54" fmla="*/ 149225 w 852"/>
                    <a:gd name="T55" fmla="*/ 254000 h 19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852"/>
                    <a:gd name="T85" fmla="*/ 0 h 196"/>
                    <a:gd name="T86" fmla="*/ 852 w 852"/>
                    <a:gd name="T87" fmla="*/ 196 h 196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852" h="196">
                      <a:moveTo>
                        <a:pt x="94" y="160"/>
                      </a:moveTo>
                      <a:lnTo>
                        <a:pt x="94" y="160"/>
                      </a:lnTo>
                      <a:lnTo>
                        <a:pt x="714" y="26"/>
                      </a:lnTo>
                      <a:lnTo>
                        <a:pt x="726" y="28"/>
                      </a:lnTo>
                      <a:lnTo>
                        <a:pt x="412" y="96"/>
                      </a:lnTo>
                      <a:lnTo>
                        <a:pt x="198" y="142"/>
                      </a:lnTo>
                      <a:lnTo>
                        <a:pt x="130" y="158"/>
                      </a:lnTo>
                      <a:lnTo>
                        <a:pt x="112" y="164"/>
                      </a:lnTo>
                      <a:lnTo>
                        <a:pt x="108" y="166"/>
                      </a:lnTo>
                      <a:lnTo>
                        <a:pt x="214" y="196"/>
                      </a:lnTo>
                      <a:lnTo>
                        <a:pt x="216" y="196"/>
                      </a:lnTo>
                      <a:lnTo>
                        <a:pt x="536" y="124"/>
                      </a:lnTo>
                      <a:lnTo>
                        <a:pt x="852" y="52"/>
                      </a:lnTo>
                      <a:lnTo>
                        <a:pt x="638" y="0"/>
                      </a:lnTo>
                      <a:lnTo>
                        <a:pt x="324" y="66"/>
                      </a:lnTo>
                      <a:lnTo>
                        <a:pt x="106" y="112"/>
                      </a:lnTo>
                      <a:lnTo>
                        <a:pt x="34" y="128"/>
                      </a:lnTo>
                      <a:lnTo>
                        <a:pt x="4" y="136"/>
                      </a:lnTo>
                      <a:lnTo>
                        <a:pt x="0" y="140"/>
                      </a:lnTo>
                      <a:lnTo>
                        <a:pt x="64" y="154"/>
                      </a:lnTo>
                      <a:lnTo>
                        <a:pt x="94" y="160"/>
                      </a:lnTo>
                      <a:close/>
                    </a:path>
                  </a:pathLst>
                </a:custGeom>
                <a:solidFill>
                  <a:srgbClr val="AF876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254" name="Freeform 232"/>
                <p:cNvSpPr>
                  <a:spLocks/>
                </p:cNvSpPr>
                <p:nvPr/>
              </p:nvSpPr>
              <p:spPr bwMode="auto">
                <a:xfrm>
                  <a:off x="13254038" y="2827338"/>
                  <a:ext cx="349250" cy="473075"/>
                </a:xfrm>
                <a:custGeom>
                  <a:avLst/>
                  <a:gdLst>
                    <a:gd name="T0" fmla="*/ 187325 w 220"/>
                    <a:gd name="T1" fmla="*/ 31750 h 298"/>
                    <a:gd name="T2" fmla="*/ 187325 w 220"/>
                    <a:gd name="T3" fmla="*/ 31750 h 298"/>
                    <a:gd name="T4" fmla="*/ 187325 w 220"/>
                    <a:gd name="T5" fmla="*/ 31750 h 298"/>
                    <a:gd name="T6" fmla="*/ 180975 w 220"/>
                    <a:gd name="T7" fmla="*/ 34925 h 298"/>
                    <a:gd name="T8" fmla="*/ 168275 w 220"/>
                    <a:gd name="T9" fmla="*/ 38100 h 298"/>
                    <a:gd name="T10" fmla="*/ 155575 w 220"/>
                    <a:gd name="T11" fmla="*/ 34925 h 298"/>
                    <a:gd name="T12" fmla="*/ 155575 w 220"/>
                    <a:gd name="T13" fmla="*/ 34925 h 298"/>
                    <a:gd name="T14" fmla="*/ 104775 w 220"/>
                    <a:gd name="T15" fmla="*/ 22225 h 298"/>
                    <a:gd name="T16" fmla="*/ 19050 w 220"/>
                    <a:gd name="T17" fmla="*/ 0 h 298"/>
                    <a:gd name="T18" fmla="*/ 19050 w 220"/>
                    <a:gd name="T19" fmla="*/ 0 h 298"/>
                    <a:gd name="T20" fmla="*/ 9525 w 220"/>
                    <a:gd name="T21" fmla="*/ 12700 h 298"/>
                    <a:gd name="T22" fmla="*/ 6350 w 220"/>
                    <a:gd name="T23" fmla="*/ 19050 h 298"/>
                    <a:gd name="T24" fmla="*/ 6350 w 220"/>
                    <a:gd name="T25" fmla="*/ 25400 h 298"/>
                    <a:gd name="T26" fmla="*/ 6350 w 220"/>
                    <a:gd name="T27" fmla="*/ 25400 h 298"/>
                    <a:gd name="T28" fmla="*/ 0 w 220"/>
                    <a:gd name="T29" fmla="*/ 371475 h 298"/>
                    <a:gd name="T30" fmla="*/ 330200 w 220"/>
                    <a:gd name="T31" fmla="*/ 473075 h 298"/>
                    <a:gd name="T32" fmla="*/ 330200 w 220"/>
                    <a:gd name="T33" fmla="*/ 473075 h 298"/>
                    <a:gd name="T34" fmla="*/ 330200 w 220"/>
                    <a:gd name="T35" fmla="*/ 292100 h 298"/>
                    <a:gd name="T36" fmla="*/ 333375 w 220"/>
                    <a:gd name="T37" fmla="*/ 165100 h 298"/>
                    <a:gd name="T38" fmla="*/ 333375 w 220"/>
                    <a:gd name="T39" fmla="*/ 120650 h 298"/>
                    <a:gd name="T40" fmla="*/ 336550 w 220"/>
                    <a:gd name="T41" fmla="*/ 101600 h 298"/>
                    <a:gd name="T42" fmla="*/ 336550 w 220"/>
                    <a:gd name="T43" fmla="*/ 101600 h 298"/>
                    <a:gd name="T44" fmla="*/ 349250 w 220"/>
                    <a:gd name="T45" fmla="*/ 88900 h 298"/>
                    <a:gd name="T46" fmla="*/ 349250 w 220"/>
                    <a:gd name="T47" fmla="*/ 88900 h 298"/>
                    <a:gd name="T48" fmla="*/ 254000 w 220"/>
                    <a:gd name="T49" fmla="*/ 60325 h 298"/>
                    <a:gd name="T50" fmla="*/ 209550 w 220"/>
                    <a:gd name="T51" fmla="*/ 44450 h 298"/>
                    <a:gd name="T52" fmla="*/ 209550 w 220"/>
                    <a:gd name="T53" fmla="*/ 44450 h 298"/>
                    <a:gd name="T54" fmla="*/ 187325 w 220"/>
                    <a:gd name="T55" fmla="*/ 31750 h 298"/>
                    <a:gd name="T56" fmla="*/ 187325 w 220"/>
                    <a:gd name="T57" fmla="*/ 31750 h 29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0"/>
                    <a:gd name="T88" fmla="*/ 0 h 298"/>
                    <a:gd name="T89" fmla="*/ 220 w 220"/>
                    <a:gd name="T90" fmla="*/ 298 h 29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0" h="298">
                      <a:moveTo>
                        <a:pt x="118" y="20"/>
                      </a:moveTo>
                      <a:lnTo>
                        <a:pt x="118" y="20"/>
                      </a:lnTo>
                      <a:lnTo>
                        <a:pt x="114" y="22"/>
                      </a:lnTo>
                      <a:lnTo>
                        <a:pt x="106" y="24"/>
                      </a:lnTo>
                      <a:lnTo>
                        <a:pt x="98" y="22"/>
                      </a:lnTo>
                      <a:lnTo>
                        <a:pt x="66" y="14"/>
                      </a:lnTo>
                      <a:lnTo>
                        <a:pt x="12" y="0"/>
                      </a:lnTo>
                      <a:lnTo>
                        <a:pt x="6" y="8"/>
                      </a:lnTo>
                      <a:lnTo>
                        <a:pt x="4" y="12"/>
                      </a:lnTo>
                      <a:lnTo>
                        <a:pt x="4" y="16"/>
                      </a:lnTo>
                      <a:lnTo>
                        <a:pt x="0" y="234"/>
                      </a:lnTo>
                      <a:lnTo>
                        <a:pt x="208" y="298"/>
                      </a:lnTo>
                      <a:lnTo>
                        <a:pt x="208" y="184"/>
                      </a:lnTo>
                      <a:lnTo>
                        <a:pt x="210" y="104"/>
                      </a:lnTo>
                      <a:lnTo>
                        <a:pt x="210" y="76"/>
                      </a:lnTo>
                      <a:lnTo>
                        <a:pt x="212" y="64"/>
                      </a:lnTo>
                      <a:lnTo>
                        <a:pt x="220" y="56"/>
                      </a:lnTo>
                      <a:lnTo>
                        <a:pt x="160" y="38"/>
                      </a:lnTo>
                      <a:lnTo>
                        <a:pt x="132" y="28"/>
                      </a:lnTo>
                      <a:lnTo>
                        <a:pt x="118" y="20"/>
                      </a:lnTo>
                      <a:close/>
                    </a:path>
                  </a:pathLst>
                </a:custGeom>
                <a:solidFill>
                  <a:srgbClr val="AF876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255" name="Freeform 233"/>
                <p:cNvSpPr>
                  <a:spLocks/>
                </p:cNvSpPr>
                <p:nvPr/>
              </p:nvSpPr>
              <p:spPr bwMode="auto">
                <a:xfrm>
                  <a:off x="13273088" y="2630488"/>
                  <a:ext cx="1177925" cy="285750"/>
                </a:xfrm>
                <a:custGeom>
                  <a:avLst/>
                  <a:gdLst>
                    <a:gd name="T0" fmla="*/ 180975 w 742"/>
                    <a:gd name="T1" fmla="*/ 228600 h 180"/>
                    <a:gd name="T2" fmla="*/ 180975 w 742"/>
                    <a:gd name="T3" fmla="*/ 228600 h 180"/>
                    <a:gd name="T4" fmla="*/ 187325 w 742"/>
                    <a:gd name="T5" fmla="*/ 225425 h 180"/>
                    <a:gd name="T6" fmla="*/ 215900 w 742"/>
                    <a:gd name="T7" fmla="*/ 215900 h 180"/>
                    <a:gd name="T8" fmla="*/ 327025 w 742"/>
                    <a:gd name="T9" fmla="*/ 190500 h 180"/>
                    <a:gd name="T10" fmla="*/ 669925 w 742"/>
                    <a:gd name="T11" fmla="*/ 114300 h 180"/>
                    <a:gd name="T12" fmla="*/ 1177925 w 742"/>
                    <a:gd name="T13" fmla="*/ 6350 h 180"/>
                    <a:gd name="T14" fmla="*/ 1162050 w 742"/>
                    <a:gd name="T15" fmla="*/ 0 h 180"/>
                    <a:gd name="T16" fmla="*/ 1162050 w 742"/>
                    <a:gd name="T17" fmla="*/ 0 h 180"/>
                    <a:gd name="T18" fmla="*/ 158750 w 742"/>
                    <a:gd name="T19" fmla="*/ 219075 h 180"/>
                    <a:gd name="T20" fmla="*/ 158750 w 742"/>
                    <a:gd name="T21" fmla="*/ 219075 h 180"/>
                    <a:gd name="T22" fmla="*/ 111125 w 742"/>
                    <a:gd name="T23" fmla="*/ 209550 h 180"/>
                    <a:gd name="T24" fmla="*/ 9525 w 742"/>
                    <a:gd name="T25" fmla="*/ 187325 h 180"/>
                    <a:gd name="T26" fmla="*/ 9525 w 742"/>
                    <a:gd name="T27" fmla="*/ 187325 h 180"/>
                    <a:gd name="T28" fmla="*/ 0 w 742"/>
                    <a:gd name="T29" fmla="*/ 196850 h 180"/>
                    <a:gd name="T30" fmla="*/ 0 w 742"/>
                    <a:gd name="T31" fmla="*/ 196850 h 180"/>
                    <a:gd name="T32" fmla="*/ 85725 w 742"/>
                    <a:gd name="T33" fmla="*/ 219075 h 180"/>
                    <a:gd name="T34" fmla="*/ 136525 w 742"/>
                    <a:gd name="T35" fmla="*/ 231775 h 180"/>
                    <a:gd name="T36" fmla="*/ 136525 w 742"/>
                    <a:gd name="T37" fmla="*/ 231775 h 180"/>
                    <a:gd name="T38" fmla="*/ 149225 w 742"/>
                    <a:gd name="T39" fmla="*/ 234950 h 180"/>
                    <a:gd name="T40" fmla="*/ 161925 w 742"/>
                    <a:gd name="T41" fmla="*/ 231775 h 180"/>
                    <a:gd name="T42" fmla="*/ 168275 w 742"/>
                    <a:gd name="T43" fmla="*/ 228600 h 180"/>
                    <a:gd name="T44" fmla="*/ 168275 w 742"/>
                    <a:gd name="T45" fmla="*/ 228600 h 180"/>
                    <a:gd name="T46" fmla="*/ 168275 w 742"/>
                    <a:gd name="T47" fmla="*/ 228600 h 180"/>
                    <a:gd name="T48" fmla="*/ 190500 w 742"/>
                    <a:gd name="T49" fmla="*/ 241300 h 180"/>
                    <a:gd name="T50" fmla="*/ 190500 w 742"/>
                    <a:gd name="T51" fmla="*/ 241300 h 180"/>
                    <a:gd name="T52" fmla="*/ 234950 w 742"/>
                    <a:gd name="T53" fmla="*/ 257175 h 180"/>
                    <a:gd name="T54" fmla="*/ 330200 w 742"/>
                    <a:gd name="T55" fmla="*/ 285750 h 180"/>
                    <a:gd name="T56" fmla="*/ 330200 w 742"/>
                    <a:gd name="T57" fmla="*/ 285750 h 180"/>
                    <a:gd name="T58" fmla="*/ 349250 w 742"/>
                    <a:gd name="T59" fmla="*/ 276225 h 180"/>
                    <a:gd name="T60" fmla="*/ 349250 w 742"/>
                    <a:gd name="T61" fmla="*/ 276225 h 180"/>
                    <a:gd name="T62" fmla="*/ 180975 w 742"/>
                    <a:gd name="T63" fmla="*/ 228600 h 180"/>
                    <a:gd name="T64" fmla="*/ 180975 w 742"/>
                    <a:gd name="T65" fmla="*/ 228600 h 180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742"/>
                    <a:gd name="T100" fmla="*/ 0 h 180"/>
                    <a:gd name="T101" fmla="*/ 742 w 742"/>
                    <a:gd name="T102" fmla="*/ 180 h 180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742" h="180">
                      <a:moveTo>
                        <a:pt x="114" y="144"/>
                      </a:moveTo>
                      <a:lnTo>
                        <a:pt x="114" y="144"/>
                      </a:lnTo>
                      <a:lnTo>
                        <a:pt x="118" y="142"/>
                      </a:lnTo>
                      <a:lnTo>
                        <a:pt x="136" y="136"/>
                      </a:lnTo>
                      <a:lnTo>
                        <a:pt x="206" y="120"/>
                      </a:lnTo>
                      <a:lnTo>
                        <a:pt x="422" y="72"/>
                      </a:lnTo>
                      <a:lnTo>
                        <a:pt x="742" y="4"/>
                      </a:lnTo>
                      <a:lnTo>
                        <a:pt x="732" y="0"/>
                      </a:lnTo>
                      <a:lnTo>
                        <a:pt x="100" y="138"/>
                      </a:lnTo>
                      <a:lnTo>
                        <a:pt x="70" y="132"/>
                      </a:lnTo>
                      <a:lnTo>
                        <a:pt x="6" y="118"/>
                      </a:lnTo>
                      <a:lnTo>
                        <a:pt x="0" y="124"/>
                      </a:lnTo>
                      <a:lnTo>
                        <a:pt x="54" y="138"/>
                      </a:lnTo>
                      <a:lnTo>
                        <a:pt x="86" y="146"/>
                      </a:lnTo>
                      <a:lnTo>
                        <a:pt x="94" y="148"/>
                      </a:lnTo>
                      <a:lnTo>
                        <a:pt x="102" y="146"/>
                      </a:lnTo>
                      <a:lnTo>
                        <a:pt x="106" y="144"/>
                      </a:lnTo>
                      <a:lnTo>
                        <a:pt x="120" y="152"/>
                      </a:lnTo>
                      <a:lnTo>
                        <a:pt x="148" y="162"/>
                      </a:lnTo>
                      <a:lnTo>
                        <a:pt x="208" y="180"/>
                      </a:lnTo>
                      <a:lnTo>
                        <a:pt x="220" y="174"/>
                      </a:lnTo>
                      <a:lnTo>
                        <a:pt x="114" y="144"/>
                      </a:lnTo>
                      <a:close/>
                    </a:path>
                  </a:pathLst>
                </a:custGeom>
                <a:solidFill>
                  <a:srgbClr val="AF876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256" name="Freeform 234"/>
                <p:cNvSpPr>
                  <a:spLocks/>
                </p:cNvSpPr>
                <p:nvPr/>
              </p:nvSpPr>
              <p:spPr bwMode="auto">
                <a:xfrm>
                  <a:off x="13225463" y="3541713"/>
                  <a:ext cx="327025" cy="644525"/>
                </a:xfrm>
                <a:custGeom>
                  <a:avLst/>
                  <a:gdLst>
                    <a:gd name="T0" fmla="*/ 323850 w 206"/>
                    <a:gd name="T1" fmla="*/ 95250 h 406"/>
                    <a:gd name="T2" fmla="*/ 3175 w 206"/>
                    <a:gd name="T3" fmla="*/ 0 h 406"/>
                    <a:gd name="T4" fmla="*/ 3175 w 206"/>
                    <a:gd name="T5" fmla="*/ 0 h 406"/>
                    <a:gd name="T6" fmla="*/ 0 w 206"/>
                    <a:gd name="T7" fmla="*/ 257175 h 406"/>
                    <a:gd name="T8" fmla="*/ 0 w 206"/>
                    <a:gd name="T9" fmla="*/ 527050 h 406"/>
                    <a:gd name="T10" fmla="*/ 0 w 206"/>
                    <a:gd name="T11" fmla="*/ 527050 h 406"/>
                    <a:gd name="T12" fmla="*/ 15875 w 206"/>
                    <a:gd name="T13" fmla="*/ 533400 h 406"/>
                    <a:gd name="T14" fmla="*/ 50800 w 206"/>
                    <a:gd name="T15" fmla="*/ 549275 h 406"/>
                    <a:gd name="T16" fmla="*/ 165100 w 206"/>
                    <a:gd name="T17" fmla="*/ 590550 h 406"/>
                    <a:gd name="T18" fmla="*/ 327025 w 206"/>
                    <a:gd name="T19" fmla="*/ 644525 h 406"/>
                    <a:gd name="T20" fmla="*/ 323850 w 206"/>
                    <a:gd name="T21" fmla="*/ 95250 h 40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06"/>
                    <a:gd name="T34" fmla="*/ 0 h 406"/>
                    <a:gd name="T35" fmla="*/ 206 w 206"/>
                    <a:gd name="T36" fmla="*/ 406 h 40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06" h="406">
                      <a:moveTo>
                        <a:pt x="204" y="60"/>
                      </a:moveTo>
                      <a:lnTo>
                        <a:pt x="2" y="0"/>
                      </a:lnTo>
                      <a:lnTo>
                        <a:pt x="0" y="162"/>
                      </a:lnTo>
                      <a:lnTo>
                        <a:pt x="0" y="332"/>
                      </a:lnTo>
                      <a:lnTo>
                        <a:pt x="10" y="336"/>
                      </a:lnTo>
                      <a:lnTo>
                        <a:pt x="32" y="346"/>
                      </a:lnTo>
                      <a:lnTo>
                        <a:pt x="104" y="372"/>
                      </a:lnTo>
                      <a:lnTo>
                        <a:pt x="206" y="406"/>
                      </a:lnTo>
                      <a:lnTo>
                        <a:pt x="204" y="60"/>
                      </a:lnTo>
                      <a:close/>
                    </a:path>
                  </a:pathLst>
                </a:custGeom>
                <a:solidFill>
                  <a:srgbClr val="AF876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</p:grpSp>
        </p:grpSp>
        <p:grpSp>
          <p:nvGrpSpPr>
            <p:cNvPr id="225" name="Gruppe 22"/>
            <p:cNvGrpSpPr>
              <a:grpSpLocks/>
            </p:cNvGrpSpPr>
            <p:nvPr/>
          </p:nvGrpSpPr>
          <p:grpSpPr bwMode="auto">
            <a:xfrm>
              <a:off x="592682" y="2943879"/>
              <a:ext cx="557400" cy="347080"/>
              <a:chOff x="3135274" y="1809750"/>
              <a:chExt cx="5292446" cy="3295940"/>
            </a:xfrm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grpSpPr>
          <p:sp>
            <p:nvSpPr>
              <p:cNvPr id="237" name="Kombinationstegning 251"/>
              <p:cNvSpPr/>
              <p:nvPr/>
            </p:nvSpPr>
            <p:spPr bwMode="auto">
              <a:xfrm>
                <a:off x="3812865" y="3352802"/>
                <a:ext cx="4614855" cy="1752888"/>
              </a:xfrm>
              <a:custGeom>
                <a:avLst/>
                <a:gdLst>
                  <a:gd name="connsiteX0" fmla="*/ 762000 w 2628900"/>
                  <a:gd name="connsiteY0" fmla="*/ 723900 h 723900"/>
                  <a:gd name="connsiteX1" fmla="*/ 2628900 w 2628900"/>
                  <a:gd name="connsiteY1" fmla="*/ 419100 h 723900"/>
                  <a:gd name="connsiteX2" fmla="*/ 514350 w 2628900"/>
                  <a:gd name="connsiteY2" fmla="*/ 0 h 723900"/>
                  <a:gd name="connsiteX3" fmla="*/ 0 w 2628900"/>
                  <a:gd name="connsiteY3" fmla="*/ 57150 h 723900"/>
                  <a:gd name="connsiteX4" fmla="*/ 762000 w 2628900"/>
                  <a:gd name="connsiteY4" fmla="*/ 723900 h 723900"/>
                  <a:gd name="connsiteX0" fmla="*/ 599628 w 2628900"/>
                  <a:gd name="connsiteY0" fmla="*/ 723900 h 723900"/>
                  <a:gd name="connsiteX1" fmla="*/ 2628900 w 2628900"/>
                  <a:gd name="connsiteY1" fmla="*/ 419100 h 723900"/>
                  <a:gd name="connsiteX2" fmla="*/ 514350 w 2628900"/>
                  <a:gd name="connsiteY2" fmla="*/ 0 h 723900"/>
                  <a:gd name="connsiteX3" fmla="*/ 0 w 2628900"/>
                  <a:gd name="connsiteY3" fmla="*/ 57150 h 723900"/>
                  <a:gd name="connsiteX4" fmla="*/ 599628 w 2628900"/>
                  <a:gd name="connsiteY4" fmla="*/ 723900 h 723900"/>
                  <a:gd name="connsiteX0" fmla="*/ 599628 w 2628900"/>
                  <a:gd name="connsiteY0" fmla="*/ 666750 h 666750"/>
                  <a:gd name="connsiteX1" fmla="*/ 2628900 w 2628900"/>
                  <a:gd name="connsiteY1" fmla="*/ 361950 h 666750"/>
                  <a:gd name="connsiteX2" fmla="*/ 1634716 w 2628900"/>
                  <a:gd name="connsiteY2" fmla="*/ 59081 h 666750"/>
                  <a:gd name="connsiteX3" fmla="*/ 0 w 2628900"/>
                  <a:gd name="connsiteY3" fmla="*/ 0 h 666750"/>
                  <a:gd name="connsiteX4" fmla="*/ 599628 w 2628900"/>
                  <a:gd name="connsiteY4" fmla="*/ 666750 h 666750"/>
                  <a:gd name="connsiteX0" fmla="*/ 429137 w 2458409"/>
                  <a:gd name="connsiteY0" fmla="*/ 607669 h 607669"/>
                  <a:gd name="connsiteX1" fmla="*/ 2458409 w 2458409"/>
                  <a:gd name="connsiteY1" fmla="*/ 302869 h 607669"/>
                  <a:gd name="connsiteX2" fmla="*/ 1464225 w 2458409"/>
                  <a:gd name="connsiteY2" fmla="*/ 0 h 607669"/>
                  <a:gd name="connsiteX3" fmla="*/ 0 w 2458409"/>
                  <a:gd name="connsiteY3" fmla="*/ 136398 h 607669"/>
                  <a:gd name="connsiteX4" fmla="*/ 429137 w 2458409"/>
                  <a:gd name="connsiteY4" fmla="*/ 607669 h 607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8409" h="607669">
                    <a:moveTo>
                      <a:pt x="429137" y="607669"/>
                    </a:moveTo>
                    <a:lnTo>
                      <a:pt x="2458409" y="302869"/>
                    </a:lnTo>
                    <a:lnTo>
                      <a:pt x="1464225" y="0"/>
                    </a:lnTo>
                    <a:lnTo>
                      <a:pt x="0" y="136398"/>
                    </a:lnTo>
                    <a:lnTo>
                      <a:pt x="429137" y="607669"/>
                    </a:lnTo>
                    <a:close/>
                  </a:path>
                </a:pathLst>
              </a:custGeom>
              <a:gradFill flip="none" rotWithShape="1">
                <a:gsLst>
                  <a:gs pos="24000">
                    <a:sysClr val="windowText" lastClr="000000">
                      <a:alpha val="23000"/>
                    </a:sysClr>
                  </a:gs>
                  <a:gs pos="69000">
                    <a:sysClr val="window" lastClr="FFFFFF">
                      <a:alpha val="0"/>
                    </a:sysClr>
                  </a:gs>
                </a:gsLst>
                <a:lin ang="1890000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dirty="0" err="1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238" name="Gruppe 240"/>
              <p:cNvGrpSpPr>
                <a:grpSpLocks/>
              </p:cNvGrpSpPr>
              <p:nvPr/>
            </p:nvGrpSpPr>
            <p:grpSpPr bwMode="auto">
              <a:xfrm>
                <a:off x="3135274" y="1809750"/>
                <a:ext cx="3452893" cy="3276600"/>
                <a:chOff x="13047663" y="2554288"/>
                <a:chExt cx="1803400" cy="1711325"/>
              </a:xfrm>
            </p:grpSpPr>
            <p:sp>
              <p:nvSpPr>
                <p:cNvPr id="239" name="Freeform 227"/>
                <p:cNvSpPr>
                  <a:spLocks/>
                </p:cNvSpPr>
                <p:nvPr/>
              </p:nvSpPr>
              <p:spPr bwMode="auto">
                <a:xfrm>
                  <a:off x="13047663" y="2767013"/>
                  <a:ext cx="781050" cy="1498600"/>
                </a:xfrm>
                <a:custGeom>
                  <a:avLst/>
                  <a:gdLst>
                    <a:gd name="T0" fmla="*/ 50800 w 492"/>
                    <a:gd name="T1" fmla="*/ 0 h 944"/>
                    <a:gd name="T2" fmla="*/ 50800 w 492"/>
                    <a:gd name="T3" fmla="*/ 0 h 944"/>
                    <a:gd name="T4" fmla="*/ 41275 w 492"/>
                    <a:gd name="T5" fmla="*/ 0 h 944"/>
                    <a:gd name="T6" fmla="*/ 25400 w 492"/>
                    <a:gd name="T7" fmla="*/ 3175 h 944"/>
                    <a:gd name="T8" fmla="*/ 15875 w 492"/>
                    <a:gd name="T9" fmla="*/ 6350 h 944"/>
                    <a:gd name="T10" fmla="*/ 9525 w 492"/>
                    <a:gd name="T11" fmla="*/ 12700 h 944"/>
                    <a:gd name="T12" fmla="*/ 3175 w 492"/>
                    <a:gd name="T13" fmla="*/ 22225 h 944"/>
                    <a:gd name="T14" fmla="*/ 0 w 492"/>
                    <a:gd name="T15" fmla="*/ 38100 h 944"/>
                    <a:gd name="T16" fmla="*/ 0 w 492"/>
                    <a:gd name="T17" fmla="*/ 38100 h 944"/>
                    <a:gd name="T18" fmla="*/ 0 w 492"/>
                    <a:gd name="T19" fmla="*/ 244475 h 944"/>
                    <a:gd name="T20" fmla="*/ 3175 w 492"/>
                    <a:gd name="T21" fmla="*/ 657225 h 944"/>
                    <a:gd name="T22" fmla="*/ 3175 w 492"/>
                    <a:gd name="T23" fmla="*/ 876300 h 944"/>
                    <a:gd name="T24" fmla="*/ 6350 w 492"/>
                    <a:gd name="T25" fmla="*/ 1063625 h 944"/>
                    <a:gd name="T26" fmla="*/ 12700 w 492"/>
                    <a:gd name="T27" fmla="*/ 1196975 h 944"/>
                    <a:gd name="T28" fmla="*/ 15875 w 492"/>
                    <a:gd name="T29" fmla="*/ 1235075 h 944"/>
                    <a:gd name="T30" fmla="*/ 19050 w 492"/>
                    <a:gd name="T31" fmla="*/ 1247775 h 944"/>
                    <a:gd name="T32" fmla="*/ 19050 w 492"/>
                    <a:gd name="T33" fmla="*/ 1247775 h 944"/>
                    <a:gd name="T34" fmla="*/ 387350 w 492"/>
                    <a:gd name="T35" fmla="*/ 1377950 h 944"/>
                    <a:gd name="T36" fmla="*/ 635000 w 492"/>
                    <a:gd name="T37" fmla="*/ 1463675 h 944"/>
                    <a:gd name="T38" fmla="*/ 717550 w 492"/>
                    <a:gd name="T39" fmla="*/ 1489075 h 944"/>
                    <a:gd name="T40" fmla="*/ 752475 w 492"/>
                    <a:gd name="T41" fmla="*/ 1498600 h 944"/>
                    <a:gd name="T42" fmla="*/ 752475 w 492"/>
                    <a:gd name="T43" fmla="*/ 1498600 h 944"/>
                    <a:gd name="T44" fmla="*/ 752475 w 492"/>
                    <a:gd name="T45" fmla="*/ 1485900 h 944"/>
                    <a:gd name="T46" fmla="*/ 755650 w 492"/>
                    <a:gd name="T47" fmla="*/ 1444625 h 944"/>
                    <a:gd name="T48" fmla="*/ 755650 w 492"/>
                    <a:gd name="T49" fmla="*/ 1298575 h 944"/>
                    <a:gd name="T50" fmla="*/ 752475 w 492"/>
                    <a:gd name="T51" fmla="*/ 860425 h 944"/>
                    <a:gd name="T52" fmla="*/ 749300 w 492"/>
                    <a:gd name="T53" fmla="*/ 422275 h 944"/>
                    <a:gd name="T54" fmla="*/ 749300 w 492"/>
                    <a:gd name="T55" fmla="*/ 279400 h 944"/>
                    <a:gd name="T56" fmla="*/ 752475 w 492"/>
                    <a:gd name="T57" fmla="*/ 222250 h 944"/>
                    <a:gd name="T58" fmla="*/ 752475 w 492"/>
                    <a:gd name="T59" fmla="*/ 222250 h 944"/>
                    <a:gd name="T60" fmla="*/ 771525 w 492"/>
                    <a:gd name="T61" fmla="*/ 206375 h 944"/>
                    <a:gd name="T62" fmla="*/ 781050 w 492"/>
                    <a:gd name="T63" fmla="*/ 193675 h 944"/>
                    <a:gd name="T64" fmla="*/ 50800 w 492"/>
                    <a:gd name="T65" fmla="*/ 0 h 944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492"/>
                    <a:gd name="T100" fmla="*/ 0 h 944"/>
                    <a:gd name="T101" fmla="*/ 492 w 492"/>
                    <a:gd name="T102" fmla="*/ 944 h 944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492" h="944">
                      <a:moveTo>
                        <a:pt x="32" y="0"/>
                      </a:moveTo>
                      <a:lnTo>
                        <a:pt x="32" y="0"/>
                      </a:lnTo>
                      <a:lnTo>
                        <a:pt x="26" y="0"/>
                      </a:lnTo>
                      <a:lnTo>
                        <a:pt x="16" y="2"/>
                      </a:lnTo>
                      <a:lnTo>
                        <a:pt x="10" y="4"/>
                      </a:lnTo>
                      <a:lnTo>
                        <a:pt x="6" y="8"/>
                      </a:lnTo>
                      <a:lnTo>
                        <a:pt x="2" y="14"/>
                      </a:lnTo>
                      <a:lnTo>
                        <a:pt x="0" y="24"/>
                      </a:lnTo>
                      <a:lnTo>
                        <a:pt x="0" y="154"/>
                      </a:lnTo>
                      <a:lnTo>
                        <a:pt x="2" y="414"/>
                      </a:lnTo>
                      <a:lnTo>
                        <a:pt x="2" y="552"/>
                      </a:lnTo>
                      <a:lnTo>
                        <a:pt x="4" y="670"/>
                      </a:lnTo>
                      <a:lnTo>
                        <a:pt x="8" y="754"/>
                      </a:lnTo>
                      <a:lnTo>
                        <a:pt x="10" y="778"/>
                      </a:lnTo>
                      <a:lnTo>
                        <a:pt x="12" y="786"/>
                      </a:lnTo>
                      <a:lnTo>
                        <a:pt x="244" y="868"/>
                      </a:lnTo>
                      <a:lnTo>
                        <a:pt x="400" y="922"/>
                      </a:lnTo>
                      <a:lnTo>
                        <a:pt x="452" y="938"/>
                      </a:lnTo>
                      <a:lnTo>
                        <a:pt x="474" y="944"/>
                      </a:lnTo>
                      <a:lnTo>
                        <a:pt x="474" y="936"/>
                      </a:lnTo>
                      <a:lnTo>
                        <a:pt x="476" y="910"/>
                      </a:lnTo>
                      <a:lnTo>
                        <a:pt x="476" y="818"/>
                      </a:lnTo>
                      <a:lnTo>
                        <a:pt x="474" y="542"/>
                      </a:lnTo>
                      <a:lnTo>
                        <a:pt x="472" y="266"/>
                      </a:lnTo>
                      <a:lnTo>
                        <a:pt x="472" y="176"/>
                      </a:lnTo>
                      <a:lnTo>
                        <a:pt x="474" y="140"/>
                      </a:lnTo>
                      <a:lnTo>
                        <a:pt x="486" y="130"/>
                      </a:lnTo>
                      <a:lnTo>
                        <a:pt x="492" y="122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solidFill>
                  <a:srgbClr val="BF9F6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240" name="Freeform 228"/>
                <p:cNvSpPr>
                  <a:spLocks/>
                </p:cNvSpPr>
                <p:nvPr/>
              </p:nvSpPr>
              <p:spPr bwMode="auto">
                <a:xfrm>
                  <a:off x="13066713" y="2554288"/>
                  <a:ext cx="1784350" cy="1711325"/>
                </a:xfrm>
                <a:custGeom>
                  <a:avLst/>
                  <a:gdLst>
                    <a:gd name="T0" fmla="*/ 0 w 1124"/>
                    <a:gd name="T1" fmla="*/ 222250 h 1078"/>
                    <a:gd name="T2" fmla="*/ 0 w 1124"/>
                    <a:gd name="T3" fmla="*/ 222250 h 1078"/>
                    <a:gd name="T4" fmla="*/ 361950 w 1124"/>
                    <a:gd name="T5" fmla="*/ 317500 h 1078"/>
                    <a:gd name="T6" fmla="*/ 609600 w 1124"/>
                    <a:gd name="T7" fmla="*/ 387350 h 1078"/>
                    <a:gd name="T8" fmla="*/ 695325 w 1124"/>
                    <a:gd name="T9" fmla="*/ 412750 h 1078"/>
                    <a:gd name="T10" fmla="*/ 717550 w 1124"/>
                    <a:gd name="T11" fmla="*/ 419100 h 1078"/>
                    <a:gd name="T12" fmla="*/ 727075 w 1124"/>
                    <a:gd name="T13" fmla="*/ 425450 h 1078"/>
                    <a:gd name="T14" fmla="*/ 727075 w 1124"/>
                    <a:gd name="T15" fmla="*/ 425450 h 1078"/>
                    <a:gd name="T16" fmla="*/ 730250 w 1124"/>
                    <a:gd name="T17" fmla="*/ 485775 h 1078"/>
                    <a:gd name="T18" fmla="*/ 730250 w 1124"/>
                    <a:gd name="T19" fmla="*/ 631825 h 1078"/>
                    <a:gd name="T20" fmla="*/ 730250 w 1124"/>
                    <a:gd name="T21" fmla="*/ 1073150 h 1078"/>
                    <a:gd name="T22" fmla="*/ 727075 w 1124"/>
                    <a:gd name="T23" fmla="*/ 1511300 h 1078"/>
                    <a:gd name="T24" fmla="*/ 727075 w 1124"/>
                    <a:gd name="T25" fmla="*/ 1657350 h 1078"/>
                    <a:gd name="T26" fmla="*/ 730250 w 1124"/>
                    <a:gd name="T27" fmla="*/ 1711325 h 1078"/>
                    <a:gd name="T28" fmla="*/ 730250 w 1124"/>
                    <a:gd name="T29" fmla="*/ 1711325 h 1078"/>
                    <a:gd name="T30" fmla="*/ 777875 w 1124"/>
                    <a:gd name="T31" fmla="*/ 1701800 h 1078"/>
                    <a:gd name="T32" fmla="*/ 895350 w 1124"/>
                    <a:gd name="T33" fmla="*/ 1666875 h 1078"/>
                    <a:gd name="T34" fmla="*/ 1247775 w 1124"/>
                    <a:gd name="T35" fmla="*/ 1565275 h 1078"/>
                    <a:gd name="T36" fmla="*/ 1600200 w 1124"/>
                    <a:gd name="T37" fmla="*/ 1457325 h 1078"/>
                    <a:gd name="T38" fmla="*/ 1714500 w 1124"/>
                    <a:gd name="T39" fmla="*/ 1419225 h 1078"/>
                    <a:gd name="T40" fmla="*/ 1762125 w 1124"/>
                    <a:gd name="T41" fmla="*/ 1403350 h 1078"/>
                    <a:gd name="T42" fmla="*/ 1762125 w 1124"/>
                    <a:gd name="T43" fmla="*/ 1403350 h 1078"/>
                    <a:gd name="T44" fmla="*/ 1765300 w 1124"/>
                    <a:gd name="T45" fmla="*/ 1349375 h 1078"/>
                    <a:gd name="T46" fmla="*/ 1768475 w 1124"/>
                    <a:gd name="T47" fmla="*/ 1209675 h 1078"/>
                    <a:gd name="T48" fmla="*/ 1778000 w 1124"/>
                    <a:gd name="T49" fmla="*/ 790575 h 1078"/>
                    <a:gd name="T50" fmla="*/ 1784350 w 1124"/>
                    <a:gd name="T51" fmla="*/ 374650 h 1078"/>
                    <a:gd name="T52" fmla="*/ 1784350 w 1124"/>
                    <a:gd name="T53" fmla="*/ 234950 h 1078"/>
                    <a:gd name="T54" fmla="*/ 1781175 w 1124"/>
                    <a:gd name="T55" fmla="*/ 196850 h 1078"/>
                    <a:gd name="T56" fmla="*/ 1781175 w 1124"/>
                    <a:gd name="T57" fmla="*/ 180975 h 1078"/>
                    <a:gd name="T58" fmla="*/ 1781175 w 1124"/>
                    <a:gd name="T59" fmla="*/ 180975 h 1078"/>
                    <a:gd name="T60" fmla="*/ 1657350 w 1124"/>
                    <a:gd name="T61" fmla="*/ 149225 h 1078"/>
                    <a:gd name="T62" fmla="*/ 1403350 w 1124"/>
                    <a:gd name="T63" fmla="*/ 85725 h 1078"/>
                    <a:gd name="T64" fmla="*/ 1152525 w 1124"/>
                    <a:gd name="T65" fmla="*/ 25400 h 1078"/>
                    <a:gd name="T66" fmla="*/ 1035050 w 1124"/>
                    <a:gd name="T67" fmla="*/ 0 h 1078"/>
                    <a:gd name="T68" fmla="*/ 1035050 w 1124"/>
                    <a:gd name="T69" fmla="*/ 0 h 1078"/>
                    <a:gd name="T70" fmla="*/ 508000 w 1124"/>
                    <a:gd name="T71" fmla="*/ 104775 h 1078"/>
                    <a:gd name="T72" fmla="*/ 317500 w 1124"/>
                    <a:gd name="T73" fmla="*/ 142875 h 1078"/>
                    <a:gd name="T74" fmla="*/ 152400 w 1124"/>
                    <a:gd name="T75" fmla="*/ 180975 h 1078"/>
                    <a:gd name="T76" fmla="*/ 38100 w 1124"/>
                    <a:gd name="T77" fmla="*/ 206375 h 1078"/>
                    <a:gd name="T78" fmla="*/ 9525 w 1124"/>
                    <a:gd name="T79" fmla="*/ 215900 h 1078"/>
                    <a:gd name="T80" fmla="*/ 3175 w 1124"/>
                    <a:gd name="T81" fmla="*/ 222250 h 1078"/>
                    <a:gd name="T82" fmla="*/ 0 w 1124"/>
                    <a:gd name="T83" fmla="*/ 222250 h 1078"/>
                    <a:gd name="T84" fmla="*/ 0 w 1124"/>
                    <a:gd name="T85" fmla="*/ 222250 h 107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124"/>
                    <a:gd name="T130" fmla="*/ 0 h 1078"/>
                    <a:gd name="T131" fmla="*/ 1124 w 1124"/>
                    <a:gd name="T132" fmla="*/ 1078 h 107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124" h="1078">
                      <a:moveTo>
                        <a:pt x="0" y="140"/>
                      </a:moveTo>
                      <a:lnTo>
                        <a:pt x="0" y="140"/>
                      </a:lnTo>
                      <a:lnTo>
                        <a:pt x="228" y="200"/>
                      </a:lnTo>
                      <a:lnTo>
                        <a:pt x="384" y="244"/>
                      </a:lnTo>
                      <a:lnTo>
                        <a:pt x="438" y="260"/>
                      </a:lnTo>
                      <a:lnTo>
                        <a:pt x="452" y="264"/>
                      </a:lnTo>
                      <a:lnTo>
                        <a:pt x="458" y="268"/>
                      </a:lnTo>
                      <a:lnTo>
                        <a:pt x="460" y="306"/>
                      </a:lnTo>
                      <a:lnTo>
                        <a:pt x="460" y="398"/>
                      </a:lnTo>
                      <a:lnTo>
                        <a:pt x="460" y="676"/>
                      </a:lnTo>
                      <a:lnTo>
                        <a:pt x="458" y="952"/>
                      </a:lnTo>
                      <a:lnTo>
                        <a:pt x="458" y="1044"/>
                      </a:lnTo>
                      <a:lnTo>
                        <a:pt x="460" y="1078"/>
                      </a:lnTo>
                      <a:lnTo>
                        <a:pt x="490" y="1072"/>
                      </a:lnTo>
                      <a:lnTo>
                        <a:pt x="564" y="1050"/>
                      </a:lnTo>
                      <a:lnTo>
                        <a:pt x="786" y="986"/>
                      </a:lnTo>
                      <a:lnTo>
                        <a:pt x="1008" y="918"/>
                      </a:lnTo>
                      <a:lnTo>
                        <a:pt x="1080" y="894"/>
                      </a:lnTo>
                      <a:lnTo>
                        <a:pt x="1110" y="884"/>
                      </a:lnTo>
                      <a:lnTo>
                        <a:pt x="1112" y="850"/>
                      </a:lnTo>
                      <a:lnTo>
                        <a:pt x="1114" y="762"/>
                      </a:lnTo>
                      <a:lnTo>
                        <a:pt x="1120" y="498"/>
                      </a:lnTo>
                      <a:lnTo>
                        <a:pt x="1124" y="236"/>
                      </a:lnTo>
                      <a:lnTo>
                        <a:pt x="1124" y="148"/>
                      </a:lnTo>
                      <a:lnTo>
                        <a:pt x="1122" y="124"/>
                      </a:lnTo>
                      <a:lnTo>
                        <a:pt x="1122" y="114"/>
                      </a:lnTo>
                      <a:lnTo>
                        <a:pt x="1044" y="94"/>
                      </a:lnTo>
                      <a:lnTo>
                        <a:pt x="884" y="54"/>
                      </a:lnTo>
                      <a:lnTo>
                        <a:pt x="726" y="16"/>
                      </a:lnTo>
                      <a:lnTo>
                        <a:pt x="652" y="0"/>
                      </a:lnTo>
                      <a:lnTo>
                        <a:pt x="320" y="66"/>
                      </a:lnTo>
                      <a:lnTo>
                        <a:pt x="200" y="90"/>
                      </a:lnTo>
                      <a:lnTo>
                        <a:pt x="96" y="114"/>
                      </a:lnTo>
                      <a:lnTo>
                        <a:pt x="24" y="130"/>
                      </a:lnTo>
                      <a:lnTo>
                        <a:pt x="6" y="136"/>
                      </a:lnTo>
                      <a:lnTo>
                        <a:pt x="2" y="140"/>
                      </a:lnTo>
                      <a:lnTo>
                        <a:pt x="0" y="140"/>
                      </a:lnTo>
                      <a:close/>
                    </a:path>
                  </a:pathLst>
                </a:custGeom>
                <a:solidFill>
                  <a:srgbClr val="CBB48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241" name="Freeform 229"/>
                <p:cNvSpPr>
                  <a:spLocks/>
                </p:cNvSpPr>
                <p:nvPr/>
              </p:nvSpPr>
              <p:spPr bwMode="auto">
                <a:xfrm>
                  <a:off x="13603288" y="2906713"/>
                  <a:ext cx="212725" cy="82550"/>
                </a:xfrm>
                <a:custGeom>
                  <a:avLst/>
                  <a:gdLst>
                    <a:gd name="T0" fmla="*/ 19050 w 134"/>
                    <a:gd name="T1" fmla="*/ 0 h 52"/>
                    <a:gd name="T2" fmla="*/ 19050 w 134"/>
                    <a:gd name="T3" fmla="*/ 0 h 52"/>
                    <a:gd name="T4" fmla="*/ 0 w 134"/>
                    <a:gd name="T5" fmla="*/ 9525 h 52"/>
                    <a:gd name="T6" fmla="*/ 0 w 134"/>
                    <a:gd name="T7" fmla="*/ 9525 h 52"/>
                    <a:gd name="T8" fmla="*/ 120650 w 134"/>
                    <a:gd name="T9" fmla="*/ 47625 h 52"/>
                    <a:gd name="T10" fmla="*/ 187325 w 134"/>
                    <a:gd name="T11" fmla="*/ 63500 h 52"/>
                    <a:gd name="T12" fmla="*/ 187325 w 134"/>
                    <a:gd name="T13" fmla="*/ 63500 h 52"/>
                    <a:gd name="T14" fmla="*/ 196850 w 134"/>
                    <a:gd name="T15" fmla="*/ 66675 h 52"/>
                    <a:gd name="T16" fmla="*/ 200025 w 134"/>
                    <a:gd name="T17" fmla="*/ 73025 h 52"/>
                    <a:gd name="T18" fmla="*/ 196850 w 134"/>
                    <a:gd name="T19" fmla="*/ 82550 h 52"/>
                    <a:gd name="T20" fmla="*/ 196850 w 134"/>
                    <a:gd name="T21" fmla="*/ 82550 h 52"/>
                    <a:gd name="T22" fmla="*/ 206375 w 134"/>
                    <a:gd name="T23" fmla="*/ 79375 h 52"/>
                    <a:gd name="T24" fmla="*/ 212725 w 134"/>
                    <a:gd name="T25" fmla="*/ 73025 h 52"/>
                    <a:gd name="T26" fmla="*/ 212725 w 134"/>
                    <a:gd name="T27" fmla="*/ 66675 h 52"/>
                    <a:gd name="T28" fmla="*/ 212725 w 134"/>
                    <a:gd name="T29" fmla="*/ 66675 h 52"/>
                    <a:gd name="T30" fmla="*/ 196850 w 134"/>
                    <a:gd name="T31" fmla="*/ 57150 h 52"/>
                    <a:gd name="T32" fmla="*/ 152400 w 134"/>
                    <a:gd name="T33" fmla="*/ 41275 h 52"/>
                    <a:gd name="T34" fmla="*/ 19050 w 134"/>
                    <a:gd name="T35" fmla="*/ 0 h 52"/>
                    <a:gd name="T36" fmla="*/ 19050 w 134"/>
                    <a:gd name="T37" fmla="*/ 0 h 52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34"/>
                    <a:gd name="T58" fmla="*/ 0 h 52"/>
                    <a:gd name="T59" fmla="*/ 134 w 134"/>
                    <a:gd name="T60" fmla="*/ 52 h 52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34" h="52">
                      <a:moveTo>
                        <a:pt x="12" y="0"/>
                      </a:moveTo>
                      <a:lnTo>
                        <a:pt x="12" y="0"/>
                      </a:lnTo>
                      <a:lnTo>
                        <a:pt x="0" y="6"/>
                      </a:lnTo>
                      <a:lnTo>
                        <a:pt x="76" y="30"/>
                      </a:lnTo>
                      <a:lnTo>
                        <a:pt x="118" y="40"/>
                      </a:lnTo>
                      <a:lnTo>
                        <a:pt x="124" y="42"/>
                      </a:lnTo>
                      <a:lnTo>
                        <a:pt x="126" y="46"/>
                      </a:lnTo>
                      <a:lnTo>
                        <a:pt x="124" y="52"/>
                      </a:lnTo>
                      <a:lnTo>
                        <a:pt x="130" y="50"/>
                      </a:lnTo>
                      <a:lnTo>
                        <a:pt x="134" y="46"/>
                      </a:lnTo>
                      <a:lnTo>
                        <a:pt x="134" y="42"/>
                      </a:lnTo>
                      <a:lnTo>
                        <a:pt x="124" y="36"/>
                      </a:lnTo>
                      <a:lnTo>
                        <a:pt x="96" y="26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AF876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242" name="Freeform 230"/>
                <p:cNvSpPr>
                  <a:spLocks/>
                </p:cNvSpPr>
                <p:nvPr/>
              </p:nvSpPr>
              <p:spPr bwMode="auto">
                <a:xfrm>
                  <a:off x="13054013" y="2767013"/>
                  <a:ext cx="228600" cy="60325"/>
                </a:xfrm>
                <a:custGeom>
                  <a:avLst/>
                  <a:gdLst>
                    <a:gd name="T0" fmla="*/ 228600 w 144"/>
                    <a:gd name="T1" fmla="*/ 50800 h 38"/>
                    <a:gd name="T2" fmla="*/ 228600 w 144"/>
                    <a:gd name="T3" fmla="*/ 50800 h 38"/>
                    <a:gd name="T4" fmla="*/ 34925 w 144"/>
                    <a:gd name="T5" fmla="*/ 0 h 38"/>
                    <a:gd name="T6" fmla="*/ 34925 w 144"/>
                    <a:gd name="T7" fmla="*/ 0 h 38"/>
                    <a:gd name="T8" fmla="*/ 25400 w 144"/>
                    <a:gd name="T9" fmla="*/ 0 h 38"/>
                    <a:gd name="T10" fmla="*/ 19050 w 144"/>
                    <a:gd name="T11" fmla="*/ 3175 h 38"/>
                    <a:gd name="T12" fmla="*/ 6350 w 144"/>
                    <a:gd name="T13" fmla="*/ 9525 h 38"/>
                    <a:gd name="T14" fmla="*/ 0 w 144"/>
                    <a:gd name="T15" fmla="*/ 19050 h 38"/>
                    <a:gd name="T16" fmla="*/ 0 w 144"/>
                    <a:gd name="T17" fmla="*/ 22225 h 38"/>
                    <a:gd name="T18" fmla="*/ 15875 w 144"/>
                    <a:gd name="T19" fmla="*/ 9525 h 38"/>
                    <a:gd name="T20" fmla="*/ 15875 w 144"/>
                    <a:gd name="T21" fmla="*/ 9525 h 38"/>
                    <a:gd name="T22" fmla="*/ 25400 w 144"/>
                    <a:gd name="T23" fmla="*/ 9525 h 38"/>
                    <a:gd name="T24" fmla="*/ 38100 w 144"/>
                    <a:gd name="T25" fmla="*/ 12700 h 38"/>
                    <a:gd name="T26" fmla="*/ 107950 w 144"/>
                    <a:gd name="T27" fmla="*/ 31750 h 38"/>
                    <a:gd name="T28" fmla="*/ 107950 w 144"/>
                    <a:gd name="T29" fmla="*/ 31750 h 38"/>
                    <a:gd name="T30" fmla="*/ 219075 w 144"/>
                    <a:gd name="T31" fmla="*/ 60325 h 38"/>
                    <a:gd name="T32" fmla="*/ 219075 w 144"/>
                    <a:gd name="T33" fmla="*/ 60325 h 38"/>
                    <a:gd name="T34" fmla="*/ 228600 w 144"/>
                    <a:gd name="T35" fmla="*/ 50800 h 38"/>
                    <a:gd name="T36" fmla="*/ 228600 w 144"/>
                    <a:gd name="T37" fmla="*/ 50800 h 3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44"/>
                    <a:gd name="T58" fmla="*/ 0 h 38"/>
                    <a:gd name="T59" fmla="*/ 144 w 144"/>
                    <a:gd name="T60" fmla="*/ 38 h 3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44" h="38">
                      <a:moveTo>
                        <a:pt x="144" y="32"/>
                      </a:moveTo>
                      <a:lnTo>
                        <a:pt x="144" y="32"/>
                      </a:lnTo>
                      <a:lnTo>
                        <a:pt x="22" y="0"/>
                      </a:lnTo>
                      <a:lnTo>
                        <a:pt x="16" y="0"/>
                      </a:lnTo>
                      <a:lnTo>
                        <a:pt x="12" y="2"/>
                      </a:lnTo>
                      <a:lnTo>
                        <a:pt x="4" y="6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10" y="6"/>
                      </a:lnTo>
                      <a:lnTo>
                        <a:pt x="16" y="6"/>
                      </a:lnTo>
                      <a:lnTo>
                        <a:pt x="24" y="8"/>
                      </a:lnTo>
                      <a:lnTo>
                        <a:pt x="68" y="20"/>
                      </a:lnTo>
                      <a:lnTo>
                        <a:pt x="138" y="38"/>
                      </a:lnTo>
                      <a:lnTo>
                        <a:pt x="144" y="32"/>
                      </a:lnTo>
                      <a:close/>
                    </a:path>
                  </a:pathLst>
                </a:custGeom>
                <a:solidFill>
                  <a:srgbClr val="AF876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243" name="Freeform 231"/>
                <p:cNvSpPr>
                  <a:spLocks/>
                </p:cNvSpPr>
                <p:nvPr/>
              </p:nvSpPr>
              <p:spPr bwMode="auto">
                <a:xfrm>
                  <a:off x="13282613" y="2595563"/>
                  <a:ext cx="1352550" cy="311150"/>
                </a:xfrm>
                <a:custGeom>
                  <a:avLst/>
                  <a:gdLst>
                    <a:gd name="T0" fmla="*/ 149225 w 852"/>
                    <a:gd name="T1" fmla="*/ 254000 h 196"/>
                    <a:gd name="T2" fmla="*/ 149225 w 852"/>
                    <a:gd name="T3" fmla="*/ 254000 h 196"/>
                    <a:gd name="T4" fmla="*/ 1133475 w 852"/>
                    <a:gd name="T5" fmla="*/ 41275 h 196"/>
                    <a:gd name="T6" fmla="*/ 1152525 w 852"/>
                    <a:gd name="T7" fmla="*/ 44450 h 196"/>
                    <a:gd name="T8" fmla="*/ 1152525 w 852"/>
                    <a:gd name="T9" fmla="*/ 44450 h 196"/>
                    <a:gd name="T10" fmla="*/ 654050 w 852"/>
                    <a:gd name="T11" fmla="*/ 152400 h 196"/>
                    <a:gd name="T12" fmla="*/ 314325 w 852"/>
                    <a:gd name="T13" fmla="*/ 225425 h 196"/>
                    <a:gd name="T14" fmla="*/ 206375 w 852"/>
                    <a:gd name="T15" fmla="*/ 250825 h 196"/>
                    <a:gd name="T16" fmla="*/ 177800 w 852"/>
                    <a:gd name="T17" fmla="*/ 260350 h 196"/>
                    <a:gd name="T18" fmla="*/ 171450 w 852"/>
                    <a:gd name="T19" fmla="*/ 263525 h 196"/>
                    <a:gd name="T20" fmla="*/ 171450 w 852"/>
                    <a:gd name="T21" fmla="*/ 263525 h 196"/>
                    <a:gd name="T22" fmla="*/ 339725 w 852"/>
                    <a:gd name="T23" fmla="*/ 311150 h 196"/>
                    <a:gd name="T24" fmla="*/ 342900 w 852"/>
                    <a:gd name="T25" fmla="*/ 311150 h 196"/>
                    <a:gd name="T26" fmla="*/ 342900 w 852"/>
                    <a:gd name="T27" fmla="*/ 311150 h 196"/>
                    <a:gd name="T28" fmla="*/ 850900 w 852"/>
                    <a:gd name="T29" fmla="*/ 196850 h 196"/>
                    <a:gd name="T30" fmla="*/ 1352550 w 852"/>
                    <a:gd name="T31" fmla="*/ 82550 h 196"/>
                    <a:gd name="T32" fmla="*/ 1012825 w 852"/>
                    <a:gd name="T33" fmla="*/ 0 h 196"/>
                    <a:gd name="T34" fmla="*/ 1012825 w 852"/>
                    <a:gd name="T35" fmla="*/ 0 h 196"/>
                    <a:gd name="T36" fmla="*/ 514350 w 852"/>
                    <a:gd name="T37" fmla="*/ 104775 h 196"/>
                    <a:gd name="T38" fmla="*/ 168275 w 852"/>
                    <a:gd name="T39" fmla="*/ 177800 h 196"/>
                    <a:gd name="T40" fmla="*/ 53975 w 852"/>
                    <a:gd name="T41" fmla="*/ 203200 h 196"/>
                    <a:gd name="T42" fmla="*/ 6350 w 852"/>
                    <a:gd name="T43" fmla="*/ 215900 h 196"/>
                    <a:gd name="T44" fmla="*/ 6350 w 852"/>
                    <a:gd name="T45" fmla="*/ 215900 h 196"/>
                    <a:gd name="T46" fmla="*/ 0 w 852"/>
                    <a:gd name="T47" fmla="*/ 222250 h 196"/>
                    <a:gd name="T48" fmla="*/ 0 w 852"/>
                    <a:gd name="T49" fmla="*/ 222250 h 196"/>
                    <a:gd name="T50" fmla="*/ 101600 w 852"/>
                    <a:gd name="T51" fmla="*/ 244475 h 196"/>
                    <a:gd name="T52" fmla="*/ 149225 w 852"/>
                    <a:gd name="T53" fmla="*/ 254000 h 196"/>
                    <a:gd name="T54" fmla="*/ 149225 w 852"/>
                    <a:gd name="T55" fmla="*/ 254000 h 19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852"/>
                    <a:gd name="T85" fmla="*/ 0 h 196"/>
                    <a:gd name="T86" fmla="*/ 852 w 852"/>
                    <a:gd name="T87" fmla="*/ 196 h 196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852" h="196">
                      <a:moveTo>
                        <a:pt x="94" y="160"/>
                      </a:moveTo>
                      <a:lnTo>
                        <a:pt x="94" y="160"/>
                      </a:lnTo>
                      <a:lnTo>
                        <a:pt x="714" y="26"/>
                      </a:lnTo>
                      <a:lnTo>
                        <a:pt x="726" y="28"/>
                      </a:lnTo>
                      <a:lnTo>
                        <a:pt x="412" y="96"/>
                      </a:lnTo>
                      <a:lnTo>
                        <a:pt x="198" y="142"/>
                      </a:lnTo>
                      <a:lnTo>
                        <a:pt x="130" y="158"/>
                      </a:lnTo>
                      <a:lnTo>
                        <a:pt x="112" y="164"/>
                      </a:lnTo>
                      <a:lnTo>
                        <a:pt x="108" y="166"/>
                      </a:lnTo>
                      <a:lnTo>
                        <a:pt x="214" y="196"/>
                      </a:lnTo>
                      <a:lnTo>
                        <a:pt x="216" y="196"/>
                      </a:lnTo>
                      <a:lnTo>
                        <a:pt x="536" y="124"/>
                      </a:lnTo>
                      <a:lnTo>
                        <a:pt x="852" y="52"/>
                      </a:lnTo>
                      <a:lnTo>
                        <a:pt x="638" y="0"/>
                      </a:lnTo>
                      <a:lnTo>
                        <a:pt x="324" y="66"/>
                      </a:lnTo>
                      <a:lnTo>
                        <a:pt x="106" y="112"/>
                      </a:lnTo>
                      <a:lnTo>
                        <a:pt x="34" y="128"/>
                      </a:lnTo>
                      <a:lnTo>
                        <a:pt x="4" y="136"/>
                      </a:lnTo>
                      <a:lnTo>
                        <a:pt x="0" y="140"/>
                      </a:lnTo>
                      <a:lnTo>
                        <a:pt x="64" y="154"/>
                      </a:lnTo>
                      <a:lnTo>
                        <a:pt x="94" y="160"/>
                      </a:lnTo>
                      <a:close/>
                    </a:path>
                  </a:pathLst>
                </a:custGeom>
                <a:solidFill>
                  <a:srgbClr val="AF876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244" name="Freeform 232"/>
                <p:cNvSpPr>
                  <a:spLocks/>
                </p:cNvSpPr>
                <p:nvPr/>
              </p:nvSpPr>
              <p:spPr bwMode="auto">
                <a:xfrm>
                  <a:off x="13254038" y="2827338"/>
                  <a:ext cx="349250" cy="473075"/>
                </a:xfrm>
                <a:custGeom>
                  <a:avLst/>
                  <a:gdLst>
                    <a:gd name="T0" fmla="*/ 187325 w 220"/>
                    <a:gd name="T1" fmla="*/ 31750 h 298"/>
                    <a:gd name="T2" fmla="*/ 187325 w 220"/>
                    <a:gd name="T3" fmla="*/ 31750 h 298"/>
                    <a:gd name="T4" fmla="*/ 187325 w 220"/>
                    <a:gd name="T5" fmla="*/ 31750 h 298"/>
                    <a:gd name="T6" fmla="*/ 180975 w 220"/>
                    <a:gd name="T7" fmla="*/ 34925 h 298"/>
                    <a:gd name="T8" fmla="*/ 168275 w 220"/>
                    <a:gd name="T9" fmla="*/ 38100 h 298"/>
                    <a:gd name="T10" fmla="*/ 155575 w 220"/>
                    <a:gd name="T11" fmla="*/ 34925 h 298"/>
                    <a:gd name="T12" fmla="*/ 155575 w 220"/>
                    <a:gd name="T13" fmla="*/ 34925 h 298"/>
                    <a:gd name="T14" fmla="*/ 104775 w 220"/>
                    <a:gd name="T15" fmla="*/ 22225 h 298"/>
                    <a:gd name="T16" fmla="*/ 19050 w 220"/>
                    <a:gd name="T17" fmla="*/ 0 h 298"/>
                    <a:gd name="T18" fmla="*/ 19050 w 220"/>
                    <a:gd name="T19" fmla="*/ 0 h 298"/>
                    <a:gd name="T20" fmla="*/ 9525 w 220"/>
                    <a:gd name="T21" fmla="*/ 12700 h 298"/>
                    <a:gd name="T22" fmla="*/ 6350 w 220"/>
                    <a:gd name="T23" fmla="*/ 19050 h 298"/>
                    <a:gd name="T24" fmla="*/ 6350 w 220"/>
                    <a:gd name="T25" fmla="*/ 25400 h 298"/>
                    <a:gd name="T26" fmla="*/ 6350 w 220"/>
                    <a:gd name="T27" fmla="*/ 25400 h 298"/>
                    <a:gd name="T28" fmla="*/ 0 w 220"/>
                    <a:gd name="T29" fmla="*/ 371475 h 298"/>
                    <a:gd name="T30" fmla="*/ 330200 w 220"/>
                    <a:gd name="T31" fmla="*/ 473075 h 298"/>
                    <a:gd name="T32" fmla="*/ 330200 w 220"/>
                    <a:gd name="T33" fmla="*/ 473075 h 298"/>
                    <a:gd name="T34" fmla="*/ 330200 w 220"/>
                    <a:gd name="T35" fmla="*/ 292100 h 298"/>
                    <a:gd name="T36" fmla="*/ 333375 w 220"/>
                    <a:gd name="T37" fmla="*/ 165100 h 298"/>
                    <a:gd name="T38" fmla="*/ 333375 w 220"/>
                    <a:gd name="T39" fmla="*/ 120650 h 298"/>
                    <a:gd name="T40" fmla="*/ 336550 w 220"/>
                    <a:gd name="T41" fmla="*/ 101600 h 298"/>
                    <a:gd name="T42" fmla="*/ 336550 w 220"/>
                    <a:gd name="T43" fmla="*/ 101600 h 298"/>
                    <a:gd name="T44" fmla="*/ 349250 w 220"/>
                    <a:gd name="T45" fmla="*/ 88900 h 298"/>
                    <a:gd name="T46" fmla="*/ 349250 w 220"/>
                    <a:gd name="T47" fmla="*/ 88900 h 298"/>
                    <a:gd name="T48" fmla="*/ 254000 w 220"/>
                    <a:gd name="T49" fmla="*/ 60325 h 298"/>
                    <a:gd name="T50" fmla="*/ 209550 w 220"/>
                    <a:gd name="T51" fmla="*/ 44450 h 298"/>
                    <a:gd name="T52" fmla="*/ 209550 w 220"/>
                    <a:gd name="T53" fmla="*/ 44450 h 298"/>
                    <a:gd name="T54" fmla="*/ 187325 w 220"/>
                    <a:gd name="T55" fmla="*/ 31750 h 298"/>
                    <a:gd name="T56" fmla="*/ 187325 w 220"/>
                    <a:gd name="T57" fmla="*/ 31750 h 29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0"/>
                    <a:gd name="T88" fmla="*/ 0 h 298"/>
                    <a:gd name="T89" fmla="*/ 220 w 220"/>
                    <a:gd name="T90" fmla="*/ 298 h 29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0" h="298">
                      <a:moveTo>
                        <a:pt x="118" y="20"/>
                      </a:moveTo>
                      <a:lnTo>
                        <a:pt x="118" y="20"/>
                      </a:lnTo>
                      <a:lnTo>
                        <a:pt x="114" y="22"/>
                      </a:lnTo>
                      <a:lnTo>
                        <a:pt x="106" y="24"/>
                      </a:lnTo>
                      <a:lnTo>
                        <a:pt x="98" y="22"/>
                      </a:lnTo>
                      <a:lnTo>
                        <a:pt x="66" y="14"/>
                      </a:lnTo>
                      <a:lnTo>
                        <a:pt x="12" y="0"/>
                      </a:lnTo>
                      <a:lnTo>
                        <a:pt x="6" y="8"/>
                      </a:lnTo>
                      <a:lnTo>
                        <a:pt x="4" y="12"/>
                      </a:lnTo>
                      <a:lnTo>
                        <a:pt x="4" y="16"/>
                      </a:lnTo>
                      <a:lnTo>
                        <a:pt x="0" y="234"/>
                      </a:lnTo>
                      <a:lnTo>
                        <a:pt x="208" y="298"/>
                      </a:lnTo>
                      <a:lnTo>
                        <a:pt x="208" y="184"/>
                      </a:lnTo>
                      <a:lnTo>
                        <a:pt x="210" y="104"/>
                      </a:lnTo>
                      <a:lnTo>
                        <a:pt x="210" y="76"/>
                      </a:lnTo>
                      <a:lnTo>
                        <a:pt x="212" y="64"/>
                      </a:lnTo>
                      <a:lnTo>
                        <a:pt x="220" y="56"/>
                      </a:lnTo>
                      <a:lnTo>
                        <a:pt x="160" y="38"/>
                      </a:lnTo>
                      <a:lnTo>
                        <a:pt x="132" y="28"/>
                      </a:lnTo>
                      <a:lnTo>
                        <a:pt x="118" y="20"/>
                      </a:lnTo>
                      <a:close/>
                    </a:path>
                  </a:pathLst>
                </a:custGeom>
                <a:solidFill>
                  <a:srgbClr val="AF876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245" name="Freeform 233"/>
                <p:cNvSpPr>
                  <a:spLocks/>
                </p:cNvSpPr>
                <p:nvPr/>
              </p:nvSpPr>
              <p:spPr bwMode="auto">
                <a:xfrm>
                  <a:off x="13273088" y="2630488"/>
                  <a:ext cx="1177925" cy="285750"/>
                </a:xfrm>
                <a:custGeom>
                  <a:avLst/>
                  <a:gdLst>
                    <a:gd name="T0" fmla="*/ 180975 w 742"/>
                    <a:gd name="T1" fmla="*/ 228600 h 180"/>
                    <a:gd name="T2" fmla="*/ 180975 w 742"/>
                    <a:gd name="T3" fmla="*/ 228600 h 180"/>
                    <a:gd name="T4" fmla="*/ 187325 w 742"/>
                    <a:gd name="T5" fmla="*/ 225425 h 180"/>
                    <a:gd name="T6" fmla="*/ 215900 w 742"/>
                    <a:gd name="T7" fmla="*/ 215900 h 180"/>
                    <a:gd name="T8" fmla="*/ 327025 w 742"/>
                    <a:gd name="T9" fmla="*/ 190500 h 180"/>
                    <a:gd name="T10" fmla="*/ 669925 w 742"/>
                    <a:gd name="T11" fmla="*/ 114300 h 180"/>
                    <a:gd name="T12" fmla="*/ 1177925 w 742"/>
                    <a:gd name="T13" fmla="*/ 6350 h 180"/>
                    <a:gd name="T14" fmla="*/ 1162050 w 742"/>
                    <a:gd name="T15" fmla="*/ 0 h 180"/>
                    <a:gd name="T16" fmla="*/ 1162050 w 742"/>
                    <a:gd name="T17" fmla="*/ 0 h 180"/>
                    <a:gd name="T18" fmla="*/ 158750 w 742"/>
                    <a:gd name="T19" fmla="*/ 219075 h 180"/>
                    <a:gd name="T20" fmla="*/ 158750 w 742"/>
                    <a:gd name="T21" fmla="*/ 219075 h 180"/>
                    <a:gd name="T22" fmla="*/ 111125 w 742"/>
                    <a:gd name="T23" fmla="*/ 209550 h 180"/>
                    <a:gd name="T24" fmla="*/ 9525 w 742"/>
                    <a:gd name="T25" fmla="*/ 187325 h 180"/>
                    <a:gd name="T26" fmla="*/ 9525 w 742"/>
                    <a:gd name="T27" fmla="*/ 187325 h 180"/>
                    <a:gd name="T28" fmla="*/ 0 w 742"/>
                    <a:gd name="T29" fmla="*/ 196850 h 180"/>
                    <a:gd name="T30" fmla="*/ 0 w 742"/>
                    <a:gd name="T31" fmla="*/ 196850 h 180"/>
                    <a:gd name="T32" fmla="*/ 85725 w 742"/>
                    <a:gd name="T33" fmla="*/ 219075 h 180"/>
                    <a:gd name="T34" fmla="*/ 136525 w 742"/>
                    <a:gd name="T35" fmla="*/ 231775 h 180"/>
                    <a:gd name="T36" fmla="*/ 136525 w 742"/>
                    <a:gd name="T37" fmla="*/ 231775 h 180"/>
                    <a:gd name="T38" fmla="*/ 149225 w 742"/>
                    <a:gd name="T39" fmla="*/ 234950 h 180"/>
                    <a:gd name="T40" fmla="*/ 161925 w 742"/>
                    <a:gd name="T41" fmla="*/ 231775 h 180"/>
                    <a:gd name="T42" fmla="*/ 168275 w 742"/>
                    <a:gd name="T43" fmla="*/ 228600 h 180"/>
                    <a:gd name="T44" fmla="*/ 168275 w 742"/>
                    <a:gd name="T45" fmla="*/ 228600 h 180"/>
                    <a:gd name="T46" fmla="*/ 168275 w 742"/>
                    <a:gd name="T47" fmla="*/ 228600 h 180"/>
                    <a:gd name="T48" fmla="*/ 190500 w 742"/>
                    <a:gd name="T49" fmla="*/ 241300 h 180"/>
                    <a:gd name="T50" fmla="*/ 190500 w 742"/>
                    <a:gd name="T51" fmla="*/ 241300 h 180"/>
                    <a:gd name="T52" fmla="*/ 234950 w 742"/>
                    <a:gd name="T53" fmla="*/ 257175 h 180"/>
                    <a:gd name="T54" fmla="*/ 330200 w 742"/>
                    <a:gd name="T55" fmla="*/ 285750 h 180"/>
                    <a:gd name="T56" fmla="*/ 330200 w 742"/>
                    <a:gd name="T57" fmla="*/ 285750 h 180"/>
                    <a:gd name="T58" fmla="*/ 349250 w 742"/>
                    <a:gd name="T59" fmla="*/ 276225 h 180"/>
                    <a:gd name="T60" fmla="*/ 349250 w 742"/>
                    <a:gd name="T61" fmla="*/ 276225 h 180"/>
                    <a:gd name="T62" fmla="*/ 180975 w 742"/>
                    <a:gd name="T63" fmla="*/ 228600 h 180"/>
                    <a:gd name="T64" fmla="*/ 180975 w 742"/>
                    <a:gd name="T65" fmla="*/ 228600 h 180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742"/>
                    <a:gd name="T100" fmla="*/ 0 h 180"/>
                    <a:gd name="T101" fmla="*/ 742 w 742"/>
                    <a:gd name="T102" fmla="*/ 180 h 180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742" h="180">
                      <a:moveTo>
                        <a:pt x="114" y="144"/>
                      </a:moveTo>
                      <a:lnTo>
                        <a:pt x="114" y="144"/>
                      </a:lnTo>
                      <a:lnTo>
                        <a:pt x="118" y="142"/>
                      </a:lnTo>
                      <a:lnTo>
                        <a:pt x="136" y="136"/>
                      </a:lnTo>
                      <a:lnTo>
                        <a:pt x="206" y="120"/>
                      </a:lnTo>
                      <a:lnTo>
                        <a:pt x="422" y="72"/>
                      </a:lnTo>
                      <a:lnTo>
                        <a:pt x="742" y="4"/>
                      </a:lnTo>
                      <a:lnTo>
                        <a:pt x="732" y="0"/>
                      </a:lnTo>
                      <a:lnTo>
                        <a:pt x="100" y="138"/>
                      </a:lnTo>
                      <a:lnTo>
                        <a:pt x="70" y="132"/>
                      </a:lnTo>
                      <a:lnTo>
                        <a:pt x="6" y="118"/>
                      </a:lnTo>
                      <a:lnTo>
                        <a:pt x="0" y="124"/>
                      </a:lnTo>
                      <a:lnTo>
                        <a:pt x="54" y="138"/>
                      </a:lnTo>
                      <a:lnTo>
                        <a:pt x="86" y="146"/>
                      </a:lnTo>
                      <a:lnTo>
                        <a:pt x="94" y="148"/>
                      </a:lnTo>
                      <a:lnTo>
                        <a:pt x="102" y="146"/>
                      </a:lnTo>
                      <a:lnTo>
                        <a:pt x="106" y="144"/>
                      </a:lnTo>
                      <a:lnTo>
                        <a:pt x="120" y="152"/>
                      </a:lnTo>
                      <a:lnTo>
                        <a:pt x="148" y="162"/>
                      </a:lnTo>
                      <a:lnTo>
                        <a:pt x="208" y="180"/>
                      </a:lnTo>
                      <a:lnTo>
                        <a:pt x="220" y="174"/>
                      </a:lnTo>
                      <a:lnTo>
                        <a:pt x="114" y="144"/>
                      </a:lnTo>
                      <a:close/>
                    </a:path>
                  </a:pathLst>
                </a:custGeom>
                <a:solidFill>
                  <a:srgbClr val="AF876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246" name="Freeform 234"/>
                <p:cNvSpPr>
                  <a:spLocks/>
                </p:cNvSpPr>
                <p:nvPr/>
              </p:nvSpPr>
              <p:spPr bwMode="auto">
                <a:xfrm>
                  <a:off x="13225463" y="3541713"/>
                  <a:ext cx="327025" cy="644525"/>
                </a:xfrm>
                <a:custGeom>
                  <a:avLst/>
                  <a:gdLst>
                    <a:gd name="T0" fmla="*/ 323850 w 206"/>
                    <a:gd name="T1" fmla="*/ 95250 h 406"/>
                    <a:gd name="T2" fmla="*/ 3175 w 206"/>
                    <a:gd name="T3" fmla="*/ 0 h 406"/>
                    <a:gd name="T4" fmla="*/ 3175 w 206"/>
                    <a:gd name="T5" fmla="*/ 0 h 406"/>
                    <a:gd name="T6" fmla="*/ 0 w 206"/>
                    <a:gd name="T7" fmla="*/ 257175 h 406"/>
                    <a:gd name="T8" fmla="*/ 0 w 206"/>
                    <a:gd name="T9" fmla="*/ 527050 h 406"/>
                    <a:gd name="T10" fmla="*/ 0 w 206"/>
                    <a:gd name="T11" fmla="*/ 527050 h 406"/>
                    <a:gd name="T12" fmla="*/ 15875 w 206"/>
                    <a:gd name="T13" fmla="*/ 533400 h 406"/>
                    <a:gd name="T14" fmla="*/ 50800 w 206"/>
                    <a:gd name="T15" fmla="*/ 549275 h 406"/>
                    <a:gd name="T16" fmla="*/ 165100 w 206"/>
                    <a:gd name="T17" fmla="*/ 590550 h 406"/>
                    <a:gd name="T18" fmla="*/ 327025 w 206"/>
                    <a:gd name="T19" fmla="*/ 644525 h 406"/>
                    <a:gd name="T20" fmla="*/ 323850 w 206"/>
                    <a:gd name="T21" fmla="*/ 95250 h 40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06"/>
                    <a:gd name="T34" fmla="*/ 0 h 406"/>
                    <a:gd name="T35" fmla="*/ 206 w 206"/>
                    <a:gd name="T36" fmla="*/ 406 h 40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06" h="406">
                      <a:moveTo>
                        <a:pt x="204" y="60"/>
                      </a:moveTo>
                      <a:lnTo>
                        <a:pt x="2" y="0"/>
                      </a:lnTo>
                      <a:lnTo>
                        <a:pt x="0" y="162"/>
                      </a:lnTo>
                      <a:lnTo>
                        <a:pt x="0" y="332"/>
                      </a:lnTo>
                      <a:lnTo>
                        <a:pt x="10" y="336"/>
                      </a:lnTo>
                      <a:lnTo>
                        <a:pt x="32" y="346"/>
                      </a:lnTo>
                      <a:lnTo>
                        <a:pt x="104" y="372"/>
                      </a:lnTo>
                      <a:lnTo>
                        <a:pt x="206" y="406"/>
                      </a:lnTo>
                      <a:lnTo>
                        <a:pt x="204" y="60"/>
                      </a:lnTo>
                      <a:close/>
                    </a:path>
                  </a:pathLst>
                </a:custGeom>
                <a:solidFill>
                  <a:srgbClr val="AF876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</p:grpSp>
        </p:grpSp>
        <p:grpSp>
          <p:nvGrpSpPr>
            <p:cNvPr id="226" name="Gruppe 22"/>
            <p:cNvGrpSpPr>
              <a:grpSpLocks/>
            </p:cNvGrpSpPr>
            <p:nvPr/>
          </p:nvGrpSpPr>
          <p:grpSpPr bwMode="auto">
            <a:xfrm>
              <a:off x="471608" y="2653300"/>
              <a:ext cx="557400" cy="347080"/>
              <a:chOff x="3135274" y="1809750"/>
              <a:chExt cx="5292446" cy="3295940"/>
            </a:xfrm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grpSpPr>
          <p:sp>
            <p:nvSpPr>
              <p:cNvPr id="227" name="Kombinationstegning 263"/>
              <p:cNvSpPr/>
              <p:nvPr/>
            </p:nvSpPr>
            <p:spPr bwMode="auto">
              <a:xfrm>
                <a:off x="3812865" y="3352802"/>
                <a:ext cx="4614855" cy="1752888"/>
              </a:xfrm>
              <a:custGeom>
                <a:avLst/>
                <a:gdLst>
                  <a:gd name="connsiteX0" fmla="*/ 762000 w 2628900"/>
                  <a:gd name="connsiteY0" fmla="*/ 723900 h 723900"/>
                  <a:gd name="connsiteX1" fmla="*/ 2628900 w 2628900"/>
                  <a:gd name="connsiteY1" fmla="*/ 419100 h 723900"/>
                  <a:gd name="connsiteX2" fmla="*/ 514350 w 2628900"/>
                  <a:gd name="connsiteY2" fmla="*/ 0 h 723900"/>
                  <a:gd name="connsiteX3" fmla="*/ 0 w 2628900"/>
                  <a:gd name="connsiteY3" fmla="*/ 57150 h 723900"/>
                  <a:gd name="connsiteX4" fmla="*/ 762000 w 2628900"/>
                  <a:gd name="connsiteY4" fmla="*/ 723900 h 723900"/>
                  <a:gd name="connsiteX0" fmla="*/ 599628 w 2628900"/>
                  <a:gd name="connsiteY0" fmla="*/ 723900 h 723900"/>
                  <a:gd name="connsiteX1" fmla="*/ 2628900 w 2628900"/>
                  <a:gd name="connsiteY1" fmla="*/ 419100 h 723900"/>
                  <a:gd name="connsiteX2" fmla="*/ 514350 w 2628900"/>
                  <a:gd name="connsiteY2" fmla="*/ 0 h 723900"/>
                  <a:gd name="connsiteX3" fmla="*/ 0 w 2628900"/>
                  <a:gd name="connsiteY3" fmla="*/ 57150 h 723900"/>
                  <a:gd name="connsiteX4" fmla="*/ 599628 w 2628900"/>
                  <a:gd name="connsiteY4" fmla="*/ 723900 h 723900"/>
                  <a:gd name="connsiteX0" fmla="*/ 599628 w 2628900"/>
                  <a:gd name="connsiteY0" fmla="*/ 666750 h 666750"/>
                  <a:gd name="connsiteX1" fmla="*/ 2628900 w 2628900"/>
                  <a:gd name="connsiteY1" fmla="*/ 361950 h 666750"/>
                  <a:gd name="connsiteX2" fmla="*/ 1634716 w 2628900"/>
                  <a:gd name="connsiteY2" fmla="*/ 59081 h 666750"/>
                  <a:gd name="connsiteX3" fmla="*/ 0 w 2628900"/>
                  <a:gd name="connsiteY3" fmla="*/ 0 h 666750"/>
                  <a:gd name="connsiteX4" fmla="*/ 599628 w 2628900"/>
                  <a:gd name="connsiteY4" fmla="*/ 666750 h 666750"/>
                  <a:gd name="connsiteX0" fmla="*/ 429137 w 2458409"/>
                  <a:gd name="connsiteY0" fmla="*/ 607669 h 607669"/>
                  <a:gd name="connsiteX1" fmla="*/ 2458409 w 2458409"/>
                  <a:gd name="connsiteY1" fmla="*/ 302869 h 607669"/>
                  <a:gd name="connsiteX2" fmla="*/ 1464225 w 2458409"/>
                  <a:gd name="connsiteY2" fmla="*/ 0 h 607669"/>
                  <a:gd name="connsiteX3" fmla="*/ 0 w 2458409"/>
                  <a:gd name="connsiteY3" fmla="*/ 136398 h 607669"/>
                  <a:gd name="connsiteX4" fmla="*/ 429137 w 2458409"/>
                  <a:gd name="connsiteY4" fmla="*/ 607669 h 607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8409" h="607669">
                    <a:moveTo>
                      <a:pt x="429137" y="607669"/>
                    </a:moveTo>
                    <a:lnTo>
                      <a:pt x="2458409" y="302869"/>
                    </a:lnTo>
                    <a:lnTo>
                      <a:pt x="1464225" y="0"/>
                    </a:lnTo>
                    <a:lnTo>
                      <a:pt x="0" y="136398"/>
                    </a:lnTo>
                    <a:lnTo>
                      <a:pt x="429137" y="607669"/>
                    </a:lnTo>
                    <a:close/>
                  </a:path>
                </a:pathLst>
              </a:custGeom>
              <a:gradFill flip="none" rotWithShape="1">
                <a:gsLst>
                  <a:gs pos="24000">
                    <a:sysClr val="windowText" lastClr="000000">
                      <a:alpha val="23000"/>
                    </a:sysClr>
                  </a:gs>
                  <a:gs pos="69000">
                    <a:sysClr val="window" lastClr="FFFFFF">
                      <a:alpha val="0"/>
                    </a:sysClr>
                  </a:gs>
                </a:gsLst>
                <a:lin ang="1890000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dirty="0" err="1">
                  <a:solidFill>
                    <a:sysClr val="window" lastClr="FFFFFF"/>
                  </a:solidFill>
                  <a:latin typeface="Calibri"/>
                  <a:ea typeface="+mn-ea"/>
                </a:endParaRPr>
              </a:p>
            </p:txBody>
          </p:sp>
          <p:grpSp>
            <p:nvGrpSpPr>
              <p:cNvPr id="228" name="Gruppe 240"/>
              <p:cNvGrpSpPr>
                <a:grpSpLocks/>
              </p:cNvGrpSpPr>
              <p:nvPr/>
            </p:nvGrpSpPr>
            <p:grpSpPr bwMode="auto">
              <a:xfrm>
                <a:off x="3135274" y="1809750"/>
                <a:ext cx="3452893" cy="3276600"/>
                <a:chOff x="13047663" y="2554288"/>
                <a:chExt cx="1803400" cy="1711325"/>
              </a:xfrm>
            </p:grpSpPr>
            <p:sp>
              <p:nvSpPr>
                <p:cNvPr id="229" name="Freeform 227"/>
                <p:cNvSpPr>
                  <a:spLocks/>
                </p:cNvSpPr>
                <p:nvPr/>
              </p:nvSpPr>
              <p:spPr bwMode="auto">
                <a:xfrm>
                  <a:off x="13047663" y="2767013"/>
                  <a:ext cx="781050" cy="1498600"/>
                </a:xfrm>
                <a:custGeom>
                  <a:avLst/>
                  <a:gdLst>
                    <a:gd name="T0" fmla="*/ 50800 w 492"/>
                    <a:gd name="T1" fmla="*/ 0 h 944"/>
                    <a:gd name="T2" fmla="*/ 50800 w 492"/>
                    <a:gd name="T3" fmla="*/ 0 h 944"/>
                    <a:gd name="T4" fmla="*/ 41275 w 492"/>
                    <a:gd name="T5" fmla="*/ 0 h 944"/>
                    <a:gd name="T6" fmla="*/ 25400 w 492"/>
                    <a:gd name="T7" fmla="*/ 3175 h 944"/>
                    <a:gd name="T8" fmla="*/ 15875 w 492"/>
                    <a:gd name="T9" fmla="*/ 6350 h 944"/>
                    <a:gd name="T10" fmla="*/ 9525 w 492"/>
                    <a:gd name="T11" fmla="*/ 12700 h 944"/>
                    <a:gd name="T12" fmla="*/ 3175 w 492"/>
                    <a:gd name="T13" fmla="*/ 22225 h 944"/>
                    <a:gd name="T14" fmla="*/ 0 w 492"/>
                    <a:gd name="T15" fmla="*/ 38100 h 944"/>
                    <a:gd name="T16" fmla="*/ 0 w 492"/>
                    <a:gd name="T17" fmla="*/ 38100 h 944"/>
                    <a:gd name="T18" fmla="*/ 0 w 492"/>
                    <a:gd name="T19" fmla="*/ 244475 h 944"/>
                    <a:gd name="T20" fmla="*/ 3175 w 492"/>
                    <a:gd name="T21" fmla="*/ 657225 h 944"/>
                    <a:gd name="T22" fmla="*/ 3175 w 492"/>
                    <a:gd name="T23" fmla="*/ 876300 h 944"/>
                    <a:gd name="T24" fmla="*/ 6350 w 492"/>
                    <a:gd name="T25" fmla="*/ 1063625 h 944"/>
                    <a:gd name="T26" fmla="*/ 12700 w 492"/>
                    <a:gd name="T27" fmla="*/ 1196975 h 944"/>
                    <a:gd name="T28" fmla="*/ 15875 w 492"/>
                    <a:gd name="T29" fmla="*/ 1235075 h 944"/>
                    <a:gd name="T30" fmla="*/ 19050 w 492"/>
                    <a:gd name="T31" fmla="*/ 1247775 h 944"/>
                    <a:gd name="T32" fmla="*/ 19050 w 492"/>
                    <a:gd name="T33" fmla="*/ 1247775 h 944"/>
                    <a:gd name="T34" fmla="*/ 387350 w 492"/>
                    <a:gd name="T35" fmla="*/ 1377950 h 944"/>
                    <a:gd name="T36" fmla="*/ 635000 w 492"/>
                    <a:gd name="T37" fmla="*/ 1463675 h 944"/>
                    <a:gd name="T38" fmla="*/ 717550 w 492"/>
                    <a:gd name="T39" fmla="*/ 1489075 h 944"/>
                    <a:gd name="T40" fmla="*/ 752475 w 492"/>
                    <a:gd name="T41" fmla="*/ 1498600 h 944"/>
                    <a:gd name="T42" fmla="*/ 752475 w 492"/>
                    <a:gd name="T43" fmla="*/ 1498600 h 944"/>
                    <a:gd name="T44" fmla="*/ 752475 w 492"/>
                    <a:gd name="T45" fmla="*/ 1485900 h 944"/>
                    <a:gd name="T46" fmla="*/ 755650 w 492"/>
                    <a:gd name="T47" fmla="*/ 1444625 h 944"/>
                    <a:gd name="T48" fmla="*/ 755650 w 492"/>
                    <a:gd name="T49" fmla="*/ 1298575 h 944"/>
                    <a:gd name="T50" fmla="*/ 752475 w 492"/>
                    <a:gd name="T51" fmla="*/ 860425 h 944"/>
                    <a:gd name="T52" fmla="*/ 749300 w 492"/>
                    <a:gd name="T53" fmla="*/ 422275 h 944"/>
                    <a:gd name="T54" fmla="*/ 749300 w 492"/>
                    <a:gd name="T55" fmla="*/ 279400 h 944"/>
                    <a:gd name="T56" fmla="*/ 752475 w 492"/>
                    <a:gd name="T57" fmla="*/ 222250 h 944"/>
                    <a:gd name="T58" fmla="*/ 752475 w 492"/>
                    <a:gd name="T59" fmla="*/ 222250 h 944"/>
                    <a:gd name="T60" fmla="*/ 771525 w 492"/>
                    <a:gd name="T61" fmla="*/ 206375 h 944"/>
                    <a:gd name="T62" fmla="*/ 781050 w 492"/>
                    <a:gd name="T63" fmla="*/ 193675 h 944"/>
                    <a:gd name="T64" fmla="*/ 50800 w 492"/>
                    <a:gd name="T65" fmla="*/ 0 h 944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492"/>
                    <a:gd name="T100" fmla="*/ 0 h 944"/>
                    <a:gd name="T101" fmla="*/ 492 w 492"/>
                    <a:gd name="T102" fmla="*/ 944 h 944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492" h="944">
                      <a:moveTo>
                        <a:pt x="32" y="0"/>
                      </a:moveTo>
                      <a:lnTo>
                        <a:pt x="32" y="0"/>
                      </a:lnTo>
                      <a:lnTo>
                        <a:pt x="26" y="0"/>
                      </a:lnTo>
                      <a:lnTo>
                        <a:pt x="16" y="2"/>
                      </a:lnTo>
                      <a:lnTo>
                        <a:pt x="10" y="4"/>
                      </a:lnTo>
                      <a:lnTo>
                        <a:pt x="6" y="8"/>
                      </a:lnTo>
                      <a:lnTo>
                        <a:pt x="2" y="14"/>
                      </a:lnTo>
                      <a:lnTo>
                        <a:pt x="0" y="24"/>
                      </a:lnTo>
                      <a:lnTo>
                        <a:pt x="0" y="154"/>
                      </a:lnTo>
                      <a:lnTo>
                        <a:pt x="2" y="414"/>
                      </a:lnTo>
                      <a:lnTo>
                        <a:pt x="2" y="552"/>
                      </a:lnTo>
                      <a:lnTo>
                        <a:pt x="4" y="670"/>
                      </a:lnTo>
                      <a:lnTo>
                        <a:pt x="8" y="754"/>
                      </a:lnTo>
                      <a:lnTo>
                        <a:pt x="10" y="778"/>
                      </a:lnTo>
                      <a:lnTo>
                        <a:pt x="12" y="786"/>
                      </a:lnTo>
                      <a:lnTo>
                        <a:pt x="244" y="868"/>
                      </a:lnTo>
                      <a:lnTo>
                        <a:pt x="400" y="922"/>
                      </a:lnTo>
                      <a:lnTo>
                        <a:pt x="452" y="938"/>
                      </a:lnTo>
                      <a:lnTo>
                        <a:pt x="474" y="944"/>
                      </a:lnTo>
                      <a:lnTo>
                        <a:pt x="474" y="936"/>
                      </a:lnTo>
                      <a:lnTo>
                        <a:pt x="476" y="910"/>
                      </a:lnTo>
                      <a:lnTo>
                        <a:pt x="476" y="818"/>
                      </a:lnTo>
                      <a:lnTo>
                        <a:pt x="474" y="542"/>
                      </a:lnTo>
                      <a:lnTo>
                        <a:pt x="472" y="266"/>
                      </a:lnTo>
                      <a:lnTo>
                        <a:pt x="472" y="176"/>
                      </a:lnTo>
                      <a:lnTo>
                        <a:pt x="474" y="140"/>
                      </a:lnTo>
                      <a:lnTo>
                        <a:pt x="486" y="130"/>
                      </a:lnTo>
                      <a:lnTo>
                        <a:pt x="492" y="122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solidFill>
                  <a:srgbClr val="BF9F6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230" name="Freeform 228"/>
                <p:cNvSpPr>
                  <a:spLocks/>
                </p:cNvSpPr>
                <p:nvPr/>
              </p:nvSpPr>
              <p:spPr bwMode="auto">
                <a:xfrm>
                  <a:off x="13066713" y="2554288"/>
                  <a:ext cx="1784350" cy="1711325"/>
                </a:xfrm>
                <a:custGeom>
                  <a:avLst/>
                  <a:gdLst>
                    <a:gd name="T0" fmla="*/ 0 w 1124"/>
                    <a:gd name="T1" fmla="*/ 222250 h 1078"/>
                    <a:gd name="T2" fmla="*/ 0 w 1124"/>
                    <a:gd name="T3" fmla="*/ 222250 h 1078"/>
                    <a:gd name="T4" fmla="*/ 361950 w 1124"/>
                    <a:gd name="T5" fmla="*/ 317500 h 1078"/>
                    <a:gd name="T6" fmla="*/ 609600 w 1124"/>
                    <a:gd name="T7" fmla="*/ 387350 h 1078"/>
                    <a:gd name="T8" fmla="*/ 695325 w 1124"/>
                    <a:gd name="T9" fmla="*/ 412750 h 1078"/>
                    <a:gd name="T10" fmla="*/ 717550 w 1124"/>
                    <a:gd name="T11" fmla="*/ 419100 h 1078"/>
                    <a:gd name="T12" fmla="*/ 727075 w 1124"/>
                    <a:gd name="T13" fmla="*/ 425450 h 1078"/>
                    <a:gd name="T14" fmla="*/ 727075 w 1124"/>
                    <a:gd name="T15" fmla="*/ 425450 h 1078"/>
                    <a:gd name="T16" fmla="*/ 730250 w 1124"/>
                    <a:gd name="T17" fmla="*/ 485775 h 1078"/>
                    <a:gd name="T18" fmla="*/ 730250 w 1124"/>
                    <a:gd name="T19" fmla="*/ 631825 h 1078"/>
                    <a:gd name="T20" fmla="*/ 730250 w 1124"/>
                    <a:gd name="T21" fmla="*/ 1073150 h 1078"/>
                    <a:gd name="T22" fmla="*/ 727075 w 1124"/>
                    <a:gd name="T23" fmla="*/ 1511300 h 1078"/>
                    <a:gd name="T24" fmla="*/ 727075 w 1124"/>
                    <a:gd name="T25" fmla="*/ 1657350 h 1078"/>
                    <a:gd name="T26" fmla="*/ 730250 w 1124"/>
                    <a:gd name="T27" fmla="*/ 1711325 h 1078"/>
                    <a:gd name="T28" fmla="*/ 730250 w 1124"/>
                    <a:gd name="T29" fmla="*/ 1711325 h 1078"/>
                    <a:gd name="T30" fmla="*/ 777875 w 1124"/>
                    <a:gd name="T31" fmla="*/ 1701800 h 1078"/>
                    <a:gd name="T32" fmla="*/ 895350 w 1124"/>
                    <a:gd name="T33" fmla="*/ 1666875 h 1078"/>
                    <a:gd name="T34" fmla="*/ 1247775 w 1124"/>
                    <a:gd name="T35" fmla="*/ 1565275 h 1078"/>
                    <a:gd name="T36" fmla="*/ 1600200 w 1124"/>
                    <a:gd name="T37" fmla="*/ 1457325 h 1078"/>
                    <a:gd name="T38" fmla="*/ 1714500 w 1124"/>
                    <a:gd name="T39" fmla="*/ 1419225 h 1078"/>
                    <a:gd name="T40" fmla="*/ 1762125 w 1124"/>
                    <a:gd name="T41" fmla="*/ 1403350 h 1078"/>
                    <a:gd name="T42" fmla="*/ 1762125 w 1124"/>
                    <a:gd name="T43" fmla="*/ 1403350 h 1078"/>
                    <a:gd name="T44" fmla="*/ 1765300 w 1124"/>
                    <a:gd name="T45" fmla="*/ 1349375 h 1078"/>
                    <a:gd name="T46" fmla="*/ 1768475 w 1124"/>
                    <a:gd name="T47" fmla="*/ 1209675 h 1078"/>
                    <a:gd name="T48" fmla="*/ 1778000 w 1124"/>
                    <a:gd name="T49" fmla="*/ 790575 h 1078"/>
                    <a:gd name="T50" fmla="*/ 1784350 w 1124"/>
                    <a:gd name="T51" fmla="*/ 374650 h 1078"/>
                    <a:gd name="T52" fmla="*/ 1784350 w 1124"/>
                    <a:gd name="T53" fmla="*/ 234950 h 1078"/>
                    <a:gd name="T54" fmla="*/ 1781175 w 1124"/>
                    <a:gd name="T55" fmla="*/ 196850 h 1078"/>
                    <a:gd name="T56" fmla="*/ 1781175 w 1124"/>
                    <a:gd name="T57" fmla="*/ 180975 h 1078"/>
                    <a:gd name="T58" fmla="*/ 1781175 w 1124"/>
                    <a:gd name="T59" fmla="*/ 180975 h 1078"/>
                    <a:gd name="T60" fmla="*/ 1657350 w 1124"/>
                    <a:gd name="T61" fmla="*/ 149225 h 1078"/>
                    <a:gd name="T62" fmla="*/ 1403350 w 1124"/>
                    <a:gd name="T63" fmla="*/ 85725 h 1078"/>
                    <a:gd name="T64" fmla="*/ 1152525 w 1124"/>
                    <a:gd name="T65" fmla="*/ 25400 h 1078"/>
                    <a:gd name="T66" fmla="*/ 1035050 w 1124"/>
                    <a:gd name="T67" fmla="*/ 0 h 1078"/>
                    <a:gd name="T68" fmla="*/ 1035050 w 1124"/>
                    <a:gd name="T69" fmla="*/ 0 h 1078"/>
                    <a:gd name="T70" fmla="*/ 508000 w 1124"/>
                    <a:gd name="T71" fmla="*/ 104775 h 1078"/>
                    <a:gd name="T72" fmla="*/ 317500 w 1124"/>
                    <a:gd name="T73" fmla="*/ 142875 h 1078"/>
                    <a:gd name="T74" fmla="*/ 152400 w 1124"/>
                    <a:gd name="T75" fmla="*/ 180975 h 1078"/>
                    <a:gd name="T76" fmla="*/ 38100 w 1124"/>
                    <a:gd name="T77" fmla="*/ 206375 h 1078"/>
                    <a:gd name="T78" fmla="*/ 9525 w 1124"/>
                    <a:gd name="T79" fmla="*/ 215900 h 1078"/>
                    <a:gd name="T80" fmla="*/ 3175 w 1124"/>
                    <a:gd name="T81" fmla="*/ 222250 h 1078"/>
                    <a:gd name="T82" fmla="*/ 0 w 1124"/>
                    <a:gd name="T83" fmla="*/ 222250 h 1078"/>
                    <a:gd name="T84" fmla="*/ 0 w 1124"/>
                    <a:gd name="T85" fmla="*/ 222250 h 107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124"/>
                    <a:gd name="T130" fmla="*/ 0 h 1078"/>
                    <a:gd name="T131" fmla="*/ 1124 w 1124"/>
                    <a:gd name="T132" fmla="*/ 1078 h 107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124" h="1078">
                      <a:moveTo>
                        <a:pt x="0" y="140"/>
                      </a:moveTo>
                      <a:lnTo>
                        <a:pt x="0" y="140"/>
                      </a:lnTo>
                      <a:lnTo>
                        <a:pt x="228" y="200"/>
                      </a:lnTo>
                      <a:lnTo>
                        <a:pt x="384" y="244"/>
                      </a:lnTo>
                      <a:lnTo>
                        <a:pt x="438" y="260"/>
                      </a:lnTo>
                      <a:lnTo>
                        <a:pt x="452" y="264"/>
                      </a:lnTo>
                      <a:lnTo>
                        <a:pt x="458" y="268"/>
                      </a:lnTo>
                      <a:lnTo>
                        <a:pt x="460" y="306"/>
                      </a:lnTo>
                      <a:lnTo>
                        <a:pt x="460" y="398"/>
                      </a:lnTo>
                      <a:lnTo>
                        <a:pt x="460" y="676"/>
                      </a:lnTo>
                      <a:lnTo>
                        <a:pt x="458" y="952"/>
                      </a:lnTo>
                      <a:lnTo>
                        <a:pt x="458" y="1044"/>
                      </a:lnTo>
                      <a:lnTo>
                        <a:pt x="460" y="1078"/>
                      </a:lnTo>
                      <a:lnTo>
                        <a:pt x="490" y="1072"/>
                      </a:lnTo>
                      <a:lnTo>
                        <a:pt x="564" y="1050"/>
                      </a:lnTo>
                      <a:lnTo>
                        <a:pt x="786" y="986"/>
                      </a:lnTo>
                      <a:lnTo>
                        <a:pt x="1008" y="918"/>
                      </a:lnTo>
                      <a:lnTo>
                        <a:pt x="1080" y="894"/>
                      </a:lnTo>
                      <a:lnTo>
                        <a:pt x="1110" y="884"/>
                      </a:lnTo>
                      <a:lnTo>
                        <a:pt x="1112" y="850"/>
                      </a:lnTo>
                      <a:lnTo>
                        <a:pt x="1114" y="762"/>
                      </a:lnTo>
                      <a:lnTo>
                        <a:pt x="1120" y="498"/>
                      </a:lnTo>
                      <a:lnTo>
                        <a:pt x="1124" y="236"/>
                      </a:lnTo>
                      <a:lnTo>
                        <a:pt x="1124" y="148"/>
                      </a:lnTo>
                      <a:lnTo>
                        <a:pt x="1122" y="124"/>
                      </a:lnTo>
                      <a:lnTo>
                        <a:pt x="1122" y="114"/>
                      </a:lnTo>
                      <a:lnTo>
                        <a:pt x="1044" y="94"/>
                      </a:lnTo>
                      <a:lnTo>
                        <a:pt x="884" y="54"/>
                      </a:lnTo>
                      <a:lnTo>
                        <a:pt x="726" y="16"/>
                      </a:lnTo>
                      <a:lnTo>
                        <a:pt x="652" y="0"/>
                      </a:lnTo>
                      <a:lnTo>
                        <a:pt x="320" y="66"/>
                      </a:lnTo>
                      <a:lnTo>
                        <a:pt x="200" y="90"/>
                      </a:lnTo>
                      <a:lnTo>
                        <a:pt x="96" y="114"/>
                      </a:lnTo>
                      <a:lnTo>
                        <a:pt x="24" y="130"/>
                      </a:lnTo>
                      <a:lnTo>
                        <a:pt x="6" y="136"/>
                      </a:lnTo>
                      <a:lnTo>
                        <a:pt x="2" y="140"/>
                      </a:lnTo>
                      <a:lnTo>
                        <a:pt x="0" y="140"/>
                      </a:lnTo>
                      <a:close/>
                    </a:path>
                  </a:pathLst>
                </a:custGeom>
                <a:solidFill>
                  <a:srgbClr val="CBB48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231" name="Freeform 229"/>
                <p:cNvSpPr>
                  <a:spLocks/>
                </p:cNvSpPr>
                <p:nvPr/>
              </p:nvSpPr>
              <p:spPr bwMode="auto">
                <a:xfrm>
                  <a:off x="13603288" y="2906713"/>
                  <a:ext cx="212725" cy="82550"/>
                </a:xfrm>
                <a:custGeom>
                  <a:avLst/>
                  <a:gdLst>
                    <a:gd name="T0" fmla="*/ 19050 w 134"/>
                    <a:gd name="T1" fmla="*/ 0 h 52"/>
                    <a:gd name="T2" fmla="*/ 19050 w 134"/>
                    <a:gd name="T3" fmla="*/ 0 h 52"/>
                    <a:gd name="T4" fmla="*/ 0 w 134"/>
                    <a:gd name="T5" fmla="*/ 9525 h 52"/>
                    <a:gd name="T6" fmla="*/ 0 w 134"/>
                    <a:gd name="T7" fmla="*/ 9525 h 52"/>
                    <a:gd name="T8" fmla="*/ 120650 w 134"/>
                    <a:gd name="T9" fmla="*/ 47625 h 52"/>
                    <a:gd name="T10" fmla="*/ 187325 w 134"/>
                    <a:gd name="T11" fmla="*/ 63500 h 52"/>
                    <a:gd name="T12" fmla="*/ 187325 w 134"/>
                    <a:gd name="T13" fmla="*/ 63500 h 52"/>
                    <a:gd name="T14" fmla="*/ 196850 w 134"/>
                    <a:gd name="T15" fmla="*/ 66675 h 52"/>
                    <a:gd name="T16" fmla="*/ 200025 w 134"/>
                    <a:gd name="T17" fmla="*/ 73025 h 52"/>
                    <a:gd name="T18" fmla="*/ 196850 w 134"/>
                    <a:gd name="T19" fmla="*/ 82550 h 52"/>
                    <a:gd name="T20" fmla="*/ 196850 w 134"/>
                    <a:gd name="T21" fmla="*/ 82550 h 52"/>
                    <a:gd name="T22" fmla="*/ 206375 w 134"/>
                    <a:gd name="T23" fmla="*/ 79375 h 52"/>
                    <a:gd name="T24" fmla="*/ 212725 w 134"/>
                    <a:gd name="T25" fmla="*/ 73025 h 52"/>
                    <a:gd name="T26" fmla="*/ 212725 w 134"/>
                    <a:gd name="T27" fmla="*/ 66675 h 52"/>
                    <a:gd name="T28" fmla="*/ 212725 w 134"/>
                    <a:gd name="T29" fmla="*/ 66675 h 52"/>
                    <a:gd name="T30" fmla="*/ 196850 w 134"/>
                    <a:gd name="T31" fmla="*/ 57150 h 52"/>
                    <a:gd name="T32" fmla="*/ 152400 w 134"/>
                    <a:gd name="T33" fmla="*/ 41275 h 52"/>
                    <a:gd name="T34" fmla="*/ 19050 w 134"/>
                    <a:gd name="T35" fmla="*/ 0 h 52"/>
                    <a:gd name="T36" fmla="*/ 19050 w 134"/>
                    <a:gd name="T37" fmla="*/ 0 h 52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34"/>
                    <a:gd name="T58" fmla="*/ 0 h 52"/>
                    <a:gd name="T59" fmla="*/ 134 w 134"/>
                    <a:gd name="T60" fmla="*/ 52 h 52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34" h="52">
                      <a:moveTo>
                        <a:pt x="12" y="0"/>
                      </a:moveTo>
                      <a:lnTo>
                        <a:pt x="12" y="0"/>
                      </a:lnTo>
                      <a:lnTo>
                        <a:pt x="0" y="6"/>
                      </a:lnTo>
                      <a:lnTo>
                        <a:pt x="76" y="30"/>
                      </a:lnTo>
                      <a:lnTo>
                        <a:pt x="118" y="40"/>
                      </a:lnTo>
                      <a:lnTo>
                        <a:pt x="124" y="42"/>
                      </a:lnTo>
                      <a:lnTo>
                        <a:pt x="126" y="46"/>
                      </a:lnTo>
                      <a:lnTo>
                        <a:pt x="124" y="52"/>
                      </a:lnTo>
                      <a:lnTo>
                        <a:pt x="130" y="50"/>
                      </a:lnTo>
                      <a:lnTo>
                        <a:pt x="134" y="46"/>
                      </a:lnTo>
                      <a:lnTo>
                        <a:pt x="134" y="42"/>
                      </a:lnTo>
                      <a:lnTo>
                        <a:pt x="124" y="36"/>
                      </a:lnTo>
                      <a:lnTo>
                        <a:pt x="96" y="26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AF876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232" name="Freeform 230"/>
                <p:cNvSpPr>
                  <a:spLocks/>
                </p:cNvSpPr>
                <p:nvPr/>
              </p:nvSpPr>
              <p:spPr bwMode="auto">
                <a:xfrm>
                  <a:off x="13054013" y="2767013"/>
                  <a:ext cx="228600" cy="60325"/>
                </a:xfrm>
                <a:custGeom>
                  <a:avLst/>
                  <a:gdLst>
                    <a:gd name="T0" fmla="*/ 228600 w 144"/>
                    <a:gd name="T1" fmla="*/ 50800 h 38"/>
                    <a:gd name="T2" fmla="*/ 228600 w 144"/>
                    <a:gd name="T3" fmla="*/ 50800 h 38"/>
                    <a:gd name="T4" fmla="*/ 34925 w 144"/>
                    <a:gd name="T5" fmla="*/ 0 h 38"/>
                    <a:gd name="T6" fmla="*/ 34925 w 144"/>
                    <a:gd name="T7" fmla="*/ 0 h 38"/>
                    <a:gd name="T8" fmla="*/ 25400 w 144"/>
                    <a:gd name="T9" fmla="*/ 0 h 38"/>
                    <a:gd name="T10" fmla="*/ 19050 w 144"/>
                    <a:gd name="T11" fmla="*/ 3175 h 38"/>
                    <a:gd name="T12" fmla="*/ 6350 w 144"/>
                    <a:gd name="T13" fmla="*/ 9525 h 38"/>
                    <a:gd name="T14" fmla="*/ 0 w 144"/>
                    <a:gd name="T15" fmla="*/ 19050 h 38"/>
                    <a:gd name="T16" fmla="*/ 0 w 144"/>
                    <a:gd name="T17" fmla="*/ 22225 h 38"/>
                    <a:gd name="T18" fmla="*/ 15875 w 144"/>
                    <a:gd name="T19" fmla="*/ 9525 h 38"/>
                    <a:gd name="T20" fmla="*/ 15875 w 144"/>
                    <a:gd name="T21" fmla="*/ 9525 h 38"/>
                    <a:gd name="T22" fmla="*/ 25400 w 144"/>
                    <a:gd name="T23" fmla="*/ 9525 h 38"/>
                    <a:gd name="T24" fmla="*/ 38100 w 144"/>
                    <a:gd name="T25" fmla="*/ 12700 h 38"/>
                    <a:gd name="T26" fmla="*/ 107950 w 144"/>
                    <a:gd name="T27" fmla="*/ 31750 h 38"/>
                    <a:gd name="T28" fmla="*/ 107950 w 144"/>
                    <a:gd name="T29" fmla="*/ 31750 h 38"/>
                    <a:gd name="T30" fmla="*/ 219075 w 144"/>
                    <a:gd name="T31" fmla="*/ 60325 h 38"/>
                    <a:gd name="T32" fmla="*/ 219075 w 144"/>
                    <a:gd name="T33" fmla="*/ 60325 h 38"/>
                    <a:gd name="T34" fmla="*/ 228600 w 144"/>
                    <a:gd name="T35" fmla="*/ 50800 h 38"/>
                    <a:gd name="T36" fmla="*/ 228600 w 144"/>
                    <a:gd name="T37" fmla="*/ 50800 h 3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44"/>
                    <a:gd name="T58" fmla="*/ 0 h 38"/>
                    <a:gd name="T59" fmla="*/ 144 w 144"/>
                    <a:gd name="T60" fmla="*/ 38 h 3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44" h="38">
                      <a:moveTo>
                        <a:pt x="144" y="32"/>
                      </a:moveTo>
                      <a:lnTo>
                        <a:pt x="144" y="32"/>
                      </a:lnTo>
                      <a:lnTo>
                        <a:pt x="22" y="0"/>
                      </a:lnTo>
                      <a:lnTo>
                        <a:pt x="16" y="0"/>
                      </a:lnTo>
                      <a:lnTo>
                        <a:pt x="12" y="2"/>
                      </a:lnTo>
                      <a:lnTo>
                        <a:pt x="4" y="6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10" y="6"/>
                      </a:lnTo>
                      <a:lnTo>
                        <a:pt x="16" y="6"/>
                      </a:lnTo>
                      <a:lnTo>
                        <a:pt x="24" y="8"/>
                      </a:lnTo>
                      <a:lnTo>
                        <a:pt x="68" y="20"/>
                      </a:lnTo>
                      <a:lnTo>
                        <a:pt x="138" y="38"/>
                      </a:lnTo>
                      <a:lnTo>
                        <a:pt x="144" y="32"/>
                      </a:lnTo>
                      <a:close/>
                    </a:path>
                  </a:pathLst>
                </a:custGeom>
                <a:solidFill>
                  <a:srgbClr val="AF876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233" name="Freeform 231"/>
                <p:cNvSpPr>
                  <a:spLocks/>
                </p:cNvSpPr>
                <p:nvPr/>
              </p:nvSpPr>
              <p:spPr bwMode="auto">
                <a:xfrm>
                  <a:off x="13282613" y="2595563"/>
                  <a:ext cx="1352550" cy="311150"/>
                </a:xfrm>
                <a:custGeom>
                  <a:avLst/>
                  <a:gdLst>
                    <a:gd name="T0" fmla="*/ 149225 w 852"/>
                    <a:gd name="T1" fmla="*/ 254000 h 196"/>
                    <a:gd name="T2" fmla="*/ 149225 w 852"/>
                    <a:gd name="T3" fmla="*/ 254000 h 196"/>
                    <a:gd name="T4" fmla="*/ 1133475 w 852"/>
                    <a:gd name="T5" fmla="*/ 41275 h 196"/>
                    <a:gd name="T6" fmla="*/ 1152525 w 852"/>
                    <a:gd name="T7" fmla="*/ 44450 h 196"/>
                    <a:gd name="T8" fmla="*/ 1152525 w 852"/>
                    <a:gd name="T9" fmla="*/ 44450 h 196"/>
                    <a:gd name="T10" fmla="*/ 654050 w 852"/>
                    <a:gd name="T11" fmla="*/ 152400 h 196"/>
                    <a:gd name="T12" fmla="*/ 314325 w 852"/>
                    <a:gd name="T13" fmla="*/ 225425 h 196"/>
                    <a:gd name="T14" fmla="*/ 206375 w 852"/>
                    <a:gd name="T15" fmla="*/ 250825 h 196"/>
                    <a:gd name="T16" fmla="*/ 177800 w 852"/>
                    <a:gd name="T17" fmla="*/ 260350 h 196"/>
                    <a:gd name="T18" fmla="*/ 171450 w 852"/>
                    <a:gd name="T19" fmla="*/ 263525 h 196"/>
                    <a:gd name="T20" fmla="*/ 171450 w 852"/>
                    <a:gd name="T21" fmla="*/ 263525 h 196"/>
                    <a:gd name="T22" fmla="*/ 339725 w 852"/>
                    <a:gd name="T23" fmla="*/ 311150 h 196"/>
                    <a:gd name="T24" fmla="*/ 342900 w 852"/>
                    <a:gd name="T25" fmla="*/ 311150 h 196"/>
                    <a:gd name="T26" fmla="*/ 342900 w 852"/>
                    <a:gd name="T27" fmla="*/ 311150 h 196"/>
                    <a:gd name="T28" fmla="*/ 850900 w 852"/>
                    <a:gd name="T29" fmla="*/ 196850 h 196"/>
                    <a:gd name="T30" fmla="*/ 1352550 w 852"/>
                    <a:gd name="T31" fmla="*/ 82550 h 196"/>
                    <a:gd name="T32" fmla="*/ 1012825 w 852"/>
                    <a:gd name="T33" fmla="*/ 0 h 196"/>
                    <a:gd name="T34" fmla="*/ 1012825 w 852"/>
                    <a:gd name="T35" fmla="*/ 0 h 196"/>
                    <a:gd name="T36" fmla="*/ 514350 w 852"/>
                    <a:gd name="T37" fmla="*/ 104775 h 196"/>
                    <a:gd name="T38" fmla="*/ 168275 w 852"/>
                    <a:gd name="T39" fmla="*/ 177800 h 196"/>
                    <a:gd name="T40" fmla="*/ 53975 w 852"/>
                    <a:gd name="T41" fmla="*/ 203200 h 196"/>
                    <a:gd name="T42" fmla="*/ 6350 w 852"/>
                    <a:gd name="T43" fmla="*/ 215900 h 196"/>
                    <a:gd name="T44" fmla="*/ 6350 w 852"/>
                    <a:gd name="T45" fmla="*/ 215900 h 196"/>
                    <a:gd name="T46" fmla="*/ 0 w 852"/>
                    <a:gd name="T47" fmla="*/ 222250 h 196"/>
                    <a:gd name="T48" fmla="*/ 0 w 852"/>
                    <a:gd name="T49" fmla="*/ 222250 h 196"/>
                    <a:gd name="T50" fmla="*/ 101600 w 852"/>
                    <a:gd name="T51" fmla="*/ 244475 h 196"/>
                    <a:gd name="T52" fmla="*/ 149225 w 852"/>
                    <a:gd name="T53" fmla="*/ 254000 h 196"/>
                    <a:gd name="T54" fmla="*/ 149225 w 852"/>
                    <a:gd name="T55" fmla="*/ 254000 h 19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852"/>
                    <a:gd name="T85" fmla="*/ 0 h 196"/>
                    <a:gd name="T86" fmla="*/ 852 w 852"/>
                    <a:gd name="T87" fmla="*/ 196 h 196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852" h="196">
                      <a:moveTo>
                        <a:pt x="94" y="160"/>
                      </a:moveTo>
                      <a:lnTo>
                        <a:pt x="94" y="160"/>
                      </a:lnTo>
                      <a:lnTo>
                        <a:pt x="714" y="26"/>
                      </a:lnTo>
                      <a:lnTo>
                        <a:pt x="726" y="28"/>
                      </a:lnTo>
                      <a:lnTo>
                        <a:pt x="412" y="96"/>
                      </a:lnTo>
                      <a:lnTo>
                        <a:pt x="198" y="142"/>
                      </a:lnTo>
                      <a:lnTo>
                        <a:pt x="130" y="158"/>
                      </a:lnTo>
                      <a:lnTo>
                        <a:pt x="112" y="164"/>
                      </a:lnTo>
                      <a:lnTo>
                        <a:pt x="108" y="166"/>
                      </a:lnTo>
                      <a:lnTo>
                        <a:pt x="214" y="196"/>
                      </a:lnTo>
                      <a:lnTo>
                        <a:pt x="216" y="196"/>
                      </a:lnTo>
                      <a:lnTo>
                        <a:pt x="536" y="124"/>
                      </a:lnTo>
                      <a:lnTo>
                        <a:pt x="852" y="52"/>
                      </a:lnTo>
                      <a:lnTo>
                        <a:pt x="638" y="0"/>
                      </a:lnTo>
                      <a:lnTo>
                        <a:pt x="324" y="66"/>
                      </a:lnTo>
                      <a:lnTo>
                        <a:pt x="106" y="112"/>
                      </a:lnTo>
                      <a:lnTo>
                        <a:pt x="34" y="128"/>
                      </a:lnTo>
                      <a:lnTo>
                        <a:pt x="4" y="136"/>
                      </a:lnTo>
                      <a:lnTo>
                        <a:pt x="0" y="140"/>
                      </a:lnTo>
                      <a:lnTo>
                        <a:pt x="64" y="154"/>
                      </a:lnTo>
                      <a:lnTo>
                        <a:pt x="94" y="160"/>
                      </a:lnTo>
                      <a:close/>
                    </a:path>
                  </a:pathLst>
                </a:custGeom>
                <a:solidFill>
                  <a:srgbClr val="AF876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234" name="Freeform 232"/>
                <p:cNvSpPr>
                  <a:spLocks/>
                </p:cNvSpPr>
                <p:nvPr/>
              </p:nvSpPr>
              <p:spPr bwMode="auto">
                <a:xfrm>
                  <a:off x="13254038" y="2827338"/>
                  <a:ext cx="349250" cy="473075"/>
                </a:xfrm>
                <a:custGeom>
                  <a:avLst/>
                  <a:gdLst>
                    <a:gd name="T0" fmla="*/ 187325 w 220"/>
                    <a:gd name="T1" fmla="*/ 31750 h 298"/>
                    <a:gd name="T2" fmla="*/ 187325 w 220"/>
                    <a:gd name="T3" fmla="*/ 31750 h 298"/>
                    <a:gd name="T4" fmla="*/ 187325 w 220"/>
                    <a:gd name="T5" fmla="*/ 31750 h 298"/>
                    <a:gd name="T6" fmla="*/ 180975 w 220"/>
                    <a:gd name="T7" fmla="*/ 34925 h 298"/>
                    <a:gd name="T8" fmla="*/ 168275 w 220"/>
                    <a:gd name="T9" fmla="*/ 38100 h 298"/>
                    <a:gd name="T10" fmla="*/ 155575 w 220"/>
                    <a:gd name="T11" fmla="*/ 34925 h 298"/>
                    <a:gd name="T12" fmla="*/ 155575 w 220"/>
                    <a:gd name="T13" fmla="*/ 34925 h 298"/>
                    <a:gd name="T14" fmla="*/ 104775 w 220"/>
                    <a:gd name="T15" fmla="*/ 22225 h 298"/>
                    <a:gd name="T16" fmla="*/ 19050 w 220"/>
                    <a:gd name="T17" fmla="*/ 0 h 298"/>
                    <a:gd name="T18" fmla="*/ 19050 w 220"/>
                    <a:gd name="T19" fmla="*/ 0 h 298"/>
                    <a:gd name="T20" fmla="*/ 9525 w 220"/>
                    <a:gd name="T21" fmla="*/ 12700 h 298"/>
                    <a:gd name="T22" fmla="*/ 6350 w 220"/>
                    <a:gd name="T23" fmla="*/ 19050 h 298"/>
                    <a:gd name="T24" fmla="*/ 6350 w 220"/>
                    <a:gd name="T25" fmla="*/ 25400 h 298"/>
                    <a:gd name="T26" fmla="*/ 6350 w 220"/>
                    <a:gd name="T27" fmla="*/ 25400 h 298"/>
                    <a:gd name="T28" fmla="*/ 0 w 220"/>
                    <a:gd name="T29" fmla="*/ 371475 h 298"/>
                    <a:gd name="T30" fmla="*/ 330200 w 220"/>
                    <a:gd name="T31" fmla="*/ 473075 h 298"/>
                    <a:gd name="T32" fmla="*/ 330200 w 220"/>
                    <a:gd name="T33" fmla="*/ 473075 h 298"/>
                    <a:gd name="T34" fmla="*/ 330200 w 220"/>
                    <a:gd name="T35" fmla="*/ 292100 h 298"/>
                    <a:gd name="T36" fmla="*/ 333375 w 220"/>
                    <a:gd name="T37" fmla="*/ 165100 h 298"/>
                    <a:gd name="T38" fmla="*/ 333375 w 220"/>
                    <a:gd name="T39" fmla="*/ 120650 h 298"/>
                    <a:gd name="T40" fmla="*/ 336550 w 220"/>
                    <a:gd name="T41" fmla="*/ 101600 h 298"/>
                    <a:gd name="T42" fmla="*/ 336550 w 220"/>
                    <a:gd name="T43" fmla="*/ 101600 h 298"/>
                    <a:gd name="T44" fmla="*/ 349250 w 220"/>
                    <a:gd name="T45" fmla="*/ 88900 h 298"/>
                    <a:gd name="T46" fmla="*/ 349250 w 220"/>
                    <a:gd name="T47" fmla="*/ 88900 h 298"/>
                    <a:gd name="T48" fmla="*/ 254000 w 220"/>
                    <a:gd name="T49" fmla="*/ 60325 h 298"/>
                    <a:gd name="T50" fmla="*/ 209550 w 220"/>
                    <a:gd name="T51" fmla="*/ 44450 h 298"/>
                    <a:gd name="T52" fmla="*/ 209550 w 220"/>
                    <a:gd name="T53" fmla="*/ 44450 h 298"/>
                    <a:gd name="T54" fmla="*/ 187325 w 220"/>
                    <a:gd name="T55" fmla="*/ 31750 h 298"/>
                    <a:gd name="T56" fmla="*/ 187325 w 220"/>
                    <a:gd name="T57" fmla="*/ 31750 h 29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20"/>
                    <a:gd name="T88" fmla="*/ 0 h 298"/>
                    <a:gd name="T89" fmla="*/ 220 w 220"/>
                    <a:gd name="T90" fmla="*/ 298 h 29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20" h="298">
                      <a:moveTo>
                        <a:pt x="118" y="20"/>
                      </a:moveTo>
                      <a:lnTo>
                        <a:pt x="118" y="20"/>
                      </a:lnTo>
                      <a:lnTo>
                        <a:pt x="114" y="22"/>
                      </a:lnTo>
                      <a:lnTo>
                        <a:pt x="106" y="24"/>
                      </a:lnTo>
                      <a:lnTo>
                        <a:pt x="98" y="22"/>
                      </a:lnTo>
                      <a:lnTo>
                        <a:pt x="66" y="14"/>
                      </a:lnTo>
                      <a:lnTo>
                        <a:pt x="12" y="0"/>
                      </a:lnTo>
                      <a:lnTo>
                        <a:pt x="6" y="8"/>
                      </a:lnTo>
                      <a:lnTo>
                        <a:pt x="4" y="12"/>
                      </a:lnTo>
                      <a:lnTo>
                        <a:pt x="4" y="16"/>
                      </a:lnTo>
                      <a:lnTo>
                        <a:pt x="0" y="234"/>
                      </a:lnTo>
                      <a:lnTo>
                        <a:pt x="208" y="298"/>
                      </a:lnTo>
                      <a:lnTo>
                        <a:pt x="208" y="184"/>
                      </a:lnTo>
                      <a:lnTo>
                        <a:pt x="210" y="104"/>
                      </a:lnTo>
                      <a:lnTo>
                        <a:pt x="210" y="76"/>
                      </a:lnTo>
                      <a:lnTo>
                        <a:pt x="212" y="64"/>
                      </a:lnTo>
                      <a:lnTo>
                        <a:pt x="220" y="56"/>
                      </a:lnTo>
                      <a:lnTo>
                        <a:pt x="160" y="38"/>
                      </a:lnTo>
                      <a:lnTo>
                        <a:pt x="132" y="28"/>
                      </a:lnTo>
                      <a:lnTo>
                        <a:pt x="118" y="20"/>
                      </a:lnTo>
                      <a:close/>
                    </a:path>
                  </a:pathLst>
                </a:custGeom>
                <a:solidFill>
                  <a:srgbClr val="AF876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235" name="Freeform 233"/>
                <p:cNvSpPr>
                  <a:spLocks/>
                </p:cNvSpPr>
                <p:nvPr/>
              </p:nvSpPr>
              <p:spPr bwMode="auto">
                <a:xfrm>
                  <a:off x="13273088" y="2630488"/>
                  <a:ext cx="1177925" cy="285750"/>
                </a:xfrm>
                <a:custGeom>
                  <a:avLst/>
                  <a:gdLst>
                    <a:gd name="T0" fmla="*/ 180975 w 742"/>
                    <a:gd name="T1" fmla="*/ 228600 h 180"/>
                    <a:gd name="T2" fmla="*/ 180975 w 742"/>
                    <a:gd name="T3" fmla="*/ 228600 h 180"/>
                    <a:gd name="T4" fmla="*/ 187325 w 742"/>
                    <a:gd name="T5" fmla="*/ 225425 h 180"/>
                    <a:gd name="T6" fmla="*/ 215900 w 742"/>
                    <a:gd name="T7" fmla="*/ 215900 h 180"/>
                    <a:gd name="T8" fmla="*/ 327025 w 742"/>
                    <a:gd name="T9" fmla="*/ 190500 h 180"/>
                    <a:gd name="T10" fmla="*/ 669925 w 742"/>
                    <a:gd name="T11" fmla="*/ 114300 h 180"/>
                    <a:gd name="T12" fmla="*/ 1177925 w 742"/>
                    <a:gd name="T13" fmla="*/ 6350 h 180"/>
                    <a:gd name="T14" fmla="*/ 1162050 w 742"/>
                    <a:gd name="T15" fmla="*/ 0 h 180"/>
                    <a:gd name="T16" fmla="*/ 1162050 w 742"/>
                    <a:gd name="T17" fmla="*/ 0 h 180"/>
                    <a:gd name="T18" fmla="*/ 158750 w 742"/>
                    <a:gd name="T19" fmla="*/ 219075 h 180"/>
                    <a:gd name="T20" fmla="*/ 158750 w 742"/>
                    <a:gd name="T21" fmla="*/ 219075 h 180"/>
                    <a:gd name="T22" fmla="*/ 111125 w 742"/>
                    <a:gd name="T23" fmla="*/ 209550 h 180"/>
                    <a:gd name="T24" fmla="*/ 9525 w 742"/>
                    <a:gd name="T25" fmla="*/ 187325 h 180"/>
                    <a:gd name="T26" fmla="*/ 9525 w 742"/>
                    <a:gd name="T27" fmla="*/ 187325 h 180"/>
                    <a:gd name="T28" fmla="*/ 0 w 742"/>
                    <a:gd name="T29" fmla="*/ 196850 h 180"/>
                    <a:gd name="T30" fmla="*/ 0 w 742"/>
                    <a:gd name="T31" fmla="*/ 196850 h 180"/>
                    <a:gd name="T32" fmla="*/ 85725 w 742"/>
                    <a:gd name="T33" fmla="*/ 219075 h 180"/>
                    <a:gd name="T34" fmla="*/ 136525 w 742"/>
                    <a:gd name="T35" fmla="*/ 231775 h 180"/>
                    <a:gd name="T36" fmla="*/ 136525 w 742"/>
                    <a:gd name="T37" fmla="*/ 231775 h 180"/>
                    <a:gd name="T38" fmla="*/ 149225 w 742"/>
                    <a:gd name="T39" fmla="*/ 234950 h 180"/>
                    <a:gd name="T40" fmla="*/ 161925 w 742"/>
                    <a:gd name="T41" fmla="*/ 231775 h 180"/>
                    <a:gd name="T42" fmla="*/ 168275 w 742"/>
                    <a:gd name="T43" fmla="*/ 228600 h 180"/>
                    <a:gd name="T44" fmla="*/ 168275 w 742"/>
                    <a:gd name="T45" fmla="*/ 228600 h 180"/>
                    <a:gd name="T46" fmla="*/ 168275 w 742"/>
                    <a:gd name="T47" fmla="*/ 228600 h 180"/>
                    <a:gd name="T48" fmla="*/ 190500 w 742"/>
                    <a:gd name="T49" fmla="*/ 241300 h 180"/>
                    <a:gd name="T50" fmla="*/ 190500 w 742"/>
                    <a:gd name="T51" fmla="*/ 241300 h 180"/>
                    <a:gd name="T52" fmla="*/ 234950 w 742"/>
                    <a:gd name="T53" fmla="*/ 257175 h 180"/>
                    <a:gd name="T54" fmla="*/ 330200 w 742"/>
                    <a:gd name="T55" fmla="*/ 285750 h 180"/>
                    <a:gd name="T56" fmla="*/ 330200 w 742"/>
                    <a:gd name="T57" fmla="*/ 285750 h 180"/>
                    <a:gd name="T58" fmla="*/ 349250 w 742"/>
                    <a:gd name="T59" fmla="*/ 276225 h 180"/>
                    <a:gd name="T60" fmla="*/ 349250 w 742"/>
                    <a:gd name="T61" fmla="*/ 276225 h 180"/>
                    <a:gd name="T62" fmla="*/ 180975 w 742"/>
                    <a:gd name="T63" fmla="*/ 228600 h 180"/>
                    <a:gd name="T64" fmla="*/ 180975 w 742"/>
                    <a:gd name="T65" fmla="*/ 228600 h 180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742"/>
                    <a:gd name="T100" fmla="*/ 0 h 180"/>
                    <a:gd name="T101" fmla="*/ 742 w 742"/>
                    <a:gd name="T102" fmla="*/ 180 h 180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742" h="180">
                      <a:moveTo>
                        <a:pt x="114" y="144"/>
                      </a:moveTo>
                      <a:lnTo>
                        <a:pt x="114" y="144"/>
                      </a:lnTo>
                      <a:lnTo>
                        <a:pt x="118" y="142"/>
                      </a:lnTo>
                      <a:lnTo>
                        <a:pt x="136" y="136"/>
                      </a:lnTo>
                      <a:lnTo>
                        <a:pt x="206" y="120"/>
                      </a:lnTo>
                      <a:lnTo>
                        <a:pt x="422" y="72"/>
                      </a:lnTo>
                      <a:lnTo>
                        <a:pt x="742" y="4"/>
                      </a:lnTo>
                      <a:lnTo>
                        <a:pt x="732" y="0"/>
                      </a:lnTo>
                      <a:lnTo>
                        <a:pt x="100" y="138"/>
                      </a:lnTo>
                      <a:lnTo>
                        <a:pt x="70" y="132"/>
                      </a:lnTo>
                      <a:lnTo>
                        <a:pt x="6" y="118"/>
                      </a:lnTo>
                      <a:lnTo>
                        <a:pt x="0" y="124"/>
                      </a:lnTo>
                      <a:lnTo>
                        <a:pt x="54" y="138"/>
                      </a:lnTo>
                      <a:lnTo>
                        <a:pt x="86" y="146"/>
                      </a:lnTo>
                      <a:lnTo>
                        <a:pt x="94" y="148"/>
                      </a:lnTo>
                      <a:lnTo>
                        <a:pt x="102" y="146"/>
                      </a:lnTo>
                      <a:lnTo>
                        <a:pt x="106" y="144"/>
                      </a:lnTo>
                      <a:lnTo>
                        <a:pt x="120" y="152"/>
                      </a:lnTo>
                      <a:lnTo>
                        <a:pt x="148" y="162"/>
                      </a:lnTo>
                      <a:lnTo>
                        <a:pt x="208" y="180"/>
                      </a:lnTo>
                      <a:lnTo>
                        <a:pt x="220" y="174"/>
                      </a:lnTo>
                      <a:lnTo>
                        <a:pt x="114" y="144"/>
                      </a:lnTo>
                      <a:close/>
                    </a:path>
                  </a:pathLst>
                </a:custGeom>
                <a:solidFill>
                  <a:srgbClr val="AF876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  <p:sp>
              <p:nvSpPr>
                <p:cNvPr id="236" name="Freeform 234"/>
                <p:cNvSpPr>
                  <a:spLocks/>
                </p:cNvSpPr>
                <p:nvPr/>
              </p:nvSpPr>
              <p:spPr bwMode="auto">
                <a:xfrm>
                  <a:off x="13225463" y="3541713"/>
                  <a:ext cx="327025" cy="644525"/>
                </a:xfrm>
                <a:custGeom>
                  <a:avLst/>
                  <a:gdLst>
                    <a:gd name="T0" fmla="*/ 323850 w 206"/>
                    <a:gd name="T1" fmla="*/ 95250 h 406"/>
                    <a:gd name="T2" fmla="*/ 3175 w 206"/>
                    <a:gd name="T3" fmla="*/ 0 h 406"/>
                    <a:gd name="T4" fmla="*/ 3175 w 206"/>
                    <a:gd name="T5" fmla="*/ 0 h 406"/>
                    <a:gd name="T6" fmla="*/ 0 w 206"/>
                    <a:gd name="T7" fmla="*/ 257175 h 406"/>
                    <a:gd name="T8" fmla="*/ 0 w 206"/>
                    <a:gd name="T9" fmla="*/ 527050 h 406"/>
                    <a:gd name="T10" fmla="*/ 0 w 206"/>
                    <a:gd name="T11" fmla="*/ 527050 h 406"/>
                    <a:gd name="T12" fmla="*/ 15875 w 206"/>
                    <a:gd name="T13" fmla="*/ 533400 h 406"/>
                    <a:gd name="T14" fmla="*/ 50800 w 206"/>
                    <a:gd name="T15" fmla="*/ 549275 h 406"/>
                    <a:gd name="T16" fmla="*/ 165100 w 206"/>
                    <a:gd name="T17" fmla="*/ 590550 h 406"/>
                    <a:gd name="T18" fmla="*/ 327025 w 206"/>
                    <a:gd name="T19" fmla="*/ 644525 h 406"/>
                    <a:gd name="T20" fmla="*/ 323850 w 206"/>
                    <a:gd name="T21" fmla="*/ 95250 h 40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06"/>
                    <a:gd name="T34" fmla="*/ 0 h 406"/>
                    <a:gd name="T35" fmla="*/ 206 w 206"/>
                    <a:gd name="T36" fmla="*/ 406 h 40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06" h="406">
                      <a:moveTo>
                        <a:pt x="204" y="60"/>
                      </a:moveTo>
                      <a:lnTo>
                        <a:pt x="2" y="0"/>
                      </a:lnTo>
                      <a:lnTo>
                        <a:pt x="0" y="162"/>
                      </a:lnTo>
                      <a:lnTo>
                        <a:pt x="0" y="332"/>
                      </a:lnTo>
                      <a:lnTo>
                        <a:pt x="10" y="336"/>
                      </a:lnTo>
                      <a:lnTo>
                        <a:pt x="32" y="346"/>
                      </a:lnTo>
                      <a:lnTo>
                        <a:pt x="104" y="372"/>
                      </a:lnTo>
                      <a:lnTo>
                        <a:pt x="206" y="406"/>
                      </a:lnTo>
                      <a:lnTo>
                        <a:pt x="204" y="60"/>
                      </a:lnTo>
                      <a:close/>
                    </a:path>
                  </a:pathLst>
                </a:custGeom>
                <a:solidFill>
                  <a:srgbClr val="AF876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>
                    <a:latin typeface="+mn-lt"/>
                    <a:ea typeface="+mn-ea"/>
                  </a:endParaRPr>
                </a:p>
              </p:txBody>
            </p:sp>
          </p:grp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1203542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/>
        </p:nvSpPr>
        <p:spPr>
          <a:xfrm>
            <a:off x="5753100" y="2133600"/>
            <a:ext cx="1981200" cy="293085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36"/>
          <p:cNvGrpSpPr>
            <a:grpSpLocks/>
          </p:cNvGrpSpPr>
          <p:nvPr/>
        </p:nvGrpSpPr>
        <p:grpSpPr bwMode="auto">
          <a:xfrm>
            <a:off x="1181100" y="1676400"/>
            <a:ext cx="3668712" cy="3627438"/>
            <a:chOff x="3138488" y="1844675"/>
            <a:chExt cx="2909887" cy="2876550"/>
          </a:xfrm>
        </p:grpSpPr>
        <p:grpSp>
          <p:nvGrpSpPr>
            <p:cNvPr id="3" name="Gruppe 22"/>
            <p:cNvGrpSpPr>
              <a:grpSpLocks/>
            </p:cNvGrpSpPr>
            <p:nvPr/>
          </p:nvGrpSpPr>
          <p:grpSpPr bwMode="auto">
            <a:xfrm rot="2700000">
              <a:off x="3569826" y="2269535"/>
              <a:ext cx="2046103" cy="2027660"/>
              <a:chOff x="3570038" y="2269405"/>
              <a:chExt cx="2046103" cy="2027660"/>
            </a:xfrm>
          </p:grpSpPr>
          <p:sp>
            <p:nvSpPr>
              <p:cNvPr id="4123" name="Freeform 239"/>
              <p:cNvSpPr>
                <a:spLocks/>
              </p:cNvSpPr>
              <p:nvPr/>
            </p:nvSpPr>
            <p:spPr bwMode="auto">
              <a:xfrm>
                <a:off x="3755552" y="3520778"/>
                <a:ext cx="1787525" cy="776287"/>
              </a:xfrm>
              <a:custGeom>
                <a:avLst/>
                <a:gdLst>
                  <a:gd name="T0" fmla="*/ 2147483647 w 1126"/>
                  <a:gd name="T1" fmla="*/ 0 h 489"/>
                  <a:gd name="T2" fmla="*/ 2147483647 w 1126"/>
                  <a:gd name="T3" fmla="*/ 2147483647 h 489"/>
                  <a:gd name="T4" fmla="*/ 2147483647 w 1126"/>
                  <a:gd name="T5" fmla="*/ 2147483647 h 489"/>
                  <a:gd name="T6" fmla="*/ 2147483647 w 1126"/>
                  <a:gd name="T7" fmla="*/ 2147483647 h 489"/>
                  <a:gd name="T8" fmla="*/ 2147483647 w 1126"/>
                  <a:gd name="T9" fmla="*/ 2147483647 h 489"/>
                  <a:gd name="T10" fmla="*/ 2147483647 w 1126"/>
                  <a:gd name="T11" fmla="*/ 2147483647 h 489"/>
                  <a:gd name="T12" fmla="*/ 2147483647 w 1126"/>
                  <a:gd name="T13" fmla="*/ 2147483647 h 489"/>
                  <a:gd name="T14" fmla="*/ 2147483647 w 1126"/>
                  <a:gd name="T15" fmla="*/ 2147483647 h 489"/>
                  <a:gd name="T16" fmla="*/ 2147483647 w 1126"/>
                  <a:gd name="T17" fmla="*/ 2147483647 h 489"/>
                  <a:gd name="T18" fmla="*/ 2147483647 w 1126"/>
                  <a:gd name="T19" fmla="*/ 2147483647 h 489"/>
                  <a:gd name="T20" fmla="*/ 2147483647 w 1126"/>
                  <a:gd name="T21" fmla="*/ 2147483647 h 489"/>
                  <a:gd name="T22" fmla="*/ 2147483647 w 1126"/>
                  <a:gd name="T23" fmla="*/ 2147483647 h 489"/>
                  <a:gd name="T24" fmla="*/ 2147483647 w 1126"/>
                  <a:gd name="T25" fmla="*/ 2147483647 h 489"/>
                  <a:gd name="T26" fmla="*/ 2147483647 w 1126"/>
                  <a:gd name="T27" fmla="*/ 2147483647 h 489"/>
                  <a:gd name="T28" fmla="*/ 2147483647 w 1126"/>
                  <a:gd name="T29" fmla="*/ 2147483647 h 489"/>
                  <a:gd name="T30" fmla="*/ 2147483647 w 1126"/>
                  <a:gd name="T31" fmla="*/ 2147483647 h 489"/>
                  <a:gd name="T32" fmla="*/ 2147483647 w 1126"/>
                  <a:gd name="T33" fmla="*/ 2147483647 h 489"/>
                  <a:gd name="T34" fmla="*/ 2147483647 w 1126"/>
                  <a:gd name="T35" fmla="*/ 2147483647 h 489"/>
                  <a:gd name="T36" fmla="*/ 0 w 1126"/>
                  <a:gd name="T37" fmla="*/ 2147483647 h 489"/>
                  <a:gd name="T38" fmla="*/ 2147483647 w 1126"/>
                  <a:gd name="T39" fmla="*/ 2147483647 h 489"/>
                  <a:gd name="T40" fmla="*/ 2147483647 w 1126"/>
                  <a:gd name="T41" fmla="*/ 2147483647 h 489"/>
                  <a:gd name="T42" fmla="*/ 2147483647 w 1126"/>
                  <a:gd name="T43" fmla="*/ 2147483647 h 489"/>
                  <a:gd name="T44" fmla="*/ 2147483647 w 1126"/>
                  <a:gd name="T45" fmla="*/ 2147483647 h 489"/>
                  <a:gd name="T46" fmla="*/ 2147483647 w 1126"/>
                  <a:gd name="T47" fmla="*/ 2147483647 h 489"/>
                  <a:gd name="T48" fmla="*/ 2147483647 w 1126"/>
                  <a:gd name="T49" fmla="*/ 2147483647 h 489"/>
                  <a:gd name="T50" fmla="*/ 2147483647 w 1126"/>
                  <a:gd name="T51" fmla="*/ 2147483647 h 489"/>
                  <a:gd name="T52" fmla="*/ 2147483647 w 1126"/>
                  <a:gd name="T53" fmla="*/ 2147483647 h 489"/>
                  <a:gd name="T54" fmla="*/ 2147483647 w 1126"/>
                  <a:gd name="T55" fmla="*/ 2147483647 h 489"/>
                  <a:gd name="T56" fmla="*/ 2147483647 w 1126"/>
                  <a:gd name="T57" fmla="*/ 2147483647 h 489"/>
                  <a:gd name="T58" fmla="*/ 2147483647 w 1126"/>
                  <a:gd name="T59" fmla="*/ 2147483647 h 489"/>
                  <a:gd name="T60" fmla="*/ 2147483647 w 1126"/>
                  <a:gd name="T61" fmla="*/ 2147483647 h 489"/>
                  <a:gd name="T62" fmla="*/ 2147483647 w 1126"/>
                  <a:gd name="T63" fmla="*/ 2147483647 h 489"/>
                  <a:gd name="T64" fmla="*/ 2147483647 w 1126"/>
                  <a:gd name="T65" fmla="*/ 2147483647 h 489"/>
                  <a:gd name="T66" fmla="*/ 2147483647 w 1126"/>
                  <a:gd name="T67" fmla="*/ 2147483647 h 489"/>
                  <a:gd name="T68" fmla="*/ 2147483647 w 1126"/>
                  <a:gd name="T69" fmla="*/ 2147483647 h 489"/>
                  <a:gd name="T70" fmla="*/ 2147483647 w 1126"/>
                  <a:gd name="T71" fmla="*/ 2147483647 h 489"/>
                  <a:gd name="T72" fmla="*/ 2147483647 w 1126"/>
                  <a:gd name="T73" fmla="*/ 2147483647 h 489"/>
                  <a:gd name="T74" fmla="*/ 2147483647 w 1126"/>
                  <a:gd name="T75" fmla="*/ 2147483647 h 489"/>
                  <a:gd name="T76" fmla="*/ 2147483647 w 1126"/>
                  <a:gd name="T77" fmla="*/ 2147483647 h 489"/>
                  <a:gd name="T78" fmla="*/ 2147483647 w 1126"/>
                  <a:gd name="T79" fmla="*/ 2147483647 h 489"/>
                  <a:gd name="T80" fmla="*/ 2147483647 w 1126"/>
                  <a:gd name="T81" fmla="*/ 2147483647 h 489"/>
                  <a:gd name="T82" fmla="*/ 2147483647 w 1126"/>
                  <a:gd name="T83" fmla="*/ 2147483647 h 489"/>
                  <a:gd name="T84" fmla="*/ 2147483647 w 1126"/>
                  <a:gd name="T85" fmla="*/ 2147483647 h 489"/>
                  <a:gd name="T86" fmla="*/ 2147483647 w 1126"/>
                  <a:gd name="T87" fmla="*/ 2147483647 h 489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126"/>
                  <a:gd name="T133" fmla="*/ 0 h 489"/>
                  <a:gd name="T134" fmla="*/ 1126 w 1126"/>
                  <a:gd name="T135" fmla="*/ 489 h 489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126" h="489">
                    <a:moveTo>
                      <a:pt x="897" y="0"/>
                    </a:moveTo>
                    <a:lnTo>
                      <a:pt x="897" y="0"/>
                    </a:lnTo>
                    <a:lnTo>
                      <a:pt x="885" y="26"/>
                    </a:lnTo>
                    <a:lnTo>
                      <a:pt x="871" y="52"/>
                    </a:lnTo>
                    <a:lnTo>
                      <a:pt x="856" y="76"/>
                    </a:lnTo>
                    <a:lnTo>
                      <a:pt x="837" y="98"/>
                    </a:lnTo>
                    <a:lnTo>
                      <a:pt x="819" y="121"/>
                    </a:lnTo>
                    <a:lnTo>
                      <a:pt x="798" y="141"/>
                    </a:lnTo>
                    <a:lnTo>
                      <a:pt x="776" y="161"/>
                    </a:lnTo>
                    <a:lnTo>
                      <a:pt x="752" y="178"/>
                    </a:lnTo>
                    <a:lnTo>
                      <a:pt x="727" y="193"/>
                    </a:lnTo>
                    <a:lnTo>
                      <a:pt x="701" y="206"/>
                    </a:lnTo>
                    <a:lnTo>
                      <a:pt x="675" y="218"/>
                    </a:lnTo>
                    <a:lnTo>
                      <a:pt x="647" y="228"/>
                    </a:lnTo>
                    <a:lnTo>
                      <a:pt x="618" y="236"/>
                    </a:lnTo>
                    <a:lnTo>
                      <a:pt x="588" y="242"/>
                    </a:lnTo>
                    <a:lnTo>
                      <a:pt x="557" y="245"/>
                    </a:lnTo>
                    <a:lnTo>
                      <a:pt x="526" y="246"/>
                    </a:lnTo>
                    <a:lnTo>
                      <a:pt x="499" y="245"/>
                    </a:lnTo>
                    <a:lnTo>
                      <a:pt x="472" y="242"/>
                    </a:lnTo>
                    <a:lnTo>
                      <a:pt x="446" y="239"/>
                    </a:lnTo>
                    <a:lnTo>
                      <a:pt x="420" y="232"/>
                    </a:lnTo>
                    <a:lnTo>
                      <a:pt x="395" y="224"/>
                    </a:lnTo>
                    <a:lnTo>
                      <a:pt x="371" y="215"/>
                    </a:lnTo>
                    <a:lnTo>
                      <a:pt x="347" y="205"/>
                    </a:lnTo>
                    <a:lnTo>
                      <a:pt x="325" y="193"/>
                    </a:lnTo>
                    <a:lnTo>
                      <a:pt x="303" y="179"/>
                    </a:lnTo>
                    <a:lnTo>
                      <a:pt x="282" y="165"/>
                    </a:lnTo>
                    <a:lnTo>
                      <a:pt x="263" y="149"/>
                    </a:lnTo>
                    <a:lnTo>
                      <a:pt x="244" y="131"/>
                    </a:lnTo>
                    <a:lnTo>
                      <a:pt x="227" y="113"/>
                    </a:lnTo>
                    <a:lnTo>
                      <a:pt x="210" y="93"/>
                    </a:lnTo>
                    <a:lnTo>
                      <a:pt x="196" y="73"/>
                    </a:lnTo>
                    <a:lnTo>
                      <a:pt x="181" y="52"/>
                    </a:lnTo>
                    <a:lnTo>
                      <a:pt x="26" y="22"/>
                    </a:lnTo>
                    <a:lnTo>
                      <a:pt x="0" y="219"/>
                    </a:lnTo>
                    <a:lnTo>
                      <a:pt x="23" y="249"/>
                    </a:lnTo>
                    <a:lnTo>
                      <a:pt x="48" y="277"/>
                    </a:lnTo>
                    <a:lnTo>
                      <a:pt x="74" y="305"/>
                    </a:lnTo>
                    <a:lnTo>
                      <a:pt x="101" y="329"/>
                    </a:lnTo>
                    <a:lnTo>
                      <a:pt x="131" y="354"/>
                    </a:lnTo>
                    <a:lnTo>
                      <a:pt x="161" y="376"/>
                    </a:lnTo>
                    <a:lnTo>
                      <a:pt x="193" y="397"/>
                    </a:lnTo>
                    <a:lnTo>
                      <a:pt x="225" y="415"/>
                    </a:lnTo>
                    <a:lnTo>
                      <a:pt x="260" y="432"/>
                    </a:lnTo>
                    <a:lnTo>
                      <a:pt x="295" y="446"/>
                    </a:lnTo>
                    <a:lnTo>
                      <a:pt x="332" y="459"/>
                    </a:lnTo>
                    <a:lnTo>
                      <a:pt x="369" y="469"/>
                    </a:lnTo>
                    <a:lnTo>
                      <a:pt x="407" y="477"/>
                    </a:lnTo>
                    <a:lnTo>
                      <a:pt x="446" y="484"/>
                    </a:lnTo>
                    <a:lnTo>
                      <a:pt x="486" y="487"/>
                    </a:lnTo>
                    <a:lnTo>
                      <a:pt x="526" y="489"/>
                    </a:lnTo>
                    <a:lnTo>
                      <a:pt x="552" y="487"/>
                    </a:lnTo>
                    <a:lnTo>
                      <a:pt x="577" y="486"/>
                    </a:lnTo>
                    <a:lnTo>
                      <a:pt x="601" y="484"/>
                    </a:lnTo>
                    <a:lnTo>
                      <a:pt x="626" y="481"/>
                    </a:lnTo>
                    <a:lnTo>
                      <a:pt x="651" y="476"/>
                    </a:lnTo>
                    <a:lnTo>
                      <a:pt x="675" y="471"/>
                    </a:lnTo>
                    <a:lnTo>
                      <a:pt x="699" y="465"/>
                    </a:lnTo>
                    <a:lnTo>
                      <a:pt x="722" y="458"/>
                    </a:lnTo>
                    <a:lnTo>
                      <a:pt x="745" y="450"/>
                    </a:lnTo>
                    <a:lnTo>
                      <a:pt x="767" y="442"/>
                    </a:lnTo>
                    <a:lnTo>
                      <a:pt x="789" y="433"/>
                    </a:lnTo>
                    <a:lnTo>
                      <a:pt x="811" y="423"/>
                    </a:lnTo>
                    <a:lnTo>
                      <a:pt x="833" y="411"/>
                    </a:lnTo>
                    <a:lnTo>
                      <a:pt x="854" y="399"/>
                    </a:lnTo>
                    <a:lnTo>
                      <a:pt x="874" y="388"/>
                    </a:lnTo>
                    <a:lnTo>
                      <a:pt x="894" y="375"/>
                    </a:lnTo>
                    <a:lnTo>
                      <a:pt x="913" y="360"/>
                    </a:lnTo>
                    <a:lnTo>
                      <a:pt x="932" y="346"/>
                    </a:lnTo>
                    <a:lnTo>
                      <a:pt x="950" y="331"/>
                    </a:lnTo>
                    <a:lnTo>
                      <a:pt x="967" y="315"/>
                    </a:lnTo>
                    <a:lnTo>
                      <a:pt x="985" y="298"/>
                    </a:lnTo>
                    <a:lnTo>
                      <a:pt x="1001" y="281"/>
                    </a:lnTo>
                    <a:lnTo>
                      <a:pt x="1016" y="264"/>
                    </a:lnTo>
                    <a:lnTo>
                      <a:pt x="1032" y="246"/>
                    </a:lnTo>
                    <a:lnTo>
                      <a:pt x="1046" y="227"/>
                    </a:lnTo>
                    <a:lnTo>
                      <a:pt x="1060" y="209"/>
                    </a:lnTo>
                    <a:lnTo>
                      <a:pt x="1073" y="188"/>
                    </a:lnTo>
                    <a:lnTo>
                      <a:pt x="1085" y="169"/>
                    </a:lnTo>
                    <a:lnTo>
                      <a:pt x="1097" y="148"/>
                    </a:lnTo>
                    <a:lnTo>
                      <a:pt x="1107" y="126"/>
                    </a:lnTo>
                    <a:lnTo>
                      <a:pt x="1117" y="105"/>
                    </a:lnTo>
                    <a:lnTo>
                      <a:pt x="1126" y="83"/>
                    </a:lnTo>
                    <a:lnTo>
                      <a:pt x="954" y="153"/>
                    </a:lnTo>
                    <a:lnTo>
                      <a:pt x="897" y="0"/>
                    </a:lnTo>
                    <a:close/>
                  </a:path>
                </a:pathLst>
              </a:custGeom>
              <a:gradFill>
                <a:gsLst>
                  <a:gs pos="0">
                    <a:srgbClr val="CE202A"/>
                  </a:gs>
                  <a:gs pos="100000">
                    <a:srgbClr val="B80E18"/>
                  </a:gs>
                </a:gsLst>
                <a:lin ang="5400000" scaled="1"/>
              </a:gradFill>
              <a:ln w="190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400"/>
              </a:p>
            </p:txBody>
          </p:sp>
          <p:sp>
            <p:nvSpPr>
              <p:cNvPr id="4124" name="Freeform 240"/>
              <p:cNvSpPr>
                <a:spLocks/>
              </p:cNvSpPr>
              <p:nvPr/>
            </p:nvSpPr>
            <p:spPr bwMode="auto">
              <a:xfrm>
                <a:off x="4590616" y="2269405"/>
                <a:ext cx="1025525" cy="1441449"/>
              </a:xfrm>
              <a:custGeom>
                <a:avLst/>
                <a:gdLst>
                  <a:gd name="T0" fmla="*/ 2147483647 w 646"/>
                  <a:gd name="T1" fmla="*/ 2147483647 h 908"/>
                  <a:gd name="T2" fmla="*/ 2147483647 w 646"/>
                  <a:gd name="T3" fmla="*/ 2147483647 h 908"/>
                  <a:gd name="T4" fmla="*/ 2147483647 w 646"/>
                  <a:gd name="T5" fmla="*/ 2147483647 h 908"/>
                  <a:gd name="T6" fmla="*/ 2147483647 w 646"/>
                  <a:gd name="T7" fmla="*/ 2147483647 h 908"/>
                  <a:gd name="T8" fmla="*/ 2147483647 w 646"/>
                  <a:gd name="T9" fmla="*/ 2147483647 h 908"/>
                  <a:gd name="T10" fmla="*/ 2147483647 w 646"/>
                  <a:gd name="T11" fmla="*/ 2147483647 h 908"/>
                  <a:gd name="T12" fmla="*/ 2147483647 w 646"/>
                  <a:gd name="T13" fmla="*/ 2147483647 h 908"/>
                  <a:gd name="T14" fmla="*/ 2147483647 w 646"/>
                  <a:gd name="T15" fmla="*/ 2147483647 h 908"/>
                  <a:gd name="T16" fmla="*/ 2147483647 w 646"/>
                  <a:gd name="T17" fmla="*/ 2147483647 h 908"/>
                  <a:gd name="T18" fmla="*/ 2147483647 w 646"/>
                  <a:gd name="T19" fmla="*/ 2147483647 h 908"/>
                  <a:gd name="T20" fmla="*/ 2147483647 w 646"/>
                  <a:gd name="T21" fmla="*/ 2147483647 h 908"/>
                  <a:gd name="T22" fmla="*/ 2147483647 w 646"/>
                  <a:gd name="T23" fmla="*/ 2147483647 h 908"/>
                  <a:gd name="T24" fmla="*/ 2147483647 w 646"/>
                  <a:gd name="T25" fmla="*/ 2147483647 h 908"/>
                  <a:gd name="T26" fmla="*/ 2147483647 w 646"/>
                  <a:gd name="T27" fmla="*/ 2147483647 h 908"/>
                  <a:gd name="T28" fmla="*/ 2147483647 w 646"/>
                  <a:gd name="T29" fmla="*/ 2147483647 h 908"/>
                  <a:gd name="T30" fmla="*/ 2147483647 w 646"/>
                  <a:gd name="T31" fmla="*/ 2147483647 h 908"/>
                  <a:gd name="T32" fmla="*/ 2147483647 w 646"/>
                  <a:gd name="T33" fmla="*/ 2147483647 h 908"/>
                  <a:gd name="T34" fmla="*/ 2147483647 w 646"/>
                  <a:gd name="T35" fmla="*/ 2147483647 h 908"/>
                  <a:gd name="T36" fmla="*/ 2147483647 w 646"/>
                  <a:gd name="T37" fmla="*/ 2147483647 h 908"/>
                  <a:gd name="T38" fmla="*/ 2147483647 w 646"/>
                  <a:gd name="T39" fmla="*/ 2147483647 h 908"/>
                  <a:gd name="T40" fmla="*/ 2147483647 w 646"/>
                  <a:gd name="T41" fmla="*/ 2147483647 h 908"/>
                  <a:gd name="T42" fmla="*/ 2147483647 w 646"/>
                  <a:gd name="T43" fmla="*/ 2147483647 h 908"/>
                  <a:gd name="T44" fmla="*/ 2147483647 w 646"/>
                  <a:gd name="T45" fmla="*/ 2147483647 h 908"/>
                  <a:gd name="T46" fmla="*/ 2147483647 w 646"/>
                  <a:gd name="T47" fmla="*/ 2147483647 h 908"/>
                  <a:gd name="T48" fmla="*/ 2147483647 w 646"/>
                  <a:gd name="T49" fmla="*/ 0 h 908"/>
                  <a:gd name="T50" fmla="*/ 0 w 646"/>
                  <a:gd name="T51" fmla="*/ 2147483647 h 908"/>
                  <a:gd name="T52" fmla="*/ 2147483647 w 646"/>
                  <a:gd name="T53" fmla="*/ 2147483647 h 908"/>
                  <a:gd name="T54" fmla="*/ 2147483647 w 646"/>
                  <a:gd name="T55" fmla="*/ 2147483647 h 908"/>
                  <a:gd name="T56" fmla="*/ 2147483647 w 646"/>
                  <a:gd name="T57" fmla="*/ 2147483647 h 908"/>
                  <a:gd name="T58" fmla="*/ 2147483647 w 646"/>
                  <a:gd name="T59" fmla="*/ 2147483647 h 908"/>
                  <a:gd name="T60" fmla="*/ 2147483647 w 646"/>
                  <a:gd name="T61" fmla="*/ 2147483647 h 908"/>
                  <a:gd name="T62" fmla="*/ 2147483647 w 646"/>
                  <a:gd name="T63" fmla="*/ 2147483647 h 908"/>
                  <a:gd name="T64" fmla="*/ 2147483647 w 646"/>
                  <a:gd name="T65" fmla="*/ 2147483647 h 908"/>
                  <a:gd name="T66" fmla="*/ 2147483647 w 646"/>
                  <a:gd name="T67" fmla="*/ 2147483647 h 908"/>
                  <a:gd name="T68" fmla="*/ 2147483647 w 646"/>
                  <a:gd name="T69" fmla="*/ 2147483647 h 908"/>
                  <a:gd name="T70" fmla="*/ 2147483647 w 646"/>
                  <a:gd name="T71" fmla="*/ 2147483647 h 908"/>
                  <a:gd name="T72" fmla="*/ 2147483647 w 646"/>
                  <a:gd name="T73" fmla="*/ 2147483647 h 908"/>
                  <a:gd name="T74" fmla="*/ 2147483647 w 646"/>
                  <a:gd name="T75" fmla="*/ 2147483647 h 908"/>
                  <a:gd name="T76" fmla="*/ 2147483647 w 646"/>
                  <a:gd name="T77" fmla="*/ 2147483647 h 908"/>
                  <a:gd name="T78" fmla="*/ 2147483647 w 646"/>
                  <a:gd name="T79" fmla="*/ 2147483647 h 908"/>
                  <a:gd name="T80" fmla="*/ 2147483647 w 646"/>
                  <a:gd name="T81" fmla="*/ 2147483647 h 908"/>
                  <a:gd name="T82" fmla="*/ 2147483647 w 646"/>
                  <a:gd name="T83" fmla="*/ 2147483647 h 908"/>
                  <a:gd name="T84" fmla="*/ 2147483647 w 646"/>
                  <a:gd name="T85" fmla="*/ 2147483647 h 908"/>
                  <a:gd name="T86" fmla="*/ 2147483647 w 646"/>
                  <a:gd name="T87" fmla="*/ 2147483647 h 90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646"/>
                  <a:gd name="T133" fmla="*/ 0 h 908"/>
                  <a:gd name="T134" fmla="*/ 646 w 646"/>
                  <a:gd name="T135" fmla="*/ 908 h 90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646" h="908">
                    <a:moveTo>
                      <a:pt x="402" y="637"/>
                    </a:moveTo>
                    <a:lnTo>
                      <a:pt x="402" y="637"/>
                    </a:lnTo>
                    <a:lnTo>
                      <a:pt x="401" y="665"/>
                    </a:lnTo>
                    <a:lnTo>
                      <a:pt x="397" y="694"/>
                    </a:lnTo>
                    <a:lnTo>
                      <a:pt x="391" y="721"/>
                    </a:lnTo>
                    <a:lnTo>
                      <a:pt x="385" y="748"/>
                    </a:lnTo>
                    <a:lnTo>
                      <a:pt x="443" y="908"/>
                    </a:lnTo>
                    <a:lnTo>
                      <a:pt x="613" y="838"/>
                    </a:lnTo>
                    <a:lnTo>
                      <a:pt x="621" y="814"/>
                    </a:lnTo>
                    <a:lnTo>
                      <a:pt x="627" y="790"/>
                    </a:lnTo>
                    <a:lnTo>
                      <a:pt x="633" y="765"/>
                    </a:lnTo>
                    <a:lnTo>
                      <a:pt x="638" y="741"/>
                    </a:lnTo>
                    <a:lnTo>
                      <a:pt x="640" y="715"/>
                    </a:lnTo>
                    <a:lnTo>
                      <a:pt x="643" y="689"/>
                    </a:lnTo>
                    <a:lnTo>
                      <a:pt x="646" y="663"/>
                    </a:lnTo>
                    <a:lnTo>
                      <a:pt x="646" y="637"/>
                    </a:lnTo>
                    <a:lnTo>
                      <a:pt x="644" y="604"/>
                    </a:lnTo>
                    <a:lnTo>
                      <a:pt x="643" y="572"/>
                    </a:lnTo>
                    <a:lnTo>
                      <a:pt x="638" y="541"/>
                    </a:lnTo>
                    <a:lnTo>
                      <a:pt x="633" y="510"/>
                    </a:lnTo>
                    <a:lnTo>
                      <a:pt x="626" y="479"/>
                    </a:lnTo>
                    <a:lnTo>
                      <a:pt x="617" y="449"/>
                    </a:lnTo>
                    <a:lnTo>
                      <a:pt x="607" y="420"/>
                    </a:lnTo>
                    <a:lnTo>
                      <a:pt x="596" y="391"/>
                    </a:lnTo>
                    <a:lnTo>
                      <a:pt x="583" y="363"/>
                    </a:lnTo>
                    <a:lnTo>
                      <a:pt x="569" y="336"/>
                    </a:lnTo>
                    <a:lnTo>
                      <a:pt x="554" y="309"/>
                    </a:lnTo>
                    <a:lnTo>
                      <a:pt x="538" y="283"/>
                    </a:lnTo>
                    <a:lnTo>
                      <a:pt x="520" y="258"/>
                    </a:lnTo>
                    <a:lnTo>
                      <a:pt x="500" y="235"/>
                    </a:lnTo>
                    <a:lnTo>
                      <a:pt x="481" y="212"/>
                    </a:lnTo>
                    <a:lnTo>
                      <a:pt x="460" y="190"/>
                    </a:lnTo>
                    <a:lnTo>
                      <a:pt x="438" y="169"/>
                    </a:lnTo>
                    <a:lnTo>
                      <a:pt x="415" y="148"/>
                    </a:lnTo>
                    <a:lnTo>
                      <a:pt x="391" y="130"/>
                    </a:lnTo>
                    <a:lnTo>
                      <a:pt x="366" y="112"/>
                    </a:lnTo>
                    <a:lnTo>
                      <a:pt x="341" y="95"/>
                    </a:lnTo>
                    <a:lnTo>
                      <a:pt x="314" y="79"/>
                    </a:lnTo>
                    <a:lnTo>
                      <a:pt x="286" y="65"/>
                    </a:lnTo>
                    <a:lnTo>
                      <a:pt x="258" y="52"/>
                    </a:lnTo>
                    <a:lnTo>
                      <a:pt x="229" y="40"/>
                    </a:lnTo>
                    <a:lnTo>
                      <a:pt x="200" y="30"/>
                    </a:lnTo>
                    <a:lnTo>
                      <a:pt x="170" y="22"/>
                    </a:lnTo>
                    <a:lnTo>
                      <a:pt x="139" y="15"/>
                    </a:lnTo>
                    <a:lnTo>
                      <a:pt x="108" y="8"/>
                    </a:lnTo>
                    <a:lnTo>
                      <a:pt x="76" y="4"/>
                    </a:lnTo>
                    <a:lnTo>
                      <a:pt x="44" y="2"/>
                    </a:lnTo>
                    <a:lnTo>
                      <a:pt x="10" y="0"/>
                    </a:lnTo>
                    <a:lnTo>
                      <a:pt x="133" y="127"/>
                    </a:lnTo>
                    <a:lnTo>
                      <a:pt x="0" y="241"/>
                    </a:lnTo>
                    <a:lnTo>
                      <a:pt x="1" y="241"/>
                    </a:lnTo>
                    <a:lnTo>
                      <a:pt x="22" y="243"/>
                    </a:lnTo>
                    <a:lnTo>
                      <a:pt x="43" y="244"/>
                    </a:lnTo>
                    <a:lnTo>
                      <a:pt x="62" y="247"/>
                    </a:lnTo>
                    <a:lnTo>
                      <a:pt x="82" y="249"/>
                    </a:lnTo>
                    <a:lnTo>
                      <a:pt x="101" y="254"/>
                    </a:lnTo>
                    <a:lnTo>
                      <a:pt x="120" y="260"/>
                    </a:lnTo>
                    <a:lnTo>
                      <a:pt x="139" y="266"/>
                    </a:lnTo>
                    <a:lnTo>
                      <a:pt x="157" y="273"/>
                    </a:lnTo>
                    <a:lnTo>
                      <a:pt x="175" y="280"/>
                    </a:lnTo>
                    <a:lnTo>
                      <a:pt x="192" y="289"/>
                    </a:lnTo>
                    <a:lnTo>
                      <a:pt x="209" y="298"/>
                    </a:lnTo>
                    <a:lnTo>
                      <a:pt x="225" y="309"/>
                    </a:lnTo>
                    <a:lnTo>
                      <a:pt x="241" y="321"/>
                    </a:lnTo>
                    <a:lnTo>
                      <a:pt x="255" y="332"/>
                    </a:lnTo>
                    <a:lnTo>
                      <a:pt x="271" y="344"/>
                    </a:lnTo>
                    <a:lnTo>
                      <a:pt x="284" y="357"/>
                    </a:lnTo>
                    <a:lnTo>
                      <a:pt x="297" y="371"/>
                    </a:lnTo>
                    <a:lnTo>
                      <a:pt x="310" y="385"/>
                    </a:lnTo>
                    <a:lnTo>
                      <a:pt x="321" y="401"/>
                    </a:lnTo>
                    <a:lnTo>
                      <a:pt x="333" y="416"/>
                    </a:lnTo>
                    <a:lnTo>
                      <a:pt x="343" y="432"/>
                    </a:lnTo>
                    <a:lnTo>
                      <a:pt x="353" y="449"/>
                    </a:lnTo>
                    <a:lnTo>
                      <a:pt x="362" y="466"/>
                    </a:lnTo>
                    <a:lnTo>
                      <a:pt x="369" y="483"/>
                    </a:lnTo>
                    <a:lnTo>
                      <a:pt x="377" y="501"/>
                    </a:lnTo>
                    <a:lnTo>
                      <a:pt x="384" y="519"/>
                    </a:lnTo>
                    <a:lnTo>
                      <a:pt x="389" y="538"/>
                    </a:lnTo>
                    <a:lnTo>
                      <a:pt x="393" y="558"/>
                    </a:lnTo>
                    <a:lnTo>
                      <a:pt x="397" y="577"/>
                    </a:lnTo>
                    <a:lnTo>
                      <a:pt x="399" y="597"/>
                    </a:lnTo>
                    <a:lnTo>
                      <a:pt x="401" y="616"/>
                    </a:lnTo>
                    <a:lnTo>
                      <a:pt x="402" y="637"/>
                    </a:lnTo>
                    <a:close/>
                  </a:path>
                </a:pathLst>
              </a:custGeom>
              <a:gradFill>
                <a:gsLst>
                  <a:gs pos="0">
                    <a:srgbClr val="FFD757"/>
                  </a:gs>
                  <a:gs pos="100000">
                    <a:srgbClr val="F0B71F">
                      <a:lumMod val="90000"/>
                    </a:srgbClr>
                  </a:gs>
                </a:gsLst>
                <a:lin ang="5400000" scaled="1"/>
              </a:gradFill>
              <a:ln w="190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400"/>
              </a:p>
            </p:txBody>
          </p:sp>
          <p:sp>
            <p:nvSpPr>
              <p:cNvPr id="4125" name="Freeform 241"/>
              <p:cNvSpPr>
                <a:spLocks/>
              </p:cNvSpPr>
              <p:nvPr/>
            </p:nvSpPr>
            <p:spPr bwMode="auto">
              <a:xfrm>
                <a:off x="3570038" y="2271226"/>
                <a:ext cx="1176338" cy="1547812"/>
              </a:xfrm>
              <a:custGeom>
                <a:avLst/>
                <a:gdLst>
                  <a:gd name="T0" fmla="*/ 0 w 741"/>
                  <a:gd name="T1" fmla="*/ 2147483647 h 975"/>
                  <a:gd name="T2" fmla="*/ 2147483647 w 741"/>
                  <a:gd name="T3" fmla="*/ 2147483647 h 975"/>
                  <a:gd name="T4" fmla="*/ 2147483647 w 741"/>
                  <a:gd name="T5" fmla="*/ 2147483647 h 975"/>
                  <a:gd name="T6" fmla="*/ 2147483647 w 741"/>
                  <a:gd name="T7" fmla="*/ 2147483647 h 975"/>
                  <a:gd name="T8" fmla="*/ 2147483647 w 741"/>
                  <a:gd name="T9" fmla="*/ 2147483647 h 975"/>
                  <a:gd name="T10" fmla="*/ 2147483647 w 741"/>
                  <a:gd name="T11" fmla="*/ 2147483647 h 975"/>
                  <a:gd name="T12" fmla="*/ 2147483647 w 741"/>
                  <a:gd name="T13" fmla="*/ 2147483647 h 975"/>
                  <a:gd name="T14" fmla="*/ 2147483647 w 741"/>
                  <a:gd name="T15" fmla="*/ 2147483647 h 975"/>
                  <a:gd name="T16" fmla="*/ 2147483647 w 741"/>
                  <a:gd name="T17" fmla="*/ 2147483647 h 975"/>
                  <a:gd name="T18" fmla="*/ 2147483647 w 741"/>
                  <a:gd name="T19" fmla="*/ 2147483647 h 975"/>
                  <a:gd name="T20" fmla="*/ 2147483647 w 741"/>
                  <a:gd name="T21" fmla="*/ 2147483647 h 975"/>
                  <a:gd name="T22" fmla="*/ 2147483647 w 741"/>
                  <a:gd name="T23" fmla="*/ 2147483647 h 975"/>
                  <a:gd name="T24" fmla="*/ 2147483647 w 741"/>
                  <a:gd name="T25" fmla="*/ 2147483647 h 975"/>
                  <a:gd name="T26" fmla="*/ 2147483647 w 741"/>
                  <a:gd name="T27" fmla="*/ 2147483647 h 975"/>
                  <a:gd name="T28" fmla="*/ 2147483647 w 741"/>
                  <a:gd name="T29" fmla="*/ 2147483647 h 975"/>
                  <a:gd name="T30" fmla="*/ 2147483647 w 741"/>
                  <a:gd name="T31" fmla="*/ 2147483647 h 975"/>
                  <a:gd name="T32" fmla="*/ 2147483647 w 741"/>
                  <a:gd name="T33" fmla="*/ 2147483647 h 975"/>
                  <a:gd name="T34" fmla="*/ 2147483647 w 741"/>
                  <a:gd name="T35" fmla="*/ 2147483647 h 975"/>
                  <a:gd name="T36" fmla="*/ 2147483647 w 741"/>
                  <a:gd name="T37" fmla="*/ 2147483647 h 975"/>
                  <a:gd name="T38" fmla="*/ 2147483647 w 741"/>
                  <a:gd name="T39" fmla="*/ 2147483647 h 975"/>
                  <a:gd name="T40" fmla="*/ 2147483647 w 741"/>
                  <a:gd name="T41" fmla="*/ 2147483647 h 975"/>
                  <a:gd name="T42" fmla="*/ 2147483647 w 741"/>
                  <a:gd name="T43" fmla="*/ 2147483647 h 975"/>
                  <a:gd name="T44" fmla="*/ 2147483647 w 741"/>
                  <a:gd name="T45" fmla="*/ 2147483647 h 975"/>
                  <a:gd name="T46" fmla="*/ 2147483647 w 741"/>
                  <a:gd name="T47" fmla="*/ 2147483647 h 975"/>
                  <a:gd name="T48" fmla="*/ 2147483647 w 741"/>
                  <a:gd name="T49" fmla="*/ 2147483647 h 975"/>
                  <a:gd name="T50" fmla="*/ 2147483647 w 741"/>
                  <a:gd name="T51" fmla="*/ 2147483647 h 975"/>
                  <a:gd name="T52" fmla="*/ 2147483647 w 741"/>
                  <a:gd name="T53" fmla="*/ 2147483647 h 975"/>
                  <a:gd name="T54" fmla="*/ 2147483647 w 741"/>
                  <a:gd name="T55" fmla="*/ 2147483647 h 975"/>
                  <a:gd name="T56" fmla="*/ 2147483647 w 741"/>
                  <a:gd name="T57" fmla="*/ 2147483647 h 975"/>
                  <a:gd name="T58" fmla="*/ 2147483647 w 741"/>
                  <a:gd name="T59" fmla="*/ 2147483647 h 975"/>
                  <a:gd name="T60" fmla="*/ 2147483647 w 741"/>
                  <a:gd name="T61" fmla="*/ 2147483647 h 975"/>
                  <a:gd name="T62" fmla="*/ 2147483647 w 741"/>
                  <a:gd name="T63" fmla="*/ 0 h 975"/>
                  <a:gd name="T64" fmla="*/ 2147483647 w 741"/>
                  <a:gd name="T65" fmla="*/ 2147483647 h 975"/>
                  <a:gd name="T66" fmla="*/ 2147483647 w 741"/>
                  <a:gd name="T67" fmla="*/ 2147483647 h 975"/>
                  <a:gd name="T68" fmla="*/ 2147483647 w 741"/>
                  <a:gd name="T69" fmla="*/ 2147483647 h 975"/>
                  <a:gd name="T70" fmla="*/ 2147483647 w 741"/>
                  <a:gd name="T71" fmla="*/ 2147483647 h 975"/>
                  <a:gd name="T72" fmla="*/ 2147483647 w 741"/>
                  <a:gd name="T73" fmla="*/ 2147483647 h 975"/>
                  <a:gd name="T74" fmla="*/ 2147483647 w 741"/>
                  <a:gd name="T75" fmla="*/ 2147483647 h 975"/>
                  <a:gd name="T76" fmla="*/ 2147483647 w 741"/>
                  <a:gd name="T77" fmla="*/ 2147483647 h 975"/>
                  <a:gd name="T78" fmla="*/ 2147483647 w 741"/>
                  <a:gd name="T79" fmla="*/ 2147483647 h 975"/>
                  <a:gd name="T80" fmla="*/ 2147483647 w 741"/>
                  <a:gd name="T81" fmla="*/ 2147483647 h 975"/>
                  <a:gd name="T82" fmla="*/ 2147483647 w 741"/>
                  <a:gd name="T83" fmla="*/ 2147483647 h 975"/>
                  <a:gd name="T84" fmla="*/ 2147483647 w 741"/>
                  <a:gd name="T85" fmla="*/ 2147483647 h 975"/>
                  <a:gd name="T86" fmla="*/ 2147483647 w 741"/>
                  <a:gd name="T87" fmla="*/ 2147483647 h 975"/>
                  <a:gd name="T88" fmla="*/ 2147483647 w 741"/>
                  <a:gd name="T89" fmla="*/ 2147483647 h 975"/>
                  <a:gd name="T90" fmla="*/ 2147483647 w 741"/>
                  <a:gd name="T91" fmla="*/ 2147483647 h 975"/>
                  <a:gd name="T92" fmla="*/ 2147483647 w 741"/>
                  <a:gd name="T93" fmla="*/ 2147483647 h 975"/>
                  <a:gd name="T94" fmla="*/ 0 w 741"/>
                  <a:gd name="T95" fmla="*/ 2147483647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gradFill>
                <a:gsLst>
                  <a:gs pos="0">
                    <a:srgbClr val="2A9B18"/>
                  </a:gs>
                  <a:gs pos="100000">
                    <a:srgbClr val="1B8A0A"/>
                  </a:gs>
                </a:gsLst>
                <a:lin ang="5400000" scaled="1"/>
              </a:gradFill>
              <a:ln w="190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400"/>
              </a:p>
            </p:txBody>
          </p:sp>
        </p:grpSp>
        <p:sp>
          <p:nvSpPr>
            <p:cNvPr id="7" name="Freeform 242"/>
            <p:cNvSpPr>
              <a:spLocks/>
            </p:cNvSpPr>
            <p:nvPr/>
          </p:nvSpPr>
          <p:spPr bwMode="auto">
            <a:xfrm>
              <a:off x="4600357" y="1845934"/>
              <a:ext cx="1448018" cy="2054498"/>
            </a:xfrm>
            <a:custGeom>
              <a:avLst/>
              <a:gdLst>
                <a:gd name="T0" fmla="*/ 660 w 912"/>
                <a:gd name="T1" fmla="*/ 905 h 1294"/>
                <a:gd name="T2" fmla="*/ 658 w 912"/>
                <a:gd name="T3" fmla="*/ 961 h 1294"/>
                <a:gd name="T4" fmla="*/ 650 w 912"/>
                <a:gd name="T5" fmla="*/ 1015 h 1294"/>
                <a:gd name="T6" fmla="*/ 640 w 912"/>
                <a:gd name="T7" fmla="*/ 1068 h 1294"/>
                <a:gd name="T8" fmla="*/ 623 w 912"/>
                <a:gd name="T9" fmla="*/ 1120 h 1294"/>
                <a:gd name="T10" fmla="*/ 852 w 912"/>
                <a:gd name="T11" fmla="*/ 1229 h 1294"/>
                <a:gd name="T12" fmla="*/ 865 w 912"/>
                <a:gd name="T13" fmla="*/ 1190 h 1294"/>
                <a:gd name="T14" fmla="*/ 887 w 912"/>
                <a:gd name="T15" fmla="*/ 1112 h 1294"/>
                <a:gd name="T16" fmla="*/ 903 w 912"/>
                <a:gd name="T17" fmla="*/ 1031 h 1294"/>
                <a:gd name="T18" fmla="*/ 911 w 912"/>
                <a:gd name="T19" fmla="*/ 948 h 1294"/>
                <a:gd name="T20" fmla="*/ 912 w 912"/>
                <a:gd name="T21" fmla="*/ 905 h 1294"/>
                <a:gd name="T22" fmla="*/ 907 w 912"/>
                <a:gd name="T23" fmla="*/ 814 h 1294"/>
                <a:gd name="T24" fmla="*/ 894 w 912"/>
                <a:gd name="T25" fmla="*/ 726 h 1294"/>
                <a:gd name="T26" fmla="*/ 873 w 912"/>
                <a:gd name="T27" fmla="*/ 642 h 1294"/>
                <a:gd name="T28" fmla="*/ 843 w 912"/>
                <a:gd name="T29" fmla="*/ 560 h 1294"/>
                <a:gd name="T30" fmla="*/ 806 w 912"/>
                <a:gd name="T31" fmla="*/ 482 h 1294"/>
                <a:gd name="T32" fmla="*/ 761 w 912"/>
                <a:gd name="T33" fmla="*/ 408 h 1294"/>
                <a:gd name="T34" fmla="*/ 711 w 912"/>
                <a:gd name="T35" fmla="*/ 340 h 1294"/>
                <a:gd name="T36" fmla="*/ 654 w 912"/>
                <a:gd name="T37" fmla="*/ 275 h 1294"/>
                <a:gd name="T38" fmla="*/ 592 w 912"/>
                <a:gd name="T39" fmla="*/ 216 h 1294"/>
                <a:gd name="T40" fmla="*/ 524 w 912"/>
                <a:gd name="T41" fmla="*/ 165 h 1294"/>
                <a:gd name="T42" fmla="*/ 450 w 912"/>
                <a:gd name="T43" fmla="*/ 118 h 1294"/>
                <a:gd name="T44" fmla="*/ 374 w 912"/>
                <a:gd name="T45" fmla="*/ 79 h 1294"/>
                <a:gd name="T46" fmla="*/ 292 w 912"/>
                <a:gd name="T47" fmla="*/ 48 h 1294"/>
                <a:gd name="T48" fmla="*/ 208 w 912"/>
                <a:gd name="T49" fmla="*/ 23 h 1294"/>
                <a:gd name="T50" fmla="*/ 120 w 912"/>
                <a:gd name="T51" fmla="*/ 6 h 1294"/>
                <a:gd name="T52" fmla="*/ 29 w 912"/>
                <a:gd name="T53" fmla="*/ 0 h 1294"/>
                <a:gd name="T54" fmla="*/ 0 w 912"/>
                <a:gd name="T55" fmla="*/ 248 h 1294"/>
                <a:gd name="T56" fmla="*/ 35 w 912"/>
                <a:gd name="T57" fmla="*/ 249 h 1294"/>
                <a:gd name="T58" fmla="*/ 102 w 912"/>
                <a:gd name="T59" fmla="*/ 257 h 1294"/>
                <a:gd name="T60" fmla="*/ 166 w 912"/>
                <a:gd name="T61" fmla="*/ 270 h 1294"/>
                <a:gd name="T62" fmla="*/ 227 w 912"/>
                <a:gd name="T63" fmla="*/ 289 h 1294"/>
                <a:gd name="T64" fmla="*/ 287 w 912"/>
                <a:gd name="T65" fmla="*/ 315 h 1294"/>
                <a:gd name="T66" fmla="*/ 343 w 912"/>
                <a:gd name="T67" fmla="*/ 345 h 1294"/>
                <a:gd name="T68" fmla="*/ 396 w 912"/>
                <a:gd name="T69" fmla="*/ 381 h 1294"/>
                <a:gd name="T70" fmla="*/ 444 w 912"/>
                <a:gd name="T71" fmla="*/ 421 h 1294"/>
                <a:gd name="T72" fmla="*/ 489 w 912"/>
                <a:gd name="T73" fmla="*/ 465 h 1294"/>
                <a:gd name="T74" fmla="*/ 529 w 912"/>
                <a:gd name="T75" fmla="*/ 513 h 1294"/>
                <a:gd name="T76" fmla="*/ 564 w 912"/>
                <a:gd name="T77" fmla="*/ 566 h 1294"/>
                <a:gd name="T78" fmla="*/ 595 w 912"/>
                <a:gd name="T79" fmla="*/ 622 h 1294"/>
                <a:gd name="T80" fmla="*/ 620 w 912"/>
                <a:gd name="T81" fmla="*/ 681 h 1294"/>
                <a:gd name="T82" fmla="*/ 640 w 912"/>
                <a:gd name="T83" fmla="*/ 742 h 1294"/>
                <a:gd name="T84" fmla="*/ 653 w 912"/>
                <a:gd name="T85" fmla="*/ 805 h 1294"/>
                <a:gd name="T86" fmla="*/ 659 w 912"/>
                <a:gd name="T87" fmla="*/ 871 h 1294"/>
                <a:gd name="T88" fmla="*/ 660 w 912"/>
                <a:gd name="T89" fmla="*/ 905 h 129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12"/>
                <a:gd name="T136" fmla="*/ 0 h 1294"/>
                <a:gd name="T137" fmla="*/ 912 w 912"/>
                <a:gd name="T138" fmla="*/ 1294 h 129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12" h="1294">
                  <a:moveTo>
                    <a:pt x="660" y="905"/>
                  </a:moveTo>
                  <a:lnTo>
                    <a:pt x="660" y="905"/>
                  </a:lnTo>
                  <a:lnTo>
                    <a:pt x="659" y="933"/>
                  </a:lnTo>
                  <a:lnTo>
                    <a:pt x="658" y="961"/>
                  </a:lnTo>
                  <a:lnTo>
                    <a:pt x="654" y="988"/>
                  </a:lnTo>
                  <a:lnTo>
                    <a:pt x="650" y="1015"/>
                  </a:lnTo>
                  <a:lnTo>
                    <a:pt x="645" y="1042"/>
                  </a:lnTo>
                  <a:lnTo>
                    <a:pt x="640" y="1068"/>
                  </a:lnTo>
                  <a:lnTo>
                    <a:pt x="632" y="1094"/>
                  </a:lnTo>
                  <a:lnTo>
                    <a:pt x="623" y="1120"/>
                  </a:lnTo>
                  <a:lnTo>
                    <a:pt x="680" y="1294"/>
                  </a:lnTo>
                  <a:lnTo>
                    <a:pt x="852" y="1229"/>
                  </a:lnTo>
                  <a:lnTo>
                    <a:pt x="865" y="1190"/>
                  </a:lnTo>
                  <a:lnTo>
                    <a:pt x="877" y="1151"/>
                  </a:lnTo>
                  <a:lnTo>
                    <a:pt x="887" y="1112"/>
                  </a:lnTo>
                  <a:lnTo>
                    <a:pt x="896" y="1072"/>
                  </a:lnTo>
                  <a:lnTo>
                    <a:pt x="903" y="1031"/>
                  </a:lnTo>
                  <a:lnTo>
                    <a:pt x="908" y="989"/>
                  </a:lnTo>
                  <a:lnTo>
                    <a:pt x="911" y="948"/>
                  </a:lnTo>
                  <a:lnTo>
                    <a:pt x="912" y="905"/>
                  </a:lnTo>
                  <a:lnTo>
                    <a:pt x="911" y="859"/>
                  </a:lnTo>
                  <a:lnTo>
                    <a:pt x="907" y="814"/>
                  </a:lnTo>
                  <a:lnTo>
                    <a:pt x="901" y="770"/>
                  </a:lnTo>
                  <a:lnTo>
                    <a:pt x="894" y="726"/>
                  </a:lnTo>
                  <a:lnTo>
                    <a:pt x="885" y="683"/>
                  </a:lnTo>
                  <a:lnTo>
                    <a:pt x="873" y="642"/>
                  </a:lnTo>
                  <a:lnTo>
                    <a:pt x="859" y="600"/>
                  </a:lnTo>
                  <a:lnTo>
                    <a:pt x="843" y="560"/>
                  </a:lnTo>
                  <a:lnTo>
                    <a:pt x="825" y="520"/>
                  </a:lnTo>
                  <a:lnTo>
                    <a:pt x="806" y="482"/>
                  </a:lnTo>
                  <a:lnTo>
                    <a:pt x="785" y="445"/>
                  </a:lnTo>
                  <a:lnTo>
                    <a:pt x="761" y="408"/>
                  </a:lnTo>
                  <a:lnTo>
                    <a:pt x="737" y="373"/>
                  </a:lnTo>
                  <a:lnTo>
                    <a:pt x="711" y="340"/>
                  </a:lnTo>
                  <a:lnTo>
                    <a:pt x="684" y="306"/>
                  </a:lnTo>
                  <a:lnTo>
                    <a:pt x="654" y="275"/>
                  </a:lnTo>
                  <a:lnTo>
                    <a:pt x="624" y="245"/>
                  </a:lnTo>
                  <a:lnTo>
                    <a:pt x="592" y="216"/>
                  </a:lnTo>
                  <a:lnTo>
                    <a:pt x="558" y="191"/>
                  </a:lnTo>
                  <a:lnTo>
                    <a:pt x="524" y="165"/>
                  </a:lnTo>
                  <a:lnTo>
                    <a:pt x="488" y="141"/>
                  </a:lnTo>
                  <a:lnTo>
                    <a:pt x="450" y="118"/>
                  </a:lnTo>
                  <a:lnTo>
                    <a:pt x="413" y="98"/>
                  </a:lnTo>
                  <a:lnTo>
                    <a:pt x="374" y="79"/>
                  </a:lnTo>
                  <a:lnTo>
                    <a:pt x="334" y="62"/>
                  </a:lnTo>
                  <a:lnTo>
                    <a:pt x="292" y="48"/>
                  </a:lnTo>
                  <a:lnTo>
                    <a:pt x="251" y="35"/>
                  </a:lnTo>
                  <a:lnTo>
                    <a:pt x="208" y="23"/>
                  </a:lnTo>
                  <a:lnTo>
                    <a:pt x="164" y="14"/>
                  </a:lnTo>
                  <a:lnTo>
                    <a:pt x="120" y="6"/>
                  </a:lnTo>
                  <a:lnTo>
                    <a:pt x="74" y="3"/>
                  </a:lnTo>
                  <a:lnTo>
                    <a:pt x="29" y="0"/>
                  </a:lnTo>
                  <a:lnTo>
                    <a:pt x="151" y="128"/>
                  </a:lnTo>
                  <a:lnTo>
                    <a:pt x="0" y="248"/>
                  </a:lnTo>
                  <a:lnTo>
                    <a:pt x="35" y="249"/>
                  </a:lnTo>
                  <a:lnTo>
                    <a:pt x="68" y="253"/>
                  </a:lnTo>
                  <a:lnTo>
                    <a:pt x="102" y="257"/>
                  </a:lnTo>
                  <a:lnTo>
                    <a:pt x="134" y="263"/>
                  </a:lnTo>
                  <a:lnTo>
                    <a:pt x="166" y="270"/>
                  </a:lnTo>
                  <a:lnTo>
                    <a:pt x="197" y="279"/>
                  </a:lnTo>
                  <a:lnTo>
                    <a:pt x="227" y="289"/>
                  </a:lnTo>
                  <a:lnTo>
                    <a:pt x="257" y="302"/>
                  </a:lnTo>
                  <a:lnTo>
                    <a:pt x="287" y="315"/>
                  </a:lnTo>
                  <a:lnTo>
                    <a:pt x="315" y="329"/>
                  </a:lnTo>
                  <a:lnTo>
                    <a:pt x="343" y="345"/>
                  </a:lnTo>
                  <a:lnTo>
                    <a:pt x="370" y="362"/>
                  </a:lnTo>
                  <a:lnTo>
                    <a:pt x="396" y="381"/>
                  </a:lnTo>
                  <a:lnTo>
                    <a:pt x="420" y="401"/>
                  </a:lnTo>
                  <a:lnTo>
                    <a:pt x="444" y="421"/>
                  </a:lnTo>
                  <a:lnTo>
                    <a:pt x="467" y="442"/>
                  </a:lnTo>
                  <a:lnTo>
                    <a:pt x="489" y="465"/>
                  </a:lnTo>
                  <a:lnTo>
                    <a:pt x="510" y="489"/>
                  </a:lnTo>
                  <a:lnTo>
                    <a:pt x="529" y="513"/>
                  </a:lnTo>
                  <a:lnTo>
                    <a:pt x="548" y="539"/>
                  </a:lnTo>
                  <a:lnTo>
                    <a:pt x="564" y="566"/>
                  </a:lnTo>
                  <a:lnTo>
                    <a:pt x="580" y="594"/>
                  </a:lnTo>
                  <a:lnTo>
                    <a:pt x="595" y="622"/>
                  </a:lnTo>
                  <a:lnTo>
                    <a:pt x="608" y="651"/>
                  </a:lnTo>
                  <a:lnTo>
                    <a:pt x="620" y="681"/>
                  </a:lnTo>
                  <a:lnTo>
                    <a:pt x="630" y="710"/>
                  </a:lnTo>
                  <a:lnTo>
                    <a:pt x="640" y="742"/>
                  </a:lnTo>
                  <a:lnTo>
                    <a:pt x="646" y="774"/>
                  </a:lnTo>
                  <a:lnTo>
                    <a:pt x="653" y="805"/>
                  </a:lnTo>
                  <a:lnTo>
                    <a:pt x="656" y="839"/>
                  </a:lnTo>
                  <a:lnTo>
                    <a:pt x="659" y="871"/>
                  </a:lnTo>
                  <a:lnTo>
                    <a:pt x="660" y="905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50000">
                  <a:schemeClr val="tx2">
                    <a:lumMod val="75000"/>
                  </a:schemeClr>
                </a:gs>
              </a:gsLst>
              <a:lin ang="18900000" scaled="1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indent="-342900" algn="ctr">
                <a:buFont typeface="Calibri" pitchFamily="34" charset="0"/>
                <a:buAutoNum type="arabicPeriod"/>
                <a:defRPr/>
              </a:pPr>
              <a:endParaRPr lang="en-US" sz="1400" noProof="1">
                <a:solidFill>
                  <a:srgbClr val="FFFFFF"/>
                </a:solidFill>
                <a:latin typeface="Calibri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8" name="Freeform 243"/>
            <p:cNvSpPr>
              <a:spLocks/>
            </p:cNvSpPr>
            <p:nvPr/>
          </p:nvSpPr>
          <p:spPr bwMode="auto">
            <a:xfrm>
              <a:off x="3390317" y="3680128"/>
              <a:ext cx="2542216" cy="1041097"/>
            </a:xfrm>
            <a:custGeom>
              <a:avLst/>
              <a:gdLst>
                <a:gd name="T0" fmla="*/ 757 w 1601"/>
                <a:gd name="T1" fmla="*/ 407 h 656"/>
                <a:gd name="T2" fmla="*/ 673 w 1601"/>
                <a:gd name="T3" fmla="*/ 402 h 656"/>
                <a:gd name="T4" fmla="*/ 591 w 1601"/>
                <a:gd name="T5" fmla="*/ 386 h 656"/>
                <a:gd name="T6" fmla="*/ 513 w 1601"/>
                <a:gd name="T7" fmla="*/ 362 h 656"/>
                <a:gd name="T8" fmla="*/ 440 w 1601"/>
                <a:gd name="T9" fmla="*/ 327 h 656"/>
                <a:gd name="T10" fmla="*/ 372 w 1601"/>
                <a:gd name="T11" fmla="*/ 285 h 656"/>
                <a:gd name="T12" fmla="*/ 310 w 1601"/>
                <a:gd name="T13" fmla="*/ 236 h 656"/>
                <a:gd name="T14" fmla="*/ 254 w 1601"/>
                <a:gd name="T15" fmla="*/ 179 h 656"/>
                <a:gd name="T16" fmla="*/ 206 w 1601"/>
                <a:gd name="T17" fmla="*/ 117 h 656"/>
                <a:gd name="T18" fmla="*/ 0 w 1601"/>
                <a:gd name="T19" fmla="*/ 261 h 656"/>
                <a:gd name="T20" fmla="*/ 16 w 1601"/>
                <a:gd name="T21" fmla="*/ 283 h 656"/>
                <a:gd name="T22" fmla="*/ 49 w 1601"/>
                <a:gd name="T23" fmla="*/ 325 h 656"/>
                <a:gd name="T24" fmla="*/ 86 w 1601"/>
                <a:gd name="T25" fmla="*/ 366 h 656"/>
                <a:gd name="T26" fmla="*/ 123 w 1601"/>
                <a:gd name="T27" fmla="*/ 405 h 656"/>
                <a:gd name="T28" fmla="*/ 163 w 1601"/>
                <a:gd name="T29" fmla="*/ 441 h 656"/>
                <a:gd name="T30" fmla="*/ 206 w 1601"/>
                <a:gd name="T31" fmla="*/ 475 h 656"/>
                <a:gd name="T32" fmla="*/ 252 w 1601"/>
                <a:gd name="T33" fmla="*/ 506 h 656"/>
                <a:gd name="T34" fmla="*/ 298 w 1601"/>
                <a:gd name="T35" fmla="*/ 534 h 656"/>
                <a:gd name="T36" fmla="*/ 346 w 1601"/>
                <a:gd name="T37" fmla="*/ 560 h 656"/>
                <a:gd name="T38" fmla="*/ 397 w 1601"/>
                <a:gd name="T39" fmla="*/ 583 h 656"/>
                <a:gd name="T40" fmla="*/ 449 w 1601"/>
                <a:gd name="T41" fmla="*/ 604 h 656"/>
                <a:gd name="T42" fmla="*/ 502 w 1601"/>
                <a:gd name="T43" fmla="*/ 621 h 656"/>
                <a:gd name="T44" fmla="*/ 556 w 1601"/>
                <a:gd name="T45" fmla="*/ 634 h 656"/>
                <a:gd name="T46" fmla="*/ 613 w 1601"/>
                <a:gd name="T47" fmla="*/ 644 h 656"/>
                <a:gd name="T48" fmla="*/ 670 w 1601"/>
                <a:gd name="T49" fmla="*/ 652 h 656"/>
                <a:gd name="T50" fmla="*/ 727 w 1601"/>
                <a:gd name="T51" fmla="*/ 656 h 656"/>
                <a:gd name="T52" fmla="*/ 757 w 1601"/>
                <a:gd name="T53" fmla="*/ 656 h 656"/>
                <a:gd name="T54" fmla="*/ 827 w 1601"/>
                <a:gd name="T55" fmla="*/ 654 h 656"/>
                <a:gd name="T56" fmla="*/ 896 w 1601"/>
                <a:gd name="T57" fmla="*/ 646 h 656"/>
                <a:gd name="T58" fmla="*/ 963 w 1601"/>
                <a:gd name="T59" fmla="*/ 633 h 656"/>
                <a:gd name="T60" fmla="*/ 1029 w 1601"/>
                <a:gd name="T61" fmla="*/ 616 h 656"/>
                <a:gd name="T62" fmla="*/ 1093 w 1601"/>
                <a:gd name="T63" fmla="*/ 594 h 656"/>
                <a:gd name="T64" fmla="*/ 1154 w 1601"/>
                <a:gd name="T65" fmla="*/ 567 h 656"/>
                <a:gd name="T66" fmla="*/ 1212 w 1601"/>
                <a:gd name="T67" fmla="*/ 537 h 656"/>
                <a:gd name="T68" fmla="*/ 1268 w 1601"/>
                <a:gd name="T69" fmla="*/ 502 h 656"/>
                <a:gd name="T70" fmla="*/ 1322 w 1601"/>
                <a:gd name="T71" fmla="*/ 464 h 656"/>
                <a:gd name="T72" fmla="*/ 1372 w 1601"/>
                <a:gd name="T73" fmla="*/ 421 h 656"/>
                <a:gd name="T74" fmla="*/ 1420 w 1601"/>
                <a:gd name="T75" fmla="*/ 376 h 656"/>
                <a:gd name="T76" fmla="*/ 1464 w 1601"/>
                <a:gd name="T77" fmla="*/ 328 h 656"/>
                <a:gd name="T78" fmla="*/ 1504 w 1601"/>
                <a:gd name="T79" fmla="*/ 276 h 656"/>
                <a:gd name="T80" fmla="*/ 1540 w 1601"/>
                <a:gd name="T81" fmla="*/ 222 h 656"/>
                <a:gd name="T82" fmla="*/ 1573 w 1601"/>
                <a:gd name="T83" fmla="*/ 165 h 656"/>
                <a:gd name="T84" fmla="*/ 1601 w 1601"/>
                <a:gd name="T85" fmla="*/ 105 h 656"/>
                <a:gd name="T86" fmla="*/ 1372 w 1601"/>
                <a:gd name="T87" fmla="*/ 0 h 656"/>
                <a:gd name="T88" fmla="*/ 1361 w 1601"/>
                <a:gd name="T89" fmla="*/ 22 h 656"/>
                <a:gd name="T90" fmla="*/ 1341 w 1601"/>
                <a:gd name="T91" fmla="*/ 66 h 656"/>
                <a:gd name="T92" fmla="*/ 1315 w 1601"/>
                <a:gd name="T93" fmla="*/ 106 h 656"/>
                <a:gd name="T94" fmla="*/ 1287 w 1601"/>
                <a:gd name="T95" fmla="*/ 145 h 656"/>
                <a:gd name="T96" fmla="*/ 1258 w 1601"/>
                <a:gd name="T97" fmla="*/ 183 h 656"/>
                <a:gd name="T98" fmla="*/ 1224 w 1601"/>
                <a:gd name="T99" fmla="*/ 218 h 656"/>
                <a:gd name="T100" fmla="*/ 1189 w 1601"/>
                <a:gd name="T101" fmla="*/ 250 h 656"/>
                <a:gd name="T102" fmla="*/ 1151 w 1601"/>
                <a:gd name="T103" fmla="*/ 279 h 656"/>
                <a:gd name="T104" fmla="*/ 1111 w 1601"/>
                <a:gd name="T105" fmla="*/ 306 h 656"/>
                <a:gd name="T106" fmla="*/ 1068 w 1601"/>
                <a:gd name="T107" fmla="*/ 331 h 656"/>
                <a:gd name="T108" fmla="*/ 1026 w 1601"/>
                <a:gd name="T109" fmla="*/ 351 h 656"/>
                <a:gd name="T110" fmla="*/ 980 w 1601"/>
                <a:gd name="T111" fmla="*/ 370 h 656"/>
                <a:gd name="T112" fmla="*/ 932 w 1601"/>
                <a:gd name="T113" fmla="*/ 384 h 656"/>
                <a:gd name="T114" fmla="*/ 884 w 1601"/>
                <a:gd name="T115" fmla="*/ 396 h 656"/>
                <a:gd name="T116" fmla="*/ 834 w 1601"/>
                <a:gd name="T117" fmla="*/ 403 h 656"/>
                <a:gd name="T118" fmla="*/ 783 w 1601"/>
                <a:gd name="T119" fmla="*/ 407 h 656"/>
                <a:gd name="T120" fmla="*/ 757 w 1601"/>
                <a:gd name="T121" fmla="*/ 407 h 65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1"/>
                <a:gd name="T184" fmla="*/ 0 h 656"/>
                <a:gd name="T185" fmla="*/ 1601 w 1601"/>
                <a:gd name="T186" fmla="*/ 656 h 65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1" h="656">
                  <a:moveTo>
                    <a:pt x="757" y="407"/>
                  </a:moveTo>
                  <a:lnTo>
                    <a:pt x="757" y="407"/>
                  </a:lnTo>
                  <a:lnTo>
                    <a:pt x="714" y="406"/>
                  </a:lnTo>
                  <a:lnTo>
                    <a:pt x="673" y="402"/>
                  </a:lnTo>
                  <a:lnTo>
                    <a:pt x="631" y="396"/>
                  </a:lnTo>
                  <a:lnTo>
                    <a:pt x="591" y="386"/>
                  </a:lnTo>
                  <a:lnTo>
                    <a:pt x="551" y="375"/>
                  </a:lnTo>
                  <a:lnTo>
                    <a:pt x="513" y="362"/>
                  </a:lnTo>
                  <a:lnTo>
                    <a:pt x="476" y="345"/>
                  </a:lnTo>
                  <a:lnTo>
                    <a:pt x="440" y="327"/>
                  </a:lnTo>
                  <a:lnTo>
                    <a:pt x="406" y="307"/>
                  </a:lnTo>
                  <a:lnTo>
                    <a:pt x="372" y="285"/>
                  </a:lnTo>
                  <a:lnTo>
                    <a:pt x="340" y="262"/>
                  </a:lnTo>
                  <a:lnTo>
                    <a:pt x="310" y="236"/>
                  </a:lnTo>
                  <a:lnTo>
                    <a:pt x="281" y="209"/>
                  </a:lnTo>
                  <a:lnTo>
                    <a:pt x="254" y="179"/>
                  </a:lnTo>
                  <a:lnTo>
                    <a:pt x="230" y="148"/>
                  </a:lnTo>
                  <a:lnTo>
                    <a:pt x="206" y="117"/>
                  </a:lnTo>
                  <a:lnTo>
                    <a:pt x="40" y="83"/>
                  </a:lnTo>
                  <a:lnTo>
                    <a:pt x="0" y="261"/>
                  </a:lnTo>
                  <a:lnTo>
                    <a:pt x="16" y="283"/>
                  </a:lnTo>
                  <a:lnTo>
                    <a:pt x="32" y="305"/>
                  </a:lnTo>
                  <a:lnTo>
                    <a:pt x="49" y="325"/>
                  </a:lnTo>
                  <a:lnTo>
                    <a:pt x="66" y="346"/>
                  </a:lnTo>
                  <a:lnTo>
                    <a:pt x="86" y="366"/>
                  </a:lnTo>
                  <a:lnTo>
                    <a:pt x="104" y="385"/>
                  </a:lnTo>
                  <a:lnTo>
                    <a:pt x="123" y="405"/>
                  </a:lnTo>
                  <a:lnTo>
                    <a:pt x="144" y="423"/>
                  </a:lnTo>
                  <a:lnTo>
                    <a:pt x="163" y="441"/>
                  </a:lnTo>
                  <a:lnTo>
                    <a:pt x="185" y="458"/>
                  </a:lnTo>
                  <a:lnTo>
                    <a:pt x="206" y="475"/>
                  </a:lnTo>
                  <a:lnTo>
                    <a:pt x="230" y="490"/>
                  </a:lnTo>
                  <a:lnTo>
                    <a:pt x="252" y="506"/>
                  </a:lnTo>
                  <a:lnTo>
                    <a:pt x="275" y="520"/>
                  </a:lnTo>
                  <a:lnTo>
                    <a:pt x="298" y="534"/>
                  </a:lnTo>
                  <a:lnTo>
                    <a:pt x="323" y="548"/>
                  </a:lnTo>
                  <a:lnTo>
                    <a:pt x="346" y="560"/>
                  </a:lnTo>
                  <a:lnTo>
                    <a:pt x="372" y="572"/>
                  </a:lnTo>
                  <a:lnTo>
                    <a:pt x="397" y="583"/>
                  </a:lnTo>
                  <a:lnTo>
                    <a:pt x="423" y="594"/>
                  </a:lnTo>
                  <a:lnTo>
                    <a:pt x="449" y="604"/>
                  </a:lnTo>
                  <a:lnTo>
                    <a:pt x="476" y="612"/>
                  </a:lnTo>
                  <a:lnTo>
                    <a:pt x="502" y="621"/>
                  </a:lnTo>
                  <a:lnTo>
                    <a:pt x="529" y="628"/>
                  </a:lnTo>
                  <a:lnTo>
                    <a:pt x="556" y="634"/>
                  </a:lnTo>
                  <a:lnTo>
                    <a:pt x="585" y="641"/>
                  </a:lnTo>
                  <a:lnTo>
                    <a:pt x="613" y="644"/>
                  </a:lnTo>
                  <a:lnTo>
                    <a:pt x="641" y="650"/>
                  </a:lnTo>
                  <a:lnTo>
                    <a:pt x="670" y="652"/>
                  </a:lnTo>
                  <a:lnTo>
                    <a:pt x="699" y="655"/>
                  </a:lnTo>
                  <a:lnTo>
                    <a:pt x="727" y="656"/>
                  </a:lnTo>
                  <a:lnTo>
                    <a:pt x="757" y="656"/>
                  </a:lnTo>
                  <a:lnTo>
                    <a:pt x="792" y="656"/>
                  </a:lnTo>
                  <a:lnTo>
                    <a:pt x="827" y="654"/>
                  </a:lnTo>
                  <a:lnTo>
                    <a:pt x="862" y="651"/>
                  </a:lnTo>
                  <a:lnTo>
                    <a:pt x="896" y="646"/>
                  </a:lnTo>
                  <a:lnTo>
                    <a:pt x="931" y="641"/>
                  </a:lnTo>
                  <a:lnTo>
                    <a:pt x="963" y="633"/>
                  </a:lnTo>
                  <a:lnTo>
                    <a:pt x="997" y="625"/>
                  </a:lnTo>
                  <a:lnTo>
                    <a:pt x="1029" y="616"/>
                  </a:lnTo>
                  <a:lnTo>
                    <a:pt x="1061" y="606"/>
                  </a:lnTo>
                  <a:lnTo>
                    <a:pt x="1093" y="594"/>
                  </a:lnTo>
                  <a:lnTo>
                    <a:pt x="1124" y="581"/>
                  </a:lnTo>
                  <a:lnTo>
                    <a:pt x="1154" y="567"/>
                  </a:lnTo>
                  <a:lnTo>
                    <a:pt x="1184" y="552"/>
                  </a:lnTo>
                  <a:lnTo>
                    <a:pt x="1212" y="537"/>
                  </a:lnTo>
                  <a:lnTo>
                    <a:pt x="1241" y="520"/>
                  </a:lnTo>
                  <a:lnTo>
                    <a:pt x="1268" y="502"/>
                  </a:lnTo>
                  <a:lnTo>
                    <a:pt x="1295" y="484"/>
                  </a:lnTo>
                  <a:lnTo>
                    <a:pt x="1322" y="464"/>
                  </a:lnTo>
                  <a:lnTo>
                    <a:pt x="1347" y="443"/>
                  </a:lnTo>
                  <a:lnTo>
                    <a:pt x="1372" y="421"/>
                  </a:lnTo>
                  <a:lnTo>
                    <a:pt x="1396" y="399"/>
                  </a:lnTo>
                  <a:lnTo>
                    <a:pt x="1420" y="376"/>
                  </a:lnTo>
                  <a:lnTo>
                    <a:pt x="1442" y="353"/>
                  </a:lnTo>
                  <a:lnTo>
                    <a:pt x="1464" y="328"/>
                  </a:lnTo>
                  <a:lnTo>
                    <a:pt x="1483" y="302"/>
                  </a:lnTo>
                  <a:lnTo>
                    <a:pt x="1504" y="276"/>
                  </a:lnTo>
                  <a:lnTo>
                    <a:pt x="1522" y="249"/>
                  </a:lnTo>
                  <a:lnTo>
                    <a:pt x="1540" y="222"/>
                  </a:lnTo>
                  <a:lnTo>
                    <a:pt x="1557" y="193"/>
                  </a:lnTo>
                  <a:lnTo>
                    <a:pt x="1573" y="165"/>
                  </a:lnTo>
                  <a:lnTo>
                    <a:pt x="1587" y="135"/>
                  </a:lnTo>
                  <a:lnTo>
                    <a:pt x="1601" y="105"/>
                  </a:lnTo>
                  <a:lnTo>
                    <a:pt x="1427" y="171"/>
                  </a:lnTo>
                  <a:lnTo>
                    <a:pt x="1372" y="0"/>
                  </a:lnTo>
                  <a:lnTo>
                    <a:pt x="1361" y="22"/>
                  </a:lnTo>
                  <a:lnTo>
                    <a:pt x="1351" y="44"/>
                  </a:lnTo>
                  <a:lnTo>
                    <a:pt x="1341" y="66"/>
                  </a:lnTo>
                  <a:lnTo>
                    <a:pt x="1328" y="87"/>
                  </a:lnTo>
                  <a:lnTo>
                    <a:pt x="1315" y="106"/>
                  </a:lnTo>
                  <a:lnTo>
                    <a:pt x="1302" y="127"/>
                  </a:lnTo>
                  <a:lnTo>
                    <a:pt x="1287" y="145"/>
                  </a:lnTo>
                  <a:lnTo>
                    <a:pt x="1273" y="165"/>
                  </a:lnTo>
                  <a:lnTo>
                    <a:pt x="1258" y="183"/>
                  </a:lnTo>
                  <a:lnTo>
                    <a:pt x="1241" y="201"/>
                  </a:lnTo>
                  <a:lnTo>
                    <a:pt x="1224" y="218"/>
                  </a:lnTo>
                  <a:lnTo>
                    <a:pt x="1207" y="233"/>
                  </a:lnTo>
                  <a:lnTo>
                    <a:pt x="1189" y="250"/>
                  </a:lnTo>
                  <a:lnTo>
                    <a:pt x="1169" y="265"/>
                  </a:lnTo>
                  <a:lnTo>
                    <a:pt x="1151" y="279"/>
                  </a:lnTo>
                  <a:lnTo>
                    <a:pt x="1131" y="293"/>
                  </a:lnTo>
                  <a:lnTo>
                    <a:pt x="1111" y="306"/>
                  </a:lnTo>
                  <a:lnTo>
                    <a:pt x="1090" y="319"/>
                  </a:lnTo>
                  <a:lnTo>
                    <a:pt x="1068" y="331"/>
                  </a:lnTo>
                  <a:lnTo>
                    <a:pt x="1048" y="341"/>
                  </a:lnTo>
                  <a:lnTo>
                    <a:pt x="1026" y="351"/>
                  </a:lnTo>
                  <a:lnTo>
                    <a:pt x="1002" y="361"/>
                  </a:lnTo>
                  <a:lnTo>
                    <a:pt x="980" y="370"/>
                  </a:lnTo>
                  <a:lnTo>
                    <a:pt x="957" y="377"/>
                  </a:lnTo>
                  <a:lnTo>
                    <a:pt x="932" y="384"/>
                  </a:lnTo>
                  <a:lnTo>
                    <a:pt x="909" y="390"/>
                  </a:lnTo>
                  <a:lnTo>
                    <a:pt x="884" y="396"/>
                  </a:lnTo>
                  <a:lnTo>
                    <a:pt x="860" y="399"/>
                  </a:lnTo>
                  <a:lnTo>
                    <a:pt x="834" y="403"/>
                  </a:lnTo>
                  <a:lnTo>
                    <a:pt x="809" y="405"/>
                  </a:lnTo>
                  <a:lnTo>
                    <a:pt x="783" y="407"/>
                  </a:lnTo>
                  <a:lnTo>
                    <a:pt x="757" y="40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50000">
                  <a:schemeClr val="tx2">
                    <a:lumMod val="75000"/>
                  </a:schemeClr>
                </a:gs>
              </a:gsLst>
              <a:lin ang="18900000" scaled="1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indent="-342900" algn="ctr">
                <a:buFont typeface="Calibri" pitchFamily="34" charset="0"/>
                <a:buAutoNum type="arabicPeriod"/>
                <a:defRPr/>
              </a:pPr>
              <a:endParaRPr lang="en-US" sz="1400" noProof="1">
                <a:solidFill>
                  <a:srgbClr val="FFFFFF"/>
                </a:solidFill>
                <a:latin typeface="Calibri" pitchFamily="34" charset="0"/>
                <a:ea typeface="ＭＳ Ｐゴシック" charset="-128"/>
              </a:endParaRPr>
            </a:p>
          </p:txBody>
        </p:sp>
        <p:sp>
          <p:nvSpPr>
            <p:cNvPr id="9" name="Freeform 244"/>
            <p:cNvSpPr>
              <a:spLocks/>
            </p:cNvSpPr>
            <p:nvPr/>
          </p:nvSpPr>
          <p:spPr bwMode="auto">
            <a:xfrm>
              <a:off x="3138488" y="1844675"/>
              <a:ext cx="1643186" cy="2200529"/>
            </a:xfrm>
            <a:custGeom>
              <a:avLst/>
              <a:gdLst>
                <a:gd name="T0" fmla="*/ 1035 w 1035"/>
                <a:gd name="T1" fmla="*/ 128 h 1386"/>
                <a:gd name="T2" fmla="*/ 915 w 1035"/>
                <a:gd name="T3" fmla="*/ 0 h 1386"/>
                <a:gd name="T4" fmla="*/ 831 w 1035"/>
                <a:gd name="T5" fmla="*/ 4 h 1386"/>
                <a:gd name="T6" fmla="*/ 748 w 1035"/>
                <a:gd name="T7" fmla="*/ 15 h 1386"/>
                <a:gd name="T8" fmla="*/ 669 w 1035"/>
                <a:gd name="T9" fmla="*/ 33 h 1386"/>
                <a:gd name="T10" fmla="*/ 591 w 1035"/>
                <a:gd name="T11" fmla="*/ 58 h 1386"/>
                <a:gd name="T12" fmla="*/ 517 w 1035"/>
                <a:gd name="T13" fmla="*/ 90 h 1386"/>
                <a:gd name="T14" fmla="*/ 447 w 1035"/>
                <a:gd name="T15" fmla="*/ 128 h 1386"/>
                <a:gd name="T16" fmla="*/ 381 w 1035"/>
                <a:gd name="T17" fmla="*/ 171 h 1386"/>
                <a:gd name="T18" fmla="*/ 319 w 1035"/>
                <a:gd name="T19" fmla="*/ 219 h 1386"/>
                <a:gd name="T20" fmla="*/ 469 w 1035"/>
                <a:gd name="T21" fmla="*/ 131 h 1386"/>
                <a:gd name="T22" fmla="*/ 742 w 1035"/>
                <a:gd name="T23" fmla="*/ 160 h 1386"/>
                <a:gd name="T24" fmla="*/ 469 w 1035"/>
                <a:gd name="T25" fmla="*/ 131 h 1386"/>
                <a:gd name="T26" fmla="*/ 319 w 1035"/>
                <a:gd name="T27" fmla="*/ 219 h 1386"/>
                <a:gd name="T28" fmla="*/ 282 w 1035"/>
                <a:gd name="T29" fmla="*/ 251 h 1386"/>
                <a:gd name="T30" fmla="*/ 216 w 1035"/>
                <a:gd name="T31" fmla="*/ 321 h 1386"/>
                <a:gd name="T32" fmla="*/ 158 w 1035"/>
                <a:gd name="T33" fmla="*/ 396 h 1386"/>
                <a:gd name="T34" fmla="*/ 107 w 1035"/>
                <a:gd name="T35" fmla="*/ 479 h 1386"/>
                <a:gd name="T36" fmla="*/ 66 w 1035"/>
                <a:gd name="T37" fmla="*/ 566 h 1386"/>
                <a:gd name="T38" fmla="*/ 35 w 1035"/>
                <a:gd name="T39" fmla="*/ 658 h 1386"/>
                <a:gd name="T40" fmla="*/ 13 w 1035"/>
                <a:gd name="T41" fmla="*/ 755 h 1386"/>
                <a:gd name="T42" fmla="*/ 1 w 1035"/>
                <a:gd name="T43" fmla="*/ 855 h 1386"/>
                <a:gd name="T44" fmla="*/ 0 w 1035"/>
                <a:gd name="T45" fmla="*/ 906 h 1386"/>
                <a:gd name="T46" fmla="*/ 2 w 1035"/>
                <a:gd name="T47" fmla="*/ 972 h 1386"/>
                <a:gd name="T48" fmla="*/ 9 w 1035"/>
                <a:gd name="T49" fmla="*/ 1036 h 1386"/>
                <a:gd name="T50" fmla="*/ 20 w 1035"/>
                <a:gd name="T51" fmla="*/ 1099 h 1386"/>
                <a:gd name="T52" fmla="*/ 36 w 1035"/>
                <a:gd name="T53" fmla="*/ 1160 h 1386"/>
                <a:gd name="T54" fmla="*/ 55 w 1035"/>
                <a:gd name="T55" fmla="*/ 1220 h 1386"/>
                <a:gd name="T56" fmla="*/ 80 w 1035"/>
                <a:gd name="T57" fmla="*/ 1277 h 1386"/>
                <a:gd name="T58" fmla="*/ 107 w 1035"/>
                <a:gd name="T59" fmla="*/ 1332 h 1386"/>
                <a:gd name="T60" fmla="*/ 138 w 1035"/>
                <a:gd name="T61" fmla="*/ 1386 h 1386"/>
                <a:gd name="T62" fmla="*/ 346 w 1035"/>
                <a:gd name="T63" fmla="*/ 1244 h 1386"/>
                <a:gd name="T64" fmla="*/ 325 w 1035"/>
                <a:gd name="T65" fmla="*/ 1207 h 1386"/>
                <a:gd name="T66" fmla="*/ 290 w 1035"/>
                <a:gd name="T67" fmla="*/ 1126 h 1386"/>
                <a:gd name="T68" fmla="*/ 265 w 1035"/>
                <a:gd name="T69" fmla="*/ 1041 h 1386"/>
                <a:gd name="T70" fmla="*/ 258 w 1035"/>
                <a:gd name="T71" fmla="*/ 997 h 1386"/>
                <a:gd name="T72" fmla="*/ 254 w 1035"/>
                <a:gd name="T73" fmla="*/ 953 h 1386"/>
                <a:gd name="T74" fmla="*/ 252 w 1035"/>
                <a:gd name="T75" fmla="*/ 906 h 1386"/>
                <a:gd name="T76" fmla="*/ 252 w 1035"/>
                <a:gd name="T77" fmla="*/ 873 h 1386"/>
                <a:gd name="T78" fmla="*/ 259 w 1035"/>
                <a:gd name="T79" fmla="*/ 809 h 1386"/>
                <a:gd name="T80" fmla="*/ 272 w 1035"/>
                <a:gd name="T81" fmla="*/ 746 h 1386"/>
                <a:gd name="T82" fmla="*/ 290 w 1035"/>
                <a:gd name="T83" fmla="*/ 687 h 1386"/>
                <a:gd name="T84" fmla="*/ 313 w 1035"/>
                <a:gd name="T85" fmla="*/ 630 h 1386"/>
                <a:gd name="T86" fmla="*/ 343 w 1035"/>
                <a:gd name="T87" fmla="*/ 574 h 1386"/>
                <a:gd name="T88" fmla="*/ 377 w 1035"/>
                <a:gd name="T89" fmla="*/ 523 h 1386"/>
                <a:gd name="T90" fmla="*/ 414 w 1035"/>
                <a:gd name="T91" fmla="*/ 475 h 1386"/>
                <a:gd name="T92" fmla="*/ 457 w 1035"/>
                <a:gd name="T93" fmla="*/ 431 h 1386"/>
                <a:gd name="T94" fmla="*/ 504 w 1035"/>
                <a:gd name="T95" fmla="*/ 391 h 1386"/>
                <a:gd name="T96" fmla="*/ 554 w 1035"/>
                <a:gd name="T97" fmla="*/ 355 h 1386"/>
                <a:gd name="T98" fmla="*/ 608 w 1035"/>
                <a:gd name="T99" fmla="*/ 324 h 1386"/>
                <a:gd name="T100" fmla="*/ 665 w 1035"/>
                <a:gd name="T101" fmla="*/ 298 h 1386"/>
                <a:gd name="T102" fmla="*/ 724 w 1035"/>
                <a:gd name="T103" fmla="*/ 277 h 1386"/>
                <a:gd name="T104" fmla="*/ 787 w 1035"/>
                <a:gd name="T105" fmla="*/ 262 h 1386"/>
                <a:gd name="T106" fmla="*/ 850 w 1035"/>
                <a:gd name="T107" fmla="*/ 252 h 1386"/>
                <a:gd name="T108" fmla="*/ 882 w 1035"/>
                <a:gd name="T109" fmla="*/ 250 h 138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35"/>
                <a:gd name="T166" fmla="*/ 0 h 1386"/>
                <a:gd name="T167" fmla="*/ 1035 w 1035"/>
                <a:gd name="T168" fmla="*/ 1386 h 138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35" h="1386">
                  <a:moveTo>
                    <a:pt x="882" y="250"/>
                  </a:moveTo>
                  <a:lnTo>
                    <a:pt x="1035" y="128"/>
                  </a:lnTo>
                  <a:lnTo>
                    <a:pt x="915" y="0"/>
                  </a:lnTo>
                  <a:lnTo>
                    <a:pt x="872" y="1"/>
                  </a:lnTo>
                  <a:lnTo>
                    <a:pt x="831" y="4"/>
                  </a:lnTo>
                  <a:lnTo>
                    <a:pt x="789" y="9"/>
                  </a:lnTo>
                  <a:lnTo>
                    <a:pt x="748" y="15"/>
                  </a:lnTo>
                  <a:lnTo>
                    <a:pt x="707" y="23"/>
                  </a:lnTo>
                  <a:lnTo>
                    <a:pt x="669" y="33"/>
                  </a:lnTo>
                  <a:lnTo>
                    <a:pt x="630" y="45"/>
                  </a:lnTo>
                  <a:lnTo>
                    <a:pt x="591" y="58"/>
                  </a:lnTo>
                  <a:lnTo>
                    <a:pt x="553" y="74"/>
                  </a:lnTo>
                  <a:lnTo>
                    <a:pt x="517" y="90"/>
                  </a:lnTo>
                  <a:lnTo>
                    <a:pt x="482" y="109"/>
                  </a:lnTo>
                  <a:lnTo>
                    <a:pt x="447" y="128"/>
                  </a:lnTo>
                  <a:lnTo>
                    <a:pt x="413" y="149"/>
                  </a:lnTo>
                  <a:lnTo>
                    <a:pt x="381" y="171"/>
                  </a:lnTo>
                  <a:lnTo>
                    <a:pt x="348" y="194"/>
                  </a:lnTo>
                  <a:lnTo>
                    <a:pt x="319" y="219"/>
                  </a:lnTo>
                  <a:lnTo>
                    <a:pt x="346" y="247"/>
                  </a:lnTo>
                  <a:lnTo>
                    <a:pt x="469" y="131"/>
                  </a:lnTo>
                  <a:lnTo>
                    <a:pt x="593" y="259"/>
                  </a:lnTo>
                  <a:lnTo>
                    <a:pt x="742" y="160"/>
                  </a:lnTo>
                  <a:lnTo>
                    <a:pt x="593" y="259"/>
                  </a:lnTo>
                  <a:lnTo>
                    <a:pt x="469" y="131"/>
                  </a:lnTo>
                  <a:lnTo>
                    <a:pt x="346" y="247"/>
                  </a:lnTo>
                  <a:lnTo>
                    <a:pt x="319" y="219"/>
                  </a:lnTo>
                  <a:lnTo>
                    <a:pt x="282" y="251"/>
                  </a:lnTo>
                  <a:lnTo>
                    <a:pt x="249" y="285"/>
                  </a:lnTo>
                  <a:lnTo>
                    <a:pt x="216" y="321"/>
                  </a:lnTo>
                  <a:lnTo>
                    <a:pt x="186" y="359"/>
                  </a:lnTo>
                  <a:lnTo>
                    <a:pt x="158" y="396"/>
                  </a:lnTo>
                  <a:lnTo>
                    <a:pt x="132" y="438"/>
                  </a:lnTo>
                  <a:lnTo>
                    <a:pt x="107" y="479"/>
                  </a:lnTo>
                  <a:lnTo>
                    <a:pt x="85" y="522"/>
                  </a:lnTo>
                  <a:lnTo>
                    <a:pt x="66" y="566"/>
                  </a:lnTo>
                  <a:lnTo>
                    <a:pt x="49" y="612"/>
                  </a:lnTo>
                  <a:lnTo>
                    <a:pt x="35" y="658"/>
                  </a:lnTo>
                  <a:lnTo>
                    <a:pt x="22" y="706"/>
                  </a:lnTo>
                  <a:lnTo>
                    <a:pt x="13" y="755"/>
                  </a:lnTo>
                  <a:lnTo>
                    <a:pt x="5" y="805"/>
                  </a:lnTo>
                  <a:lnTo>
                    <a:pt x="1" y="855"/>
                  </a:lnTo>
                  <a:lnTo>
                    <a:pt x="0" y="906"/>
                  </a:lnTo>
                  <a:lnTo>
                    <a:pt x="0" y="938"/>
                  </a:lnTo>
                  <a:lnTo>
                    <a:pt x="2" y="972"/>
                  </a:lnTo>
                  <a:lnTo>
                    <a:pt x="5" y="1004"/>
                  </a:lnTo>
                  <a:lnTo>
                    <a:pt x="9" y="1036"/>
                  </a:lnTo>
                  <a:lnTo>
                    <a:pt x="14" y="1068"/>
                  </a:lnTo>
                  <a:lnTo>
                    <a:pt x="20" y="1099"/>
                  </a:lnTo>
                  <a:lnTo>
                    <a:pt x="28" y="1130"/>
                  </a:lnTo>
                  <a:lnTo>
                    <a:pt x="36" y="1160"/>
                  </a:lnTo>
                  <a:lnTo>
                    <a:pt x="45" y="1190"/>
                  </a:lnTo>
                  <a:lnTo>
                    <a:pt x="55" y="1220"/>
                  </a:lnTo>
                  <a:lnTo>
                    <a:pt x="67" y="1248"/>
                  </a:lnTo>
                  <a:lnTo>
                    <a:pt x="80" y="1277"/>
                  </a:lnTo>
                  <a:lnTo>
                    <a:pt x="93" y="1305"/>
                  </a:lnTo>
                  <a:lnTo>
                    <a:pt x="107" y="1332"/>
                  </a:lnTo>
                  <a:lnTo>
                    <a:pt x="123" y="1360"/>
                  </a:lnTo>
                  <a:lnTo>
                    <a:pt x="138" y="1386"/>
                  </a:lnTo>
                  <a:lnTo>
                    <a:pt x="179" y="1209"/>
                  </a:lnTo>
                  <a:lnTo>
                    <a:pt x="346" y="1244"/>
                  </a:lnTo>
                  <a:lnTo>
                    <a:pt x="325" y="1207"/>
                  </a:lnTo>
                  <a:lnTo>
                    <a:pt x="307" y="1166"/>
                  </a:lnTo>
                  <a:lnTo>
                    <a:pt x="290" y="1126"/>
                  </a:lnTo>
                  <a:lnTo>
                    <a:pt x="277" y="1085"/>
                  </a:lnTo>
                  <a:lnTo>
                    <a:pt x="265" y="1041"/>
                  </a:lnTo>
                  <a:lnTo>
                    <a:pt x="261" y="1019"/>
                  </a:lnTo>
                  <a:lnTo>
                    <a:pt x="258" y="997"/>
                  </a:lnTo>
                  <a:lnTo>
                    <a:pt x="255" y="975"/>
                  </a:lnTo>
                  <a:lnTo>
                    <a:pt x="254" y="953"/>
                  </a:lnTo>
                  <a:lnTo>
                    <a:pt x="252" y="929"/>
                  </a:lnTo>
                  <a:lnTo>
                    <a:pt x="252" y="906"/>
                  </a:lnTo>
                  <a:lnTo>
                    <a:pt x="252" y="873"/>
                  </a:lnTo>
                  <a:lnTo>
                    <a:pt x="255" y="841"/>
                  </a:lnTo>
                  <a:lnTo>
                    <a:pt x="259" y="809"/>
                  </a:lnTo>
                  <a:lnTo>
                    <a:pt x="264" y="778"/>
                  </a:lnTo>
                  <a:lnTo>
                    <a:pt x="272" y="746"/>
                  </a:lnTo>
                  <a:lnTo>
                    <a:pt x="280" y="717"/>
                  </a:lnTo>
                  <a:lnTo>
                    <a:pt x="290" y="687"/>
                  </a:lnTo>
                  <a:lnTo>
                    <a:pt x="302" y="657"/>
                  </a:lnTo>
                  <a:lnTo>
                    <a:pt x="313" y="630"/>
                  </a:lnTo>
                  <a:lnTo>
                    <a:pt x="328" y="601"/>
                  </a:lnTo>
                  <a:lnTo>
                    <a:pt x="343" y="574"/>
                  </a:lnTo>
                  <a:lnTo>
                    <a:pt x="359" y="548"/>
                  </a:lnTo>
                  <a:lnTo>
                    <a:pt x="377" y="523"/>
                  </a:lnTo>
                  <a:lnTo>
                    <a:pt x="395" y="499"/>
                  </a:lnTo>
                  <a:lnTo>
                    <a:pt x="414" y="475"/>
                  </a:lnTo>
                  <a:lnTo>
                    <a:pt x="435" y="452"/>
                  </a:lnTo>
                  <a:lnTo>
                    <a:pt x="457" y="431"/>
                  </a:lnTo>
                  <a:lnTo>
                    <a:pt x="481" y="411"/>
                  </a:lnTo>
                  <a:lnTo>
                    <a:pt x="504" y="391"/>
                  </a:lnTo>
                  <a:lnTo>
                    <a:pt x="529" y="372"/>
                  </a:lnTo>
                  <a:lnTo>
                    <a:pt x="554" y="355"/>
                  </a:lnTo>
                  <a:lnTo>
                    <a:pt x="580" y="339"/>
                  </a:lnTo>
                  <a:lnTo>
                    <a:pt x="608" y="324"/>
                  </a:lnTo>
                  <a:lnTo>
                    <a:pt x="636" y="311"/>
                  </a:lnTo>
                  <a:lnTo>
                    <a:pt x="665" y="298"/>
                  </a:lnTo>
                  <a:lnTo>
                    <a:pt x="695" y="286"/>
                  </a:lnTo>
                  <a:lnTo>
                    <a:pt x="724" y="277"/>
                  </a:lnTo>
                  <a:lnTo>
                    <a:pt x="755" y="269"/>
                  </a:lnTo>
                  <a:lnTo>
                    <a:pt x="787" y="262"/>
                  </a:lnTo>
                  <a:lnTo>
                    <a:pt x="818" y="256"/>
                  </a:lnTo>
                  <a:lnTo>
                    <a:pt x="850" y="252"/>
                  </a:lnTo>
                  <a:lnTo>
                    <a:pt x="882" y="25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50000">
                  <a:schemeClr val="tx2">
                    <a:lumMod val="75000"/>
                  </a:schemeClr>
                </a:gs>
              </a:gsLst>
              <a:lin ang="18900000" scaled="1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indent="-342900" algn="ctr">
                <a:buFont typeface="Calibri" pitchFamily="34" charset="0"/>
                <a:buAutoNum type="arabicPeriod"/>
                <a:defRPr/>
              </a:pPr>
              <a:endParaRPr lang="en-US" sz="1400" noProof="1">
                <a:solidFill>
                  <a:srgbClr val="FFFFFF"/>
                </a:solidFill>
                <a:latin typeface="Calibri" pitchFamily="34" charset="0"/>
                <a:ea typeface="ＭＳ Ｐゴシック" charset="-128"/>
              </a:endParaRPr>
            </a:p>
          </p:txBody>
        </p:sp>
      </p:grpSp>
      <p:sp>
        <p:nvSpPr>
          <p:cNvPr id="4100" name="Freeform 233"/>
          <p:cNvSpPr>
            <a:spLocks/>
          </p:cNvSpPr>
          <p:nvPr/>
        </p:nvSpPr>
        <p:spPr bwMode="auto">
          <a:xfrm>
            <a:off x="2990850" y="2905125"/>
            <a:ext cx="71437" cy="12700"/>
          </a:xfrm>
          <a:custGeom>
            <a:avLst/>
            <a:gdLst>
              <a:gd name="T0" fmla="*/ 2147483647 w 45"/>
              <a:gd name="T1" fmla="*/ 2147483647 h 8"/>
              <a:gd name="T2" fmla="*/ 2147483647 w 45"/>
              <a:gd name="T3" fmla="*/ 0 h 8"/>
              <a:gd name="T4" fmla="*/ 2147483647 w 45"/>
              <a:gd name="T5" fmla="*/ 0 h 8"/>
              <a:gd name="T6" fmla="*/ 2147483647 w 45"/>
              <a:gd name="T7" fmla="*/ 0 h 8"/>
              <a:gd name="T8" fmla="*/ 2147483647 w 45"/>
              <a:gd name="T9" fmla="*/ 0 h 8"/>
              <a:gd name="T10" fmla="*/ 2147483647 w 45"/>
              <a:gd name="T11" fmla="*/ 2147483647 h 8"/>
              <a:gd name="T12" fmla="*/ 0 w 45"/>
              <a:gd name="T13" fmla="*/ 2147483647 h 8"/>
              <a:gd name="T14" fmla="*/ 2147483647 w 45"/>
              <a:gd name="T15" fmla="*/ 2147483647 h 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5"/>
              <a:gd name="T25" fmla="*/ 0 h 8"/>
              <a:gd name="T26" fmla="*/ 45 w 45"/>
              <a:gd name="T27" fmla="*/ 8 h 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5" h="8">
                <a:moveTo>
                  <a:pt x="36" y="8"/>
                </a:moveTo>
                <a:lnTo>
                  <a:pt x="45" y="0"/>
                </a:lnTo>
                <a:lnTo>
                  <a:pt x="33" y="0"/>
                </a:lnTo>
                <a:lnTo>
                  <a:pt x="6" y="1"/>
                </a:lnTo>
                <a:lnTo>
                  <a:pt x="0" y="6"/>
                </a:lnTo>
                <a:lnTo>
                  <a:pt x="36" y="8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101" name="Freeform 234"/>
          <p:cNvSpPr>
            <a:spLocks/>
          </p:cNvSpPr>
          <p:nvPr/>
        </p:nvSpPr>
        <p:spPr bwMode="auto">
          <a:xfrm>
            <a:off x="3041650" y="2079625"/>
            <a:ext cx="63500" cy="9525"/>
          </a:xfrm>
          <a:custGeom>
            <a:avLst/>
            <a:gdLst>
              <a:gd name="T0" fmla="*/ 2147483647 w 40"/>
              <a:gd name="T1" fmla="*/ 2147483647 h 6"/>
              <a:gd name="T2" fmla="*/ 0 w 40"/>
              <a:gd name="T3" fmla="*/ 0 h 6"/>
              <a:gd name="T4" fmla="*/ 2147483647 w 40"/>
              <a:gd name="T5" fmla="*/ 2147483647 h 6"/>
              <a:gd name="T6" fmla="*/ 2147483647 w 40"/>
              <a:gd name="T7" fmla="*/ 2147483647 h 6"/>
              <a:gd name="T8" fmla="*/ 2147483647 w 40"/>
              <a:gd name="T9" fmla="*/ 2147483647 h 6"/>
              <a:gd name="T10" fmla="*/ 2147483647 w 40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0"/>
              <a:gd name="T19" fmla="*/ 0 h 6"/>
              <a:gd name="T20" fmla="*/ 40 w 40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0" h="6">
                <a:moveTo>
                  <a:pt x="35" y="1"/>
                </a:moveTo>
                <a:lnTo>
                  <a:pt x="0" y="0"/>
                </a:lnTo>
                <a:lnTo>
                  <a:pt x="5" y="6"/>
                </a:lnTo>
                <a:lnTo>
                  <a:pt x="40" y="6"/>
                </a:lnTo>
                <a:lnTo>
                  <a:pt x="35" y="1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104" name="Freeform 238"/>
          <p:cNvSpPr>
            <a:spLocks/>
          </p:cNvSpPr>
          <p:nvPr/>
        </p:nvSpPr>
        <p:spPr bwMode="auto">
          <a:xfrm>
            <a:off x="3017837" y="4156075"/>
            <a:ext cx="60325" cy="11113"/>
          </a:xfrm>
          <a:custGeom>
            <a:avLst/>
            <a:gdLst>
              <a:gd name="T0" fmla="*/ 2147483647 w 38"/>
              <a:gd name="T1" fmla="*/ 2147483647 h 7"/>
              <a:gd name="T2" fmla="*/ 2147483647 w 38"/>
              <a:gd name="T3" fmla="*/ 0 h 7"/>
              <a:gd name="T4" fmla="*/ 2147483647 w 38"/>
              <a:gd name="T5" fmla="*/ 2147483647 h 7"/>
              <a:gd name="T6" fmla="*/ 0 w 38"/>
              <a:gd name="T7" fmla="*/ 2147483647 h 7"/>
              <a:gd name="T8" fmla="*/ 0 w 38"/>
              <a:gd name="T9" fmla="*/ 2147483647 h 7"/>
              <a:gd name="T10" fmla="*/ 2147483647 w 38"/>
              <a:gd name="T11" fmla="*/ 2147483647 h 7"/>
              <a:gd name="T12" fmla="*/ 2147483647 w 38"/>
              <a:gd name="T13" fmla="*/ 2147483647 h 7"/>
              <a:gd name="T14" fmla="*/ 2147483647 w 38"/>
              <a:gd name="T15" fmla="*/ 2147483647 h 7"/>
              <a:gd name="T16" fmla="*/ 2147483647 w 38"/>
              <a:gd name="T17" fmla="*/ 2147483647 h 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8"/>
              <a:gd name="T28" fmla="*/ 0 h 7"/>
              <a:gd name="T29" fmla="*/ 38 w 38"/>
              <a:gd name="T30" fmla="*/ 7 h 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8" h="7">
                <a:moveTo>
                  <a:pt x="33" y="7"/>
                </a:moveTo>
                <a:lnTo>
                  <a:pt x="38" y="0"/>
                </a:lnTo>
                <a:lnTo>
                  <a:pt x="3" y="3"/>
                </a:lnTo>
                <a:lnTo>
                  <a:pt x="0" y="7"/>
                </a:lnTo>
                <a:lnTo>
                  <a:pt x="16" y="7"/>
                </a:lnTo>
                <a:lnTo>
                  <a:pt x="33" y="7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8" name="Ellipse 33"/>
          <p:cNvSpPr/>
          <p:nvPr/>
        </p:nvSpPr>
        <p:spPr bwMode="auto">
          <a:xfrm>
            <a:off x="1877969" y="5104893"/>
            <a:ext cx="2384511" cy="427943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22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latin typeface="Calibri" pitchFamily="-112" charset="0"/>
            </a:endParaRPr>
          </a:p>
        </p:txBody>
      </p:sp>
      <p:sp>
        <p:nvSpPr>
          <p:cNvPr id="4110" name="WordArt 35"/>
          <p:cNvSpPr>
            <a:spLocks noChangeArrowheads="1" noChangeShapeType="1" noTextEdit="1"/>
          </p:cNvSpPr>
          <p:nvPr>
            <p:custDataLst>
              <p:tags r:id="rId2"/>
            </p:custDataLst>
          </p:nvPr>
        </p:nvSpPr>
        <p:spPr bwMode="gray">
          <a:xfrm rot="17498343">
            <a:off x="1206058" y="2648665"/>
            <a:ext cx="1552774" cy="898525"/>
          </a:xfrm>
          <a:prstGeom prst="rect">
            <a:avLst/>
          </a:prstGeom>
        </p:spPr>
        <p:txBody>
          <a:bodyPr spcFirstLastPara="1" wrap="none" fromWordArt="1">
            <a:prstTxWarp prst="textArchUp">
              <a:avLst>
                <a:gd name="adj" fmla="val 12668981"/>
              </a:avLst>
            </a:prstTxWarp>
          </a:bodyPr>
          <a:lstStyle/>
          <a:p>
            <a:r>
              <a:rPr lang="en-US" sz="1400" kern="10" dirty="0" smtClean="0">
                <a:ln w="9525">
                  <a:noFill/>
                  <a:round/>
                  <a:headEnd/>
                  <a:tailEnd/>
                </a:ln>
                <a:solidFill>
                  <a:schemeClr val="bg1"/>
                </a:solidFill>
                <a:latin typeface="+mn-lt"/>
                <a:ea typeface="+mn-lt"/>
                <a:cs typeface="+mn-lt"/>
              </a:rPr>
              <a:t>text example</a:t>
            </a:r>
            <a:endParaRPr lang="en-US" sz="1400" kern="10" dirty="0">
              <a:ln w="9525">
                <a:noFill/>
                <a:round/>
                <a:headEnd/>
                <a:tailEnd/>
              </a:ln>
              <a:solidFill>
                <a:schemeClr val="bg1"/>
              </a:solidFill>
              <a:latin typeface="+mn-lt"/>
              <a:ea typeface="+mn-lt"/>
              <a:cs typeface="+mn-lt"/>
            </a:endParaRPr>
          </a:p>
        </p:txBody>
      </p:sp>
      <p:sp>
        <p:nvSpPr>
          <p:cNvPr id="4111" name="WordArt 20"/>
          <p:cNvSpPr>
            <a:spLocks noChangeArrowheads="1" noChangeShapeType="1" noTextEdit="1"/>
          </p:cNvSpPr>
          <p:nvPr>
            <p:custDataLst>
              <p:tags r:id="rId3"/>
            </p:custDataLst>
          </p:nvPr>
        </p:nvSpPr>
        <p:spPr bwMode="gray">
          <a:xfrm>
            <a:off x="2079840" y="4038600"/>
            <a:ext cx="1817164" cy="1042987"/>
          </a:xfrm>
          <a:prstGeom prst="rect">
            <a:avLst/>
          </a:prstGeom>
        </p:spPr>
        <p:txBody>
          <a:bodyPr spcFirstLastPara="1" wrap="none" fromWordArt="1">
            <a:prstTxWarp prst="textArchDown">
              <a:avLst>
                <a:gd name="adj" fmla="val 2303504"/>
              </a:avLst>
            </a:prstTxWarp>
          </a:bodyPr>
          <a:lstStyle/>
          <a:p>
            <a:r>
              <a:rPr lang="en-US" sz="1400" kern="10" dirty="0" smtClean="0">
                <a:ln w="9525">
                  <a:noFill/>
                  <a:round/>
                  <a:headEnd/>
                  <a:tailEnd/>
                </a:ln>
                <a:solidFill>
                  <a:schemeClr val="bg1"/>
                </a:solidFill>
                <a:latin typeface="+mn-lt"/>
                <a:ea typeface="+mn-lt"/>
                <a:cs typeface="+mn-lt"/>
              </a:rPr>
              <a:t>text example</a:t>
            </a:r>
            <a:endParaRPr lang="en-US" sz="1400" kern="10" dirty="0">
              <a:ln w="9525">
                <a:noFill/>
                <a:round/>
                <a:headEnd/>
                <a:tailEnd/>
              </a:ln>
              <a:solidFill>
                <a:schemeClr val="bg1"/>
              </a:solidFill>
              <a:latin typeface="+mn-lt"/>
              <a:ea typeface="+mn-lt"/>
              <a:cs typeface="+mn-lt"/>
            </a:endParaRPr>
          </a:p>
        </p:txBody>
      </p:sp>
      <p:sp>
        <p:nvSpPr>
          <p:cNvPr id="23" name="Rektangel 39"/>
          <p:cNvSpPr/>
          <p:nvPr/>
        </p:nvSpPr>
        <p:spPr bwMode="auto">
          <a:xfrm>
            <a:off x="5753100" y="2133600"/>
            <a:ext cx="1981200" cy="27305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indent="-342900" algn="ctr">
              <a:buFont typeface="Calibri" pitchFamily="-112" charset="0"/>
              <a:buAutoNum type="arabicPeriod"/>
            </a:pPr>
            <a:endParaRPr lang="en-US" noProof="1">
              <a:solidFill>
                <a:srgbClr val="FFFFFF"/>
              </a:solidFill>
              <a:latin typeface="Calibri" pitchFamily="-112" charset="0"/>
            </a:endParaRPr>
          </a:p>
        </p:txBody>
      </p:sp>
      <p:sp>
        <p:nvSpPr>
          <p:cNvPr id="4113" name="Rektangel 51"/>
          <p:cNvSpPr>
            <a:spLocks noChangeArrowheads="1"/>
          </p:cNvSpPr>
          <p:nvPr/>
        </p:nvSpPr>
        <p:spPr bwMode="auto">
          <a:xfrm>
            <a:off x="5753100" y="3657600"/>
            <a:ext cx="1981200" cy="27305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9050">
            <a:noFill/>
            <a:round/>
            <a:headEnd/>
            <a:tailEnd/>
          </a:ln>
        </p:spPr>
        <p:txBody>
          <a:bodyPr/>
          <a:lstStyle/>
          <a:p>
            <a:pPr indent="-342900">
              <a:buFont typeface="Calibri" pitchFamily="-112" charset="0"/>
              <a:buAutoNum type="arabicPeriod"/>
            </a:pPr>
            <a:endParaRPr lang="en-US" noProof="1">
              <a:solidFill>
                <a:srgbClr val="FFFFFF"/>
              </a:solidFill>
              <a:latin typeface="Calibri" pitchFamily="-112" charset="0"/>
            </a:endParaRPr>
          </a:p>
        </p:txBody>
      </p:sp>
      <p:sp>
        <p:nvSpPr>
          <p:cNvPr id="4114" name="Text Box 52"/>
          <p:cNvSpPr txBox="1">
            <a:spLocks noChangeArrowheads="1"/>
          </p:cNvSpPr>
          <p:nvPr/>
        </p:nvSpPr>
        <p:spPr bwMode="gray">
          <a:xfrm>
            <a:off x="5829300" y="3976688"/>
            <a:ext cx="1912937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n-US" sz="1200" noProof="1">
                <a:solidFill>
                  <a:srgbClr val="080808"/>
                </a:solidFill>
                <a:latin typeface="Calibri" pitchFamily="-112" charset="0"/>
              </a:rPr>
              <a:t>This is an example text. Go ahead an replace it with your own text. This is an example text.</a:t>
            </a:r>
          </a:p>
        </p:txBody>
      </p:sp>
      <p:sp>
        <p:nvSpPr>
          <p:cNvPr id="4115" name="Rektangel 53"/>
          <p:cNvSpPr>
            <a:spLocks noChangeArrowheads="1"/>
          </p:cNvSpPr>
          <p:nvPr/>
        </p:nvSpPr>
        <p:spPr bwMode="auto">
          <a:xfrm>
            <a:off x="5748338" y="3638550"/>
            <a:ext cx="21002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/>
            <a:r>
              <a:rPr lang="en-US" sz="1200" noProof="1">
                <a:solidFill>
                  <a:schemeClr val="bg1"/>
                </a:solidFill>
                <a:latin typeface="Calibri" pitchFamily="-112" charset="0"/>
              </a:rPr>
              <a:t>Example text</a:t>
            </a:r>
            <a:endParaRPr lang="da-DK" sz="1200">
              <a:solidFill>
                <a:schemeClr val="bg1"/>
              </a:solidFill>
            </a:endParaRPr>
          </a:p>
        </p:txBody>
      </p:sp>
      <p:sp>
        <p:nvSpPr>
          <p:cNvPr id="4116" name="Text Box 52"/>
          <p:cNvSpPr txBox="1">
            <a:spLocks noChangeArrowheads="1"/>
          </p:cNvSpPr>
          <p:nvPr/>
        </p:nvSpPr>
        <p:spPr bwMode="gray">
          <a:xfrm>
            <a:off x="5837237" y="2521803"/>
            <a:ext cx="191293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n-US" sz="1200" noProof="1">
                <a:solidFill>
                  <a:srgbClr val="080808"/>
                </a:solidFill>
                <a:latin typeface="Calibri" pitchFamily="-112" charset="0"/>
              </a:rPr>
              <a:t>This is an example text. Go ahead an replace it with your own text. This is an example text.</a:t>
            </a:r>
          </a:p>
        </p:txBody>
      </p:sp>
      <p:sp>
        <p:nvSpPr>
          <p:cNvPr id="4117" name="Rektangel 55"/>
          <p:cNvSpPr>
            <a:spLocks noChangeArrowheads="1"/>
          </p:cNvSpPr>
          <p:nvPr/>
        </p:nvSpPr>
        <p:spPr bwMode="auto">
          <a:xfrm>
            <a:off x="5672137" y="2114550"/>
            <a:ext cx="206216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/>
            <a:r>
              <a:rPr lang="en-US" sz="1200" noProof="1">
                <a:solidFill>
                  <a:schemeClr val="bg1"/>
                </a:solidFill>
                <a:latin typeface="Calibri" pitchFamily="-112" charset="0"/>
              </a:rPr>
              <a:t>Example text</a:t>
            </a:r>
            <a:endParaRPr lang="da-DK" sz="1200" dirty="0">
              <a:solidFill>
                <a:schemeClr val="bg1"/>
              </a:solidFill>
            </a:endParaRPr>
          </a:p>
        </p:txBody>
      </p:sp>
      <p:sp>
        <p:nvSpPr>
          <p:cNvPr id="10" name="Subtitle 9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Replace This Text</a:t>
            </a:r>
            <a:endParaRPr lang="en-US" dirty="0"/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125C11E9-EA40-D54F-953A-82A4C72DAAAD}" type="slidenum">
              <a:rPr lang="en-US" smtClean="0"/>
              <a:pPr/>
              <a:t>8</a:t>
            </a:fld>
            <a:r>
              <a:rPr lang="en-US" dirty="0" smtClean="0"/>
              <a:t> I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YCLE DIAGRAM</a:t>
            </a:r>
            <a:endParaRPr lang="en-US" dirty="0"/>
          </a:p>
        </p:txBody>
      </p:sp>
      <p:sp>
        <p:nvSpPr>
          <p:cNvPr id="29" name="WordArt 35"/>
          <p:cNvSpPr>
            <a:spLocks noChangeArrowheads="1" noChangeShapeType="1" noTextEdit="1"/>
          </p:cNvSpPr>
          <p:nvPr>
            <p:custDataLst>
              <p:tags r:id="rId4"/>
            </p:custDataLst>
          </p:nvPr>
        </p:nvSpPr>
        <p:spPr bwMode="gray">
          <a:xfrm rot="4117905">
            <a:off x="3235575" y="2539974"/>
            <a:ext cx="1552774" cy="898525"/>
          </a:xfrm>
          <a:prstGeom prst="rect">
            <a:avLst/>
          </a:prstGeom>
        </p:spPr>
        <p:txBody>
          <a:bodyPr spcFirstLastPara="1" wrap="none" fromWordArt="1">
            <a:prstTxWarp prst="textArchUp">
              <a:avLst>
                <a:gd name="adj" fmla="val 12668981"/>
              </a:avLst>
            </a:prstTxWarp>
          </a:bodyPr>
          <a:lstStyle/>
          <a:p>
            <a:r>
              <a:rPr lang="en-US" sz="1400" kern="10" dirty="0" smtClean="0">
                <a:ln w="9525">
                  <a:noFill/>
                  <a:round/>
                  <a:headEnd/>
                  <a:tailEnd/>
                </a:ln>
                <a:solidFill>
                  <a:schemeClr val="bg1"/>
                </a:solidFill>
                <a:latin typeface="+mn-lt"/>
                <a:ea typeface="+mn-lt"/>
                <a:cs typeface="+mn-lt"/>
              </a:rPr>
              <a:t>text example</a:t>
            </a:r>
            <a:endParaRPr lang="en-US" sz="1400" kern="10" dirty="0">
              <a:ln w="9525">
                <a:noFill/>
                <a:round/>
                <a:headEnd/>
                <a:tailEnd/>
              </a:ln>
              <a:solidFill>
                <a:schemeClr val="bg1"/>
              </a:solidFill>
              <a:latin typeface="+mn-lt"/>
              <a:ea typeface="+mn-lt"/>
              <a:cs typeface="+mn-lt"/>
            </a:endParaRPr>
          </a:p>
        </p:txBody>
      </p:sp>
      <p:grpSp>
        <p:nvGrpSpPr>
          <p:cNvPr id="30" name="Gruppe 92"/>
          <p:cNvGrpSpPr>
            <a:grpSpLocks/>
          </p:cNvGrpSpPr>
          <p:nvPr/>
        </p:nvGrpSpPr>
        <p:grpSpPr bwMode="auto">
          <a:xfrm>
            <a:off x="2462852" y="2895600"/>
            <a:ext cx="1150935" cy="1143000"/>
            <a:chOff x="3968648" y="3129285"/>
            <a:chExt cx="689210" cy="683966"/>
          </a:xfrm>
        </p:grpSpPr>
        <p:sp>
          <p:nvSpPr>
            <p:cNvPr id="31" name="Ellipse 89"/>
            <p:cNvSpPr>
              <a:spLocks noChangeArrowheads="1"/>
            </p:cNvSpPr>
            <p:nvPr/>
          </p:nvSpPr>
          <p:spPr bwMode="auto">
            <a:xfrm>
              <a:off x="3976252" y="3129285"/>
              <a:ext cx="681606" cy="683966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tx2">
                    <a:lumMod val="75000"/>
                  </a:schemeClr>
                </a:gs>
              </a:gsLst>
              <a:lin ang="5400000" scaled="1"/>
            </a:gradFill>
            <a:ln w="19050">
              <a:noFill/>
              <a:round/>
              <a:headEnd/>
              <a:tailEnd/>
            </a:ln>
          </p:spPr>
          <p:txBody>
            <a:bodyPr/>
            <a:lstStyle/>
            <a:p>
              <a:pPr indent="-342900">
                <a:buFont typeface="Calibri" pitchFamily="-112" charset="0"/>
                <a:buAutoNum type="arabicPeriod"/>
              </a:pPr>
              <a:endParaRPr lang="en-US" noProof="1">
                <a:solidFill>
                  <a:srgbClr val="FFFFFF"/>
                </a:solidFill>
                <a:latin typeface="Calibri" pitchFamily="-112" charset="0"/>
              </a:endParaRPr>
            </a:p>
          </p:txBody>
        </p:sp>
        <p:sp>
          <p:nvSpPr>
            <p:cNvPr id="32" name="Ellipse 90"/>
            <p:cNvSpPr>
              <a:spLocks noChangeArrowheads="1"/>
            </p:cNvSpPr>
            <p:nvPr/>
          </p:nvSpPr>
          <p:spPr bwMode="auto">
            <a:xfrm>
              <a:off x="4060858" y="3135935"/>
              <a:ext cx="499084" cy="364782"/>
            </a:xfrm>
            <a:prstGeom prst="ellipse">
              <a:avLst/>
            </a:prstGeom>
            <a:gradFill rotWithShape="1">
              <a:gsLst>
                <a:gs pos="0">
                  <a:srgbClr val="FFFCF9">
                    <a:alpha val="76999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5400000"/>
            </a:gradFill>
            <a:ln w="9525">
              <a:noFill/>
              <a:round/>
              <a:headEnd/>
              <a:tailEnd/>
            </a:ln>
          </p:spPr>
          <p:txBody>
            <a:bodyPr anchor="ctr"/>
            <a:lstStyle/>
            <a:p>
              <a:pPr marL="342900" indent="-342900" algn="ctr">
                <a:buFont typeface="Calibri" pitchFamily="-112" charset="0"/>
                <a:buAutoNum type="arabicPeriod"/>
              </a:pPr>
              <a:endParaRPr lang="en-US">
                <a:solidFill>
                  <a:srgbClr val="FFFFFF"/>
                </a:solidFill>
                <a:latin typeface="Calibri" pitchFamily="-112" charset="0"/>
              </a:endParaRPr>
            </a:p>
          </p:txBody>
        </p:sp>
        <p:sp>
          <p:nvSpPr>
            <p:cNvPr id="33" name="Måne 91"/>
            <p:cNvSpPr/>
            <p:nvPr/>
          </p:nvSpPr>
          <p:spPr bwMode="auto">
            <a:xfrm rot="16570711">
              <a:off x="4140219" y="3329651"/>
              <a:ext cx="311329" cy="654471"/>
            </a:xfrm>
            <a:prstGeom prst="moon">
              <a:avLst>
                <a:gd name="adj" fmla="val 8755"/>
              </a:avLst>
            </a:prstGeom>
            <a:gradFill flip="none" rotWithShape="1">
              <a:gsLst>
                <a:gs pos="24000">
                  <a:sysClr val="windowText" lastClr="000000">
                    <a:alpha val="24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  <a:latin typeface="Calibri" pitchFamily="-112" charset="0"/>
              </a:endParaRPr>
            </a:p>
          </p:txBody>
        </p:sp>
      </p:grpSp>
      <p:sp>
        <p:nvSpPr>
          <p:cNvPr id="34" name="Text Box 52"/>
          <p:cNvSpPr txBox="1">
            <a:spLocks noChangeArrowheads="1"/>
          </p:cNvSpPr>
          <p:nvPr/>
        </p:nvSpPr>
        <p:spPr bwMode="gray">
          <a:xfrm>
            <a:off x="2508891" y="3191492"/>
            <a:ext cx="10668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801688">
              <a:spcBef>
                <a:spcPct val="20000"/>
              </a:spcBef>
            </a:pPr>
            <a:r>
              <a:rPr lang="en-US" sz="1600" noProof="1">
                <a:solidFill>
                  <a:schemeClr val="bg1"/>
                </a:solidFill>
                <a:latin typeface="Calibri" pitchFamily="-112" charset="0"/>
              </a:rPr>
              <a:t>Example text</a:t>
            </a:r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30491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990600" y="1760538"/>
            <a:ext cx="3489325" cy="1803400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5400000" scaled="0"/>
            <a:tileRect/>
          </a:gra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12700" dir="10620000">
              <a:schemeClr val="bg1">
                <a:lumMod val="65000"/>
                <a:alpha val="43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algn="ctr"/>
            <a:endParaRPr lang="en-US" altLang="en-US">
              <a:solidFill>
                <a:srgbClr val="FFFFFF"/>
              </a:solidFill>
            </a:endParaRP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Replace This Tex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F842EFB-AD17-444B-B4DD-517AF7A73117}" type="slidenum">
              <a:rPr lang="en-US"/>
              <a:pPr>
                <a:defRPr/>
              </a:pPr>
              <a:t>9</a:t>
            </a:fld>
            <a:r>
              <a:rPr lang="en-US"/>
              <a:t> I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CKPIT CHARTS</a:t>
            </a:r>
            <a:endParaRPr lang="en-US" dirty="0"/>
          </a:p>
        </p:txBody>
      </p:sp>
      <p:sp>
        <p:nvSpPr>
          <p:cNvPr id="7" name="Round Same Side Corner Rectangle 6"/>
          <p:cNvSpPr/>
          <p:nvPr/>
        </p:nvSpPr>
        <p:spPr>
          <a:xfrm>
            <a:off x="990600" y="1554163"/>
            <a:ext cx="3489325" cy="333375"/>
          </a:xfrm>
          <a:prstGeom prst="round2SameRect">
            <a:avLst>
              <a:gd name="adj1" fmla="val 27778"/>
              <a:gd name="adj2" fmla="val 0"/>
            </a:avLst>
          </a:prstGeom>
          <a:gradFill flip="none" rotWithShape="1">
            <a:gsLst>
              <a:gs pos="100000">
                <a:schemeClr val="accent1">
                  <a:lumMod val="75000"/>
                </a:schemeClr>
              </a:gs>
              <a:gs pos="0">
                <a:schemeClr val="tx2">
                  <a:lumMod val="75000"/>
                </a:schemeClr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15366" name="Rektangel 76"/>
          <p:cNvSpPr>
            <a:spLocks noChangeArrowheads="1"/>
          </p:cNvSpPr>
          <p:nvPr/>
        </p:nvSpPr>
        <p:spPr bwMode="auto">
          <a:xfrm>
            <a:off x="1184275" y="1566863"/>
            <a:ext cx="271145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US" altLang="en-US" sz="1100" b="1" noProof="1">
                <a:solidFill>
                  <a:srgbClr val="FFFFFF"/>
                </a:solidFill>
              </a:rPr>
              <a:t>Example text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660900" y="1760538"/>
            <a:ext cx="3489325" cy="1803400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5400000" scaled="0"/>
            <a:tileRect/>
          </a:gra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12700" dir="10620000">
              <a:schemeClr val="bg1">
                <a:lumMod val="65000"/>
                <a:alpha val="43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algn="ctr"/>
            <a:endParaRPr lang="en-US" altLang="en-US">
              <a:solidFill>
                <a:srgbClr val="FFFFFF"/>
              </a:solidFill>
            </a:endParaRPr>
          </a:p>
        </p:txBody>
      </p:sp>
      <p:sp>
        <p:nvSpPr>
          <p:cNvPr id="13" name="Round Same Side Corner Rectangle 12"/>
          <p:cNvSpPr/>
          <p:nvPr/>
        </p:nvSpPr>
        <p:spPr>
          <a:xfrm>
            <a:off x="4660900" y="1554163"/>
            <a:ext cx="3489325" cy="333375"/>
          </a:xfrm>
          <a:prstGeom prst="round2SameRect">
            <a:avLst>
              <a:gd name="adj1" fmla="val 27778"/>
              <a:gd name="adj2" fmla="val 0"/>
            </a:avLst>
          </a:prstGeom>
          <a:gradFill flip="none" rotWithShape="1">
            <a:gsLst>
              <a:gs pos="100000">
                <a:schemeClr val="accent1">
                  <a:lumMod val="75000"/>
                </a:schemeClr>
              </a:gs>
              <a:gs pos="0">
                <a:schemeClr val="tx2">
                  <a:lumMod val="75000"/>
                </a:schemeClr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15369" name="Rektangel 76"/>
          <p:cNvSpPr>
            <a:spLocks noChangeArrowheads="1"/>
          </p:cNvSpPr>
          <p:nvPr/>
        </p:nvSpPr>
        <p:spPr bwMode="auto">
          <a:xfrm>
            <a:off x="4854575" y="1566863"/>
            <a:ext cx="271145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US" altLang="en-US" sz="1100" b="1" noProof="1">
                <a:solidFill>
                  <a:srgbClr val="FFFFFF"/>
                </a:solidFill>
              </a:rPr>
              <a:t>Example text</a:t>
            </a:r>
          </a:p>
        </p:txBody>
      </p:sp>
      <p:sp>
        <p:nvSpPr>
          <p:cNvPr id="15" name="Rectangle 14"/>
          <p:cNvSpPr/>
          <p:nvPr/>
        </p:nvSpPr>
        <p:spPr>
          <a:xfrm>
            <a:off x="990600" y="3863975"/>
            <a:ext cx="3489325" cy="1927225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5400000" scaled="0"/>
            <a:tileRect/>
          </a:gra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12700" dir="10620000">
              <a:schemeClr val="bg1">
                <a:lumMod val="65000"/>
                <a:alpha val="43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algn="ctr"/>
            <a:endParaRPr lang="en-US" altLang="en-US">
              <a:solidFill>
                <a:srgbClr val="FFFFFF"/>
              </a:solidFill>
            </a:endParaRPr>
          </a:p>
        </p:txBody>
      </p:sp>
      <p:sp>
        <p:nvSpPr>
          <p:cNvPr id="16" name="Round Same Side Corner Rectangle 15"/>
          <p:cNvSpPr/>
          <p:nvPr/>
        </p:nvSpPr>
        <p:spPr>
          <a:xfrm>
            <a:off x="990600" y="3657600"/>
            <a:ext cx="3489325" cy="334963"/>
          </a:xfrm>
          <a:prstGeom prst="round2SameRect">
            <a:avLst>
              <a:gd name="adj1" fmla="val 27778"/>
              <a:gd name="adj2" fmla="val 0"/>
            </a:avLst>
          </a:prstGeom>
          <a:gradFill flip="none" rotWithShape="1">
            <a:gsLst>
              <a:gs pos="100000">
                <a:schemeClr val="accent1">
                  <a:lumMod val="75000"/>
                </a:schemeClr>
              </a:gs>
              <a:gs pos="0">
                <a:schemeClr val="tx2">
                  <a:lumMod val="75000"/>
                </a:schemeClr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15372" name="Rektangel 76"/>
          <p:cNvSpPr>
            <a:spLocks noChangeArrowheads="1"/>
          </p:cNvSpPr>
          <p:nvPr/>
        </p:nvSpPr>
        <p:spPr bwMode="auto">
          <a:xfrm>
            <a:off x="1184275" y="3684588"/>
            <a:ext cx="271145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US" altLang="en-US" sz="1100" b="1" noProof="1">
                <a:solidFill>
                  <a:srgbClr val="FFFFFF"/>
                </a:solidFill>
              </a:rPr>
              <a:t>Example text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660900" y="3863975"/>
            <a:ext cx="3489325" cy="1927225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5400000" scaled="0"/>
            <a:tileRect/>
          </a:gra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12700" dir="10620000">
              <a:schemeClr val="bg1">
                <a:lumMod val="65000"/>
                <a:alpha val="43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algn="ctr"/>
            <a:endParaRPr lang="en-US" altLang="en-US">
              <a:solidFill>
                <a:srgbClr val="FFFFFF"/>
              </a:solidFill>
            </a:endParaRPr>
          </a:p>
        </p:txBody>
      </p:sp>
      <p:sp>
        <p:nvSpPr>
          <p:cNvPr id="19" name="Round Same Side Corner Rectangle 18"/>
          <p:cNvSpPr/>
          <p:nvPr/>
        </p:nvSpPr>
        <p:spPr>
          <a:xfrm>
            <a:off x="4660900" y="3657600"/>
            <a:ext cx="3489325" cy="334963"/>
          </a:xfrm>
          <a:prstGeom prst="round2SameRect">
            <a:avLst>
              <a:gd name="adj1" fmla="val 27778"/>
              <a:gd name="adj2" fmla="val 0"/>
            </a:avLst>
          </a:prstGeom>
          <a:gradFill flip="none" rotWithShape="1">
            <a:gsLst>
              <a:gs pos="100000">
                <a:schemeClr val="accent1">
                  <a:lumMod val="75000"/>
                </a:schemeClr>
              </a:gs>
              <a:gs pos="0">
                <a:schemeClr val="tx2">
                  <a:lumMod val="75000"/>
                </a:schemeClr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15375" name="Rektangel 76"/>
          <p:cNvSpPr>
            <a:spLocks noChangeArrowheads="1"/>
          </p:cNvSpPr>
          <p:nvPr/>
        </p:nvSpPr>
        <p:spPr bwMode="auto">
          <a:xfrm>
            <a:off x="4854575" y="3684588"/>
            <a:ext cx="271145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US" altLang="en-US" sz="1100" b="1" noProof="1">
                <a:solidFill>
                  <a:srgbClr val="FFFFFF"/>
                </a:solidFill>
              </a:rPr>
              <a:t>Example text</a:t>
            </a:r>
          </a:p>
        </p:txBody>
      </p:sp>
      <p:graphicFrame>
        <p:nvGraphicFramePr>
          <p:cNvPr id="15377" name="Content Placeholder 5"/>
          <p:cNvGraphicFramePr>
            <a:graphicFrameLocks/>
          </p:cNvGraphicFramePr>
          <p:nvPr/>
        </p:nvGraphicFramePr>
        <p:xfrm>
          <a:off x="1003300" y="3887788"/>
          <a:ext cx="3479800" cy="1962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2" r:id="rId4" imgW="3475021" imgH="1963082" progId="Excel.Chart.8">
                  <p:embed/>
                </p:oleObj>
              </mc:Choice>
              <mc:Fallback>
                <p:oleObj r:id="rId4" imgW="3475021" imgH="1963082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03300" y="3887788"/>
                        <a:ext cx="3479800" cy="19621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379" name="Content Placeholder 5"/>
          <p:cNvGraphicFramePr>
            <a:graphicFrameLocks/>
          </p:cNvGraphicFramePr>
          <p:nvPr/>
        </p:nvGraphicFramePr>
        <p:xfrm>
          <a:off x="4721225" y="3881438"/>
          <a:ext cx="3479800" cy="1962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3" r:id="rId6" imgW="3481118" imgH="1963082" progId="Excel.Chart.8">
                  <p:embed/>
                </p:oleObj>
              </mc:Choice>
              <mc:Fallback>
                <p:oleObj r:id="rId6" imgW="3481118" imgH="1963082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21225" y="3881438"/>
                        <a:ext cx="3479800" cy="19621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380" name="Content Placeholder 5"/>
          <p:cNvGraphicFramePr>
            <a:graphicFrameLocks/>
          </p:cNvGraphicFramePr>
          <p:nvPr/>
        </p:nvGraphicFramePr>
        <p:xfrm>
          <a:off x="4656138" y="1752600"/>
          <a:ext cx="3479800" cy="19605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4" r:id="rId8" imgW="3481118" imgH="1956986" progId="Excel.Chart.8">
                  <p:embed/>
                </p:oleObj>
              </mc:Choice>
              <mc:Fallback>
                <p:oleObj r:id="rId8" imgW="3481118" imgH="1956986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56138" y="1752600"/>
                        <a:ext cx="3479800" cy="19605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11766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15"/>
  <p:tag name="ISPRING_RESOURCE_PATHS_HASH_2" val="a5d915479c4e9457316ad5ebd888cbd97cbae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GFp919uZkepnr.n5TxR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Wi1r3T606FtIrsTomwQ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8dys8l0ES88sb.aV.ZU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g3rCK98UOeFx3pHHZwh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PLUXBFTEi4Dly6SRuvL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Vb2Gf59EaAReNg8gEyo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jB7yV0NkSuV82sP5fxK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7uezVii0G6yM5qo1e8Q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o3MAnOv0S.dLaRb99H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BpkKlBWUO1Ug5pMJ7bs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IrnTz1YUW1a7iaeVoH3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1EdQd.DEOH5BGf.k0c9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cbvLBlAEWMYGI1Tcdji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5DyT_ONUqIfvYQQiJhY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KX2QsQYUq.QNEhYGA1W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V.CaH7RUiSttku9pub4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8CFO3nSkK0fiDHtLyvo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.cgvMwsk.IOO6wx.5n1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3U_9uCmk29KUSd.3P5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Y3r1vTck2hXbVIcZxfP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EJuLAeNUatlf0EyvJVC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EATVFvIE.P6yoFLsE6p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gVXIwmPkaNEw56OuLEH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eKsZR4iUOkkT7XaTW_g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RNeoaS0kW.DmsShPKV9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lsn5c9AUSAyPKEprGR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XgU54M3kumbCyD2uI_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Ey4pnGOEqXP52ssObO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QpwHfhlkev97qDDpCTy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2</TotalTime>
  <Words>2678</Words>
  <Application>Microsoft Office PowerPoint</Application>
  <PresentationFormat>Presentación en pantalla (4:3)</PresentationFormat>
  <Paragraphs>720</Paragraphs>
  <Slides>48</Slides>
  <Notes>7</Notes>
  <HiddenSlides>0</HiddenSlides>
  <MMClips>0</MMClips>
  <ScaleCrop>false</ScaleCrop>
  <HeadingPairs>
    <vt:vector size="8" baseType="variant">
      <vt:variant>
        <vt:lpstr>Fuentes usadas</vt:lpstr>
      </vt:variant>
      <vt:variant>
        <vt:i4>15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48</vt:i4>
      </vt:variant>
    </vt:vector>
  </HeadingPairs>
  <TitlesOfParts>
    <vt:vector size="67" baseType="lpstr">
      <vt:lpstr>ＭＳ Ｐゴシック</vt:lpstr>
      <vt:lpstr>ＭＳ Ｐゴシック</vt:lpstr>
      <vt:lpstr>Arial</vt:lpstr>
      <vt:lpstr>Arial Black</vt:lpstr>
      <vt:lpstr>Arial Narrow</vt:lpstr>
      <vt:lpstr>Arial Narrow Bold</vt:lpstr>
      <vt:lpstr>Blogger Sans Light</vt:lpstr>
      <vt:lpstr>Calibri</vt:lpstr>
      <vt:lpstr>Calibri Light</vt:lpstr>
      <vt:lpstr>Delicious</vt:lpstr>
      <vt:lpstr>Franklin Gothic Demi Cond</vt:lpstr>
      <vt:lpstr>Handwriting - Dakota</vt:lpstr>
      <vt:lpstr>Lucida Sans</vt:lpstr>
      <vt:lpstr>Wingdings</vt:lpstr>
      <vt:lpstr>Wingdings 3</vt:lpstr>
      <vt:lpstr>Office Theme</vt:lpstr>
      <vt:lpstr>1_Office Theme</vt:lpstr>
      <vt:lpstr>think-cell Slide</vt:lpstr>
      <vt:lpstr>Gráfico de Microsoft Excel</vt:lpstr>
      <vt:lpstr>Presentación de PowerPoint</vt:lpstr>
      <vt:lpstr>Presentación de PowerPoint</vt:lpstr>
      <vt:lpstr>BUSINESS ECOSYSTEM</vt:lpstr>
      <vt:lpstr>MIND MAP</vt:lpstr>
      <vt:lpstr>SWOT ANALYISIS</vt:lpstr>
      <vt:lpstr>GANTT CHART MONTHS</vt:lpstr>
      <vt:lpstr>SCRUM PROCESS</vt:lpstr>
      <vt:lpstr>CYCLE DIAGRAM</vt:lpstr>
      <vt:lpstr>COCKPIT CHARTS</vt:lpstr>
      <vt:lpstr>PLANNING</vt:lpstr>
      <vt:lpstr>Presentación de PowerPoint</vt:lpstr>
      <vt:lpstr>CALENDAR 2023</vt:lpstr>
      <vt:lpstr>SOCIAL MEDI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Domino</vt:lpstr>
      <vt:lpstr>Domin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WOT ANALYISIS</dc:title>
  <dc:creator>Ellis</dc:creator>
  <cp:lastModifiedBy>Cuenta Microsoft</cp:lastModifiedBy>
  <cp:revision>21</cp:revision>
  <dcterms:created xsi:type="dcterms:W3CDTF">2014-02-21T16:49:56Z</dcterms:created>
  <dcterms:modified xsi:type="dcterms:W3CDTF">2023-01-16T03:50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CBAAE0A9-8E90-4958-BABA-27EA5EB90574</vt:lpwstr>
  </property>
  <property fmtid="{D5CDD505-2E9C-101B-9397-08002B2CF9AE}" pid="3" name="ArticulatePath">
    <vt:lpwstr>Starter Bundle</vt:lpwstr>
  </property>
</Properties>
</file>